
<file path=[Content_Types].xml><?xml version="1.0" encoding="utf-8"?>
<Types xmlns="http://schemas.openxmlformats.org/package/2006/content-types">
  <Default Extension="png" ContentType="image/png"/>
  <Default Extension="jpeg" ContentType="image/jpeg"/>
  <Default Extension="emf" ContentType="image/x-emf"/>
  <Default Extension="wmf" ContentType="image/x-wmf"/>
  <Default Extension="rels" ContentType="application/vnd.openxmlformats-package.relationships+xml"/>
  <Default Extension="xml" ContentType="application/xml"/>
  <Default Extension="wdp" ContentType="image/vnd.ms-photo"/>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charts/chart1.xml" ContentType="application/vnd.openxmlformats-officedocument.drawingml.chart+xml"/>
  <Override PartName="/ppt/theme/themeOverride1.xml" ContentType="application/vnd.openxmlformats-officedocument.themeOverr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2.xml" ContentType="application/vnd.openxmlformats-officedocument.drawingml.chart+xml"/>
  <Override PartName="/ppt/theme/themeOverride2.xml" ContentType="application/vnd.openxmlformats-officedocument.themeOverride+xml"/>
  <Override PartName="/ppt/drawings/drawing1.xml" ContentType="application/vnd.openxmlformats-officedocument.drawingml.chartshapes+xml"/>
  <Override PartName="/ppt/notesSlides/notesSlide8.xml" ContentType="application/vnd.openxmlformats-officedocument.presentationml.notesSlide+xml"/>
  <Override PartName="/ppt/charts/chart3.xml" ContentType="application/vnd.openxmlformats-officedocument.drawingml.chart+xml"/>
  <Override PartName="/ppt/theme/themeOverride3.xml" ContentType="application/vnd.openxmlformats-officedocument.themeOverr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rts/chart4.xml" ContentType="application/vnd.openxmlformats-officedocument.drawingml.chart+xml"/>
  <Override PartName="/ppt/theme/themeOverride4.xml" ContentType="application/vnd.openxmlformats-officedocument.themeOverride+xml"/>
  <Override PartName="/ppt/drawings/drawing2.xml" ContentType="application/vnd.openxmlformats-officedocument.drawingml.chartshape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p:sldMasterIdLst>
    <p:sldMasterId id="2147483660" r:id="rId1"/>
  </p:sldMasterIdLst>
  <p:notesMasterIdLst>
    <p:notesMasterId r:id="rId28"/>
  </p:notesMasterIdLst>
  <p:handoutMasterIdLst>
    <p:handoutMasterId r:id="rId29"/>
  </p:handoutMasterIdLst>
  <p:sldIdLst>
    <p:sldId id="256" r:id="rId2"/>
    <p:sldId id="382" r:id="rId3"/>
    <p:sldId id="371" r:id="rId4"/>
    <p:sldId id="290" r:id="rId5"/>
    <p:sldId id="363" r:id="rId6"/>
    <p:sldId id="388" r:id="rId7"/>
    <p:sldId id="389" r:id="rId8"/>
    <p:sldId id="390" r:id="rId9"/>
    <p:sldId id="392" r:id="rId10"/>
    <p:sldId id="391" r:id="rId11"/>
    <p:sldId id="377" r:id="rId12"/>
    <p:sldId id="387" r:id="rId13"/>
    <p:sldId id="393" r:id="rId14"/>
    <p:sldId id="394" r:id="rId15"/>
    <p:sldId id="396" r:id="rId16"/>
    <p:sldId id="397" r:id="rId17"/>
    <p:sldId id="333" r:id="rId18"/>
    <p:sldId id="383" r:id="rId19"/>
    <p:sldId id="398" r:id="rId20"/>
    <p:sldId id="324" r:id="rId21"/>
    <p:sldId id="344" r:id="rId22"/>
    <p:sldId id="384" r:id="rId23"/>
    <p:sldId id="386" r:id="rId24"/>
    <p:sldId id="385" r:id="rId25"/>
    <p:sldId id="279" r:id="rId26"/>
    <p:sldId id="267" r:id="rId27"/>
  </p:sldIdLst>
  <p:sldSz cx="10691813" cy="7559675"/>
  <p:notesSz cx="6858000" cy="9144000"/>
  <p:defaultTextStyle>
    <a:defPPr>
      <a:defRPr lang="en-GB"/>
    </a:defPPr>
    <a:lvl1pPr marL="360000" indent="-360000" algn="l" defTabSz="1007943" rtl="0" eaLnBrk="1" latinLnBrk="0" hangingPunct="1">
      <a:lnSpc>
        <a:spcPct val="100000"/>
      </a:lnSpc>
      <a:spcBef>
        <a:spcPts val="300"/>
      </a:spcBef>
      <a:buClr>
        <a:schemeClr val="accent1"/>
      </a:buClr>
      <a:buFont typeface="Arial" panose="020B0604020202020204" pitchFamily="34" charset="0"/>
      <a:buChar char="●"/>
      <a:defRPr sz="1400" kern="1200">
        <a:solidFill>
          <a:schemeClr val="tx1"/>
        </a:solidFill>
        <a:latin typeface="+mn-lt"/>
        <a:ea typeface="+mn-ea"/>
        <a:cs typeface="+mn-cs"/>
      </a:defRPr>
    </a:lvl1pPr>
    <a:lvl2pPr marL="720000" indent="-360000" algn="l" defTabSz="1007943" rtl="0" eaLnBrk="1" latinLnBrk="0" hangingPunct="1">
      <a:lnSpc>
        <a:spcPct val="100000"/>
      </a:lnSpc>
      <a:spcBef>
        <a:spcPts val="300"/>
      </a:spcBef>
      <a:buClr>
        <a:schemeClr val="accent1"/>
      </a:buClr>
      <a:buFont typeface="Arial" panose="020B0604020202020204" pitchFamily="34" charset="0"/>
      <a:buChar char="˗"/>
      <a:defRPr sz="1400" kern="1200">
        <a:solidFill>
          <a:schemeClr val="tx1"/>
        </a:solidFill>
        <a:latin typeface="+mn-lt"/>
        <a:ea typeface="+mn-ea"/>
        <a:cs typeface="+mn-cs"/>
      </a:defRPr>
    </a:lvl2pPr>
    <a:lvl3pPr marL="1079500" indent="-360000" algn="l" defTabSz="1007943" rtl="0" eaLnBrk="1" latinLnBrk="0" hangingPunct="1">
      <a:lnSpc>
        <a:spcPct val="100000"/>
      </a:lnSpc>
      <a:spcBef>
        <a:spcPts val="300"/>
      </a:spcBef>
      <a:buClr>
        <a:schemeClr val="accent1"/>
      </a:buClr>
      <a:buFont typeface="Arial" panose="020B0604020202020204" pitchFamily="34" charset="0"/>
      <a:buChar char="●"/>
      <a:defRPr sz="1400" kern="1200">
        <a:solidFill>
          <a:schemeClr val="tx1"/>
        </a:solidFill>
        <a:latin typeface="+mn-lt"/>
        <a:ea typeface="+mn-ea"/>
        <a:cs typeface="+mn-cs"/>
      </a:defRPr>
    </a:lvl3pPr>
    <a:lvl4pPr marL="1440000" indent="-360000" algn="l" defTabSz="1007943" rtl="0" eaLnBrk="1" latinLnBrk="0" hangingPunct="1">
      <a:lnSpc>
        <a:spcPct val="100000"/>
      </a:lnSpc>
      <a:spcBef>
        <a:spcPts val="300"/>
      </a:spcBef>
      <a:buClr>
        <a:schemeClr val="accent1"/>
      </a:buClr>
      <a:buFont typeface="Arial" panose="020B0604020202020204" pitchFamily="34" charset="0"/>
      <a:buChar char="˗"/>
      <a:defRPr sz="1400" kern="1200">
        <a:solidFill>
          <a:schemeClr val="tx1"/>
        </a:solidFill>
        <a:latin typeface="+mn-lt"/>
        <a:ea typeface="+mn-ea"/>
        <a:cs typeface="+mn-cs"/>
      </a:defRPr>
    </a:lvl4pPr>
    <a:lvl5pPr marL="1800000" indent="-360000" algn="l" defTabSz="1007943" rtl="0" eaLnBrk="1" latinLnBrk="0" hangingPunct="1">
      <a:lnSpc>
        <a:spcPct val="100000"/>
      </a:lnSpc>
      <a:spcBef>
        <a:spcPts val="300"/>
      </a:spcBef>
      <a:buClr>
        <a:schemeClr val="accent1"/>
      </a:buClr>
      <a:buFont typeface="Arial" panose="020B0604020202020204" pitchFamily="34" charset="0"/>
      <a:buChar char="●"/>
      <a:defRPr sz="1400" kern="1200">
        <a:solidFill>
          <a:schemeClr val="tx1"/>
        </a:solidFill>
        <a:latin typeface="+mn-lt"/>
        <a:ea typeface="+mn-ea"/>
        <a:cs typeface="+mn-cs"/>
      </a:defRPr>
    </a:lvl5pPr>
    <a:lvl6pPr marL="2160000" indent="-360000" algn="l" defTabSz="1007943" rtl="0" eaLnBrk="1" latinLnBrk="0" hangingPunct="1">
      <a:lnSpc>
        <a:spcPct val="100000"/>
      </a:lnSpc>
      <a:spcBef>
        <a:spcPts val="300"/>
      </a:spcBef>
      <a:buClr>
        <a:schemeClr val="accent1"/>
      </a:buClr>
      <a:buFont typeface="Arial" panose="020B0604020202020204" pitchFamily="34" charset="0"/>
      <a:buChar char="˗"/>
      <a:defRPr sz="1400" kern="1200" baseline="0">
        <a:solidFill>
          <a:schemeClr val="tx1"/>
        </a:solidFill>
        <a:latin typeface="+mn-lt"/>
        <a:ea typeface="+mn-ea"/>
        <a:cs typeface="+mn-cs"/>
      </a:defRPr>
    </a:lvl6pPr>
    <a:lvl7pPr marL="2520000" indent="-360000" algn="l" defTabSz="1007943" rtl="0" eaLnBrk="1" latinLnBrk="0" hangingPunct="1">
      <a:lnSpc>
        <a:spcPct val="100000"/>
      </a:lnSpc>
      <a:spcBef>
        <a:spcPts val="300"/>
      </a:spcBef>
      <a:buClr>
        <a:schemeClr val="accent1"/>
      </a:buClr>
      <a:buFont typeface="Arial" panose="020B0604020202020204" pitchFamily="34" charset="0"/>
      <a:buChar char="●"/>
      <a:defRPr sz="1400" kern="1200" baseline="0">
        <a:solidFill>
          <a:schemeClr val="tx1"/>
        </a:solidFill>
        <a:latin typeface="+mn-lt"/>
        <a:ea typeface="+mn-ea"/>
        <a:cs typeface="+mn-cs"/>
      </a:defRPr>
    </a:lvl7pPr>
    <a:lvl8pPr marL="2880000" indent="-360000" algn="l" defTabSz="1007943" rtl="0" eaLnBrk="1" latinLnBrk="0" hangingPunct="1">
      <a:lnSpc>
        <a:spcPct val="100000"/>
      </a:lnSpc>
      <a:spcBef>
        <a:spcPts val="300"/>
      </a:spcBef>
      <a:buClr>
        <a:schemeClr val="accent1"/>
      </a:buClr>
      <a:buFont typeface="Arial" panose="020B0604020202020204" pitchFamily="34" charset="0"/>
      <a:buChar char="˗"/>
      <a:defRPr sz="1400" kern="1200" baseline="0">
        <a:solidFill>
          <a:schemeClr val="tx1"/>
        </a:solidFill>
        <a:latin typeface="+mn-lt"/>
        <a:ea typeface="+mn-ea"/>
        <a:cs typeface="+mn-cs"/>
      </a:defRPr>
    </a:lvl8pPr>
    <a:lvl9pPr marL="3240000" indent="-360000" algn="l" defTabSz="1007943" rtl="0" eaLnBrk="1" latinLnBrk="0" hangingPunct="1">
      <a:lnSpc>
        <a:spcPct val="90000"/>
      </a:lnSpc>
      <a:spcBef>
        <a:spcPts val="300"/>
      </a:spcBef>
      <a:buClr>
        <a:schemeClr val="accent1"/>
      </a:buClr>
      <a:buFont typeface="Arial" panose="020B0604020202020204" pitchFamily="34" charset="0"/>
      <a:buChar char="●"/>
      <a:defRPr sz="1400" kern="1200">
        <a:solidFill>
          <a:schemeClr val="tx1"/>
        </a:solidFill>
        <a:latin typeface="+mn-lt"/>
        <a:ea typeface="+mn-ea"/>
        <a:cs typeface="+mn-cs"/>
      </a:defRPr>
    </a:lvl9pPr>
  </p:defaultTextStyle>
  <p:extLst>
    <p:ext uri="{EFAFB233-063F-42B5-8137-9DF3F51BA10A}">
      <p15:sldGuideLst xmlns:p15="http://schemas.microsoft.com/office/powerpoint/2012/main" xmlns="">
        <p15:guide id="2" pos="3367">
          <p15:clr>
            <a:srgbClr val="A4A3A4"/>
          </p15:clr>
        </p15:guide>
        <p15:guide id="3" orient="horz" pos="2381">
          <p15:clr>
            <a:srgbClr val="A4A3A4"/>
          </p15:clr>
        </p15:guide>
      </p15:sldGuideLst>
    </p:ext>
    <p:ext uri="{2D200454-40CA-4A62-9FC3-DE9A4176ACB9}">
      <p15:notes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725492"/>
    <a:srgbClr val="BCA6D0"/>
    <a:srgbClr val="2F8FCC"/>
    <a:srgbClr val="84D1EC"/>
    <a:srgbClr val="0E437A"/>
    <a:srgbClr val="00806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CEF6447A-24EA-4742-A8FB-1DF080B5CEFA}">
  <a:tblStyle styleId="{CEF6447A-24EA-4742-A8FB-1DF080B5CEFA}" styleName="~BNEF Table">
    <a:wholeTbl>
      <a:tcTxStyle>
        <a:fontRef idx="minor">
          <a:prstClr val="black"/>
        </a:fontRef>
        <a:schemeClr val="dk1"/>
      </a:tcTxStyle>
      <a:tcStyle>
        <a:tcBdr>
          <a:left>
            <a:ln w="6350" cmpd="sng">
              <a:solidFill>
                <a:schemeClr val="accent1"/>
              </a:solidFill>
            </a:ln>
          </a:left>
          <a:right>
            <a:ln w="6350" cmpd="sng">
              <a:solidFill>
                <a:schemeClr val="accent1"/>
              </a:solidFill>
            </a:ln>
          </a:right>
          <a:top>
            <a:ln w="6350" cmpd="sng">
              <a:solidFill>
                <a:schemeClr val="accent1"/>
              </a:solidFill>
            </a:ln>
          </a:top>
          <a:bottom>
            <a:ln w="6350" cmpd="sng">
              <a:solidFill>
                <a:schemeClr val="accent1"/>
              </a:solidFill>
            </a:ln>
          </a:bottom>
          <a:insideH>
            <a:ln w="6350" cmpd="sng">
              <a:solidFill>
                <a:schemeClr val="accent1"/>
              </a:solidFill>
            </a:ln>
          </a:insideH>
          <a:insideV>
            <a:ln w="6350" cmpd="sng">
              <a:solidFill>
                <a:schemeClr val="accent1"/>
              </a:solidFill>
            </a:ln>
          </a:insideV>
        </a:tcBdr>
      </a:tcStyle>
    </a:wholeTbl>
    <a:band1H>
      <a:tcStyle>
        <a:tcBdr/>
      </a:tcStyle>
    </a:band1H>
    <a:band2H>
      <a:tcStyle>
        <a:tcBdr/>
        <a:fill>
          <a:solidFill>
            <a:srgbClr val="F2F2F2"/>
          </a:solidFill>
        </a:fill>
      </a:tcStyle>
    </a:band2H>
    <a:band1V>
      <a:tcStyle>
        <a:tcBdr/>
      </a:tcStyle>
    </a:band1V>
    <a:band2V>
      <a:tcStyle>
        <a:tcBdr/>
      </a:tcStyle>
    </a:band2V>
    <a:lastCol>
      <a:tcTxStyle>
        <a:fontRef idx="minor">
          <a:prstClr val="black"/>
        </a:fontRef>
        <a:schemeClr val="dk1"/>
      </a:tcTxStyle>
      <a:tcStyle>
        <a:tcBdr/>
      </a:tcStyle>
    </a:lastCol>
    <a:firstCol>
      <a:tcTxStyle b="on">
        <a:fontRef idx="minor">
          <a:prstClr val="black"/>
        </a:fontRef>
        <a:schemeClr val="dk1"/>
      </a:tcTxStyle>
      <a:tcStyle>
        <a:tcBdr/>
      </a:tcStyle>
    </a:firstCol>
    <a:lastRow>
      <a:tcTxStyle b="on">
        <a:fontRef idx="minor">
          <a:prstClr val="black"/>
        </a:fontRef>
        <a:schemeClr val="lt1"/>
      </a:tcTxStyle>
      <a:tcStyle>
        <a:tcBdr/>
        <a:fill>
          <a:solidFill>
            <a:schemeClr val="accent1"/>
          </a:solidFill>
        </a:fill>
      </a:tcStyle>
    </a:lastRow>
    <a:firstRow>
      <a:tcTxStyle b="on">
        <a:fontRef idx="minor">
          <a:prstClr val="black"/>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14706" autoAdjust="0"/>
    <p:restoredTop sz="85613" autoAdjust="0"/>
  </p:normalViewPr>
  <p:slideViewPr>
    <p:cSldViewPr snapToGrid="0" showGuides="1">
      <p:cViewPr varScale="1">
        <p:scale>
          <a:sx n="64" d="100"/>
          <a:sy n="64" d="100"/>
        </p:scale>
        <p:origin x="-732" y="-96"/>
      </p:cViewPr>
      <p:guideLst>
        <p:guide orient="horz" pos="2381"/>
        <p:guide pos="3367"/>
      </p:guideLst>
    </p:cSldViewPr>
  </p:slideViewPr>
  <p:outlineViewPr>
    <p:cViewPr>
      <p:scale>
        <a:sx n="33" d="100"/>
        <a:sy n="33" d="100"/>
      </p:scale>
      <p:origin x="0" y="5394"/>
    </p:cViewPr>
  </p:outlineViewPr>
  <p:notesTextViewPr>
    <p:cViewPr>
      <p:scale>
        <a:sx n="100" d="100"/>
        <a:sy n="100" d="100"/>
      </p:scale>
      <p:origin x="0" y="0"/>
    </p:cViewPr>
  </p:notesTextViewPr>
  <p:sorterViewPr>
    <p:cViewPr>
      <p:scale>
        <a:sx n="100" d="100"/>
        <a:sy n="100" d="100"/>
      </p:scale>
      <p:origin x="0" y="0"/>
    </p:cViewPr>
  </p:sorterViewPr>
  <p:notesViewPr>
    <p:cSldViewPr snapToGrid="0" showGuides="1">
      <p:cViewPr varScale="1">
        <p:scale>
          <a:sx n="86" d="100"/>
          <a:sy n="86" d="100"/>
        </p:scale>
        <p:origin x="3786" y="7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presProps" Target="presProps.xml"/></Relationships>
</file>

<file path=ppt/charts/_rels/chart1.xml.rels><?xml version="1.0" encoding="UTF-8" standalone="yes"?>
<Relationships xmlns="http://schemas.openxmlformats.org/package/2006/relationships"><Relationship Id="rId2" Type="http://schemas.openxmlformats.org/officeDocument/2006/relationships/oleObject" Target="file:///\\corp.bloomberg.com\ww-dfs\All%20Offices\Singapore\Shared\BNEF\Research\GREMO\GREMO%20detailed%20data%20-%20IEA%20comparison.xlsx" TargetMode="External"/><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3" Type="http://schemas.openxmlformats.org/officeDocument/2006/relationships/chartUserShapes" Target="../drawings/drawing1.xml"/><Relationship Id="rId2" Type="http://schemas.openxmlformats.org/officeDocument/2006/relationships/oleObject" Target="file:///\\corp.bloomberg.com\ww-dfs\All%20Offices\Singapore\Shared\BNEF\Maggie%20Kuang\BNEF%20Southeast%20Asia%20Research\1.%20Insight%20service\2.%20Research%20Notes\LCOE\SEA%20LCOE\Feb%202014\Model%20&amp;%20Charts\Q1_2014_SEA_LCOE_Results%20(Brunei%20adaptation).xlsx" TargetMode="External"/><Relationship Id="rId1" Type="http://schemas.openxmlformats.org/officeDocument/2006/relationships/themeOverride" Target="../theme/themeOverride2.xml"/></Relationships>
</file>

<file path=ppt/charts/_rels/chart3.xml.rels><?xml version="1.0" encoding="UTF-8" standalone="yes"?>
<Relationships xmlns="http://schemas.openxmlformats.org/package/2006/relationships"><Relationship Id="rId2" Type="http://schemas.openxmlformats.org/officeDocument/2006/relationships/oleObject" Target="file:///\\corp.bloomberg.com\ww-dfs\All%20Offices\Singapore\Shared\BNEF\Research\LCOE\BNEF_2014_Retail&amp;Wholesale%20LCOE%20competitiveness.xlsx" TargetMode="External"/><Relationship Id="rId1" Type="http://schemas.openxmlformats.org/officeDocument/2006/relationships/themeOverride" Target="../theme/themeOverride3.xml"/></Relationships>
</file>

<file path=ppt/charts/_rels/chart4.xml.rels><?xml version="1.0" encoding="UTF-8" standalone="yes"?>
<Relationships xmlns="http://schemas.openxmlformats.org/package/2006/relationships"><Relationship Id="rId3" Type="http://schemas.openxmlformats.org/officeDocument/2006/relationships/chartUserShapes" Target="../drawings/drawing2.xml"/><Relationship Id="rId2" Type="http://schemas.openxmlformats.org/officeDocument/2006/relationships/oleObject" Target="file:///\\corp.bloomberg.com\ww-dfs\All%20Offices\Singapore\Shared\BNEF\Research\Financing\Investment%20figures\APAC%20investments%20-%20Jul14%20V2.xlsx" TargetMode="External"/><Relationship Id="rId1" Type="http://schemas.openxmlformats.org/officeDocument/2006/relationships/themeOverride" Target="../theme/themeOverride4.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7.4127256051233395E-2"/>
          <c:y val="1.9908545856669454E-2"/>
          <c:w val="0.7814146588449562"/>
          <c:h val="0.85060950714494166"/>
        </c:manualLayout>
      </c:layout>
      <c:lineChart>
        <c:grouping val="standard"/>
        <c:varyColors val="0"/>
        <c:ser>
          <c:idx val="1"/>
          <c:order val="0"/>
          <c:tx>
            <c:strRef>
              <c:f>GlobalCapacity!$B$45</c:f>
              <c:strCache>
                <c:ptCount val="1"/>
                <c:pt idx="0">
                  <c:v>IEA 2010 - new policies</c:v>
                </c:pt>
              </c:strCache>
            </c:strRef>
          </c:tx>
          <c:spPr>
            <a:ln w="38100">
              <a:solidFill>
                <a:srgbClr val="2F8FCC"/>
              </a:solidFill>
              <a:prstDash val="dash"/>
            </a:ln>
          </c:spPr>
          <c:marker>
            <c:symbol val="none"/>
          </c:marker>
          <c:cat>
            <c:numRef>
              <c:f>GlobalCapacity!$E$43:$AC$43</c:f>
              <c:numCache>
                <c:formatCode>General</c:formatCode>
                <c:ptCount val="25"/>
                <c:pt idx="0">
                  <c:v>2006</c:v>
                </c:pt>
                <c:pt idx="1">
                  <c:v>2007</c:v>
                </c:pt>
                <c:pt idx="2">
                  <c:v>2008</c:v>
                </c:pt>
                <c:pt idx="3">
                  <c:v>2009</c:v>
                </c:pt>
                <c:pt idx="4">
                  <c:v>2010</c:v>
                </c:pt>
                <c:pt idx="5">
                  <c:v>2011</c:v>
                </c:pt>
                <c:pt idx="6">
                  <c:v>2012</c:v>
                </c:pt>
                <c:pt idx="7">
                  <c:v>2013</c:v>
                </c:pt>
                <c:pt idx="8">
                  <c:v>2014</c:v>
                </c:pt>
                <c:pt idx="9">
                  <c:v>2015</c:v>
                </c:pt>
                <c:pt idx="10">
                  <c:v>2016</c:v>
                </c:pt>
                <c:pt idx="11">
                  <c:v>2017</c:v>
                </c:pt>
                <c:pt idx="12">
                  <c:v>2018</c:v>
                </c:pt>
                <c:pt idx="13">
                  <c:v>2019</c:v>
                </c:pt>
                <c:pt idx="14">
                  <c:v>2020</c:v>
                </c:pt>
                <c:pt idx="15">
                  <c:v>2021</c:v>
                </c:pt>
                <c:pt idx="16">
                  <c:v>2022</c:v>
                </c:pt>
                <c:pt idx="17">
                  <c:v>2023</c:v>
                </c:pt>
                <c:pt idx="18">
                  <c:v>2024</c:v>
                </c:pt>
                <c:pt idx="19">
                  <c:v>2025</c:v>
                </c:pt>
                <c:pt idx="20">
                  <c:v>2026</c:v>
                </c:pt>
                <c:pt idx="21">
                  <c:v>2027</c:v>
                </c:pt>
                <c:pt idx="22">
                  <c:v>2028</c:v>
                </c:pt>
                <c:pt idx="23">
                  <c:v>2029</c:v>
                </c:pt>
                <c:pt idx="24">
                  <c:v>2030</c:v>
                </c:pt>
              </c:numCache>
            </c:numRef>
          </c:cat>
          <c:val>
            <c:numRef>
              <c:f>GlobalCapacity!$E$45:$AC$45</c:f>
              <c:numCache>
                <c:formatCode>General</c:formatCode>
                <c:ptCount val="25"/>
                <c:pt idx="2" formatCode="_(* #,##0_);_(* \(#,##0\);_(* &quot;-&quot;??_);_(@_)">
                  <c:v>112</c:v>
                </c:pt>
                <c:pt idx="3" formatCode="_(* #,##0_);_(* \(#,##0\);_(* &quot;-&quot;??_);_(@_)">
                  <c:v>136.41666666666666</c:v>
                </c:pt>
                <c:pt idx="4" formatCode="_(* #,##0_);_(* \(#,##0\);_(* &quot;-&quot;??_);_(@_)">
                  <c:v>160.83333333333331</c:v>
                </c:pt>
                <c:pt idx="5" formatCode="_(* #,##0_);_(* \(#,##0\);_(* &quot;-&quot;??_);_(@_)">
                  <c:v>185.24999999999997</c:v>
                </c:pt>
                <c:pt idx="6" formatCode="_(* #,##0_);_(* \(#,##0\);_(* &quot;-&quot;??_);_(@_)">
                  <c:v>209.66666666666663</c:v>
                </c:pt>
                <c:pt idx="7" formatCode="_(* #,##0_);_(* \(#,##0\);_(* &quot;-&quot;??_);_(@_)">
                  <c:v>234.08333333333329</c:v>
                </c:pt>
                <c:pt idx="8" formatCode="_(* #,##0_);_(* \(#,##0\);_(* &quot;-&quot;??_);_(@_)">
                  <c:v>258.49999999999994</c:v>
                </c:pt>
                <c:pt idx="9" formatCode="_(* #,##0_);_(* \(#,##0\);_(* &quot;-&quot;??_);_(@_)">
                  <c:v>282.91666666666663</c:v>
                </c:pt>
                <c:pt idx="10" formatCode="_(* #,##0_);_(* \(#,##0\);_(* &quot;-&quot;??_);_(@_)">
                  <c:v>307.33333333333331</c:v>
                </c:pt>
                <c:pt idx="11" formatCode="_(* #,##0_);_(* \(#,##0\);_(* &quot;-&quot;??_);_(@_)">
                  <c:v>331.75</c:v>
                </c:pt>
                <c:pt idx="12" formatCode="_(* #,##0_);_(* \(#,##0\);_(* &quot;-&quot;??_);_(@_)">
                  <c:v>356.16666666666669</c:v>
                </c:pt>
                <c:pt idx="13" formatCode="_(* #,##0_);_(* \(#,##0\);_(* &quot;-&quot;??_);_(@_)">
                  <c:v>380.58333333333337</c:v>
                </c:pt>
                <c:pt idx="14" formatCode="_(* #,##0_);_(* \(#,##0\);_(* &quot;-&quot;??_);_(@_)">
                  <c:v>405</c:v>
                </c:pt>
                <c:pt idx="15" formatCode="_(* #,##0_);_(* \(#,##0\);_(* &quot;-&quot;??_);_(@_)">
                  <c:v>427.1</c:v>
                </c:pt>
                <c:pt idx="16" formatCode="_(* #,##0_);_(* \(#,##0\);_(* &quot;-&quot;??_);_(@_)">
                  <c:v>449.20000000000005</c:v>
                </c:pt>
                <c:pt idx="17" formatCode="_(* #,##0_);_(* \(#,##0\);_(* &quot;-&quot;??_);_(@_)">
                  <c:v>471.30000000000007</c:v>
                </c:pt>
                <c:pt idx="18" formatCode="_(* #,##0_);_(* \(#,##0\);_(* &quot;-&quot;??_);_(@_)">
                  <c:v>493.40000000000009</c:v>
                </c:pt>
                <c:pt idx="19" formatCode="_(* #,##0_);_(* \(#,##0\);_(* &quot;-&quot;??_);_(@_)">
                  <c:v>515.50000000000011</c:v>
                </c:pt>
                <c:pt idx="20" formatCode="_(* #,##0_);_(* \(#,##0\);_(* &quot;-&quot;??_);_(@_)">
                  <c:v>537.60000000000014</c:v>
                </c:pt>
                <c:pt idx="21" formatCode="_(* #,##0_);_(* \(#,##0\);_(* &quot;-&quot;??_);_(@_)">
                  <c:v>559.70000000000016</c:v>
                </c:pt>
                <c:pt idx="22" formatCode="_(* #,##0_);_(* \(#,##0\);_(* &quot;-&quot;??_);_(@_)">
                  <c:v>581.80000000000018</c:v>
                </c:pt>
                <c:pt idx="23" formatCode="_(* #,##0_);_(* \(#,##0\);_(* &quot;-&quot;??_);_(@_)">
                  <c:v>603.9000000000002</c:v>
                </c:pt>
                <c:pt idx="24" formatCode="_(* #,##0_);_(* \(#,##0\);_(* &quot;-&quot;??_);_(@_)">
                  <c:v>626</c:v>
                </c:pt>
              </c:numCache>
            </c:numRef>
          </c:val>
          <c:smooth val="0"/>
        </c:ser>
        <c:ser>
          <c:idx val="4"/>
          <c:order val="1"/>
          <c:tx>
            <c:strRef>
              <c:f>GlobalCapacity!$B$48</c:f>
              <c:strCache>
                <c:ptCount val="1"/>
                <c:pt idx="0">
                  <c:v>IEA 2013</c:v>
                </c:pt>
              </c:strCache>
            </c:strRef>
          </c:tx>
          <c:spPr>
            <a:ln w="38100">
              <a:solidFill>
                <a:srgbClr val="2F8FCC"/>
              </a:solidFill>
            </a:ln>
          </c:spPr>
          <c:marker>
            <c:symbol val="none"/>
          </c:marker>
          <c:cat>
            <c:numRef>
              <c:f>GlobalCapacity!$E$43:$AC$43</c:f>
              <c:numCache>
                <c:formatCode>General</c:formatCode>
                <c:ptCount val="25"/>
                <c:pt idx="0">
                  <c:v>2006</c:v>
                </c:pt>
                <c:pt idx="1">
                  <c:v>2007</c:v>
                </c:pt>
                <c:pt idx="2">
                  <c:v>2008</c:v>
                </c:pt>
                <c:pt idx="3">
                  <c:v>2009</c:v>
                </c:pt>
                <c:pt idx="4">
                  <c:v>2010</c:v>
                </c:pt>
                <c:pt idx="5">
                  <c:v>2011</c:v>
                </c:pt>
                <c:pt idx="6">
                  <c:v>2012</c:v>
                </c:pt>
                <c:pt idx="7">
                  <c:v>2013</c:v>
                </c:pt>
                <c:pt idx="8">
                  <c:v>2014</c:v>
                </c:pt>
                <c:pt idx="9">
                  <c:v>2015</c:v>
                </c:pt>
                <c:pt idx="10">
                  <c:v>2016</c:v>
                </c:pt>
                <c:pt idx="11">
                  <c:v>2017</c:v>
                </c:pt>
                <c:pt idx="12">
                  <c:v>2018</c:v>
                </c:pt>
                <c:pt idx="13">
                  <c:v>2019</c:v>
                </c:pt>
                <c:pt idx="14">
                  <c:v>2020</c:v>
                </c:pt>
                <c:pt idx="15">
                  <c:v>2021</c:v>
                </c:pt>
                <c:pt idx="16">
                  <c:v>2022</c:v>
                </c:pt>
                <c:pt idx="17">
                  <c:v>2023</c:v>
                </c:pt>
                <c:pt idx="18">
                  <c:v>2024</c:v>
                </c:pt>
                <c:pt idx="19">
                  <c:v>2025</c:v>
                </c:pt>
                <c:pt idx="20">
                  <c:v>2026</c:v>
                </c:pt>
                <c:pt idx="21">
                  <c:v>2027</c:v>
                </c:pt>
                <c:pt idx="22">
                  <c:v>2028</c:v>
                </c:pt>
                <c:pt idx="23">
                  <c:v>2029</c:v>
                </c:pt>
                <c:pt idx="24">
                  <c:v>2030</c:v>
                </c:pt>
              </c:numCache>
            </c:numRef>
          </c:cat>
          <c:val>
            <c:numRef>
              <c:f>GlobalCapacity!$E$48:$AC$48</c:f>
              <c:numCache>
                <c:formatCode>General</c:formatCode>
                <c:ptCount val="25"/>
                <c:pt idx="5" formatCode="_(* #,##0_);_(* \(#,##0\);_(* &quot;-&quot;??_);_(@_)">
                  <c:v>301.88362999999998</c:v>
                </c:pt>
                <c:pt idx="6" formatCode="_(* #,##0_);_(* \(#,##0\);_(* &quot;-&quot;??_);_(@_)">
                  <c:v>372.63847874999999</c:v>
                </c:pt>
                <c:pt idx="7" formatCode="_(* #,##0_);_(* \(#,##0\);_(* &quot;-&quot;??_);_(@_)">
                  <c:v>443.3933275</c:v>
                </c:pt>
                <c:pt idx="8" formatCode="_(* #,##0_);_(* \(#,##0\);_(* &quot;-&quot;??_);_(@_)">
                  <c:v>514.14817625000001</c:v>
                </c:pt>
                <c:pt idx="9" formatCode="_(* #,##0_);_(* \(#,##0\);_(* &quot;-&quot;??_);_(@_)">
                  <c:v>584.90302499999996</c:v>
                </c:pt>
                <c:pt idx="10" formatCode="_(* #,##0_);_(* \(#,##0\);_(* &quot;-&quot;??_);_(@_)">
                  <c:v>655.65787374999991</c:v>
                </c:pt>
                <c:pt idx="11" formatCode="_(* #,##0_);_(* \(#,##0\);_(* &quot;-&quot;??_);_(@_)">
                  <c:v>726.41272249999986</c:v>
                </c:pt>
                <c:pt idx="12" formatCode="_(* #,##0_);_(* \(#,##0\);_(* &quot;-&quot;??_);_(@_)">
                  <c:v>797.16757124999981</c:v>
                </c:pt>
                <c:pt idx="13" formatCode="_(* #,##0_);_(* \(#,##0\);_(* &quot;-&quot;??_);_(@_)">
                  <c:v>867.92241999999976</c:v>
                </c:pt>
                <c:pt idx="14" formatCode="_(* #,##0_);_(* \(#,##0\);_(* &quot;-&quot;??_);_(@_)">
                  <c:v>938.67726874999971</c:v>
                </c:pt>
                <c:pt idx="15" formatCode="_(* #,##0_);_(* \(#,##0\);_(* &quot;-&quot;??_);_(@_)">
                  <c:v>1009.4321174999997</c:v>
                </c:pt>
                <c:pt idx="16" formatCode="_(* #,##0_);_(* \(#,##0\);_(* &quot;-&quot;??_);_(@_)">
                  <c:v>1080.1869662499996</c:v>
                </c:pt>
                <c:pt idx="17" formatCode="_(* #,##0_);_(* \(#,##0\);_(* &quot;-&quot;??_);_(@_)">
                  <c:v>1150.9418149999997</c:v>
                </c:pt>
                <c:pt idx="18" formatCode="_(* #,##0_);_(* \(#,##0\);_(* &quot;-&quot;??_);_(@_)">
                  <c:v>1221.6966637499997</c:v>
                </c:pt>
                <c:pt idx="19" formatCode="_(* #,##0_);_(* \(#,##0\);_(* &quot;-&quot;??_);_(@_)">
                  <c:v>1292.4515124999998</c:v>
                </c:pt>
                <c:pt idx="20" formatCode="_(* #,##0_);_(* \(#,##0\);_(* &quot;-&quot;??_);_(@_)">
                  <c:v>1363.2063612499999</c:v>
                </c:pt>
                <c:pt idx="21" formatCode="_(* #,##0_);_(* \(#,##0\);_(* &quot;-&quot;??_);_(@_)">
                  <c:v>1433.9612099999999</c:v>
                </c:pt>
                <c:pt idx="22" formatCode="_(* #,##0_);_(* \(#,##0\);_(* &quot;-&quot;??_);_(@_)">
                  <c:v>1504.71605875</c:v>
                </c:pt>
                <c:pt idx="23" formatCode="_(* #,##0_);_(* \(#,##0\);_(* &quot;-&quot;??_);_(@_)">
                  <c:v>1575.4709075000001</c:v>
                </c:pt>
                <c:pt idx="24" formatCode="_(* #,##0_);_(* \(#,##0\);_(* &quot;-&quot;??_);_(@_)">
                  <c:v>1646.2257562500001</c:v>
                </c:pt>
              </c:numCache>
            </c:numRef>
          </c:val>
          <c:smooth val="0"/>
        </c:ser>
        <c:ser>
          <c:idx val="5"/>
          <c:order val="2"/>
          <c:tx>
            <c:strRef>
              <c:f>GlobalCapacity!$B$49</c:f>
              <c:strCache>
                <c:ptCount val="1"/>
                <c:pt idx="0">
                  <c:v>GREMO 2011</c:v>
                </c:pt>
              </c:strCache>
            </c:strRef>
          </c:tx>
          <c:spPr>
            <a:ln w="34925">
              <a:solidFill>
                <a:srgbClr val="725492"/>
              </a:solidFill>
              <a:prstDash val="dash"/>
            </a:ln>
          </c:spPr>
          <c:marker>
            <c:symbol val="none"/>
          </c:marker>
          <c:cat>
            <c:numRef>
              <c:f>GlobalCapacity!$E$43:$AC$43</c:f>
              <c:numCache>
                <c:formatCode>General</c:formatCode>
                <c:ptCount val="25"/>
                <c:pt idx="0">
                  <c:v>2006</c:v>
                </c:pt>
                <c:pt idx="1">
                  <c:v>2007</c:v>
                </c:pt>
                <c:pt idx="2">
                  <c:v>2008</c:v>
                </c:pt>
                <c:pt idx="3">
                  <c:v>2009</c:v>
                </c:pt>
                <c:pt idx="4">
                  <c:v>2010</c:v>
                </c:pt>
                <c:pt idx="5">
                  <c:v>2011</c:v>
                </c:pt>
                <c:pt idx="6">
                  <c:v>2012</c:v>
                </c:pt>
                <c:pt idx="7">
                  <c:v>2013</c:v>
                </c:pt>
                <c:pt idx="8">
                  <c:v>2014</c:v>
                </c:pt>
                <c:pt idx="9">
                  <c:v>2015</c:v>
                </c:pt>
                <c:pt idx="10">
                  <c:v>2016</c:v>
                </c:pt>
                <c:pt idx="11">
                  <c:v>2017</c:v>
                </c:pt>
                <c:pt idx="12">
                  <c:v>2018</c:v>
                </c:pt>
                <c:pt idx="13">
                  <c:v>2019</c:v>
                </c:pt>
                <c:pt idx="14">
                  <c:v>2020</c:v>
                </c:pt>
                <c:pt idx="15">
                  <c:v>2021</c:v>
                </c:pt>
                <c:pt idx="16">
                  <c:v>2022</c:v>
                </c:pt>
                <c:pt idx="17">
                  <c:v>2023</c:v>
                </c:pt>
                <c:pt idx="18">
                  <c:v>2024</c:v>
                </c:pt>
                <c:pt idx="19">
                  <c:v>2025</c:v>
                </c:pt>
                <c:pt idx="20">
                  <c:v>2026</c:v>
                </c:pt>
                <c:pt idx="21">
                  <c:v>2027</c:v>
                </c:pt>
                <c:pt idx="22">
                  <c:v>2028</c:v>
                </c:pt>
                <c:pt idx="23">
                  <c:v>2029</c:v>
                </c:pt>
                <c:pt idx="24">
                  <c:v>2030</c:v>
                </c:pt>
              </c:numCache>
            </c:numRef>
          </c:cat>
          <c:val>
            <c:numRef>
              <c:f>GlobalCapacity!$E$49:$AC$49</c:f>
              <c:numCache>
                <c:formatCode>_(* #,##0_);_(* \(#,##0\);_(* "-"??_);_(@_)</c:formatCode>
                <c:ptCount val="25"/>
                <c:pt idx="0">
                  <c:v>72.193418999999992</c:v>
                </c:pt>
                <c:pt idx="1">
                  <c:v>91.320678999999998</c:v>
                </c:pt>
                <c:pt idx="2">
                  <c:v>115.76171066667001</c:v>
                </c:pt>
                <c:pt idx="3">
                  <c:v>148.78089900000003</c:v>
                </c:pt>
                <c:pt idx="4">
                  <c:v>198.67099999999999</c:v>
                </c:pt>
                <c:pt idx="5">
                  <c:v>278.66239999999999</c:v>
                </c:pt>
                <c:pt idx="6">
                  <c:v>358.65379999999999</c:v>
                </c:pt>
                <c:pt idx="7">
                  <c:v>438.64519999999999</c:v>
                </c:pt>
                <c:pt idx="8">
                  <c:v>518.63660000000004</c:v>
                </c:pt>
                <c:pt idx="9">
                  <c:v>598.62800000000004</c:v>
                </c:pt>
                <c:pt idx="10">
                  <c:v>689.80880000000002</c:v>
                </c:pt>
                <c:pt idx="11">
                  <c:v>780.9896</c:v>
                </c:pt>
                <c:pt idx="12">
                  <c:v>872.17039999999997</c:v>
                </c:pt>
                <c:pt idx="13">
                  <c:v>963.35120000000006</c:v>
                </c:pt>
                <c:pt idx="14">
                  <c:v>1054.5319999999999</c:v>
                </c:pt>
                <c:pt idx="15">
                  <c:v>1180.0785000000001</c:v>
                </c:pt>
                <c:pt idx="16">
                  <c:v>1305.625</c:v>
                </c:pt>
                <c:pt idx="17">
                  <c:v>1431.1715000000002</c:v>
                </c:pt>
                <c:pt idx="18">
                  <c:v>1556.7180000000003</c:v>
                </c:pt>
                <c:pt idx="19">
                  <c:v>1682.2645000000002</c:v>
                </c:pt>
                <c:pt idx="20">
                  <c:v>1807.8110000000001</c:v>
                </c:pt>
                <c:pt idx="21">
                  <c:v>1933.3575000000003</c:v>
                </c:pt>
                <c:pt idx="22">
                  <c:v>2058.9040000000005</c:v>
                </c:pt>
                <c:pt idx="23">
                  <c:v>2184.4504999999999</c:v>
                </c:pt>
                <c:pt idx="24">
                  <c:v>2309.9970000000003</c:v>
                </c:pt>
              </c:numCache>
            </c:numRef>
          </c:val>
          <c:smooth val="0"/>
        </c:ser>
        <c:ser>
          <c:idx val="0"/>
          <c:order val="3"/>
          <c:tx>
            <c:strRef>
              <c:f>GlobalCapacity!$B$51</c:f>
              <c:strCache>
                <c:ptCount val="1"/>
                <c:pt idx="0">
                  <c:v>GREMO 2014</c:v>
                </c:pt>
              </c:strCache>
            </c:strRef>
          </c:tx>
          <c:spPr>
            <a:ln w="38100">
              <a:solidFill>
                <a:srgbClr val="725492"/>
              </a:solidFill>
            </a:ln>
          </c:spPr>
          <c:marker>
            <c:symbol val="none"/>
          </c:marker>
          <c:cat>
            <c:numRef>
              <c:f>GlobalCapacity!$E$43:$AC$43</c:f>
              <c:numCache>
                <c:formatCode>General</c:formatCode>
                <c:ptCount val="25"/>
                <c:pt idx="0">
                  <c:v>2006</c:v>
                </c:pt>
                <c:pt idx="1">
                  <c:v>2007</c:v>
                </c:pt>
                <c:pt idx="2">
                  <c:v>2008</c:v>
                </c:pt>
                <c:pt idx="3">
                  <c:v>2009</c:v>
                </c:pt>
                <c:pt idx="4">
                  <c:v>2010</c:v>
                </c:pt>
                <c:pt idx="5">
                  <c:v>2011</c:v>
                </c:pt>
                <c:pt idx="6">
                  <c:v>2012</c:v>
                </c:pt>
                <c:pt idx="7">
                  <c:v>2013</c:v>
                </c:pt>
                <c:pt idx="8">
                  <c:v>2014</c:v>
                </c:pt>
                <c:pt idx="9">
                  <c:v>2015</c:v>
                </c:pt>
                <c:pt idx="10">
                  <c:v>2016</c:v>
                </c:pt>
                <c:pt idx="11">
                  <c:v>2017</c:v>
                </c:pt>
                <c:pt idx="12">
                  <c:v>2018</c:v>
                </c:pt>
                <c:pt idx="13">
                  <c:v>2019</c:v>
                </c:pt>
                <c:pt idx="14">
                  <c:v>2020</c:v>
                </c:pt>
                <c:pt idx="15">
                  <c:v>2021</c:v>
                </c:pt>
                <c:pt idx="16">
                  <c:v>2022</c:v>
                </c:pt>
                <c:pt idx="17">
                  <c:v>2023</c:v>
                </c:pt>
                <c:pt idx="18">
                  <c:v>2024</c:v>
                </c:pt>
                <c:pt idx="19">
                  <c:v>2025</c:v>
                </c:pt>
                <c:pt idx="20">
                  <c:v>2026</c:v>
                </c:pt>
                <c:pt idx="21">
                  <c:v>2027</c:v>
                </c:pt>
                <c:pt idx="22">
                  <c:v>2028</c:v>
                </c:pt>
                <c:pt idx="23">
                  <c:v>2029</c:v>
                </c:pt>
                <c:pt idx="24">
                  <c:v>2030</c:v>
                </c:pt>
              </c:numCache>
            </c:numRef>
          </c:cat>
          <c:val>
            <c:numRef>
              <c:f>GlobalCapacity!$E$51:$AC$51</c:f>
              <c:numCache>
                <c:formatCode>General</c:formatCode>
                <c:ptCount val="25"/>
                <c:pt idx="6" formatCode="_(* #,##0_);_(* \(#,##0\);_(* &quot;-&quot;??_);_(@_)">
                  <c:v>395</c:v>
                </c:pt>
                <c:pt idx="7" formatCode="_(* #,##0_);_(* \(#,##0\);_(* &quot;-&quot;??_);_(@_)">
                  <c:v>470.07006484187241</c:v>
                </c:pt>
                <c:pt idx="8" formatCode="_(* #,##0_);_(* \(#,##0\);_(* &quot;-&quot;??_);_(@_)">
                  <c:v>561.94035000061103</c:v>
                </c:pt>
                <c:pt idx="9" formatCode="_(* #,##0_);_(* \(#,##0\);_(* &quot;-&quot;??_);_(@_)">
                  <c:v>670.41175662701926</c:v>
                </c:pt>
                <c:pt idx="10" formatCode="_(* #,##0_);_(* \(#,##0\);_(* &quot;-&quot;??_);_(@_)">
                  <c:v>783.94994498339429</c:v>
                </c:pt>
                <c:pt idx="11" formatCode="_(* #,##0_);_(* \(#,##0\);_(* &quot;-&quot;??_);_(@_)">
                  <c:v>900.84498813094763</c:v>
                </c:pt>
                <c:pt idx="12" formatCode="_(* #,##0_);_(* \(#,##0\);_(* &quot;-&quot;??_);_(@_)">
                  <c:v>1019.5301326658182</c:v>
                </c:pt>
                <c:pt idx="13" formatCode="_(* #,##0_);_(* \(#,##0\);_(* &quot;-&quot;??_);_(@_)">
                  <c:v>1153.9373588492176</c:v>
                </c:pt>
                <c:pt idx="14" formatCode="_(* #,##0_);_(* \(#,##0\);_(* &quot;-&quot;??_);_(@_)">
                  <c:v>1298.1744384660497</c:v>
                </c:pt>
                <c:pt idx="15" formatCode="_(* #,##0_);_(* \(#,##0\);_(* &quot;-&quot;??_);_(@_)">
                  <c:v>1447.1107391912594</c:v>
                </c:pt>
                <c:pt idx="16" formatCode="_(* #,##0_);_(* \(#,##0\);_(* &quot;-&quot;??_);_(@_)">
                  <c:v>1601.5946748012682</c:v>
                </c:pt>
                <c:pt idx="17" formatCode="_(* #,##0_);_(* \(#,##0\);_(* &quot;-&quot;??_);_(@_)">
                  <c:v>1766.541290327353</c:v>
                </c:pt>
                <c:pt idx="18" formatCode="_(* #,##0_);_(* \(#,##0\);_(* &quot;-&quot;??_);_(@_)">
                  <c:v>1944.5791688592965</c:v>
                </c:pt>
                <c:pt idx="19" formatCode="_(* #,##0_);_(* \(#,##0\);_(* &quot;-&quot;??_);_(@_)">
                  <c:v>2128.7394664719209</c:v>
                </c:pt>
                <c:pt idx="20" formatCode="_(* #,##0_);_(* \(#,##0\);_(* &quot;-&quot;??_);_(@_)">
                  <c:v>2330.7674672996764</c:v>
                </c:pt>
                <c:pt idx="21" formatCode="_(* #,##0_);_(* \(#,##0\);_(* &quot;-&quot;??_);_(@_)">
                  <c:v>2535.1114783601934</c:v>
                </c:pt>
                <c:pt idx="22" formatCode="_(* #,##0_);_(* \(#,##0\);_(* &quot;-&quot;??_);_(@_)">
                  <c:v>2748.6348919564452</c:v>
                </c:pt>
                <c:pt idx="23" formatCode="_(* #,##0_);_(* \(#,##0\);_(* &quot;-&quot;??_);_(@_)">
                  <c:v>2965.2642372346277</c:v>
                </c:pt>
                <c:pt idx="24" formatCode="0">
                  <c:v>3191.0661561108896</c:v>
                </c:pt>
              </c:numCache>
            </c:numRef>
          </c:val>
          <c:smooth val="0"/>
        </c:ser>
        <c:dLbls>
          <c:showLegendKey val="0"/>
          <c:showVal val="0"/>
          <c:showCatName val="0"/>
          <c:showSerName val="0"/>
          <c:showPercent val="0"/>
          <c:showBubbleSize val="0"/>
        </c:dLbls>
        <c:marker val="1"/>
        <c:smooth val="0"/>
        <c:axId val="370855936"/>
        <c:axId val="376533376"/>
      </c:lineChart>
      <c:catAx>
        <c:axId val="370855936"/>
        <c:scaling>
          <c:orientation val="minMax"/>
        </c:scaling>
        <c:delete val="0"/>
        <c:axPos val="b"/>
        <c:numFmt formatCode="General" sourceLinked="1"/>
        <c:majorTickMark val="out"/>
        <c:minorTickMark val="none"/>
        <c:tickLblPos val="nextTo"/>
        <c:crossAx val="376533376"/>
        <c:crosses val="autoZero"/>
        <c:auto val="1"/>
        <c:lblAlgn val="ctr"/>
        <c:lblOffset val="100"/>
        <c:noMultiLvlLbl val="0"/>
      </c:catAx>
      <c:valAx>
        <c:axId val="376533376"/>
        <c:scaling>
          <c:orientation val="minMax"/>
        </c:scaling>
        <c:delete val="0"/>
        <c:axPos val="l"/>
        <c:majorGridlines>
          <c:spPr>
            <a:ln w="3175">
              <a:solidFill>
                <a:srgbClr val="C0C0C0"/>
              </a:solidFill>
              <a:prstDash val="sysDash"/>
            </a:ln>
          </c:spPr>
        </c:majorGridlines>
        <c:numFmt formatCode="#,##0" sourceLinked="0"/>
        <c:majorTickMark val="out"/>
        <c:minorTickMark val="none"/>
        <c:tickLblPos val="nextTo"/>
        <c:crossAx val="370855936"/>
        <c:crosses val="autoZero"/>
        <c:crossBetween val="between"/>
      </c:valAx>
    </c:plotArea>
    <c:plotVisOnly val="1"/>
    <c:dispBlanksAs val="gap"/>
    <c:showDLblsOverMax val="0"/>
  </c:chart>
  <c:spPr>
    <a:ln>
      <a:noFill/>
    </a:ln>
  </c:spPr>
  <c:txPr>
    <a:bodyPr/>
    <a:lstStyle/>
    <a:p>
      <a:pPr>
        <a:defRPr sz="1400">
          <a:latin typeface="Arial" pitchFamily="34" charset="0"/>
          <a:cs typeface="Arial" pitchFamily="34" charset="0"/>
        </a:defRPr>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9.3085739282589702E-2"/>
          <c:y val="5.1440251900434983E-2"/>
          <c:w val="0.87122006186696022"/>
          <c:h val="0.75318601831230303"/>
        </c:manualLayout>
      </c:layout>
      <c:barChart>
        <c:barDir val="col"/>
        <c:grouping val="stacked"/>
        <c:varyColors val="0"/>
        <c:ser>
          <c:idx val="1"/>
          <c:order val="1"/>
          <c:tx>
            <c:strRef>
              <c:f>'LCOE, FiT, Return results'!$L$37</c:f>
              <c:strCache>
                <c:ptCount val="1"/>
                <c:pt idx="0">
                  <c:v>LCOE</c:v>
                </c:pt>
              </c:strCache>
            </c:strRef>
          </c:tx>
          <c:spPr>
            <a:noFill/>
          </c:spPr>
          <c:invertIfNegative val="0"/>
          <c:cat>
            <c:strRef>
              <c:f>'LCOE, FiT, Return results'!$H$74:$H$82</c:f>
              <c:strCache>
                <c:ptCount val="7"/>
                <c:pt idx="0">
                  <c:v>Solar</c:v>
                </c:pt>
                <c:pt idx="2">
                  <c:v>Wind</c:v>
                </c:pt>
                <c:pt idx="4">
                  <c:v>Biomass</c:v>
                </c:pt>
                <c:pt idx="6">
                  <c:v>Small hydro</c:v>
                </c:pt>
              </c:strCache>
            </c:strRef>
          </c:cat>
          <c:val>
            <c:numRef>
              <c:f>'LCOE, FiT, Return results'!$J$74:$J$82</c:f>
              <c:numCache>
                <c:formatCode>General</c:formatCode>
                <c:ptCount val="8"/>
                <c:pt idx="0" formatCode="0.0000">
                  <c:v>98.25</c:v>
                </c:pt>
                <c:pt idx="2" formatCode="0.0000">
                  <c:v>99.45</c:v>
                </c:pt>
                <c:pt idx="4" formatCode="0.0000">
                  <c:v>79.209999999999994</c:v>
                </c:pt>
                <c:pt idx="6" formatCode="0.0000">
                  <c:v>42.91</c:v>
                </c:pt>
              </c:numCache>
            </c:numRef>
          </c:val>
        </c:ser>
        <c:ser>
          <c:idx val="2"/>
          <c:order val="2"/>
          <c:tx>
            <c:strRef>
              <c:f>'LCOE, FiT, Return results'!$L$37</c:f>
              <c:strCache>
                <c:ptCount val="1"/>
                <c:pt idx="0">
                  <c:v>LCOE</c:v>
                </c:pt>
              </c:strCache>
            </c:strRef>
          </c:tx>
          <c:spPr>
            <a:solidFill>
              <a:schemeClr val="accent3"/>
            </a:solidFill>
            <a:ln w="12700">
              <a:solidFill>
                <a:srgbClr val="B2B2B2"/>
              </a:solidFill>
            </a:ln>
          </c:spPr>
          <c:invertIfNegative val="0"/>
          <c:cat>
            <c:strRef>
              <c:f>'LCOE, FiT, Return results'!$H$74:$H$82</c:f>
              <c:strCache>
                <c:ptCount val="7"/>
                <c:pt idx="0">
                  <c:v>Solar</c:v>
                </c:pt>
                <c:pt idx="2">
                  <c:v>Wind</c:v>
                </c:pt>
                <c:pt idx="4">
                  <c:v>Biomass</c:v>
                </c:pt>
                <c:pt idx="6">
                  <c:v>Small hydro</c:v>
                </c:pt>
              </c:strCache>
            </c:strRef>
          </c:cat>
          <c:val>
            <c:numRef>
              <c:f>'LCOE, FiT, Return results'!$L$74:$L$82</c:f>
              <c:numCache>
                <c:formatCode>General</c:formatCode>
                <c:ptCount val="8"/>
                <c:pt idx="0" formatCode="0.0000">
                  <c:v>200.29000000000002</c:v>
                </c:pt>
                <c:pt idx="2" formatCode="0.0000">
                  <c:v>180.61</c:v>
                </c:pt>
                <c:pt idx="4" formatCode="0.0000">
                  <c:v>133.35000000000002</c:v>
                </c:pt>
                <c:pt idx="6" formatCode="0.0000">
                  <c:v>216.34</c:v>
                </c:pt>
              </c:numCache>
            </c:numRef>
          </c:val>
        </c:ser>
        <c:dLbls>
          <c:showLegendKey val="0"/>
          <c:showVal val="0"/>
          <c:showCatName val="0"/>
          <c:showSerName val="0"/>
          <c:showPercent val="0"/>
          <c:showBubbleSize val="0"/>
        </c:dLbls>
        <c:gapWidth val="50"/>
        <c:overlap val="100"/>
        <c:axId val="401236736"/>
        <c:axId val="401238272"/>
      </c:barChart>
      <c:barChart>
        <c:barDir val="col"/>
        <c:grouping val="stacked"/>
        <c:varyColors val="0"/>
        <c:ser>
          <c:idx val="3"/>
          <c:order val="3"/>
          <c:tx>
            <c:strRef>
              <c:f>'LCOE, FiT, Return results'!$Q$37</c:f>
              <c:strCache>
                <c:ptCount val="1"/>
                <c:pt idx="0">
                  <c:v>Tariff</c:v>
                </c:pt>
              </c:strCache>
            </c:strRef>
          </c:tx>
          <c:spPr>
            <a:noFill/>
          </c:spPr>
          <c:invertIfNegative val="0"/>
          <c:cat>
            <c:strRef>
              <c:f>'LCOE, FiT, Return results'!$H$74:$H$82</c:f>
              <c:strCache>
                <c:ptCount val="7"/>
                <c:pt idx="0">
                  <c:v>Solar</c:v>
                </c:pt>
                <c:pt idx="2">
                  <c:v>Wind</c:v>
                </c:pt>
                <c:pt idx="4">
                  <c:v>Biomass</c:v>
                </c:pt>
                <c:pt idx="6">
                  <c:v>Small hydro</c:v>
                </c:pt>
              </c:strCache>
            </c:strRef>
          </c:cat>
          <c:val>
            <c:numRef>
              <c:f>'LCOE, FiT, Return results'!$P$73:$P$81</c:f>
              <c:numCache>
                <c:formatCode>General</c:formatCode>
                <c:ptCount val="9"/>
                <c:pt idx="0">
                  <c:v>163.30880000000002</c:v>
                </c:pt>
                <c:pt idx="4">
                  <c:v>80.243459999999999</c:v>
                </c:pt>
                <c:pt idx="6">
                  <c:v>69.046000000000006</c:v>
                </c:pt>
                <c:pt idx="8">
                  <c:v>0</c:v>
                </c:pt>
              </c:numCache>
            </c:numRef>
          </c:val>
        </c:ser>
        <c:ser>
          <c:idx val="4"/>
          <c:order val="4"/>
          <c:tx>
            <c:strRef>
              <c:f>'LCOE, FiT, Return results'!$Q$37</c:f>
              <c:strCache>
                <c:ptCount val="1"/>
                <c:pt idx="0">
                  <c:v>Tariff</c:v>
                </c:pt>
              </c:strCache>
            </c:strRef>
          </c:tx>
          <c:spPr>
            <a:noFill/>
            <a:ln>
              <a:noFill/>
            </a:ln>
          </c:spPr>
          <c:invertIfNegative val="0"/>
          <c:cat>
            <c:strRef>
              <c:f>'LCOE, FiT, Return results'!$H$74:$H$82</c:f>
              <c:strCache>
                <c:ptCount val="7"/>
                <c:pt idx="0">
                  <c:v>Solar</c:v>
                </c:pt>
                <c:pt idx="2">
                  <c:v>Wind</c:v>
                </c:pt>
                <c:pt idx="4">
                  <c:v>Biomass</c:v>
                </c:pt>
                <c:pt idx="6">
                  <c:v>Small hydro</c:v>
                </c:pt>
              </c:strCache>
            </c:strRef>
          </c:cat>
          <c:val>
            <c:numRef>
              <c:f>'LCOE, FiT, Return results'!$Q$73:$Q$81</c:f>
              <c:numCache>
                <c:formatCode>General</c:formatCode>
                <c:ptCount val="9"/>
                <c:pt idx="0">
                  <c:v>19.212799999999987</c:v>
                </c:pt>
                <c:pt idx="4">
                  <c:v>17.831879999999998</c:v>
                </c:pt>
                <c:pt idx="6">
                  <c:v>3.0019999999999953</c:v>
                </c:pt>
                <c:pt idx="8">
                  <c:v>99.270135999999994</c:v>
                </c:pt>
              </c:numCache>
            </c:numRef>
          </c:val>
        </c:ser>
        <c:dLbls>
          <c:showLegendKey val="0"/>
          <c:showVal val="0"/>
          <c:showCatName val="0"/>
          <c:showSerName val="0"/>
          <c:showPercent val="0"/>
          <c:showBubbleSize val="0"/>
        </c:dLbls>
        <c:gapWidth val="500"/>
        <c:overlap val="-100"/>
        <c:axId val="418124160"/>
        <c:axId val="410861568"/>
      </c:barChart>
      <c:lineChart>
        <c:grouping val="standard"/>
        <c:varyColors val="0"/>
        <c:ser>
          <c:idx val="0"/>
          <c:order val="0"/>
          <c:tx>
            <c:strRef>
              <c:f>'LCOE, FiT, Return results'!$K$38</c:f>
              <c:strCache>
                <c:ptCount val="1"/>
                <c:pt idx="0">
                  <c:v>Mid-LCOE</c:v>
                </c:pt>
              </c:strCache>
            </c:strRef>
          </c:tx>
          <c:spPr>
            <a:ln>
              <a:noFill/>
            </a:ln>
          </c:spPr>
          <c:marker>
            <c:symbol val="triangle"/>
            <c:size val="20"/>
            <c:spPr>
              <a:solidFill>
                <a:schemeClr val="accent1"/>
              </a:solidFill>
              <a:ln w="12700">
                <a:solidFill>
                  <a:srgbClr val="B2B2B2"/>
                </a:solidFill>
              </a:ln>
            </c:spPr>
          </c:marker>
          <c:dLbls>
            <c:dLbl>
              <c:idx val="0"/>
              <c:layout>
                <c:manualLayout>
                  <c:x val="1.6376663254861847E-2"/>
                  <c:y val="2.0898641588296763E-3"/>
                </c:manualLayout>
              </c:layout>
              <c:showLegendKey val="0"/>
              <c:showVal val="1"/>
              <c:showCatName val="0"/>
              <c:showSerName val="0"/>
              <c:showPercent val="0"/>
              <c:showBubbleSize val="0"/>
              <c:extLst>
                <c:ext xmlns:c15="http://schemas.microsoft.com/office/drawing/2012/chart" uri="{CE6537A1-D6FC-4f65-9D91-7224C49458BB}">
                  <c15:layout/>
                </c:ext>
              </c:extLst>
            </c:dLbl>
            <c:dLbl>
              <c:idx val="2"/>
              <c:layout>
                <c:manualLayout>
                  <c:x val="1.6376663254861822E-2"/>
                  <c:y val="-7.6627467283380521E-17"/>
                </c:manualLayout>
              </c:layout>
              <c:showLegendKey val="0"/>
              <c:showVal val="1"/>
              <c:showCatName val="0"/>
              <c:showSerName val="0"/>
              <c:showPercent val="0"/>
              <c:showBubbleSize val="0"/>
              <c:extLst>
                <c:ext xmlns:c15="http://schemas.microsoft.com/office/drawing/2012/chart" uri="{CE6537A1-D6FC-4f65-9D91-7224C49458BB}">
                  <c15:layout/>
                </c:ext>
              </c:extLst>
            </c:dLbl>
            <c:dLbl>
              <c:idx val="4"/>
              <c:layout>
                <c:manualLayout>
                  <c:x val="1.6376663254861822E-2"/>
                  <c:y val="-7.6627467283380521E-17"/>
                </c:manualLayout>
              </c:layout>
              <c:showLegendKey val="0"/>
              <c:showVal val="1"/>
              <c:showCatName val="0"/>
              <c:showSerName val="0"/>
              <c:showPercent val="0"/>
              <c:showBubbleSize val="0"/>
              <c:extLst>
                <c:ext xmlns:c15="http://schemas.microsoft.com/office/drawing/2012/chart" uri="{CE6537A1-D6FC-4f65-9D91-7224C49458BB}">
                  <c15:layout/>
                </c:ext>
              </c:extLst>
            </c:dLbl>
            <c:dLbl>
              <c:idx val="6"/>
              <c:layout>
                <c:manualLayout>
                  <c:x val="1.7741385192766974E-2"/>
                  <c:y val="7.6627467283380521E-17"/>
                </c:manualLayout>
              </c:layout>
              <c:showLegendKey val="0"/>
              <c:showVal val="1"/>
              <c:showCatName val="0"/>
              <c:showSerName val="0"/>
              <c:showPercent val="0"/>
              <c:showBubbleSize val="0"/>
              <c:extLst>
                <c:ext xmlns:c15="http://schemas.microsoft.com/office/drawing/2012/chart" uri="{CE6537A1-D6FC-4f65-9D91-7224C49458BB}">
                  <c15:layout/>
                </c:ext>
              </c:extLst>
            </c:dLbl>
            <c:numFmt formatCode="#,##0"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LCOE, FiT, Return results'!$H$74:$H$82</c:f>
              <c:strCache>
                <c:ptCount val="7"/>
                <c:pt idx="0">
                  <c:v>Solar</c:v>
                </c:pt>
                <c:pt idx="2">
                  <c:v>Wind</c:v>
                </c:pt>
                <c:pt idx="4">
                  <c:v>Biomass</c:v>
                </c:pt>
                <c:pt idx="6">
                  <c:v>Small hydro</c:v>
                </c:pt>
              </c:strCache>
            </c:strRef>
          </c:cat>
          <c:val>
            <c:numRef>
              <c:f>'LCOE, FiT, Return results'!$K$74:$K$82</c:f>
              <c:numCache>
                <c:formatCode>General</c:formatCode>
                <c:ptCount val="8"/>
                <c:pt idx="0">
                  <c:v>145.16999999999999</c:v>
                </c:pt>
                <c:pt idx="2">
                  <c:v>151.28</c:v>
                </c:pt>
                <c:pt idx="4">
                  <c:v>130.61000000000001</c:v>
                </c:pt>
                <c:pt idx="6">
                  <c:v>122.56</c:v>
                </c:pt>
              </c:numCache>
            </c:numRef>
          </c:val>
          <c:smooth val="0"/>
        </c:ser>
        <c:dLbls>
          <c:showLegendKey val="0"/>
          <c:showVal val="0"/>
          <c:showCatName val="0"/>
          <c:showSerName val="0"/>
          <c:showPercent val="0"/>
          <c:showBubbleSize val="0"/>
        </c:dLbls>
        <c:marker val="1"/>
        <c:smooth val="0"/>
        <c:axId val="418124160"/>
        <c:axId val="410861568"/>
      </c:lineChart>
      <c:catAx>
        <c:axId val="401236736"/>
        <c:scaling>
          <c:orientation val="minMax"/>
        </c:scaling>
        <c:delete val="0"/>
        <c:axPos val="b"/>
        <c:numFmt formatCode="General" sourceLinked="0"/>
        <c:majorTickMark val="none"/>
        <c:minorTickMark val="none"/>
        <c:tickLblPos val="nextTo"/>
        <c:crossAx val="401238272"/>
        <c:crosses val="autoZero"/>
        <c:auto val="0"/>
        <c:lblAlgn val="ctr"/>
        <c:lblOffset val="100"/>
        <c:tickMarkSkip val="2"/>
        <c:noMultiLvlLbl val="0"/>
      </c:catAx>
      <c:valAx>
        <c:axId val="401238272"/>
        <c:scaling>
          <c:orientation val="minMax"/>
          <c:max val="500"/>
        </c:scaling>
        <c:delete val="0"/>
        <c:axPos val="l"/>
        <c:majorGridlines>
          <c:spPr>
            <a:ln w="3175">
              <a:solidFill>
                <a:srgbClr val="C0C0C0"/>
              </a:solidFill>
              <a:prstDash val="sysDash"/>
            </a:ln>
          </c:spPr>
        </c:majorGridlines>
        <c:numFmt formatCode="General" sourceLinked="0"/>
        <c:majorTickMark val="out"/>
        <c:minorTickMark val="none"/>
        <c:tickLblPos val="nextTo"/>
        <c:crossAx val="401236736"/>
        <c:crosses val="autoZero"/>
        <c:crossBetween val="between"/>
      </c:valAx>
      <c:valAx>
        <c:axId val="410861568"/>
        <c:scaling>
          <c:orientation val="minMax"/>
          <c:max val="0.5"/>
        </c:scaling>
        <c:delete val="1"/>
        <c:axPos val="r"/>
        <c:numFmt formatCode="General" sourceLinked="1"/>
        <c:majorTickMark val="out"/>
        <c:minorTickMark val="none"/>
        <c:tickLblPos val="none"/>
        <c:crossAx val="418124160"/>
        <c:crosses val="max"/>
        <c:crossBetween val="between"/>
      </c:valAx>
      <c:catAx>
        <c:axId val="418124160"/>
        <c:scaling>
          <c:orientation val="minMax"/>
        </c:scaling>
        <c:delete val="1"/>
        <c:axPos val="b"/>
        <c:numFmt formatCode="General" sourceLinked="1"/>
        <c:majorTickMark val="out"/>
        <c:minorTickMark val="none"/>
        <c:tickLblPos val="none"/>
        <c:crossAx val="410861568"/>
        <c:crosses val="autoZero"/>
        <c:auto val="1"/>
        <c:lblAlgn val="ctr"/>
        <c:lblOffset val="100"/>
        <c:noMultiLvlLbl val="0"/>
      </c:catAx>
      <c:spPr>
        <a:noFill/>
        <a:ln>
          <a:noFill/>
        </a:ln>
      </c:spPr>
    </c:plotArea>
    <c:legend>
      <c:legendPos val="b"/>
      <c:legendEntry>
        <c:idx val="0"/>
        <c:delete val="1"/>
      </c:legendEntry>
      <c:legendEntry>
        <c:idx val="2"/>
        <c:delete val="1"/>
      </c:legendEntry>
      <c:legendEntry>
        <c:idx val="3"/>
        <c:delete val="1"/>
      </c:legendEntry>
      <c:layout>
        <c:manualLayout>
          <c:xMode val="edge"/>
          <c:yMode val="edge"/>
          <c:x val="7.095479492903714E-2"/>
          <c:y val="0.91318309349262372"/>
          <c:w val="0.81851336648425599"/>
          <c:h val="5.9648672442590457E-2"/>
        </c:manualLayout>
      </c:layout>
      <c:overlay val="0"/>
    </c:legend>
    <c:plotVisOnly val="1"/>
    <c:dispBlanksAs val="gap"/>
    <c:showDLblsOverMax val="0"/>
  </c:chart>
  <c:spPr>
    <a:noFill/>
    <a:ln>
      <a:noFill/>
    </a:ln>
  </c:spPr>
  <c:txPr>
    <a:bodyPr/>
    <a:lstStyle/>
    <a:p>
      <a:pPr>
        <a:defRPr sz="1800">
          <a:latin typeface="Arial" pitchFamily="34" charset="0"/>
          <a:cs typeface="Arial" pitchFamily="34" charset="0"/>
        </a:defRPr>
      </a:pPr>
      <a:endParaRPr lang="en-US"/>
    </a:p>
  </c:txPr>
  <c:externalData r:id="rId2">
    <c:autoUpdate val="0"/>
  </c:externalData>
  <c:userShapes r:id="rId3"/>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7.2926798976626794E-2"/>
          <c:y val="2.6620370370370468E-2"/>
          <c:w val="0.7343643076968116"/>
          <c:h val="0.89505402449693783"/>
        </c:manualLayout>
      </c:layout>
      <c:areaChart>
        <c:grouping val="stacked"/>
        <c:varyColors val="0"/>
        <c:ser>
          <c:idx val="1"/>
          <c:order val="0"/>
          <c:tx>
            <c:strRef>
              <c:f>APAC!$B$12</c:f>
              <c:strCache>
                <c:ptCount val="1"/>
                <c:pt idx="0">
                  <c:v>Large-scale PV LCOE at 20% capacity factor</c:v>
                </c:pt>
              </c:strCache>
            </c:strRef>
          </c:tx>
          <c:spPr>
            <a:noFill/>
            <a:ln w="50800">
              <a:noFill/>
              <a:prstDash val="solid"/>
            </a:ln>
          </c:spPr>
          <c:cat>
            <c:numRef>
              <c:f>APAC!$C$10:$U$10</c:f>
              <c:numCache>
                <c:formatCode>General</c:formatCode>
                <c:ptCount val="19"/>
                <c:pt idx="0">
                  <c:v>2012</c:v>
                </c:pt>
                <c:pt idx="1">
                  <c:v>2013</c:v>
                </c:pt>
                <c:pt idx="2">
                  <c:v>2014</c:v>
                </c:pt>
                <c:pt idx="3">
                  <c:v>2015</c:v>
                </c:pt>
                <c:pt idx="4">
                  <c:v>2016</c:v>
                </c:pt>
                <c:pt idx="5">
                  <c:v>2017</c:v>
                </c:pt>
                <c:pt idx="6">
                  <c:v>2018</c:v>
                </c:pt>
                <c:pt idx="7">
                  <c:v>2019</c:v>
                </c:pt>
                <c:pt idx="8">
                  <c:v>2020</c:v>
                </c:pt>
                <c:pt idx="9">
                  <c:v>2021</c:v>
                </c:pt>
                <c:pt idx="10">
                  <c:v>2022</c:v>
                </c:pt>
                <c:pt idx="11">
                  <c:v>2023</c:v>
                </c:pt>
                <c:pt idx="12">
                  <c:v>2024</c:v>
                </c:pt>
                <c:pt idx="13">
                  <c:v>2025</c:v>
                </c:pt>
                <c:pt idx="14">
                  <c:v>2026</c:v>
                </c:pt>
                <c:pt idx="15">
                  <c:v>2027</c:v>
                </c:pt>
                <c:pt idx="16">
                  <c:v>2028</c:v>
                </c:pt>
                <c:pt idx="17">
                  <c:v>2029</c:v>
                </c:pt>
                <c:pt idx="18">
                  <c:v>2030</c:v>
                </c:pt>
              </c:numCache>
            </c:numRef>
          </c:cat>
          <c:val>
            <c:numRef>
              <c:f>APAC!$C$36:$U$36</c:f>
              <c:numCache>
                <c:formatCode>_-* #,##0_-;\-* #,##0_-;_-* "-"??_-;_-@_-</c:formatCode>
                <c:ptCount val="19"/>
                <c:pt idx="0">
                  <c:v>100.16542950699717</c:v>
                </c:pt>
                <c:pt idx="1">
                  <c:v>96.355127668879064</c:v>
                </c:pt>
                <c:pt idx="2">
                  <c:v>97.860401380725079</c:v>
                </c:pt>
                <c:pt idx="3">
                  <c:v>93.455080819206088</c:v>
                </c:pt>
                <c:pt idx="4">
                  <c:v>89.949122833713702</c:v>
                </c:pt>
                <c:pt idx="5">
                  <c:v>87.348454493772721</c:v>
                </c:pt>
                <c:pt idx="6">
                  <c:v>84.737580557986249</c:v>
                </c:pt>
                <c:pt idx="7">
                  <c:v>83.040786557767078</c:v>
                </c:pt>
                <c:pt idx="8">
                  <c:v>81.325286609436603</c:v>
                </c:pt>
                <c:pt idx="9">
                  <c:v>80.063765076214324</c:v>
                </c:pt>
                <c:pt idx="10">
                  <c:v>77.221447017206415</c:v>
                </c:pt>
                <c:pt idx="11">
                  <c:v>74.188671814069764</c:v>
                </c:pt>
                <c:pt idx="12">
                  <c:v>72.095379581229167</c:v>
                </c:pt>
                <c:pt idx="13">
                  <c:v>68.918400637700003</c:v>
                </c:pt>
                <c:pt idx="14">
                  <c:v>65.826392801470163</c:v>
                </c:pt>
                <c:pt idx="15">
                  <c:v>62.81876736155391</c:v>
                </c:pt>
                <c:pt idx="16">
                  <c:v>60.786972233736286</c:v>
                </c:pt>
                <c:pt idx="17">
                  <c:v>57.92748251296095</c:v>
                </c:pt>
                <c:pt idx="18">
                  <c:v>56.005872756398162</c:v>
                </c:pt>
              </c:numCache>
            </c:numRef>
          </c:val>
        </c:ser>
        <c:ser>
          <c:idx val="0"/>
          <c:order val="1"/>
          <c:tx>
            <c:strRef>
              <c:f>APAC!$B$35</c:f>
              <c:strCache>
                <c:ptCount val="1"/>
                <c:pt idx="0">
                  <c:v>Large-scale PV LCOE at 15% capacity factor</c:v>
                </c:pt>
              </c:strCache>
            </c:strRef>
          </c:tx>
          <c:spPr>
            <a:solidFill>
              <a:srgbClr val="FFC000"/>
            </a:solidFill>
            <a:ln w="50800">
              <a:noFill/>
            </a:ln>
          </c:spPr>
          <c:cat>
            <c:numRef>
              <c:f>APAC!$C$10:$U$10</c:f>
              <c:numCache>
                <c:formatCode>General</c:formatCode>
                <c:ptCount val="19"/>
                <c:pt idx="0">
                  <c:v>2012</c:v>
                </c:pt>
                <c:pt idx="1">
                  <c:v>2013</c:v>
                </c:pt>
                <c:pt idx="2">
                  <c:v>2014</c:v>
                </c:pt>
                <c:pt idx="3">
                  <c:v>2015</c:v>
                </c:pt>
                <c:pt idx="4">
                  <c:v>2016</c:v>
                </c:pt>
                <c:pt idx="5">
                  <c:v>2017</c:v>
                </c:pt>
                <c:pt idx="6">
                  <c:v>2018</c:v>
                </c:pt>
                <c:pt idx="7">
                  <c:v>2019</c:v>
                </c:pt>
                <c:pt idx="8">
                  <c:v>2020</c:v>
                </c:pt>
                <c:pt idx="9">
                  <c:v>2021</c:v>
                </c:pt>
                <c:pt idx="10">
                  <c:v>2022</c:v>
                </c:pt>
                <c:pt idx="11">
                  <c:v>2023</c:v>
                </c:pt>
                <c:pt idx="12">
                  <c:v>2024</c:v>
                </c:pt>
                <c:pt idx="13">
                  <c:v>2025</c:v>
                </c:pt>
                <c:pt idx="14">
                  <c:v>2026</c:v>
                </c:pt>
                <c:pt idx="15">
                  <c:v>2027</c:v>
                </c:pt>
                <c:pt idx="16">
                  <c:v>2028</c:v>
                </c:pt>
                <c:pt idx="17">
                  <c:v>2029</c:v>
                </c:pt>
                <c:pt idx="18">
                  <c:v>2030</c:v>
                </c:pt>
              </c:numCache>
            </c:numRef>
          </c:cat>
          <c:val>
            <c:numRef>
              <c:f>APAC!$C$35:$U$35</c:f>
              <c:numCache>
                <c:formatCode>_-* #,##0_-;\-* #,##0_-;_-* "-"??_-;_-@_-</c:formatCode>
                <c:ptCount val="19"/>
                <c:pt idx="0">
                  <c:v>43.728395402230731</c:v>
                </c:pt>
                <c:pt idx="1">
                  <c:v>47.538697240348839</c:v>
                </c:pt>
                <c:pt idx="2">
                  <c:v>45.674352836157055</c:v>
                </c:pt>
                <c:pt idx="3">
                  <c:v>47.695276180718778</c:v>
                </c:pt>
                <c:pt idx="4">
                  <c:v>48.415548441679007</c:v>
                </c:pt>
                <c:pt idx="5">
                  <c:v>47.922272646098008</c:v>
                </c:pt>
                <c:pt idx="6">
                  <c:v>47.198301437442908</c:v>
                </c:pt>
                <c:pt idx="7">
                  <c:v>46.879710906134463</c:v>
                </c:pt>
                <c:pt idx="8">
                  <c:v>45.748330261702449</c:v>
                </c:pt>
                <c:pt idx="9">
                  <c:v>45.018280559452322</c:v>
                </c:pt>
                <c:pt idx="10">
                  <c:v>45.042643851577921</c:v>
                </c:pt>
                <c:pt idx="11">
                  <c:v>46.107676219610696</c:v>
                </c:pt>
                <c:pt idx="12">
                  <c:v>46.243806075524446</c:v>
                </c:pt>
                <c:pt idx="13">
                  <c:v>47.474182877919858</c:v>
                </c:pt>
                <c:pt idx="14">
                  <c:v>48.630074843566589</c:v>
                </c:pt>
                <c:pt idx="15">
                  <c:v>49.712157849784404</c:v>
                </c:pt>
                <c:pt idx="16">
                  <c:v>50.650752690696045</c:v>
                </c:pt>
                <c:pt idx="17">
                  <c:v>51.603153683901155</c:v>
                </c:pt>
                <c:pt idx="18">
                  <c:v>52.444934633545103</c:v>
                </c:pt>
              </c:numCache>
            </c:numRef>
          </c:val>
        </c:ser>
        <c:ser>
          <c:idx val="10"/>
          <c:order val="5"/>
          <c:tx>
            <c:strRef>
              <c:f>APAC!$B$34</c:f>
              <c:strCache>
                <c:ptCount val="1"/>
                <c:pt idx="0">
                  <c:v>Small-scale PV LCOE - min</c:v>
                </c:pt>
              </c:strCache>
            </c:strRef>
          </c:tx>
          <c:spPr>
            <a:noFill/>
          </c:spPr>
          <c:val>
            <c:numRef>
              <c:f>APAC!$C$34:$U$34</c:f>
              <c:numCache>
                <c:formatCode>_-* #,##0_-;\-* #,##0_-;_-* "-"??_-;_-@_-</c:formatCode>
                <c:ptCount val="19"/>
                <c:pt idx="0">
                  <c:v>86.106175090772098</c:v>
                </c:pt>
                <c:pt idx="1">
                  <c:v>77.356175090772098</c:v>
                </c:pt>
                <c:pt idx="2">
                  <c:v>68.965245783117865</c:v>
                </c:pt>
                <c:pt idx="3">
                  <c:v>62.599643000075133</c:v>
                </c:pt>
                <c:pt idx="4">
                  <c:v>56.635328724607291</c:v>
                </c:pt>
                <c:pt idx="5">
                  <c:v>50.979272860129271</c:v>
                </c:pt>
                <c:pt idx="6">
                  <c:v>45.564118004570844</c:v>
                </c:pt>
                <c:pt idx="7">
                  <c:v>38.82950253609846</c:v>
                </c:pt>
                <c:pt idx="8">
                  <c:v>32.926383128860948</c:v>
                </c:pt>
                <c:pt idx="9">
                  <c:v>32.917954364333355</c:v>
                </c:pt>
                <c:pt idx="10">
                  <c:v>33.735909131215664</c:v>
                </c:pt>
                <c:pt idx="11">
                  <c:v>33.703651966319541</c:v>
                </c:pt>
                <c:pt idx="12">
                  <c:v>33.660814343246386</c:v>
                </c:pt>
                <c:pt idx="13">
                  <c:v>33.607416484380138</c:v>
                </c:pt>
                <c:pt idx="14">
                  <c:v>33.543532354963247</c:v>
                </c:pt>
                <c:pt idx="15">
                  <c:v>33.469074788661686</c:v>
                </c:pt>
                <c:pt idx="16">
                  <c:v>32.562275075567669</c:v>
                </c:pt>
                <c:pt idx="17">
                  <c:v>32.469363803137895</c:v>
                </c:pt>
                <c:pt idx="18">
                  <c:v>31.549192610056735</c:v>
                </c:pt>
              </c:numCache>
            </c:numRef>
          </c:val>
        </c:ser>
        <c:dLbls>
          <c:showLegendKey val="0"/>
          <c:showVal val="0"/>
          <c:showCatName val="0"/>
          <c:showSerName val="0"/>
          <c:showPercent val="0"/>
          <c:showBubbleSize val="0"/>
        </c:dLbls>
        <c:axId val="401240832"/>
        <c:axId val="401242368"/>
      </c:areaChart>
      <c:lineChart>
        <c:grouping val="standard"/>
        <c:varyColors val="0"/>
        <c:ser>
          <c:idx val="3"/>
          <c:order val="2"/>
          <c:tx>
            <c:strRef>
              <c:f>APAC!$B$14</c:f>
              <c:strCache>
                <c:ptCount val="1"/>
                <c:pt idx="0">
                  <c:v>SE Asia gas </c:v>
                </c:pt>
              </c:strCache>
            </c:strRef>
          </c:tx>
          <c:spPr>
            <a:ln w="38100">
              <a:solidFill>
                <a:srgbClr val="725492"/>
              </a:solidFill>
              <a:prstDash val="solid"/>
            </a:ln>
          </c:spPr>
          <c:marker>
            <c:symbol val="none"/>
          </c:marker>
          <c:cat>
            <c:numRef>
              <c:f>APAC!$C$10:$U$10</c:f>
              <c:numCache>
                <c:formatCode>General</c:formatCode>
                <c:ptCount val="19"/>
                <c:pt idx="0">
                  <c:v>2012</c:v>
                </c:pt>
                <c:pt idx="1">
                  <c:v>2013</c:v>
                </c:pt>
                <c:pt idx="2">
                  <c:v>2014</c:v>
                </c:pt>
                <c:pt idx="3">
                  <c:v>2015</c:v>
                </c:pt>
                <c:pt idx="4">
                  <c:v>2016</c:v>
                </c:pt>
                <c:pt idx="5">
                  <c:v>2017</c:v>
                </c:pt>
                <c:pt idx="6">
                  <c:v>2018</c:v>
                </c:pt>
                <c:pt idx="7">
                  <c:v>2019</c:v>
                </c:pt>
                <c:pt idx="8">
                  <c:v>2020</c:v>
                </c:pt>
                <c:pt idx="9">
                  <c:v>2021</c:v>
                </c:pt>
                <c:pt idx="10">
                  <c:v>2022</c:v>
                </c:pt>
                <c:pt idx="11">
                  <c:v>2023</c:v>
                </c:pt>
                <c:pt idx="12">
                  <c:v>2024</c:v>
                </c:pt>
                <c:pt idx="13">
                  <c:v>2025</c:v>
                </c:pt>
                <c:pt idx="14">
                  <c:v>2026</c:v>
                </c:pt>
                <c:pt idx="15">
                  <c:v>2027</c:v>
                </c:pt>
                <c:pt idx="16">
                  <c:v>2028</c:v>
                </c:pt>
                <c:pt idx="17">
                  <c:v>2029</c:v>
                </c:pt>
                <c:pt idx="18">
                  <c:v>2030</c:v>
                </c:pt>
              </c:numCache>
            </c:numRef>
          </c:cat>
          <c:val>
            <c:numRef>
              <c:f>APAC!$C$14:$U$14</c:f>
              <c:numCache>
                <c:formatCode>0</c:formatCode>
                <c:ptCount val="19"/>
                <c:pt idx="0">
                  <c:v>94</c:v>
                </c:pt>
                <c:pt idx="1">
                  <c:v>94</c:v>
                </c:pt>
                <c:pt idx="2">
                  <c:v>94.857142857142861</c:v>
                </c:pt>
                <c:pt idx="3">
                  <c:v>95.714285714285722</c:v>
                </c:pt>
                <c:pt idx="4">
                  <c:v>96.571428571428584</c:v>
                </c:pt>
                <c:pt idx="5">
                  <c:v>97.428571428571445</c:v>
                </c:pt>
                <c:pt idx="6">
                  <c:v>98.285714285714306</c:v>
                </c:pt>
                <c:pt idx="7">
                  <c:v>99.142857142857167</c:v>
                </c:pt>
                <c:pt idx="8">
                  <c:v>100</c:v>
                </c:pt>
                <c:pt idx="9">
                  <c:v>100.8</c:v>
                </c:pt>
                <c:pt idx="10">
                  <c:v>101.6</c:v>
                </c:pt>
                <c:pt idx="11">
                  <c:v>102.39999999999999</c:v>
                </c:pt>
                <c:pt idx="12">
                  <c:v>103.19999999999999</c:v>
                </c:pt>
                <c:pt idx="13">
                  <c:v>104</c:v>
                </c:pt>
                <c:pt idx="14">
                  <c:v>105</c:v>
                </c:pt>
                <c:pt idx="15">
                  <c:v>106</c:v>
                </c:pt>
                <c:pt idx="16">
                  <c:v>107</c:v>
                </c:pt>
                <c:pt idx="17">
                  <c:v>108</c:v>
                </c:pt>
                <c:pt idx="18">
                  <c:v>109</c:v>
                </c:pt>
              </c:numCache>
            </c:numRef>
          </c:val>
          <c:smooth val="0"/>
        </c:ser>
        <c:ser>
          <c:idx val="4"/>
          <c:order val="3"/>
          <c:tx>
            <c:strRef>
              <c:f>APAC!$B$15</c:f>
              <c:strCache>
                <c:ptCount val="1"/>
                <c:pt idx="0">
                  <c:v>NE Asia LNG</c:v>
                </c:pt>
              </c:strCache>
            </c:strRef>
          </c:tx>
          <c:spPr>
            <a:ln w="34925">
              <a:solidFill>
                <a:srgbClr val="2F8FCC"/>
              </a:solidFill>
            </a:ln>
          </c:spPr>
          <c:marker>
            <c:symbol val="none"/>
          </c:marker>
          <c:cat>
            <c:numRef>
              <c:f>APAC!$C$10:$U$10</c:f>
              <c:numCache>
                <c:formatCode>General</c:formatCode>
                <c:ptCount val="19"/>
                <c:pt idx="0">
                  <c:v>2012</c:v>
                </c:pt>
                <c:pt idx="1">
                  <c:v>2013</c:v>
                </c:pt>
                <c:pt idx="2">
                  <c:v>2014</c:v>
                </c:pt>
                <c:pt idx="3">
                  <c:v>2015</c:v>
                </c:pt>
                <c:pt idx="4">
                  <c:v>2016</c:v>
                </c:pt>
                <c:pt idx="5">
                  <c:v>2017</c:v>
                </c:pt>
                <c:pt idx="6">
                  <c:v>2018</c:v>
                </c:pt>
                <c:pt idx="7">
                  <c:v>2019</c:v>
                </c:pt>
                <c:pt idx="8">
                  <c:v>2020</c:v>
                </c:pt>
                <c:pt idx="9">
                  <c:v>2021</c:v>
                </c:pt>
                <c:pt idx="10">
                  <c:v>2022</c:v>
                </c:pt>
                <c:pt idx="11">
                  <c:v>2023</c:v>
                </c:pt>
                <c:pt idx="12">
                  <c:v>2024</c:v>
                </c:pt>
                <c:pt idx="13">
                  <c:v>2025</c:v>
                </c:pt>
                <c:pt idx="14">
                  <c:v>2026</c:v>
                </c:pt>
                <c:pt idx="15">
                  <c:v>2027</c:v>
                </c:pt>
                <c:pt idx="16">
                  <c:v>2028</c:v>
                </c:pt>
                <c:pt idx="17">
                  <c:v>2029</c:v>
                </c:pt>
                <c:pt idx="18">
                  <c:v>2030</c:v>
                </c:pt>
              </c:numCache>
            </c:numRef>
          </c:cat>
          <c:val>
            <c:numRef>
              <c:f>APAC!$C$15:$U$15</c:f>
              <c:numCache>
                <c:formatCode>0</c:formatCode>
                <c:ptCount val="19"/>
                <c:pt idx="0">
                  <c:v>143</c:v>
                </c:pt>
                <c:pt idx="1">
                  <c:v>143</c:v>
                </c:pt>
                <c:pt idx="2">
                  <c:v>144.85714285714286</c:v>
                </c:pt>
                <c:pt idx="3">
                  <c:v>146.71428571428572</c:v>
                </c:pt>
                <c:pt idx="4">
                  <c:v>148.57142857142858</c:v>
                </c:pt>
                <c:pt idx="5">
                  <c:v>150.42857142857144</c:v>
                </c:pt>
                <c:pt idx="6">
                  <c:v>152.28571428571431</c:v>
                </c:pt>
                <c:pt idx="7">
                  <c:v>154.14285714285717</c:v>
                </c:pt>
                <c:pt idx="8">
                  <c:v>156</c:v>
                </c:pt>
                <c:pt idx="9">
                  <c:v>159.4</c:v>
                </c:pt>
                <c:pt idx="10">
                  <c:v>162.80000000000001</c:v>
                </c:pt>
                <c:pt idx="11">
                  <c:v>166.20000000000002</c:v>
                </c:pt>
                <c:pt idx="12">
                  <c:v>169.60000000000002</c:v>
                </c:pt>
                <c:pt idx="13">
                  <c:v>173</c:v>
                </c:pt>
                <c:pt idx="14">
                  <c:v>176.8</c:v>
                </c:pt>
                <c:pt idx="15">
                  <c:v>180.60000000000002</c:v>
                </c:pt>
                <c:pt idx="16">
                  <c:v>184.40000000000003</c:v>
                </c:pt>
                <c:pt idx="17">
                  <c:v>188.20000000000005</c:v>
                </c:pt>
                <c:pt idx="18">
                  <c:v>192</c:v>
                </c:pt>
              </c:numCache>
            </c:numRef>
          </c:val>
          <c:smooth val="0"/>
        </c:ser>
        <c:ser>
          <c:idx val="5"/>
          <c:order val="4"/>
          <c:tx>
            <c:strRef>
              <c:f>APAC!$B$16</c:f>
              <c:strCache>
                <c:ptCount val="1"/>
                <c:pt idx="0">
                  <c:v>SE Asia coal</c:v>
                </c:pt>
              </c:strCache>
            </c:strRef>
          </c:tx>
          <c:spPr>
            <a:ln w="34925">
              <a:solidFill>
                <a:srgbClr val="000000">
                  <a:lumMod val="75000"/>
                  <a:lumOff val="25000"/>
                </a:srgbClr>
              </a:solidFill>
              <a:prstDash val="solid"/>
            </a:ln>
          </c:spPr>
          <c:marker>
            <c:symbol val="none"/>
          </c:marker>
          <c:cat>
            <c:numRef>
              <c:f>APAC!$C$10:$U$10</c:f>
              <c:numCache>
                <c:formatCode>General</c:formatCode>
                <c:ptCount val="19"/>
                <c:pt idx="0">
                  <c:v>2012</c:v>
                </c:pt>
                <c:pt idx="1">
                  <c:v>2013</c:v>
                </c:pt>
                <c:pt idx="2">
                  <c:v>2014</c:v>
                </c:pt>
                <c:pt idx="3">
                  <c:v>2015</c:v>
                </c:pt>
                <c:pt idx="4">
                  <c:v>2016</c:v>
                </c:pt>
                <c:pt idx="5">
                  <c:v>2017</c:v>
                </c:pt>
                <c:pt idx="6">
                  <c:v>2018</c:v>
                </c:pt>
                <c:pt idx="7">
                  <c:v>2019</c:v>
                </c:pt>
                <c:pt idx="8">
                  <c:v>2020</c:v>
                </c:pt>
                <c:pt idx="9">
                  <c:v>2021</c:v>
                </c:pt>
                <c:pt idx="10">
                  <c:v>2022</c:v>
                </c:pt>
                <c:pt idx="11">
                  <c:v>2023</c:v>
                </c:pt>
                <c:pt idx="12">
                  <c:v>2024</c:v>
                </c:pt>
                <c:pt idx="13">
                  <c:v>2025</c:v>
                </c:pt>
                <c:pt idx="14">
                  <c:v>2026</c:v>
                </c:pt>
                <c:pt idx="15">
                  <c:v>2027</c:v>
                </c:pt>
                <c:pt idx="16">
                  <c:v>2028</c:v>
                </c:pt>
                <c:pt idx="17">
                  <c:v>2029</c:v>
                </c:pt>
                <c:pt idx="18">
                  <c:v>2030</c:v>
                </c:pt>
              </c:numCache>
            </c:numRef>
          </c:cat>
          <c:val>
            <c:numRef>
              <c:f>APAC!$C$16:$U$16</c:f>
              <c:numCache>
                <c:formatCode>0</c:formatCode>
                <c:ptCount val="19"/>
                <c:pt idx="0">
                  <c:v>96</c:v>
                </c:pt>
                <c:pt idx="1">
                  <c:v>96</c:v>
                </c:pt>
                <c:pt idx="2">
                  <c:v>96.857142857142861</c:v>
                </c:pt>
                <c:pt idx="3">
                  <c:v>97.714285714285722</c:v>
                </c:pt>
                <c:pt idx="4">
                  <c:v>98.571428571428584</c:v>
                </c:pt>
                <c:pt idx="5">
                  <c:v>99.428571428571445</c:v>
                </c:pt>
                <c:pt idx="6">
                  <c:v>100.28571428571431</c:v>
                </c:pt>
                <c:pt idx="7">
                  <c:v>101.14285714285717</c:v>
                </c:pt>
                <c:pt idx="8">
                  <c:v>102</c:v>
                </c:pt>
                <c:pt idx="9">
                  <c:v>103</c:v>
                </c:pt>
                <c:pt idx="10">
                  <c:v>104</c:v>
                </c:pt>
                <c:pt idx="11">
                  <c:v>105</c:v>
                </c:pt>
                <c:pt idx="12">
                  <c:v>106</c:v>
                </c:pt>
                <c:pt idx="13">
                  <c:v>107</c:v>
                </c:pt>
                <c:pt idx="14">
                  <c:v>108.2</c:v>
                </c:pt>
                <c:pt idx="15">
                  <c:v>109.4</c:v>
                </c:pt>
                <c:pt idx="16">
                  <c:v>110.60000000000001</c:v>
                </c:pt>
                <c:pt idx="17">
                  <c:v>111.80000000000001</c:v>
                </c:pt>
                <c:pt idx="18">
                  <c:v>113</c:v>
                </c:pt>
              </c:numCache>
            </c:numRef>
          </c:val>
          <c:smooth val="0"/>
        </c:ser>
        <c:ser>
          <c:idx val="2"/>
          <c:order val="6"/>
          <c:tx>
            <c:strRef>
              <c:f>APAC!$B$18</c:f>
              <c:strCache>
                <c:ptCount val="1"/>
                <c:pt idx="0">
                  <c:v>US gas</c:v>
                </c:pt>
              </c:strCache>
            </c:strRef>
          </c:tx>
          <c:spPr>
            <a:ln>
              <a:solidFill>
                <a:srgbClr val="BCA6D0"/>
              </a:solidFill>
            </a:ln>
          </c:spPr>
          <c:marker>
            <c:symbol val="none"/>
          </c:marker>
          <c:val>
            <c:numRef>
              <c:f>APAC!$C$18:$U$18</c:f>
              <c:numCache>
                <c:formatCode>0</c:formatCode>
                <c:ptCount val="19"/>
                <c:pt idx="0">
                  <c:v>79</c:v>
                </c:pt>
                <c:pt idx="1">
                  <c:v>79</c:v>
                </c:pt>
                <c:pt idx="2">
                  <c:v>79.428571428571431</c:v>
                </c:pt>
                <c:pt idx="3">
                  <c:v>79.857142857142861</c:v>
                </c:pt>
                <c:pt idx="4">
                  <c:v>80.285714285714292</c:v>
                </c:pt>
                <c:pt idx="5">
                  <c:v>80.714285714285722</c:v>
                </c:pt>
                <c:pt idx="6">
                  <c:v>81.142857142857153</c:v>
                </c:pt>
                <c:pt idx="7">
                  <c:v>81.571428571428584</c:v>
                </c:pt>
                <c:pt idx="8">
                  <c:v>82</c:v>
                </c:pt>
                <c:pt idx="9">
                  <c:v>87</c:v>
                </c:pt>
                <c:pt idx="10">
                  <c:v>92</c:v>
                </c:pt>
                <c:pt idx="11">
                  <c:v>97</c:v>
                </c:pt>
                <c:pt idx="12">
                  <c:v>102</c:v>
                </c:pt>
                <c:pt idx="13">
                  <c:v>107</c:v>
                </c:pt>
                <c:pt idx="14">
                  <c:v>111.2</c:v>
                </c:pt>
                <c:pt idx="15">
                  <c:v>115.4</c:v>
                </c:pt>
                <c:pt idx="16">
                  <c:v>119.60000000000001</c:v>
                </c:pt>
                <c:pt idx="17">
                  <c:v>123.80000000000001</c:v>
                </c:pt>
                <c:pt idx="18">
                  <c:v>128</c:v>
                </c:pt>
              </c:numCache>
            </c:numRef>
          </c:val>
          <c:smooth val="0"/>
        </c:ser>
        <c:dLbls>
          <c:showLegendKey val="0"/>
          <c:showVal val="0"/>
          <c:showCatName val="0"/>
          <c:showSerName val="0"/>
          <c:showPercent val="0"/>
          <c:showBubbleSize val="0"/>
        </c:dLbls>
        <c:marker val="1"/>
        <c:smooth val="0"/>
        <c:axId val="401240832"/>
        <c:axId val="401242368"/>
      </c:lineChart>
      <c:catAx>
        <c:axId val="401240832"/>
        <c:scaling>
          <c:orientation val="minMax"/>
        </c:scaling>
        <c:delete val="0"/>
        <c:axPos val="b"/>
        <c:numFmt formatCode="General" sourceLinked="1"/>
        <c:majorTickMark val="out"/>
        <c:minorTickMark val="none"/>
        <c:tickLblPos val="nextTo"/>
        <c:crossAx val="401242368"/>
        <c:crosses val="autoZero"/>
        <c:auto val="1"/>
        <c:lblAlgn val="ctr"/>
        <c:lblOffset val="100"/>
        <c:tickLblSkip val="2"/>
        <c:noMultiLvlLbl val="0"/>
      </c:catAx>
      <c:valAx>
        <c:axId val="401242368"/>
        <c:scaling>
          <c:orientation val="minMax"/>
          <c:max val="300"/>
        </c:scaling>
        <c:delete val="0"/>
        <c:axPos val="l"/>
        <c:majorGridlines>
          <c:spPr>
            <a:ln w="3175">
              <a:solidFill>
                <a:srgbClr val="C0C0C0"/>
              </a:solidFill>
              <a:prstDash val="sysDash"/>
            </a:ln>
          </c:spPr>
        </c:majorGridlines>
        <c:numFmt formatCode="#,##0" sourceLinked="0"/>
        <c:majorTickMark val="out"/>
        <c:minorTickMark val="none"/>
        <c:tickLblPos val="nextTo"/>
        <c:crossAx val="401240832"/>
        <c:crosses val="autoZero"/>
        <c:crossBetween val="between"/>
      </c:valAx>
    </c:plotArea>
    <c:plotVisOnly val="1"/>
    <c:dispBlanksAs val="gap"/>
    <c:showDLblsOverMax val="0"/>
  </c:chart>
  <c:spPr>
    <a:ln>
      <a:noFill/>
    </a:ln>
  </c:spPr>
  <c:txPr>
    <a:bodyPr/>
    <a:lstStyle/>
    <a:p>
      <a:pPr>
        <a:defRPr sz="1200">
          <a:latin typeface="Arial" pitchFamily="34" charset="0"/>
          <a:cs typeface="Arial" pitchFamily="34" charset="0"/>
        </a:defRPr>
      </a:pPr>
      <a:endParaRPr lang="en-US"/>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4.6892962600973628E-2"/>
          <c:y val="3.2433371201734215E-2"/>
          <c:w val="0.87649115081097406"/>
          <c:h val="0.86762721823951361"/>
        </c:manualLayout>
      </c:layout>
      <c:areaChart>
        <c:grouping val="percentStacked"/>
        <c:varyColors val="0"/>
        <c:ser>
          <c:idx val="0"/>
          <c:order val="0"/>
          <c:tx>
            <c:strRef>
              <c:f>Annual_DATA!$B$106</c:f>
              <c:strCache>
                <c:ptCount val="1"/>
                <c:pt idx="0">
                  <c:v>Asset finance</c:v>
                </c:pt>
              </c:strCache>
            </c:strRef>
          </c:tx>
          <c:spPr>
            <a:solidFill>
              <a:srgbClr val="725492"/>
            </a:solidFill>
            <a:ln w="12700">
              <a:solidFill>
                <a:srgbClr val="C0C0C0"/>
              </a:solidFill>
            </a:ln>
          </c:spPr>
          <c:cat>
            <c:strRef>
              <c:f>Annual_DATA!$F$105:$Q$105</c:f>
              <c:strCache>
                <c:ptCount val="12"/>
                <c:pt idx="0">
                  <c:v>2003</c:v>
                </c:pt>
                <c:pt idx="1">
                  <c:v>2004</c:v>
                </c:pt>
                <c:pt idx="2">
                  <c:v>2005</c:v>
                </c:pt>
                <c:pt idx="3">
                  <c:v>2006</c:v>
                </c:pt>
                <c:pt idx="4">
                  <c:v>2007</c:v>
                </c:pt>
                <c:pt idx="5">
                  <c:v>2008</c:v>
                </c:pt>
                <c:pt idx="6">
                  <c:v>2009</c:v>
                </c:pt>
                <c:pt idx="7">
                  <c:v>2010</c:v>
                </c:pt>
                <c:pt idx="8">
                  <c:v>2011</c:v>
                </c:pt>
                <c:pt idx="9">
                  <c:v>2012</c:v>
                </c:pt>
                <c:pt idx="10">
                  <c:v>2013</c:v>
                </c:pt>
                <c:pt idx="11">
                  <c:v>H1 2014</c:v>
                </c:pt>
              </c:strCache>
            </c:strRef>
          </c:cat>
          <c:val>
            <c:numRef>
              <c:f>Annual_DATA!$F$130:$Q$130</c:f>
              <c:numCache>
                <c:formatCode>0.0,</c:formatCode>
                <c:ptCount val="12"/>
                <c:pt idx="0">
                  <c:v>3860.1618999999992</c:v>
                </c:pt>
                <c:pt idx="1">
                  <c:v>7095.8316075532475</c:v>
                </c:pt>
                <c:pt idx="2">
                  <c:v>11739.468008425236</c:v>
                </c:pt>
                <c:pt idx="3">
                  <c:v>17474.00764800001</c:v>
                </c:pt>
                <c:pt idx="4">
                  <c:v>24692.867884853706</c:v>
                </c:pt>
                <c:pt idx="5">
                  <c:v>36015.954964037031</c:v>
                </c:pt>
                <c:pt idx="6">
                  <c:v>40723.448890552674</c:v>
                </c:pt>
                <c:pt idx="7">
                  <c:v>55122.528065269187</c:v>
                </c:pt>
                <c:pt idx="8">
                  <c:v>70371.725579329664</c:v>
                </c:pt>
                <c:pt idx="9">
                  <c:v>72136.30226140398</c:v>
                </c:pt>
                <c:pt idx="10">
                  <c:v>78207.054729771291</c:v>
                </c:pt>
                <c:pt idx="11">
                  <c:v>31723.503946862045</c:v>
                </c:pt>
              </c:numCache>
            </c:numRef>
          </c:val>
        </c:ser>
        <c:ser>
          <c:idx val="1"/>
          <c:order val="1"/>
          <c:tx>
            <c:strRef>
              <c:f>Annual_DATA!$B$107</c:f>
              <c:strCache>
                <c:ptCount val="1"/>
                <c:pt idx="0">
                  <c:v>Small distributed capacity</c:v>
                </c:pt>
              </c:strCache>
            </c:strRef>
          </c:tx>
          <c:spPr>
            <a:solidFill>
              <a:srgbClr val="FF6D22"/>
            </a:solidFill>
            <a:ln w="12700">
              <a:solidFill>
                <a:srgbClr val="C0C0C0"/>
              </a:solidFill>
            </a:ln>
          </c:spPr>
          <c:cat>
            <c:strRef>
              <c:f>Annual_DATA!$F$105:$Q$105</c:f>
              <c:strCache>
                <c:ptCount val="12"/>
                <c:pt idx="0">
                  <c:v>2003</c:v>
                </c:pt>
                <c:pt idx="1">
                  <c:v>2004</c:v>
                </c:pt>
                <c:pt idx="2">
                  <c:v>2005</c:v>
                </c:pt>
                <c:pt idx="3">
                  <c:v>2006</c:v>
                </c:pt>
                <c:pt idx="4">
                  <c:v>2007</c:v>
                </c:pt>
                <c:pt idx="5">
                  <c:v>2008</c:v>
                </c:pt>
                <c:pt idx="6">
                  <c:v>2009</c:v>
                </c:pt>
                <c:pt idx="7">
                  <c:v>2010</c:v>
                </c:pt>
                <c:pt idx="8">
                  <c:v>2011</c:v>
                </c:pt>
                <c:pt idx="9">
                  <c:v>2012</c:v>
                </c:pt>
                <c:pt idx="10">
                  <c:v>2013</c:v>
                </c:pt>
                <c:pt idx="11">
                  <c:v>H1 2014</c:v>
                </c:pt>
              </c:strCache>
            </c:strRef>
          </c:cat>
          <c:val>
            <c:numRef>
              <c:f>Annual_DATA!$F$131:$Q$131</c:f>
              <c:numCache>
                <c:formatCode>0.0,</c:formatCode>
                <c:ptCount val="12"/>
                <c:pt idx="0">
                  <c:v>2173.5306666666665</c:v>
                </c:pt>
                <c:pt idx="1">
                  <c:v>2557.6720000000005</c:v>
                </c:pt>
                <c:pt idx="2">
                  <c:v>2522.1713333333341</c:v>
                </c:pt>
                <c:pt idx="3">
                  <c:v>2397.5266666666648</c:v>
                </c:pt>
                <c:pt idx="4">
                  <c:v>2601.0533333333333</c:v>
                </c:pt>
                <c:pt idx="5">
                  <c:v>2893.8235178420609</c:v>
                </c:pt>
                <c:pt idx="6">
                  <c:v>5946.5796658139207</c:v>
                </c:pt>
                <c:pt idx="7">
                  <c:v>9818.8811710000009</c:v>
                </c:pt>
                <c:pt idx="8">
                  <c:v>15956.270376533332</c:v>
                </c:pt>
                <c:pt idx="9">
                  <c:v>25201.186826933332</c:v>
                </c:pt>
                <c:pt idx="10">
                  <c:v>30095.873537853135</c:v>
                </c:pt>
                <c:pt idx="11">
                  <c:v>22918.237489326257</c:v>
                </c:pt>
              </c:numCache>
            </c:numRef>
          </c:val>
        </c:ser>
        <c:ser>
          <c:idx val="2"/>
          <c:order val="2"/>
          <c:tx>
            <c:strRef>
              <c:f>Annual_DATA!$B$108</c:f>
              <c:strCache>
                <c:ptCount val="1"/>
                <c:pt idx="0">
                  <c:v>Venture capital / private equity</c:v>
                </c:pt>
              </c:strCache>
            </c:strRef>
          </c:tx>
          <c:spPr>
            <a:solidFill>
              <a:srgbClr val="BCA6D0"/>
            </a:solidFill>
            <a:ln w="12700">
              <a:solidFill>
                <a:srgbClr val="C0C0C0"/>
              </a:solidFill>
            </a:ln>
          </c:spPr>
          <c:cat>
            <c:strRef>
              <c:f>Annual_DATA!$F$105:$Q$105</c:f>
              <c:strCache>
                <c:ptCount val="12"/>
                <c:pt idx="0">
                  <c:v>2003</c:v>
                </c:pt>
                <c:pt idx="1">
                  <c:v>2004</c:v>
                </c:pt>
                <c:pt idx="2">
                  <c:v>2005</c:v>
                </c:pt>
                <c:pt idx="3">
                  <c:v>2006</c:v>
                </c:pt>
                <c:pt idx="4">
                  <c:v>2007</c:v>
                </c:pt>
                <c:pt idx="5">
                  <c:v>2008</c:v>
                </c:pt>
                <c:pt idx="6">
                  <c:v>2009</c:v>
                </c:pt>
                <c:pt idx="7">
                  <c:v>2010</c:v>
                </c:pt>
                <c:pt idx="8">
                  <c:v>2011</c:v>
                </c:pt>
                <c:pt idx="9">
                  <c:v>2012</c:v>
                </c:pt>
                <c:pt idx="10">
                  <c:v>2013</c:v>
                </c:pt>
                <c:pt idx="11">
                  <c:v>H1 2014</c:v>
                </c:pt>
              </c:strCache>
            </c:strRef>
          </c:cat>
          <c:val>
            <c:numRef>
              <c:f>Annual_DATA!$F$132:$Q$132</c:f>
              <c:numCache>
                <c:formatCode>0.0,</c:formatCode>
                <c:ptCount val="12"/>
                <c:pt idx="0">
                  <c:v>96.61</c:v>
                </c:pt>
                <c:pt idx="1">
                  <c:v>135.46326457565181</c:v>
                </c:pt>
                <c:pt idx="2">
                  <c:v>125.92786443450834</c:v>
                </c:pt>
                <c:pt idx="3">
                  <c:v>1075.0101210000003</c:v>
                </c:pt>
                <c:pt idx="4">
                  <c:v>1091.3902016120724</c:v>
                </c:pt>
                <c:pt idx="5">
                  <c:v>1612.8569882333065</c:v>
                </c:pt>
                <c:pt idx="6">
                  <c:v>565.48171314071521</c:v>
                </c:pt>
                <c:pt idx="7">
                  <c:v>559.91838020429122</c:v>
                </c:pt>
                <c:pt idx="8">
                  <c:v>895.44661108955631</c:v>
                </c:pt>
                <c:pt idx="9">
                  <c:v>554.03705821761685</c:v>
                </c:pt>
                <c:pt idx="10">
                  <c:v>303.15185283536601</c:v>
                </c:pt>
                <c:pt idx="11">
                  <c:v>230.550075358752</c:v>
                </c:pt>
              </c:numCache>
            </c:numRef>
          </c:val>
        </c:ser>
        <c:ser>
          <c:idx val="3"/>
          <c:order val="3"/>
          <c:tx>
            <c:strRef>
              <c:f>Annual_DATA!$B$109</c:f>
              <c:strCache>
                <c:ptCount val="1"/>
                <c:pt idx="0">
                  <c:v>Public markets</c:v>
                </c:pt>
              </c:strCache>
            </c:strRef>
          </c:tx>
          <c:spPr>
            <a:solidFill>
              <a:srgbClr val="2F8FCC"/>
            </a:solidFill>
            <a:ln w="12700">
              <a:solidFill>
                <a:srgbClr val="C0C0C0"/>
              </a:solidFill>
            </a:ln>
          </c:spPr>
          <c:cat>
            <c:strRef>
              <c:f>Annual_DATA!$F$105:$Q$105</c:f>
              <c:strCache>
                <c:ptCount val="12"/>
                <c:pt idx="0">
                  <c:v>2003</c:v>
                </c:pt>
                <c:pt idx="1">
                  <c:v>2004</c:v>
                </c:pt>
                <c:pt idx="2">
                  <c:v>2005</c:v>
                </c:pt>
                <c:pt idx="3">
                  <c:v>2006</c:v>
                </c:pt>
                <c:pt idx="4">
                  <c:v>2007</c:v>
                </c:pt>
                <c:pt idx="5">
                  <c:v>2008</c:v>
                </c:pt>
                <c:pt idx="6">
                  <c:v>2009</c:v>
                </c:pt>
                <c:pt idx="7">
                  <c:v>2010</c:v>
                </c:pt>
                <c:pt idx="8">
                  <c:v>2011</c:v>
                </c:pt>
                <c:pt idx="9">
                  <c:v>2012</c:v>
                </c:pt>
                <c:pt idx="10">
                  <c:v>2013</c:v>
                </c:pt>
                <c:pt idx="11">
                  <c:v>H1 2014</c:v>
                </c:pt>
              </c:strCache>
            </c:strRef>
          </c:cat>
          <c:val>
            <c:numRef>
              <c:f>Annual_DATA!$F$133:$Q$133</c:f>
              <c:numCache>
                <c:formatCode>0.0,</c:formatCode>
                <c:ptCount val="12"/>
                <c:pt idx="0">
                  <c:v>61.1</c:v>
                </c:pt>
                <c:pt idx="1">
                  <c:v>48.160089546378863</c:v>
                </c:pt>
                <c:pt idx="2">
                  <c:v>835.57871062621018</c:v>
                </c:pt>
                <c:pt idx="3">
                  <c:v>789.54265800000007</c:v>
                </c:pt>
                <c:pt idx="4">
                  <c:v>2961.3678528854748</c:v>
                </c:pt>
                <c:pt idx="5">
                  <c:v>432.10518626144744</c:v>
                </c:pt>
                <c:pt idx="6">
                  <c:v>6086.5485793644184</c:v>
                </c:pt>
                <c:pt idx="7">
                  <c:v>7374.0463385996882</c:v>
                </c:pt>
                <c:pt idx="8">
                  <c:v>7191.1826358182898</c:v>
                </c:pt>
                <c:pt idx="9">
                  <c:v>2397.4880589772506</c:v>
                </c:pt>
                <c:pt idx="10">
                  <c:v>3036.744844216852</c:v>
                </c:pt>
                <c:pt idx="11">
                  <c:v>153.93025999999998</c:v>
                </c:pt>
              </c:numCache>
            </c:numRef>
          </c:val>
        </c:ser>
        <c:ser>
          <c:idx val="4"/>
          <c:order val="4"/>
          <c:tx>
            <c:strRef>
              <c:f>Annual_DATA!$B$110</c:f>
              <c:strCache>
                <c:ptCount val="1"/>
                <c:pt idx="0">
                  <c:v>R&amp;D</c:v>
                </c:pt>
              </c:strCache>
            </c:strRef>
          </c:tx>
          <c:spPr>
            <a:solidFill>
              <a:srgbClr val="00B9E4"/>
            </a:solidFill>
            <a:ln w="12700">
              <a:solidFill>
                <a:srgbClr val="C0C0C0"/>
              </a:solidFill>
            </a:ln>
          </c:spPr>
          <c:cat>
            <c:strRef>
              <c:f>Annual_DATA!$F$105:$Q$105</c:f>
              <c:strCache>
                <c:ptCount val="12"/>
                <c:pt idx="0">
                  <c:v>2003</c:v>
                </c:pt>
                <c:pt idx="1">
                  <c:v>2004</c:v>
                </c:pt>
                <c:pt idx="2">
                  <c:v>2005</c:v>
                </c:pt>
                <c:pt idx="3">
                  <c:v>2006</c:v>
                </c:pt>
                <c:pt idx="4">
                  <c:v>2007</c:v>
                </c:pt>
                <c:pt idx="5">
                  <c:v>2008</c:v>
                </c:pt>
                <c:pt idx="6">
                  <c:v>2009</c:v>
                </c:pt>
                <c:pt idx="7">
                  <c:v>2010</c:v>
                </c:pt>
                <c:pt idx="8">
                  <c:v>2011</c:v>
                </c:pt>
                <c:pt idx="9">
                  <c:v>2012</c:v>
                </c:pt>
                <c:pt idx="10">
                  <c:v>2013</c:v>
                </c:pt>
                <c:pt idx="11">
                  <c:v>H1 2014</c:v>
                </c:pt>
              </c:strCache>
            </c:strRef>
          </c:cat>
          <c:val>
            <c:numRef>
              <c:f>Annual_DATA!$F$134:$Q$134</c:f>
              <c:numCache>
                <c:formatCode>0.0,</c:formatCode>
                <c:ptCount val="12"/>
                <c:pt idx="0">
                  <c:v>0</c:v>
                </c:pt>
                <c:pt idx="1">
                  <c:v>7732.1307343481531</c:v>
                </c:pt>
                <c:pt idx="2">
                  <c:v>7001.0850047403192</c:v>
                </c:pt>
                <c:pt idx="3">
                  <c:v>7178.5979991548775</c:v>
                </c:pt>
                <c:pt idx="4">
                  <c:v>7825.4004474047706</c:v>
                </c:pt>
                <c:pt idx="5">
                  <c:v>8905.439543297005</c:v>
                </c:pt>
                <c:pt idx="6">
                  <c:v>8774.5170058169078</c:v>
                </c:pt>
                <c:pt idx="7">
                  <c:v>9962.2235630883151</c:v>
                </c:pt>
                <c:pt idx="8">
                  <c:v>10614.338075765507</c:v>
                </c:pt>
                <c:pt idx="9">
                  <c:v>9867.3358991877794</c:v>
                </c:pt>
                <c:pt idx="10">
                  <c:v>10103.652047505371</c:v>
                </c:pt>
                <c:pt idx="11">
                  <c:v>0</c:v>
                </c:pt>
              </c:numCache>
            </c:numRef>
          </c:val>
        </c:ser>
        <c:dLbls>
          <c:showLegendKey val="0"/>
          <c:showVal val="0"/>
          <c:showCatName val="0"/>
          <c:showSerName val="0"/>
          <c:showPercent val="0"/>
          <c:showBubbleSize val="0"/>
        </c:dLbls>
        <c:axId val="336172160"/>
        <c:axId val="336173696"/>
      </c:areaChart>
      <c:catAx>
        <c:axId val="336172160"/>
        <c:scaling>
          <c:orientation val="minMax"/>
        </c:scaling>
        <c:delete val="0"/>
        <c:axPos val="b"/>
        <c:numFmt formatCode="General" sourceLinked="1"/>
        <c:majorTickMark val="out"/>
        <c:minorTickMark val="none"/>
        <c:tickLblPos val="nextTo"/>
        <c:crossAx val="336173696"/>
        <c:crosses val="autoZero"/>
        <c:auto val="1"/>
        <c:lblAlgn val="ctr"/>
        <c:lblOffset val="100"/>
        <c:noMultiLvlLbl val="0"/>
      </c:catAx>
      <c:valAx>
        <c:axId val="336173696"/>
        <c:scaling>
          <c:orientation val="minMax"/>
        </c:scaling>
        <c:delete val="0"/>
        <c:axPos val="r"/>
        <c:majorGridlines>
          <c:spPr>
            <a:ln>
              <a:solidFill>
                <a:srgbClr val="C0C0C0"/>
              </a:solidFill>
              <a:prstDash val="sysDash"/>
            </a:ln>
          </c:spPr>
        </c:majorGridlines>
        <c:numFmt formatCode="0%" sourceLinked="0"/>
        <c:majorTickMark val="out"/>
        <c:minorTickMark val="none"/>
        <c:tickLblPos val="nextTo"/>
        <c:crossAx val="336172160"/>
        <c:crosses val="max"/>
        <c:crossBetween val="midCat"/>
        <c:dispUnits>
          <c:builtInUnit val="thousands"/>
        </c:dispUnits>
      </c:valAx>
    </c:plotArea>
    <c:plotVisOnly val="1"/>
    <c:dispBlanksAs val="gap"/>
    <c:showDLblsOverMax val="0"/>
  </c:chart>
  <c:spPr>
    <a:ln>
      <a:noFill/>
    </a:ln>
  </c:spPr>
  <c:txPr>
    <a:bodyPr/>
    <a:lstStyle/>
    <a:p>
      <a:pPr>
        <a:defRPr sz="1200">
          <a:solidFill>
            <a:sysClr val="windowText" lastClr="000000"/>
          </a:solidFill>
          <a:latin typeface="Arial" pitchFamily="34" charset="0"/>
          <a:cs typeface="Arial" pitchFamily="34" charset="0"/>
        </a:defRPr>
      </a:pPr>
      <a:endParaRPr lang="en-US"/>
    </a:p>
  </c:txPr>
  <c:externalData r:id="rId2">
    <c:autoUpdate val="0"/>
  </c:externalData>
  <c:userShapes r:id="rId3"/>
</c:chartSpace>
</file>

<file path=ppt/drawings/drawing1.xml><?xml version="1.0" encoding="utf-8"?>
<c:userShapes xmlns:c="http://schemas.openxmlformats.org/drawingml/2006/chart">
  <cdr:relSizeAnchor xmlns:cdr="http://schemas.openxmlformats.org/drawingml/2006/chartDrawing">
    <cdr:from>
      <cdr:x>0.62948</cdr:x>
      <cdr:y>0.91118</cdr:y>
    </cdr:from>
    <cdr:to>
      <cdr:x>0.74616</cdr:x>
      <cdr:y>0.98642</cdr:y>
    </cdr:to>
    <cdr:sp macro="" textlink="">
      <cdr:nvSpPr>
        <cdr:cNvPr id="18" name="TextBox 1"/>
        <cdr:cNvSpPr txBox="1"/>
      </cdr:nvSpPr>
      <cdr:spPr>
        <a:xfrm xmlns:a="http://schemas.openxmlformats.org/drawingml/2006/main">
          <a:off x="5857875" y="5537200"/>
          <a:ext cx="1085851" cy="457200"/>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endParaRPr lang="en-US" sz="2400">
            <a:latin typeface="Arial" pitchFamily="34" charset="0"/>
            <a:cs typeface="Arial" pitchFamily="34" charset="0"/>
          </a:endParaRPr>
        </a:p>
        <a:p xmlns:a="http://schemas.openxmlformats.org/drawingml/2006/main">
          <a:endParaRPr lang="en-US" sz="2400">
            <a:latin typeface="Arial" pitchFamily="34" charset="0"/>
            <a:cs typeface="Arial" pitchFamily="34" charset="0"/>
          </a:endParaRPr>
        </a:p>
      </cdr:txBody>
    </cdr:sp>
  </cdr:relSizeAnchor>
</c:userShapes>
</file>

<file path=ppt/drawings/drawing2.xml><?xml version="1.0" encoding="utf-8"?>
<c:userShapes xmlns:c="http://schemas.openxmlformats.org/drawingml/2006/chart">
  <cdr:relSizeAnchor xmlns:cdr="http://schemas.openxmlformats.org/drawingml/2006/chartDrawing">
    <cdr:from>
      <cdr:x>0.20303</cdr:x>
      <cdr:y>0.21863</cdr:y>
    </cdr:from>
    <cdr:to>
      <cdr:x>0.38608</cdr:x>
      <cdr:y>0.32531</cdr:y>
    </cdr:to>
    <cdr:sp macro="" textlink="">
      <cdr:nvSpPr>
        <cdr:cNvPr id="3" name="TextBox 13"/>
        <cdr:cNvSpPr txBox="1"/>
      </cdr:nvSpPr>
      <cdr:spPr>
        <a:xfrm xmlns:a="http://schemas.openxmlformats.org/drawingml/2006/main">
          <a:off x="1584591" y="1072263"/>
          <a:ext cx="1428596" cy="523220"/>
        </a:xfrm>
        <a:prstGeom xmlns:a="http://schemas.openxmlformats.org/drawingml/2006/main" prst="rect">
          <a:avLst/>
        </a:prstGeom>
        <a:noFill xmlns:a="http://schemas.openxmlformats.org/drawingml/2006/mai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tx1"/>
        </a:fontRef>
      </cdr:style>
      <cdr:txBody>
        <a:bodyPr xmlns:a="http://schemas.openxmlformats.org/drawingml/2006/main" wrap="none" rtlCol="0" anchor="t">
          <a:spAutoFit/>
        </a:bodyPr>
        <a:lstStyle xmlns:a="http://schemas.openxmlformats.org/drawingml/2006/main">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xmlns:a="http://schemas.openxmlformats.org/drawingml/2006/main">
          <a:r>
            <a:rPr lang="en-US" sz="1400" dirty="0">
              <a:solidFill>
                <a:schemeClr val="bg1"/>
              </a:solidFill>
              <a:latin typeface="Arial" pitchFamily="34" charset="0"/>
              <a:cs typeface="Arial" pitchFamily="34" charset="0"/>
            </a:rPr>
            <a:t>Venture</a:t>
          </a:r>
          <a:r>
            <a:rPr lang="en-US" sz="1400" baseline="0" dirty="0">
              <a:solidFill>
                <a:schemeClr val="bg1"/>
              </a:solidFill>
              <a:latin typeface="Arial" pitchFamily="34" charset="0"/>
              <a:cs typeface="Arial" pitchFamily="34" charset="0"/>
            </a:rPr>
            <a:t> capital/</a:t>
          </a:r>
        </a:p>
        <a:p xmlns:a="http://schemas.openxmlformats.org/drawingml/2006/main">
          <a:r>
            <a:rPr lang="en-US" sz="1400" baseline="0" dirty="0">
              <a:solidFill>
                <a:schemeClr val="bg1"/>
              </a:solidFill>
              <a:latin typeface="Arial" pitchFamily="34" charset="0"/>
              <a:cs typeface="Arial" pitchFamily="34" charset="0"/>
            </a:rPr>
            <a:t>private equity</a:t>
          </a:r>
          <a:endParaRPr lang="en-US" sz="1400" dirty="0">
            <a:solidFill>
              <a:schemeClr val="bg1"/>
            </a:solidFill>
            <a:latin typeface="Arial" pitchFamily="34" charset="0"/>
            <a:cs typeface="Arial" pitchFamily="34" charset="0"/>
          </a:endParaRPr>
        </a:p>
      </cdr:txBody>
    </cdr:sp>
  </cdr:relSizeAnchor>
  <cdr:relSizeAnchor xmlns:cdr="http://schemas.openxmlformats.org/drawingml/2006/chartDrawing">
    <cdr:from>
      <cdr:x>0.09942</cdr:x>
      <cdr:y>0.04372</cdr:y>
    </cdr:from>
    <cdr:to>
      <cdr:x>0.3562</cdr:x>
      <cdr:y>0.1504</cdr:y>
    </cdr:to>
    <cdr:sp macro="" textlink="">
      <cdr:nvSpPr>
        <cdr:cNvPr id="4" name="TextBox 13"/>
        <cdr:cNvSpPr txBox="1"/>
      </cdr:nvSpPr>
      <cdr:spPr>
        <a:xfrm xmlns:a="http://schemas.openxmlformats.org/drawingml/2006/main">
          <a:off x="775933" y="214425"/>
          <a:ext cx="2004075" cy="523220"/>
        </a:xfrm>
        <a:prstGeom xmlns:a="http://schemas.openxmlformats.org/drawingml/2006/main" prst="rect">
          <a:avLst/>
        </a:prstGeom>
        <a:noFill xmlns:a="http://schemas.openxmlformats.org/drawingml/2006/mai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tx1"/>
        </a:fontRef>
      </cdr:style>
      <cdr:txBody>
        <a:bodyPr xmlns:a="http://schemas.openxmlformats.org/drawingml/2006/main" wrap="none" rtlCol="0" anchor="t">
          <a:spAutoFit/>
        </a:bodyPr>
        <a:lstStyle xmlns:a="http://schemas.openxmlformats.org/drawingml/2006/main">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xmlns:a="http://schemas.openxmlformats.org/drawingml/2006/main">
          <a:r>
            <a:rPr lang="en-US" sz="1400" dirty="0">
              <a:solidFill>
                <a:schemeClr val="bg1"/>
              </a:solidFill>
              <a:latin typeface="Arial" pitchFamily="34" charset="0"/>
              <a:cs typeface="Arial" pitchFamily="34" charset="0"/>
            </a:rPr>
            <a:t>R&amp;D </a:t>
          </a:r>
        </a:p>
        <a:p xmlns:a="http://schemas.openxmlformats.org/drawingml/2006/main">
          <a:r>
            <a:rPr lang="en-US" sz="1400" dirty="0">
              <a:solidFill>
                <a:schemeClr val="bg1"/>
              </a:solidFill>
              <a:latin typeface="Arial" pitchFamily="34" charset="0"/>
              <a:cs typeface="Arial" pitchFamily="34" charset="0"/>
            </a:rPr>
            <a:t>(government</a:t>
          </a:r>
          <a:r>
            <a:rPr lang="en-US" sz="1400" baseline="0" dirty="0">
              <a:solidFill>
                <a:schemeClr val="bg1"/>
              </a:solidFill>
              <a:latin typeface="Arial" pitchFamily="34" charset="0"/>
              <a:cs typeface="Arial" pitchFamily="34" charset="0"/>
            </a:rPr>
            <a:t> &amp; private)</a:t>
          </a:r>
          <a:endParaRPr lang="en-US" sz="1400" dirty="0">
            <a:solidFill>
              <a:schemeClr val="bg1"/>
            </a:solidFill>
            <a:latin typeface="Arial" pitchFamily="34" charset="0"/>
            <a:cs typeface="Arial" pitchFamily="34" charset="0"/>
          </a:endParaRPr>
        </a:p>
      </cdr:txBody>
    </cdr:sp>
  </cdr:relSizeAnchor>
  <cdr:relSizeAnchor xmlns:cdr="http://schemas.openxmlformats.org/drawingml/2006/chartDrawing">
    <cdr:from>
      <cdr:x>0.46292</cdr:x>
      <cdr:y>0.14643</cdr:y>
    </cdr:from>
    <cdr:to>
      <cdr:x>0.56812</cdr:x>
      <cdr:y>0.25311</cdr:y>
    </cdr:to>
    <cdr:sp macro="" textlink="">
      <cdr:nvSpPr>
        <cdr:cNvPr id="5" name="TextBox 13"/>
        <cdr:cNvSpPr txBox="1"/>
      </cdr:nvSpPr>
      <cdr:spPr>
        <a:xfrm xmlns:a="http://schemas.openxmlformats.org/drawingml/2006/main">
          <a:off x="3612921" y="718156"/>
          <a:ext cx="821059" cy="523220"/>
        </a:xfrm>
        <a:prstGeom xmlns:a="http://schemas.openxmlformats.org/drawingml/2006/main" prst="rect">
          <a:avLst/>
        </a:prstGeom>
        <a:noFill xmlns:a="http://schemas.openxmlformats.org/drawingml/2006/mai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tx1"/>
        </a:fontRef>
      </cdr:style>
      <cdr:txBody>
        <a:bodyPr xmlns:a="http://schemas.openxmlformats.org/drawingml/2006/main" wrap="none" rtlCol="0" anchor="t">
          <a:spAutoFit/>
        </a:bodyPr>
        <a:lstStyle xmlns:a="http://schemas.openxmlformats.org/drawingml/2006/main">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xmlns:a="http://schemas.openxmlformats.org/drawingml/2006/main">
          <a:r>
            <a:rPr lang="en-US" sz="1400" dirty="0">
              <a:solidFill>
                <a:schemeClr val="bg1"/>
              </a:solidFill>
              <a:latin typeface="Arial" pitchFamily="34" charset="0"/>
              <a:cs typeface="Arial" pitchFamily="34" charset="0"/>
            </a:rPr>
            <a:t>Public </a:t>
          </a:r>
        </a:p>
        <a:p xmlns:a="http://schemas.openxmlformats.org/drawingml/2006/main">
          <a:r>
            <a:rPr lang="en-US" sz="1400" dirty="0">
              <a:solidFill>
                <a:schemeClr val="bg1"/>
              </a:solidFill>
              <a:latin typeface="Arial" pitchFamily="34" charset="0"/>
              <a:cs typeface="Arial" pitchFamily="34" charset="0"/>
            </a:rPr>
            <a:t>markets</a:t>
          </a:r>
        </a:p>
      </cdr:txBody>
    </cdr:sp>
  </cdr:relSizeAnchor>
  <cdr:relSizeAnchor xmlns:cdr="http://schemas.openxmlformats.org/drawingml/2006/chartDrawing">
    <cdr:from>
      <cdr:x>0.67976</cdr:x>
      <cdr:y>0.17743</cdr:y>
    </cdr:from>
    <cdr:to>
      <cdr:x>0.92195</cdr:x>
      <cdr:y>0.30922</cdr:y>
    </cdr:to>
    <cdr:sp macro="" textlink="">
      <cdr:nvSpPr>
        <cdr:cNvPr id="6" name="TextBox 23"/>
        <cdr:cNvSpPr txBox="1"/>
      </cdr:nvSpPr>
      <cdr:spPr>
        <a:xfrm xmlns:a="http://schemas.openxmlformats.org/drawingml/2006/main">
          <a:off x="5305221" y="870217"/>
          <a:ext cx="1890261" cy="646331"/>
        </a:xfrm>
        <a:prstGeom xmlns:a="http://schemas.openxmlformats.org/drawingml/2006/main" prst="rect">
          <a:avLst/>
        </a:prstGeom>
        <a:noFill xmlns:a="http://schemas.openxmlformats.org/drawingml/2006/mai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tx1"/>
        </a:fontRef>
      </cdr:style>
      <cdr:txBody>
        <a:bodyPr xmlns:a="http://schemas.openxmlformats.org/drawingml/2006/main" wrap="none" rtlCol="0" anchor="t">
          <a:spAutoFit/>
        </a:bodyPr>
        <a:lstStyle xmlns:a="http://schemas.openxmlformats.org/drawingml/2006/main">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xmlns:a="http://schemas.openxmlformats.org/drawingml/2006/main">
          <a:r>
            <a:rPr lang="en-US" sz="1800" dirty="0">
              <a:solidFill>
                <a:schemeClr val="bg1"/>
              </a:solidFill>
              <a:latin typeface="Arial" pitchFamily="34" charset="0"/>
              <a:cs typeface="Arial" pitchFamily="34" charset="0"/>
            </a:rPr>
            <a:t>Small distributed</a:t>
          </a:r>
        </a:p>
        <a:p xmlns:a="http://schemas.openxmlformats.org/drawingml/2006/main">
          <a:r>
            <a:rPr lang="en-US" sz="1800" dirty="0">
              <a:solidFill>
                <a:schemeClr val="bg1"/>
              </a:solidFill>
              <a:latin typeface="Arial" pitchFamily="34" charset="0"/>
              <a:cs typeface="Arial" pitchFamily="34" charset="0"/>
            </a:rPr>
            <a:t>capacity</a:t>
          </a:r>
        </a:p>
      </cdr:txBody>
    </cdr:sp>
  </cdr:relSizeAnchor>
  <cdr:relSizeAnchor xmlns:cdr="http://schemas.openxmlformats.org/drawingml/2006/chartDrawing">
    <cdr:from>
      <cdr:x>0.38157</cdr:x>
      <cdr:y>0.60947</cdr:y>
    </cdr:from>
    <cdr:to>
      <cdr:x>0.54305</cdr:x>
      <cdr:y>0.67222</cdr:y>
    </cdr:to>
    <cdr:sp macro="" textlink="">
      <cdr:nvSpPr>
        <cdr:cNvPr id="7" name="TextBox 13"/>
        <cdr:cNvSpPr txBox="1"/>
      </cdr:nvSpPr>
      <cdr:spPr>
        <a:xfrm xmlns:a="http://schemas.openxmlformats.org/drawingml/2006/main">
          <a:off x="2978000" y="2989147"/>
          <a:ext cx="1260281" cy="307777"/>
        </a:xfrm>
        <a:prstGeom xmlns:a="http://schemas.openxmlformats.org/drawingml/2006/main" prst="rect">
          <a:avLst/>
        </a:prstGeom>
        <a:noFill xmlns:a="http://schemas.openxmlformats.org/drawingml/2006/mai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tx1"/>
        </a:fontRef>
      </cdr:style>
      <cdr:txBody>
        <a:bodyPr xmlns:a="http://schemas.openxmlformats.org/drawingml/2006/main" wrap="none" rtlCol="0" anchor="t">
          <a:spAutoFit/>
        </a:bodyPr>
        <a:lstStyle xmlns:a="http://schemas.openxmlformats.org/drawingml/2006/main">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xmlns:a="http://schemas.openxmlformats.org/drawingml/2006/main">
          <a:r>
            <a:rPr lang="en-US" sz="1400" dirty="0">
              <a:solidFill>
                <a:schemeClr val="bg1"/>
              </a:solidFill>
              <a:latin typeface="Arial" pitchFamily="34" charset="0"/>
              <a:cs typeface="Arial" pitchFamily="34" charset="0"/>
            </a:rPr>
            <a:t>Asset finance</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4012D3F-3182-40B2-A1AD-1FA9659B536F}" type="datetimeFigureOut">
              <a:rPr lang="en-GB" smtClean="0"/>
              <a:t>04/08/2014</a:t>
            </a:fld>
            <a:endParaRPr lang="en-GB"/>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35D9D94-B42E-4303-9EB4-7B599F6BDB5D}" type="slidenum">
              <a:rPr lang="en-GB" smtClean="0"/>
              <a:t>‹#›</a:t>
            </a:fld>
            <a:endParaRPr lang="en-GB"/>
          </a:p>
        </p:txBody>
      </p:sp>
    </p:spTree>
    <p:extLst>
      <p:ext uri="{BB962C8B-B14F-4D97-AF65-F5344CB8AC3E}">
        <p14:creationId xmlns:p14="http://schemas.microsoft.com/office/powerpoint/2010/main" val="46575031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2C63E7F-82D3-4049-A863-05C50E6483A2}" type="datetimeFigureOut">
              <a:rPr lang="en-GB" smtClean="0"/>
              <a:t>04/08/2014</a:t>
            </a:fld>
            <a:endParaRPr lang="en-GB"/>
          </a:p>
        </p:txBody>
      </p:sp>
      <p:sp>
        <p:nvSpPr>
          <p:cNvPr id="4" name="Slide Image Placeholder 3"/>
          <p:cNvSpPr>
            <a:spLocks noGrp="1" noRot="1" noChangeAspect="1"/>
          </p:cNvSpPr>
          <p:nvPr>
            <p:ph type="sldImg" idx="2"/>
          </p:nvPr>
        </p:nvSpPr>
        <p:spPr>
          <a:xfrm>
            <a:off x="1246188" y="1143000"/>
            <a:ext cx="4365625"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B3FE01D-C5D9-4A23-B4C0-0332D178534B}" type="slidenum">
              <a:rPr lang="en-GB" smtClean="0"/>
              <a:t>‹#›</a:t>
            </a:fld>
            <a:endParaRPr lang="en-GB"/>
          </a:p>
        </p:txBody>
      </p:sp>
    </p:spTree>
    <p:extLst>
      <p:ext uri="{BB962C8B-B14F-4D97-AF65-F5344CB8AC3E}">
        <p14:creationId xmlns:p14="http://schemas.microsoft.com/office/powerpoint/2010/main" val="41787868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8" Type="http://schemas.openxmlformats.org/officeDocument/2006/relationships/hyperlink" Target="http://en.wikipedia.org/wiki/Renewable_energy_in_Brunei#cite_note-1" TargetMode="External"/><Relationship Id="rId3" Type="http://schemas.openxmlformats.org/officeDocument/2006/relationships/hyperlink" Target="http://en.wikipedia.org/wiki/Solar_power_plant" TargetMode="External"/><Relationship Id="rId7" Type="http://schemas.openxmlformats.org/officeDocument/2006/relationships/hyperlink" Target="http://en.wikipedia.org/wiki/Hassanal_Bolkiah" TargetMode="External"/><Relationship Id="rId2" Type="http://schemas.openxmlformats.org/officeDocument/2006/relationships/slide" Target="../slides/slide13.xml"/><Relationship Id="rId1" Type="http://schemas.openxmlformats.org/officeDocument/2006/relationships/notesMaster" Target="../notesMasters/notesMaster1.xml"/><Relationship Id="rId6" Type="http://schemas.openxmlformats.org/officeDocument/2006/relationships/hyperlink" Target="http://en.wikipedia.org/wiki/List_of_Sultans_of_Brunei" TargetMode="External"/><Relationship Id="rId5" Type="http://schemas.openxmlformats.org/officeDocument/2006/relationships/hyperlink" Target="http://en.wikipedia.org/w/index.php?title=Photovoltaic_Power_Plant&amp;action=edit&amp;redlink=1" TargetMode="External"/><Relationship Id="rId4" Type="http://schemas.openxmlformats.org/officeDocument/2006/relationships/hyperlink" Target="http://en.wikipedia.org/w/index.php?title=Tenaga_Suria_Brunei&amp;action=edit&amp;redlink=1" TargetMode="External"/><Relationship Id="rId9" Type="http://schemas.openxmlformats.org/officeDocument/2006/relationships/hyperlink" Target="http://en.wikipedia.org/wiki/Renewable_energy_in_Brunei#cite_note-2" TargetMode="Externa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20min </a:t>
            </a:r>
            <a:r>
              <a:rPr lang="en-US" dirty="0" smtClean="0"/>
              <a:t>keynote: </a:t>
            </a:r>
            <a:r>
              <a:rPr lang="en-US" dirty="0" smtClean="0"/>
              <a:t>15 slides</a:t>
            </a:r>
            <a:endParaRPr lang="en-US" baseline="0" dirty="0" smtClean="0"/>
          </a:p>
          <a:p>
            <a:endParaRPr lang="en-US" dirty="0" smtClean="0"/>
          </a:p>
          <a:p>
            <a:r>
              <a:rPr lang="en-US" dirty="0" smtClean="0"/>
              <a:t>What is clean energy? What are</a:t>
            </a:r>
            <a:r>
              <a:rPr lang="en-US" baseline="0" dirty="0" smtClean="0"/>
              <a:t> the benefits and challenges? How can solar energy be a viable option? A green future. </a:t>
            </a:r>
            <a:endParaRPr lang="en-US" dirty="0"/>
          </a:p>
        </p:txBody>
      </p:sp>
      <p:sp>
        <p:nvSpPr>
          <p:cNvPr id="4" name="Slide Number Placeholder 3"/>
          <p:cNvSpPr>
            <a:spLocks noGrp="1"/>
          </p:cNvSpPr>
          <p:nvPr>
            <p:ph type="sldNum" sz="quarter" idx="10"/>
          </p:nvPr>
        </p:nvSpPr>
        <p:spPr/>
        <p:txBody>
          <a:bodyPr/>
          <a:lstStyle/>
          <a:p>
            <a:fld id="{9B3FE01D-C5D9-4A23-B4C0-0332D178534B}" type="slidenum">
              <a:rPr lang="en-GB" smtClean="0"/>
              <a:t>0</a:t>
            </a:fld>
            <a:endParaRPr lang="en-GB"/>
          </a:p>
        </p:txBody>
      </p:sp>
    </p:spTree>
    <p:extLst>
      <p:ext uri="{BB962C8B-B14F-4D97-AF65-F5344CB8AC3E}">
        <p14:creationId xmlns:p14="http://schemas.microsoft.com/office/powerpoint/2010/main" val="283236259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B3FE01D-C5D9-4A23-B4C0-0332D178534B}" type="slidenum">
              <a:rPr lang="en-GB" smtClean="0"/>
              <a:t>15</a:t>
            </a:fld>
            <a:endParaRPr lang="en-GB"/>
          </a:p>
        </p:txBody>
      </p:sp>
    </p:spTree>
    <p:extLst>
      <p:ext uri="{BB962C8B-B14F-4D97-AF65-F5344CB8AC3E}">
        <p14:creationId xmlns:p14="http://schemas.microsoft.com/office/powerpoint/2010/main" val="275669173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B3FE01D-C5D9-4A23-B4C0-0332D178534B}" type="slidenum">
              <a:rPr lang="en-GB" smtClean="0"/>
              <a:t>18</a:t>
            </a:fld>
            <a:endParaRPr lang="en-GB"/>
          </a:p>
        </p:txBody>
      </p:sp>
    </p:spTree>
    <p:extLst>
      <p:ext uri="{BB962C8B-B14F-4D97-AF65-F5344CB8AC3E}">
        <p14:creationId xmlns:p14="http://schemas.microsoft.com/office/powerpoint/2010/main" val="200295124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B3FE01D-C5D9-4A23-B4C0-0332D178534B}" type="slidenum">
              <a:rPr lang="en-GB" smtClean="0"/>
              <a:t>20</a:t>
            </a:fld>
            <a:endParaRPr lang="en-GB"/>
          </a:p>
        </p:txBody>
      </p:sp>
    </p:spTree>
    <p:extLst>
      <p:ext uri="{BB962C8B-B14F-4D97-AF65-F5344CB8AC3E}">
        <p14:creationId xmlns:p14="http://schemas.microsoft.com/office/powerpoint/2010/main" val="87243838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649"/>
              </a:spcAft>
            </a:pPr>
            <a:r>
              <a:rPr lang="en-GB" dirty="0"/>
              <a:t>Exclusive daily news feeds</a:t>
            </a:r>
          </a:p>
          <a:p>
            <a:pPr>
              <a:spcAft>
                <a:spcPts val="649"/>
              </a:spcAft>
            </a:pPr>
            <a:r>
              <a:rPr lang="en-GB" dirty="0"/>
              <a:t>On-call analysts</a:t>
            </a:r>
          </a:p>
          <a:p>
            <a:pPr>
              <a:spcAft>
                <a:spcPts val="649"/>
              </a:spcAft>
            </a:pPr>
            <a:r>
              <a:rPr lang="en-GB" dirty="0"/>
              <a:t>700 research notes/year</a:t>
            </a:r>
          </a:p>
          <a:p>
            <a:pPr>
              <a:spcAft>
                <a:spcPts val="649"/>
              </a:spcAft>
            </a:pPr>
            <a:r>
              <a:rPr lang="en-GB" dirty="0"/>
              <a:t>Transparent datasets</a:t>
            </a:r>
          </a:p>
          <a:p>
            <a:pPr>
              <a:spcAft>
                <a:spcPts val="649"/>
              </a:spcAft>
            </a:pPr>
            <a:r>
              <a:rPr lang="en-GB" dirty="0"/>
              <a:t>Sector-leading forecasts</a:t>
            </a:r>
          </a:p>
          <a:p>
            <a:pPr>
              <a:spcAft>
                <a:spcPts val="649"/>
              </a:spcAft>
            </a:pPr>
            <a:r>
              <a:rPr lang="en-GB" dirty="0"/>
              <a:t>Proprietary models </a:t>
            </a:r>
          </a:p>
          <a:p>
            <a:pPr>
              <a:spcAft>
                <a:spcPts val="649"/>
              </a:spcAft>
            </a:pPr>
            <a:r>
              <a:rPr lang="en-GB" dirty="0"/>
              <a:t>Policy database</a:t>
            </a:r>
          </a:p>
          <a:p>
            <a:pPr>
              <a:spcAft>
                <a:spcPts val="649"/>
              </a:spcAft>
            </a:pPr>
            <a:r>
              <a:rPr lang="en-GB" dirty="0"/>
              <a:t>Workshops and events </a:t>
            </a:r>
          </a:p>
          <a:p>
            <a:endParaRPr lang="en-US" dirty="0"/>
          </a:p>
        </p:txBody>
      </p:sp>
      <p:sp>
        <p:nvSpPr>
          <p:cNvPr id="4" name="Slide Number Placeholder 3"/>
          <p:cNvSpPr>
            <a:spLocks noGrp="1"/>
          </p:cNvSpPr>
          <p:nvPr>
            <p:ph type="sldNum" sz="quarter" idx="10"/>
          </p:nvPr>
        </p:nvSpPr>
        <p:spPr/>
        <p:txBody>
          <a:bodyPr/>
          <a:lstStyle/>
          <a:p>
            <a:fld id="{E1B3AAA1-BD38-B742-B4A6-1ADB8C77DD5E}" type="slidenum">
              <a:rPr lang="en-US" smtClean="0"/>
              <a:pPr/>
              <a:t>22</a:t>
            </a:fld>
            <a:endParaRPr lang="en-US" dirty="0"/>
          </a:p>
        </p:txBody>
      </p:sp>
    </p:spTree>
    <p:extLst>
      <p:ext uri="{BB962C8B-B14F-4D97-AF65-F5344CB8AC3E}">
        <p14:creationId xmlns:p14="http://schemas.microsoft.com/office/powerpoint/2010/main" val="105076327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9B3FE01D-C5D9-4A23-B4C0-0332D178534B}" type="slidenum">
              <a:rPr lang="en-GB" smtClean="0"/>
              <a:t>24</a:t>
            </a:fld>
            <a:endParaRPr lang="en-GB"/>
          </a:p>
        </p:txBody>
      </p:sp>
    </p:spTree>
    <p:extLst>
      <p:ext uri="{BB962C8B-B14F-4D97-AF65-F5344CB8AC3E}">
        <p14:creationId xmlns:p14="http://schemas.microsoft.com/office/powerpoint/2010/main" val="17143636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B3FE01D-C5D9-4A23-B4C0-0332D178534B}" type="slidenum">
              <a:rPr lang="en-GB" smtClean="0"/>
              <a:t>2</a:t>
            </a:fld>
            <a:endParaRPr lang="en-GB"/>
          </a:p>
        </p:txBody>
      </p:sp>
    </p:spTree>
    <p:extLst>
      <p:ext uri="{BB962C8B-B14F-4D97-AF65-F5344CB8AC3E}">
        <p14:creationId xmlns:p14="http://schemas.microsoft.com/office/powerpoint/2010/main" val="21036809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B3FE01D-C5D9-4A23-B4C0-0332D178534B}" type="slidenum">
              <a:rPr lang="en-GB" smtClean="0"/>
              <a:t>3</a:t>
            </a:fld>
            <a:endParaRPr lang="en-GB"/>
          </a:p>
        </p:txBody>
      </p:sp>
    </p:spTree>
    <p:extLst>
      <p:ext uri="{BB962C8B-B14F-4D97-AF65-F5344CB8AC3E}">
        <p14:creationId xmlns:p14="http://schemas.microsoft.com/office/powerpoint/2010/main" val="250524225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B3FE01D-C5D9-4A23-B4C0-0332D178534B}" type="slidenum">
              <a:rPr lang="en-GB" smtClean="0"/>
              <a:t>7</a:t>
            </a:fld>
            <a:endParaRPr lang="en-GB"/>
          </a:p>
        </p:txBody>
      </p:sp>
    </p:spTree>
    <p:extLst>
      <p:ext uri="{BB962C8B-B14F-4D97-AF65-F5344CB8AC3E}">
        <p14:creationId xmlns:p14="http://schemas.microsoft.com/office/powerpoint/2010/main" val="210368090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D646959E-2689-4DD1-8DEE-8BB31EDD8403}" type="slidenum">
              <a:rPr lang="en-GB" smtClean="0"/>
              <a:pPr>
                <a:defRPr/>
              </a:pPr>
              <a:t>9</a:t>
            </a:fld>
            <a:endParaRPr lang="en-GB"/>
          </a:p>
        </p:txBody>
      </p:sp>
    </p:spTree>
    <p:extLst>
      <p:ext uri="{BB962C8B-B14F-4D97-AF65-F5344CB8AC3E}">
        <p14:creationId xmlns:p14="http://schemas.microsoft.com/office/powerpoint/2010/main" val="32935027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Brunei: </a:t>
            </a:r>
            <a:r>
              <a:rPr lang="en-US" sz="1200" b="0" i="0" kern="1200" dirty="0" smtClean="0">
                <a:solidFill>
                  <a:schemeClr val="tx1"/>
                </a:solidFill>
                <a:effectLst/>
                <a:latin typeface="+mn-lt"/>
                <a:ea typeface="+mn-ea"/>
                <a:cs typeface="+mn-cs"/>
              </a:rPr>
              <a:t>Under the new tariff, there will be three tiers for power rates. The first tier, which covers consumption of up to 500 kilowatt hours, will cost $0.01 per kWh. In excess of the 500 kWh up to 1,500 kWh, power will cost $0.10 per kWh. The last tier, covering consumption of over 1,500 kWh, power will cost $0.15 per kWh.</a:t>
            </a:r>
            <a:endParaRPr lang="en-US" dirty="0"/>
          </a:p>
        </p:txBody>
      </p:sp>
      <p:sp>
        <p:nvSpPr>
          <p:cNvPr id="4" name="Slide Number Placeholder 3"/>
          <p:cNvSpPr>
            <a:spLocks noGrp="1"/>
          </p:cNvSpPr>
          <p:nvPr>
            <p:ph type="sldNum" sz="quarter" idx="10"/>
          </p:nvPr>
        </p:nvSpPr>
        <p:spPr/>
        <p:txBody>
          <a:bodyPr/>
          <a:lstStyle/>
          <a:p>
            <a:fld id="{9B3FE01D-C5D9-4A23-B4C0-0332D178534B}" type="slidenum">
              <a:rPr lang="en-GB" smtClean="0"/>
              <a:t>11</a:t>
            </a:fld>
            <a:endParaRPr lang="en-GB"/>
          </a:p>
        </p:txBody>
      </p:sp>
    </p:spTree>
    <p:extLst>
      <p:ext uri="{BB962C8B-B14F-4D97-AF65-F5344CB8AC3E}">
        <p14:creationId xmlns:p14="http://schemas.microsoft.com/office/powerpoint/2010/main" val="65383237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mn-lt"/>
                <a:ea typeface="+mn-ea"/>
                <a:cs typeface="+mn-cs"/>
              </a:rPr>
              <a:t>Brunei opened its first </a:t>
            </a:r>
            <a:r>
              <a:rPr lang="en-US" sz="1200" b="0" i="0" u="none" strike="noStrike" kern="1200" dirty="0" smtClean="0">
                <a:solidFill>
                  <a:schemeClr val="tx1"/>
                </a:solidFill>
                <a:effectLst/>
                <a:latin typeface="+mn-lt"/>
                <a:ea typeface="+mn-ea"/>
                <a:cs typeface="+mn-cs"/>
                <a:hlinkClick r:id="rId3" tooltip="Solar power plant"/>
              </a:rPr>
              <a:t>solar power plant</a:t>
            </a:r>
            <a:r>
              <a:rPr lang="en-US" sz="1200" b="0" i="0" kern="1200" dirty="0" smtClean="0">
                <a:solidFill>
                  <a:schemeClr val="tx1"/>
                </a:solidFill>
                <a:effectLst/>
                <a:latin typeface="+mn-lt"/>
                <a:ea typeface="+mn-ea"/>
                <a:cs typeface="+mn-cs"/>
              </a:rPr>
              <a:t>, the 1.2 MW </a:t>
            </a:r>
            <a:r>
              <a:rPr lang="en-US" sz="1200" b="0" i="0" u="none" strike="noStrike" kern="1200" dirty="0" err="1" smtClean="0">
                <a:solidFill>
                  <a:schemeClr val="tx1"/>
                </a:solidFill>
                <a:effectLst/>
                <a:latin typeface="+mn-lt"/>
                <a:ea typeface="+mn-ea"/>
                <a:cs typeface="+mn-cs"/>
                <a:hlinkClick r:id="rId4" tooltip="Tenaga Suria Brunei (page does not exist)"/>
              </a:rPr>
              <a:t>Tenaga</a:t>
            </a:r>
            <a:r>
              <a:rPr lang="en-US" sz="1200" b="0" i="0" u="none" strike="noStrike" kern="1200" dirty="0" smtClean="0">
                <a:solidFill>
                  <a:schemeClr val="tx1"/>
                </a:solidFill>
                <a:effectLst/>
                <a:latin typeface="+mn-lt"/>
                <a:ea typeface="+mn-ea"/>
                <a:cs typeface="+mn-cs"/>
                <a:hlinkClick r:id="rId4" tooltip="Tenaga Suria Brunei (page does not exist)"/>
              </a:rPr>
              <a:t> </a:t>
            </a:r>
            <a:r>
              <a:rPr lang="en-US" sz="1200" b="0" i="0" u="none" strike="noStrike" kern="1200" dirty="0" err="1" smtClean="0">
                <a:solidFill>
                  <a:schemeClr val="tx1"/>
                </a:solidFill>
                <a:effectLst/>
                <a:latin typeface="+mn-lt"/>
                <a:ea typeface="+mn-ea"/>
                <a:cs typeface="+mn-cs"/>
                <a:hlinkClick r:id="rId4" tooltip="Tenaga Suria Brunei (page does not exist)"/>
              </a:rPr>
              <a:t>Suria</a:t>
            </a:r>
            <a:r>
              <a:rPr lang="en-US" sz="1200" b="0" i="0" u="none" strike="noStrike" kern="1200" dirty="0" smtClean="0">
                <a:solidFill>
                  <a:schemeClr val="tx1"/>
                </a:solidFill>
                <a:effectLst/>
                <a:latin typeface="+mn-lt"/>
                <a:ea typeface="+mn-ea"/>
                <a:cs typeface="+mn-cs"/>
                <a:hlinkClick r:id="rId4" tooltip="Tenaga Suria Brunei (page does not exist)"/>
              </a:rPr>
              <a:t> Brunei</a:t>
            </a:r>
            <a:r>
              <a:rPr lang="en-US" sz="1200" b="0" i="0" kern="1200" dirty="0" smtClean="0">
                <a:solidFill>
                  <a:schemeClr val="tx1"/>
                </a:solidFill>
                <a:effectLst/>
                <a:latin typeface="+mn-lt"/>
                <a:ea typeface="+mn-ea"/>
                <a:cs typeface="+mn-cs"/>
              </a:rPr>
              <a:t> </a:t>
            </a:r>
            <a:r>
              <a:rPr lang="en-US" sz="1200" b="0" i="0" u="none" strike="noStrike" kern="1200" dirty="0" smtClean="0">
                <a:solidFill>
                  <a:schemeClr val="tx1"/>
                </a:solidFill>
                <a:effectLst/>
                <a:latin typeface="+mn-lt"/>
                <a:ea typeface="+mn-ea"/>
                <a:cs typeface="+mn-cs"/>
                <a:hlinkClick r:id="rId5" tooltip="Photovoltaic Power Plant (page does not exist)"/>
              </a:rPr>
              <a:t>Photovoltaic Power Plant</a:t>
            </a:r>
            <a:r>
              <a:rPr lang="en-US" sz="1200" b="0" i="0" kern="1200" dirty="0" smtClean="0">
                <a:solidFill>
                  <a:schemeClr val="tx1"/>
                </a:solidFill>
                <a:effectLst/>
                <a:latin typeface="+mn-lt"/>
                <a:ea typeface="+mn-ea"/>
                <a:cs typeface="+mn-cs"/>
              </a:rPr>
              <a:t>, on 26 May 2011 by </a:t>
            </a:r>
            <a:r>
              <a:rPr lang="en-US" sz="1200" b="0" i="0" u="none" strike="noStrike" kern="1200" dirty="0" smtClean="0">
                <a:solidFill>
                  <a:schemeClr val="tx1"/>
                </a:solidFill>
                <a:effectLst/>
                <a:latin typeface="+mn-lt"/>
                <a:ea typeface="+mn-ea"/>
                <a:cs typeface="+mn-cs"/>
                <a:hlinkClick r:id="rId6" tooltip="List of Sultans of Brunei"/>
              </a:rPr>
              <a:t>Sultan</a:t>
            </a:r>
            <a:r>
              <a:rPr lang="en-US" sz="1200" b="0" i="0" kern="1200" dirty="0" smtClean="0">
                <a:solidFill>
                  <a:schemeClr val="tx1"/>
                </a:solidFill>
                <a:effectLst/>
                <a:latin typeface="+mn-lt"/>
                <a:ea typeface="+mn-ea"/>
                <a:cs typeface="+mn-cs"/>
              </a:rPr>
              <a:t> </a:t>
            </a:r>
            <a:r>
              <a:rPr lang="en-US" sz="1200" b="0" i="0" u="none" strike="noStrike" kern="1200" dirty="0" err="1" smtClean="0">
                <a:solidFill>
                  <a:schemeClr val="tx1"/>
                </a:solidFill>
                <a:effectLst/>
                <a:latin typeface="+mn-lt"/>
                <a:ea typeface="+mn-ea"/>
                <a:cs typeface="+mn-cs"/>
                <a:hlinkClick r:id="rId7" tooltip="Hassanal Bolkiah"/>
              </a:rPr>
              <a:t>Hassanal</a:t>
            </a:r>
            <a:r>
              <a:rPr lang="en-US" sz="1200" b="0" i="0" u="none" strike="noStrike" kern="1200" dirty="0" smtClean="0">
                <a:solidFill>
                  <a:schemeClr val="tx1"/>
                </a:solidFill>
                <a:effectLst/>
                <a:latin typeface="+mn-lt"/>
                <a:ea typeface="+mn-ea"/>
                <a:cs typeface="+mn-cs"/>
                <a:hlinkClick r:id="rId7" tooltip="Hassanal Bolkiah"/>
              </a:rPr>
              <a:t> </a:t>
            </a:r>
            <a:r>
              <a:rPr lang="en-US" sz="1200" b="0" i="0" u="none" strike="noStrike" kern="1200" dirty="0" err="1" smtClean="0">
                <a:solidFill>
                  <a:schemeClr val="tx1"/>
                </a:solidFill>
                <a:effectLst/>
                <a:latin typeface="+mn-lt"/>
                <a:ea typeface="+mn-ea"/>
                <a:cs typeface="+mn-cs"/>
                <a:hlinkClick r:id="rId7" tooltip="Hassanal Bolkiah"/>
              </a:rPr>
              <a:t>Bolkiah</a:t>
            </a:r>
            <a:r>
              <a:rPr lang="en-US" sz="1200" b="0" i="0" kern="1200" dirty="0" smtClean="0">
                <a:solidFill>
                  <a:schemeClr val="tx1"/>
                </a:solidFill>
                <a:effectLst/>
                <a:latin typeface="+mn-lt"/>
                <a:ea typeface="+mn-ea"/>
                <a:cs typeface="+mn-cs"/>
              </a:rPr>
              <a:t>. The plant powers up around 200 houses in the nation.</a:t>
            </a:r>
            <a:r>
              <a:rPr lang="en-US" sz="1200" b="0" i="0" u="none" strike="noStrike" kern="1200" baseline="30000" dirty="0" smtClean="0">
                <a:solidFill>
                  <a:schemeClr val="tx1"/>
                </a:solidFill>
                <a:effectLst/>
                <a:latin typeface="+mn-lt"/>
                <a:ea typeface="+mn-ea"/>
                <a:cs typeface="+mn-cs"/>
                <a:hlinkClick r:id="rId8"/>
              </a:rPr>
              <a:t>[1]</a:t>
            </a:r>
            <a:r>
              <a:rPr lang="en-US" sz="1200" b="0" i="0" u="none" strike="noStrike" kern="1200" baseline="30000" dirty="0" smtClean="0">
                <a:solidFill>
                  <a:schemeClr val="tx1"/>
                </a:solidFill>
                <a:effectLst/>
                <a:latin typeface="+mn-lt"/>
                <a:ea typeface="+mn-ea"/>
                <a:cs typeface="+mn-cs"/>
                <a:hlinkClick r:id="rId9"/>
              </a:rPr>
              <a:t>[2]</a:t>
            </a:r>
            <a:endParaRPr lang="en-US" dirty="0"/>
          </a:p>
        </p:txBody>
      </p:sp>
      <p:sp>
        <p:nvSpPr>
          <p:cNvPr id="4" name="Slide Number Placeholder 3"/>
          <p:cNvSpPr>
            <a:spLocks noGrp="1"/>
          </p:cNvSpPr>
          <p:nvPr>
            <p:ph type="sldNum" sz="quarter" idx="10"/>
          </p:nvPr>
        </p:nvSpPr>
        <p:spPr/>
        <p:txBody>
          <a:bodyPr/>
          <a:lstStyle/>
          <a:p>
            <a:fld id="{9B3FE01D-C5D9-4A23-B4C0-0332D178534B}" type="slidenum">
              <a:rPr lang="en-GB" smtClean="0"/>
              <a:t>12</a:t>
            </a:fld>
            <a:endParaRPr lang="en-GB"/>
          </a:p>
        </p:txBody>
      </p:sp>
    </p:spTree>
    <p:extLst>
      <p:ext uri="{BB962C8B-B14F-4D97-AF65-F5344CB8AC3E}">
        <p14:creationId xmlns:p14="http://schemas.microsoft.com/office/powerpoint/2010/main" val="317109875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47775" y="1143000"/>
            <a:ext cx="4362450" cy="3086100"/>
          </a:xfrm>
        </p:spPr>
      </p:sp>
      <p:sp>
        <p:nvSpPr>
          <p:cNvPr id="3" name="Notes Placeholder 2"/>
          <p:cNvSpPr>
            <a:spLocks noGrp="1"/>
          </p:cNvSpPr>
          <p:nvPr>
            <p:ph type="body" idx="1"/>
          </p:nvPr>
        </p:nvSpPr>
        <p:spPr/>
        <p:txBody>
          <a:bodyPr/>
          <a:lstStyle/>
          <a:p>
            <a:pPr marL="159311" indent="-159311">
              <a:buFontTx/>
              <a:buChar char="-"/>
            </a:pPr>
            <a:endParaRPr lang="en-US" dirty="0"/>
          </a:p>
        </p:txBody>
      </p:sp>
      <p:sp>
        <p:nvSpPr>
          <p:cNvPr id="4" name="Slide Number Placeholder 3"/>
          <p:cNvSpPr>
            <a:spLocks noGrp="1"/>
          </p:cNvSpPr>
          <p:nvPr>
            <p:ph type="sldNum" sz="quarter" idx="10"/>
          </p:nvPr>
        </p:nvSpPr>
        <p:spPr/>
        <p:txBody>
          <a:bodyPr/>
          <a:lstStyle/>
          <a:p>
            <a:pPr>
              <a:defRPr/>
            </a:pPr>
            <a:fld id="{C018AA73-E5F6-49CC-B1D3-FEF6BF931899}" type="slidenum">
              <a:rPr lang="en-GB" smtClean="0"/>
              <a:pPr>
                <a:defRPr/>
              </a:pPr>
              <a:t>13</a:t>
            </a:fld>
            <a:endParaRPr lang="en-GB" dirty="0"/>
          </a:p>
        </p:txBody>
      </p:sp>
    </p:spTree>
    <p:extLst>
      <p:ext uri="{BB962C8B-B14F-4D97-AF65-F5344CB8AC3E}">
        <p14:creationId xmlns:p14="http://schemas.microsoft.com/office/powerpoint/2010/main" val="141653784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B3FE01D-C5D9-4A23-B4C0-0332D178534B}" type="slidenum">
              <a:rPr lang="en-GB" smtClean="0"/>
              <a:t>14</a:t>
            </a:fld>
            <a:endParaRPr lang="en-GB"/>
          </a:p>
        </p:txBody>
      </p:sp>
    </p:spTree>
    <p:extLst>
      <p:ext uri="{BB962C8B-B14F-4D97-AF65-F5344CB8AC3E}">
        <p14:creationId xmlns:p14="http://schemas.microsoft.com/office/powerpoint/2010/main" val="210368090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9.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pSp>
        <p:nvGrpSpPr>
          <p:cNvPr id="4" name="Group 3"/>
          <p:cNvGrpSpPr/>
          <p:nvPr userDrawn="1"/>
        </p:nvGrpSpPr>
        <p:grpSpPr>
          <a:xfrm>
            <a:off x="-3311" y="-794"/>
            <a:ext cx="10698435" cy="7561263"/>
            <a:chOff x="-3311" y="-794"/>
            <a:chExt cx="10698435" cy="7561263"/>
          </a:xfrm>
        </p:grpSpPr>
        <p:pic>
          <p:nvPicPr>
            <p:cNvPr id="14" name="Picture 13"/>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724" y="-794"/>
              <a:ext cx="10693400" cy="7561263"/>
            </a:xfrm>
            <a:prstGeom prst="rect">
              <a:avLst/>
            </a:prstGeom>
          </p:spPr>
        </p:pic>
        <p:sp>
          <p:nvSpPr>
            <p:cNvPr id="15" name="Rectangle 14"/>
            <p:cNvSpPr/>
            <p:nvPr userDrawn="1"/>
          </p:nvSpPr>
          <p:spPr>
            <a:xfrm>
              <a:off x="-3311" y="-793"/>
              <a:ext cx="10691813" cy="7559675"/>
            </a:xfrm>
            <a:prstGeom prst="rect">
              <a:avLst/>
            </a:prstGeom>
            <a:gradFill flip="none" rotWithShape="1">
              <a:gsLst>
                <a:gs pos="15000">
                  <a:schemeClr val="bg1">
                    <a:alpha val="0"/>
                  </a:schemeClr>
                </a:gs>
                <a:gs pos="100000">
                  <a:schemeClr val="bg1">
                    <a:alpha val="9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043056" rtl="0" eaLnBrk="1" latinLnBrk="0" hangingPunct="1">
                <a:defRPr sz="2100" kern="1200">
                  <a:solidFill>
                    <a:schemeClr val="lt1"/>
                  </a:solidFill>
                  <a:latin typeface="+mn-lt"/>
                  <a:ea typeface="+mn-ea"/>
                  <a:cs typeface="+mn-cs"/>
                </a:defRPr>
              </a:lvl1pPr>
              <a:lvl2pPr marL="521528" algn="l" defTabSz="1043056" rtl="0" eaLnBrk="1" latinLnBrk="0" hangingPunct="1">
                <a:defRPr sz="2100" kern="1200">
                  <a:solidFill>
                    <a:schemeClr val="lt1"/>
                  </a:solidFill>
                  <a:latin typeface="+mn-lt"/>
                  <a:ea typeface="+mn-ea"/>
                  <a:cs typeface="+mn-cs"/>
                </a:defRPr>
              </a:lvl2pPr>
              <a:lvl3pPr marL="1043056" algn="l" defTabSz="1043056" rtl="0" eaLnBrk="1" latinLnBrk="0" hangingPunct="1">
                <a:defRPr sz="2100" kern="1200">
                  <a:solidFill>
                    <a:schemeClr val="lt1"/>
                  </a:solidFill>
                  <a:latin typeface="+mn-lt"/>
                  <a:ea typeface="+mn-ea"/>
                  <a:cs typeface="+mn-cs"/>
                </a:defRPr>
              </a:lvl3pPr>
              <a:lvl4pPr marL="1564584" algn="l" defTabSz="1043056" rtl="0" eaLnBrk="1" latinLnBrk="0" hangingPunct="1">
                <a:defRPr sz="2100" kern="1200">
                  <a:solidFill>
                    <a:schemeClr val="lt1"/>
                  </a:solidFill>
                  <a:latin typeface="+mn-lt"/>
                  <a:ea typeface="+mn-ea"/>
                  <a:cs typeface="+mn-cs"/>
                </a:defRPr>
              </a:lvl4pPr>
              <a:lvl5pPr marL="2086112" algn="l" defTabSz="1043056" rtl="0" eaLnBrk="1" latinLnBrk="0" hangingPunct="1">
                <a:defRPr sz="2100" kern="1200">
                  <a:solidFill>
                    <a:schemeClr val="lt1"/>
                  </a:solidFill>
                  <a:latin typeface="+mn-lt"/>
                  <a:ea typeface="+mn-ea"/>
                  <a:cs typeface="+mn-cs"/>
                </a:defRPr>
              </a:lvl5pPr>
              <a:lvl6pPr marL="2607640" algn="l" defTabSz="1043056" rtl="0" eaLnBrk="1" latinLnBrk="0" hangingPunct="1">
                <a:defRPr sz="2100" kern="1200">
                  <a:solidFill>
                    <a:schemeClr val="lt1"/>
                  </a:solidFill>
                  <a:latin typeface="+mn-lt"/>
                  <a:ea typeface="+mn-ea"/>
                  <a:cs typeface="+mn-cs"/>
                </a:defRPr>
              </a:lvl6pPr>
              <a:lvl7pPr marL="3129168" algn="l" defTabSz="1043056" rtl="0" eaLnBrk="1" latinLnBrk="0" hangingPunct="1">
                <a:defRPr sz="2100" kern="1200">
                  <a:solidFill>
                    <a:schemeClr val="lt1"/>
                  </a:solidFill>
                  <a:latin typeface="+mn-lt"/>
                  <a:ea typeface="+mn-ea"/>
                  <a:cs typeface="+mn-cs"/>
                </a:defRPr>
              </a:lvl7pPr>
              <a:lvl8pPr marL="3650696" algn="l" defTabSz="1043056" rtl="0" eaLnBrk="1" latinLnBrk="0" hangingPunct="1">
                <a:defRPr sz="2100" kern="1200">
                  <a:solidFill>
                    <a:schemeClr val="lt1"/>
                  </a:solidFill>
                  <a:latin typeface="+mn-lt"/>
                  <a:ea typeface="+mn-ea"/>
                  <a:cs typeface="+mn-cs"/>
                </a:defRPr>
              </a:lvl8pPr>
              <a:lvl9pPr marL="4172224" algn="l" defTabSz="1043056" rtl="0" eaLnBrk="1" latinLnBrk="0" hangingPunct="1">
                <a:defRPr sz="2100" kern="1200">
                  <a:solidFill>
                    <a:schemeClr val="lt1"/>
                  </a:solidFill>
                  <a:latin typeface="+mn-lt"/>
                  <a:ea typeface="+mn-ea"/>
                  <a:cs typeface="+mn-cs"/>
                </a:defRPr>
              </a:lvl9pPr>
            </a:lstStyle>
            <a:p>
              <a:pPr algn="ctr"/>
              <a:endParaRPr lang="en-US"/>
            </a:p>
          </p:txBody>
        </p:sp>
        <p:sp>
          <p:nvSpPr>
            <p:cNvPr id="16" name="Rectangle 15"/>
            <p:cNvSpPr/>
            <p:nvPr userDrawn="1"/>
          </p:nvSpPr>
          <p:spPr>
            <a:xfrm>
              <a:off x="4993790" y="1835622"/>
              <a:ext cx="5701333" cy="2448272"/>
            </a:xfrm>
            <a:prstGeom prst="rect">
              <a:avLst/>
            </a:prstGeom>
            <a:gradFill flip="none" rotWithShape="1">
              <a:gsLst>
                <a:gs pos="1000">
                  <a:schemeClr val="accent1"/>
                </a:gs>
                <a:gs pos="1000">
                  <a:srgbClr val="30D8FF"/>
                </a:gs>
                <a:gs pos="49000">
                  <a:schemeClr val="accent1">
                    <a:lumMod val="60000"/>
                    <a:lumOff val="40000"/>
                  </a:schemeClr>
                </a:gs>
                <a:gs pos="82000">
                  <a:schemeClr val="accent1"/>
                </a:gs>
                <a:gs pos="66000">
                  <a:schemeClr val="accent1">
                    <a:lumMod val="87000"/>
                    <a:lumOff val="13000"/>
                  </a:schemeClr>
                </a:gs>
                <a:gs pos="100000">
                  <a:schemeClr val="accent1">
                    <a:lumMod val="60000"/>
                    <a:lumOff val="40000"/>
                  </a:schemeClr>
                </a:gs>
                <a:gs pos="99000">
                  <a:schemeClr val="accent1"/>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defPPr>
                <a:defRPr lang="en-US"/>
              </a:defPPr>
              <a:lvl1pPr marL="0" algn="l" defTabSz="1043056" rtl="0" eaLnBrk="1" latinLnBrk="0" hangingPunct="1">
                <a:defRPr sz="2100" kern="1200">
                  <a:solidFill>
                    <a:schemeClr val="lt1"/>
                  </a:solidFill>
                  <a:latin typeface="+mn-lt"/>
                  <a:ea typeface="+mn-ea"/>
                  <a:cs typeface="+mn-cs"/>
                </a:defRPr>
              </a:lvl1pPr>
              <a:lvl2pPr marL="521528" algn="l" defTabSz="1043056" rtl="0" eaLnBrk="1" latinLnBrk="0" hangingPunct="1">
                <a:defRPr sz="2100" kern="1200">
                  <a:solidFill>
                    <a:schemeClr val="lt1"/>
                  </a:solidFill>
                  <a:latin typeface="+mn-lt"/>
                  <a:ea typeface="+mn-ea"/>
                  <a:cs typeface="+mn-cs"/>
                </a:defRPr>
              </a:lvl2pPr>
              <a:lvl3pPr marL="1043056" algn="l" defTabSz="1043056" rtl="0" eaLnBrk="1" latinLnBrk="0" hangingPunct="1">
                <a:defRPr sz="2100" kern="1200">
                  <a:solidFill>
                    <a:schemeClr val="lt1"/>
                  </a:solidFill>
                  <a:latin typeface="+mn-lt"/>
                  <a:ea typeface="+mn-ea"/>
                  <a:cs typeface="+mn-cs"/>
                </a:defRPr>
              </a:lvl3pPr>
              <a:lvl4pPr marL="1564584" algn="l" defTabSz="1043056" rtl="0" eaLnBrk="1" latinLnBrk="0" hangingPunct="1">
                <a:defRPr sz="2100" kern="1200">
                  <a:solidFill>
                    <a:schemeClr val="lt1"/>
                  </a:solidFill>
                  <a:latin typeface="+mn-lt"/>
                  <a:ea typeface="+mn-ea"/>
                  <a:cs typeface="+mn-cs"/>
                </a:defRPr>
              </a:lvl4pPr>
              <a:lvl5pPr marL="2086112" algn="l" defTabSz="1043056" rtl="0" eaLnBrk="1" latinLnBrk="0" hangingPunct="1">
                <a:defRPr sz="2100" kern="1200">
                  <a:solidFill>
                    <a:schemeClr val="lt1"/>
                  </a:solidFill>
                  <a:latin typeface="+mn-lt"/>
                  <a:ea typeface="+mn-ea"/>
                  <a:cs typeface="+mn-cs"/>
                </a:defRPr>
              </a:lvl5pPr>
              <a:lvl6pPr marL="2607640" algn="l" defTabSz="1043056" rtl="0" eaLnBrk="1" latinLnBrk="0" hangingPunct="1">
                <a:defRPr sz="2100" kern="1200">
                  <a:solidFill>
                    <a:schemeClr val="lt1"/>
                  </a:solidFill>
                  <a:latin typeface="+mn-lt"/>
                  <a:ea typeface="+mn-ea"/>
                  <a:cs typeface="+mn-cs"/>
                </a:defRPr>
              </a:lvl6pPr>
              <a:lvl7pPr marL="3129168" algn="l" defTabSz="1043056" rtl="0" eaLnBrk="1" latinLnBrk="0" hangingPunct="1">
                <a:defRPr sz="2100" kern="1200">
                  <a:solidFill>
                    <a:schemeClr val="lt1"/>
                  </a:solidFill>
                  <a:latin typeface="+mn-lt"/>
                  <a:ea typeface="+mn-ea"/>
                  <a:cs typeface="+mn-cs"/>
                </a:defRPr>
              </a:lvl7pPr>
              <a:lvl8pPr marL="3650696" algn="l" defTabSz="1043056" rtl="0" eaLnBrk="1" latinLnBrk="0" hangingPunct="1">
                <a:defRPr sz="2100" kern="1200">
                  <a:solidFill>
                    <a:schemeClr val="lt1"/>
                  </a:solidFill>
                  <a:latin typeface="+mn-lt"/>
                  <a:ea typeface="+mn-ea"/>
                  <a:cs typeface="+mn-cs"/>
                </a:defRPr>
              </a:lvl8pPr>
              <a:lvl9pPr marL="4172224" algn="l" defTabSz="1043056" rtl="0" eaLnBrk="1" latinLnBrk="0" hangingPunct="1">
                <a:defRPr sz="2100" kern="1200">
                  <a:solidFill>
                    <a:schemeClr val="lt1"/>
                  </a:solidFill>
                  <a:latin typeface="+mn-lt"/>
                  <a:ea typeface="+mn-ea"/>
                  <a:cs typeface="+mn-cs"/>
                </a:defRPr>
              </a:lvl9pPr>
            </a:lstStyle>
            <a:p>
              <a:pPr algn="ctr"/>
              <a:endParaRPr lang="en-US" dirty="0"/>
            </a:p>
          </p:txBody>
        </p:sp>
      </p:grpSp>
      <p:sp>
        <p:nvSpPr>
          <p:cNvPr id="2" name="Title 1"/>
          <p:cNvSpPr>
            <a:spLocks noGrp="1"/>
          </p:cNvSpPr>
          <p:nvPr userDrawn="1">
            <p:ph type="ctrTitle"/>
          </p:nvPr>
        </p:nvSpPr>
        <p:spPr>
          <a:xfrm>
            <a:off x="5202238" y="2195661"/>
            <a:ext cx="4968875" cy="2055823"/>
          </a:xfrm>
        </p:spPr>
        <p:txBody>
          <a:bodyPr anchor="ctr">
            <a:noAutofit/>
          </a:bodyPr>
          <a:lstStyle>
            <a:lvl1pPr algn="l">
              <a:defRPr sz="3600">
                <a:solidFill>
                  <a:schemeClr val="bg1"/>
                </a:solidFill>
              </a:defRPr>
            </a:lvl1pPr>
          </a:lstStyle>
          <a:p>
            <a:r>
              <a:rPr lang="en-US" smtClean="0"/>
              <a:t>Click to edit Master title style</a:t>
            </a:r>
            <a:endParaRPr lang="en-US" dirty="0"/>
          </a:p>
        </p:txBody>
      </p:sp>
      <p:sp>
        <p:nvSpPr>
          <p:cNvPr id="3" name="Subtitle 2"/>
          <p:cNvSpPr>
            <a:spLocks noGrp="1"/>
          </p:cNvSpPr>
          <p:nvPr userDrawn="1">
            <p:ph type="subTitle" idx="1"/>
          </p:nvPr>
        </p:nvSpPr>
        <p:spPr>
          <a:xfrm>
            <a:off x="5202238" y="4411852"/>
            <a:ext cx="4969016" cy="952162"/>
          </a:xfrm>
        </p:spPr>
        <p:txBody>
          <a:bodyPr>
            <a:noAutofit/>
          </a:bodyPr>
          <a:lstStyle>
            <a:lvl1pPr marL="0" indent="0" algn="l">
              <a:buNone/>
              <a:defRPr sz="2800">
                <a:solidFill>
                  <a:schemeClr val="accent1"/>
                </a:solidFill>
              </a:defRPr>
            </a:lvl1pPr>
            <a:lvl2pPr marL="503972" indent="0" algn="ctr">
              <a:buNone/>
              <a:defRPr sz="2205"/>
            </a:lvl2pPr>
            <a:lvl3pPr marL="1007943" indent="0" algn="ctr">
              <a:buNone/>
              <a:defRPr sz="1984"/>
            </a:lvl3pPr>
            <a:lvl4pPr marL="1511915" indent="0" algn="ctr">
              <a:buNone/>
              <a:defRPr sz="1764"/>
            </a:lvl4pPr>
            <a:lvl5pPr marL="2015886" indent="0" algn="ctr">
              <a:buNone/>
              <a:defRPr sz="1764"/>
            </a:lvl5pPr>
            <a:lvl6pPr marL="2519858" indent="0" algn="ctr">
              <a:buNone/>
              <a:defRPr sz="1764"/>
            </a:lvl6pPr>
            <a:lvl7pPr marL="3023829" indent="0" algn="ctr">
              <a:buNone/>
              <a:defRPr sz="1764"/>
            </a:lvl7pPr>
            <a:lvl8pPr marL="3527801" indent="0" algn="ctr">
              <a:buNone/>
              <a:defRPr sz="1764"/>
            </a:lvl8pPr>
            <a:lvl9pPr marL="4031772" indent="0" algn="ctr">
              <a:buNone/>
              <a:defRPr sz="1764"/>
            </a:lvl9pPr>
          </a:lstStyle>
          <a:p>
            <a:r>
              <a:rPr lang="en-US" smtClean="0"/>
              <a:t>Click to edit Master subtitle style</a:t>
            </a:r>
            <a:endParaRPr lang="en-US" dirty="0"/>
          </a:p>
        </p:txBody>
      </p:sp>
      <p:pic>
        <p:nvPicPr>
          <p:cNvPr id="8" name="Picture 7" descr="logo.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105029" y="6419773"/>
            <a:ext cx="3066084" cy="871670"/>
          </a:xfrm>
          <a:prstGeom prst="rect">
            <a:avLst/>
          </a:prstGeom>
        </p:spPr>
      </p:pic>
      <p:sp>
        <p:nvSpPr>
          <p:cNvPr id="9" name="Text Placeholder 12"/>
          <p:cNvSpPr>
            <a:spLocks noGrp="1"/>
          </p:cNvSpPr>
          <p:nvPr userDrawn="1">
            <p:ph type="body" sz="quarter" idx="10" hasCustomPrompt="1"/>
          </p:nvPr>
        </p:nvSpPr>
        <p:spPr>
          <a:xfrm>
            <a:off x="7105029" y="5365102"/>
            <a:ext cx="3066084" cy="862660"/>
          </a:xfrm>
        </p:spPr>
        <p:txBody>
          <a:bodyPr anchor="b"/>
          <a:lstStyle>
            <a:lvl1pPr marL="0" indent="0">
              <a:buNone/>
              <a:defRPr sz="2000" baseline="0">
                <a:solidFill>
                  <a:schemeClr val="tx1"/>
                </a:solidFill>
              </a:defRPr>
            </a:lvl1pPr>
            <a:lvl2pPr marL="0" indent="0">
              <a:buNone/>
              <a:defRPr sz="1800">
                <a:solidFill>
                  <a:schemeClr val="tx1"/>
                </a:solidFill>
              </a:defRPr>
            </a:lvl2pPr>
          </a:lstStyle>
          <a:p>
            <a:pPr lvl="0"/>
            <a:r>
              <a:rPr lang="en-US" dirty="0" smtClean="0"/>
              <a:t>Insert name</a:t>
            </a:r>
          </a:p>
          <a:p>
            <a:pPr lvl="1"/>
            <a:r>
              <a:rPr lang="en-US" dirty="0" smtClean="0"/>
              <a:t>Insert email address</a:t>
            </a:r>
          </a:p>
        </p:txBody>
      </p:sp>
      <p:sp>
        <p:nvSpPr>
          <p:cNvPr id="5" name="Text Placeholder 4"/>
          <p:cNvSpPr>
            <a:spLocks noGrp="1"/>
          </p:cNvSpPr>
          <p:nvPr userDrawn="1">
            <p:ph type="body" sz="quarter" idx="11" hasCustomPrompt="1"/>
          </p:nvPr>
        </p:nvSpPr>
        <p:spPr>
          <a:xfrm>
            <a:off x="5202238" y="1835150"/>
            <a:ext cx="4968875" cy="360363"/>
          </a:xfrm>
        </p:spPr>
        <p:txBody>
          <a:bodyPr/>
          <a:lstStyle>
            <a:lvl1pPr marL="0" indent="0">
              <a:buNone/>
              <a:defRPr>
                <a:solidFill>
                  <a:schemeClr val="bg1"/>
                </a:solidFill>
              </a:defRPr>
            </a:lvl1pPr>
          </a:lstStyle>
          <a:p>
            <a:pPr lvl="0"/>
            <a:r>
              <a:rPr lang="en-US" dirty="0" smtClean="0"/>
              <a:t>Click to add date</a:t>
            </a:r>
          </a:p>
        </p:txBody>
      </p:sp>
    </p:spTree>
    <p:extLst>
      <p:ext uri="{BB962C8B-B14F-4D97-AF65-F5344CB8AC3E}">
        <p14:creationId xmlns:p14="http://schemas.microsoft.com/office/powerpoint/2010/main" val="2614253077"/>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ix Boxes">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mtClean="0"/>
              <a:t>Click to edit Master title style</a:t>
            </a:r>
            <a:endParaRPr lang="en-US" dirty="0"/>
          </a:p>
        </p:txBody>
      </p:sp>
      <p:sp>
        <p:nvSpPr>
          <p:cNvPr id="3" name="Content Placeholder 2"/>
          <p:cNvSpPr>
            <a:spLocks noGrp="1"/>
          </p:cNvSpPr>
          <p:nvPr>
            <p:ph idx="1" hasCustomPrompt="1"/>
          </p:nvPr>
        </p:nvSpPr>
        <p:spPr>
          <a:xfrm>
            <a:off x="529068" y="1692275"/>
            <a:ext cx="3132000" cy="2377223"/>
          </a:xfrm>
        </p:spPr>
        <p:txBody>
          <a:bodyPr tIns="72000">
            <a:noAutofit/>
          </a:bodyPr>
          <a:lstStyle>
            <a:lvl1pPr marL="355600" indent="-355600">
              <a:defRPr sz="1600"/>
            </a:lvl1pPr>
            <a:lvl2pPr>
              <a:defRPr sz="1400"/>
            </a:lvl2pPr>
            <a:lvl3pPr>
              <a:defRPr sz="1200"/>
            </a:lvl3pPr>
            <a:lvl4pPr>
              <a:defRPr sz="1100"/>
            </a:lvl4pPr>
            <a:lvl5pPr>
              <a:defRPr sz="1100"/>
            </a:lvl5pPr>
          </a:lstStyle>
          <a:p>
            <a:pPr lvl="0"/>
            <a:r>
              <a:rPr lang="en-US" dirty="0" smtClean="0"/>
              <a:t>Click to edit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10"/>
          <p:cNvSpPr>
            <a:spLocks noGrp="1"/>
          </p:cNvSpPr>
          <p:nvPr>
            <p:ph type="body" sz="quarter" idx="19" hasCustomPrompt="1"/>
          </p:nvPr>
        </p:nvSpPr>
        <p:spPr>
          <a:xfrm>
            <a:off x="529068" y="1117143"/>
            <a:ext cx="3132000" cy="576000"/>
          </a:xfrm>
          <a:solidFill>
            <a:schemeClr val="accent1"/>
          </a:solidFill>
        </p:spPr>
        <p:txBody>
          <a:bodyPr lIns="54000" tIns="54000" rIns="54000" bIns="54000" anchor="ctr">
            <a:noAutofit/>
          </a:bodyPr>
          <a:lstStyle>
            <a:lvl1pPr marL="0" indent="0" algn="ctr">
              <a:buNone/>
              <a:defRPr sz="1600" cap="all" baseline="0">
                <a:solidFill>
                  <a:schemeClr val="bg1"/>
                </a:solidFill>
                <a:latin typeface="+mj-lt"/>
              </a:defRPr>
            </a:lvl1pPr>
          </a:lstStyle>
          <a:p>
            <a:pPr lvl="0"/>
            <a:r>
              <a:rPr lang="en-US" dirty="0" smtClean="0"/>
              <a:t>Click to add title</a:t>
            </a:r>
          </a:p>
        </p:txBody>
      </p:sp>
      <p:sp>
        <p:nvSpPr>
          <p:cNvPr id="18" name="Content Placeholder 2"/>
          <p:cNvSpPr>
            <a:spLocks noGrp="1"/>
          </p:cNvSpPr>
          <p:nvPr>
            <p:ph idx="20" hasCustomPrompt="1"/>
          </p:nvPr>
        </p:nvSpPr>
        <p:spPr>
          <a:xfrm>
            <a:off x="3784090" y="1692275"/>
            <a:ext cx="3132000" cy="2377223"/>
          </a:xfrm>
        </p:spPr>
        <p:txBody>
          <a:bodyPr tIns="72000">
            <a:noAutofit/>
          </a:bodyPr>
          <a:lstStyle>
            <a:lvl1pPr marL="355600" indent="-355600">
              <a:defRPr sz="1600"/>
            </a:lvl1pPr>
            <a:lvl2pPr>
              <a:defRPr sz="1400"/>
            </a:lvl2pPr>
            <a:lvl3pPr>
              <a:defRPr sz="1200"/>
            </a:lvl3pPr>
            <a:lvl4pPr>
              <a:defRPr sz="1100"/>
            </a:lvl4pPr>
            <a:lvl5pPr>
              <a:defRPr sz="1100"/>
            </a:lvl5pPr>
          </a:lstStyle>
          <a:p>
            <a:pPr lvl="0"/>
            <a:r>
              <a:rPr lang="en-US" dirty="0" smtClean="0"/>
              <a:t>Click to edit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9" name="Text Placeholder 10"/>
          <p:cNvSpPr>
            <a:spLocks noGrp="1"/>
          </p:cNvSpPr>
          <p:nvPr>
            <p:ph type="body" sz="quarter" idx="21" hasCustomPrompt="1"/>
          </p:nvPr>
        </p:nvSpPr>
        <p:spPr>
          <a:xfrm>
            <a:off x="3784090" y="1117143"/>
            <a:ext cx="3132000" cy="576000"/>
          </a:xfrm>
          <a:solidFill>
            <a:schemeClr val="accent1"/>
          </a:solidFill>
        </p:spPr>
        <p:txBody>
          <a:bodyPr lIns="54000" tIns="54000" rIns="54000" bIns="54000" anchor="ctr">
            <a:noAutofit/>
          </a:bodyPr>
          <a:lstStyle>
            <a:lvl1pPr marL="0" indent="0" algn="ctr">
              <a:buNone/>
              <a:defRPr sz="1600" cap="all" baseline="0">
                <a:solidFill>
                  <a:schemeClr val="bg1"/>
                </a:solidFill>
                <a:latin typeface="+mj-lt"/>
              </a:defRPr>
            </a:lvl1pPr>
          </a:lstStyle>
          <a:p>
            <a:pPr lvl="0"/>
            <a:r>
              <a:rPr lang="en-US" dirty="0" smtClean="0"/>
              <a:t>Click to add title</a:t>
            </a:r>
          </a:p>
        </p:txBody>
      </p:sp>
      <p:sp>
        <p:nvSpPr>
          <p:cNvPr id="20" name="Content Placeholder 2"/>
          <p:cNvSpPr>
            <a:spLocks noGrp="1"/>
          </p:cNvSpPr>
          <p:nvPr>
            <p:ph idx="22" hasCustomPrompt="1"/>
          </p:nvPr>
        </p:nvSpPr>
        <p:spPr>
          <a:xfrm>
            <a:off x="7039113" y="1692275"/>
            <a:ext cx="3132000" cy="2377223"/>
          </a:xfrm>
        </p:spPr>
        <p:txBody>
          <a:bodyPr tIns="72000">
            <a:noAutofit/>
          </a:bodyPr>
          <a:lstStyle>
            <a:lvl1pPr marL="355600" indent="-355600">
              <a:defRPr sz="1600"/>
            </a:lvl1pPr>
            <a:lvl2pPr>
              <a:defRPr sz="1400"/>
            </a:lvl2pPr>
            <a:lvl3pPr>
              <a:defRPr sz="1200"/>
            </a:lvl3pPr>
            <a:lvl4pPr>
              <a:defRPr sz="1100"/>
            </a:lvl4pPr>
            <a:lvl5pPr>
              <a:defRPr sz="1100"/>
            </a:lvl5pPr>
          </a:lstStyle>
          <a:p>
            <a:pPr lvl="0"/>
            <a:r>
              <a:rPr lang="en-US" dirty="0" smtClean="0"/>
              <a:t>Click to edit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1" name="Text Placeholder 10"/>
          <p:cNvSpPr>
            <a:spLocks noGrp="1"/>
          </p:cNvSpPr>
          <p:nvPr>
            <p:ph type="body" sz="quarter" idx="23" hasCustomPrompt="1"/>
          </p:nvPr>
        </p:nvSpPr>
        <p:spPr>
          <a:xfrm>
            <a:off x="7039113" y="1117143"/>
            <a:ext cx="3132000" cy="576000"/>
          </a:xfrm>
          <a:solidFill>
            <a:schemeClr val="accent1"/>
          </a:solidFill>
        </p:spPr>
        <p:txBody>
          <a:bodyPr lIns="54000" tIns="54000" rIns="54000" bIns="54000" anchor="ctr">
            <a:noAutofit/>
          </a:bodyPr>
          <a:lstStyle>
            <a:lvl1pPr marL="0" indent="0" algn="ctr">
              <a:buNone/>
              <a:defRPr sz="1600" cap="all" baseline="0">
                <a:solidFill>
                  <a:schemeClr val="bg1"/>
                </a:solidFill>
                <a:latin typeface="+mj-lt"/>
              </a:defRPr>
            </a:lvl1pPr>
          </a:lstStyle>
          <a:p>
            <a:pPr lvl="0"/>
            <a:r>
              <a:rPr lang="en-US" dirty="0" smtClean="0"/>
              <a:t>Click to add title</a:t>
            </a:r>
          </a:p>
        </p:txBody>
      </p:sp>
      <p:sp>
        <p:nvSpPr>
          <p:cNvPr id="22" name="Content Placeholder 2"/>
          <p:cNvSpPr>
            <a:spLocks noGrp="1"/>
          </p:cNvSpPr>
          <p:nvPr>
            <p:ph idx="24" hasCustomPrompt="1"/>
          </p:nvPr>
        </p:nvSpPr>
        <p:spPr>
          <a:xfrm>
            <a:off x="529068" y="4787165"/>
            <a:ext cx="3132000" cy="2377223"/>
          </a:xfrm>
        </p:spPr>
        <p:txBody>
          <a:bodyPr tIns="72000">
            <a:noAutofit/>
          </a:bodyPr>
          <a:lstStyle>
            <a:lvl1pPr marL="355600" indent="-355600">
              <a:tabLst/>
              <a:defRPr sz="1600"/>
            </a:lvl1pPr>
            <a:lvl2pPr>
              <a:defRPr sz="1400"/>
            </a:lvl2pPr>
            <a:lvl3pPr>
              <a:defRPr sz="1200"/>
            </a:lvl3pPr>
            <a:lvl4pPr>
              <a:defRPr sz="1100"/>
            </a:lvl4pPr>
            <a:lvl5pPr>
              <a:defRPr sz="1100"/>
            </a:lvl5pPr>
          </a:lstStyle>
          <a:p>
            <a:pPr lvl="0"/>
            <a:r>
              <a:rPr lang="en-US" dirty="0" smtClean="0"/>
              <a:t>Click to edit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3" name="Text Placeholder 10"/>
          <p:cNvSpPr>
            <a:spLocks noGrp="1"/>
          </p:cNvSpPr>
          <p:nvPr>
            <p:ph type="body" sz="quarter" idx="25" hasCustomPrompt="1"/>
          </p:nvPr>
        </p:nvSpPr>
        <p:spPr>
          <a:xfrm>
            <a:off x="529068" y="4211166"/>
            <a:ext cx="3132000" cy="576000"/>
          </a:xfrm>
          <a:solidFill>
            <a:schemeClr val="accent1"/>
          </a:solidFill>
        </p:spPr>
        <p:txBody>
          <a:bodyPr lIns="54000" tIns="54000" rIns="54000" bIns="54000" anchor="ctr">
            <a:noAutofit/>
          </a:bodyPr>
          <a:lstStyle>
            <a:lvl1pPr marL="0" indent="0" algn="ctr">
              <a:buNone/>
              <a:defRPr sz="1600" cap="all" baseline="0">
                <a:solidFill>
                  <a:schemeClr val="bg1"/>
                </a:solidFill>
                <a:latin typeface="+mj-lt"/>
              </a:defRPr>
            </a:lvl1pPr>
          </a:lstStyle>
          <a:p>
            <a:pPr lvl="0"/>
            <a:r>
              <a:rPr lang="en-US" dirty="0" smtClean="0"/>
              <a:t>Click to add title</a:t>
            </a:r>
          </a:p>
        </p:txBody>
      </p:sp>
      <p:sp>
        <p:nvSpPr>
          <p:cNvPr id="24" name="Content Placeholder 2"/>
          <p:cNvSpPr>
            <a:spLocks noGrp="1"/>
          </p:cNvSpPr>
          <p:nvPr>
            <p:ph idx="26" hasCustomPrompt="1"/>
          </p:nvPr>
        </p:nvSpPr>
        <p:spPr>
          <a:xfrm>
            <a:off x="3784090" y="4787165"/>
            <a:ext cx="3132000" cy="2377223"/>
          </a:xfrm>
        </p:spPr>
        <p:txBody>
          <a:bodyPr tIns="72000">
            <a:noAutofit/>
          </a:bodyPr>
          <a:lstStyle>
            <a:lvl1pPr marL="355600" indent="-355600">
              <a:defRPr sz="1600"/>
            </a:lvl1pPr>
            <a:lvl2pPr>
              <a:defRPr sz="1400"/>
            </a:lvl2pPr>
            <a:lvl3pPr>
              <a:defRPr sz="1200"/>
            </a:lvl3pPr>
            <a:lvl4pPr>
              <a:defRPr sz="1100"/>
            </a:lvl4pPr>
            <a:lvl5pPr>
              <a:defRPr sz="1100"/>
            </a:lvl5pPr>
          </a:lstStyle>
          <a:p>
            <a:pPr lvl="0"/>
            <a:r>
              <a:rPr lang="en-US" dirty="0" smtClean="0"/>
              <a:t>Click to edit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5" name="Text Placeholder 10"/>
          <p:cNvSpPr>
            <a:spLocks noGrp="1"/>
          </p:cNvSpPr>
          <p:nvPr>
            <p:ph type="body" sz="quarter" idx="27" hasCustomPrompt="1"/>
          </p:nvPr>
        </p:nvSpPr>
        <p:spPr>
          <a:xfrm>
            <a:off x="3784090" y="4211166"/>
            <a:ext cx="3132000" cy="576000"/>
          </a:xfrm>
          <a:solidFill>
            <a:schemeClr val="accent1"/>
          </a:solidFill>
        </p:spPr>
        <p:txBody>
          <a:bodyPr lIns="54000" tIns="54000" rIns="54000" bIns="54000" anchor="ctr">
            <a:noAutofit/>
          </a:bodyPr>
          <a:lstStyle>
            <a:lvl1pPr marL="0" indent="0" algn="ctr">
              <a:buNone/>
              <a:defRPr sz="1600" cap="all" baseline="0">
                <a:solidFill>
                  <a:schemeClr val="bg1"/>
                </a:solidFill>
                <a:latin typeface="+mj-lt"/>
              </a:defRPr>
            </a:lvl1pPr>
          </a:lstStyle>
          <a:p>
            <a:pPr lvl="0"/>
            <a:r>
              <a:rPr lang="en-US" dirty="0" smtClean="0"/>
              <a:t>Click to add title</a:t>
            </a:r>
          </a:p>
        </p:txBody>
      </p:sp>
      <p:sp>
        <p:nvSpPr>
          <p:cNvPr id="26" name="Content Placeholder 2"/>
          <p:cNvSpPr>
            <a:spLocks noGrp="1"/>
          </p:cNvSpPr>
          <p:nvPr>
            <p:ph idx="28" hasCustomPrompt="1"/>
          </p:nvPr>
        </p:nvSpPr>
        <p:spPr>
          <a:xfrm>
            <a:off x="7039113" y="4787165"/>
            <a:ext cx="3132000" cy="2377223"/>
          </a:xfrm>
        </p:spPr>
        <p:txBody>
          <a:bodyPr tIns="72000">
            <a:noAutofit/>
          </a:bodyPr>
          <a:lstStyle>
            <a:lvl1pPr marL="361950" indent="-355600">
              <a:defRPr sz="1600"/>
            </a:lvl1pPr>
            <a:lvl2pPr>
              <a:defRPr sz="1400"/>
            </a:lvl2pPr>
            <a:lvl3pPr>
              <a:defRPr sz="1200"/>
            </a:lvl3pPr>
            <a:lvl4pPr>
              <a:defRPr sz="1100"/>
            </a:lvl4pPr>
            <a:lvl5pPr>
              <a:defRPr sz="1100"/>
            </a:lvl5pPr>
          </a:lstStyle>
          <a:p>
            <a:pPr lvl="0"/>
            <a:r>
              <a:rPr lang="en-US" dirty="0" smtClean="0"/>
              <a:t>Click to edit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7" name="Text Placeholder 10"/>
          <p:cNvSpPr>
            <a:spLocks noGrp="1"/>
          </p:cNvSpPr>
          <p:nvPr>
            <p:ph type="body" sz="quarter" idx="29" hasCustomPrompt="1"/>
          </p:nvPr>
        </p:nvSpPr>
        <p:spPr>
          <a:xfrm>
            <a:off x="7039113" y="4211166"/>
            <a:ext cx="3132000" cy="576000"/>
          </a:xfrm>
          <a:solidFill>
            <a:schemeClr val="accent1"/>
          </a:solidFill>
        </p:spPr>
        <p:txBody>
          <a:bodyPr lIns="54000" tIns="54000" rIns="54000" bIns="54000" anchor="ctr">
            <a:noAutofit/>
          </a:bodyPr>
          <a:lstStyle>
            <a:lvl1pPr marL="0" indent="0" algn="ctr">
              <a:buNone/>
              <a:defRPr sz="1600" cap="all" baseline="0">
                <a:solidFill>
                  <a:schemeClr val="bg1"/>
                </a:solidFill>
                <a:latin typeface="+mj-lt"/>
              </a:defRPr>
            </a:lvl1pPr>
          </a:lstStyle>
          <a:p>
            <a:pPr lvl="0"/>
            <a:r>
              <a:rPr lang="en-US" dirty="0" smtClean="0"/>
              <a:t>Click to add title</a:t>
            </a:r>
          </a:p>
        </p:txBody>
      </p:sp>
      <p:sp>
        <p:nvSpPr>
          <p:cNvPr id="4" name="Date Placeholder 3"/>
          <p:cNvSpPr>
            <a:spLocks noGrp="1"/>
          </p:cNvSpPr>
          <p:nvPr>
            <p:ph type="dt" sz="half" idx="30"/>
          </p:nvPr>
        </p:nvSpPr>
        <p:spPr/>
        <p:txBody>
          <a:bodyPr/>
          <a:lstStyle/>
          <a:p>
            <a:fld id="{AAE91F4F-BBA7-453B-99CE-113E3619C2D6}" type="datetime1">
              <a:rPr lang="en-US" smtClean="0"/>
              <a:t>8/4/2014</a:t>
            </a:fld>
            <a:endParaRPr lang="en-GB" dirty="0"/>
          </a:p>
        </p:txBody>
      </p:sp>
    </p:spTree>
    <p:extLst>
      <p:ext uri="{BB962C8B-B14F-4D97-AF65-F5344CB8AC3E}">
        <p14:creationId xmlns:p14="http://schemas.microsoft.com/office/powerpoint/2010/main" val="681933881"/>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Quote with bullet points">
    <p:spTree>
      <p:nvGrpSpPr>
        <p:cNvPr id="1" name=""/>
        <p:cNvGrpSpPr/>
        <p:nvPr/>
      </p:nvGrpSpPr>
      <p:grpSpPr>
        <a:xfrm>
          <a:off x="0" y="0"/>
          <a:ext cx="0" cy="0"/>
          <a:chOff x="0" y="0"/>
          <a:chExt cx="0" cy="0"/>
        </a:xfrm>
      </p:grpSpPr>
      <p:pic>
        <p:nvPicPr>
          <p:cNvPr id="38" name="Picture 37" descr="ARROWS-06.png"/>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6085036" y="3004437"/>
            <a:ext cx="600000" cy="900000"/>
          </a:xfrm>
          <a:prstGeom prst="rect">
            <a:avLst/>
          </a:prstGeom>
        </p:spPr>
      </p:pic>
      <p:pic>
        <p:nvPicPr>
          <p:cNvPr id="39" name="Picture 38" descr="ARROWS-07.png"/>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085036" y="4635238"/>
            <a:ext cx="600000" cy="900000"/>
          </a:xfrm>
          <a:prstGeom prst="rect">
            <a:avLst/>
          </a:prstGeom>
        </p:spPr>
      </p:pic>
      <p:pic>
        <p:nvPicPr>
          <p:cNvPr id="40" name="Picture 39" descr="ARROWS-08.png"/>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6085036" y="6266039"/>
            <a:ext cx="600000" cy="900000"/>
          </a:xfrm>
          <a:prstGeom prst="rect">
            <a:avLst/>
          </a:prstGeom>
        </p:spPr>
      </p:pic>
      <p:sp>
        <p:nvSpPr>
          <p:cNvPr id="41" name="Text Placeholder 10"/>
          <p:cNvSpPr>
            <a:spLocks noGrp="1" noChangeAspect="1"/>
          </p:cNvSpPr>
          <p:nvPr>
            <p:ph type="body" sz="quarter" idx="19" hasCustomPrompt="1"/>
          </p:nvPr>
        </p:nvSpPr>
        <p:spPr>
          <a:xfrm rot="20700000">
            <a:off x="1138269" y="1531044"/>
            <a:ext cx="3872820" cy="5101516"/>
          </a:xfrm>
          <a:solidFill>
            <a:schemeClr val="accent1"/>
          </a:solidFill>
        </p:spPr>
        <p:txBody>
          <a:bodyPr lIns="54000" tIns="36000" rIns="54000" bIns="54000" anchor="t">
            <a:noAutofit/>
          </a:bodyPr>
          <a:lstStyle>
            <a:lvl1pPr marL="0" indent="0" algn="ctr">
              <a:buNone/>
              <a:defRPr sz="1800" cap="all" baseline="0">
                <a:solidFill>
                  <a:schemeClr val="bg1"/>
                </a:solidFill>
                <a:latin typeface="+mj-lt"/>
              </a:defRPr>
            </a:lvl1pPr>
          </a:lstStyle>
          <a:p>
            <a:pPr lvl="0"/>
            <a:r>
              <a:rPr lang="en-US" dirty="0" smtClean="0"/>
              <a:t>Click to add title</a:t>
            </a:r>
          </a:p>
        </p:txBody>
      </p:sp>
      <p:sp>
        <p:nvSpPr>
          <p:cNvPr id="42" name="Content Placeholder 2"/>
          <p:cNvSpPr>
            <a:spLocks noGrp="1" noChangeAspect="1"/>
          </p:cNvSpPr>
          <p:nvPr>
            <p:ph idx="1"/>
          </p:nvPr>
        </p:nvSpPr>
        <p:spPr>
          <a:xfrm>
            <a:off x="2100096" y="2348430"/>
            <a:ext cx="3872820" cy="4814174"/>
          </a:xfrm>
          <a:solidFill>
            <a:schemeClr val="bg1">
              <a:lumMod val="95000"/>
            </a:schemeClr>
          </a:solidFill>
        </p:spPr>
        <p:txBody>
          <a:bodyPr lIns="54000" tIns="324000" rIns="54000" bIns="54000">
            <a:noAutofit/>
          </a:bodyPr>
          <a:lstStyle>
            <a:lvl1pPr marL="355600" indent="-355600">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3" name="Content Placeholder 2"/>
          <p:cNvSpPr>
            <a:spLocks noGrp="1"/>
          </p:cNvSpPr>
          <p:nvPr>
            <p:ph idx="14" hasCustomPrompt="1"/>
          </p:nvPr>
        </p:nvSpPr>
        <p:spPr>
          <a:xfrm>
            <a:off x="6788474" y="3004437"/>
            <a:ext cx="3382639" cy="900000"/>
          </a:xfrm>
        </p:spPr>
        <p:txBody>
          <a:bodyPr tIns="72000" anchor="ctr">
            <a:noAutofit/>
          </a:bodyPr>
          <a:lstStyle>
            <a:lvl1pPr marL="355600" indent="-355600">
              <a:defRPr/>
            </a:lvl1pPr>
          </a:lstStyle>
          <a:p>
            <a:pPr lvl="0"/>
            <a:r>
              <a:rPr lang="en-US" dirty="0" smtClean="0"/>
              <a:t>Click to edit text styles</a:t>
            </a:r>
          </a:p>
        </p:txBody>
      </p:sp>
      <p:sp>
        <p:nvSpPr>
          <p:cNvPr id="44" name="Content Placeholder 2"/>
          <p:cNvSpPr>
            <a:spLocks noGrp="1"/>
          </p:cNvSpPr>
          <p:nvPr>
            <p:ph idx="20" hasCustomPrompt="1"/>
          </p:nvPr>
        </p:nvSpPr>
        <p:spPr>
          <a:xfrm>
            <a:off x="6788474" y="4635238"/>
            <a:ext cx="3382639" cy="900000"/>
          </a:xfrm>
        </p:spPr>
        <p:txBody>
          <a:bodyPr tIns="72000" anchor="ctr">
            <a:noAutofit/>
          </a:bodyPr>
          <a:lstStyle>
            <a:lvl1pPr marL="355600" indent="-355600">
              <a:defRPr/>
            </a:lvl1pPr>
          </a:lstStyle>
          <a:p>
            <a:pPr lvl="0"/>
            <a:r>
              <a:rPr lang="en-US" dirty="0" smtClean="0"/>
              <a:t>Click to edit text styles</a:t>
            </a:r>
          </a:p>
        </p:txBody>
      </p:sp>
      <p:sp>
        <p:nvSpPr>
          <p:cNvPr id="45" name="Content Placeholder 2"/>
          <p:cNvSpPr>
            <a:spLocks noGrp="1"/>
          </p:cNvSpPr>
          <p:nvPr>
            <p:ph idx="21" hasCustomPrompt="1"/>
          </p:nvPr>
        </p:nvSpPr>
        <p:spPr>
          <a:xfrm>
            <a:off x="6788474" y="6266039"/>
            <a:ext cx="3382639" cy="900000"/>
          </a:xfrm>
        </p:spPr>
        <p:txBody>
          <a:bodyPr tIns="72000" anchor="ctr">
            <a:noAutofit/>
          </a:bodyPr>
          <a:lstStyle>
            <a:lvl1pPr marL="355600" indent="-355600">
              <a:defRPr/>
            </a:lvl1pPr>
          </a:lstStyle>
          <a:p>
            <a:pPr lvl="0"/>
            <a:r>
              <a:rPr lang="en-US" dirty="0" smtClean="0"/>
              <a:t>Click to edit text styles</a:t>
            </a:r>
          </a:p>
        </p:txBody>
      </p:sp>
      <p:sp>
        <p:nvSpPr>
          <p:cNvPr id="2" name="Title 1"/>
          <p:cNvSpPr>
            <a:spLocks noGrp="1"/>
          </p:cNvSpPr>
          <p:nvPr>
            <p:ph type="title"/>
          </p:nvPr>
        </p:nvSpPr>
        <p:spPr/>
        <p:txBody>
          <a:bodyPr/>
          <a:lstStyle/>
          <a:p>
            <a:r>
              <a:rPr lang="en-US" smtClean="0"/>
              <a:t>Click to edit Master title style</a:t>
            </a:r>
            <a:endParaRPr lang="en-GB"/>
          </a:p>
        </p:txBody>
      </p:sp>
      <p:sp>
        <p:nvSpPr>
          <p:cNvPr id="3" name="Date Placeholder 2"/>
          <p:cNvSpPr>
            <a:spLocks noGrp="1"/>
          </p:cNvSpPr>
          <p:nvPr>
            <p:ph type="dt" sz="half" idx="22"/>
          </p:nvPr>
        </p:nvSpPr>
        <p:spPr/>
        <p:txBody>
          <a:bodyPr/>
          <a:lstStyle/>
          <a:p>
            <a:fld id="{1C89CC20-FEDD-4602-BA9F-B2146E441D16}" type="datetime1">
              <a:rPr lang="en-US" smtClean="0"/>
              <a:t>8/4/2014</a:t>
            </a:fld>
            <a:endParaRPr lang="en-GB" dirty="0"/>
          </a:p>
        </p:txBody>
      </p:sp>
    </p:spTree>
    <p:extLst>
      <p:ext uri="{BB962C8B-B14F-4D97-AF65-F5344CB8AC3E}">
        <p14:creationId xmlns:p14="http://schemas.microsoft.com/office/powerpoint/2010/main" val="637854278"/>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mtClean="0"/>
              <a:t>Click to edit Master title style</a:t>
            </a:r>
            <a:endParaRPr lang="en-US" dirty="0"/>
          </a:p>
        </p:txBody>
      </p:sp>
      <p:sp>
        <p:nvSpPr>
          <p:cNvPr id="3" name="Date Placeholder 2"/>
          <p:cNvSpPr>
            <a:spLocks noGrp="1"/>
          </p:cNvSpPr>
          <p:nvPr>
            <p:ph type="dt" sz="half" idx="10"/>
          </p:nvPr>
        </p:nvSpPr>
        <p:spPr/>
        <p:txBody>
          <a:bodyPr/>
          <a:lstStyle/>
          <a:p>
            <a:fld id="{56A30953-A706-4AFB-9345-3BEC7330BA4A}" type="datetime1">
              <a:rPr lang="en-US" smtClean="0"/>
              <a:t>8/4/2014</a:t>
            </a:fld>
            <a:endParaRPr lang="en-GB" dirty="0"/>
          </a:p>
        </p:txBody>
      </p:sp>
    </p:spTree>
    <p:extLst>
      <p:ext uri="{BB962C8B-B14F-4D97-AF65-F5344CB8AC3E}">
        <p14:creationId xmlns:p14="http://schemas.microsoft.com/office/powerpoint/2010/main" val="233333768"/>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EC5308C-FFAE-4477-8E28-00A8B38AC837}" type="datetime1">
              <a:rPr lang="en-US" smtClean="0"/>
              <a:t>8/4/2014</a:t>
            </a:fld>
            <a:endParaRPr lang="en-GB" dirty="0"/>
          </a:p>
        </p:txBody>
      </p:sp>
    </p:spTree>
    <p:extLst>
      <p:ext uri="{BB962C8B-B14F-4D97-AF65-F5344CB8AC3E}">
        <p14:creationId xmlns:p14="http://schemas.microsoft.com/office/powerpoint/2010/main" val="3561179549"/>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mtClean="0"/>
              <a:t>Click to edit Master title style</a:t>
            </a:r>
            <a:endParaRPr lang="en-US" dirty="0"/>
          </a:p>
        </p:txBody>
      </p:sp>
      <p:sp>
        <p:nvSpPr>
          <p:cNvPr id="3" name="Date Placeholder 2"/>
          <p:cNvSpPr>
            <a:spLocks noGrp="1"/>
          </p:cNvSpPr>
          <p:nvPr>
            <p:ph type="dt" sz="half" idx="11"/>
          </p:nvPr>
        </p:nvSpPr>
        <p:spPr/>
        <p:txBody>
          <a:bodyPr/>
          <a:lstStyle/>
          <a:p>
            <a:fld id="{57CCE100-139A-4DA0-81A5-7D3F73EC9F5C}" type="datetime1">
              <a:rPr lang="en-US" smtClean="0"/>
              <a:t>8/4/2014</a:t>
            </a:fld>
            <a:endParaRPr lang="en-GB" dirty="0"/>
          </a:p>
        </p:txBody>
      </p:sp>
      <p:sp>
        <p:nvSpPr>
          <p:cNvPr id="5" name="TextBox 4"/>
          <p:cNvSpPr txBox="1"/>
          <p:nvPr userDrawn="1"/>
        </p:nvSpPr>
        <p:spPr>
          <a:xfrm>
            <a:off x="523868" y="1116013"/>
            <a:ext cx="9647245" cy="5759450"/>
          </a:xfrm>
          <a:prstGeom prst="rect">
            <a:avLst/>
          </a:prstGeom>
          <a:noFill/>
        </p:spPr>
        <p:txBody>
          <a:bodyPr wrap="square" lIns="0" tIns="0" rIns="0" bIns="0" rtlCol="0">
            <a:noAutofit/>
          </a:bodyPr>
          <a:lstStyle/>
          <a:p>
            <a:pPr marL="0" indent="0">
              <a:buNone/>
            </a:pPr>
            <a:r>
              <a:rPr lang="en-GB" dirty="0" smtClean="0"/>
              <a:t>This publication is the copyright of Bloomberg New Energy Finance. No portion of this document may be photocopied, reproduced, scanned into an electronic system or transmitted, forwarded or distributed in any way without prior consent of Bloomberg New Energy Finance.</a:t>
            </a:r>
          </a:p>
          <a:p>
            <a:pPr marL="0" indent="0">
              <a:buNone/>
            </a:pPr>
            <a:r>
              <a:rPr lang="en-GB" dirty="0" smtClean="0"/>
              <a:t>The information contained in this publication is derived from carefully selected sources we believe are reasonable. We do not guarantee its accuracy or completeness and nothing in this document shall be construed to be a representation of such a guarantee. Any opinions expressed reflect the current judgment of the author of the relevant article or features, and does not necessarily reflect the opinion of Bloomberg New Energy Finance, Bloomberg Finance L.P., Bloomberg L.P. or any of their affiliates ("Bloomberg"). The opinions presented are subject to change without notice. Bloomberg accepts no responsibility for any liability arising from use of this document or its contents. Nothing herein shall constitute or be construed as an offering of financial instruments, or as investment advice or recommendations by Bloomberg of an investment strategy or whether or not to "buy," "sell" or "hold" an investment.</a:t>
            </a:r>
          </a:p>
          <a:p>
            <a:pPr marL="0" indent="0">
              <a:buNone/>
            </a:pPr>
            <a:endParaRPr lang="en-GB" dirty="0" err="1" smtClean="0"/>
          </a:p>
        </p:txBody>
      </p:sp>
    </p:spTree>
    <p:extLst>
      <p:ext uri="{BB962C8B-B14F-4D97-AF65-F5344CB8AC3E}">
        <p14:creationId xmlns:p14="http://schemas.microsoft.com/office/powerpoint/2010/main" val="2315487893"/>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Back page">
    <p:bg>
      <p:bgPr>
        <a:solidFill>
          <a:schemeClr val="accent1"/>
        </a:solidFill>
        <a:effectLst/>
      </p:bgPr>
    </p:bg>
    <p:spTree>
      <p:nvGrpSpPr>
        <p:cNvPr id="1" name=""/>
        <p:cNvGrpSpPr/>
        <p:nvPr/>
      </p:nvGrpSpPr>
      <p:grpSpPr>
        <a:xfrm>
          <a:off x="0" y="0"/>
          <a:ext cx="0" cy="0"/>
          <a:chOff x="0" y="0"/>
          <a:chExt cx="0" cy="0"/>
        </a:xfrm>
      </p:grpSpPr>
      <p:sp>
        <p:nvSpPr>
          <p:cNvPr id="11" name="TextBox 10"/>
          <p:cNvSpPr txBox="1"/>
          <p:nvPr userDrawn="1"/>
        </p:nvSpPr>
        <p:spPr>
          <a:xfrm>
            <a:off x="520700" y="5940076"/>
            <a:ext cx="4681538" cy="1224311"/>
          </a:xfrm>
          <a:prstGeom prst="rect">
            <a:avLst/>
          </a:prstGeom>
          <a:noFill/>
        </p:spPr>
        <p:txBody>
          <a:bodyPr wrap="square" lIns="0" tIns="0" rIns="0" bIns="0" rtlCol="0" anchor="b">
            <a:noAutofit/>
          </a:bodyPr>
          <a:lstStyle/>
          <a:p>
            <a:pPr marL="0" marR="0" lvl="0" indent="0" algn="l" defTabSz="1007943" rtl="0" eaLnBrk="1" fontAlgn="auto" latinLnBrk="0" hangingPunct="1">
              <a:lnSpc>
                <a:spcPct val="110000"/>
              </a:lnSpc>
              <a:spcBef>
                <a:spcPct val="20000"/>
              </a:spcBef>
              <a:spcAft>
                <a:spcPts val="0"/>
              </a:spcAft>
              <a:buClrTx/>
              <a:buSzTx/>
              <a:buFont typeface="Arial" panose="020B0604020202020204" pitchFamily="34" charset="0"/>
              <a:buNone/>
              <a:tabLst/>
              <a:defRPr/>
            </a:pPr>
            <a:r>
              <a:rPr kumimoji="0" lang="en-GB" altLang="zh-CN" sz="1400" b="0" i="0" u="none" strike="noStrike" kern="1200" cap="none" spc="0" normalizeH="0" baseline="0" noProof="0" dirty="0" smtClean="0">
                <a:ln>
                  <a:noFill/>
                </a:ln>
                <a:solidFill>
                  <a:schemeClr val="bg1"/>
                </a:solidFill>
                <a:effectLst/>
                <a:uLnTx/>
                <a:uFillTx/>
                <a:latin typeface="+mn-lt"/>
                <a:ea typeface="宋体" pitchFamily="2" charset="-122"/>
              </a:rPr>
              <a:t>Subscription-based news, data and analysis to support your decisions in clean energy, power and water and the carbon markets</a:t>
            </a:r>
            <a:br>
              <a:rPr kumimoji="0" lang="en-GB" altLang="zh-CN" sz="1400" b="0" i="0" u="none" strike="noStrike" kern="1200" cap="none" spc="0" normalizeH="0" baseline="0" noProof="0" dirty="0" smtClean="0">
                <a:ln>
                  <a:noFill/>
                </a:ln>
                <a:solidFill>
                  <a:schemeClr val="bg1"/>
                </a:solidFill>
                <a:effectLst/>
                <a:uLnTx/>
                <a:uFillTx/>
                <a:latin typeface="+mn-lt"/>
                <a:ea typeface="宋体" pitchFamily="2" charset="-122"/>
              </a:rPr>
            </a:br>
            <a:r>
              <a:rPr kumimoji="0" lang="en-GB" altLang="zh-CN" sz="1400" b="1" i="0" u="none" strike="noStrike" kern="1200" cap="none" spc="0" normalizeH="0" baseline="0" noProof="0" dirty="0" smtClean="0">
                <a:ln>
                  <a:noFill/>
                </a:ln>
                <a:solidFill>
                  <a:schemeClr val="bg1"/>
                </a:solidFill>
                <a:effectLst/>
                <a:uLnTx/>
                <a:uFillTx/>
                <a:latin typeface="+mn-lt"/>
                <a:ea typeface="宋体" pitchFamily="2" charset="-122"/>
              </a:rPr>
              <a:t>sales.bnef@bloomberg.net</a:t>
            </a:r>
          </a:p>
        </p:txBody>
      </p:sp>
      <p:sp>
        <p:nvSpPr>
          <p:cNvPr id="12" name="TextBox 11"/>
          <p:cNvSpPr txBox="1"/>
          <p:nvPr userDrawn="1"/>
        </p:nvSpPr>
        <p:spPr>
          <a:xfrm>
            <a:off x="520700" y="2339677"/>
            <a:ext cx="4681538" cy="3888432"/>
          </a:xfrm>
          <a:prstGeom prst="rect">
            <a:avLst/>
          </a:prstGeom>
          <a:noFill/>
        </p:spPr>
        <p:txBody>
          <a:bodyPr wrap="square" lIns="0" tIns="0" rIns="0" bIns="0" rtlCol="0">
            <a:noAutofit/>
          </a:bodyPr>
          <a:lstStyle/>
          <a:p>
            <a:pPr marL="0" marR="0" lvl="0" indent="0" algn="l" defTabSz="1007943"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800" b="1" i="0" u="none" strike="noStrike" kern="1200" cap="none" spc="0" normalizeH="0" baseline="0" noProof="0" dirty="0" smtClean="0">
                <a:ln>
                  <a:noFill/>
                </a:ln>
                <a:solidFill>
                  <a:schemeClr val="bg1"/>
                </a:solidFill>
                <a:effectLst/>
                <a:uLnTx/>
                <a:uFillTx/>
                <a:latin typeface="+mn-lt"/>
              </a:rPr>
              <a:t>MARKETS </a:t>
            </a:r>
          </a:p>
          <a:p>
            <a:pPr marL="0" marR="0" lvl="0" indent="0" algn="l" defTabSz="1007943"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600" b="0" i="0" u="none" strike="noStrike" kern="1200" cap="none" spc="0" normalizeH="0" baseline="0" noProof="0" dirty="0" smtClean="0">
                <a:ln>
                  <a:noFill/>
                </a:ln>
                <a:solidFill>
                  <a:schemeClr val="bg1"/>
                </a:solidFill>
                <a:effectLst/>
                <a:uLnTx/>
                <a:uFillTx/>
                <a:latin typeface="+mn-lt"/>
              </a:rPr>
              <a:t>Renewable Energy</a:t>
            </a:r>
          </a:p>
          <a:p>
            <a:pPr marL="0" marR="0" lvl="0" indent="0" algn="l" defTabSz="1007943"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600" b="0" i="0" u="none" strike="noStrike" kern="1200" cap="none" spc="0" normalizeH="0" baseline="0" noProof="0" dirty="0" smtClean="0">
                <a:ln>
                  <a:noFill/>
                </a:ln>
                <a:solidFill>
                  <a:schemeClr val="bg1"/>
                </a:solidFill>
                <a:effectLst/>
                <a:uLnTx/>
                <a:uFillTx/>
                <a:latin typeface="+mn-lt"/>
              </a:rPr>
              <a:t>Energy Smart Technologies</a:t>
            </a:r>
          </a:p>
          <a:p>
            <a:pPr marL="0" marR="0" lvl="0" indent="0" algn="l" defTabSz="1007943"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600" b="0" i="0" u="none" strike="noStrike" kern="1200" cap="none" spc="0" normalizeH="0" baseline="0" noProof="0" dirty="0" smtClean="0">
                <a:ln>
                  <a:noFill/>
                </a:ln>
                <a:solidFill>
                  <a:schemeClr val="bg1"/>
                </a:solidFill>
                <a:effectLst/>
                <a:uLnTx/>
                <a:uFillTx/>
                <a:latin typeface="+mn-lt"/>
              </a:rPr>
              <a:t>Advanced Transport</a:t>
            </a:r>
          </a:p>
          <a:p>
            <a:pPr marL="0" marR="0" lvl="0" indent="0" algn="l" defTabSz="1007943"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600" b="0" i="0" u="none" strike="noStrike" kern="1200" cap="none" spc="0" normalizeH="0" baseline="0" noProof="0" dirty="0" smtClean="0">
                <a:ln>
                  <a:noFill/>
                </a:ln>
                <a:solidFill>
                  <a:schemeClr val="bg1"/>
                </a:solidFill>
                <a:effectLst/>
                <a:uLnTx/>
                <a:uFillTx/>
                <a:latin typeface="+mn-lt"/>
              </a:rPr>
              <a:t>Gas </a:t>
            </a:r>
          </a:p>
          <a:p>
            <a:pPr marL="0" marR="0" lvl="0" indent="0" algn="l" defTabSz="1007943"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600" b="0" i="0" u="none" strike="noStrike" kern="1200" cap="none" spc="0" normalizeH="0" baseline="0" noProof="0" dirty="0" smtClean="0">
                <a:ln>
                  <a:noFill/>
                </a:ln>
                <a:solidFill>
                  <a:schemeClr val="bg1"/>
                </a:solidFill>
                <a:effectLst/>
                <a:uLnTx/>
                <a:uFillTx/>
                <a:latin typeface="+mn-lt"/>
              </a:rPr>
              <a:t>Carbon and RECs</a:t>
            </a:r>
          </a:p>
          <a:p>
            <a:pPr marL="0" marR="0" lvl="0" indent="0" algn="l" defTabSz="1007943" rtl="0" eaLnBrk="1" fontAlgn="auto" latinLnBrk="0" hangingPunct="1">
              <a:lnSpc>
                <a:spcPct val="100000"/>
              </a:lnSpc>
              <a:spcBef>
                <a:spcPts val="1800"/>
              </a:spcBef>
              <a:spcAft>
                <a:spcPts val="0"/>
              </a:spcAft>
              <a:buClrTx/>
              <a:buSzTx/>
              <a:buFont typeface="Arial" panose="020B0604020202020204" pitchFamily="34" charset="0"/>
              <a:buNone/>
              <a:tabLst/>
              <a:defRPr/>
            </a:pPr>
            <a:r>
              <a:rPr kumimoji="0" lang="en-US" sz="1800" b="1" i="0" u="none" strike="noStrike" kern="1200" cap="none" spc="0" normalizeH="0" baseline="0" noProof="0" dirty="0" smtClean="0">
                <a:ln>
                  <a:noFill/>
                </a:ln>
                <a:solidFill>
                  <a:schemeClr val="bg1"/>
                </a:solidFill>
                <a:effectLst/>
                <a:uLnTx/>
                <a:uFillTx/>
                <a:latin typeface="+mn-lt"/>
              </a:rPr>
              <a:t>SERVICES</a:t>
            </a:r>
          </a:p>
          <a:p>
            <a:pPr marL="0" marR="0" lvl="0" indent="0" algn="l" defTabSz="1007943"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600" b="0" i="0" u="none" strike="noStrike" kern="1200" cap="none" spc="0" normalizeH="0" baseline="0" noProof="0" dirty="0" smtClean="0">
                <a:ln>
                  <a:noFill/>
                </a:ln>
                <a:solidFill>
                  <a:schemeClr val="bg1"/>
                </a:solidFill>
                <a:effectLst/>
                <a:uLnTx/>
                <a:uFillTx/>
                <a:latin typeface="+mn-lt"/>
              </a:rPr>
              <a:t>Americas Service</a:t>
            </a:r>
          </a:p>
          <a:p>
            <a:pPr marL="0" marR="0" lvl="0" indent="0" algn="l" defTabSz="1007943"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600" b="0" i="0" u="none" strike="noStrike" kern="1200" cap="none" spc="0" normalizeH="0" baseline="0" noProof="0" dirty="0" smtClean="0">
                <a:ln>
                  <a:noFill/>
                </a:ln>
                <a:solidFill>
                  <a:schemeClr val="bg1"/>
                </a:solidFill>
                <a:effectLst/>
                <a:uLnTx/>
                <a:uFillTx/>
                <a:latin typeface="+mn-lt"/>
              </a:rPr>
              <a:t>Asia Pacific Service</a:t>
            </a:r>
          </a:p>
          <a:p>
            <a:pPr marL="0" marR="0" lvl="0" indent="0" algn="l" defTabSz="1007943"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600" b="0" i="0" u="none" strike="noStrike" kern="1200" cap="none" spc="0" normalizeH="0" baseline="0" noProof="0" dirty="0" smtClean="0">
                <a:ln>
                  <a:noFill/>
                </a:ln>
                <a:solidFill>
                  <a:schemeClr val="bg1"/>
                </a:solidFill>
                <a:effectLst/>
                <a:uLnTx/>
                <a:uFillTx/>
                <a:latin typeface="+mn-lt"/>
              </a:rPr>
              <a:t>EMEA Service</a:t>
            </a:r>
          </a:p>
          <a:p>
            <a:pPr marL="0" marR="0" lvl="0" indent="0" algn="l" defTabSz="1007943"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600" b="0" i="0" u="none" strike="noStrike" kern="1200" cap="none" spc="0" normalizeH="0" baseline="0" noProof="0" dirty="0" smtClean="0">
                <a:ln>
                  <a:noFill/>
                </a:ln>
                <a:solidFill>
                  <a:schemeClr val="bg1"/>
                </a:solidFill>
                <a:effectLst/>
                <a:uLnTx/>
                <a:uFillTx/>
                <a:latin typeface="+mn-lt"/>
              </a:rPr>
              <a:t>Applied Research </a:t>
            </a:r>
          </a:p>
          <a:p>
            <a:pPr marL="0" marR="0" lvl="0" indent="0" algn="l" defTabSz="1007943"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600" b="0" i="0" u="none" strike="noStrike" kern="1200" cap="none" spc="0" normalizeH="0" baseline="0" noProof="0" dirty="0" smtClean="0">
                <a:ln>
                  <a:noFill/>
                </a:ln>
                <a:solidFill>
                  <a:schemeClr val="bg1"/>
                </a:solidFill>
                <a:effectLst/>
                <a:uLnTx/>
                <a:uFillTx/>
                <a:latin typeface="+mn-lt"/>
              </a:rPr>
              <a:t>Events and Workshops</a:t>
            </a:r>
          </a:p>
        </p:txBody>
      </p:sp>
      <p:pic>
        <p:nvPicPr>
          <p:cNvPr id="5" name="Picture 4"/>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030409" y="6397388"/>
            <a:ext cx="3215323" cy="747175"/>
          </a:xfrm>
          <a:prstGeom prst="rect">
            <a:avLst/>
          </a:prstGeom>
          <a:noFill/>
          <a:ln>
            <a:noFill/>
          </a:ln>
        </p:spPr>
      </p:pic>
      <p:sp>
        <p:nvSpPr>
          <p:cNvPr id="13" name="Text Placeholder 12"/>
          <p:cNvSpPr>
            <a:spLocks noGrp="1"/>
          </p:cNvSpPr>
          <p:nvPr>
            <p:ph type="body" sz="quarter" idx="10" hasCustomPrompt="1"/>
          </p:nvPr>
        </p:nvSpPr>
        <p:spPr>
          <a:xfrm>
            <a:off x="7030409" y="4284663"/>
            <a:ext cx="3140704" cy="1943100"/>
          </a:xfrm>
        </p:spPr>
        <p:txBody>
          <a:bodyPr anchor="b"/>
          <a:lstStyle>
            <a:lvl1pPr marL="0" indent="0">
              <a:buNone/>
              <a:defRPr sz="2000" baseline="0">
                <a:solidFill>
                  <a:schemeClr val="bg1"/>
                </a:solidFill>
              </a:defRPr>
            </a:lvl1pPr>
            <a:lvl2pPr marL="0" indent="0">
              <a:buNone/>
              <a:defRPr sz="1800">
                <a:solidFill>
                  <a:schemeClr val="bg1"/>
                </a:solidFill>
              </a:defRPr>
            </a:lvl2pPr>
          </a:lstStyle>
          <a:p>
            <a:pPr lvl="0"/>
            <a:r>
              <a:rPr lang="en-US" dirty="0" smtClean="0"/>
              <a:t>Insert name</a:t>
            </a:r>
          </a:p>
          <a:p>
            <a:pPr lvl="1"/>
            <a:r>
              <a:rPr lang="en-US" dirty="0" smtClean="0"/>
              <a:t>Insert email address</a:t>
            </a:r>
          </a:p>
        </p:txBody>
      </p:sp>
    </p:spTree>
    <p:extLst>
      <p:ext uri="{BB962C8B-B14F-4D97-AF65-F5344CB8AC3E}">
        <p14:creationId xmlns:p14="http://schemas.microsoft.com/office/powerpoint/2010/main" val="4166080219"/>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STANDARD CONTENT">
    <p:spTree>
      <p:nvGrpSpPr>
        <p:cNvPr id="1" name=""/>
        <p:cNvGrpSpPr/>
        <p:nvPr/>
      </p:nvGrpSpPr>
      <p:grpSpPr>
        <a:xfrm>
          <a:off x="0" y="0"/>
          <a:ext cx="0" cy="0"/>
          <a:chOff x="0" y="0"/>
          <a:chExt cx="0" cy="0"/>
        </a:xfrm>
      </p:grpSpPr>
      <p:sp>
        <p:nvSpPr>
          <p:cNvPr id="2" name="Title 1"/>
          <p:cNvSpPr>
            <a:spLocks noGrp="1"/>
          </p:cNvSpPr>
          <p:nvPr>
            <p:ph type="title"/>
          </p:nvPr>
        </p:nvSpPr>
        <p:spPr>
          <a:xfrm>
            <a:off x="163773" y="107950"/>
            <a:ext cx="8278551" cy="828050"/>
          </a:xfrm>
        </p:spPr>
        <p:txBody>
          <a:bodyPr/>
          <a:lstStyle>
            <a:lvl1pPr>
              <a:defRPr>
                <a:solidFill>
                  <a:schemeClr val="bg1"/>
                </a:solidFill>
              </a:defRPr>
            </a:lvl1pPr>
          </a:lstStyle>
          <a:p>
            <a:r>
              <a:rPr lang="en-US" dirty="0" smtClean="0"/>
              <a:t>Click to edit Master title style</a:t>
            </a:r>
            <a:endParaRPr lang="en-GB" dirty="0"/>
          </a:p>
        </p:txBody>
      </p:sp>
      <p:sp>
        <p:nvSpPr>
          <p:cNvPr id="3" name="Content Placeholder 2"/>
          <p:cNvSpPr>
            <a:spLocks noGrp="1"/>
          </p:cNvSpPr>
          <p:nvPr>
            <p:ph idx="1"/>
          </p:nvPr>
        </p:nvSpPr>
        <p:spPr/>
        <p:txBody>
          <a:bodyPr/>
          <a:lstStyle>
            <a:lvl1pPr marL="0" indent="0">
              <a:buClr>
                <a:srgbClr val="00B9E4"/>
              </a:buClr>
              <a:buSzPct val="150000"/>
              <a:buFont typeface="Arial" panose="020B0604020202020204" pitchFamily="34" charset="0"/>
              <a:buNone/>
              <a:defRPr/>
            </a:lvl1pPr>
            <a:lvl2pPr marL="360000" indent="0">
              <a:buClr>
                <a:srgbClr val="00B9E4"/>
              </a:buClr>
              <a:buSzPct val="150000"/>
              <a:buNone/>
              <a:defRPr/>
            </a:lvl2pPr>
            <a:lvl3pPr marL="719500" indent="0">
              <a:buClr>
                <a:srgbClr val="00B9E4"/>
              </a:buClr>
              <a:buSzPct val="150000"/>
              <a:buNone/>
              <a:defRPr/>
            </a:lvl3pPr>
            <a:lvl4pPr marL="1080000" indent="0">
              <a:buClr>
                <a:srgbClr val="00B9E4"/>
              </a:buClr>
              <a:buSzPct val="150000"/>
              <a:buNone/>
              <a:defRPr/>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6" name="Text Placeholder 2"/>
          <p:cNvSpPr>
            <a:spLocks noGrp="1"/>
          </p:cNvSpPr>
          <p:nvPr>
            <p:ph type="body" idx="10" hasCustomPrompt="1"/>
          </p:nvPr>
        </p:nvSpPr>
        <p:spPr>
          <a:xfrm>
            <a:off x="6614577" y="6423368"/>
            <a:ext cx="3917888" cy="577475"/>
          </a:xfrm>
          <a:prstGeom prst="roundRect">
            <a:avLst>
              <a:gd name="adj" fmla="val 0"/>
            </a:avLst>
          </a:prstGeom>
          <a:noFill/>
          <a:ln>
            <a:noFill/>
          </a:ln>
        </p:spPr>
        <p:style>
          <a:lnRef idx="2">
            <a:schemeClr val="accent6"/>
          </a:lnRef>
          <a:fillRef idx="1">
            <a:schemeClr val="lt1"/>
          </a:fillRef>
          <a:effectRef idx="0">
            <a:schemeClr val="accent6"/>
          </a:effectRef>
          <a:fontRef idx="none"/>
        </p:style>
        <p:txBody>
          <a:bodyPr tIns="36000" bIns="36000" anchor="b"/>
          <a:lstStyle>
            <a:lvl1pPr marL="0" indent="0" algn="r">
              <a:buNone/>
              <a:defRPr sz="1102" b="0" i="0" baseline="0"/>
            </a:lvl1pPr>
            <a:lvl2pPr marL="503972" indent="0">
              <a:buNone/>
              <a:defRPr sz="2205" b="1"/>
            </a:lvl2pPr>
            <a:lvl3pPr marL="1007943" indent="0">
              <a:buNone/>
              <a:defRPr sz="1984" b="1"/>
            </a:lvl3pPr>
            <a:lvl4pPr marL="1511915" indent="0">
              <a:buNone/>
              <a:defRPr sz="1764" b="1"/>
            </a:lvl4pPr>
            <a:lvl5pPr marL="2015886" indent="0">
              <a:buNone/>
              <a:defRPr sz="1764" b="1"/>
            </a:lvl5pPr>
            <a:lvl6pPr marL="2519858" indent="0">
              <a:buNone/>
              <a:defRPr sz="1764" b="1"/>
            </a:lvl6pPr>
            <a:lvl7pPr marL="3023829" indent="0">
              <a:buNone/>
              <a:defRPr sz="1764" b="1"/>
            </a:lvl7pPr>
            <a:lvl8pPr marL="3527801" indent="0">
              <a:buNone/>
              <a:defRPr sz="1764" b="1"/>
            </a:lvl8pPr>
            <a:lvl9pPr marL="4031772" indent="0">
              <a:buNone/>
              <a:defRPr sz="1764" b="1"/>
            </a:lvl9pPr>
          </a:lstStyle>
          <a:p>
            <a:pPr lvl="0"/>
            <a:r>
              <a:rPr lang="en-US" dirty="0" smtClean="0"/>
              <a:t>Source: </a:t>
            </a:r>
          </a:p>
        </p:txBody>
      </p:sp>
      <p:sp>
        <p:nvSpPr>
          <p:cNvPr id="5" name="Text Placeholder 2"/>
          <p:cNvSpPr>
            <a:spLocks noGrp="1"/>
          </p:cNvSpPr>
          <p:nvPr>
            <p:ph type="body" idx="11" hasCustomPrompt="1"/>
          </p:nvPr>
        </p:nvSpPr>
        <p:spPr>
          <a:xfrm>
            <a:off x="133648" y="6430516"/>
            <a:ext cx="6302438" cy="577475"/>
          </a:xfrm>
          <a:prstGeom prst="roundRect">
            <a:avLst>
              <a:gd name="adj" fmla="val 0"/>
            </a:avLst>
          </a:prstGeom>
          <a:noFill/>
          <a:ln>
            <a:noFill/>
          </a:ln>
        </p:spPr>
        <p:style>
          <a:lnRef idx="2">
            <a:schemeClr val="accent6"/>
          </a:lnRef>
          <a:fillRef idx="1">
            <a:schemeClr val="lt1"/>
          </a:fillRef>
          <a:effectRef idx="0">
            <a:schemeClr val="accent6"/>
          </a:effectRef>
          <a:fontRef idx="none"/>
        </p:style>
        <p:txBody>
          <a:bodyPr tIns="36000" bIns="36000" anchor="b"/>
          <a:lstStyle>
            <a:lvl1pPr marL="0" indent="0" algn="l">
              <a:buNone/>
              <a:defRPr sz="1213" b="0" i="0" baseline="0"/>
            </a:lvl1pPr>
            <a:lvl2pPr marL="503972" indent="0">
              <a:buNone/>
              <a:defRPr sz="2205" b="1"/>
            </a:lvl2pPr>
            <a:lvl3pPr marL="1007943" indent="0">
              <a:buNone/>
              <a:defRPr sz="1984" b="1"/>
            </a:lvl3pPr>
            <a:lvl4pPr marL="1511915" indent="0">
              <a:buNone/>
              <a:defRPr sz="1764" b="1"/>
            </a:lvl4pPr>
            <a:lvl5pPr marL="2015886" indent="0">
              <a:buNone/>
              <a:defRPr sz="1764" b="1"/>
            </a:lvl5pPr>
            <a:lvl6pPr marL="2519858" indent="0">
              <a:buNone/>
              <a:defRPr sz="1764" b="1"/>
            </a:lvl6pPr>
            <a:lvl7pPr marL="3023829" indent="0">
              <a:buNone/>
              <a:defRPr sz="1764" b="1"/>
            </a:lvl7pPr>
            <a:lvl8pPr marL="3527801" indent="0">
              <a:buNone/>
              <a:defRPr sz="1764" b="1"/>
            </a:lvl8pPr>
            <a:lvl9pPr marL="4031772" indent="0">
              <a:buNone/>
              <a:defRPr sz="1764" b="1"/>
            </a:lvl9pPr>
          </a:lstStyle>
          <a:p>
            <a:pPr lvl="0"/>
            <a:r>
              <a:rPr lang="en-US" dirty="0" smtClean="0"/>
              <a:t>Note:</a:t>
            </a:r>
          </a:p>
        </p:txBody>
      </p:sp>
    </p:spTree>
    <p:extLst>
      <p:ext uri="{BB962C8B-B14F-4D97-AF65-F5344CB8AC3E}">
        <p14:creationId xmlns:p14="http://schemas.microsoft.com/office/powerpoint/2010/main" val="3554531847"/>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2 BOXE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133647" y="1877983"/>
            <a:ext cx="5051250" cy="5029172"/>
          </a:xfrm>
        </p:spPr>
        <p:txBody>
          <a:bodyPr/>
          <a:lstStyle>
            <a:lvl1pPr>
              <a:defRPr sz="1984"/>
            </a:lvl1pPr>
            <a:lvl2pPr>
              <a:defRPr sz="1764"/>
            </a:lvl2pPr>
            <a:lvl3pPr>
              <a:defRPr sz="1543"/>
            </a:lvl3pPr>
            <a:lvl4pPr>
              <a:defRPr sz="1323"/>
            </a:lvl4pPr>
            <a:lvl5pPr>
              <a:defRPr sz="1984"/>
            </a:lvl5pPr>
            <a:lvl6pPr>
              <a:defRPr sz="1984"/>
            </a:lvl6pPr>
            <a:lvl7pPr>
              <a:defRPr sz="1984"/>
            </a:lvl7pPr>
            <a:lvl8pPr>
              <a:defRPr sz="1984"/>
            </a:lvl8pPr>
            <a:lvl9pPr>
              <a:defRPr sz="1984"/>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4" name="Content Placeholder 3"/>
          <p:cNvSpPr>
            <a:spLocks noGrp="1"/>
          </p:cNvSpPr>
          <p:nvPr>
            <p:ph sz="half" idx="2"/>
          </p:nvPr>
        </p:nvSpPr>
        <p:spPr>
          <a:xfrm>
            <a:off x="5482151" y="1877983"/>
            <a:ext cx="5051250" cy="5029175"/>
          </a:xfrm>
        </p:spPr>
        <p:txBody>
          <a:bodyPr/>
          <a:lstStyle>
            <a:lvl1pPr>
              <a:defRPr sz="1984"/>
            </a:lvl1pPr>
            <a:lvl2pPr>
              <a:defRPr sz="1764"/>
            </a:lvl2pPr>
            <a:lvl3pPr>
              <a:defRPr sz="1543"/>
            </a:lvl3pPr>
            <a:lvl4pPr>
              <a:defRPr sz="1323"/>
            </a:lvl4pPr>
            <a:lvl5pPr>
              <a:defRPr sz="1984"/>
            </a:lvl5pPr>
            <a:lvl6pPr>
              <a:defRPr sz="1984"/>
            </a:lvl6pPr>
            <a:lvl7pPr>
              <a:defRPr sz="1984"/>
            </a:lvl7pPr>
            <a:lvl8pPr>
              <a:defRPr sz="1984"/>
            </a:lvl8pPr>
            <a:lvl9pPr>
              <a:defRPr sz="1984"/>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1" name="Text Placeholder 2"/>
          <p:cNvSpPr>
            <a:spLocks noGrp="1"/>
          </p:cNvSpPr>
          <p:nvPr>
            <p:ph type="body" idx="10" hasCustomPrompt="1"/>
          </p:nvPr>
        </p:nvSpPr>
        <p:spPr>
          <a:xfrm>
            <a:off x="5481215" y="6337268"/>
            <a:ext cx="5051250" cy="577475"/>
          </a:xfrm>
          <a:prstGeom prst="roundRect">
            <a:avLst>
              <a:gd name="adj" fmla="val 0"/>
            </a:avLst>
          </a:prstGeom>
          <a:noFill/>
          <a:ln>
            <a:noFill/>
          </a:ln>
        </p:spPr>
        <p:style>
          <a:lnRef idx="2">
            <a:schemeClr val="accent6"/>
          </a:lnRef>
          <a:fillRef idx="1">
            <a:schemeClr val="lt1"/>
          </a:fillRef>
          <a:effectRef idx="0">
            <a:schemeClr val="accent6"/>
          </a:effectRef>
          <a:fontRef idx="none"/>
        </p:style>
        <p:txBody>
          <a:bodyPr tIns="36000" bIns="36000" anchor="b"/>
          <a:lstStyle>
            <a:lvl1pPr marL="0" indent="0" algn="r">
              <a:buNone/>
              <a:defRPr sz="1102" b="0" i="0" baseline="0"/>
            </a:lvl1pPr>
            <a:lvl2pPr marL="503972" indent="0">
              <a:buNone/>
              <a:defRPr sz="2205" b="1"/>
            </a:lvl2pPr>
            <a:lvl3pPr marL="1007943" indent="0">
              <a:buNone/>
              <a:defRPr sz="1984" b="1"/>
            </a:lvl3pPr>
            <a:lvl4pPr marL="1511915" indent="0">
              <a:buNone/>
              <a:defRPr sz="1764" b="1"/>
            </a:lvl4pPr>
            <a:lvl5pPr marL="2015886" indent="0">
              <a:buNone/>
              <a:defRPr sz="1764" b="1"/>
            </a:lvl5pPr>
            <a:lvl6pPr marL="2519858" indent="0">
              <a:buNone/>
              <a:defRPr sz="1764" b="1"/>
            </a:lvl6pPr>
            <a:lvl7pPr marL="3023829" indent="0">
              <a:buNone/>
              <a:defRPr sz="1764" b="1"/>
            </a:lvl7pPr>
            <a:lvl8pPr marL="3527801" indent="0">
              <a:buNone/>
              <a:defRPr sz="1764" b="1"/>
            </a:lvl8pPr>
            <a:lvl9pPr marL="4031772" indent="0">
              <a:buNone/>
              <a:defRPr sz="1764" b="1"/>
            </a:lvl9pPr>
          </a:lstStyle>
          <a:p>
            <a:pPr lvl="0"/>
            <a:r>
              <a:rPr lang="en-US" dirty="0" smtClean="0"/>
              <a:t>Source: </a:t>
            </a:r>
            <a:br>
              <a:rPr lang="en-US" dirty="0" smtClean="0"/>
            </a:br>
            <a:r>
              <a:rPr lang="en-US" dirty="0" smtClean="0"/>
              <a:t>Note</a:t>
            </a:r>
          </a:p>
        </p:txBody>
      </p:sp>
      <p:sp>
        <p:nvSpPr>
          <p:cNvPr id="12" name="Text Placeholder 2"/>
          <p:cNvSpPr>
            <a:spLocks noGrp="1"/>
          </p:cNvSpPr>
          <p:nvPr>
            <p:ph type="body" idx="11" hasCustomPrompt="1"/>
          </p:nvPr>
        </p:nvSpPr>
        <p:spPr>
          <a:xfrm>
            <a:off x="133648" y="6337268"/>
            <a:ext cx="5051250" cy="577475"/>
          </a:xfrm>
          <a:prstGeom prst="roundRect">
            <a:avLst>
              <a:gd name="adj" fmla="val 0"/>
            </a:avLst>
          </a:prstGeom>
          <a:noFill/>
          <a:ln>
            <a:noFill/>
          </a:ln>
        </p:spPr>
        <p:style>
          <a:lnRef idx="2">
            <a:schemeClr val="accent6"/>
          </a:lnRef>
          <a:fillRef idx="1">
            <a:schemeClr val="lt1"/>
          </a:fillRef>
          <a:effectRef idx="0">
            <a:schemeClr val="accent6"/>
          </a:effectRef>
          <a:fontRef idx="none"/>
        </p:style>
        <p:txBody>
          <a:bodyPr tIns="36000" bIns="36000" anchor="b"/>
          <a:lstStyle>
            <a:lvl1pPr marL="0" indent="0" algn="r">
              <a:buNone/>
              <a:defRPr sz="1102" b="0" i="0" baseline="0"/>
            </a:lvl1pPr>
            <a:lvl2pPr marL="503972" indent="0">
              <a:buNone/>
              <a:defRPr sz="2205" b="1"/>
            </a:lvl2pPr>
            <a:lvl3pPr marL="1007943" indent="0">
              <a:buNone/>
              <a:defRPr sz="1984" b="1"/>
            </a:lvl3pPr>
            <a:lvl4pPr marL="1511915" indent="0">
              <a:buNone/>
              <a:defRPr sz="1764" b="1"/>
            </a:lvl4pPr>
            <a:lvl5pPr marL="2015886" indent="0">
              <a:buNone/>
              <a:defRPr sz="1764" b="1"/>
            </a:lvl5pPr>
            <a:lvl6pPr marL="2519858" indent="0">
              <a:buNone/>
              <a:defRPr sz="1764" b="1"/>
            </a:lvl6pPr>
            <a:lvl7pPr marL="3023829" indent="0">
              <a:buNone/>
              <a:defRPr sz="1764" b="1"/>
            </a:lvl7pPr>
            <a:lvl8pPr marL="3527801" indent="0">
              <a:buNone/>
              <a:defRPr sz="1764" b="1"/>
            </a:lvl8pPr>
            <a:lvl9pPr marL="4031772" indent="0">
              <a:buNone/>
              <a:defRPr sz="1764" b="1"/>
            </a:lvl9pPr>
          </a:lstStyle>
          <a:p>
            <a:pPr lvl="0"/>
            <a:r>
              <a:rPr lang="en-US" dirty="0" smtClean="0"/>
              <a:t>Source: </a:t>
            </a:r>
            <a:br>
              <a:rPr lang="en-US" dirty="0" smtClean="0"/>
            </a:br>
            <a:r>
              <a:rPr lang="en-US" dirty="0" smtClean="0"/>
              <a:t>Note</a:t>
            </a:r>
          </a:p>
        </p:txBody>
      </p:sp>
      <p:sp>
        <p:nvSpPr>
          <p:cNvPr id="8" name="Text Placeholder 7"/>
          <p:cNvSpPr>
            <a:spLocks noGrp="1"/>
          </p:cNvSpPr>
          <p:nvPr>
            <p:ph type="body" sz="quarter" idx="12"/>
          </p:nvPr>
        </p:nvSpPr>
        <p:spPr>
          <a:xfrm>
            <a:off x="133647" y="1146093"/>
            <a:ext cx="5051250" cy="710469"/>
          </a:xfrm>
          <a:solidFill>
            <a:srgbClr val="00B9E4"/>
          </a:solidFill>
          <a:ln>
            <a:solidFill>
              <a:srgbClr val="00B9E4"/>
            </a:solidFill>
          </a:ln>
        </p:spPr>
        <p:txBody>
          <a:bodyPr tIns="72000" bIns="72000" anchor="ctr" anchorCtr="1"/>
          <a:lstStyle>
            <a:lvl1pPr algn="ctr">
              <a:lnSpc>
                <a:spcPct val="100000"/>
              </a:lnSpc>
              <a:spcBef>
                <a:spcPts val="0"/>
              </a:spcBef>
              <a:buNone/>
              <a:defRPr sz="1764" b="1" cap="all" baseline="0">
                <a:solidFill>
                  <a:schemeClr val="bg1"/>
                </a:solidFill>
              </a:defRPr>
            </a:lvl1pPr>
          </a:lstStyle>
          <a:p>
            <a:pPr lvl="0"/>
            <a:r>
              <a:rPr lang="en-US" dirty="0" smtClean="0"/>
              <a:t>Click to edit Master text styles</a:t>
            </a:r>
          </a:p>
        </p:txBody>
      </p:sp>
      <p:sp>
        <p:nvSpPr>
          <p:cNvPr id="9" name="Text Placeholder 7"/>
          <p:cNvSpPr>
            <a:spLocks noGrp="1"/>
          </p:cNvSpPr>
          <p:nvPr>
            <p:ph type="body" sz="quarter" idx="13"/>
          </p:nvPr>
        </p:nvSpPr>
        <p:spPr>
          <a:xfrm>
            <a:off x="5482151" y="1146093"/>
            <a:ext cx="5051250" cy="710469"/>
          </a:xfrm>
          <a:solidFill>
            <a:srgbClr val="00B9E4"/>
          </a:solidFill>
          <a:ln>
            <a:solidFill>
              <a:srgbClr val="00B9E4"/>
            </a:solidFill>
          </a:ln>
        </p:spPr>
        <p:txBody>
          <a:bodyPr tIns="72000" bIns="72000" anchor="ctr" anchorCtr="1"/>
          <a:lstStyle>
            <a:lvl1pPr algn="ctr">
              <a:lnSpc>
                <a:spcPct val="100000"/>
              </a:lnSpc>
              <a:spcBef>
                <a:spcPts val="0"/>
              </a:spcBef>
              <a:buNone/>
              <a:defRPr sz="1764" b="1" cap="all" baseline="0">
                <a:solidFill>
                  <a:schemeClr val="bg1"/>
                </a:solidFill>
              </a:defRPr>
            </a:lvl1pPr>
          </a:lstStyle>
          <a:p>
            <a:pPr lvl="0"/>
            <a:r>
              <a:rPr lang="en-US" smtClean="0"/>
              <a:t>Click to edit Master text styles</a:t>
            </a:r>
          </a:p>
        </p:txBody>
      </p:sp>
      <p:sp>
        <p:nvSpPr>
          <p:cNvPr id="15" name="Footer Placeholder 4"/>
          <p:cNvSpPr>
            <a:spLocks noGrp="1"/>
          </p:cNvSpPr>
          <p:nvPr>
            <p:ph type="ftr" sz="quarter" idx="3"/>
          </p:nvPr>
        </p:nvSpPr>
        <p:spPr>
          <a:xfrm>
            <a:off x="3431939" y="6906370"/>
            <a:ext cx="6401889" cy="435343"/>
          </a:xfrm>
          <a:prstGeom prst="rect">
            <a:avLst/>
          </a:prstGeom>
        </p:spPr>
        <p:txBody>
          <a:bodyPr anchor="b"/>
          <a:lstStyle>
            <a:lvl1pPr algn="r">
              <a:defRPr sz="1102">
                <a:solidFill>
                  <a:srgbClr val="7F7F7F"/>
                </a:solidFill>
              </a:defRPr>
            </a:lvl1pPr>
          </a:lstStyle>
          <a:p>
            <a:r>
              <a:rPr lang="en-US" dirty="0" smtClean="0"/>
              <a:t>Optional Footer Info Here // </a:t>
            </a:r>
            <a:endParaRPr lang="en-US" dirty="0"/>
          </a:p>
        </p:txBody>
      </p:sp>
      <p:sp>
        <p:nvSpPr>
          <p:cNvPr id="16" name="Slide Number Placeholder 8"/>
          <p:cNvSpPr>
            <a:spLocks noGrp="1"/>
          </p:cNvSpPr>
          <p:nvPr>
            <p:ph type="sldNum" sz="quarter" idx="4"/>
          </p:nvPr>
        </p:nvSpPr>
        <p:spPr>
          <a:xfrm>
            <a:off x="9734830" y="7006699"/>
            <a:ext cx="422392" cy="402483"/>
          </a:xfrm>
          <a:prstGeom prst="rect">
            <a:avLst/>
          </a:prstGeom>
        </p:spPr>
        <p:txBody>
          <a:bodyPr vert="horz" lIns="91440" tIns="45720" rIns="91440" bIns="45720" rtlCol="0" anchor="ctr"/>
          <a:lstStyle>
            <a:lvl1pPr algn="r">
              <a:defRPr sz="1102">
                <a:solidFill>
                  <a:srgbClr val="7F7F7F"/>
                </a:solidFill>
              </a:defRPr>
            </a:lvl1pPr>
          </a:lstStyle>
          <a:p>
            <a:fld id="{AF4E4139-3857-324A-9986-F6943474BBF7}" type="slidenum">
              <a:rPr lang="en-US" smtClean="0"/>
              <a:pPr/>
              <a:t>‹#›</a:t>
            </a:fld>
            <a:endParaRPr lang="en-US" dirty="0"/>
          </a:p>
        </p:txBody>
      </p:sp>
    </p:spTree>
    <p:extLst>
      <p:ext uri="{BB962C8B-B14F-4D97-AF65-F5344CB8AC3E}">
        <p14:creationId xmlns:p14="http://schemas.microsoft.com/office/powerpoint/2010/main" val="3806597278"/>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Divider">
    <p:spTree>
      <p:nvGrpSpPr>
        <p:cNvPr id="1" name=""/>
        <p:cNvGrpSpPr/>
        <p:nvPr/>
      </p:nvGrpSpPr>
      <p:grpSpPr>
        <a:xfrm>
          <a:off x="0" y="0"/>
          <a:ext cx="0" cy="0"/>
          <a:chOff x="0" y="0"/>
          <a:chExt cx="0" cy="0"/>
        </a:xfrm>
      </p:grpSpPr>
      <p:grpSp>
        <p:nvGrpSpPr>
          <p:cNvPr id="3" name="Group 2"/>
          <p:cNvGrpSpPr/>
          <p:nvPr userDrawn="1"/>
        </p:nvGrpSpPr>
        <p:grpSpPr>
          <a:xfrm>
            <a:off x="-3311" y="-794"/>
            <a:ext cx="10698435" cy="7561264"/>
            <a:chOff x="-3311" y="-794"/>
            <a:chExt cx="10698435" cy="7561264"/>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724" y="-794"/>
              <a:ext cx="10693400" cy="7561264"/>
            </a:xfrm>
            <a:prstGeom prst="rect">
              <a:avLst/>
            </a:prstGeom>
          </p:spPr>
        </p:pic>
        <p:sp>
          <p:nvSpPr>
            <p:cNvPr id="9" name="Rectangle 3"/>
            <p:cNvSpPr/>
            <p:nvPr userDrawn="1"/>
          </p:nvSpPr>
          <p:spPr>
            <a:xfrm>
              <a:off x="-3311" y="-794"/>
              <a:ext cx="10691813" cy="7559675"/>
            </a:xfrm>
            <a:custGeom>
              <a:avLst/>
              <a:gdLst/>
              <a:ahLst/>
              <a:cxnLst/>
              <a:rect l="l" t="t" r="r" b="b"/>
              <a:pathLst>
                <a:path w="10691813" h="7559675">
                  <a:moveTo>
                    <a:pt x="0" y="0"/>
                  </a:moveTo>
                  <a:lnTo>
                    <a:pt x="10691813" y="0"/>
                  </a:lnTo>
                  <a:lnTo>
                    <a:pt x="10691813" y="1836415"/>
                  </a:lnTo>
                  <a:lnTo>
                    <a:pt x="4997102" y="1836415"/>
                  </a:lnTo>
                  <a:lnTo>
                    <a:pt x="4997102" y="4284687"/>
                  </a:lnTo>
                  <a:lnTo>
                    <a:pt x="10691813" y="4284687"/>
                  </a:lnTo>
                  <a:lnTo>
                    <a:pt x="10691813" y="7559675"/>
                  </a:lnTo>
                  <a:lnTo>
                    <a:pt x="0" y="7559675"/>
                  </a:lnTo>
                  <a:close/>
                </a:path>
              </a:pathLst>
            </a:cu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043056" rtl="0" eaLnBrk="1" latinLnBrk="0" hangingPunct="1">
                <a:defRPr sz="2100" kern="1200">
                  <a:solidFill>
                    <a:schemeClr val="lt1"/>
                  </a:solidFill>
                  <a:latin typeface="+mn-lt"/>
                  <a:ea typeface="+mn-ea"/>
                  <a:cs typeface="+mn-cs"/>
                </a:defRPr>
              </a:lvl1pPr>
              <a:lvl2pPr marL="521528" algn="l" defTabSz="1043056" rtl="0" eaLnBrk="1" latinLnBrk="0" hangingPunct="1">
                <a:defRPr sz="2100" kern="1200">
                  <a:solidFill>
                    <a:schemeClr val="lt1"/>
                  </a:solidFill>
                  <a:latin typeface="+mn-lt"/>
                  <a:ea typeface="+mn-ea"/>
                  <a:cs typeface="+mn-cs"/>
                </a:defRPr>
              </a:lvl2pPr>
              <a:lvl3pPr marL="1043056" algn="l" defTabSz="1043056" rtl="0" eaLnBrk="1" latinLnBrk="0" hangingPunct="1">
                <a:defRPr sz="2100" kern="1200">
                  <a:solidFill>
                    <a:schemeClr val="lt1"/>
                  </a:solidFill>
                  <a:latin typeface="+mn-lt"/>
                  <a:ea typeface="+mn-ea"/>
                  <a:cs typeface="+mn-cs"/>
                </a:defRPr>
              </a:lvl3pPr>
              <a:lvl4pPr marL="1564584" algn="l" defTabSz="1043056" rtl="0" eaLnBrk="1" latinLnBrk="0" hangingPunct="1">
                <a:defRPr sz="2100" kern="1200">
                  <a:solidFill>
                    <a:schemeClr val="lt1"/>
                  </a:solidFill>
                  <a:latin typeface="+mn-lt"/>
                  <a:ea typeface="+mn-ea"/>
                  <a:cs typeface="+mn-cs"/>
                </a:defRPr>
              </a:lvl4pPr>
              <a:lvl5pPr marL="2086112" algn="l" defTabSz="1043056" rtl="0" eaLnBrk="1" latinLnBrk="0" hangingPunct="1">
                <a:defRPr sz="2100" kern="1200">
                  <a:solidFill>
                    <a:schemeClr val="lt1"/>
                  </a:solidFill>
                  <a:latin typeface="+mn-lt"/>
                  <a:ea typeface="+mn-ea"/>
                  <a:cs typeface="+mn-cs"/>
                </a:defRPr>
              </a:lvl5pPr>
              <a:lvl6pPr marL="2607640" algn="l" defTabSz="1043056" rtl="0" eaLnBrk="1" latinLnBrk="0" hangingPunct="1">
                <a:defRPr sz="2100" kern="1200">
                  <a:solidFill>
                    <a:schemeClr val="lt1"/>
                  </a:solidFill>
                  <a:latin typeface="+mn-lt"/>
                  <a:ea typeface="+mn-ea"/>
                  <a:cs typeface="+mn-cs"/>
                </a:defRPr>
              </a:lvl6pPr>
              <a:lvl7pPr marL="3129168" algn="l" defTabSz="1043056" rtl="0" eaLnBrk="1" latinLnBrk="0" hangingPunct="1">
                <a:defRPr sz="2100" kern="1200">
                  <a:solidFill>
                    <a:schemeClr val="lt1"/>
                  </a:solidFill>
                  <a:latin typeface="+mn-lt"/>
                  <a:ea typeface="+mn-ea"/>
                  <a:cs typeface="+mn-cs"/>
                </a:defRPr>
              </a:lvl7pPr>
              <a:lvl8pPr marL="3650696" algn="l" defTabSz="1043056" rtl="0" eaLnBrk="1" latinLnBrk="0" hangingPunct="1">
                <a:defRPr sz="2100" kern="1200">
                  <a:solidFill>
                    <a:schemeClr val="lt1"/>
                  </a:solidFill>
                  <a:latin typeface="+mn-lt"/>
                  <a:ea typeface="+mn-ea"/>
                  <a:cs typeface="+mn-cs"/>
                </a:defRPr>
              </a:lvl8pPr>
              <a:lvl9pPr marL="4172224" algn="l" defTabSz="1043056" rtl="0" eaLnBrk="1" latinLnBrk="0" hangingPunct="1">
                <a:defRPr sz="2100" kern="1200">
                  <a:solidFill>
                    <a:schemeClr val="lt1"/>
                  </a:solidFill>
                  <a:latin typeface="+mn-lt"/>
                  <a:ea typeface="+mn-ea"/>
                  <a:cs typeface="+mn-cs"/>
                </a:defRPr>
              </a:lvl9pPr>
            </a:lstStyle>
            <a:p>
              <a:pPr algn="ctr"/>
              <a:endParaRPr lang="en-US"/>
            </a:p>
          </p:txBody>
        </p:sp>
      </p:grpSp>
      <p:sp>
        <p:nvSpPr>
          <p:cNvPr id="2" name="Title 1"/>
          <p:cNvSpPr>
            <a:spLocks noGrp="1"/>
          </p:cNvSpPr>
          <p:nvPr>
            <p:ph type="ctrTitle"/>
          </p:nvPr>
        </p:nvSpPr>
        <p:spPr>
          <a:xfrm>
            <a:off x="5202238" y="1763713"/>
            <a:ext cx="4968875" cy="2487771"/>
          </a:xfrm>
        </p:spPr>
        <p:txBody>
          <a:bodyPr anchor="ctr">
            <a:noAutofit/>
          </a:bodyPr>
          <a:lstStyle>
            <a:lvl1pPr algn="l">
              <a:defRPr sz="3600">
                <a:solidFill>
                  <a:schemeClr val="accent1"/>
                </a:solidFill>
              </a:defRPr>
            </a:lvl1pPr>
          </a:lstStyle>
          <a:p>
            <a:r>
              <a:rPr lang="en-US" smtClean="0"/>
              <a:t>Click to edit Master title style</a:t>
            </a:r>
            <a:endParaRPr lang="en-US" dirty="0"/>
          </a:p>
        </p:txBody>
      </p:sp>
      <p:pic>
        <p:nvPicPr>
          <p:cNvPr id="8" name="Picture 7" descr="logo.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105029" y="6419773"/>
            <a:ext cx="3066084" cy="871670"/>
          </a:xfrm>
          <a:prstGeom prst="rect">
            <a:avLst/>
          </a:prstGeom>
        </p:spPr>
      </p:pic>
    </p:spTree>
    <p:extLst>
      <p:ext uri="{BB962C8B-B14F-4D97-AF65-F5344CB8AC3E}">
        <p14:creationId xmlns:p14="http://schemas.microsoft.com/office/powerpoint/2010/main" val="2800970154"/>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529069" y="1116013"/>
            <a:ext cx="9648000" cy="5760169"/>
          </a:xfrm>
        </p:spPr>
        <p:txBody>
          <a:bodyPr>
            <a:noAutofit/>
          </a:bodyPr>
          <a:lstStyle>
            <a:lvl1pPr marL="355600" indent="-355600">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Content Placeholder 7"/>
          <p:cNvSpPr>
            <a:spLocks noGrp="1"/>
          </p:cNvSpPr>
          <p:nvPr>
            <p:ph sz="quarter" idx="14" hasCustomPrompt="1"/>
          </p:nvPr>
        </p:nvSpPr>
        <p:spPr>
          <a:xfrm>
            <a:off x="529070" y="6879583"/>
            <a:ext cx="6833060" cy="288925"/>
          </a:xfrm>
        </p:spPr>
        <p:txBody>
          <a:bodyPr anchor="b">
            <a:noAutofit/>
          </a:bodyPr>
          <a:lstStyle>
            <a:lvl1pPr marL="0" indent="0">
              <a:buNone/>
              <a:defRPr sz="1000" cap="none" baseline="0">
                <a:solidFill>
                  <a:schemeClr val="tx1"/>
                </a:solidFill>
              </a:defRPr>
            </a:lvl1pPr>
          </a:lstStyle>
          <a:p>
            <a:pPr lvl="0"/>
            <a:r>
              <a:rPr lang="en-US" dirty="0" smtClean="0"/>
              <a:t>Click to add Note</a:t>
            </a:r>
          </a:p>
        </p:txBody>
      </p:sp>
      <p:sp>
        <p:nvSpPr>
          <p:cNvPr id="7" name="Content Placeholder 7"/>
          <p:cNvSpPr>
            <a:spLocks noGrp="1"/>
          </p:cNvSpPr>
          <p:nvPr>
            <p:ph sz="quarter" idx="18" hasCustomPrompt="1"/>
          </p:nvPr>
        </p:nvSpPr>
        <p:spPr>
          <a:xfrm>
            <a:off x="7506146" y="6879583"/>
            <a:ext cx="2670924" cy="288925"/>
          </a:xfrm>
        </p:spPr>
        <p:txBody>
          <a:bodyPr anchor="b">
            <a:noAutofit/>
          </a:bodyPr>
          <a:lstStyle>
            <a:lvl1pPr marL="0" indent="0" algn="l">
              <a:buNone/>
              <a:defRPr sz="1000" cap="none" baseline="0">
                <a:solidFill>
                  <a:schemeClr val="tx1"/>
                </a:solidFill>
              </a:defRPr>
            </a:lvl1pPr>
          </a:lstStyle>
          <a:p>
            <a:pPr lvl="0"/>
            <a:r>
              <a:rPr lang="en-US" dirty="0" smtClean="0"/>
              <a:t>Click to add Source</a:t>
            </a:r>
          </a:p>
        </p:txBody>
      </p:sp>
      <p:sp>
        <p:nvSpPr>
          <p:cNvPr id="4" name="Date Placeholder 3"/>
          <p:cNvSpPr>
            <a:spLocks noGrp="1"/>
          </p:cNvSpPr>
          <p:nvPr>
            <p:ph type="dt" sz="half" idx="19"/>
          </p:nvPr>
        </p:nvSpPr>
        <p:spPr/>
        <p:txBody>
          <a:bodyPr/>
          <a:lstStyle/>
          <a:p>
            <a:fld id="{1A26691A-DD55-402C-B79D-A79EC72CB2BE}" type="datetime1">
              <a:rPr lang="en-US" smtClean="0"/>
              <a:t>8/4/2014</a:t>
            </a:fld>
            <a:endParaRPr lang="en-GB" dirty="0"/>
          </a:p>
        </p:txBody>
      </p:sp>
      <p:sp>
        <p:nvSpPr>
          <p:cNvPr id="8" name="Title 7"/>
          <p:cNvSpPr>
            <a:spLocks noGrp="1"/>
          </p:cNvSpPr>
          <p:nvPr>
            <p:ph type="title"/>
          </p:nvPr>
        </p:nvSpPr>
        <p:spPr/>
        <p:txBody>
          <a:bodyPr/>
          <a:lstStyle/>
          <a:p>
            <a:r>
              <a:rPr lang="en-US" smtClean="0"/>
              <a:t>Click to edit Master title style</a:t>
            </a:r>
            <a:endParaRPr lang="en-GB"/>
          </a:p>
        </p:txBody>
      </p:sp>
    </p:spTree>
    <p:extLst>
      <p:ext uri="{BB962C8B-B14F-4D97-AF65-F5344CB8AC3E}">
        <p14:creationId xmlns:p14="http://schemas.microsoft.com/office/powerpoint/2010/main" val="1314547173"/>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no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mtClean="0"/>
              <a:t>Click to edit Master title style</a:t>
            </a:r>
            <a:endParaRPr lang="en-US" dirty="0"/>
          </a:p>
        </p:txBody>
      </p:sp>
      <p:sp>
        <p:nvSpPr>
          <p:cNvPr id="3" name="Content Placeholder 2"/>
          <p:cNvSpPr>
            <a:spLocks noGrp="1"/>
          </p:cNvSpPr>
          <p:nvPr>
            <p:ph idx="1"/>
          </p:nvPr>
        </p:nvSpPr>
        <p:spPr>
          <a:xfrm>
            <a:off x="529069" y="1116013"/>
            <a:ext cx="9648000" cy="6048375"/>
          </a:xfrm>
        </p:spPr>
        <p:txBody>
          <a:bodyPr>
            <a:noAutofit/>
          </a:bodyPr>
          <a:lstStyle>
            <a:lvl1pPr marL="355600" indent="-355600">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7913BA85-6548-49B0-97CB-3C11ED806E99}" type="datetime1">
              <a:rPr lang="en-US" smtClean="0"/>
              <a:t>8/4/2014</a:t>
            </a:fld>
            <a:endParaRPr lang="en-GB" dirty="0"/>
          </a:p>
        </p:txBody>
      </p:sp>
    </p:spTree>
    <p:extLst>
      <p:ext uri="{BB962C8B-B14F-4D97-AF65-F5344CB8AC3E}">
        <p14:creationId xmlns:p14="http://schemas.microsoft.com/office/powerpoint/2010/main" val="1859067934"/>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mtClean="0"/>
              <a:t>Click to edit Master title style</a:t>
            </a:r>
            <a:endParaRPr lang="en-US" dirty="0"/>
          </a:p>
        </p:txBody>
      </p:sp>
      <p:sp>
        <p:nvSpPr>
          <p:cNvPr id="3" name="Content Placeholder 2"/>
          <p:cNvSpPr>
            <a:spLocks noGrp="1"/>
          </p:cNvSpPr>
          <p:nvPr>
            <p:ph idx="1"/>
          </p:nvPr>
        </p:nvSpPr>
        <p:spPr>
          <a:xfrm>
            <a:off x="529069" y="1116013"/>
            <a:ext cx="4681538" cy="5759699"/>
          </a:xfrm>
        </p:spPr>
        <p:txBody>
          <a:bodyPr>
            <a:noAutofit/>
          </a:bodyPr>
          <a:lstStyle>
            <a:lvl1pPr marL="355600" indent="-355600">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Content Placeholder 2"/>
          <p:cNvSpPr>
            <a:spLocks noGrp="1"/>
          </p:cNvSpPr>
          <p:nvPr>
            <p:ph idx="14"/>
          </p:nvPr>
        </p:nvSpPr>
        <p:spPr>
          <a:xfrm>
            <a:off x="5487162" y="1116013"/>
            <a:ext cx="4681538" cy="5759699"/>
          </a:xfrm>
        </p:spPr>
        <p:txBody>
          <a:bodyPr>
            <a:noAutofit/>
          </a:bodyPr>
          <a:lstStyle>
            <a:lvl1pPr marL="355600" indent="-355600">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Content Placeholder 7"/>
          <p:cNvSpPr>
            <a:spLocks noGrp="1"/>
          </p:cNvSpPr>
          <p:nvPr>
            <p:ph sz="quarter" idx="15" hasCustomPrompt="1"/>
          </p:nvPr>
        </p:nvSpPr>
        <p:spPr>
          <a:xfrm>
            <a:off x="529070" y="6879583"/>
            <a:ext cx="4681538" cy="288925"/>
          </a:xfrm>
        </p:spPr>
        <p:txBody>
          <a:bodyPr anchor="b">
            <a:noAutofit/>
          </a:bodyPr>
          <a:lstStyle>
            <a:lvl1pPr marL="0" indent="0" algn="l">
              <a:buNone/>
              <a:defRPr sz="1000" cap="none" baseline="0">
                <a:solidFill>
                  <a:schemeClr val="tx1"/>
                </a:solidFill>
              </a:defRPr>
            </a:lvl1pPr>
          </a:lstStyle>
          <a:p>
            <a:pPr lvl="0"/>
            <a:r>
              <a:rPr lang="en-US" dirty="0" smtClean="0"/>
              <a:t>Click to add Note/Source</a:t>
            </a:r>
          </a:p>
        </p:txBody>
      </p:sp>
      <p:sp>
        <p:nvSpPr>
          <p:cNvPr id="9" name="Content Placeholder 7"/>
          <p:cNvSpPr>
            <a:spLocks noGrp="1"/>
          </p:cNvSpPr>
          <p:nvPr>
            <p:ph sz="quarter" idx="18" hasCustomPrompt="1"/>
          </p:nvPr>
        </p:nvSpPr>
        <p:spPr>
          <a:xfrm>
            <a:off x="5495532" y="6879583"/>
            <a:ext cx="4681538" cy="288925"/>
          </a:xfrm>
        </p:spPr>
        <p:txBody>
          <a:bodyPr anchor="b">
            <a:noAutofit/>
          </a:bodyPr>
          <a:lstStyle>
            <a:lvl1pPr marL="0" indent="0" algn="l">
              <a:buNone/>
              <a:defRPr sz="1000" cap="none" baseline="0">
                <a:solidFill>
                  <a:schemeClr val="tx1"/>
                </a:solidFill>
              </a:defRPr>
            </a:lvl1pPr>
          </a:lstStyle>
          <a:p>
            <a:pPr lvl="0"/>
            <a:r>
              <a:rPr lang="en-US" dirty="0" smtClean="0"/>
              <a:t>Click to add Note/Source</a:t>
            </a:r>
          </a:p>
        </p:txBody>
      </p:sp>
      <p:sp>
        <p:nvSpPr>
          <p:cNvPr id="4" name="Date Placeholder 3"/>
          <p:cNvSpPr>
            <a:spLocks noGrp="1"/>
          </p:cNvSpPr>
          <p:nvPr>
            <p:ph type="dt" sz="half" idx="19"/>
          </p:nvPr>
        </p:nvSpPr>
        <p:spPr/>
        <p:txBody>
          <a:bodyPr/>
          <a:lstStyle/>
          <a:p>
            <a:fld id="{0D370DC5-CBEA-4AB7-8C04-E2F53464CC77}" type="datetime1">
              <a:rPr lang="en-US" smtClean="0"/>
              <a:t>8/4/2014</a:t>
            </a:fld>
            <a:endParaRPr lang="en-GB" dirty="0"/>
          </a:p>
        </p:txBody>
      </p:sp>
    </p:spTree>
    <p:extLst>
      <p:ext uri="{BB962C8B-B14F-4D97-AF65-F5344CB8AC3E}">
        <p14:creationId xmlns:p14="http://schemas.microsoft.com/office/powerpoint/2010/main" val="801287492"/>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mtClean="0"/>
              <a:t>Click to edit Master title style</a:t>
            </a:r>
            <a:endParaRPr lang="en-US" dirty="0"/>
          </a:p>
        </p:txBody>
      </p:sp>
      <p:sp>
        <p:nvSpPr>
          <p:cNvPr id="3" name="Content Placeholder 2"/>
          <p:cNvSpPr>
            <a:spLocks noGrp="1"/>
          </p:cNvSpPr>
          <p:nvPr>
            <p:ph idx="1"/>
          </p:nvPr>
        </p:nvSpPr>
        <p:spPr>
          <a:xfrm>
            <a:off x="529070" y="1699287"/>
            <a:ext cx="4680000" cy="5184000"/>
          </a:xfrm>
        </p:spPr>
        <p:txBody>
          <a:bodyPr tIns="72000">
            <a:noAutofit/>
          </a:bodyPr>
          <a:lstStyle>
            <a:lvl1pPr marL="355600" indent="-355600">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Content Placeholder 2"/>
          <p:cNvSpPr>
            <a:spLocks noGrp="1"/>
          </p:cNvSpPr>
          <p:nvPr>
            <p:ph idx="14"/>
          </p:nvPr>
        </p:nvSpPr>
        <p:spPr>
          <a:xfrm>
            <a:off x="5491492" y="1699287"/>
            <a:ext cx="4681538" cy="5184000"/>
          </a:xfrm>
        </p:spPr>
        <p:txBody>
          <a:bodyPr tIns="72000">
            <a:noAutofit/>
          </a:bodyPr>
          <a:lstStyle>
            <a:lvl1pPr marL="355600" indent="-355600">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Content Placeholder 7"/>
          <p:cNvSpPr>
            <a:spLocks noGrp="1"/>
          </p:cNvSpPr>
          <p:nvPr>
            <p:ph sz="quarter" idx="17" hasCustomPrompt="1"/>
          </p:nvPr>
        </p:nvSpPr>
        <p:spPr>
          <a:xfrm>
            <a:off x="529070" y="6879583"/>
            <a:ext cx="4681538" cy="288925"/>
          </a:xfrm>
        </p:spPr>
        <p:txBody>
          <a:bodyPr anchor="b">
            <a:noAutofit/>
          </a:bodyPr>
          <a:lstStyle>
            <a:lvl1pPr marL="0" indent="0" algn="l">
              <a:buNone/>
              <a:defRPr sz="1000" cap="none" baseline="0">
                <a:solidFill>
                  <a:schemeClr val="tx1"/>
                </a:solidFill>
              </a:defRPr>
            </a:lvl1pPr>
          </a:lstStyle>
          <a:p>
            <a:pPr lvl="0"/>
            <a:r>
              <a:rPr lang="en-US" dirty="0" smtClean="0"/>
              <a:t>Click to add Note/Source</a:t>
            </a:r>
          </a:p>
        </p:txBody>
      </p:sp>
      <p:sp>
        <p:nvSpPr>
          <p:cNvPr id="10" name="Content Placeholder 7"/>
          <p:cNvSpPr>
            <a:spLocks noGrp="1"/>
          </p:cNvSpPr>
          <p:nvPr>
            <p:ph sz="quarter" idx="18" hasCustomPrompt="1"/>
          </p:nvPr>
        </p:nvSpPr>
        <p:spPr>
          <a:xfrm>
            <a:off x="5495532" y="6879583"/>
            <a:ext cx="4681538" cy="288925"/>
          </a:xfrm>
        </p:spPr>
        <p:txBody>
          <a:bodyPr anchor="b">
            <a:noAutofit/>
          </a:bodyPr>
          <a:lstStyle>
            <a:lvl1pPr marL="0" indent="0" algn="l">
              <a:buNone/>
              <a:defRPr sz="1000" cap="none" baseline="0">
                <a:solidFill>
                  <a:schemeClr val="tx1"/>
                </a:solidFill>
              </a:defRPr>
            </a:lvl1pPr>
          </a:lstStyle>
          <a:p>
            <a:pPr lvl="0"/>
            <a:r>
              <a:rPr lang="en-US" dirty="0" smtClean="0"/>
              <a:t>Click to add Note/Source</a:t>
            </a:r>
          </a:p>
        </p:txBody>
      </p:sp>
      <p:sp>
        <p:nvSpPr>
          <p:cNvPr id="12" name="Text Placeholder 10"/>
          <p:cNvSpPr>
            <a:spLocks noGrp="1"/>
          </p:cNvSpPr>
          <p:nvPr>
            <p:ph type="body" sz="quarter" idx="19" hasCustomPrompt="1"/>
          </p:nvPr>
        </p:nvSpPr>
        <p:spPr>
          <a:xfrm>
            <a:off x="529070" y="1123287"/>
            <a:ext cx="4680000" cy="576000"/>
          </a:xfrm>
          <a:noFill/>
        </p:spPr>
        <p:txBody>
          <a:bodyPr lIns="0" tIns="0" rIns="0" bIns="0" anchor="ctr">
            <a:noAutofit/>
          </a:bodyPr>
          <a:lstStyle>
            <a:lvl1pPr marL="0" indent="0" algn="l">
              <a:buNone/>
              <a:defRPr sz="1800" b="1" cap="all" baseline="0">
                <a:solidFill>
                  <a:schemeClr val="accent1"/>
                </a:solidFill>
                <a:latin typeface="+mj-lt"/>
              </a:defRPr>
            </a:lvl1pPr>
          </a:lstStyle>
          <a:p>
            <a:pPr lvl="0"/>
            <a:r>
              <a:rPr lang="en-US" dirty="0" smtClean="0"/>
              <a:t>Click to add title</a:t>
            </a:r>
          </a:p>
        </p:txBody>
      </p:sp>
      <p:sp>
        <p:nvSpPr>
          <p:cNvPr id="13" name="Text Placeholder 10"/>
          <p:cNvSpPr>
            <a:spLocks noGrp="1"/>
          </p:cNvSpPr>
          <p:nvPr>
            <p:ph type="body" sz="quarter" idx="20" hasCustomPrompt="1"/>
          </p:nvPr>
        </p:nvSpPr>
        <p:spPr>
          <a:xfrm>
            <a:off x="5493030" y="1123287"/>
            <a:ext cx="4680000" cy="576000"/>
          </a:xfrm>
          <a:noFill/>
        </p:spPr>
        <p:txBody>
          <a:bodyPr lIns="0" tIns="0" rIns="0" bIns="0" anchor="ctr">
            <a:noAutofit/>
          </a:bodyPr>
          <a:lstStyle>
            <a:lvl1pPr marL="0" indent="0" algn="l">
              <a:buNone/>
              <a:defRPr sz="1800" b="1" cap="all" baseline="0">
                <a:solidFill>
                  <a:schemeClr val="accent1"/>
                </a:solidFill>
                <a:latin typeface="+mj-lt"/>
              </a:defRPr>
            </a:lvl1pPr>
          </a:lstStyle>
          <a:p>
            <a:pPr lvl="0"/>
            <a:r>
              <a:rPr lang="en-US" dirty="0" smtClean="0"/>
              <a:t>Click to add title</a:t>
            </a:r>
          </a:p>
        </p:txBody>
      </p:sp>
      <p:sp>
        <p:nvSpPr>
          <p:cNvPr id="4" name="Date Placeholder 3"/>
          <p:cNvSpPr>
            <a:spLocks noGrp="1"/>
          </p:cNvSpPr>
          <p:nvPr>
            <p:ph type="dt" sz="half" idx="21"/>
          </p:nvPr>
        </p:nvSpPr>
        <p:spPr/>
        <p:txBody>
          <a:bodyPr/>
          <a:lstStyle/>
          <a:p>
            <a:fld id="{42654F9C-FB1B-4F07-8A2A-AE87B6D40501}" type="datetime1">
              <a:rPr lang="en-US" smtClean="0"/>
              <a:t>8/4/2014</a:t>
            </a:fld>
            <a:endParaRPr lang="en-GB" dirty="0"/>
          </a:p>
        </p:txBody>
      </p:sp>
    </p:spTree>
    <p:extLst>
      <p:ext uri="{BB962C8B-B14F-4D97-AF65-F5344CB8AC3E}">
        <p14:creationId xmlns:p14="http://schemas.microsoft.com/office/powerpoint/2010/main" val="477279942"/>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Boxes">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mtClean="0"/>
              <a:t>Click to edit Master title style</a:t>
            </a:r>
            <a:endParaRPr lang="en-US" dirty="0"/>
          </a:p>
        </p:txBody>
      </p:sp>
      <p:sp>
        <p:nvSpPr>
          <p:cNvPr id="3" name="Content Placeholder 2"/>
          <p:cNvSpPr>
            <a:spLocks noGrp="1"/>
          </p:cNvSpPr>
          <p:nvPr>
            <p:ph idx="1"/>
          </p:nvPr>
        </p:nvSpPr>
        <p:spPr>
          <a:xfrm>
            <a:off x="529070" y="1696277"/>
            <a:ext cx="4680000" cy="5184000"/>
          </a:xfrm>
        </p:spPr>
        <p:txBody>
          <a:bodyPr tIns="72000">
            <a:noAutofit/>
          </a:bodyPr>
          <a:lstStyle>
            <a:lvl1pPr marL="355600" indent="-355600">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Content Placeholder 2"/>
          <p:cNvSpPr>
            <a:spLocks noGrp="1"/>
          </p:cNvSpPr>
          <p:nvPr>
            <p:ph idx="14"/>
          </p:nvPr>
        </p:nvSpPr>
        <p:spPr>
          <a:xfrm>
            <a:off x="5491492" y="1696277"/>
            <a:ext cx="4681538" cy="5184000"/>
          </a:xfrm>
        </p:spPr>
        <p:txBody>
          <a:bodyPr tIns="72000">
            <a:noAutofit/>
          </a:bodyPr>
          <a:lstStyle>
            <a:lvl1pPr marL="355600" indent="-355600">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Content Placeholder 7"/>
          <p:cNvSpPr>
            <a:spLocks noGrp="1"/>
          </p:cNvSpPr>
          <p:nvPr>
            <p:ph sz="quarter" idx="17" hasCustomPrompt="1"/>
          </p:nvPr>
        </p:nvSpPr>
        <p:spPr>
          <a:xfrm>
            <a:off x="529070" y="6879583"/>
            <a:ext cx="4681538" cy="288925"/>
          </a:xfrm>
        </p:spPr>
        <p:txBody>
          <a:bodyPr anchor="b">
            <a:noAutofit/>
          </a:bodyPr>
          <a:lstStyle>
            <a:lvl1pPr marL="0" indent="0" algn="l">
              <a:buNone/>
              <a:defRPr sz="1000" cap="none" baseline="0">
                <a:solidFill>
                  <a:schemeClr val="tx1"/>
                </a:solidFill>
              </a:defRPr>
            </a:lvl1pPr>
          </a:lstStyle>
          <a:p>
            <a:pPr lvl="0"/>
            <a:r>
              <a:rPr lang="en-US" dirty="0" smtClean="0"/>
              <a:t>Click to add Note/Source</a:t>
            </a:r>
          </a:p>
        </p:txBody>
      </p:sp>
      <p:sp>
        <p:nvSpPr>
          <p:cNvPr id="10" name="Content Placeholder 7"/>
          <p:cNvSpPr>
            <a:spLocks noGrp="1"/>
          </p:cNvSpPr>
          <p:nvPr>
            <p:ph sz="quarter" idx="18" hasCustomPrompt="1"/>
          </p:nvPr>
        </p:nvSpPr>
        <p:spPr>
          <a:xfrm>
            <a:off x="5495532" y="6879583"/>
            <a:ext cx="4681538" cy="288925"/>
          </a:xfrm>
        </p:spPr>
        <p:txBody>
          <a:bodyPr anchor="b">
            <a:noAutofit/>
          </a:bodyPr>
          <a:lstStyle>
            <a:lvl1pPr marL="0" indent="0" algn="l">
              <a:buNone/>
              <a:defRPr sz="1000" cap="none" baseline="0">
                <a:solidFill>
                  <a:schemeClr val="tx1"/>
                </a:solidFill>
              </a:defRPr>
            </a:lvl1pPr>
          </a:lstStyle>
          <a:p>
            <a:pPr lvl="0"/>
            <a:r>
              <a:rPr lang="en-US" dirty="0" smtClean="0"/>
              <a:t>Click to add Note/Source</a:t>
            </a:r>
          </a:p>
        </p:txBody>
      </p:sp>
      <p:sp>
        <p:nvSpPr>
          <p:cNvPr id="12" name="Text Placeholder 10"/>
          <p:cNvSpPr>
            <a:spLocks noGrp="1"/>
          </p:cNvSpPr>
          <p:nvPr>
            <p:ph type="body" sz="quarter" idx="19" hasCustomPrompt="1"/>
          </p:nvPr>
        </p:nvSpPr>
        <p:spPr>
          <a:xfrm>
            <a:off x="522312" y="1120278"/>
            <a:ext cx="4680000" cy="576000"/>
          </a:xfrm>
          <a:solidFill>
            <a:schemeClr val="accent1"/>
          </a:solidFill>
        </p:spPr>
        <p:txBody>
          <a:bodyPr lIns="54000" tIns="36000" rIns="54000" bIns="54000" anchor="ctr">
            <a:noAutofit/>
          </a:bodyPr>
          <a:lstStyle>
            <a:lvl1pPr marL="0" indent="0" algn="ctr">
              <a:buNone/>
              <a:defRPr sz="1800" cap="all" baseline="0">
                <a:solidFill>
                  <a:schemeClr val="bg1"/>
                </a:solidFill>
                <a:latin typeface="+mj-lt"/>
              </a:defRPr>
            </a:lvl1pPr>
          </a:lstStyle>
          <a:p>
            <a:pPr lvl="0"/>
            <a:r>
              <a:rPr lang="en-US" dirty="0" smtClean="0"/>
              <a:t>Click to add title</a:t>
            </a:r>
          </a:p>
        </p:txBody>
      </p:sp>
      <p:sp>
        <p:nvSpPr>
          <p:cNvPr id="13" name="Text Placeholder 10"/>
          <p:cNvSpPr>
            <a:spLocks noGrp="1"/>
          </p:cNvSpPr>
          <p:nvPr>
            <p:ph type="body" sz="quarter" idx="20" hasCustomPrompt="1"/>
          </p:nvPr>
        </p:nvSpPr>
        <p:spPr>
          <a:xfrm>
            <a:off x="5486272" y="1120278"/>
            <a:ext cx="4680000" cy="576000"/>
          </a:xfrm>
          <a:solidFill>
            <a:schemeClr val="accent1"/>
          </a:solidFill>
        </p:spPr>
        <p:txBody>
          <a:bodyPr lIns="54000" tIns="36000" rIns="54000" bIns="54000" anchor="ctr">
            <a:noAutofit/>
          </a:bodyPr>
          <a:lstStyle>
            <a:lvl1pPr marL="0" indent="0" algn="ctr">
              <a:buNone/>
              <a:defRPr sz="1800" cap="all" baseline="0">
                <a:solidFill>
                  <a:schemeClr val="bg1"/>
                </a:solidFill>
                <a:latin typeface="+mj-lt"/>
              </a:defRPr>
            </a:lvl1pPr>
          </a:lstStyle>
          <a:p>
            <a:pPr lvl="0"/>
            <a:r>
              <a:rPr lang="en-US" dirty="0" smtClean="0"/>
              <a:t>Click to add title</a:t>
            </a:r>
          </a:p>
        </p:txBody>
      </p:sp>
      <p:sp>
        <p:nvSpPr>
          <p:cNvPr id="4" name="Date Placeholder 3"/>
          <p:cNvSpPr>
            <a:spLocks noGrp="1"/>
          </p:cNvSpPr>
          <p:nvPr>
            <p:ph type="dt" sz="half" idx="21"/>
          </p:nvPr>
        </p:nvSpPr>
        <p:spPr/>
        <p:txBody>
          <a:bodyPr/>
          <a:lstStyle/>
          <a:p>
            <a:fld id="{4D69E522-DAEF-4129-AE04-602D1C5468A7}" type="datetime1">
              <a:rPr lang="en-US" smtClean="0"/>
              <a:t>8/4/2014</a:t>
            </a:fld>
            <a:endParaRPr lang="en-GB" dirty="0"/>
          </a:p>
        </p:txBody>
      </p:sp>
    </p:spTree>
    <p:extLst>
      <p:ext uri="{BB962C8B-B14F-4D97-AF65-F5344CB8AC3E}">
        <p14:creationId xmlns:p14="http://schemas.microsoft.com/office/powerpoint/2010/main" val="521454038"/>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hree Boxes">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mtClean="0"/>
              <a:t>Click to edit Master title style</a:t>
            </a:r>
            <a:endParaRPr lang="en-US" dirty="0"/>
          </a:p>
        </p:txBody>
      </p:sp>
      <p:sp>
        <p:nvSpPr>
          <p:cNvPr id="3" name="Content Placeholder 2"/>
          <p:cNvSpPr>
            <a:spLocks noGrp="1"/>
          </p:cNvSpPr>
          <p:nvPr>
            <p:ph idx="1" hasCustomPrompt="1"/>
          </p:nvPr>
        </p:nvSpPr>
        <p:spPr>
          <a:xfrm>
            <a:off x="529068" y="1692013"/>
            <a:ext cx="3132000" cy="5472375"/>
          </a:xfrm>
        </p:spPr>
        <p:txBody>
          <a:bodyPr tIns="72000">
            <a:noAutofit/>
          </a:bodyPr>
          <a:lstStyle>
            <a:lvl1pPr marL="355600" indent="-355600">
              <a:defRPr sz="1800"/>
            </a:lvl1pPr>
            <a:lvl2pPr>
              <a:defRPr sz="1600"/>
            </a:lvl2pPr>
            <a:lvl3pPr>
              <a:defRPr sz="1400"/>
            </a:lvl3pPr>
            <a:lvl4pPr>
              <a:defRPr sz="1200"/>
            </a:lvl4pPr>
            <a:lvl5pPr>
              <a:defRPr sz="1200"/>
            </a:lvl5pPr>
          </a:lstStyle>
          <a:p>
            <a:pPr lvl="0"/>
            <a:r>
              <a:rPr lang="en-US" dirty="0" smtClean="0"/>
              <a:t>Click to edit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10"/>
          <p:cNvSpPr>
            <a:spLocks noGrp="1"/>
          </p:cNvSpPr>
          <p:nvPr>
            <p:ph type="body" sz="quarter" idx="19" hasCustomPrompt="1"/>
          </p:nvPr>
        </p:nvSpPr>
        <p:spPr>
          <a:xfrm>
            <a:off x="529068" y="1116013"/>
            <a:ext cx="3132000" cy="576000"/>
          </a:xfrm>
          <a:solidFill>
            <a:schemeClr val="accent1"/>
          </a:solidFill>
        </p:spPr>
        <p:txBody>
          <a:bodyPr lIns="54000" tIns="54000" rIns="54000" bIns="54000" anchor="ctr">
            <a:noAutofit/>
          </a:bodyPr>
          <a:lstStyle>
            <a:lvl1pPr marL="0" indent="0" algn="ctr">
              <a:buNone/>
              <a:defRPr sz="1800" cap="all" baseline="0">
                <a:solidFill>
                  <a:schemeClr val="bg1"/>
                </a:solidFill>
                <a:latin typeface="+mj-lt"/>
              </a:defRPr>
            </a:lvl1pPr>
          </a:lstStyle>
          <a:p>
            <a:pPr lvl="0"/>
            <a:r>
              <a:rPr lang="en-US" dirty="0" smtClean="0"/>
              <a:t>Click to add title</a:t>
            </a:r>
          </a:p>
        </p:txBody>
      </p:sp>
      <p:sp>
        <p:nvSpPr>
          <p:cNvPr id="18" name="Content Placeholder 2"/>
          <p:cNvSpPr>
            <a:spLocks noGrp="1"/>
          </p:cNvSpPr>
          <p:nvPr>
            <p:ph idx="20" hasCustomPrompt="1"/>
          </p:nvPr>
        </p:nvSpPr>
        <p:spPr>
          <a:xfrm>
            <a:off x="3784090" y="1692013"/>
            <a:ext cx="3132000" cy="5472375"/>
          </a:xfrm>
        </p:spPr>
        <p:txBody>
          <a:bodyPr tIns="72000">
            <a:noAutofit/>
          </a:bodyPr>
          <a:lstStyle>
            <a:lvl1pPr marL="355600" indent="-355600">
              <a:defRPr sz="1800"/>
            </a:lvl1pPr>
            <a:lvl2pPr>
              <a:defRPr sz="1600"/>
            </a:lvl2pPr>
            <a:lvl3pPr>
              <a:defRPr sz="1400"/>
            </a:lvl3pPr>
            <a:lvl4pPr>
              <a:defRPr sz="1200"/>
            </a:lvl4pPr>
            <a:lvl5pPr>
              <a:defRPr sz="1200"/>
            </a:lvl5pPr>
          </a:lstStyle>
          <a:p>
            <a:pPr lvl="0"/>
            <a:r>
              <a:rPr lang="en-US" dirty="0" smtClean="0"/>
              <a:t>Click to edit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9" name="Text Placeholder 10"/>
          <p:cNvSpPr>
            <a:spLocks noGrp="1"/>
          </p:cNvSpPr>
          <p:nvPr>
            <p:ph type="body" sz="quarter" idx="21" hasCustomPrompt="1"/>
          </p:nvPr>
        </p:nvSpPr>
        <p:spPr>
          <a:xfrm>
            <a:off x="3784090" y="1116013"/>
            <a:ext cx="3132000" cy="576000"/>
          </a:xfrm>
          <a:solidFill>
            <a:schemeClr val="accent1"/>
          </a:solidFill>
        </p:spPr>
        <p:txBody>
          <a:bodyPr lIns="54000" tIns="54000" rIns="54000" bIns="54000" anchor="ctr">
            <a:noAutofit/>
          </a:bodyPr>
          <a:lstStyle>
            <a:lvl1pPr marL="0" indent="0" algn="ctr">
              <a:buNone/>
              <a:defRPr sz="1800" cap="all" baseline="0">
                <a:solidFill>
                  <a:schemeClr val="bg1"/>
                </a:solidFill>
                <a:latin typeface="+mj-lt"/>
              </a:defRPr>
            </a:lvl1pPr>
          </a:lstStyle>
          <a:p>
            <a:pPr lvl="0"/>
            <a:r>
              <a:rPr lang="en-US" dirty="0" smtClean="0"/>
              <a:t>Click to add title</a:t>
            </a:r>
          </a:p>
        </p:txBody>
      </p:sp>
      <p:sp>
        <p:nvSpPr>
          <p:cNvPr id="20" name="Content Placeholder 2"/>
          <p:cNvSpPr>
            <a:spLocks noGrp="1"/>
          </p:cNvSpPr>
          <p:nvPr>
            <p:ph idx="22" hasCustomPrompt="1"/>
          </p:nvPr>
        </p:nvSpPr>
        <p:spPr>
          <a:xfrm>
            <a:off x="7039113" y="1692013"/>
            <a:ext cx="3132000" cy="5472375"/>
          </a:xfrm>
        </p:spPr>
        <p:txBody>
          <a:bodyPr tIns="72000">
            <a:noAutofit/>
          </a:bodyPr>
          <a:lstStyle>
            <a:lvl1pPr marL="355600" indent="-355600">
              <a:defRPr sz="1800"/>
            </a:lvl1pPr>
            <a:lvl2pPr>
              <a:defRPr sz="1600"/>
            </a:lvl2pPr>
            <a:lvl3pPr>
              <a:defRPr sz="1400"/>
            </a:lvl3pPr>
            <a:lvl4pPr>
              <a:defRPr sz="1200"/>
            </a:lvl4pPr>
            <a:lvl5pPr>
              <a:defRPr sz="1200"/>
            </a:lvl5pPr>
          </a:lstStyle>
          <a:p>
            <a:pPr lvl="0"/>
            <a:r>
              <a:rPr lang="en-US" dirty="0" smtClean="0"/>
              <a:t>Click to edit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1" name="Text Placeholder 10"/>
          <p:cNvSpPr>
            <a:spLocks noGrp="1"/>
          </p:cNvSpPr>
          <p:nvPr>
            <p:ph type="body" sz="quarter" idx="23" hasCustomPrompt="1"/>
          </p:nvPr>
        </p:nvSpPr>
        <p:spPr>
          <a:xfrm>
            <a:off x="7039113" y="1116013"/>
            <a:ext cx="3132000" cy="576000"/>
          </a:xfrm>
          <a:solidFill>
            <a:schemeClr val="accent1"/>
          </a:solidFill>
        </p:spPr>
        <p:txBody>
          <a:bodyPr lIns="54000" tIns="54000" rIns="54000" bIns="54000" anchor="ctr">
            <a:noAutofit/>
          </a:bodyPr>
          <a:lstStyle>
            <a:lvl1pPr marL="0" indent="0" algn="ctr">
              <a:buNone/>
              <a:defRPr sz="1800" cap="all" baseline="0">
                <a:solidFill>
                  <a:schemeClr val="bg1"/>
                </a:solidFill>
                <a:latin typeface="+mj-lt"/>
              </a:defRPr>
            </a:lvl1pPr>
          </a:lstStyle>
          <a:p>
            <a:pPr lvl="0"/>
            <a:r>
              <a:rPr lang="en-US" dirty="0" smtClean="0"/>
              <a:t>Click to add title</a:t>
            </a:r>
          </a:p>
        </p:txBody>
      </p:sp>
      <p:sp>
        <p:nvSpPr>
          <p:cNvPr id="4" name="Date Placeholder 3"/>
          <p:cNvSpPr>
            <a:spLocks noGrp="1"/>
          </p:cNvSpPr>
          <p:nvPr>
            <p:ph type="dt" sz="half" idx="24"/>
          </p:nvPr>
        </p:nvSpPr>
        <p:spPr/>
        <p:txBody>
          <a:bodyPr/>
          <a:lstStyle/>
          <a:p>
            <a:fld id="{8095B28F-8E35-4476-83D2-3BA792C03613}" type="datetime1">
              <a:rPr lang="en-US" smtClean="0"/>
              <a:t>8/4/2014</a:t>
            </a:fld>
            <a:endParaRPr lang="en-GB" dirty="0"/>
          </a:p>
        </p:txBody>
      </p:sp>
    </p:spTree>
    <p:extLst>
      <p:ext uri="{BB962C8B-B14F-4D97-AF65-F5344CB8AC3E}">
        <p14:creationId xmlns:p14="http://schemas.microsoft.com/office/powerpoint/2010/main" val="633548666"/>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Four Boxes">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mtClean="0"/>
              <a:t>Click to edit Master title style</a:t>
            </a:r>
            <a:endParaRPr lang="en-US" dirty="0"/>
          </a:p>
        </p:txBody>
      </p:sp>
      <p:sp>
        <p:nvSpPr>
          <p:cNvPr id="3" name="Content Placeholder 2"/>
          <p:cNvSpPr>
            <a:spLocks noGrp="1"/>
          </p:cNvSpPr>
          <p:nvPr>
            <p:ph idx="1"/>
          </p:nvPr>
        </p:nvSpPr>
        <p:spPr>
          <a:xfrm>
            <a:off x="529070" y="1697829"/>
            <a:ext cx="4680000" cy="2376488"/>
          </a:xfrm>
        </p:spPr>
        <p:txBody>
          <a:bodyPr tIns="72000">
            <a:noAutofit/>
          </a:bodyPr>
          <a:lstStyle>
            <a:lvl1pPr marL="355600" indent="-355600">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Content Placeholder 2"/>
          <p:cNvSpPr>
            <a:spLocks noGrp="1"/>
          </p:cNvSpPr>
          <p:nvPr>
            <p:ph idx="14"/>
          </p:nvPr>
        </p:nvSpPr>
        <p:spPr>
          <a:xfrm>
            <a:off x="5491492" y="1697829"/>
            <a:ext cx="4681538" cy="2376488"/>
          </a:xfrm>
        </p:spPr>
        <p:txBody>
          <a:bodyPr tIns="72000">
            <a:noAutofit/>
          </a:bodyPr>
          <a:lstStyle>
            <a:lvl1pPr marL="355600" indent="-355600">
              <a:tabLst/>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10"/>
          <p:cNvSpPr>
            <a:spLocks noGrp="1"/>
          </p:cNvSpPr>
          <p:nvPr>
            <p:ph type="body" sz="quarter" idx="19" hasCustomPrompt="1"/>
          </p:nvPr>
        </p:nvSpPr>
        <p:spPr>
          <a:xfrm>
            <a:off x="529070" y="1116275"/>
            <a:ext cx="4680000" cy="576000"/>
          </a:xfrm>
          <a:solidFill>
            <a:schemeClr val="accent1"/>
          </a:solidFill>
        </p:spPr>
        <p:txBody>
          <a:bodyPr lIns="54000" tIns="54000" rIns="54000" bIns="54000" anchor="ctr">
            <a:noAutofit/>
          </a:bodyPr>
          <a:lstStyle>
            <a:lvl1pPr marL="0" indent="0" algn="ctr">
              <a:buNone/>
              <a:defRPr sz="1800" cap="all" baseline="0">
                <a:solidFill>
                  <a:schemeClr val="bg1"/>
                </a:solidFill>
                <a:latin typeface="+mj-lt"/>
              </a:defRPr>
            </a:lvl1pPr>
          </a:lstStyle>
          <a:p>
            <a:pPr lvl="0"/>
            <a:r>
              <a:rPr lang="en-US" dirty="0" smtClean="0"/>
              <a:t>Click to add title</a:t>
            </a:r>
          </a:p>
        </p:txBody>
      </p:sp>
      <p:sp>
        <p:nvSpPr>
          <p:cNvPr id="13" name="Text Placeholder 10"/>
          <p:cNvSpPr>
            <a:spLocks noGrp="1"/>
          </p:cNvSpPr>
          <p:nvPr>
            <p:ph type="body" sz="quarter" idx="20" hasCustomPrompt="1"/>
          </p:nvPr>
        </p:nvSpPr>
        <p:spPr>
          <a:xfrm>
            <a:off x="5493030" y="1116275"/>
            <a:ext cx="4680000" cy="576000"/>
          </a:xfrm>
          <a:solidFill>
            <a:schemeClr val="accent1"/>
          </a:solidFill>
        </p:spPr>
        <p:txBody>
          <a:bodyPr lIns="54000" tIns="54000" rIns="54000" bIns="54000" anchor="ctr">
            <a:noAutofit/>
          </a:bodyPr>
          <a:lstStyle>
            <a:lvl1pPr marL="0" indent="0" algn="ctr">
              <a:buNone/>
              <a:defRPr sz="1800" cap="all" baseline="0">
                <a:solidFill>
                  <a:schemeClr val="bg1"/>
                </a:solidFill>
                <a:latin typeface="+mj-lt"/>
              </a:defRPr>
            </a:lvl1pPr>
          </a:lstStyle>
          <a:p>
            <a:pPr lvl="0"/>
            <a:r>
              <a:rPr lang="en-US" dirty="0" smtClean="0"/>
              <a:t>Click to add title</a:t>
            </a:r>
          </a:p>
        </p:txBody>
      </p:sp>
      <p:sp>
        <p:nvSpPr>
          <p:cNvPr id="29" name="Content Placeholder 2"/>
          <p:cNvSpPr>
            <a:spLocks noGrp="1"/>
          </p:cNvSpPr>
          <p:nvPr>
            <p:ph idx="21"/>
          </p:nvPr>
        </p:nvSpPr>
        <p:spPr>
          <a:xfrm>
            <a:off x="529070" y="4787900"/>
            <a:ext cx="4680000" cy="2376488"/>
          </a:xfrm>
        </p:spPr>
        <p:txBody>
          <a:bodyPr tIns="72000">
            <a:noAutofit/>
          </a:bodyPr>
          <a:lstStyle>
            <a:lvl1pPr marL="355600" indent="-355600">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0" name="Content Placeholder 2"/>
          <p:cNvSpPr>
            <a:spLocks noGrp="1"/>
          </p:cNvSpPr>
          <p:nvPr>
            <p:ph idx="22"/>
          </p:nvPr>
        </p:nvSpPr>
        <p:spPr>
          <a:xfrm>
            <a:off x="5491492" y="4787900"/>
            <a:ext cx="4681538" cy="2376488"/>
          </a:xfrm>
        </p:spPr>
        <p:txBody>
          <a:bodyPr tIns="72000">
            <a:noAutofit/>
          </a:bodyPr>
          <a:lstStyle>
            <a:lvl1pPr marL="355600" indent="-355600">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1" name="Text Placeholder 10"/>
          <p:cNvSpPr>
            <a:spLocks noGrp="1"/>
          </p:cNvSpPr>
          <p:nvPr>
            <p:ph type="body" sz="quarter" idx="23" hasCustomPrompt="1"/>
          </p:nvPr>
        </p:nvSpPr>
        <p:spPr>
          <a:xfrm>
            <a:off x="529070" y="4211900"/>
            <a:ext cx="4680000" cy="576000"/>
          </a:xfrm>
          <a:solidFill>
            <a:schemeClr val="accent1"/>
          </a:solidFill>
        </p:spPr>
        <p:txBody>
          <a:bodyPr lIns="54000" tIns="54000" rIns="54000" bIns="54000" anchor="ctr">
            <a:noAutofit/>
          </a:bodyPr>
          <a:lstStyle>
            <a:lvl1pPr marL="0" indent="0" algn="ctr">
              <a:buNone/>
              <a:defRPr sz="1800" cap="all" baseline="0">
                <a:solidFill>
                  <a:schemeClr val="bg1"/>
                </a:solidFill>
                <a:latin typeface="+mj-lt"/>
              </a:defRPr>
            </a:lvl1pPr>
          </a:lstStyle>
          <a:p>
            <a:pPr lvl="0"/>
            <a:r>
              <a:rPr lang="en-US" dirty="0" smtClean="0"/>
              <a:t>Click to add title</a:t>
            </a:r>
          </a:p>
        </p:txBody>
      </p:sp>
      <p:sp>
        <p:nvSpPr>
          <p:cNvPr id="32" name="Text Placeholder 10"/>
          <p:cNvSpPr>
            <a:spLocks noGrp="1"/>
          </p:cNvSpPr>
          <p:nvPr>
            <p:ph type="body" sz="quarter" idx="24" hasCustomPrompt="1"/>
          </p:nvPr>
        </p:nvSpPr>
        <p:spPr>
          <a:xfrm>
            <a:off x="5493030" y="4211900"/>
            <a:ext cx="4680000" cy="576000"/>
          </a:xfrm>
          <a:solidFill>
            <a:schemeClr val="accent1"/>
          </a:solidFill>
        </p:spPr>
        <p:txBody>
          <a:bodyPr lIns="54000" tIns="54000" rIns="54000" bIns="54000" anchor="ctr">
            <a:noAutofit/>
          </a:bodyPr>
          <a:lstStyle>
            <a:lvl1pPr marL="0" indent="0" algn="ctr">
              <a:buNone/>
              <a:defRPr sz="1800" cap="all" baseline="0">
                <a:solidFill>
                  <a:schemeClr val="bg1"/>
                </a:solidFill>
                <a:latin typeface="+mj-lt"/>
              </a:defRPr>
            </a:lvl1pPr>
          </a:lstStyle>
          <a:p>
            <a:pPr lvl="0"/>
            <a:r>
              <a:rPr lang="en-US" dirty="0" smtClean="0"/>
              <a:t>Click to add title</a:t>
            </a:r>
          </a:p>
        </p:txBody>
      </p:sp>
      <p:sp>
        <p:nvSpPr>
          <p:cNvPr id="4" name="Date Placeholder 3"/>
          <p:cNvSpPr>
            <a:spLocks noGrp="1"/>
          </p:cNvSpPr>
          <p:nvPr>
            <p:ph type="dt" sz="half" idx="25"/>
          </p:nvPr>
        </p:nvSpPr>
        <p:spPr/>
        <p:txBody>
          <a:bodyPr/>
          <a:lstStyle/>
          <a:p>
            <a:fld id="{6BA565FC-7F77-42BC-9A63-BCEA9DBAD633}" type="datetime1">
              <a:rPr lang="en-US" smtClean="0"/>
              <a:t>8/4/2014</a:t>
            </a:fld>
            <a:endParaRPr lang="en-GB" dirty="0"/>
          </a:p>
        </p:txBody>
      </p:sp>
    </p:spTree>
    <p:extLst>
      <p:ext uri="{BB962C8B-B14F-4D97-AF65-F5344CB8AC3E}">
        <p14:creationId xmlns:p14="http://schemas.microsoft.com/office/powerpoint/2010/main" val="1452643577"/>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image" Target="../media/image3.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jpe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5" name="Group 4"/>
          <p:cNvGrpSpPr/>
          <p:nvPr userDrawn="1"/>
        </p:nvGrpSpPr>
        <p:grpSpPr>
          <a:xfrm>
            <a:off x="-794" y="7235675"/>
            <a:ext cx="10693401" cy="324000"/>
            <a:chOff x="-794" y="7235675"/>
            <a:chExt cx="10693401" cy="324000"/>
          </a:xfrm>
        </p:grpSpPr>
        <p:pic>
          <p:nvPicPr>
            <p:cNvPr id="22" name="Picture 21" descr="S:\CTS\1. Clients\BNEF\Branding\prism raw file.jpg"/>
            <p:cNvPicPr>
              <a:picLocks noChangeAspect="1" noChangeArrowheads="1"/>
            </p:cNvPicPr>
            <p:nvPr userDrawn="1"/>
          </p:nvPicPr>
          <p:blipFill rotWithShape="1">
            <a:blip r:embed="rId19" cstate="print">
              <a:extLst>
                <a:ext uri="{28A0092B-C50C-407E-A947-70E740481C1C}">
                  <a14:useLocalDpi xmlns:a14="http://schemas.microsoft.com/office/drawing/2010/main"/>
                </a:ext>
              </a:extLst>
            </a:blip>
            <a:srcRect/>
            <a:stretch/>
          </p:blipFill>
          <p:spPr bwMode="auto">
            <a:xfrm>
              <a:off x="-794" y="7235675"/>
              <a:ext cx="10693401" cy="322412"/>
            </a:xfrm>
            <a:prstGeom prst="rect">
              <a:avLst/>
            </a:prstGeom>
            <a:noFill/>
            <a:extLst>
              <a:ext uri="{909E8E84-426E-40DD-AFC4-6F175D3DCCD1}">
                <a14:hiddenFill xmlns:a14="http://schemas.microsoft.com/office/drawing/2010/main">
                  <a:solidFill>
                    <a:srgbClr val="FFFFFF"/>
                  </a:solidFill>
                </a14:hiddenFill>
              </a:ext>
            </a:extLst>
          </p:spPr>
        </p:pic>
        <p:sp>
          <p:nvSpPr>
            <p:cNvPr id="23" name="Rectangle 22"/>
            <p:cNvSpPr/>
            <p:nvPr userDrawn="1"/>
          </p:nvSpPr>
          <p:spPr>
            <a:xfrm>
              <a:off x="-793" y="7235675"/>
              <a:ext cx="10691814" cy="324000"/>
            </a:xfrm>
            <a:prstGeom prst="rect">
              <a:avLst/>
            </a:prstGeom>
            <a:solidFill>
              <a:schemeClr val="accent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043056" rtl="0" eaLnBrk="1" latinLnBrk="0" hangingPunct="1">
                <a:defRPr sz="2100" kern="1200">
                  <a:solidFill>
                    <a:schemeClr val="lt1"/>
                  </a:solidFill>
                  <a:latin typeface="+mn-lt"/>
                  <a:ea typeface="+mn-ea"/>
                  <a:cs typeface="+mn-cs"/>
                </a:defRPr>
              </a:lvl1pPr>
              <a:lvl2pPr marL="521528" algn="l" defTabSz="1043056" rtl="0" eaLnBrk="1" latinLnBrk="0" hangingPunct="1">
                <a:defRPr sz="2100" kern="1200">
                  <a:solidFill>
                    <a:schemeClr val="lt1"/>
                  </a:solidFill>
                  <a:latin typeface="+mn-lt"/>
                  <a:ea typeface="+mn-ea"/>
                  <a:cs typeface="+mn-cs"/>
                </a:defRPr>
              </a:lvl2pPr>
              <a:lvl3pPr marL="1043056" algn="l" defTabSz="1043056" rtl="0" eaLnBrk="1" latinLnBrk="0" hangingPunct="1">
                <a:defRPr sz="2100" kern="1200">
                  <a:solidFill>
                    <a:schemeClr val="lt1"/>
                  </a:solidFill>
                  <a:latin typeface="+mn-lt"/>
                  <a:ea typeface="+mn-ea"/>
                  <a:cs typeface="+mn-cs"/>
                </a:defRPr>
              </a:lvl3pPr>
              <a:lvl4pPr marL="1564584" algn="l" defTabSz="1043056" rtl="0" eaLnBrk="1" latinLnBrk="0" hangingPunct="1">
                <a:defRPr sz="2100" kern="1200">
                  <a:solidFill>
                    <a:schemeClr val="lt1"/>
                  </a:solidFill>
                  <a:latin typeface="+mn-lt"/>
                  <a:ea typeface="+mn-ea"/>
                  <a:cs typeface="+mn-cs"/>
                </a:defRPr>
              </a:lvl4pPr>
              <a:lvl5pPr marL="2086112" algn="l" defTabSz="1043056" rtl="0" eaLnBrk="1" latinLnBrk="0" hangingPunct="1">
                <a:defRPr sz="2100" kern="1200">
                  <a:solidFill>
                    <a:schemeClr val="lt1"/>
                  </a:solidFill>
                  <a:latin typeface="+mn-lt"/>
                  <a:ea typeface="+mn-ea"/>
                  <a:cs typeface="+mn-cs"/>
                </a:defRPr>
              </a:lvl5pPr>
              <a:lvl6pPr marL="2607640" algn="l" defTabSz="1043056" rtl="0" eaLnBrk="1" latinLnBrk="0" hangingPunct="1">
                <a:defRPr sz="2100" kern="1200">
                  <a:solidFill>
                    <a:schemeClr val="lt1"/>
                  </a:solidFill>
                  <a:latin typeface="+mn-lt"/>
                  <a:ea typeface="+mn-ea"/>
                  <a:cs typeface="+mn-cs"/>
                </a:defRPr>
              </a:lvl6pPr>
              <a:lvl7pPr marL="3129168" algn="l" defTabSz="1043056" rtl="0" eaLnBrk="1" latinLnBrk="0" hangingPunct="1">
                <a:defRPr sz="2100" kern="1200">
                  <a:solidFill>
                    <a:schemeClr val="lt1"/>
                  </a:solidFill>
                  <a:latin typeface="+mn-lt"/>
                  <a:ea typeface="+mn-ea"/>
                  <a:cs typeface="+mn-cs"/>
                </a:defRPr>
              </a:lvl7pPr>
              <a:lvl8pPr marL="3650696" algn="l" defTabSz="1043056" rtl="0" eaLnBrk="1" latinLnBrk="0" hangingPunct="1">
                <a:defRPr sz="2100" kern="1200">
                  <a:solidFill>
                    <a:schemeClr val="lt1"/>
                  </a:solidFill>
                  <a:latin typeface="+mn-lt"/>
                  <a:ea typeface="+mn-ea"/>
                  <a:cs typeface="+mn-cs"/>
                </a:defRPr>
              </a:lvl8pPr>
              <a:lvl9pPr marL="4172224" algn="l" defTabSz="1043056" rtl="0" eaLnBrk="1" latinLnBrk="0" hangingPunct="1">
                <a:defRPr sz="2100" kern="1200">
                  <a:solidFill>
                    <a:schemeClr val="lt1"/>
                  </a:solidFill>
                  <a:latin typeface="+mn-lt"/>
                  <a:ea typeface="+mn-ea"/>
                  <a:cs typeface="+mn-cs"/>
                </a:defRPr>
              </a:lvl9pPr>
            </a:lstStyle>
            <a:p>
              <a:pPr algn="ctr"/>
              <a:endParaRPr lang="en-US"/>
            </a:p>
          </p:txBody>
        </p:sp>
      </p:grpSp>
      <p:grpSp>
        <p:nvGrpSpPr>
          <p:cNvPr id="4" name="Group 3"/>
          <p:cNvGrpSpPr/>
          <p:nvPr userDrawn="1"/>
        </p:nvGrpSpPr>
        <p:grpSpPr>
          <a:xfrm>
            <a:off x="-600" y="0"/>
            <a:ext cx="10693401" cy="1080002"/>
            <a:chOff x="-600" y="0"/>
            <a:chExt cx="10693401" cy="1080002"/>
          </a:xfrm>
        </p:grpSpPr>
        <p:pic>
          <p:nvPicPr>
            <p:cNvPr id="18" name="Picture 17" descr="S:\CTS\1. Clients\BNEF\Branding\prism raw file.jpg"/>
            <p:cNvPicPr>
              <a:picLocks noChangeAspect="1" noChangeArrowheads="1"/>
            </p:cNvPicPr>
            <p:nvPr userDrawn="1"/>
          </p:nvPicPr>
          <p:blipFill rotWithShape="1">
            <a:blip r:embed="rId20" cstate="print">
              <a:extLst>
                <a:ext uri="{28A0092B-C50C-407E-A947-70E740481C1C}">
                  <a14:useLocalDpi xmlns:a14="http://schemas.microsoft.com/office/drawing/2010/main"/>
                </a:ext>
              </a:extLst>
            </a:blip>
            <a:srcRect/>
            <a:stretch/>
          </p:blipFill>
          <p:spPr bwMode="auto">
            <a:xfrm>
              <a:off x="-600" y="2"/>
              <a:ext cx="10693401" cy="1080000"/>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userDrawn="1"/>
          </p:nvSpPr>
          <p:spPr>
            <a:xfrm>
              <a:off x="-599" y="0"/>
              <a:ext cx="10693400" cy="936000"/>
            </a:xfrm>
            <a:prstGeom prst="rect">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043056" rtl="0" eaLnBrk="1" latinLnBrk="0" hangingPunct="1">
                <a:defRPr sz="2100" kern="1200">
                  <a:solidFill>
                    <a:schemeClr val="lt1"/>
                  </a:solidFill>
                  <a:latin typeface="+mn-lt"/>
                  <a:ea typeface="+mn-ea"/>
                  <a:cs typeface="+mn-cs"/>
                </a:defRPr>
              </a:lvl1pPr>
              <a:lvl2pPr marL="521528" algn="l" defTabSz="1043056" rtl="0" eaLnBrk="1" latinLnBrk="0" hangingPunct="1">
                <a:defRPr sz="2100" kern="1200">
                  <a:solidFill>
                    <a:schemeClr val="lt1"/>
                  </a:solidFill>
                  <a:latin typeface="+mn-lt"/>
                  <a:ea typeface="+mn-ea"/>
                  <a:cs typeface="+mn-cs"/>
                </a:defRPr>
              </a:lvl2pPr>
              <a:lvl3pPr marL="1043056" algn="l" defTabSz="1043056" rtl="0" eaLnBrk="1" latinLnBrk="0" hangingPunct="1">
                <a:defRPr sz="2100" kern="1200">
                  <a:solidFill>
                    <a:schemeClr val="lt1"/>
                  </a:solidFill>
                  <a:latin typeface="+mn-lt"/>
                  <a:ea typeface="+mn-ea"/>
                  <a:cs typeface="+mn-cs"/>
                </a:defRPr>
              </a:lvl3pPr>
              <a:lvl4pPr marL="1564584" algn="l" defTabSz="1043056" rtl="0" eaLnBrk="1" latinLnBrk="0" hangingPunct="1">
                <a:defRPr sz="2100" kern="1200">
                  <a:solidFill>
                    <a:schemeClr val="lt1"/>
                  </a:solidFill>
                  <a:latin typeface="+mn-lt"/>
                  <a:ea typeface="+mn-ea"/>
                  <a:cs typeface="+mn-cs"/>
                </a:defRPr>
              </a:lvl4pPr>
              <a:lvl5pPr marL="2086112" algn="l" defTabSz="1043056" rtl="0" eaLnBrk="1" latinLnBrk="0" hangingPunct="1">
                <a:defRPr sz="2100" kern="1200">
                  <a:solidFill>
                    <a:schemeClr val="lt1"/>
                  </a:solidFill>
                  <a:latin typeface="+mn-lt"/>
                  <a:ea typeface="+mn-ea"/>
                  <a:cs typeface="+mn-cs"/>
                </a:defRPr>
              </a:lvl5pPr>
              <a:lvl6pPr marL="2607640" algn="l" defTabSz="1043056" rtl="0" eaLnBrk="1" latinLnBrk="0" hangingPunct="1">
                <a:defRPr sz="2100" kern="1200">
                  <a:solidFill>
                    <a:schemeClr val="lt1"/>
                  </a:solidFill>
                  <a:latin typeface="+mn-lt"/>
                  <a:ea typeface="+mn-ea"/>
                  <a:cs typeface="+mn-cs"/>
                </a:defRPr>
              </a:lvl6pPr>
              <a:lvl7pPr marL="3129168" algn="l" defTabSz="1043056" rtl="0" eaLnBrk="1" latinLnBrk="0" hangingPunct="1">
                <a:defRPr sz="2100" kern="1200">
                  <a:solidFill>
                    <a:schemeClr val="lt1"/>
                  </a:solidFill>
                  <a:latin typeface="+mn-lt"/>
                  <a:ea typeface="+mn-ea"/>
                  <a:cs typeface="+mn-cs"/>
                </a:defRPr>
              </a:lvl7pPr>
              <a:lvl8pPr marL="3650696" algn="l" defTabSz="1043056" rtl="0" eaLnBrk="1" latinLnBrk="0" hangingPunct="1">
                <a:defRPr sz="2100" kern="1200">
                  <a:solidFill>
                    <a:schemeClr val="lt1"/>
                  </a:solidFill>
                  <a:latin typeface="+mn-lt"/>
                  <a:ea typeface="+mn-ea"/>
                  <a:cs typeface="+mn-cs"/>
                </a:defRPr>
              </a:lvl8pPr>
              <a:lvl9pPr marL="4172224" algn="l" defTabSz="1043056" rtl="0" eaLnBrk="1" latinLnBrk="0" hangingPunct="1">
                <a:defRPr sz="2100" kern="1200">
                  <a:solidFill>
                    <a:schemeClr val="lt1"/>
                  </a:solidFill>
                  <a:latin typeface="+mn-lt"/>
                  <a:ea typeface="+mn-ea"/>
                  <a:cs typeface="+mn-cs"/>
                </a:defRPr>
              </a:lvl9pPr>
            </a:lstStyle>
            <a:p>
              <a:pPr algn="ctr"/>
              <a:endParaRPr lang="en-US"/>
            </a:p>
          </p:txBody>
        </p:sp>
        <p:sp>
          <p:nvSpPr>
            <p:cNvPr id="20" name="Rectangle 19"/>
            <p:cNvSpPr/>
            <p:nvPr userDrawn="1"/>
          </p:nvSpPr>
          <p:spPr>
            <a:xfrm>
              <a:off x="-599" y="1"/>
              <a:ext cx="10691814" cy="1080000"/>
            </a:xfrm>
            <a:prstGeom prst="rect">
              <a:avLst/>
            </a:prstGeom>
            <a:solidFill>
              <a:schemeClr val="accent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043056" rtl="0" eaLnBrk="1" latinLnBrk="0" hangingPunct="1">
                <a:defRPr sz="2100" kern="1200">
                  <a:solidFill>
                    <a:schemeClr val="lt1"/>
                  </a:solidFill>
                  <a:latin typeface="+mn-lt"/>
                  <a:ea typeface="+mn-ea"/>
                  <a:cs typeface="+mn-cs"/>
                </a:defRPr>
              </a:lvl1pPr>
              <a:lvl2pPr marL="521528" algn="l" defTabSz="1043056" rtl="0" eaLnBrk="1" latinLnBrk="0" hangingPunct="1">
                <a:defRPr sz="2100" kern="1200">
                  <a:solidFill>
                    <a:schemeClr val="lt1"/>
                  </a:solidFill>
                  <a:latin typeface="+mn-lt"/>
                  <a:ea typeface="+mn-ea"/>
                  <a:cs typeface="+mn-cs"/>
                </a:defRPr>
              </a:lvl2pPr>
              <a:lvl3pPr marL="1043056" algn="l" defTabSz="1043056" rtl="0" eaLnBrk="1" latinLnBrk="0" hangingPunct="1">
                <a:defRPr sz="2100" kern="1200">
                  <a:solidFill>
                    <a:schemeClr val="lt1"/>
                  </a:solidFill>
                  <a:latin typeface="+mn-lt"/>
                  <a:ea typeface="+mn-ea"/>
                  <a:cs typeface="+mn-cs"/>
                </a:defRPr>
              </a:lvl3pPr>
              <a:lvl4pPr marL="1564584" algn="l" defTabSz="1043056" rtl="0" eaLnBrk="1" latinLnBrk="0" hangingPunct="1">
                <a:defRPr sz="2100" kern="1200">
                  <a:solidFill>
                    <a:schemeClr val="lt1"/>
                  </a:solidFill>
                  <a:latin typeface="+mn-lt"/>
                  <a:ea typeface="+mn-ea"/>
                  <a:cs typeface="+mn-cs"/>
                </a:defRPr>
              </a:lvl4pPr>
              <a:lvl5pPr marL="2086112" algn="l" defTabSz="1043056" rtl="0" eaLnBrk="1" latinLnBrk="0" hangingPunct="1">
                <a:defRPr sz="2100" kern="1200">
                  <a:solidFill>
                    <a:schemeClr val="lt1"/>
                  </a:solidFill>
                  <a:latin typeface="+mn-lt"/>
                  <a:ea typeface="+mn-ea"/>
                  <a:cs typeface="+mn-cs"/>
                </a:defRPr>
              </a:lvl5pPr>
              <a:lvl6pPr marL="2607640" algn="l" defTabSz="1043056" rtl="0" eaLnBrk="1" latinLnBrk="0" hangingPunct="1">
                <a:defRPr sz="2100" kern="1200">
                  <a:solidFill>
                    <a:schemeClr val="lt1"/>
                  </a:solidFill>
                  <a:latin typeface="+mn-lt"/>
                  <a:ea typeface="+mn-ea"/>
                  <a:cs typeface="+mn-cs"/>
                </a:defRPr>
              </a:lvl6pPr>
              <a:lvl7pPr marL="3129168" algn="l" defTabSz="1043056" rtl="0" eaLnBrk="1" latinLnBrk="0" hangingPunct="1">
                <a:defRPr sz="2100" kern="1200">
                  <a:solidFill>
                    <a:schemeClr val="lt1"/>
                  </a:solidFill>
                  <a:latin typeface="+mn-lt"/>
                  <a:ea typeface="+mn-ea"/>
                  <a:cs typeface="+mn-cs"/>
                </a:defRPr>
              </a:lvl7pPr>
              <a:lvl8pPr marL="3650696" algn="l" defTabSz="1043056" rtl="0" eaLnBrk="1" latinLnBrk="0" hangingPunct="1">
                <a:defRPr sz="2100" kern="1200">
                  <a:solidFill>
                    <a:schemeClr val="lt1"/>
                  </a:solidFill>
                  <a:latin typeface="+mn-lt"/>
                  <a:ea typeface="+mn-ea"/>
                  <a:cs typeface="+mn-cs"/>
                </a:defRPr>
              </a:lvl8pPr>
              <a:lvl9pPr marL="4172224" algn="l" defTabSz="1043056" rtl="0" eaLnBrk="1" latinLnBrk="0" hangingPunct="1">
                <a:defRPr sz="2100" kern="1200">
                  <a:solidFill>
                    <a:schemeClr val="lt1"/>
                  </a:solidFill>
                  <a:latin typeface="+mn-lt"/>
                  <a:ea typeface="+mn-ea"/>
                  <a:cs typeface="+mn-cs"/>
                </a:defRPr>
              </a:lvl9pPr>
            </a:lstStyle>
            <a:p>
              <a:pPr algn="ctr"/>
              <a:endParaRPr lang="en-US"/>
            </a:p>
          </p:txBody>
        </p:sp>
      </p:grpSp>
      <p:sp>
        <p:nvSpPr>
          <p:cNvPr id="3" name="Text Placeholder 2"/>
          <p:cNvSpPr>
            <a:spLocks noGrp="1"/>
          </p:cNvSpPr>
          <p:nvPr userDrawn="1">
            <p:ph type="body" idx="1"/>
          </p:nvPr>
        </p:nvSpPr>
        <p:spPr>
          <a:xfrm>
            <a:off x="529070" y="1116013"/>
            <a:ext cx="9648000" cy="5760168"/>
          </a:xfrm>
          <a:prstGeom prst="rect">
            <a:avLst/>
          </a:prstGeom>
        </p:spPr>
        <p:txBody>
          <a:bodyPr vert="horz" wrap="square" lIns="0" tIns="0" rIns="0" bIns="0"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2" name="Title Placeholder 1"/>
          <p:cNvSpPr>
            <a:spLocks noGrp="1"/>
          </p:cNvSpPr>
          <p:nvPr userDrawn="1">
            <p:ph type="title"/>
          </p:nvPr>
        </p:nvSpPr>
        <p:spPr>
          <a:xfrm>
            <a:off x="529069" y="107950"/>
            <a:ext cx="7913255" cy="828050"/>
          </a:xfrm>
          <a:prstGeom prst="rect">
            <a:avLst/>
          </a:prstGeom>
        </p:spPr>
        <p:txBody>
          <a:bodyPr vert="horz" wrap="square" lIns="0" tIns="0" rIns="0" bIns="0" rtlCol="0" anchor="ctr">
            <a:noAutofit/>
          </a:bodyPr>
          <a:lstStyle/>
          <a:p>
            <a:r>
              <a:rPr lang="en-US" dirty="0" smtClean="0"/>
              <a:t>Click to edit Master title</a:t>
            </a:r>
            <a:endParaRPr lang="en-US" dirty="0"/>
          </a:p>
        </p:txBody>
      </p:sp>
      <p:sp>
        <p:nvSpPr>
          <p:cNvPr id="12" name="TextBox 11"/>
          <p:cNvSpPr txBox="1"/>
          <p:nvPr userDrawn="1"/>
        </p:nvSpPr>
        <p:spPr>
          <a:xfrm>
            <a:off x="9594378" y="7295467"/>
            <a:ext cx="576735" cy="153888"/>
          </a:xfrm>
          <a:prstGeom prst="rect">
            <a:avLst/>
          </a:prstGeom>
          <a:noFill/>
        </p:spPr>
        <p:txBody>
          <a:bodyPr wrap="square" lIns="0" tIns="0" rIns="0" bIns="0" rtlCol="0">
            <a:noAutofit/>
          </a:bodyPr>
          <a:lstStyle/>
          <a:p>
            <a:pPr marL="0" indent="0" algn="r">
              <a:buNone/>
            </a:pPr>
            <a:fld id="{7DB07565-8049-45E0-B254-8BF8A5C62D74}" type="slidenum">
              <a:rPr lang="en-GB" sz="1000" b="0" smtClean="0">
                <a:solidFill>
                  <a:schemeClr val="bg1"/>
                </a:solidFill>
              </a:rPr>
              <a:pPr marL="0" indent="0" algn="r">
                <a:buNone/>
              </a:pPr>
              <a:t>‹#›</a:t>
            </a:fld>
            <a:endParaRPr lang="en-GB" sz="1000" b="0" dirty="0">
              <a:solidFill>
                <a:schemeClr val="bg1"/>
              </a:solidFill>
            </a:endParaRPr>
          </a:p>
        </p:txBody>
      </p:sp>
      <p:sp>
        <p:nvSpPr>
          <p:cNvPr id="9" name="Date Placeholder 8"/>
          <p:cNvSpPr>
            <a:spLocks noGrp="1"/>
          </p:cNvSpPr>
          <p:nvPr userDrawn="1">
            <p:ph type="dt" sz="half" idx="2"/>
          </p:nvPr>
        </p:nvSpPr>
        <p:spPr>
          <a:xfrm>
            <a:off x="523868" y="7295468"/>
            <a:ext cx="4678370" cy="153888"/>
          </a:xfrm>
          <a:prstGeom prst="rect">
            <a:avLst/>
          </a:prstGeom>
          <a:noFill/>
        </p:spPr>
        <p:txBody>
          <a:bodyPr wrap="square" lIns="0" tIns="0" rIns="0" bIns="0" rtlCol="0">
            <a:noAutofit/>
          </a:bodyPr>
          <a:lstStyle>
            <a:lvl1pPr marL="0" indent="0">
              <a:buNone/>
              <a:defRPr lang="en-GB" sz="1000" b="0" smtClean="0">
                <a:solidFill>
                  <a:schemeClr val="bg1"/>
                </a:solidFill>
              </a:defRPr>
            </a:lvl1pPr>
          </a:lstStyle>
          <a:p>
            <a:fld id="{AEA5D08D-F057-4AE3-B845-30E2A1EDB97A}" type="datetime1">
              <a:rPr lang="en-US" smtClean="0"/>
              <a:t>8/4/2014</a:t>
            </a:fld>
            <a:endParaRPr lang="en-US" dirty="0"/>
          </a:p>
        </p:txBody>
      </p:sp>
      <p:pic>
        <p:nvPicPr>
          <p:cNvPr id="15" name="Picture 14"/>
          <p:cNvPicPr>
            <a:picLocks noChangeAspect="1"/>
          </p:cNvPicPr>
          <p:nvPr userDrawn="1"/>
        </p:nvPicPr>
        <p:blipFill>
          <a:blip r:embed="rId21"/>
          <a:stretch>
            <a:fillRect/>
          </a:stretch>
        </p:blipFill>
        <p:spPr>
          <a:xfrm>
            <a:off x="8589677" y="194037"/>
            <a:ext cx="1548000" cy="359770"/>
          </a:xfrm>
          <a:prstGeom prst="rect">
            <a:avLst/>
          </a:prstGeom>
        </p:spPr>
      </p:pic>
      <p:sp>
        <p:nvSpPr>
          <p:cNvPr id="6" name="TextBox 5"/>
          <p:cNvSpPr txBox="1"/>
          <p:nvPr userDrawn="1"/>
        </p:nvSpPr>
        <p:spPr>
          <a:xfrm>
            <a:off x="1487606" y="3043451"/>
            <a:ext cx="914400" cy="914400"/>
          </a:xfrm>
          <a:prstGeom prst="rect">
            <a:avLst/>
          </a:prstGeom>
          <a:noFill/>
        </p:spPr>
        <p:txBody>
          <a:bodyPr wrap="none" lIns="0" tIns="0" rIns="0" bIns="0" rtlCol="0">
            <a:noAutofit/>
          </a:bodyPr>
          <a:lstStyle/>
          <a:p>
            <a:pPr marL="0" indent="0">
              <a:buNone/>
            </a:pPr>
            <a:endParaRPr lang="en-US" dirty="0" err="1" smtClean="0"/>
          </a:p>
        </p:txBody>
      </p:sp>
    </p:spTree>
    <p:extLst>
      <p:ext uri="{BB962C8B-B14F-4D97-AF65-F5344CB8AC3E}">
        <p14:creationId xmlns:p14="http://schemas.microsoft.com/office/powerpoint/2010/main" val="4178714842"/>
      </p:ext>
    </p:extLst>
  </p:cSld>
  <p:clrMap bg1="lt1" tx1="dk1" bg2="lt2" tx2="dk2" accent1="accent1" accent2="accent2" accent3="accent3" accent4="accent4" accent5="accent5" accent6="accent6" hlink="hlink" folHlink="folHlink"/>
  <p:sldLayoutIdLst>
    <p:sldLayoutId id="2147483661" r:id="rId1"/>
    <p:sldLayoutId id="2147483663" r:id="rId2"/>
    <p:sldLayoutId id="2147483662" r:id="rId3"/>
    <p:sldLayoutId id="2147483670" r:id="rId4"/>
    <p:sldLayoutId id="2147483664" r:id="rId5"/>
    <p:sldLayoutId id="2147483667" r:id="rId6"/>
    <p:sldLayoutId id="2147483665" r:id="rId7"/>
    <p:sldLayoutId id="2147483674" r:id="rId8"/>
    <p:sldLayoutId id="2147483671" r:id="rId9"/>
    <p:sldLayoutId id="2147483672" r:id="rId10"/>
    <p:sldLayoutId id="2147483673" r:id="rId11"/>
    <p:sldLayoutId id="2147483668" r:id="rId12"/>
    <p:sldLayoutId id="2147483669" r:id="rId13"/>
    <p:sldLayoutId id="2147483677" r:id="rId14"/>
    <p:sldLayoutId id="2147483675" r:id="rId15"/>
    <p:sldLayoutId id="2147483678" r:id="rId16"/>
    <p:sldLayoutId id="2147483680" r:id="rId17"/>
  </p:sldLayoutIdLst>
  <p:timing>
    <p:tnLst>
      <p:par>
        <p:cTn id="1" dur="indefinite" restart="never" nodeType="tmRoot"/>
      </p:par>
    </p:tnLst>
  </p:timing>
  <p:hf sldNum="0" hdr="0" ftr="0"/>
  <p:txStyles>
    <p:titleStyle>
      <a:lvl1pPr algn="l" defTabSz="1007943" rtl="0" eaLnBrk="1" latinLnBrk="0" hangingPunct="1">
        <a:lnSpc>
          <a:spcPct val="90000"/>
        </a:lnSpc>
        <a:spcBef>
          <a:spcPct val="0"/>
        </a:spcBef>
        <a:buNone/>
        <a:defRPr sz="2400" b="1" kern="1200" cap="all" baseline="0">
          <a:solidFill>
            <a:schemeClr val="bg1"/>
          </a:solidFill>
          <a:latin typeface="+mj-lt"/>
          <a:ea typeface="+mj-ea"/>
          <a:cs typeface="+mj-cs"/>
        </a:defRPr>
      </a:lvl1pPr>
    </p:titleStyle>
    <p:bodyStyle>
      <a:lvl1pPr marL="360000" indent="-360000" algn="l" defTabSz="1007943" rtl="0" eaLnBrk="1" latinLnBrk="0" hangingPunct="1">
        <a:lnSpc>
          <a:spcPct val="100000"/>
        </a:lnSpc>
        <a:spcBef>
          <a:spcPts val="600"/>
        </a:spcBef>
        <a:buClr>
          <a:schemeClr val="accent1"/>
        </a:buClr>
        <a:buFont typeface="Arial" panose="020B0604020202020204" pitchFamily="34" charset="0"/>
        <a:buChar char="●"/>
        <a:defRPr sz="1800" kern="1200">
          <a:solidFill>
            <a:schemeClr val="tx1"/>
          </a:solidFill>
          <a:latin typeface="+mn-lt"/>
          <a:ea typeface="+mn-ea"/>
          <a:cs typeface="+mn-cs"/>
        </a:defRPr>
      </a:lvl1pPr>
      <a:lvl2pPr marL="720000" indent="-360000" algn="l" defTabSz="1007943"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n-lt"/>
          <a:ea typeface="+mn-ea"/>
          <a:cs typeface="+mn-cs"/>
        </a:defRPr>
      </a:lvl2pPr>
      <a:lvl3pPr marL="1079500" indent="-360000" algn="l" defTabSz="1007943" rtl="0" eaLnBrk="1" latinLnBrk="0" hangingPunct="1">
        <a:lnSpc>
          <a:spcPct val="100000"/>
        </a:lnSpc>
        <a:spcBef>
          <a:spcPts val="300"/>
        </a:spcBef>
        <a:buClr>
          <a:schemeClr val="accent1"/>
        </a:buClr>
        <a:buFont typeface="Arial" panose="020B0604020202020204" pitchFamily="34" charset="0"/>
        <a:buChar char="●"/>
        <a:defRPr sz="1400" kern="1200">
          <a:solidFill>
            <a:schemeClr val="tx1"/>
          </a:solidFill>
          <a:latin typeface="+mn-lt"/>
          <a:ea typeface="+mn-ea"/>
          <a:cs typeface="+mn-cs"/>
        </a:defRPr>
      </a:lvl3pPr>
      <a:lvl4pPr marL="1440000" indent="-360000" algn="l" defTabSz="1007943" rtl="0" eaLnBrk="1" latinLnBrk="0" hangingPunct="1">
        <a:lnSpc>
          <a:spcPct val="100000"/>
        </a:lnSpc>
        <a:spcBef>
          <a:spcPts val="30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800000" indent="-360000" algn="l" defTabSz="1007943" rtl="0" eaLnBrk="1" latinLnBrk="0" hangingPunct="1">
        <a:lnSpc>
          <a:spcPct val="100000"/>
        </a:lnSpc>
        <a:spcBef>
          <a:spcPts val="300"/>
        </a:spcBef>
        <a:buClr>
          <a:schemeClr val="accent1"/>
        </a:buClr>
        <a:buFont typeface="Arial" panose="020B0604020202020204" pitchFamily="34" charset="0"/>
        <a:buChar char="●"/>
        <a:defRPr sz="1200" kern="1200">
          <a:solidFill>
            <a:schemeClr val="tx1"/>
          </a:solidFill>
          <a:latin typeface="+mn-lt"/>
          <a:ea typeface="+mn-ea"/>
          <a:cs typeface="+mn-cs"/>
        </a:defRPr>
      </a:lvl5pPr>
      <a:lvl6pPr marL="2160000" indent="-360000" algn="l" defTabSz="1007943" rtl="0" eaLnBrk="1" latinLnBrk="0" hangingPunct="1">
        <a:lnSpc>
          <a:spcPct val="100000"/>
        </a:lnSpc>
        <a:spcBef>
          <a:spcPts val="300"/>
        </a:spcBef>
        <a:buClr>
          <a:schemeClr val="accent1"/>
        </a:buClr>
        <a:buFont typeface="Arial" panose="020B0604020202020204" pitchFamily="34" charset="0"/>
        <a:buChar char="˗"/>
        <a:defRPr sz="1200" kern="1200" baseline="0">
          <a:solidFill>
            <a:schemeClr val="tx1"/>
          </a:solidFill>
          <a:latin typeface="+mn-lt"/>
          <a:ea typeface="+mn-ea"/>
          <a:cs typeface="+mn-cs"/>
        </a:defRPr>
      </a:lvl6pPr>
      <a:lvl7pPr marL="2520000" indent="-360000" algn="l" defTabSz="1007943" rtl="0" eaLnBrk="1" latinLnBrk="0" hangingPunct="1">
        <a:lnSpc>
          <a:spcPct val="100000"/>
        </a:lnSpc>
        <a:spcBef>
          <a:spcPts val="300"/>
        </a:spcBef>
        <a:buClr>
          <a:schemeClr val="accent1"/>
        </a:buClr>
        <a:buFont typeface="Arial" panose="020B0604020202020204" pitchFamily="34" charset="0"/>
        <a:buChar char="●"/>
        <a:defRPr sz="1200" kern="1200" baseline="0">
          <a:solidFill>
            <a:schemeClr val="tx1"/>
          </a:solidFill>
          <a:latin typeface="+mn-lt"/>
          <a:ea typeface="+mn-ea"/>
          <a:cs typeface="+mn-cs"/>
        </a:defRPr>
      </a:lvl7pPr>
      <a:lvl8pPr marL="2880000" indent="-360000" algn="l" defTabSz="1007943" rtl="0" eaLnBrk="1" latinLnBrk="0" hangingPunct="1">
        <a:lnSpc>
          <a:spcPct val="100000"/>
        </a:lnSpc>
        <a:spcBef>
          <a:spcPts val="300"/>
        </a:spcBef>
        <a:buClr>
          <a:schemeClr val="accent1"/>
        </a:buClr>
        <a:buFont typeface="Arial" panose="020B0604020202020204" pitchFamily="34" charset="0"/>
        <a:buChar char="˗"/>
        <a:defRPr sz="1200" kern="1200" baseline="0">
          <a:solidFill>
            <a:schemeClr val="tx1"/>
          </a:solidFill>
          <a:latin typeface="+mn-lt"/>
          <a:ea typeface="+mn-ea"/>
          <a:cs typeface="+mn-cs"/>
        </a:defRPr>
      </a:lvl8pPr>
      <a:lvl9pPr marL="3240000" indent="-360000" algn="l" defTabSz="1007943" rtl="0" eaLnBrk="1" latinLnBrk="0" hangingPunct="1">
        <a:lnSpc>
          <a:spcPct val="90000"/>
        </a:lnSpc>
        <a:spcBef>
          <a:spcPts val="300"/>
        </a:spcBef>
        <a:buClr>
          <a:schemeClr val="accent1"/>
        </a:buClr>
        <a:buFont typeface="Arial" panose="020B0604020202020204" pitchFamily="34" charset="0"/>
        <a:buChar char="●"/>
        <a:defRPr sz="1200" kern="1200">
          <a:solidFill>
            <a:schemeClr val="tx1"/>
          </a:solidFill>
          <a:latin typeface="+mn-lt"/>
          <a:ea typeface="+mn-ea"/>
          <a:cs typeface="+mn-cs"/>
        </a:defRPr>
      </a:lvl9pPr>
    </p:bodyStyle>
    <p:otherStyle>
      <a:defPPr>
        <a:defRPr lang="en-US"/>
      </a:defPPr>
      <a:lvl1pPr marL="360000" indent="-360000" algn="l" defTabSz="1007943" rtl="0" eaLnBrk="1" latinLnBrk="0" hangingPunct="1">
        <a:lnSpc>
          <a:spcPct val="100000"/>
        </a:lnSpc>
        <a:spcBef>
          <a:spcPts val="0"/>
        </a:spcBef>
        <a:buFont typeface="Arial" panose="020B0604020202020204" pitchFamily="34" charset="0"/>
        <a:buNone/>
        <a:defRPr sz="1400" kern="1200">
          <a:solidFill>
            <a:schemeClr val="tx1"/>
          </a:solidFill>
          <a:latin typeface="+mn-lt"/>
          <a:ea typeface="+mn-ea"/>
          <a:cs typeface="+mn-cs"/>
        </a:defRPr>
      </a:lvl1pPr>
      <a:lvl2pPr marL="360000" indent="-360000" algn="l" defTabSz="1007943" rtl="0" eaLnBrk="1" latinLnBrk="0" hangingPunct="1">
        <a:lnSpc>
          <a:spcPct val="10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2pPr>
      <a:lvl3pPr marL="720000" indent="-360000" algn="l" defTabSz="1007943" rtl="0" eaLnBrk="1" latinLnBrk="0" hangingPunct="1">
        <a:lnSpc>
          <a:spcPct val="10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1079500" indent="-360000" algn="l" defTabSz="1007943" rtl="0" eaLnBrk="1" latinLnBrk="0" hangingPunct="1">
        <a:lnSpc>
          <a:spcPct val="10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4pPr>
      <a:lvl5pPr marL="1440000" indent="-360000" algn="l" defTabSz="1007943" rtl="0" eaLnBrk="1" latinLnBrk="0" hangingPunct="1">
        <a:lnSpc>
          <a:spcPct val="10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5pPr>
      <a:lvl6pPr marL="1800000" indent="-360000" algn="l" defTabSz="1007943" rtl="0" eaLnBrk="1" latinLnBrk="0" hangingPunct="1">
        <a:lnSpc>
          <a:spcPct val="10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6pPr>
      <a:lvl7pPr marL="2160000" indent="-360000" algn="l" defTabSz="1007943" rtl="0" eaLnBrk="1" latinLnBrk="0" hangingPunct="1">
        <a:lnSpc>
          <a:spcPct val="100000"/>
        </a:lnSpc>
        <a:spcBef>
          <a:spcPts val="0"/>
        </a:spcBef>
        <a:buClr>
          <a:schemeClr val="accent1"/>
        </a:buClr>
        <a:buFont typeface="Arial" panose="020B0604020202020204" pitchFamily="34" charset="0"/>
        <a:buChar char="˗"/>
        <a:defRPr sz="1400" kern="1200" baseline="0">
          <a:solidFill>
            <a:schemeClr val="tx1"/>
          </a:solidFill>
          <a:latin typeface="+mn-lt"/>
          <a:ea typeface="+mn-ea"/>
          <a:cs typeface="+mn-cs"/>
        </a:defRPr>
      </a:lvl7pPr>
      <a:lvl8pPr marL="2520000" indent="-360000" algn="l" defTabSz="1007943" rtl="0" eaLnBrk="1" latinLnBrk="0" hangingPunct="1">
        <a:lnSpc>
          <a:spcPct val="100000"/>
        </a:lnSpc>
        <a:spcBef>
          <a:spcPts val="0"/>
        </a:spcBef>
        <a:buClr>
          <a:schemeClr val="accent1"/>
        </a:buClr>
        <a:buFont typeface="Arial" panose="020B0604020202020204" pitchFamily="34" charset="0"/>
        <a:buChar char="●"/>
        <a:defRPr sz="1400" kern="1200" baseline="0">
          <a:solidFill>
            <a:schemeClr val="tx1"/>
          </a:solidFill>
          <a:latin typeface="+mn-lt"/>
          <a:ea typeface="+mn-ea"/>
          <a:cs typeface="+mn-cs"/>
        </a:defRPr>
      </a:lvl8pPr>
      <a:lvl9pPr marL="2880000" indent="-360000" algn="l" defTabSz="1007943" rtl="0" eaLnBrk="1" latinLnBrk="0" hangingPunct="1">
        <a:lnSpc>
          <a:spcPct val="100000"/>
        </a:lnSpc>
        <a:spcBef>
          <a:spcPts val="0"/>
        </a:spcBef>
        <a:buClr>
          <a:schemeClr val="accent1"/>
        </a:buClr>
        <a:buFont typeface="Arial" panose="020B0604020202020204" pitchFamily="34" charset="0"/>
        <a:buChar char="˗"/>
        <a:defRPr sz="1400" kern="1200" baseline="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68" userDrawn="1">
          <p15:clr>
            <a:srgbClr val="F26B43"/>
          </p15:clr>
        </p15:guide>
        <p15:guide id="2" pos="328" userDrawn="1">
          <p15:clr>
            <a:srgbClr val="F26B43"/>
          </p15:clr>
        </p15:guide>
        <p15:guide id="3" pos="6407" userDrawn="1">
          <p15:clr>
            <a:srgbClr val="F26B43"/>
          </p15:clr>
        </p15:guide>
        <p15:guide id="5" orient="horz" pos="4558" userDrawn="1">
          <p15:clr>
            <a:srgbClr val="F26B43"/>
          </p15:clr>
        </p15:guide>
        <p15:guide id="7" orient="horz" pos="703" userDrawn="1">
          <p15:clr>
            <a:srgbClr val="F26B43"/>
          </p15:clr>
        </p15:guide>
        <p15:guide id="11" orient="horz" pos="676" userDrawn="1">
          <p15:clr>
            <a:srgbClr val="F26B43"/>
          </p15:clr>
        </p15:guide>
        <p15:guide id="12" pos="3277" userDrawn="1">
          <p15:clr>
            <a:srgbClr val="F26B43"/>
          </p15:clr>
        </p15:guide>
        <p15:guide id="13" pos="3458" userDrawn="1">
          <p15:clr>
            <a:srgbClr val="F26B43"/>
          </p15:clr>
        </p15:guide>
        <p15:guide id="14" orient="horz" pos="2653" userDrawn="1">
          <p15:clr>
            <a:srgbClr val="F26B43"/>
          </p15:clr>
        </p15:guide>
        <p15:guide id="15" orient="horz" pos="1066" userDrawn="1">
          <p15:clr>
            <a:srgbClr val="F26B43"/>
          </p15:clr>
        </p15:guide>
        <p15:guide id="16" pos="5318" userDrawn="1">
          <p15:clr>
            <a:srgbClr val="F26B43"/>
          </p15:clr>
        </p15:guide>
        <p15:guide id="17" pos="5409" userDrawn="1">
          <p15:clr>
            <a:srgbClr val="F26B43"/>
          </p15:clr>
        </p15:guide>
        <p15:guide id="18" orient="horz" pos="4331" userDrawn="1">
          <p15:clr>
            <a:srgbClr val="F26B43"/>
          </p15:clr>
        </p15:guide>
        <p15:guide id="19" orient="horz" pos="4513" userDrawn="1">
          <p15:clr>
            <a:srgbClr val="F26B43"/>
          </p15:clr>
        </p15:guide>
        <p15:guide id="20" orient="horz" pos="3016"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3.png"/><Relationship Id="rId7" Type="http://schemas.microsoft.com/office/2007/relationships/hdphoto" Target="../media/hdphoto2.wdp"/><Relationship Id="rId2" Type="http://schemas.openxmlformats.org/officeDocument/2006/relationships/notesSlide" Target="../notesSlides/notesSlide5.xml"/><Relationship Id="rId1" Type="http://schemas.openxmlformats.org/officeDocument/2006/relationships/slideLayout" Target="../slideLayouts/slideLayout16.xml"/><Relationship Id="rId6" Type="http://schemas.openxmlformats.org/officeDocument/2006/relationships/image" Target="../media/image25.png"/><Relationship Id="rId5" Type="http://schemas.openxmlformats.org/officeDocument/2006/relationships/image" Target="../media/image24.png"/><Relationship Id="rId4" Type="http://schemas.microsoft.com/office/2007/relationships/hdphoto" Target="../media/hdphoto1.wdp"/></Relationships>
</file>

<file path=ppt/slides/_rels/slide11.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6.xml"/><Relationship Id="rId1" Type="http://schemas.openxmlformats.org/officeDocument/2006/relationships/slideLayout" Target="../slideLayouts/slideLayout5.xml"/><Relationship Id="rId4" Type="http://schemas.openxmlformats.org/officeDocument/2006/relationships/image" Target="../media/image28.png"/></Relationships>
</file>

<file path=ppt/slides/_rels/slide13.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7.xml"/><Relationship Id="rId1" Type="http://schemas.openxmlformats.org/officeDocument/2006/relationships/slideLayout" Target="../slideLayouts/slideLayout16.xml"/></Relationships>
</file>

<file path=ppt/slides/_rels/slide14.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8.xml"/><Relationship Id="rId1" Type="http://schemas.openxmlformats.org/officeDocument/2006/relationships/slideLayout" Target="../slideLayouts/slideLayout1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notesSlide" Target="../notesSlides/notesSlide10.xml"/><Relationship Id="rId1" Type="http://schemas.openxmlformats.org/officeDocument/2006/relationships/slideLayout" Target="../slideLayouts/slideLayout16.xml"/></Relationships>
</file>

<file path=ppt/slides/_rels/slide17.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1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1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3.xml"/><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17.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12.wmf"/><Relationship Id="rId2" Type="http://schemas.openxmlformats.org/officeDocument/2006/relationships/notesSlide" Target="../notesSlides/notesSlide3.xml"/><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117" Type="http://schemas.openxmlformats.org/officeDocument/2006/relationships/tags" Target="../tags/tag117.xml"/><Relationship Id="rId299" Type="http://schemas.openxmlformats.org/officeDocument/2006/relationships/tags" Target="../tags/tag299.xml"/><Relationship Id="rId303" Type="http://schemas.openxmlformats.org/officeDocument/2006/relationships/tags" Target="../tags/tag303.xml"/><Relationship Id="rId21" Type="http://schemas.openxmlformats.org/officeDocument/2006/relationships/tags" Target="../tags/tag21.xml"/><Relationship Id="rId42" Type="http://schemas.openxmlformats.org/officeDocument/2006/relationships/tags" Target="../tags/tag42.xml"/><Relationship Id="rId63" Type="http://schemas.openxmlformats.org/officeDocument/2006/relationships/tags" Target="../tags/tag63.xml"/><Relationship Id="rId84" Type="http://schemas.openxmlformats.org/officeDocument/2006/relationships/tags" Target="../tags/tag84.xml"/><Relationship Id="rId138" Type="http://schemas.openxmlformats.org/officeDocument/2006/relationships/tags" Target="../tags/tag138.xml"/><Relationship Id="rId159" Type="http://schemas.openxmlformats.org/officeDocument/2006/relationships/tags" Target="../tags/tag159.xml"/><Relationship Id="rId324" Type="http://schemas.openxmlformats.org/officeDocument/2006/relationships/tags" Target="../tags/tag324.xml"/><Relationship Id="rId345" Type="http://schemas.openxmlformats.org/officeDocument/2006/relationships/image" Target="../media/image15.emf"/><Relationship Id="rId170" Type="http://schemas.openxmlformats.org/officeDocument/2006/relationships/tags" Target="../tags/tag170.xml"/><Relationship Id="rId191" Type="http://schemas.openxmlformats.org/officeDocument/2006/relationships/tags" Target="../tags/tag191.xml"/><Relationship Id="rId205" Type="http://schemas.openxmlformats.org/officeDocument/2006/relationships/tags" Target="../tags/tag205.xml"/><Relationship Id="rId226" Type="http://schemas.openxmlformats.org/officeDocument/2006/relationships/tags" Target="../tags/tag226.xml"/><Relationship Id="rId247" Type="http://schemas.openxmlformats.org/officeDocument/2006/relationships/tags" Target="../tags/tag247.xml"/><Relationship Id="rId107" Type="http://schemas.openxmlformats.org/officeDocument/2006/relationships/tags" Target="../tags/tag107.xml"/><Relationship Id="rId268" Type="http://schemas.openxmlformats.org/officeDocument/2006/relationships/tags" Target="../tags/tag268.xml"/><Relationship Id="rId289" Type="http://schemas.openxmlformats.org/officeDocument/2006/relationships/tags" Target="../tags/tag289.xml"/><Relationship Id="rId11" Type="http://schemas.openxmlformats.org/officeDocument/2006/relationships/tags" Target="../tags/tag11.xml"/><Relationship Id="rId32" Type="http://schemas.openxmlformats.org/officeDocument/2006/relationships/tags" Target="../tags/tag32.xml"/><Relationship Id="rId53" Type="http://schemas.openxmlformats.org/officeDocument/2006/relationships/tags" Target="../tags/tag53.xml"/><Relationship Id="rId74" Type="http://schemas.openxmlformats.org/officeDocument/2006/relationships/tags" Target="../tags/tag74.xml"/><Relationship Id="rId128" Type="http://schemas.openxmlformats.org/officeDocument/2006/relationships/tags" Target="../tags/tag128.xml"/><Relationship Id="rId149" Type="http://schemas.openxmlformats.org/officeDocument/2006/relationships/tags" Target="../tags/tag149.xml"/><Relationship Id="rId314" Type="http://schemas.openxmlformats.org/officeDocument/2006/relationships/tags" Target="../tags/tag314.xml"/><Relationship Id="rId335" Type="http://schemas.openxmlformats.org/officeDocument/2006/relationships/tags" Target="../tags/tag335.xml"/><Relationship Id="rId5" Type="http://schemas.openxmlformats.org/officeDocument/2006/relationships/tags" Target="../tags/tag5.xml"/><Relationship Id="rId95" Type="http://schemas.openxmlformats.org/officeDocument/2006/relationships/tags" Target="../tags/tag95.xml"/><Relationship Id="rId160" Type="http://schemas.openxmlformats.org/officeDocument/2006/relationships/tags" Target="../tags/tag160.xml"/><Relationship Id="rId181" Type="http://schemas.openxmlformats.org/officeDocument/2006/relationships/tags" Target="../tags/tag181.xml"/><Relationship Id="rId216" Type="http://schemas.openxmlformats.org/officeDocument/2006/relationships/tags" Target="../tags/tag216.xml"/><Relationship Id="rId237" Type="http://schemas.openxmlformats.org/officeDocument/2006/relationships/tags" Target="../tags/tag237.xml"/><Relationship Id="rId258" Type="http://schemas.openxmlformats.org/officeDocument/2006/relationships/tags" Target="../tags/tag258.xml"/><Relationship Id="rId279" Type="http://schemas.openxmlformats.org/officeDocument/2006/relationships/tags" Target="../tags/tag279.xml"/><Relationship Id="rId22" Type="http://schemas.openxmlformats.org/officeDocument/2006/relationships/tags" Target="../tags/tag22.xml"/><Relationship Id="rId43" Type="http://schemas.openxmlformats.org/officeDocument/2006/relationships/tags" Target="../tags/tag43.xml"/><Relationship Id="rId64" Type="http://schemas.openxmlformats.org/officeDocument/2006/relationships/tags" Target="../tags/tag64.xml"/><Relationship Id="rId118" Type="http://schemas.openxmlformats.org/officeDocument/2006/relationships/tags" Target="../tags/tag118.xml"/><Relationship Id="rId139" Type="http://schemas.openxmlformats.org/officeDocument/2006/relationships/tags" Target="../tags/tag139.xml"/><Relationship Id="rId290" Type="http://schemas.openxmlformats.org/officeDocument/2006/relationships/tags" Target="../tags/tag290.xml"/><Relationship Id="rId304" Type="http://schemas.openxmlformats.org/officeDocument/2006/relationships/tags" Target="../tags/tag304.xml"/><Relationship Id="rId325" Type="http://schemas.openxmlformats.org/officeDocument/2006/relationships/tags" Target="../tags/tag325.xml"/><Relationship Id="rId346" Type="http://schemas.openxmlformats.org/officeDocument/2006/relationships/image" Target="../media/image16.emf"/><Relationship Id="rId85" Type="http://schemas.openxmlformats.org/officeDocument/2006/relationships/tags" Target="../tags/tag85.xml"/><Relationship Id="rId150" Type="http://schemas.openxmlformats.org/officeDocument/2006/relationships/tags" Target="../tags/tag150.xml"/><Relationship Id="rId171" Type="http://schemas.openxmlformats.org/officeDocument/2006/relationships/tags" Target="../tags/tag171.xml"/><Relationship Id="rId192" Type="http://schemas.openxmlformats.org/officeDocument/2006/relationships/tags" Target="../tags/tag192.xml"/><Relationship Id="rId206" Type="http://schemas.openxmlformats.org/officeDocument/2006/relationships/tags" Target="../tags/tag206.xml"/><Relationship Id="rId227" Type="http://schemas.openxmlformats.org/officeDocument/2006/relationships/tags" Target="../tags/tag227.xml"/><Relationship Id="rId248" Type="http://schemas.openxmlformats.org/officeDocument/2006/relationships/tags" Target="../tags/tag248.xml"/><Relationship Id="rId269" Type="http://schemas.openxmlformats.org/officeDocument/2006/relationships/tags" Target="../tags/tag269.xml"/><Relationship Id="rId12" Type="http://schemas.openxmlformats.org/officeDocument/2006/relationships/tags" Target="../tags/tag12.xml"/><Relationship Id="rId33" Type="http://schemas.openxmlformats.org/officeDocument/2006/relationships/tags" Target="../tags/tag33.xml"/><Relationship Id="rId108" Type="http://schemas.openxmlformats.org/officeDocument/2006/relationships/tags" Target="../tags/tag108.xml"/><Relationship Id="rId129" Type="http://schemas.openxmlformats.org/officeDocument/2006/relationships/tags" Target="../tags/tag129.xml"/><Relationship Id="rId280" Type="http://schemas.openxmlformats.org/officeDocument/2006/relationships/tags" Target="../tags/tag280.xml"/><Relationship Id="rId315" Type="http://schemas.openxmlformats.org/officeDocument/2006/relationships/tags" Target="../tags/tag315.xml"/><Relationship Id="rId336" Type="http://schemas.openxmlformats.org/officeDocument/2006/relationships/tags" Target="../tags/tag336.xml"/><Relationship Id="rId54" Type="http://schemas.openxmlformats.org/officeDocument/2006/relationships/tags" Target="../tags/tag54.xml"/><Relationship Id="rId75" Type="http://schemas.openxmlformats.org/officeDocument/2006/relationships/tags" Target="../tags/tag75.xml"/><Relationship Id="rId96" Type="http://schemas.openxmlformats.org/officeDocument/2006/relationships/tags" Target="../tags/tag96.xml"/><Relationship Id="rId140" Type="http://schemas.openxmlformats.org/officeDocument/2006/relationships/tags" Target="../tags/tag140.xml"/><Relationship Id="rId161" Type="http://schemas.openxmlformats.org/officeDocument/2006/relationships/tags" Target="../tags/tag161.xml"/><Relationship Id="rId182" Type="http://schemas.openxmlformats.org/officeDocument/2006/relationships/tags" Target="../tags/tag182.xml"/><Relationship Id="rId217" Type="http://schemas.openxmlformats.org/officeDocument/2006/relationships/tags" Target="../tags/tag217.xml"/><Relationship Id="rId6" Type="http://schemas.openxmlformats.org/officeDocument/2006/relationships/tags" Target="../tags/tag6.xml"/><Relationship Id="rId238" Type="http://schemas.openxmlformats.org/officeDocument/2006/relationships/tags" Target="../tags/tag238.xml"/><Relationship Id="rId259" Type="http://schemas.openxmlformats.org/officeDocument/2006/relationships/tags" Target="../tags/tag259.xml"/><Relationship Id="rId23" Type="http://schemas.openxmlformats.org/officeDocument/2006/relationships/tags" Target="../tags/tag23.xml"/><Relationship Id="rId119" Type="http://schemas.openxmlformats.org/officeDocument/2006/relationships/tags" Target="../tags/tag119.xml"/><Relationship Id="rId270" Type="http://schemas.openxmlformats.org/officeDocument/2006/relationships/tags" Target="../tags/tag270.xml"/><Relationship Id="rId291" Type="http://schemas.openxmlformats.org/officeDocument/2006/relationships/tags" Target="../tags/tag291.xml"/><Relationship Id="rId305" Type="http://schemas.openxmlformats.org/officeDocument/2006/relationships/tags" Target="../tags/tag305.xml"/><Relationship Id="rId326" Type="http://schemas.openxmlformats.org/officeDocument/2006/relationships/tags" Target="../tags/tag326.xml"/><Relationship Id="rId347" Type="http://schemas.openxmlformats.org/officeDocument/2006/relationships/image" Target="../media/image17.emf"/><Relationship Id="rId44" Type="http://schemas.openxmlformats.org/officeDocument/2006/relationships/tags" Target="../tags/tag44.xml"/><Relationship Id="rId65" Type="http://schemas.openxmlformats.org/officeDocument/2006/relationships/tags" Target="../tags/tag65.xml"/><Relationship Id="rId86" Type="http://schemas.openxmlformats.org/officeDocument/2006/relationships/tags" Target="../tags/tag86.xml"/><Relationship Id="rId130" Type="http://schemas.openxmlformats.org/officeDocument/2006/relationships/tags" Target="../tags/tag130.xml"/><Relationship Id="rId151" Type="http://schemas.openxmlformats.org/officeDocument/2006/relationships/tags" Target="../tags/tag151.xml"/><Relationship Id="rId172" Type="http://schemas.openxmlformats.org/officeDocument/2006/relationships/tags" Target="../tags/tag172.xml"/><Relationship Id="rId193" Type="http://schemas.openxmlformats.org/officeDocument/2006/relationships/tags" Target="../tags/tag193.xml"/><Relationship Id="rId207" Type="http://schemas.openxmlformats.org/officeDocument/2006/relationships/tags" Target="../tags/tag207.xml"/><Relationship Id="rId228" Type="http://schemas.openxmlformats.org/officeDocument/2006/relationships/tags" Target="../tags/tag228.xml"/><Relationship Id="rId249" Type="http://schemas.openxmlformats.org/officeDocument/2006/relationships/tags" Target="../tags/tag249.xml"/><Relationship Id="rId13" Type="http://schemas.openxmlformats.org/officeDocument/2006/relationships/tags" Target="../tags/tag13.xml"/><Relationship Id="rId109" Type="http://schemas.openxmlformats.org/officeDocument/2006/relationships/tags" Target="../tags/tag109.xml"/><Relationship Id="rId260" Type="http://schemas.openxmlformats.org/officeDocument/2006/relationships/tags" Target="../tags/tag260.xml"/><Relationship Id="rId281" Type="http://schemas.openxmlformats.org/officeDocument/2006/relationships/tags" Target="../tags/tag281.xml"/><Relationship Id="rId316" Type="http://schemas.openxmlformats.org/officeDocument/2006/relationships/tags" Target="../tags/tag316.xml"/><Relationship Id="rId337" Type="http://schemas.openxmlformats.org/officeDocument/2006/relationships/tags" Target="../tags/tag337.xml"/><Relationship Id="rId34" Type="http://schemas.openxmlformats.org/officeDocument/2006/relationships/tags" Target="../tags/tag34.xml"/><Relationship Id="rId55" Type="http://schemas.openxmlformats.org/officeDocument/2006/relationships/tags" Target="../tags/tag55.xml"/><Relationship Id="rId76" Type="http://schemas.openxmlformats.org/officeDocument/2006/relationships/tags" Target="../tags/tag76.xml"/><Relationship Id="rId97" Type="http://schemas.openxmlformats.org/officeDocument/2006/relationships/tags" Target="../tags/tag97.xml"/><Relationship Id="rId120" Type="http://schemas.openxmlformats.org/officeDocument/2006/relationships/tags" Target="../tags/tag120.xml"/><Relationship Id="rId141" Type="http://schemas.openxmlformats.org/officeDocument/2006/relationships/tags" Target="../tags/tag141.xml"/><Relationship Id="rId7" Type="http://schemas.openxmlformats.org/officeDocument/2006/relationships/tags" Target="../tags/tag7.xml"/><Relationship Id="rId162" Type="http://schemas.openxmlformats.org/officeDocument/2006/relationships/tags" Target="../tags/tag162.xml"/><Relationship Id="rId183" Type="http://schemas.openxmlformats.org/officeDocument/2006/relationships/tags" Target="../tags/tag183.xml"/><Relationship Id="rId218" Type="http://schemas.openxmlformats.org/officeDocument/2006/relationships/tags" Target="../tags/tag218.xml"/><Relationship Id="rId239" Type="http://schemas.openxmlformats.org/officeDocument/2006/relationships/tags" Target="../tags/tag239.xml"/><Relationship Id="rId250" Type="http://schemas.openxmlformats.org/officeDocument/2006/relationships/tags" Target="../tags/tag250.xml"/><Relationship Id="rId271" Type="http://schemas.openxmlformats.org/officeDocument/2006/relationships/tags" Target="../tags/tag271.xml"/><Relationship Id="rId292" Type="http://schemas.openxmlformats.org/officeDocument/2006/relationships/tags" Target="../tags/tag292.xml"/><Relationship Id="rId306" Type="http://schemas.openxmlformats.org/officeDocument/2006/relationships/tags" Target="../tags/tag306.xml"/><Relationship Id="rId24" Type="http://schemas.openxmlformats.org/officeDocument/2006/relationships/tags" Target="../tags/tag24.xml"/><Relationship Id="rId45" Type="http://schemas.openxmlformats.org/officeDocument/2006/relationships/tags" Target="../tags/tag45.xml"/><Relationship Id="rId66" Type="http://schemas.openxmlformats.org/officeDocument/2006/relationships/tags" Target="../tags/tag66.xml"/><Relationship Id="rId87" Type="http://schemas.openxmlformats.org/officeDocument/2006/relationships/tags" Target="../tags/tag87.xml"/><Relationship Id="rId110" Type="http://schemas.openxmlformats.org/officeDocument/2006/relationships/tags" Target="../tags/tag110.xml"/><Relationship Id="rId131" Type="http://schemas.openxmlformats.org/officeDocument/2006/relationships/tags" Target="../tags/tag131.xml"/><Relationship Id="rId327" Type="http://schemas.openxmlformats.org/officeDocument/2006/relationships/tags" Target="../tags/tag327.xml"/><Relationship Id="rId152" Type="http://schemas.openxmlformats.org/officeDocument/2006/relationships/tags" Target="../tags/tag152.xml"/><Relationship Id="rId173" Type="http://schemas.openxmlformats.org/officeDocument/2006/relationships/tags" Target="../tags/tag173.xml"/><Relationship Id="rId194" Type="http://schemas.openxmlformats.org/officeDocument/2006/relationships/tags" Target="../tags/tag194.xml"/><Relationship Id="rId208" Type="http://schemas.openxmlformats.org/officeDocument/2006/relationships/tags" Target="../tags/tag208.xml"/><Relationship Id="rId229" Type="http://schemas.openxmlformats.org/officeDocument/2006/relationships/tags" Target="../tags/tag229.xml"/><Relationship Id="rId240" Type="http://schemas.openxmlformats.org/officeDocument/2006/relationships/tags" Target="../tags/tag240.xml"/><Relationship Id="rId261" Type="http://schemas.openxmlformats.org/officeDocument/2006/relationships/tags" Target="../tags/tag261.xml"/><Relationship Id="rId14" Type="http://schemas.openxmlformats.org/officeDocument/2006/relationships/tags" Target="../tags/tag14.xml"/><Relationship Id="rId35" Type="http://schemas.openxmlformats.org/officeDocument/2006/relationships/tags" Target="../tags/tag35.xml"/><Relationship Id="rId56" Type="http://schemas.openxmlformats.org/officeDocument/2006/relationships/tags" Target="../tags/tag56.xml"/><Relationship Id="rId77" Type="http://schemas.openxmlformats.org/officeDocument/2006/relationships/tags" Target="../tags/tag77.xml"/><Relationship Id="rId100" Type="http://schemas.openxmlformats.org/officeDocument/2006/relationships/tags" Target="../tags/tag100.xml"/><Relationship Id="rId282" Type="http://schemas.openxmlformats.org/officeDocument/2006/relationships/tags" Target="../tags/tag282.xml"/><Relationship Id="rId317" Type="http://schemas.openxmlformats.org/officeDocument/2006/relationships/tags" Target="../tags/tag317.xml"/><Relationship Id="rId338" Type="http://schemas.openxmlformats.org/officeDocument/2006/relationships/tags" Target="../tags/tag338.xml"/><Relationship Id="rId8" Type="http://schemas.openxmlformats.org/officeDocument/2006/relationships/tags" Target="../tags/tag8.xml"/><Relationship Id="rId98" Type="http://schemas.openxmlformats.org/officeDocument/2006/relationships/tags" Target="../tags/tag98.xml"/><Relationship Id="rId121" Type="http://schemas.openxmlformats.org/officeDocument/2006/relationships/tags" Target="../tags/tag121.xml"/><Relationship Id="rId142" Type="http://schemas.openxmlformats.org/officeDocument/2006/relationships/tags" Target="../tags/tag142.xml"/><Relationship Id="rId163" Type="http://schemas.openxmlformats.org/officeDocument/2006/relationships/tags" Target="../tags/tag163.xml"/><Relationship Id="rId184" Type="http://schemas.openxmlformats.org/officeDocument/2006/relationships/tags" Target="../tags/tag184.xml"/><Relationship Id="rId219" Type="http://schemas.openxmlformats.org/officeDocument/2006/relationships/tags" Target="../tags/tag219.xml"/><Relationship Id="rId230" Type="http://schemas.openxmlformats.org/officeDocument/2006/relationships/tags" Target="../tags/tag230.xml"/><Relationship Id="rId251" Type="http://schemas.openxmlformats.org/officeDocument/2006/relationships/tags" Target="../tags/tag251.xml"/><Relationship Id="rId25" Type="http://schemas.openxmlformats.org/officeDocument/2006/relationships/tags" Target="../tags/tag25.xml"/><Relationship Id="rId46" Type="http://schemas.openxmlformats.org/officeDocument/2006/relationships/tags" Target="../tags/tag46.xml"/><Relationship Id="rId67" Type="http://schemas.openxmlformats.org/officeDocument/2006/relationships/tags" Target="../tags/tag67.xml"/><Relationship Id="rId116" Type="http://schemas.openxmlformats.org/officeDocument/2006/relationships/tags" Target="../tags/tag116.xml"/><Relationship Id="rId137" Type="http://schemas.openxmlformats.org/officeDocument/2006/relationships/tags" Target="../tags/tag137.xml"/><Relationship Id="rId158" Type="http://schemas.openxmlformats.org/officeDocument/2006/relationships/tags" Target="../tags/tag158.xml"/><Relationship Id="rId272" Type="http://schemas.openxmlformats.org/officeDocument/2006/relationships/tags" Target="../tags/tag272.xml"/><Relationship Id="rId293" Type="http://schemas.openxmlformats.org/officeDocument/2006/relationships/tags" Target="../tags/tag293.xml"/><Relationship Id="rId302" Type="http://schemas.openxmlformats.org/officeDocument/2006/relationships/tags" Target="../tags/tag302.xml"/><Relationship Id="rId307" Type="http://schemas.openxmlformats.org/officeDocument/2006/relationships/tags" Target="../tags/tag307.xml"/><Relationship Id="rId323" Type="http://schemas.openxmlformats.org/officeDocument/2006/relationships/tags" Target="../tags/tag323.xml"/><Relationship Id="rId328" Type="http://schemas.openxmlformats.org/officeDocument/2006/relationships/tags" Target="../tags/tag328.xml"/><Relationship Id="rId344" Type="http://schemas.openxmlformats.org/officeDocument/2006/relationships/image" Target="../media/image14.emf"/><Relationship Id="rId20" Type="http://schemas.openxmlformats.org/officeDocument/2006/relationships/tags" Target="../tags/tag20.xml"/><Relationship Id="rId41" Type="http://schemas.openxmlformats.org/officeDocument/2006/relationships/tags" Target="../tags/tag41.xml"/><Relationship Id="rId62" Type="http://schemas.openxmlformats.org/officeDocument/2006/relationships/tags" Target="../tags/tag62.xml"/><Relationship Id="rId83" Type="http://schemas.openxmlformats.org/officeDocument/2006/relationships/tags" Target="../tags/tag83.xml"/><Relationship Id="rId88" Type="http://schemas.openxmlformats.org/officeDocument/2006/relationships/tags" Target="../tags/tag88.xml"/><Relationship Id="rId111" Type="http://schemas.openxmlformats.org/officeDocument/2006/relationships/tags" Target="../tags/tag111.xml"/><Relationship Id="rId132" Type="http://schemas.openxmlformats.org/officeDocument/2006/relationships/tags" Target="../tags/tag132.xml"/><Relationship Id="rId153" Type="http://schemas.openxmlformats.org/officeDocument/2006/relationships/tags" Target="../tags/tag153.xml"/><Relationship Id="rId174" Type="http://schemas.openxmlformats.org/officeDocument/2006/relationships/tags" Target="../tags/tag174.xml"/><Relationship Id="rId179" Type="http://schemas.openxmlformats.org/officeDocument/2006/relationships/tags" Target="../tags/tag179.xml"/><Relationship Id="rId195" Type="http://schemas.openxmlformats.org/officeDocument/2006/relationships/tags" Target="../tags/tag195.xml"/><Relationship Id="rId209" Type="http://schemas.openxmlformats.org/officeDocument/2006/relationships/tags" Target="../tags/tag209.xml"/><Relationship Id="rId190" Type="http://schemas.openxmlformats.org/officeDocument/2006/relationships/tags" Target="../tags/tag190.xml"/><Relationship Id="rId204" Type="http://schemas.openxmlformats.org/officeDocument/2006/relationships/tags" Target="../tags/tag204.xml"/><Relationship Id="rId220" Type="http://schemas.openxmlformats.org/officeDocument/2006/relationships/tags" Target="../tags/tag220.xml"/><Relationship Id="rId225" Type="http://schemas.openxmlformats.org/officeDocument/2006/relationships/tags" Target="../tags/tag225.xml"/><Relationship Id="rId241" Type="http://schemas.openxmlformats.org/officeDocument/2006/relationships/tags" Target="../tags/tag241.xml"/><Relationship Id="rId246" Type="http://schemas.openxmlformats.org/officeDocument/2006/relationships/tags" Target="../tags/tag246.xml"/><Relationship Id="rId267" Type="http://schemas.openxmlformats.org/officeDocument/2006/relationships/tags" Target="../tags/tag267.xml"/><Relationship Id="rId288" Type="http://schemas.openxmlformats.org/officeDocument/2006/relationships/tags" Target="../tags/tag288.xml"/><Relationship Id="rId15" Type="http://schemas.openxmlformats.org/officeDocument/2006/relationships/tags" Target="../tags/tag15.xml"/><Relationship Id="rId36" Type="http://schemas.openxmlformats.org/officeDocument/2006/relationships/tags" Target="../tags/tag36.xml"/><Relationship Id="rId57" Type="http://schemas.openxmlformats.org/officeDocument/2006/relationships/tags" Target="../tags/tag57.xml"/><Relationship Id="rId106" Type="http://schemas.openxmlformats.org/officeDocument/2006/relationships/tags" Target="../tags/tag106.xml"/><Relationship Id="rId127" Type="http://schemas.openxmlformats.org/officeDocument/2006/relationships/tags" Target="../tags/tag127.xml"/><Relationship Id="rId262" Type="http://schemas.openxmlformats.org/officeDocument/2006/relationships/tags" Target="../tags/tag262.xml"/><Relationship Id="rId283" Type="http://schemas.openxmlformats.org/officeDocument/2006/relationships/tags" Target="../tags/tag283.xml"/><Relationship Id="rId313" Type="http://schemas.openxmlformats.org/officeDocument/2006/relationships/tags" Target="../tags/tag313.xml"/><Relationship Id="rId318" Type="http://schemas.openxmlformats.org/officeDocument/2006/relationships/tags" Target="../tags/tag318.xml"/><Relationship Id="rId339" Type="http://schemas.openxmlformats.org/officeDocument/2006/relationships/tags" Target="../tags/tag339.xml"/><Relationship Id="rId10" Type="http://schemas.openxmlformats.org/officeDocument/2006/relationships/tags" Target="../tags/tag10.xml"/><Relationship Id="rId31" Type="http://schemas.openxmlformats.org/officeDocument/2006/relationships/tags" Target="../tags/tag31.xml"/><Relationship Id="rId52" Type="http://schemas.openxmlformats.org/officeDocument/2006/relationships/tags" Target="../tags/tag52.xml"/><Relationship Id="rId73" Type="http://schemas.openxmlformats.org/officeDocument/2006/relationships/tags" Target="../tags/tag73.xml"/><Relationship Id="rId78" Type="http://schemas.openxmlformats.org/officeDocument/2006/relationships/tags" Target="../tags/tag78.xml"/><Relationship Id="rId94" Type="http://schemas.openxmlformats.org/officeDocument/2006/relationships/tags" Target="../tags/tag94.xml"/><Relationship Id="rId99" Type="http://schemas.openxmlformats.org/officeDocument/2006/relationships/tags" Target="../tags/tag99.xml"/><Relationship Id="rId101" Type="http://schemas.openxmlformats.org/officeDocument/2006/relationships/tags" Target="../tags/tag101.xml"/><Relationship Id="rId122" Type="http://schemas.openxmlformats.org/officeDocument/2006/relationships/tags" Target="../tags/tag122.xml"/><Relationship Id="rId143" Type="http://schemas.openxmlformats.org/officeDocument/2006/relationships/tags" Target="../tags/tag143.xml"/><Relationship Id="rId148" Type="http://schemas.openxmlformats.org/officeDocument/2006/relationships/tags" Target="../tags/tag148.xml"/><Relationship Id="rId164" Type="http://schemas.openxmlformats.org/officeDocument/2006/relationships/tags" Target="../tags/tag164.xml"/><Relationship Id="rId169" Type="http://schemas.openxmlformats.org/officeDocument/2006/relationships/tags" Target="../tags/tag169.xml"/><Relationship Id="rId185" Type="http://schemas.openxmlformats.org/officeDocument/2006/relationships/tags" Target="../tags/tag185.xml"/><Relationship Id="rId334" Type="http://schemas.openxmlformats.org/officeDocument/2006/relationships/tags" Target="../tags/tag334.xml"/><Relationship Id="rId4" Type="http://schemas.openxmlformats.org/officeDocument/2006/relationships/tags" Target="../tags/tag4.xml"/><Relationship Id="rId9" Type="http://schemas.openxmlformats.org/officeDocument/2006/relationships/tags" Target="../tags/tag9.xml"/><Relationship Id="rId180" Type="http://schemas.openxmlformats.org/officeDocument/2006/relationships/tags" Target="../tags/tag180.xml"/><Relationship Id="rId210" Type="http://schemas.openxmlformats.org/officeDocument/2006/relationships/tags" Target="../tags/tag210.xml"/><Relationship Id="rId215" Type="http://schemas.openxmlformats.org/officeDocument/2006/relationships/tags" Target="../tags/tag215.xml"/><Relationship Id="rId236" Type="http://schemas.openxmlformats.org/officeDocument/2006/relationships/tags" Target="../tags/tag236.xml"/><Relationship Id="rId257" Type="http://schemas.openxmlformats.org/officeDocument/2006/relationships/tags" Target="../tags/tag257.xml"/><Relationship Id="rId278" Type="http://schemas.openxmlformats.org/officeDocument/2006/relationships/tags" Target="../tags/tag278.xml"/><Relationship Id="rId26" Type="http://schemas.openxmlformats.org/officeDocument/2006/relationships/tags" Target="../tags/tag26.xml"/><Relationship Id="rId231" Type="http://schemas.openxmlformats.org/officeDocument/2006/relationships/tags" Target="../tags/tag231.xml"/><Relationship Id="rId252" Type="http://schemas.openxmlformats.org/officeDocument/2006/relationships/tags" Target="../tags/tag252.xml"/><Relationship Id="rId273" Type="http://schemas.openxmlformats.org/officeDocument/2006/relationships/tags" Target="../tags/tag273.xml"/><Relationship Id="rId294" Type="http://schemas.openxmlformats.org/officeDocument/2006/relationships/tags" Target="../tags/tag294.xml"/><Relationship Id="rId308" Type="http://schemas.openxmlformats.org/officeDocument/2006/relationships/tags" Target="../tags/tag308.xml"/><Relationship Id="rId329" Type="http://schemas.openxmlformats.org/officeDocument/2006/relationships/tags" Target="../tags/tag329.xml"/><Relationship Id="rId47" Type="http://schemas.openxmlformats.org/officeDocument/2006/relationships/tags" Target="../tags/tag47.xml"/><Relationship Id="rId68" Type="http://schemas.openxmlformats.org/officeDocument/2006/relationships/tags" Target="../tags/tag68.xml"/><Relationship Id="rId89" Type="http://schemas.openxmlformats.org/officeDocument/2006/relationships/tags" Target="../tags/tag89.xml"/><Relationship Id="rId112" Type="http://schemas.openxmlformats.org/officeDocument/2006/relationships/tags" Target="../tags/tag112.xml"/><Relationship Id="rId133" Type="http://schemas.openxmlformats.org/officeDocument/2006/relationships/tags" Target="../tags/tag133.xml"/><Relationship Id="rId154" Type="http://schemas.openxmlformats.org/officeDocument/2006/relationships/tags" Target="../tags/tag154.xml"/><Relationship Id="rId175" Type="http://schemas.openxmlformats.org/officeDocument/2006/relationships/tags" Target="../tags/tag175.xml"/><Relationship Id="rId340" Type="http://schemas.openxmlformats.org/officeDocument/2006/relationships/tags" Target="../tags/tag340.xml"/><Relationship Id="rId196" Type="http://schemas.openxmlformats.org/officeDocument/2006/relationships/tags" Target="../tags/tag196.xml"/><Relationship Id="rId200" Type="http://schemas.openxmlformats.org/officeDocument/2006/relationships/tags" Target="../tags/tag200.xml"/><Relationship Id="rId16" Type="http://schemas.openxmlformats.org/officeDocument/2006/relationships/tags" Target="../tags/tag16.xml"/><Relationship Id="rId221" Type="http://schemas.openxmlformats.org/officeDocument/2006/relationships/tags" Target="../tags/tag221.xml"/><Relationship Id="rId242" Type="http://schemas.openxmlformats.org/officeDocument/2006/relationships/tags" Target="../tags/tag242.xml"/><Relationship Id="rId263" Type="http://schemas.openxmlformats.org/officeDocument/2006/relationships/tags" Target="../tags/tag263.xml"/><Relationship Id="rId284" Type="http://schemas.openxmlformats.org/officeDocument/2006/relationships/tags" Target="../tags/tag284.xml"/><Relationship Id="rId319" Type="http://schemas.openxmlformats.org/officeDocument/2006/relationships/tags" Target="../tags/tag319.xml"/><Relationship Id="rId37" Type="http://schemas.openxmlformats.org/officeDocument/2006/relationships/tags" Target="../tags/tag37.xml"/><Relationship Id="rId58" Type="http://schemas.openxmlformats.org/officeDocument/2006/relationships/tags" Target="../tags/tag58.xml"/><Relationship Id="rId79" Type="http://schemas.openxmlformats.org/officeDocument/2006/relationships/tags" Target="../tags/tag79.xml"/><Relationship Id="rId102" Type="http://schemas.openxmlformats.org/officeDocument/2006/relationships/tags" Target="../tags/tag102.xml"/><Relationship Id="rId123" Type="http://schemas.openxmlformats.org/officeDocument/2006/relationships/tags" Target="../tags/tag123.xml"/><Relationship Id="rId144" Type="http://schemas.openxmlformats.org/officeDocument/2006/relationships/tags" Target="../tags/tag144.xml"/><Relationship Id="rId330" Type="http://schemas.openxmlformats.org/officeDocument/2006/relationships/tags" Target="../tags/tag330.xml"/><Relationship Id="rId90" Type="http://schemas.openxmlformats.org/officeDocument/2006/relationships/tags" Target="../tags/tag90.xml"/><Relationship Id="rId165" Type="http://schemas.openxmlformats.org/officeDocument/2006/relationships/tags" Target="../tags/tag165.xml"/><Relationship Id="rId186" Type="http://schemas.openxmlformats.org/officeDocument/2006/relationships/tags" Target="../tags/tag186.xml"/><Relationship Id="rId211" Type="http://schemas.openxmlformats.org/officeDocument/2006/relationships/tags" Target="../tags/tag211.xml"/><Relationship Id="rId232" Type="http://schemas.openxmlformats.org/officeDocument/2006/relationships/tags" Target="../tags/tag232.xml"/><Relationship Id="rId253" Type="http://schemas.openxmlformats.org/officeDocument/2006/relationships/tags" Target="../tags/tag253.xml"/><Relationship Id="rId274" Type="http://schemas.openxmlformats.org/officeDocument/2006/relationships/tags" Target="../tags/tag274.xml"/><Relationship Id="rId295" Type="http://schemas.openxmlformats.org/officeDocument/2006/relationships/tags" Target="../tags/tag295.xml"/><Relationship Id="rId309" Type="http://schemas.openxmlformats.org/officeDocument/2006/relationships/tags" Target="../tags/tag309.xml"/><Relationship Id="rId27" Type="http://schemas.openxmlformats.org/officeDocument/2006/relationships/tags" Target="../tags/tag27.xml"/><Relationship Id="rId48" Type="http://schemas.openxmlformats.org/officeDocument/2006/relationships/tags" Target="../tags/tag48.xml"/><Relationship Id="rId69" Type="http://schemas.openxmlformats.org/officeDocument/2006/relationships/tags" Target="../tags/tag69.xml"/><Relationship Id="rId113" Type="http://schemas.openxmlformats.org/officeDocument/2006/relationships/tags" Target="../tags/tag113.xml"/><Relationship Id="rId134" Type="http://schemas.openxmlformats.org/officeDocument/2006/relationships/tags" Target="../tags/tag134.xml"/><Relationship Id="rId320" Type="http://schemas.openxmlformats.org/officeDocument/2006/relationships/tags" Target="../tags/tag320.xml"/><Relationship Id="rId80" Type="http://schemas.openxmlformats.org/officeDocument/2006/relationships/tags" Target="../tags/tag80.xml"/><Relationship Id="rId155" Type="http://schemas.openxmlformats.org/officeDocument/2006/relationships/tags" Target="../tags/tag155.xml"/><Relationship Id="rId176" Type="http://schemas.openxmlformats.org/officeDocument/2006/relationships/tags" Target="../tags/tag176.xml"/><Relationship Id="rId197" Type="http://schemas.openxmlformats.org/officeDocument/2006/relationships/tags" Target="../tags/tag197.xml"/><Relationship Id="rId341" Type="http://schemas.openxmlformats.org/officeDocument/2006/relationships/tags" Target="../tags/tag341.xml"/><Relationship Id="rId201" Type="http://schemas.openxmlformats.org/officeDocument/2006/relationships/tags" Target="../tags/tag201.xml"/><Relationship Id="rId222" Type="http://schemas.openxmlformats.org/officeDocument/2006/relationships/tags" Target="../tags/tag222.xml"/><Relationship Id="rId243" Type="http://schemas.openxmlformats.org/officeDocument/2006/relationships/tags" Target="../tags/tag243.xml"/><Relationship Id="rId264" Type="http://schemas.openxmlformats.org/officeDocument/2006/relationships/tags" Target="../tags/tag264.xml"/><Relationship Id="rId285" Type="http://schemas.openxmlformats.org/officeDocument/2006/relationships/tags" Target="../tags/tag285.xml"/><Relationship Id="rId17" Type="http://schemas.openxmlformats.org/officeDocument/2006/relationships/tags" Target="../tags/tag17.xml"/><Relationship Id="rId38" Type="http://schemas.openxmlformats.org/officeDocument/2006/relationships/tags" Target="../tags/tag38.xml"/><Relationship Id="rId59" Type="http://schemas.openxmlformats.org/officeDocument/2006/relationships/tags" Target="../tags/tag59.xml"/><Relationship Id="rId103" Type="http://schemas.openxmlformats.org/officeDocument/2006/relationships/tags" Target="../tags/tag103.xml"/><Relationship Id="rId124" Type="http://schemas.openxmlformats.org/officeDocument/2006/relationships/tags" Target="../tags/tag124.xml"/><Relationship Id="rId310" Type="http://schemas.openxmlformats.org/officeDocument/2006/relationships/tags" Target="../tags/tag310.xml"/><Relationship Id="rId70" Type="http://schemas.openxmlformats.org/officeDocument/2006/relationships/tags" Target="../tags/tag70.xml"/><Relationship Id="rId91" Type="http://schemas.openxmlformats.org/officeDocument/2006/relationships/tags" Target="../tags/tag91.xml"/><Relationship Id="rId145" Type="http://schemas.openxmlformats.org/officeDocument/2006/relationships/tags" Target="../tags/tag145.xml"/><Relationship Id="rId166" Type="http://schemas.openxmlformats.org/officeDocument/2006/relationships/tags" Target="../tags/tag166.xml"/><Relationship Id="rId187" Type="http://schemas.openxmlformats.org/officeDocument/2006/relationships/tags" Target="../tags/tag187.xml"/><Relationship Id="rId331" Type="http://schemas.openxmlformats.org/officeDocument/2006/relationships/tags" Target="../tags/tag331.xml"/><Relationship Id="rId1" Type="http://schemas.openxmlformats.org/officeDocument/2006/relationships/tags" Target="../tags/tag1.xml"/><Relationship Id="rId212" Type="http://schemas.openxmlformats.org/officeDocument/2006/relationships/tags" Target="../tags/tag212.xml"/><Relationship Id="rId233" Type="http://schemas.openxmlformats.org/officeDocument/2006/relationships/tags" Target="../tags/tag233.xml"/><Relationship Id="rId254" Type="http://schemas.openxmlformats.org/officeDocument/2006/relationships/tags" Target="../tags/tag254.xml"/><Relationship Id="rId28" Type="http://schemas.openxmlformats.org/officeDocument/2006/relationships/tags" Target="../tags/tag28.xml"/><Relationship Id="rId49" Type="http://schemas.openxmlformats.org/officeDocument/2006/relationships/tags" Target="../tags/tag49.xml"/><Relationship Id="rId114" Type="http://schemas.openxmlformats.org/officeDocument/2006/relationships/tags" Target="../tags/tag114.xml"/><Relationship Id="rId275" Type="http://schemas.openxmlformats.org/officeDocument/2006/relationships/tags" Target="../tags/tag275.xml"/><Relationship Id="rId296" Type="http://schemas.openxmlformats.org/officeDocument/2006/relationships/tags" Target="../tags/tag296.xml"/><Relationship Id="rId300" Type="http://schemas.openxmlformats.org/officeDocument/2006/relationships/tags" Target="../tags/tag300.xml"/><Relationship Id="rId60" Type="http://schemas.openxmlformats.org/officeDocument/2006/relationships/tags" Target="../tags/tag60.xml"/><Relationship Id="rId81" Type="http://schemas.openxmlformats.org/officeDocument/2006/relationships/tags" Target="../tags/tag81.xml"/><Relationship Id="rId135" Type="http://schemas.openxmlformats.org/officeDocument/2006/relationships/tags" Target="../tags/tag135.xml"/><Relationship Id="rId156" Type="http://schemas.openxmlformats.org/officeDocument/2006/relationships/tags" Target="../tags/tag156.xml"/><Relationship Id="rId177" Type="http://schemas.openxmlformats.org/officeDocument/2006/relationships/tags" Target="../tags/tag177.xml"/><Relationship Id="rId198" Type="http://schemas.openxmlformats.org/officeDocument/2006/relationships/tags" Target="../tags/tag198.xml"/><Relationship Id="rId321" Type="http://schemas.openxmlformats.org/officeDocument/2006/relationships/tags" Target="../tags/tag321.xml"/><Relationship Id="rId342" Type="http://schemas.openxmlformats.org/officeDocument/2006/relationships/slideLayout" Target="../slideLayouts/slideLayout16.xml"/><Relationship Id="rId202" Type="http://schemas.openxmlformats.org/officeDocument/2006/relationships/tags" Target="../tags/tag202.xml"/><Relationship Id="rId223" Type="http://schemas.openxmlformats.org/officeDocument/2006/relationships/tags" Target="../tags/tag223.xml"/><Relationship Id="rId244" Type="http://schemas.openxmlformats.org/officeDocument/2006/relationships/tags" Target="../tags/tag244.xml"/><Relationship Id="rId18" Type="http://schemas.openxmlformats.org/officeDocument/2006/relationships/tags" Target="../tags/tag18.xml"/><Relationship Id="rId39" Type="http://schemas.openxmlformats.org/officeDocument/2006/relationships/tags" Target="../tags/tag39.xml"/><Relationship Id="rId265" Type="http://schemas.openxmlformats.org/officeDocument/2006/relationships/tags" Target="../tags/tag265.xml"/><Relationship Id="rId286" Type="http://schemas.openxmlformats.org/officeDocument/2006/relationships/tags" Target="../tags/tag286.xml"/><Relationship Id="rId50" Type="http://schemas.openxmlformats.org/officeDocument/2006/relationships/tags" Target="../tags/tag50.xml"/><Relationship Id="rId104" Type="http://schemas.openxmlformats.org/officeDocument/2006/relationships/tags" Target="../tags/tag104.xml"/><Relationship Id="rId125" Type="http://schemas.openxmlformats.org/officeDocument/2006/relationships/tags" Target="../tags/tag125.xml"/><Relationship Id="rId146" Type="http://schemas.openxmlformats.org/officeDocument/2006/relationships/tags" Target="../tags/tag146.xml"/><Relationship Id="rId167" Type="http://schemas.openxmlformats.org/officeDocument/2006/relationships/tags" Target="../tags/tag167.xml"/><Relationship Id="rId188" Type="http://schemas.openxmlformats.org/officeDocument/2006/relationships/tags" Target="../tags/tag188.xml"/><Relationship Id="rId311" Type="http://schemas.openxmlformats.org/officeDocument/2006/relationships/tags" Target="../tags/tag311.xml"/><Relationship Id="rId332" Type="http://schemas.openxmlformats.org/officeDocument/2006/relationships/tags" Target="../tags/tag332.xml"/><Relationship Id="rId71" Type="http://schemas.openxmlformats.org/officeDocument/2006/relationships/tags" Target="../tags/tag71.xml"/><Relationship Id="rId92" Type="http://schemas.openxmlformats.org/officeDocument/2006/relationships/tags" Target="../tags/tag92.xml"/><Relationship Id="rId213" Type="http://schemas.openxmlformats.org/officeDocument/2006/relationships/tags" Target="../tags/tag213.xml"/><Relationship Id="rId234" Type="http://schemas.openxmlformats.org/officeDocument/2006/relationships/tags" Target="../tags/tag234.xml"/><Relationship Id="rId2" Type="http://schemas.openxmlformats.org/officeDocument/2006/relationships/tags" Target="../tags/tag2.xml"/><Relationship Id="rId29" Type="http://schemas.openxmlformats.org/officeDocument/2006/relationships/tags" Target="../tags/tag29.xml"/><Relationship Id="rId255" Type="http://schemas.openxmlformats.org/officeDocument/2006/relationships/tags" Target="../tags/tag255.xml"/><Relationship Id="rId276" Type="http://schemas.openxmlformats.org/officeDocument/2006/relationships/tags" Target="../tags/tag276.xml"/><Relationship Id="rId297" Type="http://schemas.openxmlformats.org/officeDocument/2006/relationships/tags" Target="../tags/tag297.xml"/><Relationship Id="rId40" Type="http://schemas.openxmlformats.org/officeDocument/2006/relationships/tags" Target="../tags/tag40.xml"/><Relationship Id="rId115" Type="http://schemas.openxmlformats.org/officeDocument/2006/relationships/tags" Target="../tags/tag115.xml"/><Relationship Id="rId136" Type="http://schemas.openxmlformats.org/officeDocument/2006/relationships/tags" Target="../tags/tag136.xml"/><Relationship Id="rId157" Type="http://schemas.openxmlformats.org/officeDocument/2006/relationships/tags" Target="../tags/tag157.xml"/><Relationship Id="rId178" Type="http://schemas.openxmlformats.org/officeDocument/2006/relationships/tags" Target="../tags/tag178.xml"/><Relationship Id="rId301" Type="http://schemas.openxmlformats.org/officeDocument/2006/relationships/tags" Target="../tags/tag301.xml"/><Relationship Id="rId322" Type="http://schemas.openxmlformats.org/officeDocument/2006/relationships/tags" Target="../tags/tag322.xml"/><Relationship Id="rId343" Type="http://schemas.openxmlformats.org/officeDocument/2006/relationships/image" Target="../media/image13.emf"/><Relationship Id="rId61" Type="http://schemas.openxmlformats.org/officeDocument/2006/relationships/tags" Target="../tags/tag61.xml"/><Relationship Id="rId82" Type="http://schemas.openxmlformats.org/officeDocument/2006/relationships/tags" Target="../tags/tag82.xml"/><Relationship Id="rId199" Type="http://schemas.openxmlformats.org/officeDocument/2006/relationships/tags" Target="../tags/tag199.xml"/><Relationship Id="rId203" Type="http://schemas.openxmlformats.org/officeDocument/2006/relationships/tags" Target="../tags/tag203.xml"/><Relationship Id="rId19" Type="http://schemas.openxmlformats.org/officeDocument/2006/relationships/tags" Target="../tags/tag19.xml"/><Relationship Id="rId224" Type="http://schemas.openxmlformats.org/officeDocument/2006/relationships/tags" Target="../tags/tag224.xml"/><Relationship Id="rId245" Type="http://schemas.openxmlformats.org/officeDocument/2006/relationships/tags" Target="../tags/tag245.xml"/><Relationship Id="rId266" Type="http://schemas.openxmlformats.org/officeDocument/2006/relationships/tags" Target="../tags/tag266.xml"/><Relationship Id="rId287" Type="http://schemas.openxmlformats.org/officeDocument/2006/relationships/tags" Target="../tags/tag287.xml"/><Relationship Id="rId30" Type="http://schemas.openxmlformats.org/officeDocument/2006/relationships/tags" Target="../tags/tag30.xml"/><Relationship Id="rId105" Type="http://schemas.openxmlformats.org/officeDocument/2006/relationships/tags" Target="../tags/tag105.xml"/><Relationship Id="rId126" Type="http://schemas.openxmlformats.org/officeDocument/2006/relationships/tags" Target="../tags/tag126.xml"/><Relationship Id="rId147" Type="http://schemas.openxmlformats.org/officeDocument/2006/relationships/tags" Target="../tags/tag147.xml"/><Relationship Id="rId168" Type="http://schemas.openxmlformats.org/officeDocument/2006/relationships/tags" Target="../tags/tag168.xml"/><Relationship Id="rId312" Type="http://schemas.openxmlformats.org/officeDocument/2006/relationships/tags" Target="../tags/tag312.xml"/><Relationship Id="rId333" Type="http://schemas.openxmlformats.org/officeDocument/2006/relationships/tags" Target="../tags/tag333.xml"/><Relationship Id="rId51" Type="http://schemas.openxmlformats.org/officeDocument/2006/relationships/tags" Target="../tags/tag51.xml"/><Relationship Id="rId72" Type="http://schemas.openxmlformats.org/officeDocument/2006/relationships/tags" Target="../tags/tag72.xml"/><Relationship Id="rId93" Type="http://schemas.openxmlformats.org/officeDocument/2006/relationships/tags" Target="../tags/tag93.xml"/><Relationship Id="rId189" Type="http://schemas.openxmlformats.org/officeDocument/2006/relationships/tags" Target="../tags/tag189.xml"/><Relationship Id="rId3" Type="http://schemas.openxmlformats.org/officeDocument/2006/relationships/tags" Target="../tags/tag3.xml"/><Relationship Id="rId214" Type="http://schemas.openxmlformats.org/officeDocument/2006/relationships/tags" Target="../tags/tag214.xml"/><Relationship Id="rId235" Type="http://schemas.openxmlformats.org/officeDocument/2006/relationships/tags" Target="../tags/tag235.xml"/><Relationship Id="rId256" Type="http://schemas.openxmlformats.org/officeDocument/2006/relationships/tags" Target="../tags/tag256.xml"/><Relationship Id="rId277" Type="http://schemas.openxmlformats.org/officeDocument/2006/relationships/tags" Target="../tags/tag277.xml"/><Relationship Id="rId298" Type="http://schemas.openxmlformats.org/officeDocument/2006/relationships/tags" Target="../tags/tag298.xml"/></Relationships>
</file>

<file path=ppt/slides/_rels/slide6.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image" Target="../media/image18.emf"/><Relationship Id="rId1" Type="http://schemas.openxmlformats.org/officeDocument/2006/relationships/slideLayout" Target="../slideLayouts/slideLayout5.xml"/><Relationship Id="rId5" Type="http://schemas.openxmlformats.org/officeDocument/2006/relationships/image" Target="../media/image21.emf"/><Relationship Id="rId4" Type="http://schemas.openxmlformats.org/officeDocument/2006/relationships/image" Target="../media/image20.emf"/></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Focus on renewable energy</a:t>
            </a:r>
            <a:endParaRPr lang="en-US" dirty="0"/>
          </a:p>
        </p:txBody>
      </p:sp>
      <p:sp>
        <p:nvSpPr>
          <p:cNvPr id="12" name="Subtitle 11"/>
          <p:cNvSpPr>
            <a:spLocks noGrp="1"/>
          </p:cNvSpPr>
          <p:nvPr>
            <p:ph type="subTitle" idx="1"/>
          </p:nvPr>
        </p:nvSpPr>
        <p:spPr/>
        <p:txBody>
          <a:bodyPr/>
          <a:lstStyle/>
          <a:p>
            <a:r>
              <a:rPr lang="en-GB" dirty="0" smtClean="0"/>
              <a:t>The transition has started, will Brunei follow? </a:t>
            </a:r>
            <a:endParaRPr lang="en-GB" dirty="0"/>
          </a:p>
        </p:txBody>
      </p:sp>
      <p:sp>
        <p:nvSpPr>
          <p:cNvPr id="5" name="Text Placeholder 4"/>
          <p:cNvSpPr>
            <a:spLocks noGrp="1"/>
          </p:cNvSpPr>
          <p:nvPr>
            <p:ph type="body" sz="quarter" idx="10"/>
          </p:nvPr>
        </p:nvSpPr>
        <p:spPr/>
        <p:txBody>
          <a:bodyPr/>
          <a:lstStyle/>
          <a:p>
            <a:r>
              <a:rPr lang="en-GB" dirty="0" smtClean="0"/>
              <a:t>Milo </a:t>
            </a:r>
            <a:r>
              <a:rPr lang="en-GB" dirty="0" err="1" smtClean="0"/>
              <a:t>Sjardin</a:t>
            </a:r>
            <a:endParaRPr lang="en-GB" dirty="0"/>
          </a:p>
        </p:txBody>
      </p:sp>
      <p:sp>
        <p:nvSpPr>
          <p:cNvPr id="7" name="Text Placeholder 6"/>
          <p:cNvSpPr>
            <a:spLocks noGrp="1"/>
          </p:cNvSpPr>
          <p:nvPr>
            <p:ph type="body" sz="quarter" idx="11"/>
          </p:nvPr>
        </p:nvSpPr>
        <p:spPr/>
        <p:txBody>
          <a:bodyPr anchor="ctr"/>
          <a:lstStyle/>
          <a:p>
            <a:r>
              <a:rPr lang="en-GB" dirty="0" smtClean="0"/>
              <a:t>13 August 2014</a:t>
            </a:r>
            <a:endParaRPr lang="en-GB" dirty="0"/>
          </a:p>
        </p:txBody>
      </p:sp>
    </p:spTree>
    <p:extLst>
      <p:ext uri="{BB962C8B-B14F-4D97-AF65-F5344CB8AC3E}">
        <p14:creationId xmlns:p14="http://schemas.microsoft.com/office/powerpoint/2010/main" val="331408899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0912" y="141785"/>
            <a:ext cx="7857989" cy="784640"/>
          </a:xfrm>
        </p:spPr>
        <p:txBody>
          <a:bodyPr/>
          <a:lstStyle/>
          <a:p>
            <a:r>
              <a:rPr lang="en-GB" dirty="0" smtClean="0"/>
              <a:t>clean energy can already directly compete in good locations</a:t>
            </a:r>
            <a:endParaRPr lang="en-GB" dirty="0">
              <a:solidFill>
                <a:schemeClr val="tx1"/>
              </a:solidFill>
            </a:endParaRPr>
          </a:p>
        </p:txBody>
      </p:sp>
      <p:grpSp>
        <p:nvGrpSpPr>
          <p:cNvPr id="106" name="Group 105"/>
          <p:cNvGrpSpPr/>
          <p:nvPr/>
        </p:nvGrpSpPr>
        <p:grpSpPr>
          <a:xfrm>
            <a:off x="839550" y="1615130"/>
            <a:ext cx="8612353" cy="4640145"/>
            <a:chOff x="48807" y="1334343"/>
            <a:chExt cx="8665300" cy="4668682"/>
          </a:xfrm>
        </p:grpSpPr>
        <p:sp>
          <p:nvSpPr>
            <p:cNvPr id="107" name="NG"/>
            <p:cNvSpPr>
              <a:spLocks/>
            </p:cNvSpPr>
            <p:nvPr/>
          </p:nvSpPr>
          <p:spPr bwMode="auto">
            <a:xfrm>
              <a:off x="4355240" y="4053590"/>
              <a:ext cx="289655" cy="266698"/>
            </a:xfrm>
            <a:custGeom>
              <a:avLst/>
              <a:gdLst>
                <a:gd name="T0" fmla="*/ 2147483647 w 228"/>
                <a:gd name="T1" fmla="*/ 2147483647 h 205"/>
                <a:gd name="T2" fmla="*/ 2147483647 w 228"/>
                <a:gd name="T3" fmla="*/ 2147483647 h 205"/>
                <a:gd name="T4" fmla="*/ 2147483647 w 228"/>
                <a:gd name="T5" fmla="*/ 2147483647 h 205"/>
                <a:gd name="T6" fmla="*/ 2147483647 w 228"/>
                <a:gd name="T7" fmla="*/ 2147483647 h 205"/>
                <a:gd name="T8" fmla="*/ 2147483647 w 228"/>
                <a:gd name="T9" fmla="*/ 2147483647 h 205"/>
                <a:gd name="T10" fmla="*/ 2147483647 w 228"/>
                <a:gd name="T11" fmla="*/ 2147483647 h 205"/>
                <a:gd name="T12" fmla="*/ 2147483647 w 228"/>
                <a:gd name="T13" fmla="*/ 2147483647 h 205"/>
                <a:gd name="T14" fmla="*/ 2147483647 w 228"/>
                <a:gd name="T15" fmla="*/ 2147483647 h 205"/>
                <a:gd name="T16" fmla="*/ 2147483647 w 228"/>
                <a:gd name="T17" fmla="*/ 2147483647 h 205"/>
                <a:gd name="T18" fmla="*/ 2147483647 w 228"/>
                <a:gd name="T19" fmla="*/ 0 h 205"/>
                <a:gd name="T20" fmla="*/ 2147483647 w 228"/>
                <a:gd name="T21" fmla="*/ 2147483647 h 205"/>
                <a:gd name="T22" fmla="*/ 2147483647 w 228"/>
                <a:gd name="T23" fmla="*/ 2147483647 h 205"/>
                <a:gd name="T24" fmla="*/ 2147483647 w 228"/>
                <a:gd name="T25" fmla="*/ 2147483647 h 205"/>
                <a:gd name="T26" fmla="*/ 2147483647 w 228"/>
                <a:gd name="T27" fmla="*/ 2147483647 h 205"/>
                <a:gd name="T28" fmla="*/ 2147483647 w 228"/>
                <a:gd name="T29" fmla="*/ 2147483647 h 205"/>
                <a:gd name="T30" fmla="*/ 2147483647 w 228"/>
                <a:gd name="T31" fmla="*/ 2147483647 h 205"/>
                <a:gd name="T32" fmla="*/ 2147483647 w 228"/>
                <a:gd name="T33" fmla="*/ 2147483647 h 205"/>
                <a:gd name="T34" fmla="*/ 2147483647 w 228"/>
                <a:gd name="T35" fmla="*/ 2147483647 h 205"/>
                <a:gd name="T36" fmla="*/ 2147483647 w 228"/>
                <a:gd name="T37" fmla="*/ 2147483647 h 205"/>
                <a:gd name="T38" fmla="*/ 0 w 228"/>
                <a:gd name="T39" fmla="*/ 2147483647 h 205"/>
                <a:gd name="T40" fmla="*/ 0 w 228"/>
                <a:gd name="T41" fmla="*/ 2147483647 h 205"/>
                <a:gd name="T42" fmla="*/ 2147483647 w 228"/>
                <a:gd name="T43" fmla="*/ 2147483647 h 205"/>
                <a:gd name="T44" fmla="*/ 2147483647 w 228"/>
                <a:gd name="T45" fmla="*/ 2147483647 h 205"/>
                <a:gd name="T46" fmla="*/ 2147483647 w 228"/>
                <a:gd name="T47" fmla="*/ 2147483647 h 205"/>
                <a:gd name="T48" fmla="*/ 2147483647 w 228"/>
                <a:gd name="T49" fmla="*/ 2147483647 h 205"/>
                <a:gd name="T50" fmla="*/ 2147483647 w 228"/>
                <a:gd name="T51" fmla="*/ 2147483647 h 205"/>
                <a:gd name="T52" fmla="*/ 2147483647 w 228"/>
                <a:gd name="T53" fmla="*/ 2147483647 h 20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228" h="205">
                  <a:moveTo>
                    <a:pt x="120" y="151"/>
                  </a:moveTo>
                  <a:lnTo>
                    <a:pt x="150" y="163"/>
                  </a:lnTo>
                  <a:lnTo>
                    <a:pt x="180" y="121"/>
                  </a:lnTo>
                  <a:lnTo>
                    <a:pt x="198" y="73"/>
                  </a:lnTo>
                  <a:lnTo>
                    <a:pt x="204" y="55"/>
                  </a:lnTo>
                  <a:lnTo>
                    <a:pt x="222" y="49"/>
                  </a:lnTo>
                  <a:lnTo>
                    <a:pt x="228" y="31"/>
                  </a:lnTo>
                  <a:lnTo>
                    <a:pt x="210" y="25"/>
                  </a:lnTo>
                  <a:lnTo>
                    <a:pt x="198" y="7"/>
                  </a:lnTo>
                  <a:lnTo>
                    <a:pt x="204" y="0"/>
                  </a:lnTo>
                  <a:lnTo>
                    <a:pt x="174" y="25"/>
                  </a:lnTo>
                  <a:lnTo>
                    <a:pt x="144" y="31"/>
                  </a:lnTo>
                  <a:lnTo>
                    <a:pt x="108" y="31"/>
                  </a:lnTo>
                  <a:lnTo>
                    <a:pt x="84" y="43"/>
                  </a:lnTo>
                  <a:lnTo>
                    <a:pt x="48" y="31"/>
                  </a:lnTo>
                  <a:lnTo>
                    <a:pt x="24" y="31"/>
                  </a:lnTo>
                  <a:lnTo>
                    <a:pt x="12" y="49"/>
                  </a:lnTo>
                  <a:lnTo>
                    <a:pt x="12" y="67"/>
                  </a:lnTo>
                  <a:lnTo>
                    <a:pt x="12" y="91"/>
                  </a:lnTo>
                  <a:lnTo>
                    <a:pt x="0" y="133"/>
                  </a:lnTo>
                  <a:lnTo>
                    <a:pt x="0" y="163"/>
                  </a:lnTo>
                  <a:lnTo>
                    <a:pt x="24" y="163"/>
                  </a:lnTo>
                  <a:lnTo>
                    <a:pt x="48" y="193"/>
                  </a:lnTo>
                  <a:lnTo>
                    <a:pt x="72" y="199"/>
                  </a:lnTo>
                  <a:lnTo>
                    <a:pt x="96" y="205"/>
                  </a:lnTo>
                  <a:lnTo>
                    <a:pt x="102" y="175"/>
                  </a:lnTo>
                  <a:lnTo>
                    <a:pt x="120" y="151"/>
                  </a:ln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108" name="RS"/>
            <p:cNvSpPr>
              <a:spLocks/>
            </p:cNvSpPr>
            <p:nvPr/>
          </p:nvSpPr>
          <p:spPr bwMode="auto">
            <a:xfrm>
              <a:off x="4772770" y="3140978"/>
              <a:ext cx="113422" cy="153872"/>
            </a:xfrm>
            <a:custGeom>
              <a:avLst/>
              <a:gdLst>
                <a:gd name="T0" fmla="*/ 0 w 2578308"/>
                <a:gd name="T1" fmla="*/ 0 h 2368446"/>
                <a:gd name="T2" fmla="*/ 15 w 2578308"/>
                <a:gd name="T3" fmla="*/ 78 h 2368446"/>
                <a:gd name="T4" fmla="*/ 6 w 2578308"/>
                <a:gd name="T5" fmla="*/ 86 h 2368446"/>
                <a:gd name="T6" fmla="*/ 50 w 2578308"/>
                <a:gd name="T7" fmla="*/ 127 h 2368446"/>
                <a:gd name="T8" fmla="*/ 65 w 2578308"/>
                <a:gd name="T9" fmla="*/ 104 h 2368446"/>
                <a:gd name="T10" fmla="*/ 101 w 2578308"/>
                <a:gd name="T11" fmla="*/ 138 h 2368446"/>
                <a:gd name="T12" fmla="*/ 95 w 2578308"/>
                <a:gd name="T13" fmla="*/ 161 h 2368446"/>
                <a:gd name="T14" fmla="*/ 136 w 2578308"/>
                <a:gd name="T15" fmla="*/ 154 h 2368446"/>
                <a:gd name="T16" fmla="*/ 150 w 2578308"/>
                <a:gd name="T17" fmla="*/ 103 h 2368446"/>
                <a:gd name="T18" fmla="*/ 123 w 2578308"/>
                <a:gd name="T19" fmla="*/ 15 h 2368446"/>
                <a:gd name="T20" fmla="*/ 84 w 2578308"/>
                <a:gd name="T21" fmla="*/ 1 h 2368446"/>
                <a:gd name="T22" fmla="*/ 0 w 2578308"/>
                <a:gd name="T23" fmla="*/ 0 h 236844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connsiteX0" fmla="*/ 0 w 2578308"/>
                <a:gd name="connsiteY0" fmla="*/ 486838 h 2855284"/>
                <a:gd name="connsiteX1" fmla="*/ 254833 w 2578308"/>
                <a:gd name="connsiteY1" fmla="*/ 1641080 h 2855284"/>
                <a:gd name="connsiteX2" fmla="*/ 104931 w 2578308"/>
                <a:gd name="connsiteY2" fmla="*/ 1746011 h 2855284"/>
                <a:gd name="connsiteX3" fmla="*/ 855821 w 2578308"/>
                <a:gd name="connsiteY3" fmla="*/ 2360125 h 2855284"/>
                <a:gd name="connsiteX4" fmla="*/ 1111621 w 2578308"/>
                <a:gd name="connsiteY4" fmla="*/ 2011137 h 2855284"/>
                <a:gd name="connsiteX5" fmla="*/ 1734645 w 2578308"/>
                <a:gd name="connsiteY5" fmla="*/ 2520803 h 2855284"/>
                <a:gd name="connsiteX6" fmla="*/ 1633928 w 2578308"/>
                <a:gd name="connsiteY6" fmla="*/ 2855284 h 2855284"/>
                <a:gd name="connsiteX7" fmla="*/ 2338465 w 2578308"/>
                <a:gd name="connsiteY7" fmla="*/ 2750352 h 2855284"/>
                <a:gd name="connsiteX8" fmla="*/ 2578308 w 2578308"/>
                <a:gd name="connsiteY8" fmla="*/ 2000844 h 2855284"/>
                <a:gd name="connsiteX9" fmla="*/ 2113613 w 2578308"/>
                <a:gd name="connsiteY9" fmla="*/ 711690 h 2855284"/>
                <a:gd name="connsiteX10" fmla="*/ 1439056 w 2578308"/>
                <a:gd name="connsiteY10" fmla="*/ 501828 h 2855284"/>
                <a:gd name="connsiteX11" fmla="*/ 0 w 2578308"/>
                <a:gd name="connsiteY11" fmla="*/ 486838 h 2855284"/>
                <a:gd name="connsiteX0" fmla="*/ 0 w 2578308"/>
                <a:gd name="connsiteY0" fmla="*/ 1045583 h 3414029"/>
                <a:gd name="connsiteX1" fmla="*/ 254833 w 2578308"/>
                <a:gd name="connsiteY1" fmla="*/ 2199825 h 3414029"/>
                <a:gd name="connsiteX2" fmla="*/ 104931 w 2578308"/>
                <a:gd name="connsiteY2" fmla="*/ 2304756 h 3414029"/>
                <a:gd name="connsiteX3" fmla="*/ 855821 w 2578308"/>
                <a:gd name="connsiteY3" fmla="*/ 2918870 h 3414029"/>
                <a:gd name="connsiteX4" fmla="*/ 1111621 w 2578308"/>
                <a:gd name="connsiteY4" fmla="*/ 2569882 h 3414029"/>
                <a:gd name="connsiteX5" fmla="*/ 1734645 w 2578308"/>
                <a:gd name="connsiteY5" fmla="*/ 3079548 h 3414029"/>
                <a:gd name="connsiteX6" fmla="*/ 1633928 w 2578308"/>
                <a:gd name="connsiteY6" fmla="*/ 3414029 h 3414029"/>
                <a:gd name="connsiteX7" fmla="*/ 2338465 w 2578308"/>
                <a:gd name="connsiteY7" fmla="*/ 3309097 h 3414029"/>
                <a:gd name="connsiteX8" fmla="*/ 2578308 w 2578308"/>
                <a:gd name="connsiteY8" fmla="*/ 2559589 h 3414029"/>
                <a:gd name="connsiteX9" fmla="*/ 2113613 w 2578308"/>
                <a:gd name="connsiteY9" fmla="*/ 1270435 h 3414029"/>
                <a:gd name="connsiteX10" fmla="*/ 1439056 w 2578308"/>
                <a:gd name="connsiteY10" fmla="*/ 1060573 h 3414029"/>
                <a:gd name="connsiteX11" fmla="*/ 847749 w 2578308"/>
                <a:gd name="connsiteY11" fmla="*/ 0 h 3414029"/>
                <a:gd name="connsiteX12" fmla="*/ 0 w 2578308"/>
                <a:gd name="connsiteY12" fmla="*/ 1045583 h 3414029"/>
                <a:gd name="connsiteX0" fmla="*/ 0 w 2578308"/>
                <a:gd name="connsiteY0" fmla="*/ 1054853 h 3423299"/>
                <a:gd name="connsiteX1" fmla="*/ 254833 w 2578308"/>
                <a:gd name="connsiteY1" fmla="*/ 2209095 h 3423299"/>
                <a:gd name="connsiteX2" fmla="*/ 104931 w 2578308"/>
                <a:gd name="connsiteY2" fmla="*/ 2314026 h 3423299"/>
                <a:gd name="connsiteX3" fmla="*/ 855821 w 2578308"/>
                <a:gd name="connsiteY3" fmla="*/ 2928140 h 3423299"/>
                <a:gd name="connsiteX4" fmla="*/ 1111621 w 2578308"/>
                <a:gd name="connsiteY4" fmla="*/ 2579152 h 3423299"/>
                <a:gd name="connsiteX5" fmla="*/ 1734645 w 2578308"/>
                <a:gd name="connsiteY5" fmla="*/ 3088818 h 3423299"/>
                <a:gd name="connsiteX6" fmla="*/ 1633928 w 2578308"/>
                <a:gd name="connsiteY6" fmla="*/ 3423299 h 3423299"/>
                <a:gd name="connsiteX7" fmla="*/ 2338465 w 2578308"/>
                <a:gd name="connsiteY7" fmla="*/ 3318367 h 3423299"/>
                <a:gd name="connsiteX8" fmla="*/ 2578308 w 2578308"/>
                <a:gd name="connsiteY8" fmla="*/ 2568859 h 3423299"/>
                <a:gd name="connsiteX9" fmla="*/ 2113613 w 2578308"/>
                <a:gd name="connsiteY9" fmla="*/ 1279705 h 3423299"/>
                <a:gd name="connsiteX10" fmla="*/ 1439056 w 2578308"/>
                <a:gd name="connsiteY10" fmla="*/ 1069843 h 3423299"/>
                <a:gd name="connsiteX11" fmla="*/ 1400240 w 2578308"/>
                <a:gd name="connsiteY11" fmla="*/ 533480 h 3423299"/>
                <a:gd name="connsiteX12" fmla="*/ 847749 w 2578308"/>
                <a:gd name="connsiteY12" fmla="*/ 9270 h 3423299"/>
                <a:gd name="connsiteX13" fmla="*/ 0 w 2578308"/>
                <a:gd name="connsiteY13" fmla="*/ 1054853 h 3423299"/>
                <a:gd name="connsiteX0" fmla="*/ 345761 w 2924069"/>
                <a:gd name="connsiteY0" fmla="*/ 1170197 h 3538643"/>
                <a:gd name="connsiteX1" fmla="*/ 600594 w 2924069"/>
                <a:gd name="connsiteY1" fmla="*/ 2324439 h 3538643"/>
                <a:gd name="connsiteX2" fmla="*/ 450692 w 2924069"/>
                <a:gd name="connsiteY2" fmla="*/ 2429370 h 3538643"/>
                <a:gd name="connsiteX3" fmla="*/ 1201582 w 2924069"/>
                <a:gd name="connsiteY3" fmla="*/ 3043484 h 3538643"/>
                <a:gd name="connsiteX4" fmla="*/ 1457382 w 2924069"/>
                <a:gd name="connsiteY4" fmla="*/ 2694496 h 3538643"/>
                <a:gd name="connsiteX5" fmla="*/ 2080406 w 2924069"/>
                <a:gd name="connsiteY5" fmla="*/ 3204162 h 3538643"/>
                <a:gd name="connsiteX6" fmla="*/ 1979689 w 2924069"/>
                <a:gd name="connsiteY6" fmla="*/ 3538643 h 3538643"/>
                <a:gd name="connsiteX7" fmla="*/ 2684226 w 2924069"/>
                <a:gd name="connsiteY7" fmla="*/ 3433711 h 3538643"/>
                <a:gd name="connsiteX8" fmla="*/ 2924069 w 2924069"/>
                <a:gd name="connsiteY8" fmla="*/ 2684203 h 3538643"/>
                <a:gd name="connsiteX9" fmla="*/ 2459374 w 2924069"/>
                <a:gd name="connsiteY9" fmla="*/ 1395049 h 3538643"/>
                <a:gd name="connsiteX10" fmla="*/ 1784817 w 2924069"/>
                <a:gd name="connsiteY10" fmla="*/ 1185187 h 3538643"/>
                <a:gd name="connsiteX11" fmla="*/ 1746001 w 2924069"/>
                <a:gd name="connsiteY11" fmla="*/ 648824 h 3538643"/>
                <a:gd name="connsiteX12" fmla="*/ 1193510 w 2924069"/>
                <a:gd name="connsiteY12" fmla="*/ 124614 h 3538643"/>
                <a:gd name="connsiteX13" fmla="*/ 27120 w 2924069"/>
                <a:gd name="connsiteY13" fmla="*/ 66403 h 3538643"/>
                <a:gd name="connsiteX14" fmla="*/ 345761 w 2924069"/>
                <a:gd name="connsiteY14" fmla="*/ 1170197 h 3538643"/>
                <a:gd name="connsiteX0" fmla="*/ 345761 w 2924069"/>
                <a:gd name="connsiteY0" fmla="*/ 1395554 h 3764000"/>
                <a:gd name="connsiteX1" fmla="*/ 600594 w 2924069"/>
                <a:gd name="connsiteY1" fmla="*/ 2549796 h 3764000"/>
                <a:gd name="connsiteX2" fmla="*/ 450692 w 2924069"/>
                <a:gd name="connsiteY2" fmla="*/ 2654727 h 3764000"/>
                <a:gd name="connsiteX3" fmla="*/ 1201582 w 2924069"/>
                <a:gd name="connsiteY3" fmla="*/ 3268841 h 3764000"/>
                <a:gd name="connsiteX4" fmla="*/ 1457382 w 2924069"/>
                <a:gd name="connsiteY4" fmla="*/ 2919853 h 3764000"/>
                <a:gd name="connsiteX5" fmla="*/ 2080406 w 2924069"/>
                <a:gd name="connsiteY5" fmla="*/ 3429519 h 3764000"/>
                <a:gd name="connsiteX6" fmla="*/ 1979689 w 2924069"/>
                <a:gd name="connsiteY6" fmla="*/ 3764000 h 3764000"/>
                <a:gd name="connsiteX7" fmla="*/ 2684226 w 2924069"/>
                <a:gd name="connsiteY7" fmla="*/ 3659068 h 3764000"/>
                <a:gd name="connsiteX8" fmla="*/ 2924069 w 2924069"/>
                <a:gd name="connsiteY8" fmla="*/ 2909560 h 3764000"/>
                <a:gd name="connsiteX9" fmla="*/ 2459374 w 2924069"/>
                <a:gd name="connsiteY9" fmla="*/ 1620406 h 3764000"/>
                <a:gd name="connsiteX10" fmla="*/ 1784817 w 2924069"/>
                <a:gd name="connsiteY10" fmla="*/ 1410544 h 3764000"/>
                <a:gd name="connsiteX11" fmla="*/ 1746001 w 2924069"/>
                <a:gd name="connsiteY11" fmla="*/ 874181 h 3764000"/>
                <a:gd name="connsiteX12" fmla="*/ 1193510 w 2924069"/>
                <a:gd name="connsiteY12" fmla="*/ 349971 h 3764000"/>
                <a:gd name="connsiteX13" fmla="*/ 1009338 w 2924069"/>
                <a:gd name="connsiteY13" fmla="*/ 563 h 3764000"/>
                <a:gd name="connsiteX14" fmla="*/ 27120 w 2924069"/>
                <a:gd name="connsiteY14" fmla="*/ 291760 h 3764000"/>
                <a:gd name="connsiteX15" fmla="*/ 345761 w 2924069"/>
                <a:gd name="connsiteY15" fmla="*/ 1395554 h 3764000"/>
                <a:gd name="connsiteX0" fmla="*/ 345761 w 2924069"/>
                <a:gd name="connsiteY0" fmla="*/ 1395554 h 3764000"/>
                <a:gd name="connsiteX1" fmla="*/ 600594 w 2924069"/>
                <a:gd name="connsiteY1" fmla="*/ 2549796 h 3764000"/>
                <a:gd name="connsiteX2" fmla="*/ 450692 w 2924069"/>
                <a:gd name="connsiteY2" fmla="*/ 2654727 h 3764000"/>
                <a:gd name="connsiteX3" fmla="*/ 1201582 w 2924069"/>
                <a:gd name="connsiteY3" fmla="*/ 3268841 h 3764000"/>
                <a:gd name="connsiteX4" fmla="*/ 1457382 w 2924069"/>
                <a:gd name="connsiteY4" fmla="*/ 2919853 h 3764000"/>
                <a:gd name="connsiteX5" fmla="*/ 2080406 w 2924069"/>
                <a:gd name="connsiteY5" fmla="*/ 3429519 h 3764000"/>
                <a:gd name="connsiteX6" fmla="*/ 1979689 w 2924069"/>
                <a:gd name="connsiteY6" fmla="*/ 3764000 h 3764000"/>
                <a:gd name="connsiteX7" fmla="*/ 2684226 w 2924069"/>
                <a:gd name="connsiteY7" fmla="*/ 3659068 h 3764000"/>
                <a:gd name="connsiteX8" fmla="*/ 2924069 w 2924069"/>
                <a:gd name="connsiteY8" fmla="*/ 2909560 h 3764000"/>
                <a:gd name="connsiteX9" fmla="*/ 2459374 w 2924069"/>
                <a:gd name="connsiteY9" fmla="*/ 1620406 h 3764000"/>
                <a:gd name="connsiteX10" fmla="*/ 1784817 w 2924069"/>
                <a:gd name="connsiteY10" fmla="*/ 1410544 h 3764000"/>
                <a:gd name="connsiteX11" fmla="*/ 1746001 w 2924069"/>
                <a:gd name="connsiteY11" fmla="*/ 874181 h 3764000"/>
                <a:gd name="connsiteX12" fmla="*/ 1377682 w 2924069"/>
                <a:gd name="connsiteY12" fmla="*/ 349971 h 3764000"/>
                <a:gd name="connsiteX13" fmla="*/ 1009338 w 2924069"/>
                <a:gd name="connsiteY13" fmla="*/ 563 h 3764000"/>
                <a:gd name="connsiteX14" fmla="*/ 27120 w 2924069"/>
                <a:gd name="connsiteY14" fmla="*/ 291760 h 3764000"/>
                <a:gd name="connsiteX15" fmla="*/ 345761 w 2924069"/>
                <a:gd name="connsiteY15" fmla="*/ 1395554 h 3764000"/>
                <a:gd name="connsiteX0" fmla="*/ 345761 w 2924069"/>
                <a:gd name="connsiteY0" fmla="*/ 1395554 h 3764000"/>
                <a:gd name="connsiteX1" fmla="*/ 600594 w 2924069"/>
                <a:gd name="connsiteY1" fmla="*/ 2549796 h 3764000"/>
                <a:gd name="connsiteX2" fmla="*/ 450692 w 2924069"/>
                <a:gd name="connsiteY2" fmla="*/ 2654727 h 3764000"/>
                <a:gd name="connsiteX3" fmla="*/ 1201582 w 2924069"/>
                <a:gd name="connsiteY3" fmla="*/ 3268841 h 3764000"/>
                <a:gd name="connsiteX4" fmla="*/ 1457382 w 2924069"/>
                <a:gd name="connsiteY4" fmla="*/ 2919853 h 3764000"/>
                <a:gd name="connsiteX5" fmla="*/ 2080406 w 2924069"/>
                <a:gd name="connsiteY5" fmla="*/ 3429519 h 3764000"/>
                <a:gd name="connsiteX6" fmla="*/ 1979689 w 2924069"/>
                <a:gd name="connsiteY6" fmla="*/ 3764000 h 3764000"/>
                <a:gd name="connsiteX7" fmla="*/ 2684226 w 2924069"/>
                <a:gd name="connsiteY7" fmla="*/ 3659068 h 3764000"/>
                <a:gd name="connsiteX8" fmla="*/ 2924069 w 2924069"/>
                <a:gd name="connsiteY8" fmla="*/ 2909560 h 3764000"/>
                <a:gd name="connsiteX9" fmla="*/ 2459374 w 2924069"/>
                <a:gd name="connsiteY9" fmla="*/ 1620406 h 3764000"/>
                <a:gd name="connsiteX10" fmla="*/ 1784817 w 2924069"/>
                <a:gd name="connsiteY10" fmla="*/ 1410544 h 3764000"/>
                <a:gd name="connsiteX11" fmla="*/ 1746001 w 2924069"/>
                <a:gd name="connsiteY11" fmla="*/ 874181 h 3764000"/>
                <a:gd name="connsiteX12" fmla="*/ 1009338 w 2924069"/>
                <a:gd name="connsiteY12" fmla="*/ 563 h 3764000"/>
                <a:gd name="connsiteX13" fmla="*/ 27120 w 2924069"/>
                <a:gd name="connsiteY13" fmla="*/ 291760 h 3764000"/>
                <a:gd name="connsiteX14" fmla="*/ 345761 w 2924069"/>
                <a:gd name="connsiteY14" fmla="*/ 1395554 h 3764000"/>
                <a:gd name="connsiteX0" fmla="*/ 345761 w 2924069"/>
                <a:gd name="connsiteY0" fmla="*/ 1395554 h 3764000"/>
                <a:gd name="connsiteX1" fmla="*/ 600594 w 2924069"/>
                <a:gd name="connsiteY1" fmla="*/ 2549796 h 3764000"/>
                <a:gd name="connsiteX2" fmla="*/ 450692 w 2924069"/>
                <a:gd name="connsiteY2" fmla="*/ 2654727 h 3764000"/>
                <a:gd name="connsiteX3" fmla="*/ 1201582 w 2924069"/>
                <a:gd name="connsiteY3" fmla="*/ 3268841 h 3764000"/>
                <a:gd name="connsiteX4" fmla="*/ 1457382 w 2924069"/>
                <a:gd name="connsiteY4" fmla="*/ 2919853 h 3764000"/>
                <a:gd name="connsiteX5" fmla="*/ 2080406 w 2924069"/>
                <a:gd name="connsiteY5" fmla="*/ 3429519 h 3764000"/>
                <a:gd name="connsiteX6" fmla="*/ 1979689 w 2924069"/>
                <a:gd name="connsiteY6" fmla="*/ 3764000 h 3764000"/>
                <a:gd name="connsiteX7" fmla="*/ 2684226 w 2924069"/>
                <a:gd name="connsiteY7" fmla="*/ 3659068 h 3764000"/>
                <a:gd name="connsiteX8" fmla="*/ 2924069 w 2924069"/>
                <a:gd name="connsiteY8" fmla="*/ 2909560 h 3764000"/>
                <a:gd name="connsiteX9" fmla="*/ 2459374 w 2924069"/>
                <a:gd name="connsiteY9" fmla="*/ 1620406 h 3764000"/>
                <a:gd name="connsiteX10" fmla="*/ 1784817 w 2924069"/>
                <a:gd name="connsiteY10" fmla="*/ 1410544 h 3764000"/>
                <a:gd name="connsiteX11" fmla="*/ 1746001 w 2924069"/>
                <a:gd name="connsiteY11" fmla="*/ 874181 h 3764000"/>
                <a:gd name="connsiteX12" fmla="*/ 1009338 w 2924069"/>
                <a:gd name="connsiteY12" fmla="*/ 563 h 3764000"/>
                <a:gd name="connsiteX13" fmla="*/ 27120 w 2924069"/>
                <a:gd name="connsiteY13" fmla="*/ 291760 h 3764000"/>
                <a:gd name="connsiteX14" fmla="*/ 345761 w 2924069"/>
                <a:gd name="connsiteY14" fmla="*/ 1395554 h 3764000"/>
                <a:gd name="connsiteX0" fmla="*/ 345761 w 2924069"/>
                <a:gd name="connsiteY0" fmla="*/ 1394991 h 3763437"/>
                <a:gd name="connsiteX1" fmla="*/ 600594 w 2924069"/>
                <a:gd name="connsiteY1" fmla="*/ 2549233 h 3763437"/>
                <a:gd name="connsiteX2" fmla="*/ 450692 w 2924069"/>
                <a:gd name="connsiteY2" fmla="*/ 2654164 h 3763437"/>
                <a:gd name="connsiteX3" fmla="*/ 1201582 w 2924069"/>
                <a:gd name="connsiteY3" fmla="*/ 3268278 h 3763437"/>
                <a:gd name="connsiteX4" fmla="*/ 1457382 w 2924069"/>
                <a:gd name="connsiteY4" fmla="*/ 2919290 h 3763437"/>
                <a:gd name="connsiteX5" fmla="*/ 2080406 w 2924069"/>
                <a:gd name="connsiteY5" fmla="*/ 3428956 h 3763437"/>
                <a:gd name="connsiteX6" fmla="*/ 1979689 w 2924069"/>
                <a:gd name="connsiteY6" fmla="*/ 3763437 h 3763437"/>
                <a:gd name="connsiteX7" fmla="*/ 2684226 w 2924069"/>
                <a:gd name="connsiteY7" fmla="*/ 3658505 h 3763437"/>
                <a:gd name="connsiteX8" fmla="*/ 2924069 w 2924069"/>
                <a:gd name="connsiteY8" fmla="*/ 2908997 h 3763437"/>
                <a:gd name="connsiteX9" fmla="*/ 2459374 w 2924069"/>
                <a:gd name="connsiteY9" fmla="*/ 1619843 h 3763437"/>
                <a:gd name="connsiteX10" fmla="*/ 1784817 w 2924069"/>
                <a:gd name="connsiteY10" fmla="*/ 1409981 h 3763437"/>
                <a:gd name="connsiteX11" fmla="*/ 1746001 w 2924069"/>
                <a:gd name="connsiteY11" fmla="*/ 873618 h 3763437"/>
                <a:gd name="connsiteX12" fmla="*/ 1009338 w 2924069"/>
                <a:gd name="connsiteY12" fmla="*/ 0 h 3763437"/>
                <a:gd name="connsiteX13" fmla="*/ 27120 w 2924069"/>
                <a:gd name="connsiteY13" fmla="*/ 291197 h 3763437"/>
                <a:gd name="connsiteX14" fmla="*/ 345761 w 2924069"/>
                <a:gd name="connsiteY14" fmla="*/ 1394991 h 3763437"/>
                <a:gd name="connsiteX0" fmla="*/ 345761 w 2924069"/>
                <a:gd name="connsiteY0" fmla="*/ 1394991 h 3763437"/>
                <a:gd name="connsiteX1" fmla="*/ 600594 w 2924069"/>
                <a:gd name="connsiteY1" fmla="*/ 2549233 h 3763437"/>
                <a:gd name="connsiteX2" fmla="*/ 450692 w 2924069"/>
                <a:gd name="connsiteY2" fmla="*/ 2654164 h 3763437"/>
                <a:gd name="connsiteX3" fmla="*/ 1201582 w 2924069"/>
                <a:gd name="connsiteY3" fmla="*/ 3268278 h 3763437"/>
                <a:gd name="connsiteX4" fmla="*/ 1457382 w 2924069"/>
                <a:gd name="connsiteY4" fmla="*/ 2919290 h 3763437"/>
                <a:gd name="connsiteX5" fmla="*/ 2080406 w 2924069"/>
                <a:gd name="connsiteY5" fmla="*/ 3428956 h 3763437"/>
                <a:gd name="connsiteX6" fmla="*/ 1979689 w 2924069"/>
                <a:gd name="connsiteY6" fmla="*/ 3763437 h 3763437"/>
                <a:gd name="connsiteX7" fmla="*/ 2684226 w 2924069"/>
                <a:gd name="connsiteY7" fmla="*/ 3658505 h 3763437"/>
                <a:gd name="connsiteX8" fmla="*/ 2924069 w 2924069"/>
                <a:gd name="connsiteY8" fmla="*/ 2908997 h 3763437"/>
                <a:gd name="connsiteX9" fmla="*/ 2459374 w 2924069"/>
                <a:gd name="connsiteY9" fmla="*/ 1619843 h 3763437"/>
                <a:gd name="connsiteX10" fmla="*/ 1784817 w 2924069"/>
                <a:gd name="connsiteY10" fmla="*/ 1409981 h 3763437"/>
                <a:gd name="connsiteX11" fmla="*/ 1746001 w 2924069"/>
                <a:gd name="connsiteY11" fmla="*/ 873618 h 3763437"/>
                <a:gd name="connsiteX12" fmla="*/ 1009338 w 2924069"/>
                <a:gd name="connsiteY12" fmla="*/ 0 h 3763437"/>
                <a:gd name="connsiteX13" fmla="*/ 27121 w 2924069"/>
                <a:gd name="connsiteY13" fmla="*/ 465902 h 3763437"/>
                <a:gd name="connsiteX14" fmla="*/ 345761 w 2924069"/>
                <a:gd name="connsiteY14" fmla="*/ 1394991 h 3763437"/>
                <a:gd name="connsiteX0" fmla="*/ 345761 w 2924069"/>
                <a:gd name="connsiteY0" fmla="*/ 1394991 h 3763437"/>
                <a:gd name="connsiteX1" fmla="*/ 600594 w 2924069"/>
                <a:gd name="connsiteY1" fmla="*/ 2549233 h 3763437"/>
                <a:gd name="connsiteX2" fmla="*/ 450692 w 2924069"/>
                <a:gd name="connsiteY2" fmla="*/ 2654164 h 3763437"/>
                <a:gd name="connsiteX3" fmla="*/ 1201582 w 2924069"/>
                <a:gd name="connsiteY3" fmla="*/ 3268278 h 3763437"/>
                <a:gd name="connsiteX4" fmla="*/ 1457382 w 2924069"/>
                <a:gd name="connsiteY4" fmla="*/ 2919290 h 3763437"/>
                <a:gd name="connsiteX5" fmla="*/ 2080406 w 2924069"/>
                <a:gd name="connsiteY5" fmla="*/ 3428956 h 3763437"/>
                <a:gd name="connsiteX6" fmla="*/ 1979689 w 2924069"/>
                <a:gd name="connsiteY6" fmla="*/ 3763437 h 3763437"/>
                <a:gd name="connsiteX7" fmla="*/ 2684226 w 2924069"/>
                <a:gd name="connsiteY7" fmla="*/ 3658505 h 3763437"/>
                <a:gd name="connsiteX8" fmla="*/ 2924069 w 2924069"/>
                <a:gd name="connsiteY8" fmla="*/ 2908997 h 3763437"/>
                <a:gd name="connsiteX9" fmla="*/ 2459374 w 2924069"/>
                <a:gd name="connsiteY9" fmla="*/ 1619843 h 3763437"/>
                <a:gd name="connsiteX10" fmla="*/ 1784817 w 2924069"/>
                <a:gd name="connsiteY10" fmla="*/ 1409981 h 3763437"/>
                <a:gd name="connsiteX11" fmla="*/ 1868765 w 2924069"/>
                <a:gd name="connsiteY11" fmla="*/ 931853 h 3763437"/>
                <a:gd name="connsiteX12" fmla="*/ 1009338 w 2924069"/>
                <a:gd name="connsiteY12" fmla="*/ 0 h 3763437"/>
                <a:gd name="connsiteX13" fmla="*/ 27121 w 2924069"/>
                <a:gd name="connsiteY13" fmla="*/ 465902 h 3763437"/>
                <a:gd name="connsiteX14" fmla="*/ 345761 w 2924069"/>
                <a:gd name="connsiteY14" fmla="*/ 1394991 h 3763437"/>
                <a:gd name="connsiteX0" fmla="*/ 345761 w 2924069"/>
                <a:gd name="connsiteY0" fmla="*/ 1394991 h 3763437"/>
                <a:gd name="connsiteX1" fmla="*/ 600594 w 2924069"/>
                <a:gd name="connsiteY1" fmla="*/ 2549233 h 3763437"/>
                <a:gd name="connsiteX2" fmla="*/ 450692 w 2924069"/>
                <a:gd name="connsiteY2" fmla="*/ 2654164 h 3763437"/>
                <a:gd name="connsiteX3" fmla="*/ 1201582 w 2924069"/>
                <a:gd name="connsiteY3" fmla="*/ 3268278 h 3763437"/>
                <a:gd name="connsiteX4" fmla="*/ 1457382 w 2924069"/>
                <a:gd name="connsiteY4" fmla="*/ 2919290 h 3763437"/>
                <a:gd name="connsiteX5" fmla="*/ 2080406 w 2924069"/>
                <a:gd name="connsiteY5" fmla="*/ 3428956 h 3763437"/>
                <a:gd name="connsiteX6" fmla="*/ 1979689 w 2924069"/>
                <a:gd name="connsiteY6" fmla="*/ 3763437 h 3763437"/>
                <a:gd name="connsiteX7" fmla="*/ 2684226 w 2924069"/>
                <a:gd name="connsiteY7" fmla="*/ 3658505 h 3763437"/>
                <a:gd name="connsiteX8" fmla="*/ 2924069 w 2924069"/>
                <a:gd name="connsiteY8" fmla="*/ 2908997 h 3763437"/>
                <a:gd name="connsiteX9" fmla="*/ 2459374 w 2924069"/>
                <a:gd name="connsiteY9" fmla="*/ 1619843 h 3763437"/>
                <a:gd name="connsiteX10" fmla="*/ 1968998 w 2924069"/>
                <a:gd name="connsiteY10" fmla="*/ 1351749 h 3763437"/>
                <a:gd name="connsiteX11" fmla="*/ 1868765 w 2924069"/>
                <a:gd name="connsiteY11" fmla="*/ 931853 h 3763437"/>
                <a:gd name="connsiteX12" fmla="*/ 1009338 w 2924069"/>
                <a:gd name="connsiteY12" fmla="*/ 0 h 3763437"/>
                <a:gd name="connsiteX13" fmla="*/ 27121 w 2924069"/>
                <a:gd name="connsiteY13" fmla="*/ 465902 h 3763437"/>
                <a:gd name="connsiteX14" fmla="*/ 345761 w 2924069"/>
                <a:gd name="connsiteY14" fmla="*/ 1394991 h 376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924069" h="3763437">
                  <a:moveTo>
                    <a:pt x="345761" y="1394991"/>
                  </a:moveTo>
                  <a:lnTo>
                    <a:pt x="600594" y="2549233"/>
                  </a:lnTo>
                  <a:lnTo>
                    <a:pt x="450692" y="2654164"/>
                  </a:lnTo>
                  <a:lnTo>
                    <a:pt x="1201582" y="3268278"/>
                  </a:lnTo>
                  <a:lnTo>
                    <a:pt x="1457382" y="2919290"/>
                  </a:lnTo>
                  <a:lnTo>
                    <a:pt x="2080406" y="3428956"/>
                  </a:lnTo>
                  <a:lnTo>
                    <a:pt x="1979689" y="3763437"/>
                  </a:lnTo>
                  <a:lnTo>
                    <a:pt x="2684226" y="3658505"/>
                  </a:lnTo>
                  <a:lnTo>
                    <a:pt x="2924069" y="2908997"/>
                  </a:lnTo>
                  <a:lnTo>
                    <a:pt x="2459374" y="1619843"/>
                  </a:lnTo>
                  <a:lnTo>
                    <a:pt x="1968998" y="1351749"/>
                  </a:lnTo>
                  <a:cubicBezTo>
                    <a:pt x="1798946" y="1237084"/>
                    <a:pt x="1998011" y="1166850"/>
                    <a:pt x="1868765" y="931853"/>
                  </a:cubicBezTo>
                  <a:lnTo>
                    <a:pt x="1009338" y="0"/>
                  </a:lnTo>
                  <a:lnTo>
                    <a:pt x="27121" y="465902"/>
                  </a:lnTo>
                  <a:cubicBezTo>
                    <a:pt x="-114170" y="640166"/>
                    <a:pt x="342264" y="1106012"/>
                    <a:pt x="345761" y="1394991"/>
                  </a:cubicBez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grpSp>
          <p:nvGrpSpPr>
            <p:cNvPr id="109" name="Group 108"/>
            <p:cNvGrpSpPr/>
            <p:nvPr/>
          </p:nvGrpSpPr>
          <p:grpSpPr>
            <a:xfrm>
              <a:off x="710669" y="1447055"/>
              <a:ext cx="2169921" cy="1855738"/>
              <a:chOff x="661867" y="112713"/>
              <a:chExt cx="2183947" cy="1850654"/>
            </a:xfrm>
          </p:grpSpPr>
          <p:sp>
            <p:nvSpPr>
              <p:cNvPr id="312" name="Freeform 311"/>
              <p:cNvSpPr>
                <a:spLocks/>
              </p:cNvSpPr>
              <p:nvPr/>
            </p:nvSpPr>
            <p:spPr bwMode="auto">
              <a:xfrm>
                <a:off x="2687064" y="1618879"/>
                <a:ext cx="158750" cy="179388"/>
              </a:xfrm>
              <a:custGeom>
                <a:avLst/>
                <a:gdLst>
                  <a:gd name="T0" fmla="*/ 0 w 120"/>
                  <a:gd name="T1" fmla="*/ 2147483647 h 138"/>
                  <a:gd name="T2" fmla="*/ 0 w 120"/>
                  <a:gd name="T3" fmla="*/ 2147483647 h 138"/>
                  <a:gd name="T4" fmla="*/ 2147483647 w 120"/>
                  <a:gd name="T5" fmla="*/ 2147483647 h 138"/>
                  <a:gd name="T6" fmla="*/ 2147483647 w 120"/>
                  <a:gd name="T7" fmla="*/ 2147483647 h 138"/>
                  <a:gd name="T8" fmla="*/ 2147483647 w 120"/>
                  <a:gd name="T9" fmla="*/ 0 h 138"/>
                  <a:gd name="T10" fmla="*/ 2147483647 w 120"/>
                  <a:gd name="T11" fmla="*/ 2147483647 h 138"/>
                  <a:gd name="T12" fmla="*/ 2147483647 w 120"/>
                  <a:gd name="T13" fmla="*/ 2147483647 h 138"/>
                  <a:gd name="T14" fmla="*/ 2147483647 w 120"/>
                  <a:gd name="T15" fmla="*/ 2147483647 h 138"/>
                  <a:gd name="T16" fmla="*/ 2147483647 w 120"/>
                  <a:gd name="T17" fmla="*/ 2147483647 h 138"/>
                  <a:gd name="T18" fmla="*/ 2147483647 w 120"/>
                  <a:gd name="T19" fmla="*/ 2147483647 h 138"/>
                  <a:gd name="T20" fmla="*/ 2147483647 w 120"/>
                  <a:gd name="T21" fmla="*/ 2147483647 h 138"/>
                  <a:gd name="T22" fmla="*/ 2147483647 w 120"/>
                  <a:gd name="T23" fmla="*/ 2147483647 h 138"/>
                  <a:gd name="T24" fmla="*/ 2147483647 w 120"/>
                  <a:gd name="T25" fmla="*/ 2147483647 h 138"/>
                  <a:gd name="T26" fmla="*/ 2147483647 w 120"/>
                  <a:gd name="T27" fmla="*/ 2147483647 h 138"/>
                  <a:gd name="T28" fmla="*/ 2147483647 w 120"/>
                  <a:gd name="T29" fmla="*/ 2147483647 h 138"/>
                  <a:gd name="T30" fmla="*/ 2147483647 w 120"/>
                  <a:gd name="T31" fmla="*/ 2147483647 h 138"/>
                  <a:gd name="T32" fmla="*/ 0 w 120"/>
                  <a:gd name="T33" fmla="*/ 2147483647 h 13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20" h="138">
                    <a:moveTo>
                      <a:pt x="0" y="114"/>
                    </a:moveTo>
                    <a:lnTo>
                      <a:pt x="0" y="90"/>
                    </a:lnTo>
                    <a:lnTo>
                      <a:pt x="6" y="72"/>
                    </a:lnTo>
                    <a:lnTo>
                      <a:pt x="36" y="24"/>
                    </a:lnTo>
                    <a:lnTo>
                      <a:pt x="66" y="0"/>
                    </a:lnTo>
                    <a:lnTo>
                      <a:pt x="66" y="18"/>
                    </a:lnTo>
                    <a:lnTo>
                      <a:pt x="54" y="42"/>
                    </a:lnTo>
                    <a:lnTo>
                      <a:pt x="60" y="54"/>
                    </a:lnTo>
                    <a:lnTo>
                      <a:pt x="108" y="78"/>
                    </a:lnTo>
                    <a:lnTo>
                      <a:pt x="120" y="108"/>
                    </a:lnTo>
                    <a:lnTo>
                      <a:pt x="120" y="132"/>
                    </a:lnTo>
                    <a:lnTo>
                      <a:pt x="96" y="138"/>
                    </a:lnTo>
                    <a:lnTo>
                      <a:pt x="84" y="120"/>
                    </a:lnTo>
                    <a:lnTo>
                      <a:pt x="66" y="126"/>
                    </a:lnTo>
                    <a:lnTo>
                      <a:pt x="48" y="114"/>
                    </a:lnTo>
                    <a:lnTo>
                      <a:pt x="18" y="108"/>
                    </a:lnTo>
                    <a:lnTo>
                      <a:pt x="0" y="114"/>
                    </a:ln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313" name="Freeform 312"/>
              <p:cNvSpPr>
                <a:spLocks/>
              </p:cNvSpPr>
              <p:nvPr/>
            </p:nvSpPr>
            <p:spPr bwMode="auto">
              <a:xfrm>
                <a:off x="661867" y="520700"/>
                <a:ext cx="2112509" cy="1442667"/>
              </a:xfrm>
              <a:custGeom>
                <a:avLst/>
                <a:gdLst>
                  <a:gd name="T0" fmla="*/ 2147483647 w 1622"/>
                  <a:gd name="T1" fmla="*/ 2147483647 h 1117"/>
                  <a:gd name="T2" fmla="*/ 2147483647 w 1622"/>
                  <a:gd name="T3" fmla="*/ 2147483647 h 1117"/>
                  <a:gd name="T4" fmla="*/ 2147483647 w 1622"/>
                  <a:gd name="T5" fmla="*/ 2147483647 h 1117"/>
                  <a:gd name="T6" fmla="*/ 2147483647 w 1622"/>
                  <a:gd name="T7" fmla="*/ 2147483647 h 1117"/>
                  <a:gd name="T8" fmla="*/ 2147483647 w 1622"/>
                  <a:gd name="T9" fmla="*/ 2147483647 h 1117"/>
                  <a:gd name="T10" fmla="*/ 2147483647 w 1622"/>
                  <a:gd name="T11" fmla="*/ 2147483647 h 1117"/>
                  <a:gd name="T12" fmla="*/ 2147483647 w 1622"/>
                  <a:gd name="T13" fmla="*/ 2147483647 h 1117"/>
                  <a:gd name="T14" fmla="*/ 2147483647 w 1622"/>
                  <a:gd name="T15" fmla="*/ 2147483647 h 1117"/>
                  <a:gd name="T16" fmla="*/ 2147483647 w 1622"/>
                  <a:gd name="T17" fmla="*/ 2147483647 h 1117"/>
                  <a:gd name="T18" fmla="*/ 2147483647 w 1622"/>
                  <a:gd name="T19" fmla="*/ 2147483647 h 1117"/>
                  <a:gd name="T20" fmla="*/ 2147483647 w 1622"/>
                  <a:gd name="T21" fmla="*/ 2147483647 h 1117"/>
                  <a:gd name="T22" fmla="*/ 2147483647 w 1622"/>
                  <a:gd name="T23" fmla="*/ 2147483647 h 1117"/>
                  <a:gd name="T24" fmla="*/ 2147483647 w 1622"/>
                  <a:gd name="T25" fmla="*/ 2147483647 h 1117"/>
                  <a:gd name="T26" fmla="*/ 2147483647 w 1622"/>
                  <a:gd name="T27" fmla="*/ 2147483647 h 1117"/>
                  <a:gd name="T28" fmla="*/ 2147483647 w 1622"/>
                  <a:gd name="T29" fmla="*/ 2147483647 h 1117"/>
                  <a:gd name="T30" fmla="*/ 2147483647 w 1622"/>
                  <a:gd name="T31" fmla="*/ 2147483647 h 1117"/>
                  <a:gd name="T32" fmla="*/ 2147483647 w 1622"/>
                  <a:gd name="T33" fmla="*/ 2147483647 h 1117"/>
                  <a:gd name="T34" fmla="*/ 2147483647 w 1622"/>
                  <a:gd name="T35" fmla="*/ 2147483647 h 1117"/>
                  <a:gd name="T36" fmla="*/ 2147483647 w 1622"/>
                  <a:gd name="T37" fmla="*/ 2147483647 h 1117"/>
                  <a:gd name="T38" fmla="*/ 2147483647 w 1622"/>
                  <a:gd name="T39" fmla="*/ 2147483647 h 1117"/>
                  <a:gd name="T40" fmla="*/ 2147483647 w 1622"/>
                  <a:gd name="T41" fmla="*/ 2147483647 h 1117"/>
                  <a:gd name="T42" fmla="*/ 2147483647 w 1622"/>
                  <a:gd name="T43" fmla="*/ 2147483647 h 1117"/>
                  <a:gd name="T44" fmla="*/ 2147483647 w 1622"/>
                  <a:gd name="T45" fmla="*/ 2147483647 h 1117"/>
                  <a:gd name="T46" fmla="*/ 2147483647 w 1622"/>
                  <a:gd name="T47" fmla="*/ 2147483647 h 1117"/>
                  <a:gd name="T48" fmla="*/ 2147483647 w 1622"/>
                  <a:gd name="T49" fmla="*/ 2147483647 h 1117"/>
                  <a:gd name="T50" fmla="*/ 2147483647 w 1622"/>
                  <a:gd name="T51" fmla="*/ 2147483647 h 1117"/>
                  <a:gd name="T52" fmla="*/ 2147483647 w 1622"/>
                  <a:gd name="T53" fmla="*/ 2147483647 h 1117"/>
                  <a:gd name="T54" fmla="*/ 2147483647 w 1622"/>
                  <a:gd name="T55" fmla="*/ 2147483647 h 1117"/>
                  <a:gd name="T56" fmla="*/ 2147483647 w 1622"/>
                  <a:gd name="T57" fmla="*/ 2147483647 h 1117"/>
                  <a:gd name="T58" fmla="*/ 2147483647 w 1622"/>
                  <a:gd name="T59" fmla="*/ 2147483647 h 1117"/>
                  <a:gd name="T60" fmla="*/ 2147483647 w 1622"/>
                  <a:gd name="T61" fmla="*/ 2147483647 h 1117"/>
                  <a:gd name="T62" fmla="*/ 2147483647 w 1622"/>
                  <a:gd name="T63" fmla="*/ 2147483647 h 1117"/>
                  <a:gd name="T64" fmla="*/ 2147483647 w 1622"/>
                  <a:gd name="T65" fmla="*/ 2147483647 h 1117"/>
                  <a:gd name="T66" fmla="*/ 2147483647 w 1622"/>
                  <a:gd name="T67" fmla="*/ 2147483647 h 1117"/>
                  <a:gd name="T68" fmla="*/ 2147483647 w 1622"/>
                  <a:gd name="T69" fmla="*/ 2147483647 h 1117"/>
                  <a:gd name="T70" fmla="*/ 2147483647 w 1622"/>
                  <a:gd name="T71" fmla="*/ 2147483647 h 1117"/>
                  <a:gd name="T72" fmla="*/ 2147483647 w 1622"/>
                  <a:gd name="T73" fmla="*/ 2147483647 h 1117"/>
                  <a:gd name="T74" fmla="*/ 2147483647 w 1622"/>
                  <a:gd name="T75" fmla="*/ 2147483647 h 1117"/>
                  <a:gd name="T76" fmla="*/ 2147483647 w 1622"/>
                  <a:gd name="T77" fmla="*/ 2147483647 h 1117"/>
                  <a:gd name="T78" fmla="*/ 2147483647 w 1622"/>
                  <a:gd name="T79" fmla="*/ 2147483647 h 1117"/>
                  <a:gd name="T80" fmla="*/ 2147483647 w 1622"/>
                  <a:gd name="T81" fmla="*/ 0 h 1117"/>
                  <a:gd name="T82" fmla="*/ 2147483647 w 1622"/>
                  <a:gd name="T83" fmla="*/ 2147483647 h 1117"/>
                  <a:gd name="T84" fmla="*/ 2147483647 w 1622"/>
                  <a:gd name="T85" fmla="*/ 2147483647 h 1117"/>
                  <a:gd name="T86" fmla="*/ 2147483647 w 1622"/>
                  <a:gd name="T87" fmla="*/ 2147483647 h 1117"/>
                  <a:gd name="T88" fmla="*/ 2147483647 w 1622"/>
                  <a:gd name="T89" fmla="*/ 2147483647 h 1117"/>
                  <a:gd name="T90" fmla="*/ 2147483647 w 1622"/>
                  <a:gd name="T91" fmla="*/ 2147483647 h 1117"/>
                  <a:gd name="T92" fmla="*/ 2147483647 w 1622"/>
                  <a:gd name="T93" fmla="*/ 2147483647 h 1117"/>
                  <a:gd name="T94" fmla="*/ 2147483647 w 1622"/>
                  <a:gd name="T95" fmla="*/ 2147483647 h 1117"/>
                  <a:gd name="T96" fmla="*/ 2147483647 w 1622"/>
                  <a:gd name="T97" fmla="*/ 2147483647 h 1117"/>
                  <a:gd name="T98" fmla="*/ 2147483647 w 1622"/>
                  <a:gd name="T99" fmla="*/ 2147483647 h 1117"/>
                  <a:gd name="T100" fmla="*/ 2147483647 w 1622"/>
                  <a:gd name="T101" fmla="*/ 2147483647 h 1117"/>
                  <a:gd name="T102" fmla="*/ 2147483647 w 1622"/>
                  <a:gd name="T103" fmla="*/ 2147483647 h 1117"/>
                  <a:gd name="T104" fmla="*/ 2147483647 w 1622"/>
                  <a:gd name="T105" fmla="*/ 2147483647 h 1117"/>
                  <a:gd name="T106" fmla="*/ 2147483647 w 1622"/>
                  <a:gd name="T107" fmla="*/ 2147483647 h 1117"/>
                  <a:gd name="T108" fmla="*/ 2147483647 w 1622"/>
                  <a:gd name="T109" fmla="*/ 2147483647 h 1117"/>
                  <a:gd name="T110" fmla="*/ 0 w 1622"/>
                  <a:gd name="T111" fmla="*/ 2147483647 h 1117"/>
                  <a:gd name="T112" fmla="*/ 2147483647 w 1622"/>
                  <a:gd name="T113" fmla="*/ 2147483647 h 1117"/>
                  <a:gd name="T114" fmla="*/ 2147483647 w 1622"/>
                  <a:gd name="T115" fmla="*/ 2147483647 h 1117"/>
                  <a:gd name="T116" fmla="*/ 2147483647 w 1622"/>
                  <a:gd name="T117" fmla="*/ 2147483647 h 1117"/>
                  <a:gd name="T118" fmla="*/ 2147483647 w 1622"/>
                  <a:gd name="T119" fmla="*/ 2147483647 h 1117"/>
                  <a:gd name="T120" fmla="*/ 2147483647 w 1622"/>
                  <a:gd name="T121" fmla="*/ 2147483647 h 1117"/>
                  <a:gd name="T122" fmla="*/ 2147483647 w 1622"/>
                  <a:gd name="T123" fmla="*/ 2147483647 h 1117"/>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1622" h="1117">
                    <a:moveTo>
                      <a:pt x="931" y="943"/>
                    </a:moveTo>
                    <a:lnTo>
                      <a:pt x="973" y="955"/>
                    </a:lnTo>
                    <a:lnTo>
                      <a:pt x="1075" y="1003"/>
                    </a:lnTo>
                    <a:lnTo>
                      <a:pt x="1111" y="1081"/>
                    </a:lnTo>
                    <a:lnTo>
                      <a:pt x="1111" y="1117"/>
                    </a:lnTo>
                    <a:lnTo>
                      <a:pt x="1190" y="1093"/>
                    </a:lnTo>
                    <a:lnTo>
                      <a:pt x="1232" y="1057"/>
                    </a:lnTo>
                    <a:lnTo>
                      <a:pt x="1262" y="1051"/>
                    </a:lnTo>
                    <a:lnTo>
                      <a:pt x="1322" y="1039"/>
                    </a:lnTo>
                    <a:lnTo>
                      <a:pt x="1370" y="979"/>
                    </a:lnTo>
                    <a:lnTo>
                      <a:pt x="1394" y="985"/>
                    </a:lnTo>
                    <a:lnTo>
                      <a:pt x="1406" y="1045"/>
                    </a:lnTo>
                    <a:lnTo>
                      <a:pt x="1430" y="1027"/>
                    </a:lnTo>
                    <a:lnTo>
                      <a:pt x="1448" y="1033"/>
                    </a:lnTo>
                    <a:lnTo>
                      <a:pt x="1436" y="1051"/>
                    </a:lnTo>
                    <a:lnTo>
                      <a:pt x="1448" y="1075"/>
                    </a:lnTo>
                    <a:lnTo>
                      <a:pt x="1502" y="1033"/>
                    </a:lnTo>
                    <a:lnTo>
                      <a:pt x="1520" y="1009"/>
                    </a:lnTo>
                    <a:lnTo>
                      <a:pt x="1466" y="1003"/>
                    </a:lnTo>
                    <a:lnTo>
                      <a:pt x="1442" y="967"/>
                    </a:lnTo>
                    <a:lnTo>
                      <a:pt x="1460" y="949"/>
                    </a:lnTo>
                    <a:lnTo>
                      <a:pt x="1466" y="925"/>
                    </a:lnTo>
                    <a:lnTo>
                      <a:pt x="1382" y="943"/>
                    </a:lnTo>
                    <a:lnTo>
                      <a:pt x="1340" y="979"/>
                    </a:lnTo>
                    <a:lnTo>
                      <a:pt x="1358" y="937"/>
                    </a:lnTo>
                    <a:lnTo>
                      <a:pt x="1400" y="913"/>
                    </a:lnTo>
                    <a:lnTo>
                      <a:pt x="1424" y="889"/>
                    </a:lnTo>
                    <a:lnTo>
                      <a:pt x="1496" y="895"/>
                    </a:lnTo>
                    <a:lnTo>
                      <a:pt x="1550" y="889"/>
                    </a:lnTo>
                    <a:lnTo>
                      <a:pt x="1592" y="859"/>
                    </a:lnTo>
                    <a:lnTo>
                      <a:pt x="1622" y="835"/>
                    </a:lnTo>
                    <a:lnTo>
                      <a:pt x="1598" y="775"/>
                    </a:lnTo>
                    <a:lnTo>
                      <a:pt x="1592" y="745"/>
                    </a:lnTo>
                    <a:lnTo>
                      <a:pt x="1514" y="703"/>
                    </a:lnTo>
                    <a:lnTo>
                      <a:pt x="1514" y="679"/>
                    </a:lnTo>
                    <a:lnTo>
                      <a:pt x="1448" y="553"/>
                    </a:lnTo>
                    <a:lnTo>
                      <a:pt x="1430" y="607"/>
                    </a:lnTo>
                    <a:lnTo>
                      <a:pt x="1388" y="619"/>
                    </a:lnTo>
                    <a:lnTo>
                      <a:pt x="1376" y="607"/>
                    </a:lnTo>
                    <a:lnTo>
                      <a:pt x="1358" y="607"/>
                    </a:lnTo>
                    <a:lnTo>
                      <a:pt x="1358" y="522"/>
                    </a:lnTo>
                    <a:lnTo>
                      <a:pt x="1322" y="516"/>
                    </a:lnTo>
                    <a:lnTo>
                      <a:pt x="1292" y="474"/>
                    </a:lnTo>
                    <a:lnTo>
                      <a:pt x="1262" y="480"/>
                    </a:lnTo>
                    <a:lnTo>
                      <a:pt x="1226" y="468"/>
                    </a:lnTo>
                    <a:lnTo>
                      <a:pt x="1202" y="474"/>
                    </a:lnTo>
                    <a:lnTo>
                      <a:pt x="1202" y="504"/>
                    </a:lnTo>
                    <a:lnTo>
                      <a:pt x="1202" y="535"/>
                    </a:lnTo>
                    <a:lnTo>
                      <a:pt x="1196" y="601"/>
                    </a:lnTo>
                    <a:lnTo>
                      <a:pt x="1190" y="625"/>
                    </a:lnTo>
                    <a:lnTo>
                      <a:pt x="1226" y="697"/>
                    </a:lnTo>
                    <a:lnTo>
                      <a:pt x="1166" y="751"/>
                    </a:lnTo>
                    <a:lnTo>
                      <a:pt x="1178" y="841"/>
                    </a:lnTo>
                    <a:lnTo>
                      <a:pt x="1154" y="859"/>
                    </a:lnTo>
                    <a:lnTo>
                      <a:pt x="1130" y="847"/>
                    </a:lnTo>
                    <a:lnTo>
                      <a:pt x="1117" y="739"/>
                    </a:lnTo>
                    <a:lnTo>
                      <a:pt x="1057" y="733"/>
                    </a:lnTo>
                    <a:lnTo>
                      <a:pt x="943" y="667"/>
                    </a:lnTo>
                    <a:lnTo>
                      <a:pt x="919" y="667"/>
                    </a:lnTo>
                    <a:lnTo>
                      <a:pt x="901" y="613"/>
                    </a:lnTo>
                    <a:lnTo>
                      <a:pt x="883" y="595"/>
                    </a:lnTo>
                    <a:lnTo>
                      <a:pt x="931" y="450"/>
                    </a:lnTo>
                    <a:lnTo>
                      <a:pt x="961" y="420"/>
                    </a:lnTo>
                    <a:lnTo>
                      <a:pt x="991" y="402"/>
                    </a:lnTo>
                    <a:lnTo>
                      <a:pt x="1009" y="402"/>
                    </a:lnTo>
                    <a:lnTo>
                      <a:pt x="1027" y="342"/>
                    </a:lnTo>
                    <a:lnTo>
                      <a:pt x="1039" y="294"/>
                    </a:lnTo>
                    <a:lnTo>
                      <a:pt x="1099" y="282"/>
                    </a:lnTo>
                    <a:lnTo>
                      <a:pt x="1130" y="258"/>
                    </a:lnTo>
                    <a:lnTo>
                      <a:pt x="1111" y="204"/>
                    </a:lnTo>
                    <a:lnTo>
                      <a:pt x="1124" y="168"/>
                    </a:lnTo>
                    <a:lnTo>
                      <a:pt x="1099" y="138"/>
                    </a:lnTo>
                    <a:lnTo>
                      <a:pt x="1063" y="132"/>
                    </a:lnTo>
                    <a:lnTo>
                      <a:pt x="1051" y="192"/>
                    </a:lnTo>
                    <a:lnTo>
                      <a:pt x="1015" y="246"/>
                    </a:lnTo>
                    <a:lnTo>
                      <a:pt x="1003" y="180"/>
                    </a:lnTo>
                    <a:lnTo>
                      <a:pt x="985" y="156"/>
                    </a:lnTo>
                    <a:lnTo>
                      <a:pt x="961" y="186"/>
                    </a:lnTo>
                    <a:lnTo>
                      <a:pt x="949" y="156"/>
                    </a:lnTo>
                    <a:lnTo>
                      <a:pt x="925" y="114"/>
                    </a:lnTo>
                    <a:lnTo>
                      <a:pt x="913" y="60"/>
                    </a:lnTo>
                    <a:lnTo>
                      <a:pt x="877" y="0"/>
                    </a:lnTo>
                    <a:lnTo>
                      <a:pt x="847" y="84"/>
                    </a:lnTo>
                    <a:lnTo>
                      <a:pt x="847" y="114"/>
                    </a:lnTo>
                    <a:lnTo>
                      <a:pt x="889" y="150"/>
                    </a:lnTo>
                    <a:lnTo>
                      <a:pt x="895" y="186"/>
                    </a:lnTo>
                    <a:lnTo>
                      <a:pt x="865" y="216"/>
                    </a:lnTo>
                    <a:lnTo>
                      <a:pt x="847" y="204"/>
                    </a:lnTo>
                    <a:lnTo>
                      <a:pt x="823" y="204"/>
                    </a:lnTo>
                    <a:lnTo>
                      <a:pt x="811" y="234"/>
                    </a:lnTo>
                    <a:lnTo>
                      <a:pt x="769" y="222"/>
                    </a:lnTo>
                    <a:lnTo>
                      <a:pt x="709" y="222"/>
                    </a:lnTo>
                    <a:lnTo>
                      <a:pt x="673" y="198"/>
                    </a:lnTo>
                    <a:lnTo>
                      <a:pt x="619" y="210"/>
                    </a:lnTo>
                    <a:lnTo>
                      <a:pt x="625" y="228"/>
                    </a:lnTo>
                    <a:lnTo>
                      <a:pt x="631" y="264"/>
                    </a:lnTo>
                    <a:lnTo>
                      <a:pt x="613" y="258"/>
                    </a:lnTo>
                    <a:lnTo>
                      <a:pt x="583" y="222"/>
                    </a:lnTo>
                    <a:lnTo>
                      <a:pt x="517" y="234"/>
                    </a:lnTo>
                    <a:lnTo>
                      <a:pt x="487" y="210"/>
                    </a:lnTo>
                    <a:lnTo>
                      <a:pt x="499" y="186"/>
                    </a:lnTo>
                    <a:lnTo>
                      <a:pt x="457" y="174"/>
                    </a:lnTo>
                    <a:lnTo>
                      <a:pt x="409" y="150"/>
                    </a:lnTo>
                    <a:lnTo>
                      <a:pt x="343" y="132"/>
                    </a:lnTo>
                    <a:lnTo>
                      <a:pt x="301" y="144"/>
                    </a:lnTo>
                    <a:lnTo>
                      <a:pt x="259" y="96"/>
                    </a:lnTo>
                    <a:lnTo>
                      <a:pt x="145" y="150"/>
                    </a:lnTo>
                    <a:lnTo>
                      <a:pt x="115" y="180"/>
                    </a:lnTo>
                    <a:lnTo>
                      <a:pt x="67" y="168"/>
                    </a:lnTo>
                    <a:lnTo>
                      <a:pt x="37" y="138"/>
                    </a:lnTo>
                    <a:lnTo>
                      <a:pt x="0" y="126"/>
                    </a:lnTo>
                    <a:lnTo>
                      <a:pt x="0" y="553"/>
                    </a:lnTo>
                    <a:lnTo>
                      <a:pt x="61" y="583"/>
                    </a:lnTo>
                    <a:lnTo>
                      <a:pt x="109" y="559"/>
                    </a:lnTo>
                    <a:lnTo>
                      <a:pt x="175" y="679"/>
                    </a:lnTo>
                    <a:lnTo>
                      <a:pt x="217" y="709"/>
                    </a:lnTo>
                    <a:lnTo>
                      <a:pt x="211" y="757"/>
                    </a:lnTo>
                    <a:lnTo>
                      <a:pt x="229" y="793"/>
                    </a:lnTo>
                    <a:lnTo>
                      <a:pt x="277" y="859"/>
                    </a:lnTo>
                    <a:lnTo>
                      <a:pt x="343" y="901"/>
                    </a:lnTo>
                    <a:lnTo>
                      <a:pt x="349" y="931"/>
                    </a:lnTo>
                    <a:lnTo>
                      <a:pt x="871" y="931"/>
                    </a:lnTo>
                    <a:lnTo>
                      <a:pt x="931" y="943"/>
                    </a:ln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314" name="Freeform 313"/>
              <p:cNvSpPr>
                <a:spLocks/>
              </p:cNvSpPr>
              <p:nvPr/>
            </p:nvSpPr>
            <p:spPr bwMode="auto">
              <a:xfrm>
                <a:off x="2220606" y="852488"/>
                <a:ext cx="3175" cy="6350"/>
              </a:xfrm>
              <a:custGeom>
                <a:avLst/>
                <a:gdLst>
                  <a:gd name="T0" fmla="*/ 2147483647 w 5"/>
                  <a:gd name="T1" fmla="*/ 2147483647 h 8"/>
                  <a:gd name="T2" fmla="*/ 2147483647 w 5"/>
                  <a:gd name="T3" fmla="*/ 2147483647 h 8"/>
                  <a:gd name="T4" fmla="*/ 2147483647 w 5"/>
                  <a:gd name="T5" fmla="*/ 2147483647 h 8"/>
                  <a:gd name="T6" fmla="*/ 2147483647 w 5"/>
                  <a:gd name="T7" fmla="*/ 2147483647 h 8"/>
                  <a:gd name="T8" fmla="*/ 2147483647 w 5"/>
                  <a:gd name="T9" fmla="*/ 0 h 8"/>
                  <a:gd name="T10" fmla="*/ 0 w 5"/>
                  <a:gd name="T11" fmla="*/ 0 h 8"/>
                  <a:gd name="T12" fmla="*/ 0 w 5"/>
                  <a:gd name="T13" fmla="*/ 2147483647 h 8"/>
                  <a:gd name="T14" fmla="*/ 2147483647 w 5"/>
                  <a:gd name="T15" fmla="*/ 2147483647 h 8"/>
                  <a:gd name="T16" fmla="*/ 2147483647 w 5"/>
                  <a:gd name="T17" fmla="*/ 2147483647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 h="8">
                    <a:moveTo>
                      <a:pt x="5" y="8"/>
                    </a:moveTo>
                    <a:lnTo>
                      <a:pt x="5" y="6"/>
                    </a:lnTo>
                    <a:lnTo>
                      <a:pt x="5" y="5"/>
                    </a:lnTo>
                    <a:lnTo>
                      <a:pt x="5" y="2"/>
                    </a:lnTo>
                    <a:lnTo>
                      <a:pt x="3" y="0"/>
                    </a:lnTo>
                    <a:lnTo>
                      <a:pt x="0" y="0"/>
                    </a:lnTo>
                    <a:lnTo>
                      <a:pt x="0" y="1"/>
                    </a:lnTo>
                    <a:lnTo>
                      <a:pt x="2" y="5"/>
                    </a:lnTo>
                    <a:lnTo>
                      <a:pt x="5" y="8"/>
                    </a:ln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315" name="Freeform 314"/>
              <p:cNvSpPr>
                <a:spLocks/>
              </p:cNvSpPr>
              <p:nvPr/>
            </p:nvSpPr>
            <p:spPr bwMode="auto">
              <a:xfrm>
                <a:off x="2057094" y="903288"/>
                <a:ext cx="144462" cy="120650"/>
              </a:xfrm>
              <a:custGeom>
                <a:avLst/>
                <a:gdLst>
                  <a:gd name="T0" fmla="*/ 2147483647 w 135"/>
                  <a:gd name="T1" fmla="*/ 2147483647 h 119"/>
                  <a:gd name="T2" fmla="*/ 2147483647 w 135"/>
                  <a:gd name="T3" fmla="*/ 2147483647 h 119"/>
                  <a:gd name="T4" fmla="*/ 2147483647 w 135"/>
                  <a:gd name="T5" fmla="*/ 2147483647 h 119"/>
                  <a:gd name="T6" fmla="*/ 2147483647 w 135"/>
                  <a:gd name="T7" fmla="*/ 2147483647 h 119"/>
                  <a:gd name="T8" fmla="*/ 2147483647 w 135"/>
                  <a:gd name="T9" fmla="*/ 2147483647 h 119"/>
                  <a:gd name="T10" fmla="*/ 2147483647 w 135"/>
                  <a:gd name="T11" fmla="*/ 2147483647 h 119"/>
                  <a:gd name="T12" fmla="*/ 2147483647 w 135"/>
                  <a:gd name="T13" fmla="*/ 2147483647 h 119"/>
                  <a:gd name="T14" fmla="*/ 2147483647 w 135"/>
                  <a:gd name="T15" fmla="*/ 2147483647 h 119"/>
                  <a:gd name="T16" fmla="*/ 2147483647 w 135"/>
                  <a:gd name="T17" fmla="*/ 2147483647 h 119"/>
                  <a:gd name="T18" fmla="*/ 2147483647 w 135"/>
                  <a:gd name="T19" fmla="*/ 2147483647 h 119"/>
                  <a:gd name="T20" fmla="*/ 2147483647 w 135"/>
                  <a:gd name="T21" fmla="*/ 2147483647 h 119"/>
                  <a:gd name="T22" fmla="*/ 2147483647 w 135"/>
                  <a:gd name="T23" fmla="*/ 2147483647 h 119"/>
                  <a:gd name="T24" fmla="*/ 2147483647 w 135"/>
                  <a:gd name="T25" fmla="*/ 2147483647 h 119"/>
                  <a:gd name="T26" fmla="*/ 2147483647 w 135"/>
                  <a:gd name="T27" fmla="*/ 2147483647 h 119"/>
                  <a:gd name="T28" fmla="*/ 2147483647 w 135"/>
                  <a:gd name="T29" fmla="*/ 2147483647 h 119"/>
                  <a:gd name="T30" fmla="*/ 2147483647 w 135"/>
                  <a:gd name="T31" fmla="*/ 2147483647 h 119"/>
                  <a:gd name="T32" fmla="*/ 2147483647 w 135"/>
                  <a:gd name="T33" fmla="*/ 2147483647 h 119"/>
                  <a:gd name="T34" fmla="*/ 2147483647 w 135"/>
                  <a:gd name="T35" fmla="*/ 2147483647 h 119"/>
                  <a:gd name="T36" fmla="*/ 2147483647 w 135"/>
                  <a:gd name="T37" fmla="*/ 2147483647 h 119"/>
                  <a:gd name="T38" fmla="*/ 2147483647 w 135"/>
                  <a:gd name="T39" fmla="*/ 2147483647 h 119"/>
                  <a:gd name="T40" fmla="*/ 2147483647 w 135"/>
                  <a:gd name="T41" fmla="*/ 2147483647 h 119"/>
                  <a:gd name="T42" fmla="*/ 2147483647 w 135"/>
                  <a:gd name="T43" fmla="*/ 2147483647 h 119"/>
                  <a:gd name="T44" fmla="*/ 2147483647 w 135"/>
                  <a:gd name="T45" fmla="*/ 2147483647 h 119"/>
                  <a:gd name="T46" fmla="*/ 2147483647 w 135"/>
                  <a:gd name="T47" fmla="*/ 2147483647 h 119"/>
                  <a:gd name="T48" fmla="*/ 2147483647 w 135"/>
                  <a:gd name="T49" fmla="*/ 2147483647 h 119"/>
                  <a:gd name="T50" fmla="*/ 2147483647 w 135"/>
                  <a:gd name="T51" fmla="*/ 2147483647 h 119"/>
                  <a:gd name="T52" fmla="*/ 2147483647 w 135"/>
                  <a:gd name="T53" fmla="*/ 2147483647 h 119"/>
                  <a:gd name="T54" fmla="*/ 2147483647 w 135"/>
                  <a:gd name="T55" fmla="*/ 2147483647 h 119"/>
                  <a:gd name="T56" fmla="*/ 2147483647 w 135"/>
                  <a:gd name="T57" fmla="*/ 2147483647 h 119"/>
                  <a:gd name="T58" fmla="*/ 2147483647 w 135"/>
                  <a:gd name="T59" fmla="*/ 2147483647 h 119"/>
                  <a:gd name="T60" fmla="*/ 2147483647 w 135"/>
                  <a:gd name="T61" fmla="*/ 2147483647 h 119"/>
                  <a:gd name="T62" fmla="*/ 2147483647 w 135"/>
                  <a:gd name="T63" fmla="*/ 2147483647 h 119"/>
                  <a:gd name="T64" fmla="*/ 2147483647 w 135"/>
                  <a:gd name="T65" fmla="*/ 2147483647 h 119"/>
                  <a:gd name="T66" fmla="*/ 2147483647 w 135"/>
                  <a:gd name="T67" fmla="*/ 2147483647 h 119"/>
                  <a:gd name="T68" fmla="*/ 2147483647 w 135"/>
                  <a:gd name="T69" fmla="*/ 2147483647 h 119"/>
                  <a:gd name="T70" fmla="*/ 2147483647 w 135"/>
                  <a:gd name="T71" fmla="*/ 2147483647 h 119"/>
                  <a:gd name="T72" fmla="*/ 2147483647 w 135"/>
                  <a:gd name="T73" fmla="*/ 2147483647 h 119"/>
                  <a:gd name="T74" fmla="*/ 2147483647 w 135"/>
                  <a:gd name="T75" fmla="*/ 2147483647 h 119"/>
                  <a:gd name="T76" fmla="*/ 2147483647 w 135"/>
                  <a:gd name="T77" fmla="*/ 2147483647 h 119"/>
                  <a:gd name="T78" fmla="*/ 2147483647 w 135"/>
                  <a:gd name="T79" fmla="*/ 2147483647 h 119"/>
                  <a:gd name="T80" fmla="*/ 2147483647 w 135"/>
                  <a:gd name="T81" fmla="*/ 2147483647 h 119"/>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35" h="119">
                    <a:moveTo>
                      <a:pt x="122" y="59"/>
                    </a:moveTo>
                    <a:lnTo>
                      <a:pt x="124" y="60"/>
                    </a:lnTo>
                    <a:lnTo>
                      <a:pt x="130" y="62"/>
                    </a:lnTo>
                    <a:lnTo>
                      <a:pt x="135" y="67"/>
                    </a:lnTo>
                    <a:lnTo>
                      <a:pt x="133" y="71"/>
                    </a:lnTo>
                    <a:lnTo>
                      <a:pt x="129" y="76"/>
                    </a:lnTo>
                    <a:lnTo>
                      <a:pt x="126" y="78"/>
                    </a:lnTo>
                    <a:lnTo>
                      <a:pt x="124" y="81"/>
                    </a:lnTo>
                    <a:lnTo>
                      <a:pt x="121" y="83"/>
                    </a:lnTo>
                    <a:lnTo>
                      <a:pt x="118" y="83"/>
                    </a:lnTo>
                    <a:lnTo>
                      <a:pt x="116" y="83"/>
                    </a:lnTo>
                    <a:lnTo>
                      <a:pt x="114" y="82"/>
                    </a:lnTo>
                    <a:lnTo>
                      <a:pt x="108" y="79"/>
                    </a:lnTo>
                    <a:lnTo>
                      <a:pt x="101" y="77"/>
                    </a:lnTo>
                    <a:lnTo>
                      <a:pt x="95" y="75"/>
                    </a:lnTo>
                    <a:lnTo>
                      <a:pt x="91" y="74"/>
                    </a:lnTo>
                    <a:lnTo>
                      <a:pt x="86" y="71"/>
                    </a:lnTo>
                    <a:lnTo>
                      <a:pt x="82" y="68"/>
                    </a:lnTo>
                    <a:lnTo>
                      <a:pt x="77" y="66"/>
                    </a:lnTo>
                    <a:lnTo>
                      <a:pt x="72" y="66"/>
                    </a:lnTo>
                    <a:lnTo>
                      <a:pt x="70" y="70"/>
                    </a:lnTo>
                    <a:lnTo>
                      <a:pt x="71" y="78"/>
                    </a:lnTo>
                    <a:lnTo>
                      <a:pt x="72" y="85"/>
                    </a:lnTo>
                    <a:lnTo>
                      <a:pt x="72" y="92"/>
                    </a:lnTo>
                    <a:lnTo>
                      <a:pt x="68" y="96"/>
                    </a:lnTo>
                    <a:lnTo>
                      <a:pt x="61" y="99"/>
                    </a:lnTo>
                    <a:lnTo>
                      <a:pt x="58" y="102"/>
                    </a:lnTo>
                    <a:lnTo>
                      <a:pt x="57" y="107"/>
                    </a:lnTo>
                    <a:lnTo>
                      <a:pt x="56" y="111"/>
                    </a:lnTo>
                    <a:lnTo>
                      <a:pt x="53" y="114"/>
                    </a:lnTo>
                    <a:lnTo>
                      <a:pt x="48" y="117"/>
                    </a:lnTo>
                    <a:lnTo>
                      <a:pt x="44" y="119"/>
                    </a:lnTo>
                    <a:lnTo>
                      <a:pt x="40" y="116"/>
                    </a:lnTo>
                    <a:lnTo>
                      <a:pt x="39" y="111"/>
                    </a:lnTo>
                    <a:lnTo>
                      <a:pt x="38" y="105"/>
                    </a:lnTo>
                    <a:lnTo>
                      <a:pt x="34" y="100"/>
                    </a:lnTo>
                    <a:lnTo>
                      <a:pt x="29" y="99"/>
                    </a:lnTo>
                    <a:lnTo>
                      <a:pt x="23" y="99"/>
                    </a:lnTo>
                    <a:lnTo>
                      <a:pt x="20" y="100"/>
                    </a:lnTo>
                    <a:lnTo>
                      <a:pt x="17" y="101"/>
                    </a:lnTo>
                    <a:lnTo>
                      <a:pt x="10" y="104"/>
                    </a:lnTo>
                    <a:lnTo>
                      <a:pt x="3" y="105"/>
                    </a:lnTo>
                    <a:lnTo>
                      <a:pt x="0" y="101"/>
                    </a:lnTo>
                    <a:lnTo>
                      <a:pt x="1" y="97"/>
                    </a:lnTo>
                    <a:lnTo>
                      <a:pt x="4" y="90"/>
                    </a:lnTo>
                    <a:lnTo>
                      <a:pt x="9" y="84"/>
                    </a:lnTo>
                    <a:lnTo>
                      <a:pt x="12" y="82"/>
                    </a:lnTo>
                    <a:lnTo>
                      <a:pt x="16" y="79"/>
                    </a:lnTo>
                    <a:lnTo>
                      <a:pt x="16" y="75"/>
                    </a:lnTo>
                    <a:lnTo>
                      <a:pt x="14" y="68"/>
                    </a:lnTo>
                    <a:lnTo>
                      <a:pt x="12" y="61"/>
                    </a:lnTo>
                    <a:lnTo>
                      <a:pt x="11" y="55"/>
                    </a:lnTo>
                    <a:lnTo>
                      <a:pt x="12" y="48"/>
                    </a:lnTo>
                    <a:lnTo>
                      <a:pt x="12" y="44"/>
                    </a:lnTo>
                    <a:lnTo>
                      <a:pt x="10" y="39"/>
                    </a:lnTo>
                    <a:lnTo>
                      <a:pt x="8" y="35"/>
                    </a:lnTo>
                    <a:lnTo>
                      <a:pt x="8" y="26"/>
                    </a:lnTo>
                    <a:lnTo>
                      <a:pt x="8" y="16"/>
                    </a:lnTo>
                    <a:lnTo>
                      <a:pt x="8" y="8"/>
                    </a:lnTo>
                    <a:lnTo>
                      <a:pt x="9" y="2"/>
                    </a:lnTo>
                    <a:lnTo>
                      <a:pt x="12" y="0"/>
                    </a:lnTo>
                    <a:lnTo>
                      <a:pt x="18" y="1"/>
                    </a:lnTo>
                    <a:lnTo>
                      <a:pt x="24" y="3"/>
                    </a:lnTo>
                    <a:lnTo>
                      <a:pt x="27" y="9"/>
                    </a:lnTo>
                    <a:lnTo>
                      <a:pt x="30" y="18"/>
                    </a:lnTo>
                    <a:lnTo>
                      <a:pt x="32" y="26"/>
                    </a:lnTo>
                    <a:lnTo>
                      <a:pt x="33" y="30"/>
                    </a:lnTo>
                    <a:lnTo>
                      <a:pt x="37" y="30"/>
                    </a:lnTo>
                    <a:lnTo>
                      <a:pt x="40" y="28"/>
                    </a:lnTo>
                    <a:lnTo>
                      <a:pt x="44" y="25"/>
                    </a:lnTo>
                    <a:lnTo>
                      <a:pt x="48" y="23"/>
                    </a:lnTo>
                    <a:lnTo>
                      <a:pt x="54" y="23"/>
                    </a:lnTo>
                    <a:lnTo>
                      <a:pt x="61" y="24"/>
                    </a:lnTo>
                    <a:lnTo>
                      <a:pt x="70" y="26"/>
                    </a:lnTo>
                    <a:lnTo>
                      <a:pt x="78" y="30"/>
                    </a:lnTo>
                    <a:lnTo>
                      <a:pt x="85" y="33"/>
                    </a:lnTo>
                    <a:lnTo>
                      <a:pt x="90" y="40"/>
                    </a:lnTo>
                    <a:lnTo>
                      <a:pt x="93" y="48"/>
                    </a:lnTo>
                    <a:lnTo>
                      <a:pt x="98" y="54"/>
                    </a:lnTo>
                    <a:lnTo>
                      <a:pt x="100" y="58"/>
                    </a:lnTo>
                    <a:lnTo>
                      <a:pt x="101" y="59"/>
                    </a:lnTo>
                    <a:lnTo>
                      <a:pt x="122" y="59"/>
                    </a:ln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316" name="Freeform 315"/>
              <p:cNvSpPr>
                <a:spLocks/>
              </p:cNvSpPr>
              <p:nvPr/>
            </p:nvSpPr>
            <p:spPr bwMode="auto">
              <a:xfrm>
                <a:off x="1943061" y="541338"/>
                <a:ext cx="596633" cy="400050"/>
              </a:xfrm>
              <a:custGeom>
                <a:avLst/>
                <a:gdLst>
                  <a:gd name="T0" fmla="*/ 2147483647 w 556"/>
                  <a:gd name="T1" fmla="*/ 2147483647 h 395"/>
                  <a:gd name="T2" fmla="*/ 2147483647 w 556"/>
                  <a:gd name="T3" fmla="*/ 2147483647 h 395"/>
                  <a:gd name="T4" fmla="*/ 2147483647 w 556"/>
                  <a:gd name="T5" fmla="*/ 2147483647 h 395"/>
                  <a:gd name="T6" fmla="*/ 2147483647 w 556"/>
                  <a:gd name="T7" fmla="*/ 2147483647 h 395"/>
                  <a:gd name="T8" fmla="*/ 2147483647 w 556"/>
                  <a:gd name="T9" fmla="*/ 2147483647 h 395"/>
                  <a:gd name="T10" fmla="*/ 2147483647 w 556"/>
                  <a:gd name="T11" fmla="*/ 2147483647 h 395"/>
                  <a:gd name="T12" fmla="*/ 2147483647 w 556"/>
                  <a:gd name="T13" fmla="*/ 2147483647 h 395"/>
                  <a:gd name="T14" fmla="*/ 2147483647 w 556"/>
                  <a:gd name="T15" fmla="*/ 2147483647 h 395"/>
                  <a:gd name="T16" fmla="*/ 2147483647 w 556"/>
                  <a:gd name="T17" fmla="*/ 2147483647 h 395"/>
                  <a:gd name="T18" fmla="*/ 2147483647 w 556"/>
                  <a:gd name="T19" fmla="*/ 2147483647 h 395"/>
                  <a:gd name="T20" fmla="*/ 2147483647 w 556"/>
                  <a:gd name="T21" fmla="*/ 2147483647 h 395"/>
                  <a:gd name="T22" fmla="*/ 2147483647 w 556"/>
                  <a:gd name="T23" fmla="*/ 2147483647 h 395"/>
                  <a:gd name="T24" fmla="*/ 2147483647 w 556"/>
                  <a:gd name="T25" fmla="*/ 2147483647 h 395"/>
                  <a:gd name="T26" fmla="*/ 2147483647 w 556"/>
                  <a:gd name="T27" fmla="*/ 2147483647 h 395"/>
                  <a:gd name="T28" fmla="*/ 2147483647 w 556"/>
                  <a:gd name="T29" fmla="*/ 2147483647 h 395"/>
                  <a:gd name="T30" fmla="*/ 2147483647 w 556"/>
                  <a:gd name="T31" fmla="*/ 2147483647 h 395"/>
                  <a:gd name="T32" fmla="*/ 2147483647 w 556"/>
                  <a:gd name="T33" fmla="*/ 2147483647 h 395"/>
                  <a:gd name="T34" fmla="*/ 2147483647 w 556"/>
                  <a:gd name="T35" fmla="*/ 2147483647 h 395"/>
                  <a:gd name="T36" fmla="*/ 2147483647 w 556"/>
                  <a:gd name="T37" fmla="*/ 2147483647 h 395"/>
                  <a:gd name="T38" fmla="*/ 2147483647 w 556"/>
                  <a:gd name="T39" fmla="*/ 2147483647 h 395"/>
                  <a:gd name="T40" fmla="*/ 2147483647 w 556"/>
                  <a:gd name="T41" fmla="*/ 2147483647 h 395"/>
                  <a:gd name="T42" fmla="*/ 2147483647 w 556"/>
                  <a:gd name="T43" fmla="*/ 2147483647 h 395"/>
                  <a:gd name="T44" fmla="*/ 2147483647 w 556"/>
                  <a:gd name="T45" fmla="*/ 2147483647 h 395"/>
                  <a:gd name="T46" fmla="*/ 2147483647 w 556"/>
                  <a:gd name="T47" fmla="*/ 2147483647 h 395"/>
                  <a:gd name="T48" fmla="*/ 2147483647 w 556"/>
                  <a:gd name="T49" fmla="*/ 2147483647 h 395"/>
                  <a:gd name="T50" fmla="*/ 0 w 556"/>
                  <a:gd name="T51" fmla="*/ 2147483647 h 395"/>
                  <a:gd name="T52" fmla="*/ 2147483647 w 556"/>
                  <a:gd name="T53" fmla="*/ 2147483647 h 395"/>
                  <a:gd name="T54" fmla="*/ 2147483647 w 556"/>
                  <a:gd name="T55" fmla="*/ 2147483647 h 395"/>
                  <a:gd name="T56" fmla="*/ 2147483647 w 556"/>
                  <a:gd name="T57" fmla="*/ 2147483647 h 395"/>
                  <a:gd name="T58" fmla="*/ 2147483647 w 556"/>
                  <a:gd name="T59" fmla="*/ 2147483647 h 395"/>
                  <a:gd name="T60" fmla="*/ 2147483647 w 556"/>
                  <a:gd name="T61" fmla="*/ 2147483647 h 395"/>
                  <a:gd name="T62" fmla="*/ 2147483647 w 556"/>
                  <a:gd name="T63" fmla="*/ 2147483647 h 395"/>
                  <a:gd name="T64" fmla="*/ 2147483647 w 556"/>
                  <a:gd name="T65" fmla="*/ 2147483647 h 395"/>
                  <a:gd name="T66" fmla="*/ 2147483647 w 556"/>
                  <a:gd name="T67" fmla="*/ 2147483647 h 395"/>
                  <a:gd name="T68" fmla="*/ 2147483647 w 556"/>
                  <a:gd name="T69" fmla="*/ 2147483647 h 395"/>
                  <a:gd name="T70" fmla="*/ 2147483647 w 556"/>
                  <a:gd name="T71" fmla="*/ 2147483647 h 395"/>
                  <a:gd name="T72" fmla="*/ 2147483647 w 556"/>
                  <a:gd name="T73" fmla="*/ 2147483647 h 395"/>
                  <a:gd name="T74" fmla="*/ 2147483647 w 556"/>
                  <a:gd name="T75" fmla="*/ 2147483647 h 395"/>
                  <a:gd name="T76" fmla="*/ 2147483647 w 556"/>
                  <a:gd name="T77" fmla="*/ 2147483647 h 395"/>
                  <a:gd name="T78" fmla="*/ 2147483647 w 556"/>
                  <a:gd name="T79" fmla="*/ 2147483647 h 395"/>
                  <a:gd name="T80" fmla="*/ 2147483647 w 556"/>
                  <a:gd name="T81" fmla="*/ 2147483647 h 395"/>
                  <a:gd name="T82" fmla="*/ 2147483647 w 556"/>
                  <a:gd name="T83" fmla="*/ 2147483647 h 395"/>
                  <a:gd name="T84" fmla="*/ 2147483647 w 556"/>
                  <a:gd name="T85" fmla="*/ 2147483647 h 395"/>
                  <a:gd name="T86" fmla="*/ 2147483647 w 556"/>
                  <a:gd name="T87" fmla="*/ 2147483647 h 395"/>
                  <a:gd name="T88" fmla="*/ 2147483647 w 556"/>
                  <a:gd name="T89" fmla="*/ 2147483647 h 395"/>
                  <a:gd name="T90" fmla="*/ 2147483647 w 556"/>
                  <a:gd name="T91" fmla="*/ 2147483647 h 395"/>
                  <a:gd name="T92" fmla="*/ 2147483647 w 556"/>
                  <a:gd name="T93" fmla="*/ 2147483647 h 395"/>
                  <a:gd name="T94" fmla="*/ 2147483647 w 556"/>
                  <a:gd name="T95" fmla="*/ 2147483647 h 395"/>
                  <a:gd name="T96" fmla="*/ 2147483647 w 556"/>
                  <a:gd name="T97" fmla="*/ 2147483647 h 395"/>
                  <a:gd name="T98" fmla="*/ 2147483647 w 556"/>
                  <a:gd name="T99" fmla="*/ 2147483647 h 395"/>
                  <a:gd name="T100" fmla="*/ 2147483647 w 556"/>
                  <a:gd name="T101" fmla="*/ 2147483647 h 395"/>
                  <a:gd name="T102" fmla="*/ 2147483647 w 556"/>
                  <a:gd name="T103" fmla="*/ 2147483647 h 395"/>
                  <a:gd name="T104" fmla="*/ 2147483647 w 556"/>
                  <a:gd name="T105" fmla="*/ 2147483647 h 395"/>
                  <a:gd name="T106" fmla="*/ 2147483647 w 556"/>
                  <a:gd name="T107" fmla="*/ 2147483647 h 395"/>
                  <a:gd name="T108" fmla="*/ 2147483647 w 556"/>
                  <a:gd name="T109" fmla="*/ 2147483647 h 395"/>
                  <a:gd name="T110" fmla="*/ 2147483647 w 556"/>
                  <a:gd name="T111" fmla="*/ 2147483647 h 395"/>
                  <a:gd name="T112" fmla="*/ 2147483647 w 556"/>
                  <a:gd name="T113" fmla="*/ 2147483647 h 395"/>
                  <a:gd name="T114" fmla="*/ 2147483647 w 556"/>
                  <a:gd name="T115" fmla="*/ 2147483647 h 395"/>
                  <a:gd name="T116" fmla="*/ 2147483647 w 556"/>
                  <a:gd name="T117" fmla="*/ 2147483647 h 395"/>
                  <a:gd name="T118" fmla="*/ 2147483647 w 556"/>
                  <a:gd name="T119" fmla="*/ 2147483647 h 395"/>
                  <a:gd name="T120" fmla="*/ 2147483647 w 556"/>
                  <a:gd name="T121" fmla="*/ 2147483647 h 395"/>
                  <a:gd name="T122" fmla="*/ 2147483647 w 556"/>
                  <a:gd name="T123" fmla="*/ 2147483647 h 395"/>
                  <a:gd name="T124" fmla="*/ 2147483647 w 556"/>
                  <a:gd name="T125" fmla="*/ 2147483647 h 39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556" h="395">
                    <a:moveTo>
                      <a:pt x="539" y="379"/>
                    </a:moveTo>
                    <a:lnTo>
                      <a:pt x="540" y="380"/>
                    </a:lnTo>
                    <a:lnTo>
                      <a:pt x="542" y="383"/>
                    </a:lnTo>
                    <a:lnTo>
                      <a:pt x="541" y="387"/>
                    </a:lnTo>
                    <a:lnTo>
                      <a:pt x="533" y="388"/>
                    </a:lnTo>
                    <a:lnTo>
                      <a:pt x="527" y="388"/>
                    </a:lnTo>
                    <a:lnTo>
                      <a:pt x="523" y="387"/>
                    </a:lnTo>
                    <a:lnTo>
                      <a:pt x="518" y="387"/>
                    </a:lnTo>
                    <a:lnTo>
                      <a:pt x="514" y="388"/>
                    </a:lnTo>
                    <a:lnTo>
                      <a:pt x="510" y="388"/>
                    </a:lnTo>
                    <a:lnTo>
                      <a:pt x="506" y="389"/>
                    </a:lnTo>
                    <a:lnTo>
                      <a:pt x="501" y="390"/>
                    </a:lnTo>
                    <a:lnTo>
                      <a:pt x="495" y="392"/>
                    </a:lnTo>
                    <a:lnTo>
                      <a:pt x="488" y="393"/>
                    </a:lnTo>
                    <a:lnTo>
                      <a:pt x="482" y="394"/>
                    </a:lnTo>
                    <a:lnTo>
                      <a:pt x="478" y="395"/>
                    </a:lnTo>
                    <a:lnTo>
                      <a:pt x="473" y="395"/>
                    </a:lnTo>
                    <a:lnTo>
                      <a:pt x="468" y="395"/>
                    </a:lnTo>
                    <a:lnTo>
                      <a:pt x="464" y="394"/>
                    </a:lnTo>
                    <a:lnTo>
                      <a:pt x="459" y="394"/>
                    </a:lnTo>
                    <a:lnTo>
                      <a:pt x="453" y="393"/>
                    </a:lnTo>
                    <a:lnTo>
                      <a:pt x="449" y="393"/>
                    </a:lnTo>
                    <a:lnTo>
                      <a:pt x="444" y="393"/>
                    </a:lnTo>
                    <a:lnTo>
                      <a:pt x="440" y="394"/>
                    </a:lnTo>
                    <a:lnTo>
                      <a:pt x="435" y="395"/>
                    </a:lnTo>
                    <a:lnTo>
                      <a:pt x="430" y="395"/>
                    </a:lnTo>
                    <a:lnTo>
                      <a:pt x="427" y="395"/>
                    </a:lnTo>
                    <a:lnTo>
                      <a:pt x="422" y="394"/>
                    </a:lnTo>
                    <a:lnTo>
                      <a:pt x="419" y="392"/>
                    </a:lnTo>
                    <a:lnTo>
                      <a:pt x="414" y="386"/>
                    </a:lnTo>
                    <a:lnTo>
                      <a:pt x="413" y="380"/>
                    </a:lnTo>
                    <a:lnTo>
                      <a:pt x="409" y="375"/>
                    </a:lnTo>
                    <a:lnTo>
                      <a:pt x="397" y="372"/>
                    </a:lnTo>
                    <a:lnTo>
                      <a:pt x="389" y="371"/>
                    </a:lnTo>
                    <a:lnTo>
                      <a:pt x="382" y="368"/>
                    </a:lnTo>
                    <a:lnTo>
                      <a:pt x="376" y="366"/>
                    </a:lnTo>
                    <a:lnTo>
                      <a:pt x="372" y="364"/>
                    </a:lnTo>
                    <a:lnTo>
                      <a:pt x="368" y="362"/>
                    </a:lnTo>
                    <a:lnTo>
                      <a:pt x="365" y="359"/>
                    </a:lnTo>
                    <a:lnTo>
                      <a:pt x="362" y="358"/>
                    </a:lnTo>
                    <a:lnTo>
                      <a:pt x="359" y="356"/>
                    </a:lnTo>
                    <a:lnTo>
                      <a:pt x="354" y="352"/>
                    </a:lnTo>
                    <a:lnTo>
                      <a:pt x="350" y="351"/>
                    </a:lnTo>
                    <a:lnTo>
                      <a:pt x="344" y="352"/>
                    </a:lnTo>
                    <a:lnTo>
                      <a:pt x="335" y="357"/>
                    </a:lnTo>
                    <a:lnTo>
                      <a:pt x="324" y="362"/>
                    </a:lnTo>
                    <a:lnTo>
                      <a:pt x="316" y="363"/>
                    </a:lnTo>
                    <a:lnTo>
                      <a:pt x="309" y="365"/>
                    </a:lnTo>
                    <a:lnTo>
                      <a:pt x="304" y="370"/>
                    </a:lnTo>
                    <a:lnTo>
                      <a:pt x="297" y="377"/>
                    </a:lnTo>
                    <a:lnTo>
                      <a:pt x="290" y="381"/>
                    </a:lnTo>
                    <a:lnTo>
                      <a:pt x="283" y="381"/>
                    </a:lnTo>
                    <a:lnTo>
                      <a:pt x="276" y="377"/>
                    </a:lnTo>
                    <a:lnTo>
                      <a:pt x="271" y="373"/>
                    </a:lnTo>
                    <a:lnTo>
                      <a:pt x="267" y="370"/>
                    </a:lnTo>
                    <a:lnTo>
                      <a:pt x="262" y="366"/>
                    </a:lnTo>
                    <a:lnTo>
                      <a:pt x="259" y="363"/>
                    </a:lnTo>
                    <a:lnTo>
                      <a:pt x="256" y="358"/>
                    </a:lnTo>
                    <a:lnTo>
                      <a:pt x="256" y="355"/>
                    </a:lnTo>
                    <a:lnTo>
                      <a:pt x="260" y="350"/>
                    </a:lnTo>
                    <a:lnTo>
                      <a:pt x="268" y="344"/>
                    </a:lnTo>
                    <a:lnTo>
                      <a:pt x="277" y="340"/>
                    </a:lnTo>
                    <a:lnTo>
                      <a:pt x="283" y="337"/>
                    </a:lnTo>
                    <a:lnTo>
                      <a:pt x="288" y="337"/>
                    </a:lnTo>
                    <a:lnTo>
                      <a:pt x="291" y="337"/>
                    </a:lnTo>
                    <a:lnTo>
                      <a:pt x="293" y="337"/>
                    </a:lnTo>
                    <a:lnTo>
                      <a:pt x="296" y="336"/>
                    </a:lnTo>
                    <a:lnTo>
                      <a:pt x="300" y="334"/>
                    </a:lnTo>
                    <a:lnTo>
                      <a:pt x="305" y="329"/>
                    </a:lnTo>
                    <a:lnTo>
                      <a:pt x="316" y="320"/>
                    </a:lnTo>
                    <a:lnTo>
                      <a:pt x="326" y="313"/>
                    </a:lnTo>
                    <a:lnTo>
                      <a:pt x="330" y="307"/>
                    </a:lnTo>
                    <a:lnTo>
                      <a:pt x="327" y="301"/>
                    </a:lnTo>
                    <a:lnTo>
                      <a:pt x="318" y="295"/>
                    </a:lnTo>
                    <a:lnTo>
                      <a:pt x="308" y="292"/>
                    </a:lnTo>
                    <a:lnTo>
                      <a:pt x="305" y="287"/>
                    </a:lnTo>
                    <a:lnTo>
                      <a:pt x="309" y="273"/>
                    </a:lnTo>
                    <a:lnTo>
                      <a:pt x="320" y="258"/>
                    </a:lnTo>
                    <a:lnTo>
                      <a:pt x="328" y="246"/>
                    </a:lnTo>
                    <a:lnTo>
                      <a:pt x="327" y="235"/>
                    </a:lnTo>
                    <a:lnTo>
                      <a:pt x="315" y="218"/>
                    </a:lnTo>
                    <a:lnTo>
                      <a:pt x="306" y="208"/>
                    </a:lnTo>
                    <a:lnTo>
                      <a:pt x="297" y="200"/>
                    </a:lnTo>
                    <a:lnTo>
                      <a:pt x="289" y="193"/>
                    </a:lnTo>
                    <a:lnTo>
                      <a:pt x="282" y="188"/>
                    </a:lnTo>
                    <a:lnTo>
                      <a:pt x="274" y="183"/>
                    </a:lnTo>
                    <a:lnTo>
                      <a:pt x="267" y="180"/>
                    </a:lnTo>
                    <a:lnTo>
                      <a:pt x="260" y="176"/>
                    </a:lnTo>
                    <a:lnTo>
                      <a:pt x="252" y="173"/>
                    </a:lnTo>
                    <a:lnTo>
                      <a:pt x="244" y="169"/>
                    </a:lnTo>
                    <a:lnTo>
                      <a:pt x="236" y="166"/>
                    </a:lnTo>
                    <a:lnTo>
                      <a:pt x="228" y="161"/>
                    </a:lnTo>
                    <a:lnTo>
                      <a:pt x="221" y="156"/>
                    </a:lnTo>
                    <a:lnTo>
                      <a:pt x="214" y="152"/>
                    </a:lnTo>
                    <a:lnTo>
                      <a:pt x="208" y="148"/>
                    </a:lnTo>
                    <a:lnTo>
                      <a:pt x="202" y="145"/>
                    </a:lnTo>
                    <a:lnTo>
                      <a:pt x="199" y="142"/>
                    </a:lnTo>
                    <a:lnTo>
                      <a:pt x="191" y="137"/>
                    </a:lnTo>
                    <a:lnTo>
                      <a:pt x="183" y="132"/>
                    </a:lnTo>
                    <a:lnTo>
                      <a:pt x="178" y="131"/>
                    </a:lnTo>
                    <a:lnTo>
                      <a:pt x="179" y="137"/>
                    </a:lnTo>
                    <a:lnTo>
                      <a:pt x="185" y="146"/>
                    </a:lnTo>
                    <a:lnTo>
                      <a:pt x="186" y="152"/>
                    </a:lnTo>
                    <a:lnTo>
                      <a:pt x="183" y="155"/>
                    </a:lnTo>
                    <a:lnTo>
                      <a:pt x="171" y="155"/>
                    </a:lnTo>
                    <a:lnTo>
                      <a:pt x="163" y="155"/>
                    </a:lnTo>
                    <a:lnTo>
                      <a:pt x="159" y="155"/>
                    </a:lnTo>
                    <a:lnTo>
                      <a:pt x="154" y="156"/>
                    </a:lnTo>
                    <a:lnTo>
                      <a:pt x="151" y="159"/>
                    </a:lnTo>
                    <a:lnTo>
                      <a:pt x="147" y="161"/>
                    </a:lnTo>
                    <a:lnTo>
                      <a:pt x="142" y="162"/>
                    </a:lnTo>
                    <a:lnTo>
                      <a:pt x="138" y="163"/>
                    </a:lnTo>
                    <a:lnTo>
                      <a:pt x="131" y="165"/>
                    </a:lnTo>
                    <a:lnTo>
                      <a:pt x="124" y="166"/>
                    </a:lnTo>
                    <a:lnTo>
                      <a:pt x="118" y="167"/>
                    </a:lnTo>
                    <a:lnTo>
                      <a:pt x="114" y="168"/>
                    </a:lnTo>
                    <a:lnTo>
                      <a:pt x="110" y="169"/>
                    </a:lnTo>
                    <a:lnTo>
                      <a:pt x="106" y="170"/>
                    </a:lnTo>
                    <a:lnTo>
                      <a:pt x="101" y="170"/>
                    </a:lnTo>
                    <a:lnTo>
                      <a:pt x="95" y="170"/>
                    </a:lnTo>
                    <a:lnTo>
                      <a:pt x="87" y="169"/>
                    </a:lnTo>
                    <a:lnTo>
                      <a:pt x="74" y="166"/>
                    </a:lnTo>
                    <a:lnTo>
                      <a:pt x="70" y="162"/>
                    </a:lnTo>
                    <a:lnTo>
                      <a:pt x="66" y="160"/>
                    </a:lnTo>
                    <a:lnTo>
                      <a:pt x="60" y="161"/>
                    </a:lnTo>
                    <a:lnTo>
                      <a:pt x="51" y="166"/>
                    </a:lnTo>
                    <a:lnTo>
                      <a:pt x="47" y="168"/>
                    </a:lnTo>
                    <a:lnTo>
                      <a:pt x="43" y="168"/>
                    </a:lnTo>
                    <a:lnTo>
                      <a:pt x="35" y="163"/>
                    </a:lnTo>
                    <a:lnTo>
                      <a:pt x="30" y="160"/>
                    </a:lnTo>
                    <a:lnTo>
                      <a:pt x="24" y="156"/>
                    </a:lnTo>
                    <a:lnTo>
                      <a:pt x="18" y="153"/>
                    </a:lnTo>
                    <a:lnTo>
                      <a:pt x="13" y="151"/>
                    </a:lnTo>
                    <a:lnTo>
                      <a:pt x="10" y="148"/>
                    </a:lnTo>
                    <a:lnTo>
                      <a:pt x="9" y="145"/>
                    </a:lnTo>
                    <a:lnTo>
                      <a:pt x="11" y="143"/>
                    </a:lnTo>
                    <a:lnTo>
                      <a:pt x="16" y="140"/>
                    </a:lnTo>
                    <a:lnTo>
                      <a:pt x="23" y="138"/>
                    </a:lnTo>
                    <a:lnTo>
                      <a:pt x="30" y="137"/>
                    </a:lnTo>
                    <a:lnTo>
                      <a:pt x="36" y="136"/>
                    </a:lnTo>
                    <a:lnTo>
                      <a:pt x="41" y="135"/>
                    </a:lnTo>
                    <a:lnTo>
                      <a:pt x="45" y="133"/>
                    </a:lnTo>
                    <a:lnTo>
                      <a:pt x="45" y="132"/>
                    </a:lnTo>
                    <a:lnTo>
                      <a:pt x="42" y="130"/>
                    </a:lnTo>
                    <a:lnTo>
                      <a:pt x="35" y="128"/>
                    </a:lnTo>
                    <a:lnTo>
                      <a:pt x="27" y="125"/>
                    </a:lnTo>
                    <a:lnTo>
                      <a:pt x="19" y="123"/>
                    </a:lnTo>
                    <a:lnTo>
                      <a:pt x="13" y="122"/>
                    </a:lnTo>
                    <a:lnTo>
                      <a:pt x="9" y="121"/>
                    </a:lnTo>
                    <a:lnTo>
                      <a:pt x="4" y="118"/>
                    </a:lnTo>
                    <a:lnTo>
                      <a:pt x="2" y="116"/>
                    </a:lnTo>
                    <a:lnTo>
                      <a:pt x="0" y="112"/>
                    </a:lnTo>
                    <a:lnTo>
                      <a:pt x="0" y="105"/>
                    </a:lnTo>
                    <a:lnTo>
                      <a:pt x="0" y="93"/>
                    </a:lnTo>
                    <a:lnTo>
                      <a:pt x="0" y="85"/>
                    </a:lnTo>
                    <a:lnTo>
                      <a:pt x="0" y="76"/>
                    </a:lnTo>
                    <a:lnTo>
                      <a:pt x="1" y="60"/>
                    </a:lnTo>
                    <a:lnTo>
                      <a:pt x="5" y="39"/>
                    </a:lnTo>
                    <a:lnTo>
                      <a:pt x="12" y="21"/>
                    </a:lnTo>
                    <a:lnTo>
                      <a:pt x="22" y="9"/>
                    </a:lnTo>
                    <a:lnTo>
                      <a:pt x="31" y="3"/>
                    </a:lnTo>
                    <a:lnTo>
                      <a:pt x="39" y="3"/>
                    </a:lnTo>
                    <a:lnTo>
                      <a:pt x="46" y="6"/>
                    </a:lnTo>
                    <a:lnTo>
                      <a:pt x="50" y="10"/>
                    </a:lnTo>
                    <a:lnTo>
                      <a:pt x="49" y="19"/>
                    </a:lnTo>
                    <a:lnTo>
                      <a:pt x="43" y="40"/>
                    </a:lnTo>
                    <a:lnTo>
                      <a:pt x="42" y="56"/>
                    </a:lnTo>
                    <a:lnTo>
                      <a:pt x="45" y="70"/>
                    </a:lnTo>
                    <a:lnTo>
                      <a:pt x="50" y="80"/>
                    </a:lnTo>
                    <a:lnTo>
                      <a:pt x="56" y="90"/>
                    </a:lnTo>
                    <a:lnTo>
                      <a:pt x="62" y="97"/>
                    </a:lnTo>
                    <a:lnTo>
                      <a:pt x="68" y="102"/>
                    </a:lnTo>
                    <a:lnTo>
                      <a:pt x="71" y="108"/>
                    </a:lnTo>
                    <a:lnTo>
                      <a:pt x="70" y="107"/>
                    </a:lnTo>
                    <a:lnTo>
                      <a:pt x="63" y="87"/>
                    </a:lnTo>
                    <a:lnTo>
                      <a:pt x="56" y="62"/>
                    </a:lnTo>
                    <a:lnTo>
                      <a:pt x="55" y="41"/>
                    </a:lnTo>
                    <a:lnTo>
                      <a:pt x="58" y="26"/>
                    </a:lnTo>
                    <a:lnTo>
                      <a:pt x="62" y="12"/>
                    </a:lnTo>
                    <a:lnTo>
                      <a:pt x="69" y="3"/>
                    </a:lnTo>
                    <a:lnTo>
                      <a:pt x="79" y="0"/>
                    </a:lnTo>
                    <a:lnTo>
                      <a:pt x="91" y="2"/>
                    </a:lnTo>
                    <a:lnTo>
                      <a:pt x="100" y="7"/>
                    </a:lnTo>
                    <a:lnTo>
                      <a:pt x="106" y="14"/>
                    </a:lnTo>
                    <a:lnTo>
                      <a:pt x="109" y="21"/>
                    </a:lnTo>
                    <a:lnTo>
                      <a:pt x="111" y="26"/>
                    </a:lnTo>
                    <a:lnTo>
                      <a:pt x="114" y="32"/>
                    </a:lnTo>
                    <a:lnTo>
                      <a:pt x="115" y="39"/>
                    </a:lnTo>
                    <a:lnTo>
                      <a:pt x="116" y="47"/>
                    </a:lnTo>
                    <a:lnTo>
                      <a:pt x="118" y="53"/>
                    </a:lnTo>
                    <a:lnTo>
                      <a:pt x="124" y="54"/>
                    </a:lnTo>
                    <a:lnTo>
                      <a:pt x="132" y="52"/>
                    </a:lnTo>
                    <a:lnTo>
                      <a:pt x="140" y="47"/>
                    </a:lnTo>
                    <a:lnTo>
                      <a:pt x="146" y="41"/>
                    </a:lnTo>
                    <a:lnTo>
                      <a:pt x="147" y="36"/>
                    </a:lnTo>
                    <a:lnTo>
                      <a:pt x="149" y="31"/>
                    </a:lnTo>
                    <a:lnTo>
                      <a:pt x="156" y="27"/>
                    </a:lnTo>
                    <a:lnTo>
                      <a:pt x="164" y="23"/>
                    </a:lnTo>
                    <a:lnTo>
                      <a:pt x="169" y="19"/>
                    </a:lnTo>
                    <a:lnTo>
                      <a:pt x="175" y="19"/>
                    </a:lnTo>
                    <a:lnTo>
                      <a:pt x="185" y="24"/>
                    </a:lnTo>
                    <a:lnTo>
                      <a:pt x="197" y="32"/>
                    </a:lnTo>
                    <a:lnTo>
                      <a:pt x="202" y="38"/>
                    </a:lnTo>
                    <a:lnTo>
                      <a:pt x="206" y="44"/>
                    </a:lnTo>
                    <a:lnTo>
                      <a:pt x="209" y="49"/>
                    </a:lnTo>
                    <a:lnTo>
                      <a:pt x="214" y="55"/>
                    </a:lnTo>
                    <a:lnTo>
                      <a:pt x="221" y="60"/>
                    </a:lnTo>
                    <a:lnTo>
                      <a:pt x="227" y="61"/>
                    </a:lnTo>
                    <a:lnTo>
                      <a:pt x="231" y="56"/>
                    </a:lnTo>
                    <a:lnTo>
                      <a:pt x="237" y="49"/>
                    </a:lnTo>
                    <a:lnTo>
                      <a:pt x="246" y="46"/>
                    </a:lnTo>
                    <a:lnTo>
                      <a:pt x="256" y="46"/>
                    </a:lnTo>
                    <a:lnTo>
                      <a:pt x="263" y="49"/>
                    </a:lnTo>
                    <a:lnTo>
                      <a:pt x="266" y="54"/>
                    </a:lnTo>
                    <a:lnTo>
                      <a:pt x="268" y="56"/>
                    </a:lnTo>
                    <a:lnTo>
                      <a:pt x="271" y="59"/>
                    </a:lnTo>
                    <a:lnTo>
                      <a:pt x="281" y="61"/>
                    </a:lnTo>
                    <a:lnTo>
                      <a:pt x="288" y="62"/>
                    </a:lnTo>
                    <a:lnTo>
                      <a:pt x="296" y="62"/>
                    </a:lnTo>
                    <a:lnTo>
                      <a:pt x="304" y="63"/>
                    </a:lnTo>
                    <a:lnTo>
                      <a:pt x="311" y="63"/>
                    </a:lnTo>
                    <a:lnTo>
                      <a:pt x="318" y="63"/>
                    </a:lnTo>
                    <a:lnTo>
                      <a:pt x="321" y="64"/>
                    </a:lnTo>
                    <a:lnTo>
                      <a:pt x="323" y="67"/>
                    </a:lnTo>
                    <a:lnTo>
                      <a:pt x="321" y="69"/>
                    </a:lnTo>
                    <a:lnTo>
                      <a:pt x="319" y="72"/>
                    </a:lnTo>
                    <a:lnTo>
                      <a:pt x="322" y="72"/>
                    </a:lnTo>
                    <a:lnTo>
                      <a:pt x="329" y="72"/>
                    </a:lnTo>
                    <a:lnTo>
                      <a:pt x="335" y="74"/>
                    </a:lnTo>
                    <a:lnTo>
                      <a:pt x="339" y="78"/>
                    </a:lnTo>
                    <a:lnTo>
                      <a:pt x="345" y="83"/>
                    </a:lnTo>
                    <a:lnTo>
                      <a:pt x="349" y="86"/>
                    </a:lnTo>
                    <a:lnTo>
                      <a:pt x="351" y="87"/>
                    </a:lnTo>
                    <a:lnTo>
                      <a:pt x="350" y="87"/>
                    </a:lnTo>
                    <a:lnTo>
                      <a:pt x="345" y="89"/>
                    </a:lnTo>
                    <a:lnTo>
                      <a:pt x="342" y="91"/>
                    </a:lnTo>
                    <a:lnTo>
                      <a:pt x="339" y="93"/>
                    </a:lnTo>
                    <a:lnTo>
                      <a:pt x="343" y="97"/>
                    </a:lnTo>
                    <a:lnTo>
                      <a:pt x="352" y="100"/>
                    </a:lnTo>
                    <a:lnTo>
                      <a:pt x="361" y="102"/>
                    </a:lnTo>
                    <a:lnTo>
                      <a:pt x="361" y="105"/>
                    </a:lnTo>
                    <a:lnTo>
                      <a:pt x="357" y="107"/>
                    </a:lnTo>
                    <a:lnTo>
                      <a:pt x="353" y="108"/>
                    </a:lnTo>
                    <a:lnTo>
                      <a:pt x="351" y="110"/>
                    </a:lnTo>
                    <a:lnTo>
                      <a:pt x="351" y="115"/>
                    </a:lnTo>
                    <a:lnTo>
                      <a:pt x="350" y="118"/>
                    </a:lnTo>
                    <a:lnTo>
                      <a:pt x="349" y="123"/>
                    </a:lnTo>
                    <a:lnTo>
                      <a:pt x="349" y="127"/>
                    </a:lnTo>
                    <a:lnTo>
                      <a:pt x="353" y="132"/>
                    </a:lnTo>
                    <a:lnTo>
                      <a:pt x="361" y="135"/>
                    </a:lnTo>
                    <a:lnTo>
                      <a:pt x="371" y="133"/>
                    </a:lnTo>
                    <a:lnTo>
                      <a:pt x="377" y="133"/>
                    </a:lnTo>
                    <a:lnTo>
                      <a:pt x="384" y="136"/>
                    </a:lnTo>
                    <a:lnTo>
                      <a:pt x="392" y="143"/>
                    </a:lnTo>
                    <a:lnTo>
                      <a:pt x="400" y="150"/>
                    </a:lnTo>
                    <a:lnTo>
                      <a:pt x="407" y="152"/>
                    </a:lnTo>
                    <a:lnTo>
                      <a:pt x="409" y="150"/>
                    </a:lnTo>
                    <a:lnTo>
                      <a:pt x="406" y="144"/>
                    </a:lnTo>
                    <a:lnTo>
                      <a:pt x="403" y="139"/>
                    </a:lnTo>
                    <a:lnTo>
                      <a:pt x="403" y="137"/>
                    </a:lnTo>
                    <a:lnTo>
                      <a:pt x="409" y="139"/>
                    </a:lnTo>
                    <a:lnTo>
                      <a:pt x="414" y="140"/>
                    </a:lnTo>
                    <a:lnTo>
                      <a:pt x="421" y="142"/>
                    </a:lnTo>
                    <a:lnTo>
                      <a:pt x="429" y="143"/>
                    </a:lnTo>
                    <a:lnTo>
                      <a:pt x="436" y="143"/>
                    </a:lnTo>
                    <a:lnTo>
                      <a:pt x="442" y="144"/>
                    </a:lnTo>
                    <a:lnTo>
                      <a:pt x="447" y="145"/>
                    </a:lnTo>
                    <a:lnTo>
                      <a:pt x="450" y="146"/>
                    </a:lnTo>
                    <a:lnTo>
                      <a:pt x="451" y="148"/>
                    </a:lnTo>
                    <a:lnTo>
                      <a:pt x="450" y="152"/>
                    </a:lnTo>
                    <a:lnTo>
                      <a:pt x="451" y="154"/>
                    </a:lnTo>
                    <a:lnTo>
                      <a:pt x="453" y="155"/>
                    </a:lnTo>
                    <a:lnTo>
                      <a:pt x="457" y="155"/>
                    </a:lnTo>
                    <a:lnTo>
                      <a:pt x="461" y="155"/>
                    </a:lnTo>
                    <a:lnTo>
                      <a:pt x="466" y="153"/>
                    </a:lnTo>
                    <a:lnTo>
                      <a:pt x="472" y="152"/>
                    </a:lnTo>
                    <a:lnTo>
                      <a:pt x="480" y="152"/>
                    </a:lnTo>
                    <a:lnTo>
                      <a:pt x="490" y="153"/>
                    </a:lnTo>
                    <a:lnTo>
                      <a:pt x="501" y="154"/>
                    </a:lnTo>
                    <a:lnTo>
                      <a:pt x="509" y="158"/>
                    </a:lnTo>
                    <a:lnTo>
                      <a:pt x="511" y="163"/>
                    </a:lnTo>
                    <a:lnTo>
                      <a:pt x="508" y="169"/>
                    </a:lnTo>
                    <a:lnTo>
                      <a:pt x="501" y="173"/>
                    </a:lnTo>
                    <a:lnTo>
                      <a:pt x="496" y="176"/>
                    </a:lnTo>
                    <a:lnTo>
                      <a:pt x="496" y="180"/>
                    </a:lnTo>
                    <a:lnTo>
                      <a:pt x="501" y="183"/>
                    </a:lnTo>
                    <a:lnTo>
                      <a:pt x="505" y="186"/>
                    </a:lnTo>
                    <a:lnTo>
                      <a:pt x="510" y="191"/>
                    </a:lnTo>
                    <a:lnTo>
                      <a:pt x="511" y="196"/>
                    </a:lnTo>
                    <a:lnTo>
                      <a:pt x="511" y="200"/>
                    </a:lnTo>
                    <a:lnTo>
                      <a:pt x="509" y="204"/>
                    </a:lnTo>
                    <a:lnTo>
                      <a:pt x="505" y="207"/>
                    </a:lnTo>
                    <a:lnTo>
                      <a:pt x="501" y="209"/>
                    </a:lnTo>
                    <a:lnTo>
                      <a:pt x="497" y="212"/>
                    </a:lnTo>
                    <a:lnTo>
                      <a:pt x="497" y="214"/>
                    </a:lnTo>
                    <a:lnTo>
                      <a:pt x="499" y="219"/>
                    </a:lnTo>
                    <a:lnTo>
                      <a:pt x="505" y="223"/>
                    </a:lnTo>
                    <a:lnTo>
                      <a:pt x="511" y="228"/>
                    </a:lnTo>
                    <a:lnTo>
                      <a:pt x="514" y="234"/>
                    </a:lnTo>
                    <a:lnTo>
                      <a:pt x="514" y="239"/>
                    </a:lnTo>
                    <a:lnTo>
                      <a:pt x="511" y="244"/>
                    </a:lnTo>
                    <a:lnTo>
                      <a:pt x="506" y="248"/>
                    </a:lnTo>
                    <a:lnTo>
                      <a:pt x="503" y="249"/>
                    </a:lnTo>
                    <a:lnTo>
                      <a:pt x="501" y="249"/>
                    </a:lnTo>
                    <a:lnTo>
                      <a:pt x="495" y="245"/>
                    </a:lnTo>
                    <a:lnTo>
                      <a:pt x="487" y="242"/>
                    </a:lnTo>
                    <a:lnTo>
                      <a:pt x="480" y="238"/>
                    </a:lnTo>
                    <a:lnTo>
                      <a:pt x="474" y="235"/>
                    </a:lnTo>
                    <a:lnTo>
                      <a:pt x="468" y="231"/>
                    </a:lnTo>
                    <a:lnTo>
                      <a:pt x="465" y="229"/>
                    </a:lnTo>
                    <a:lnTo>
                      <a:pt x="460" y="228"/>
                    </a:lnTo>
                    <a:lnTo>
                      <a:pt x="456" y="226"/>
                    </a:lnTo>
                    <a:lnTo>
                      <a:pt x="449" y="223"/>
                    </a:lnTo>
                    <a:lnTo>
                      <a:pt x="440" y="220"/>
                    </a:lnTo>
                    <a:lnTo>
                      <a:pt x="432" y="219"/>
                    </a:lnTo>
                    <a:lnTo>
                      <a:pt x="425" y="220"/>
                    </a:lnTo>
                    <a:lnTo>
                      <a:pt x="421" y="224"/>
                    </a:lnTo>
                    <a:lnTo>
                      <a:pt x="421" y="230"/>
                    </a:lnTo>
                    <a:lnTo>
                      <a:pt x="423" y="236"/>
                    </a:lnTo>
                    <a:lnTo>
                      <a:pt x="428" y="243"/>
                    </a:lnTo>
                    <a:lnTo>
                      <a:pt x="435" y="251"/>
                    </a:lnTo>
                    <a:lnTo>
                      <a:pt x="440" y="254"/>
                    </a:lnTo>
                    <a:lnTo>
                      <a:pt x="443" y="259"/>
                    </a:lnTo>
                    <a:lnTo>
                      <a:pt x="449" y="262"/>
                    </a:lnTo>
                    <a:lnTo>
                      <a:pt x="453" y="265"/>
                    </a:lnTo>
                    <a:lnTo>
                      <a:pt x="459" y="268"/>
                    </a:lnTo>
                    <a:lnTo>
                      <a:pt x="465" y="271"/>
                    </a:lnTo>
                    <a:lnTo>
                      <a:pt x="471" y="272"/>
                    </a:lnTo>
                    <a:lnTo>
                      <a:pt x="476" y="273"/>
                    </a:lnTo>
                    <a:lnTo>
                      <a:pt x="487" y="275"/>
                    </a:lnTo>
                    <a:lnTo>
                      <a:pt x="495" y="277"/>
                    </a:lnTo>
                    <a:lnTo>
                      <a:pt x="501" y="281"/>
                    </a:lnTo>
                    <a:lnTo>
                      <a:pt x="505" y="286"/>
                    </a:lnTo>
                    <a:lnTo>
                      <a:pt x="512" y="289"/>
                    </a:lnTo>
                    <a:lnTo>
                      <a:pt x="520" y="291"/>
                    </a:lnTo>
                    <a:lnTo>
                      <a:pt x="528" y="294"/>
                    </a:lnTo>
                    <a:lnTo>
                      <a:pt x="533" y="301"/>
                    </a:lnTo>
                    <a:lnTo>
                      <a:pt x="534" y="307"/>
                    </a:lnTo>
                    <a:lnTo>
                      <a:pt x="533" y="311"/>
                    </a:lnTo>
                    <a:lnTo>
                      <a:pt x="533" y="315"/>
                    </a:lnTo>
                    <a:lnTo>
                      <a:pt x="536" y="324"/>
                    </a:lnTo>
                    <a:lnTo>
                      <a:pt x="541" y="332"/>
                    </a:lnTo>
                    <a:lnTo>
                      <a:pt x="543" y="337"/>
                    </a:lnTo>
                    <a:lnTo>
                      <a:pt x="544" y="342"/>
                    </a:lnTo>
                    <a:lnTo>
                      <a:pt x="548" y="345"/>
                    </a:lnTo>
                    <a:lnTo>
                      <a:pt x="552" y="350"/>
                    </a:lnTo>
                    <a:lnTo>
                      <a:pt x="556" y="354"/>
                    </a:lnTo>
                    <a:lnTo>
                      <a:pt x="555" y="357"/>
                    </a:lnTo>
                    <a:lnTo>
                      <a:pt x="549" y="356"/>
                    </a:lnTo>
                    <a:lnTo>
                      <a:pt x="544" y="352"/>
                    </a:lnTo>
                    <a:lnTo>
                      <a:pt x="541" y="349"/>
                    </a:lnTo>
                    <a:lnTo>
                      <a:pt x="535" y="345"/>
                    </a:lnTo>
                    <a:lnTo>
                      <a:pt x="525" y="345"/>
                    </a:lnTo>
                    <a:lnTo>
                      <a:pt x="513" y="348"/>
                    </a:lnTo>
                    <a:lnTo>
                      <a:pt x="505" y="349"/>
                    </a:lnTo>
                    <a:lnTo>
                      <a:pt x="499" y="349"/>
                    </a:lnTo>
                    <a:lnTo>
                      <a:pt x="493" y="345"/>
                    </a:lnTo>
                    <a:lnTo>
                      <a:pt x="488" y="343"/>
                    </a:lnTo>
                    <a:lnTo>
                      <a:pt x="483" y="342"/>
                    </a:lnTo>
                    <a:lnTo>
                      <a:pt x="478" y="340"/>
                    </a:lnTo>
                    <a:lnTo>
                      <a:pt x="472" y="339"/>
                    </a:lnTo>
                    <a:lnTo>
                      <a:pt x="466" y="337"/>
                    </a:lnTo>
                    <a:lnTo>
                      <a:pt x="461" y="337"/>
                    </a:lnTo>
                    <a:lnTo>
                      <a:pt x="457" y="337"/>
                    </a:lnTo>
                    <a:lnTo>
                      <a:pt x="453" y="337"/>
                    </a:lnTo>
                    <a:lnTo>
                      <a:pt x="451" y="340"/>
                    </a:lnTo>
                    <a:lnTo>
                      <a:pt x="455" y="343"/>
                    </a:lnTo>
                    <a:lnTo>
                      <a:pt x="463" y="347"/>
                    </a:lnTo>
                    <a:lnTo>
                      <a:pt x="476" y="352"/>
                    </a:lnTo>
                    <a:lnTo>
                      <a:pt x="485" y="355"/>
                    </a:lnTo>
                    <a:lnTo>
                      <a:pt x="490" y="357"/>
                    </a:lnTo>
                    <a:lnTo>
                      <a:pt x="496" y="358"/>
                    </a:lnTo>
                    <a:lnTo>
                      <a:pt x="499" y="358"/>
                    </a:lnTo>
                    <a:lnTo>
                      <a:pt x="503" y="359"/>
                    </a:lnTo>
                    <a:lnTo>
                      <a:pt x="506" y="360"/>
                    </a:lnTo>
                    <a:lnTo>
                      <a:pt x="509" y="362"/>
                    </a:lnTo>
                    <a:lnTo>
                      <a:pt x="511" y="364"/>
                    </a:lnTo>
                    <a:lnTo>
                      <a:pt x="517" y="367"/>
                    </a:lnTo>
                    <a:lnTo>
                      <a:pt x="525" y="371"/>
                    </a:lnTo>
                    <a:lnTo>
                      <a:pt x="533" y="374"/>
                    </a:lnTo>
                    <a:lnTo>
                      <a:pt x="539" y="379"/>
                    </a:ln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317" name="Freeform 316"/>
              <p:cNvSpPr>
                <a:spLocks/>
              </p:cNvSpPr>
              <p:nvPr/>
            </p:nvSpPr>
            <p:spPr bwMode="auto">
              <a:xfrm>
                <a:off x="1425536" y="474663"/>
                <a:ext cx="158750" cy="146050"/>
              </a:xfrm>
              <a:custGeom>
                <a:avLst/>
                <a:gdLst>
                  <a:gd name="T0" fmla="*/ 2147483647 w 148"/>
                  <a:gd name="T1" fmla="*/ 2147483647 h 146"/>
                  <a:gd name="T2" fmla="*/ 2147483647 w 148"/>
                  <a:gd name="T3" fmla="*/ 2147483647 h 146"/>
                  <a:gd name="T4" fmla="*/ 2147483647 w 148"/>
                  <a:gd name="T5" fmla="*/ 2147483647 h 146"/>
                  <a:gd name="T6" fmla="*/ 2147483647 w 148"/>
                  <a:gd name="T7" fmla="*/ 2147483647 h 146"/>
                  <a:gd name="T8" fmla="*/ 2147483647 w 148"/>
                  <a:gd name="T9" fmla="*/ 2147483647 h 146"/>
                  <a:gd name="T10" fmla="*/ 2147483647 w 148"/>
                  <a:gd name="T11" fmla="*/ 2147483647 h 146"/>
                  <a:gd name="T12" fmla="*/ 2147483647 w 148"/>
                  <a:gd name="T13" fmla="*/ 2147483647 h 146"/>
                  <a:gd name="T14" fmla="*/ 2147483647 w 148"/>
                  <a:gd name="T15" fmla="*/ 2147483647 h 146"/>
                  <a:gd name="T16" fmla="*/ 2147483647 w 148"/>
                  <a:gd name="T17" fmla="*/ 2147483647 h 146"/>
                  <a:gd name="T18" fmla="*/ 2147483647 w 148"/>
                  <a:gd name="T19" fmla="*/ 0 h 146"/>
                  <a:gd name="T20" fmla="*/ 2147483647 w 148"/>
                  <a:gd name="T21" fmla="*/ 2147483647 h 146"/>
                  <a:gd name="T22" fmla="*/ 2147483647 w 148"/>
                  <a:gd name="T23" fmla="*/ 2147483647 h 146"/>
                  <a:gd name="T24" fmla="*/ 2147483647 w 148"/>
                  <a:gd name="T25" fmla="*/ 2147483647 h 146"/>
                  <a:gd name="T26" fmla="*/ 2147483647 w 148"/>
                  <a:gd name="T27" fmla="*/ 2147483647 h 146"/>
                  <a:gd name="T28" fmla="*/ 2147483647 w 148"/>
                  <a:gd name="T29" fmla="*/ 2147483647 h 146"/>
                  <a:gd name="T30" fmla="*/ 2147483647 w 148"/>
                  <a:gd name="T31" fmla="*/ 2147483647 h 146"/>
                  <a:gd name="T32" fmla="*/ 2147483647 w 148"/>
                  <a:gd name="T33" fmla="*/ 2147483647 h 146"/>
                  <a:gd name="T34" fmla="*/ 2147483647 w 148"/>
                  <a:gd name="T35" fmla="*/ 2147483647 h 146"/>
                  <a:gd name="T36" fmla="*/ 2147483647 w 148"/>
                  <a:gd name="T37" fmla="*/ 2147483647 h 146"/>
                  <a:gd name="T38" fmla="*/ 2147483647 w 148"/>
                  <a:gd name="T39" fmla="*/ 2147483647 h 146"/>
                  <a:gd name="T40" fmla="*/ 2147483647 w 148"/>
                  <a:gd name="T41" fmla="*/ 2147483647 h 146"/>
                  <a:gd name="T42" fmla="*/ 2147483647 w 148"/>
                  <a:gd name="T43" fmla="*/ 2147483647 h 146"/>
                  <a:gd name="T44" fmla="*/ 2147483647 w 148"/>
                  <a:gd name="T45" fmla="*/ 2147483647 h 146"/>
                  <a:gd name="T46" fmla="*/ 2147483647 w 148"/>
                  <a:gd name="T47" fmla="*/ 2147483647 h 146"/>
                  <a:gd name="T48" fmla="*/ 2147483647 w 148"/>
                  <a:gd name="T49" fmla="*/ 2147483647 h 146"/>
                  <a:gd name="T50" fmla="*/ 2147483647 w 148"/>
                  <a:gd name="T51" fmla="*/ 2147483647 h 146"/>
                  <a:gd name="T52" fmla="*/ 2147483647 w 148"/>
                  <a:gd name="T53" fmla="*/ 2147483647 h 146"/>
                  <a:gd name="T54" fmla="*/ 2147483647 w 148"/>
                  <a:gd name="T55" fmla="*/ 2147483647 h 146"/>
                  <a:gd name="T56" fmla="*/ 2147483647 w 148"/>
                  <a:gd name="T57" fmla="*/ 2147483647 h 146"/>
                  <a:gd name="T58" fmla="*/ 2147483647 w 148"/>
                  <a:gd name="T59" fmla="*/ 2147483647 h 146"/>
                  <a:gd name="T60" fmla="*/ 2147483647 w 148"/>
                  <a:gd name="T61" fmla="*/ 2147483647 h 146"/>
                  <a:gd name="T62" fmla="*/ 2147483647 w 148"/>
                  <a:gd name="T63" fmla="*/ 2147483647 h 14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48" h="146">
                    <a:moveTo>
                      <a:pt x="148" y="71"/>
                    </a:moveTo>
                    <a:lnTo>
                      <a:pt x="146" y="67"/>
                    </a:lnTo>
                    <a:lnTo>
                      <a:pt x="145" y="56"/>
                    </a:lnTo>
                    <a:lnTo>
                      <a:pt x="141" y="44"/>
                    </a:lnTo>
                    <a:lnTo>
                      <a:pt x="135" y="36"/>
                    </a:lnTo>
                    <a:lnTo>
                      <a:pt x="129" y="33"/>
                    </a:lnTo>
                    <a:lnTo>
                      <a:pt x="125" y="33"/>
                    </a:lnTo>
                    <a:lnTo>
                      <a:pt x="120" y="35"/>
                    </a:lnTo>
                    <a:lnTo>
                      <a:pt x="115" y="32"/>
                    </a:lnTo>
                    <a:lnTo>
                      <a:pt x="111" y="26"/>
                    </a:lnTo>
                    <a:lnTo>
                      <a:pt x="108" y="20"/>
                    </a:lnTo>
                    <a:lnTo>
                      <a:pt x="104" y="14"/>
                    </a:lnTo>
                    <a:lnTo>
                      <a:pt x="95" y="12"/>
                    </a:lnTo>
                    <a:lnTo>
                      <a:pt x="88" y="10"/>
                    </a:lnTo>
                    <a:lnTo>
                      <a:pt x="82" y="9"/>
                    </a:lnTo>
                    <a:lnTo>
                      <a:pt x="77" y="7"/>
                    </a:lnTo>
                    <a:lnTo>
                      <a:pt x="73" y="3"/>
                    </a:lnTo>
                    <a:lnTo>
                      <a:pt x="68" y="1"/>
                    </a:lnTo>
                    <a:lnTo>
                      <a:pt x="65" y="0"/>
                    </a:lnTo>
                    <a:lnTo>
                      <a:pt x="62" y="0"/>
                    </a:lnTo>
                    <a:lnTo>
                      <a:pt x="60" y="2"/>
                    </a:lnTo>
                    <a:lnTo>
                      <a:pt x="58" y="8"/>
                    </a:lnTo>
                    <a:lnTo>
                      <a:pt x="58" y="15"/>
                    </a:lnTo>
                    <a:lnTo>
                      <a:pt x="57" y="20"/>
                    </a:lnTo>
                    <a:lnTo>
                      <a:pt x="55" y="24"/>
                    </a:lnTo>
                    <a:lnTo>
                      <a:pt x="50" y="31"/>
                    </a:lnTo>
                    <a:lnTo>
                      <a:pt x="42" y="40"/>
                    </a:lnTo>
                    <a:lnTo>
                      <a:pt x="32" y="50"/>
                    </a:lnTo>
                    <a:lnTo>
                      <a:pt x="27" y="55"/>
                    </a:lnTo>
                    <a:lnTo>
                      <a:pt x="20" y="62"/>
                    </a:lnTo>
                    <a:lnTo>
                      <a:pt x="11" y="71"/>
                    </a:lnTo>
                    <a:lnTo>
                      <a:pt x="3" y="82"/>
                    </a:lnTo>
                    <a:lnTo>
                      <a:pt x="0" y="90"/>
                    </a:lnTo>
                    <a:lnTo>
                      <a:pt x="3" y="91"/>
                    </a:lnTo>
                    <a:lnTo>
                      <a:pt x="4" y="91"/>
                    </a:lnTo>
                    <a:lnTo>
                      <a:pt x="6" y="94"/>
                    </a:lnTo>
                    <a:lnTo>
                      <a:pt x="11" y="107"/>
                    </a:lnTo>
                    <a:lnTo>
                      <a:pt x="14" y="123"/>
                    </a:lnTo>
                    <a:lnTo>
                      <a:pt x="14" y="136"/>
                    </a:lnTo>
                    <a:lnTo>
                      <a:pt x="15" y="144"/>
                    </a:lnTo>
                    <a:lnTo>
                      <a:pt x="20" y="146"/>
                    </a:lnTo>
                    <a:lnTo>
                      <a:pt x="27" y="143"/>
                    </a:lnTo>
                    <a:lnTo>
                      <a:pt x="32" y="139"/>
                    </a:lnTo>
                    <a:lnTo>
                      <a:pt x="36" y="137"/>
                    </a:lnTo>
                    <a:lnTo>
                      <a:pt x="39" y="138"/>
                    </a:lnTo>
                    <a:lnTo>
                      <a:pt x="44" y="143"/>
                    </a:lnTo>
                    <a:lnTo>
                      <a:pt x="50" y="146"/>
                    </a:lnTo>
                    <a:lnTo>
                      <a:pt x="55" y="145"/>
                    </a:lnTo>
                    <a:lnTo>
                      <a:pt x="60" y="135"/>
                    </a:lnTo>
                    <a:lnTo>
                      <a:pt x="66" y="124"/>
                    </a:lnTo>
                    <a:lnTo>
                      <a:pt x="75" y="119"/>
                    </a:lnTo>
                    <a:lnTo>
                      <a:pt x="83" y="116"/>
                    </a:lnTo>
                    <a:lnTo>
                      <a:pt x="87" y="111"/>
                    </a:lnTo>
                    <a:lnTo>
                      <a:pt x="87" y="104"/>
                    </a:lnTo>
                    <a:lnTo>
                      <a:pt x="87" y="99"/>
                    </a:lnTo>
                    <a:lnTo>
                      <a:pt x="91" y="96"/>
                    </a:lnTo>
                    <a:lnTo>
                      <a:pt x="104" y="92"/>
                    </a:lnTo>
                    <a:lnTo>
                      <a:pt x="112" y="90"/>
                    </a:lnTo>
                    <a:lnTo>
                      <a:pt x="120" y="89"/>
                    </a:lnTo>
                    <a:lnTo>
                      <a:pt x="128" y="86"/>
                    </a:lnTo>
                    <a:lnTo>
                      <a:pt x="135" y="84"/>
                    </a:lnTo>
                    <a:lnTo>
                      <a:pt x="140" y="82"/>
                    </a:lnTo>
                    <a:lnTo>
                      <a:pt x="144" y="78"/>
                    </a:lnTo>
                    <a:lnTo>
                      <a:pt x="146" y="75"/>
                    </a:lnTo>
                    <a:lnTo>
                      <a:pt x="148" y="71"/>
                    </a:ln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318" name="Freeform 317"/>
              <p:cNvSpPr>
                <a:spLocks/>
              </p:cNvSpPr>
              <p:nvPr/>
            </p:nvSpPr>
            <p:spPr bwMode="auto">
              <a:xfrm>
                <a:off x="1593811" y="420688"/>
                <a:ext cx="144463" cy="93662"/>
              </a:xfrm>
              <a:custGeom>
                <a:avLst/>
                <a:gdLst>
                  <a:gd name="T0" fmla="*/ 2147483647 w 133"/>
                  <a:gd name="T1" fmla="*/ 2147483647 h 91"/>
                  <a:gd name="T2" fmla="*/ 2147483647 w 133"/>
                  <a:gd name="T3" fmla="*/ 2147483647 h 91"/>
                  <a:gd name="T4" fmla="*/ 2147483647 w 133"/>
                  <a:gd name="T5" fmla="*/ 2147483647 h 91"/>
                  <a:gd name="T6" fmla="*/ 2147483647 w 133"/>
                  <a:gd name="T7" fmla="*/ 2147483647 h 91"/>
                  <a:gd name="T8" fmla="*/ 2147483647 w 133"/>
                  <a:gd name="T9" fmla="*/ 2147483647 h 91"/>
                  <a:gd name="T10" fmla="*/ 2147483647 w 133"/>
                  <a:gd name="T11" fmla="*/ 2147483647 h 91"/>
                  <a:gd name="T12" fmla="*/ 2147483647 w 133"/>
                  <a:gd name="T13" fmla="*/ 2147483647 h 91"/>
                  <a:gd name="T14" fmla="*/ 2147483647 w 133"/>
                  <a:gd name="T15" fmla="*/ 2147483647 h 91"/>
                  <a:gd name="T16" fmla="*/ 2147483647 w 133"/>
                  <a:gd name="T17" fmla="*/ 2147483647 h 91"/>
                  <a:gd name="T18" fmla="*/ 2147483647 w 133"/>
                  <a:gd name="T19" fmla="*/ 2147483647 h 91"/>
                  <a:gd name="T20" fmla="*/ 2147483647 w 133"/>
                  <a:gd name="T21" fmla="*/ 2147483647 h 91"/>
                  <a:gd name="T22" fmla="*/ 2147483647 w 133"/>
                  <a:gd name="T23" fmla="*/ 2147483647 h 91"/>
                  <a:gd name="T24" fmla="*/ 2147483647 w 133"/>
                  <a:gd name="T25" fmla="*/ 2147483647 h 91"/>
                  <a:gd name="T26" fmla="*/ 2147483647 w 133"/>
                  <a:gd name="T27" fmla="*/ 2147483647 h 91"/>
                  <a:gd name="T28" fmla="*/ 2147483647 w 133"/>
                  <a:gd name="T29" fmla="*/ 2147483647 h 91"/>
                  <a:gd name="T30" fmla="*/ 2147483647 w 133"/>
                  <a:gd name="T31" fmla="*/ 2147483647 h 91"/>
                  <a:gd name="T32" fmla="*/ 2147483647 w 133"/>
                  <a:gd name="T33" fmla="*/ 2147483647 h 91"/>
                  <a:gd name="T34" fmla="*/ 2147483647 w 133"/>
                  <a:gd name="T35" fmla="*/ 2147483647 h 91"/>
                  <a:gd name="T36" fmla="*/ 2147483647 w 133"/>
                  <a:gd name="T37" fmla="*/ 2147483647 h 91"/>
                  <a:gd name="T38" fmla="*/ 2147483647 w 133"/>
                  <a:gd name="T39" fmla="*/ 2147483647 h 91"/>
                  <a:gd name="T40" fmla="*/ 2147483647 w 133"/>
                  <a:gd name="T41" fmla="*/ 2147483647 h 91"/>
                  <a:gd name="T42" fmla="*/ 2147483647 w 133"/>
                  <a:gd name="T43" fmla="*/ 2147483647 h 91"/>
                  <a:gd name="T44" fmla="*/ 2147483647 w 133"/>
                  <a:gd name="T45" fmla="*/ 2147483647 h 91"/>
                  <a:gd name="T46" fmla="*/ 2147483647 w 133"/>
                  <a:gd name="T47" fmla="*/ 2147483647 h 91"/>
                  <a:gd name="T48" fmla="*/ 2147483647 w 133"/>
                  <a:gd name="T49" fmla="*/ 2147483647 h 91"/>
                  <a:gd name="T50" fmla="*/ 2147483647 w 133"/>
                  <a:gd name="T51" fmla="*/ 2147483647 h 91"/>
                  <a:gd name="T52" fmla="*/ 2147483647 w 133"/>
                  <a:gd name="T53" fmla="*/ 2147483647 h 91"/>
                  <a:gd name="T54" fmla="*/ 2147483647 w 133"/>
                  <a:gd name="T55" fmla="*/ 2147483647 h 91"/>
                  <a:gd name="T56" fmla="*/ 0 w 133"/>
                  <a:gd name="T57" fmla="*/ 2147483647 h 91"/>
                  <a:gd name="T58" fmla="*/ 2147483647 w 133"/>
                  <a:gd name="T59" fmla="*/ 2147483647 h 91"/>
                  <a:gd name="T60" fmla="*/ 2147483647 w 133"/>
                  <a:gd name="T61" fmla="*/ 2147483647 h 91"/>
                  <a:gd name="T62" fmla="*/ 2147483647 w 133"/>
                  <a:gd name="T63" fmla="*/ 2147483647 h 91"/>
                  <a:gd name="T64" fmla="*/ 2147483647 w 133"/>
                  <a:gd name="T65" fmla="*/ 2147483647 h 91"/>
                  <a:gd name="T66" fmla="*/ 2147483647 w 133"/>
                  <a:gd name="T67" fmla="*/ 2147483647 h 91"/>
                  <a:gd name="T68" fmla="*/ 2147483647 w 133"/>
                  <a:gd name="T69" fmla="*/ 0 h 91"/>
                  <a:gd name="T70" fmla="*/ 2147483647 w 133"/>
                  <a:gd name="T71" fmla="*/ 2147483647 h 91"/>
                  <a:gd name="T72" fmla="*/ 2147483647 w 133"/>
                  <a:gd name="T73" fmla="*/ 2147483647 h 91"/>
                  <a:gd name="T74" fmla="*/ 2147483647 w 133"/>
                  <a:gd name="T75" fmla="*/ 2147483647 h 91"/>
                  <a:gd name="T76" fmla="*/ 2147483647 w 133"/>
                  <a:gd name="T77" fmla="*/ 2147483647 h 91"/>
                  <a:gd name="T78" fmla="*/ 2147483647 w 133"/>
                  <a:gd name="T79" fmla="*/ 2147483647 h 91"/>
                  <a:gd name="T80" fmla="*/ 2147483647 w 133"/>
                  <a:gd name="T81" fmla="*/ 2147483647 h 91"/>
                  <a:gd name="T82" fmla="*/ 2147483647 w 133"/>
                  <a:gd name="T83" fmla="*/ 2147483647 h 91"/>
                  <a:gd name="T84" fmla="*/ 2147483647 w 133"/>
                  <a:gd name="T85" fmla="*/ 2147483647 h 91"/>
                  <a:gd name="T86" fmla="*/ 2147483647 w 133"/>
                  <a:gd name="T87" fmla="*/ 2147483647 h 91"/>
                  <a:gd name="T88" fmla="*/ 2147483647 w 133"/>
                  <a:gd name="T89" fmla="*/ 2147483647 h 91"/>
                  <a:gd name="T90" fmla="*/ 2147483647 w 133"/>
                  <a:gd name="T91" fmla="*/ 2147483647 h 91"/>
                  <a:gd name="T92" fmla="*/ 2147483647 w 133"/>
                  <a:gd name="T93" fmla="*/ 2147483647 h 91"/>
                  <a:gd name="T94" fmla="*/ 2147483647 w 133"/>
                  <a:gd name="T95" fmla="*/ 2147483647 h 91"/>
                  <a:gd name="T96" fmla="*/ 2147483647 w 133"/>
                  <a:gd name="T97" fmla="*/ 2147483647 h 91"/>
                  <a:gd name="T98" fmla="*/ 2147483647 w 133"/>
                  <a:gd name="T99" fmla="*/ 2147483647 h 91"/>
                  <a:gd name="T100" fmla="*/ 2147483647 w 133"/>
                  <a:gd name="T101" fmla="*/ 2147483647 h 91"/>
                  <a:gd name="T102" fmla="*/ 2147483647 w 133"/>
                  <a:gd name="T103" fmla="*/ 2147483647 h 9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33" h="91">
                    <a:moveTo>
                      <a:pt x="104" y="0"/>
                    </a:moveTo>
                    <a:lnTo>
                      <a:pt x="104" y="4"/>
                    </a:lnTo>
                    <a:lnTo>
                      <a:pt x="103" y="13"/>
                    </a:lnTo>
                    <a:lnTo>
                      <a:pt x="103" y="23"/>
                    </a:lnTo>
                    <a:lnTo>
                      <a:pt x="102" y="30"/>
                    </a:lnTo>
                    <a:lnTo>
                      <a:pt x="101" y="35"/>
                    </a:lnTo>
                    <a:lnTo>
                      <a:pt x="101" y="39"/>
                    </a:lnTo>
                    <a:lnTo>
                      <a:pt x="102" y="44"/>
                    </a:lnTo>
                    <a:lnTo>
                      <a:pt x="107" y="46"/>
                    </a:lnTo>
                    <a:lnTo>
                      <a:pt x="111" y="43"/>
                    </a:lnTo>
                    <a:lnTo>
                      <a:pt x="113" y="37"/>
                    </a:lnTo>
                    <a:lnTo>
                      <a:pt x="115" y="34"/>
                    </a:lnTo>
                    <a:lnTo>
                      <a:pt x="121" y="36"/>
                    </a:lnTo>
                    <a:lnTo>
                      <a:pt x="128" y="42"/>
                    </a:lnTo>
                    <a:lnTo>
                      <a:pt x="132" y="45"/>
                    </a:lnTo>
                    <a:lnTo>
                      <a:pt x="133" y="49"/>
                    </a:lnTo>
                    <a:lnTo>
                      <a:pt x="132" y="54"/>
                    </a:lnTo>
                    <a:lnTo>
                      <a:pt x="132" y="60"/>
                    </a:lnTo>
                    <a:lnTo>
                      <a:pt x="132" y="62"/>
                    </a:lnTo>
                    <a:lnTo>
                      <a:pt x="131" y="66"/>
                    </a:lnTo>
                    <a:lnTo>
                      <a:pt x="128" y="72"/>
                    </a:lnTo>
                    <a:lnTo>
                      <a:pt x="123" y="78"/>
                    </a:lnTo>
                    <a:lnTo>
                      <a:pt x="121" y="82"/>
                    </a:lnTo>
                    <a:lnTo>
                      <a:pt x="116" y="84"/>
                    </a:lnTo>
                    <a:lnTo>
                      <a:pt x="107" y="83"/>
                    </a:lnTo>
                    <a:lnTo>
                      <a:pt x="96" y="81"/>
                    </a:lnTo>
                    <a:lnTo>
                      <a:pt x="88" y="78"/>
                    </a:lnTo>
                    <a:lnTo>
                      <a:pt x="83" y="77"/>
                    </a:lnTo>
                    <a:lnTo>
                      <a:pt x="79" y="80"/>
                    </a:lnTo>
                    <a:lnTo>
                      <a:pt x="76" y="83"/>
                    </a:lnTo>
                    <a:lnTo>
                      <a:pt x="72" y="85"/>
                    </a:lnTo>
                    <a:lnTo>
                      <a:pt x="68" y="88"/>
                    </a:lnTo>
                    <a:lnTo>
                      <a:pt x="61" y="90"/>
                    </a:lnTo>
                    <a:lnTo>
                      <a:pt x="54" y="91"/>
                    </a:lnTo>
                    <a:lnTo>
                      <a:pt x="49" y="91"/>
                    </a:lnTo>
                    <a:lnTo>
                      <a:pt x="45" y="91"/>
                    </a:lnTo>
                    <a:lnTo>
                      <a:pt x="39" y="91"/>
                    </a:lnTo>
                    <a:lnTo>
                      <a:pt x="32" y="89"/>
                    </a:lnTo>
                    <a:lnTo>
                      <a:pt x="24" y="85"/>
                    </a:lnTo>
                    <a:lnTo>
                      <a:pt x="18" y="82"/>
                    </a:lnTo>
                    <a:lnTo>
                      <a:pt x="19" y="78"/>
                    </a:lnTo>
                    <a:lnTo>
                      <a:pt x="25" y="77"/>
                    </a:lnTo>
                    <a:lnTo>
                      <a:pt x="32" y="77"/>
                    </a:lnTo>
                    <a:lnTo>
                      <a:pt x="38" y="77"/>
                    </a:lnTo>
                    <a:lnTo>
                      <a:pt x="43" y="75"/>
                    </a:lnTo>
                    <a:lnTo>
                      <a:pt x="48" y="70"/>
                    </a:lnTo>
                    <a:lnTo>
                      <a:pt x="49" y="64"/>
                    </a:lnTo>
                    <a:lnTo>
                      <a:pt x="48" y="60"/>
                    </a:lnTo>
                    <a:lnTo>
                      <a:pt x="42" y="60"/>
                    </a:lnTo>
                    <a:lnTo>
                      <a:pt x="35" y="65"/>
                    </a:lnTo>
                    <a:lnTo>
                      <a:pt x="32" y="67"/>
                    </a:lnTo>
                    <a:lnTo>
                      <a:pt x="27" y="67"/>
                    </a:lnTo>
                    <a:lnTo>
                      <a:pt x="20" y="62"/>
                    </a:lnTo>
                    <a:lnTo>
                      <a:pt x="14" y="57"/>
                    </a:lnTo>
                    <a:lnTo>
                      <a:pt x="8" y="53"/>
                    </a:lnTo>
                    <a:lnTo>
                      <a:pt x="4" y="51"/>
                    </a:lnTo>
                    <a:lnTo>
                      <a:pt x="2" y="46"/>
                    </a:lnTo>
                    <a:lnTo>
                      <a:pt x="0" y="42"/>
                    </a:lnTo>
                    <a:lnTo>
                      <a:pt x="0" y="38"/>
                    </a:lnTo>
                    <a:lnTo>
                      <a:pt x="2" y="35"/>
                    </a:lnTo>
                    <a:lnTo>
                      <a:pt x="8" y="30"/>
                    </a:lnTo>
                    <a:lnTo>
                      <a:pt x="12" y="25"/>
                    </a:lnTo>
                    <a:lnTo>
                      <a:pt x="14" y="22"/>
                    </a:lnTo>
                    <a:lnTo>
                      <a:pt x="15" y="20"/>
                    </a:lnTo>
                    <a:lnTo>
                      <a:pt x="18" y="14"/>
                    </a:lnTo>
                    <a:lnTo>
                      <a:pt x="23" y="7"/>
                    </a:lnTo>
                    <a:lnTo>
                      <a:pt x="25" y="4"/>
                    </a:lnTo>
                    <a:lnTo>
                      <a:pt x="28" y="1"/>
                    </a:lnTo>
                    <a:lnTo>
                      <a:pt x="34" y="0"/>
                    </a:lnTo>
                    <a:lnTo>
                      <a:pt x="41" y="0"/>
                    </a:lnTo>
                    <a:lnTo>
                      <a:pt x="45" y="2"/>
                    </a:lnTo>
                    <a:lnTo>
                      <a:pt x="46" y="5"/>
                    </a:lnTo>
                    <a:lnTo>
                      <a:pt x="45" y="8"/>
                    </a:lnTo>
                    <a:lnTo>
                      <a:pt x="46" y="13"/>
                    </a:lnTo>
                    <a:lnTo>
                      <a:pt x="50" y="15"/>
                    </a:lnTo>
                    <a:lnTo>
                      <a:pt x="55" y="19"/>
                    </a:lnTo>
                    <a:lnTo>
                      <a:pt x="56" y="23"/>
                    </a:lnTo>
                    <a:lnTo>
                      <a:pt x="56" y="28"/>
                    </a:lnTo>
                    <a:lnTo>
                      <a:pt x="61" y="31"/>
                    </a:lnTo>
                    <a:lnTo>
                      <a:pt x="65" y="35"/>
                    </a:lnTo>
                    <a:lnTo>
                      <a:pt x="68" y="39"/>
                    </a:lnTo>
                    <a:lnTo>
                      <a:pt x="68" y="44"/>
                    </a:lnTo>
                    <a:lnTo>
                      <a:pt x="68" y="47"/>
                    </a:lnTo>
                    <a:lnTo>
                      <a:pt x="70" y="50"/>
                    </a:lnTo>
                    <a:lnTo>
                      <a:pt x="75" y="52"/>
                    </a:lnTo>
                    <a:lnTo>
                      <a:pt x="80" y="55"/>
                    </a:lnTo>
                    <a:lnTo>
                      <a:pt x="86" y="59"/>
                    </a:lnTo>
                    <a:lnTo>
                      <a:pt x="90" y="59"/>
                    </a:lnTo>
                    <a:lnTo>
                      <a:pt x="91" y="54"/>
                    </a:lnTo>
                    <a:lnTo>
                      <a:pt x="91" y="47"/>
                    </a:lnTo>
                    <a:lnTo>
                      <a:pt x="91" y="42"/>
                    </a:lnTo>
                    <a:lnTo>
                      <a:pt x="91" y="37"/>
                    </a:lnTo>
                    <a:lnTo>
                      <a:pt x="91" y="32"/>
                    </a:lnTo>
                    <a:lnTo>
                      <a:pt x="88" y="30"/>
                    </a:lnTo>
                    <a:lnTo>
                      <a:pt x="86" y="30"/>
                    </a:lnTo>
                    <a:lnTo>
                      <a:pt x="85" y="29"/>
                    </a:lnTo>
                    <a:lnTo>
                      <a:pt x="84" y="24"/>
                    </a:lnTo>
                    <a:lnTo>
                      <a:pt x="84" y="19"/>
                    </a:lnTo>
                    <a:lnTo>
                      <a:pt x="84" y="14"/>
                    </a:lnTo>
                    <a:lnTo>
                      <a:pt x="85" y="11"/>
                    </a:lnTo>
                    <a:lnTo>
                      <a:pt x="88" y="8"/>
                    </a:lnTo>
                    <a:lnTo>
                      <a:pt x="94" y="6"/>
                    </a:lnTo>
                    <a:lnTo>
                      <a:pt x="99" y="4"/>
                    </a:lnTo>
                    <a:lnTo>
                      <a:pt x="103" y="1"/>
                    </a:lnTo>
                    <a:lnTo>
                      <a:pt x="104" y="0"/>
                    </a:ln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319" name="Freeform 318"/>
              <p:cNvSpPr>
                <a:spLocks/>
              </p:cNvSpPr>
              <p:nvPr/>
            </p:nvSpPr>
            <p:spPr bwMode="auto">
              <a:xfrm>
                <a:off x="1533486" y="371475"/>
                <a:ext cx="109538" cy="61913"/>
              </a:xfrm>
              <a:custGeom>
                <a:avLst/>
                <a:gdLst>
                  <a:gd name="T0" fmla="*/ 2147483647 w 102"/>
                  <a:gd name="T1" fmla="*/ 2147483647 h 60"/>
                  <a:gd name="T2" fmla="*/ 2147483647 w 102"/>
                  <a:gd name="T3" fmla="*/ 2147483647 h 60"/>
                  <a:gd name="T4" fmla="*/ 2147483647 w 102"/>
                  <a:gd name="T5" fmla="*/ 2147483647 h 60"/>
                  <a:gd name="T6" fmla="*/ 2147483647 w 102"/>
                  <a:gd name="T7" fmla="*/ 2147483647 h 60"/>
                  <a:gd name="T8" fmla="*/ 2147483647 w 102"/>
                  <a:gd name="T9" fmla="*/ 2147483647 h 60"/>
                  <a:gd name="T10" fmla="*/ 2147483647 w 102"/>
                  <a:gd name="T11" fmla="*/ 2147483647 h 60"/>
                  <a:gd name="T12" fmla="*/ 2147483647 w 102"/>
                  <a:gd name="T13" fmla="*/ 2147483647 h 60"/>
                  <a:gd name="T14" fmla="*/ 2147483647 w 102"/>
                  <a:gd name="T15" fmla="*/ 2147483647 h 60"/>
                  <a:gd name="T16" fmla="*/ 2147483647 w 102"/>
                  <a:gd name="T17" fmla="*/ 2147483647 h 60"/>
                  <a:gd name="T18" fmla="*/ 2147483647 w 102"/>
                  <a:gd name="T19" fmla="*/ 2147483647 h 60"/>
                  <a:gd name="T20" fmla="*/ 2147483647 w 102"/>
                  <a:gd name="T21" fmla="*/ 2147483647 h 60"/>
                  <a:gd name="T22" fmla="*/ 2147483647 w 102"/>
                  <a:gd name="T23" fmla="*/ 2147483647 h 60"/>
                  <a:gd name="T24" fmla="*/ 2147483647 w 102"/>
                  <a:gd name="T25" fmla="*/ 2147483647 h 60"/>
                  <a:gd name="T26" fmla="*/ 2147483647 w 102"/>
                  <a:gd name="T27" fmla="*/ 2147483647 h 60"/>
                  <a:gd name="T28" fmla="*/ 2147483647 w 102"/>
                  <a:gd name="T29" fmla="*/ 2147483647 h 60"/>
                  <a:gd name="T30" fmla="*/ 2147483647 w 102"/>
                  <a:gd name="T31" fmla="*/ 2147483647 h 60"/>
                  <a:gd name="T32" fmla="*/ 2147483647 w 102"/>
                  <a:gd name="T33" fmla="*/ 2147483647 h 60"/>
                  <a:gd name="T34" fmla="*/ 2147483647 w 102"/>
                  <a:gd name="T35" fmla="*/ 2147483647 h 60"/>
                  <a:gd name="T36" fmla="*/ 2147483647 w 102"/>
                  <a:gd name="T37" fmla="*/ 2147483647 h 60"/>
                  <a:gd name="T38" fmla="*/ 2147483647 w 102"/>
                  <a:gd name="T39" fmla="*/ 2147483647 h 60"/>
                  <a:gd name="T40" fmla="*/ 2147483647 w 102"/>
                  <a:gd name="T41" fmla="*/ 2147483647 h 60"/>
                  <a:gd name="T42" fmla="*/ 2147483647 w 102"/>
                  <a:gd name="T43" fmla="*/ 2147483647 h 60"/>
                  <a:gd name="T44" fmla="*/ 2147483647 w 102"/>
                  <a:gd name="T45" fmla="*/ 2147483647 h 60"/>
                  <a:gd name="T46" fmla="*/ 0 w 102"/>
                  <a:gd name="T47" fmla="*/ 2147483647 h 60"/>
                  <a:gd name="T48" fmla="*/ 2147483647 w 102"/>
                  <a:gd name="T49" fmla="*/ 2147483647 h 60"/>
                  <a:gd name="T50" fmla="*/ 2147483647 w 102"/>
                  <a:gd name="T51" fmla="*/ 2147483647 h 60"/>
                  <a:gd name="T52" fmla="*/ 2147483647 w 102"/>
                  <a:gd name="T53" fmla="*/ 2147483647 h 60"/>
                  <a:gd name="T54" fmla="*/ 2147483647 w 102"/>
                  <a:gd name="T55" fmla="*/ 2147483647 h 60"/>
                  <a:gd name="T56" fmla="*/ 2147483647 w 102"/>
                  <a:gd name="T57" fmla="*/ 2147483647 h 60"/>
                  <a:gd name="T58" fmla="*/ 2147483647 w 102"/>
                  <a:gd name="T59" fmla="*/ 2147483647 h 60"/>
                  <a:gd name="T60" fmla="*/ 2147483647 w 102"/>
                  <a:gd name="T61" fmla="*/ 2147483647 h 60"/>
                  <a:gd name="T62" fmla="*/ 2147483647 w 102"/>
                  <a:gd name="T63" fmla="*/ 2147483647 h 60"/>
                  <a:gd name="T64" fmla="*/ 2147483647 w 102"/>
                  <a:gd name="T65" fmla="*/ 0 h 60"/>
                  <a:gd name="T66" fmla="*/ 2147483647 w 102"/>
                  <a:gd name="T67" fmla="*/ 0 h 60"/>
                  <a:gd name="T68" fmla="*/ 2147483647 w 102"/>
                  <a:gd name="T69" fmla="*/ 0 h 60"/>
                  <a:gd name="T70" fmla="*/ 2147483647 w 102"/>
                  <a:gd name="T71" fmla="*/ 0 h 60"/>
                  <a:gd name="T72" fmla="*/ 2147483647 w 102"/>
                  <a:gd name="T73" fmla="*/ 0 h 60"/>
                  <a:gd name="T74" fmla="*/ 2147483647 w 102"/>
                  <a:gd name="T75" fmla="*/ 0 h 60"/>
                  <a:gd name="T76" fmla="*/ 2147483647 w 102"/>
                  <a:gd name="T77" fmla="*/ 2147483647 h 60"/>
                  <a:gd name="T78" fmla="*/ 2147483647 w 102"/>
                  <a:gd name="T79" fmla="*/ 2147483647 h 60"/>
                  <a:gd name="T80" fmla="*/ 2147483647 w 102"/>
                  <a:gd name="T81" fmla="*/ 2147483647 h 60"/>
                  <a:gd name="T82" fmla="*/ 2147483647 w 102"/>
                  <a:gd name="T83" fmla="*/ 2147483647 h 60"/>
                  <a:gd name="T84" fmla="*/ 2147483647 w 102"/>
                  <a:gd name="T85" fmla="*/ 2147483647 h 60"/>
                  <a:gd name="T86" fmla="*/ 2147483647 w 102"/>
                  <a:gd name="T87" fmla="*/ 2147483647 h 60"/>
                  <a:gd name="T88" fmla="*/ 2147483647 w 102"/>
                  <a:gd name="T89" fmla="*/ 2147483647 h 60"/>
                  <a:gd name="T90" fmla="*/ 2147483647 w 102"/>
                  <a:gd name="T91" fmla="*/ 2147483647 h 60"/>
                  <a:gd name="T92" fmla="*/ 2147483647 w 102"/>
                  <a:gd name="T93" fmla="*/ 2147483647 h 60"/>
                  <a:gd name="T94" fmla="*/ 2147483647 w 102"/>
                  <a:gd name="T95" fmla="*/ 2147483647 h 60"/>
                  <a:gd name="T96" fmla="*/ 2147483647 w 102"/>
                  <a:gd name="T97" fmla="*/ 2147483647 h 6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102" h="60">
                    <a:moveTo>
                      <a:pt x="76" y="40"/>
                    </a:moveTo>
                    <a:lnTo>
                      <a:pt x="75" y="41"/>
                    </a:lnTo>
                    <a:lnTo>
                      <a:pt x="72" y="45"/>
                    </a:lnTo>
                    <a:lnTo>
                      <a:pt x="68" y="46"/>
                    </a:lnTo>
                    <a:lnTo>
                      <a:pt x="66" y="42"/>
                    </a:lnTo>
                    <a:lnTo>
                      <a:pt x="64" y="35"/>
                    </a:lnTo>
                    <a:lnTo>
                      <a:pt x="61" y="30"/>
                    </a:lnTo>
                    <a:lnTo>
                      <a:pt x="58" y="27"/>
                    </a:lnTo>
                    <a:lnTo>
                      <a:pt x="56" y="31"/>
                    </a:lnTo>
                    <a:lnTo>
                      <a:pt x="55" y="38"/>
                    </a:lnTo>
                    <a:lnTo>
                      <a:pt x="55" y="44"/>
                    </a:lnTo>
                    <a:lnTo>
                      <a:pt x="53" y="47"/>
                    </a:lnTo>
                    <a:lnTo>
                      <a:pt x="48" y="47"/>
                    </a:lnTo>
                    <a:lnTo>
                      <a:pt x="42" y="47"/>
                    </a:lnTo>
                    <a:lnTo>
                      <a:pt x="38" y="52"/>
                    </a:lnTo>
                    <a:lnTo>
                      <a:pt x="38" y="57"/>
                    </a:lnTo>
                    <a:lnTo>
                      <a:pt x="38" y="60"/>
                    </a:lnTo>
                    <a:lnTo>
                      <a:pt x="37" y="57"/>
                    </a:lnTo>
                    <a:lnTo>
                      <a:pt x="33" y="54"/>
                    </a:lnTo>
                    <a:lnTo>
                      <a:pt x="27" y="50"/>
                    </a:lnTo>
                    <a:lnTo>
                      <a:pt x="22" y="48"/>
                    </a:lnTo>
                    <a:lnTo>
                      <a:pt x="15" y="48"/>
                    </a:lnTo>
                    <a:lnTo>
                      <a:pt x="6" y="48"/>
                    </a:lnTo>
                    <a:lnTo>
                      <a:pt x="0" y="46"/>
                    </a:lnTo>
                    <a:lnTo>
                      <a:pt x="4" y="40"/>
                    </a:lnTo>
                    <a:lnTo>
                      <a:pt x="11" y="34"/>
                    </a:lnTo>
                    <a:lnTo>
                      <a:pt x="17" y="30"/>
                    </a:lnTo>
                    <a:lnTo>
                      <a:pt x="23" y="25"/>
                    </a:lnTo>
                    <a:lnTo>
                      <a:pt x="35" y="19"/>
                    </a:lnTo>
                    <a:lnTo>
                      <a:pt x="46" y="12"/>
                    </a:lnTo>
                    <a:lnTo>
                      <a:pt x="55" y="7"/>
                    </a:lnTo>
                    <a:lnTo>
                      <a:pt x="60" y="2"/>
                    </a:lnTo>
                    <a:lnTo>
                      <a:pt x="68" y="0"/>
                    </a:lnTo>
                    <a:lnTo>
                      <a:pt x="76" y="0"/>
                    </a:lnTo>
                    <a:lnTo>
                      <a:pt x="80" y="0"/>
                    </a:lnTo>
                    <a:lnTo>
                      <a:pt x="83" y="0"/>
                    </a:lnTo>
                    <a:lnTo>
                      <a:pt x="87" y="0"/>
                    </a:lnTo>
                    <a:lnTo>
                      <a:pt x="93" y="0"/>
                    </a:lnTo>
                    <a:lnTo>
                      <a:pt x="98" y="2"/>
                    </a:lnTo>
                    <a:lnTo>
                      <a:pt x="102" y="6"/>
                    </a:lnTo>
                    <a:lnTo>
                      <a:pt x="99" y="10"/>
                    </a:lnTo>
                    <a:lnTo>
                      <a:pt x="95" y="15"/>
                    </a:lnTo>
                    <a:lnTo>
                      <a:pt x="93" y="17"/>
                    </a:lnTo>
                    <a:lnTo>
                      <a:pt x="93" y="19"/>
                    </a:lnTo>
                    <a:lnTo>
                      <a:pt x="91" y="24"/>
                    </a:lnTo>
                    <a:lnTo>
                      <a:pt x="89" y="31"/>
                    </a:lnTo>
                    <a:lnTo>
                      <a:pt x="86" y="35"/>
                    </a:lnTo>
                    <a:lnTo>
                      <a:pt x="81" y="39"/>
                    </a:lnTo>
                    <a:lnTo>
                      <a:pt x="76" y="40"/>
                    </a:ln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320" name="Freeform 319"/>
              <p:cNvSpPr>
                <a:spLocks/>
              </p:cNvSpPr>
              <p:nvPr/>
            </p:nvSpPr>
            <p:spPr bwMode="auto">
              <a:xfrm>
                <a:off x="1749386" y="433388"/>
                <a:ext cx="92075" cy="80962"/>
              </a:xfrm>
              <a:custGeom>
                <a:avLst/>
                <a:gdLst>
                  <a:gd name="T0" fmla="*/ 2147483647 w 86"/>
                  <a:gd name="T1" fmla="*/ 2147483647 h 80"/>
                  <a:gd name="T2" fmla="*/ 2147483647 w 86"/>
                  <a:gd name="T3" fmla="*/ 0 h 80"/>
                  <a:gd name="T4" fmla="*/ 2147483647 w 86"/>
                  <a:gd name="T5" fmla="*/ 2147483647 h 80"/>
                  <a:gd name="T6" fmla="*/ 2147483647 w 86"/>
                  <a:gd name="T7" fmla="*/ 2147483647 h 80"/>
                  <a:gd name="T8" fmla="*/ 2147483647 w 86"/>
                  <a:gd name="T9" fmla="*/ 2147483647 h 80"/>
                  <a:gd name="T10" fmla="*/ 2147483647 w 86"/>
                  <a:gd name="T11" fmla="*/ 2147483647 h 80"/>
                  <a:gd name="T12" fmla="*/ 2147483647 w 86"/>
                  <a:gd name="T13" fmla="*/ 2147483647 h 80"/>
                  <a:gd name="T14" fmla="*/ 2147483647 w 86"/>
                  <a:gd name="T15" fmla="*/ 2147483647 h 80"/>
                  <a:gd name="T16" fmla="*/ 2147483647 w 86"/>
                  <a:gd name="T17" fmla="*/ 2147483647 h 80"/>
                  <a:gd name="T18" fmla="*/ 2147483647 w 86"/>
                  <a:gd name="T19" fmla="*/ 2147483647 h 80"/>
                  <a:gd name="T20" fmla="*/ 2147483647 w 86"/>
                  <a:gd name="T21" fmla="*/ 2147483647 h 80"/>
                  <a:gd name="T22" fmla="*/ 2147483647 w 86"/>
                  <a:gd name="T23" fmla="*/ 2147483647 h 80"/>
                  <a:gd name="T24" fmla="*/ 2147483647 w 86"/>
                  <a:gd name="T25" fmla="*/ 2147483647 h 80"/>
                  <a:gd name="T26" fmla="*/ 2147483647 w 86"/>
                  <a:gd name="T27" fmla="*/ 2147483647 h 80"/>
                  <a:gd name="T28" fmla="*/ 2147483647 w 86"/>
                  <a:gd name="T29" fmla="*/ 2147483647 h 80"/>
                  <a:gd name="T30" fmla="*/ 2147483647 w 86"/>
                  <a:gd name="T31" fmla="*/ 2147483647 h 80"/>
                  <a:gd name="T32" fmla="*/ 2147483647 w 86"/>
                  <a:gd name="T33" fmla="*/ 2147483647 h 80"/>
                  <a:gd name="T34" fmla="*/ 2147483647 w 86"/>
                  <a:gd name="T35" fmla="*/ 2147483647 h 80"/>
                  <a:gd name="T36" fmla="*/ 2147483647 w 86"/>
                  <a:gd name="T37" fmla="*/ 2147483647 h 80"/>
                  <a:gd name="T38" fmla="*/ 2147483647 w 86"/>
                  <a:gd name="T39" fmla="*/ 2147483647 h 80"/>
                  <a:gd name="T40" fmla="*/ 2147483647 w 86"/>
                  <a:gd name="T41" fmla="*/ 2147483647 h 80"/>
                  <a:gd name="T42" fmla="*/ 2147483647 w 86"/>
                  <a:gd name="T43" fmla="*/ 2147483647 h 80"/>
                  <a:gd name="T44" fmla="*/ 2147483647 w 86"/>
                  <a:gd name="T45" fmla="*/ 2147483647 h 80"/>
                  <a:gd name="T46" fmla="*/ 2147483647 w 86"/>
                  <a:gd name="T47" fmla="*/ 2147483647 h 80"/>
                  <a:gd name="T48" fmla="*/ 2147483647 w 86"/>
                  <a:gd name="T49" fmla="*/ 2147483647 h 80"/>
                  <a:gd name="T50" fmla="*/ 2147483647 w 86"/>
                  <a:gd name="T51" fmla="*/ 2147483647 h 80"/>
                  <a:gd name="T52" fmla="*/ 2147483647 w 86"/>
                  <a:gd name="T53" fmla="*/ 2147483647 h 80"/>
                  <a:gd name="T54" fmla="*/ 2147483647 w 86"/>
                  <a:gd name="T55" fmla="*/ 2147483647 h 80"/>
                  <a:gd name="T56" fmla="*/ 2147483647 w 86"/>
                  <a:gd name="T57" fmla="*/ 2147483647 h 80"/>
                  <a:gd name="T58" fmla="*/ 2147483647 w 86"/>
                  <a:gd name="T59" fmla="*/ 2147483647 h 80"/>
                  <a:gd name="T60" fmla="*/ 2147483647 w 86"/>
                  <a:gd name="T61" fmla="*/ 2147483647 h 80"/>
                  <a:gd name="T62" fmla="*/ 2147483647 w 86"/>
                  <a:gd name="T63" fmla="*/ 2147483647 h 80"/>
                  <a:gd name="T64" fmla="*/ 2147483647 w 86"/>
                  <a:gd name="T65" fmla="*/ 2147483647 h 80"/>
                  <a:gd name="T66" fmla="*/ 2147483647 w 86"/>
                  <a:gd name="T67" fmla="*/ 2147483647 h 8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86" h="80">
                    <a:moveTo>
                      <a:pt x="20" y="16"/>
                    </a:moveTo>
                    <a:lnTo>
                      <a:pt x="17" y="12"/>
                    </a:lnTo>
                    <a:lnTo>
                      <a:pt x="10" y="5"/>
                    </a:lnTo>
                    <a:lnTo>
                      <a:pt x="3" y="0"/>
                    </a:lnTo>
                    <a:lnTo>
                      <a:pt x="0" y="2"/>
                    </a:lnTo>
                    <a:lnTo>
                      <a:pt x="1" y="9"/>
                    </a:lnTo>
                    <a:lnTo>
                      <a:pt x="2" y="15"/>
                    </a:lnTo>
                    <a:lnTo>
                      <a:pt x="3" y="22"/>
                    </a:lnTo>
                    <a:lnTo>
                      <a:pt x="4" y="27"/>
                    </a:lnTo>
                    <a:lnTo>
                      <a:pt x="5" y="33"/>
                    </a:lnTo>
                    <a:lnTo>
                      <a:pt x="8" y="38"/>
                    </a:lnTo>
                    <a:lnTo>
                      <a:pt x="11" y="41"/>
                    </a:lnTo>
                    <a:lnTo>
                      <a:pt x="15" y="42"/>
                    </a:lnTo>
                    <a:lnTo>
                      <a:pt x="18" y="42"/>
                    </a:lnTo>
                    <a:lnTo>
                      <a:pt x="22" y="42"/>
                    </a:lnTo>
                    <a:lnTo>
                      <a:pt x="24" y="43"/>
                    </a:lnTo>
                    <a:lnTo>
                      <a:pt x="23" y="47"/>
                    </a:lnTo>
                    <a:lnTo>
                      <a:pt x="20" y="52"/>
                    </a:lnTo>
                    <a:lnTo>
                      <a:pt x="22" y="54"/>
                    </a:lnTo>
                    <a:lnTo>
                      <a:pt x="24" y="54"/>
                    </a:lnTo>
                    <a:lnTo>
                      <a:pt x="31" y="54"/>
                    </a:lnTo>
                    <a:lnTo>
                      <a:pt x="38" y="53"/>
                    </a:lnTo>
                    <a:lnTo>
                      <a:pt x="41" y="53"/>
                    </a:lnTo>
                    <a:lnTo>
                      <a:pt x="42" y="54"/>
                    </a:lnTo>
                    <a:lnTo>
                      <a:pt x="42" y="58"/>
                    </a:lnTo>
                    <a:lnTo>
                      <a:pt x="40" y="65"/>
                    </a:lnTo>
                    <a:lnTo>
                      <a:pt x="38" y="73"/>
                    </a:lnTo>
                    <a:lnTo>
                      <a:pt x="38" y="79"/>
                    </a:lnTo>
                    <a:lnTo>
                      <a:pt x="43" y="80"/>
                    </a:lnTo>
                    <a:lnTo>
                      <a:pt x="54" y="77"/>
                    </a:lnTo>
                    <a:lnTo>
                      <a:pt x="64" y="72"/>
                    </a:lnTo>
                    <a:lnTo>
                      <a:pt x="72" y="66"/>
                    </a:lnTo>
                    <a:lnTo>
                      <a:pt x="76" y="64"/>
                    </a:lnTo>
                    <a:lnTo>
                      <a:pt x="75" y="62"/>
                    </a:lnTo>
                    <a:lnTo>
                      <a:pt x="72" y="57"/>
                    </a:lnTo>
                    <a:lnTo>
                      <a:pt x="72" y="54"/>
                    </a:lnTo>
                    <a:lnTo>
                      <a:pt x="75" y="54"/>
                    </a:lnTo>
                    <a:lnTo>
                      <a:pt x="79" y="56"/>
                    </a:lnTo>
                    <a:lnTo>
                      <a:pt x="84" y="58"/>
                    </a:lnTo>
                    <a:lnTo>
                      <a:pt x="86" y="57"/>
                    </a:lnTo>
                    <a:lnTo>
                      <a:pt x="83" y="50"/>
                    </a:lnTo>
                    <a:lnTo>
                      <a:pt x="77" y="42"/>
                    </a:lnTo>
                    <a:lnTo>
                      <a:pt x="72" y="39"/>
                    </a:lnTo>
                    <a:lnTo>
                      <a:pt x="71" y="37"/>
                    </a:lnTo>
                    <a:lnTo>
                      <a:pt x="72" y="31"/>
                    </a:lnTo>
                    <a:lnTo>
                      <a:pt x="76" y="22"/>
                    </a:lnTo>
                    <a:lnTo>
                      <a:pt x="77" y="15"/>
                    </a:lnTo>
                    <a:lnTo>
                      <a:pt x="76" y="9"/>
                    </a:lnTo>
                    <a:lnTo>
                      <a:pt x="71" y="7"/>
                    </a:lnTo>
                    <a:lnTo>
                      <a:pt x="65" y="8"/>
                    </a:lnTo>
                    <a:lnTo>
                      <a:pt x="64" y="10"/>
                    </a:lnTo>
                    <a:lnTo>
                      <a:pt x="63" y="12"/>
                    </a:lnTo>
                    <a:lnTo>
                      <a:pt x="60" y="11"/>
                    </a:lnTo>
                    <a:lnTo>
                      <a:pt x="55" y="8"/>
                    </a:lnTo>
                    <a:lnTo>
                      <a:pt x="50" y="3"/>
                    </a:lnTo>
                    <a:lnTo>
                      <a:pt x="47" y="2"/>
                    </a:lnTo>
                    <a:lnTo>
                      <a:pt x="45" y="3"/>
                    </a:lnTo>
                    <a:lnTo>
                      <a:pt x="45" y="7"/>
                    </a:lnTo>
                    <a:lnTo>
                      <a:pt x="47" y="11"/>
                    </a:lnTo>
                    <a:lnTo>
                      <a:pt x="48" y="13"/>
                    </a:lnTo>
                    <a:lnTo>
                      <a:pt x="47" y="16"/>
                    </a:lnTo>
                    <a:lnTo>
                      <a:pt x="43" y="15"/>
                    </a:lnTo>
                    <a:lnTo>
                      <a:pt x="39" y="11"/>
                    </a:lnTo>
                    <a:lnTo>
                      <a:pt x="35" y="9"/>
                    </a:lnTo>
                    <a:lnTo>
                      <a:pt x="32" y="11"/>
                    </a:lnTo>
                    <a:lnTo>
                      <a:pt x="28" y="15"/>
                    </a:lnTo>
                    <a:lnTo>
                      <a:pt x="25" y="16"/>
                    </a:lnTo>
                    <a:lnTo>
                      <a:pt x="22" y="16"/>
                    </a:lnTo>
                    <a:lnTo>
                      <a:pt x="20" y="16"/>
                    </a:ln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321" name="Freeform 320"/>
              <p:cNvSpPr>
                <a:spLocks/>
              </p:cNvSpPr>
              <p:nvPr/>
            </p:nvSpPr>
            <p:spPr bwMode="auto">
              <a:xfrm>
                <a:off x="1843049" y="482600"/>
                <a:ext cx="36512" cy="46038"/>
              </a:xfrm>
              <a:custGeom>
                <a:avLst/>
                <a:gdLst>
                  <a:gd name="T0" fmla="*/ 2147483647 w 34"/>
                  <a:gd name="T1" fmla="*/ 2147483647 h 46"/>
                  <a:gd name="T2" fmla="*/ 2147483647 w 34"/>
                  <a:gd name="T3" fmla="*/ 2147483647 h 46"/>
                  <a:gd name="T4" fmla="*/ 2147483647 w 34"/>
                  <a:gd name="T5" fmla="*/ 2147483647 h 46"/>
                  <a:gd name="T6" fmla="*/ 2147483647 w 34"/>
                  <a:gd name="T7" fmla="*/ 2147483647 h 46"/>
                  <a:gd name="T8" fmla="*/ 2147483647 w 34"/>
                  <a:gd name="T9" fmla="*/ 2147483647 h 46"/>
                  <a:gd name="T10" fmla="*/ 2147483647 w 34"/>
                  <a:gd name="T11" fmla="*/ 2147483647 h 46"/>
                  <a:gd name="T12" fmla="*/ 2147483647 w 34"/>
                  <a:gd name="T13" fmla="*/ 2147483647 h 46"/>
                  <a:gd name="T14" fmla="*/ 0 w 34"/>
                  <a:gd name="T15" fmla="*/ 2147483647 h 46"/>
                  <a:gd name="T16" fmla="*/ 2147483647 w 34"/>
                  <a:gd name="T17" fmla="*/ 2147483647 h 46"/>
                  <a:gd name="T18" fmla="*/ 2147483647 w 34"/>
                  <a:gd name="T19" fmla="*/ 2147483647 h 46"/>
                  <a:gd name="T20" fmla="*/ 2147483647 w 34"/>
                  <a:gd name="T21" fmla="*/ 2147483647 h 46"/>
                  <a:gd name="T22" fmla="*/ 2147483647 w 34"/>
                  <a:gd name="T23" fmla="*/ 2147483647 h 46"/>
                  <a:gd name="T24" fmla="*/ 2147483647 w 34"/>
                  <a:gd name="T25" fmla="*/ 2147483647 h 46"/>
                  <a:gd name="T26" fmla="*/ 2147483647 w 34"/>
                  <a:gd name="T27" fmla="*/ 2147483647 h 46"/>
                  <a:gd name="T28" fmla="*/ 2147483647 w 34"/>
                  <a:gd name="T29" fmla="*/ 2147483647 h 46"/>
                  <a:gd name="T30" fmla="*/ 2147483647 w 34"/>
                  <a:gd name="T31" fmla="*/ 2147483647 h 46"/>
                  <a:gd name="T32" fmla="*/ 2147483647 w 34"/>
                  <a:gd name="T33" fmla="*/ 2147483647 h 46"/>
                  <a:gd name="T34" fmla="*/ 2147483647 w 34"/>
                  <a:gd name="T35" fmla="*/ 2147483647 h 46"/>
                  <a:gd name="T36" fmla="*/ 2147483647 w 34"/>
                  <a:gd name="T37" fmla="*/ 2147483647 h 46"/>
                  <a:gd name="T38" fmla="*/ 2147483647 w 34"/>
                  <a:gd name="T39" fmla="*/ 2147483647 h 46"/>
                  <a:gd name="T40" fmla="*/ 2147483647 w 34"/>
                  <a:gd name="T41" fmla="*/ 2147483647 h 46"/>
                  <a:gd name="T42" fmla="*/ 2147483647 w 34"/>
                  <a:gd name="T43" fmla="*/ 2147483647 h 46"/>
                  <a:gd name="T44" fmla="*/ 2147483647 w 34"/>
                  <a:gd name="T45" fmla="*/ 2147483647 h 46"/>
                  <a:gd name="T46" fmla="*/ 2147483647 w 34"/>
                  <a:gd name="T47" fmla="*/ 2147483647 h 46"/>
                  <a:gd name="T48" fmla="*/ 2147483647 w 34"/>
                  <a:gd name="T49" fmla="*/ 0 h 46"/>
                  <a:gd name="T50" fmla="*/ 2147483647 w 34"/>
                  <a:gd name="T51" fmla="*/ 0 h 46"/>
                  <a:gd name="T52" fmla="*/ 2147483647 w 34"/>
                  <a:gd name="T53" fmla="*/ 0 h 46"/>
                  <a:gd name="T54" fmla="*/ 2147483647 w 34"/>
                  <a:gd name="T55" fmla="*/ 2147483647 h 46"/>
                  <a:gd name="T56" fmla="*/ 2147483647 w 34"/>
                  <a:gd name="T57" fmla="*/ 2147483647 h 4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34" h="46">
                    <a:moveTo>
                      <a:pt x="14" y="4"/>
                    </a:moveTo>
                    <a:lnTo>
                      <a:pt x="14" y="5"/>
                    </a:lnTo>
                    <a:lnTo>
                      <a:pt x="13" y="7"/>
                    </a:lnTo>
                    <a:lnTo>
                      <a:pt x="11" y="12"/>
                    </a:lnTo>
                    <a:lnTo>
                      <a:pt x="7" y="15"/>
                    </a:lnTo>
                    <a:lnTo>
                      <a:pt x="4" y="18"/>
                    </a:lnTo>
                    <a:lnTo>
                      <a:pt x="1" y="23"/>
                    </a:lnTo>
                    <a:lnTo>
                      <a:pt x="0" y="28"/>
                    </a:lnTo>
                    <a:lnTo>
                      <a:pt x="3" y="31"/>
                    </a:lnTo>
                    <a:lnTo>
                      <a:pt x="7" y="35"/>
                    </a:lnTo>
                    <a:lnTo>
                      <a:pt x="12" y="37"/>
                    </a:lnTo>
                    <a:lnTo>
                      <a:pt x="16" y="40"/>
                    </a:lnTo>
                    <a:lnTo>
                      <a:pt x="19" y="44"/>
                    </a:lnTo>
                    <a:lnTo>
                      <a:pt x="22" y="46"/>
                    </a:lnTo>
                    <a:lnTo>
                      <a:pt x="27" y="44"/>
                    </a:lnTo>
                    <a:lnTo>
                      <a:pt x="31" y="40"/>
                    </a:lnTo>
                    <a:lnTo>
                      <a:pt x="34" y="35"/>
                    </a:lnTo>
                    <a:lnTo>
                      <a:pt x="34" y="29"/>
                    </a:lnTo>
                    <a:lnTo>
                      <a:pt x="33" y="24"/>
                    </a:lnTo>
                    <a:lnTo>
                      <a:pt x="30" y="20"/>
                    </a:lnTo>
                    <a:lnTo>
                      <a:pt x="30" y="15"/>
                    </a:lnTo>
                    <a:lnTo>
                      <a:pt x="29" y="9"/>
                    </a:lnTo>
                    <a:lnTo>
                      <a:pt x="27" y="5"/>
                    </a:lnTo>
                    <a:lnTo>
                      <a:pt x="23" y="1"/>
                    </a:lnTo>
                    <a:lnTo>
                      <a:pt x="22" y="0"/>
                    </a:lnTo>
                    <a:lnTo>
                      <a:pt x="21" y="0"/>
                    </a:lnTo>
                    <a:lnTo>
                      <a:pt x="19" y="0"/>
                    </a:lnTo>
                    <a:lnTo>
                      <a:pt x="16" y="1"/>
                    </a:lnTo>
                    <a:lnTo>
                      <a:pt x="14" y="4"/>
                    </a:ln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322" name="Freeform 321"/>
              <p:cNvSpPr>
                <a:spLocks/>
              </p:cNvSpPr>
              <p:nvPr/>
            </p:nvSpPr>
            <p:spPr bwMode="auto">
              <a:xfrm>
                <a:off x="1833524" y="419100"/>
                <a:ext cx="214045" cy="103188"/>
              </a:xfrm>
              <a:custGeom>
                <a:avLst/>
                <a:gdLst>
                  <a:gd name="T0" fmla="*/ 2147483647 w 202"/>
                  <a:gd name="T1" fmla="*/ 2147483647 h 100"/>
                  <a:gd name="T2" fmla="*/ 2147483647 w 202"/>
                  <a:gd name="T3" fmla="*/ 2147483647 h 100"/>
                  <a:gd name="T4" fmla="*/ 2147483647 w 202"/>
                  <a:gd name="T5" fmla="*/ 2147483647 h 100"/>
                  <a:gd name="T6" fmla="*/ 2147483647 w 202"/>
                  <a:gd name="T7" fmla="*/ 2147483647 h 100"/>
                  <a:gd name="T8" fmla="*/ 2147483647 w 202"/>
                  <a:gd name="T9" fmla="*/ 2147483647 h 100"/>
                  <a:gd name="T10" fmla="*/ 2147483647 w 202"/>
                  <a:gd name="T11" fmla="*/ 2147483647 h 100"/>
                  <a:gd name="T12" fmla="*/ 2147483647 w 202"/>
                  <a:gd name="T13" fmla="*/ 2147483647 h 100"/>
                  <a:gd name="T14" fmla="*/ 2147483647 w 202"/>
                  <a:gd name="T15" fmla="*/ 2147483647 h 100"/>
                  <a:gd name="T16" fmla="*/ 2147483647 w 202"/>
                  <a:gd name="T17" fmla="*/ 2147483647 h 100"/>
                  <a:gd name="T18" fmla="*/ 2147483647 w 202"/>
                  <a:gd name="T19" fmla="*/ 2147483647 h 100"/>
                  <a:gd name="T20" fmla="*/ 2147483647 w 202"/>
                  <a:gd name="T21" fmla="*/ 2147483647 h 100"/>
                  <a:gd name="T22" fmla="*/ 2147483647 w 202"/>
                  <a:gd name="T23" fmla="*/ 2147483647 h 100"/>
                  <a:gd name="T24" fmla="*/ 2147483647 w 202"/>
                  <a:gd name="T25" fmla="*/ 2147483647 h 100"/>
                  <a:gd name="T26" fmla="*/ 2147483647 w 202"/>
                  <a:gd name="T27" fmla="*/ 2147483647 h 100"/>
                  <a:gd name="T28" fmla="*/ 2147483647 w 202"/>
                  <a:gd name="T29" fmla="*/ 2147483647 h 100"/>
                  <a:gd name="T30" fmla="*/ 2147483647 w 202"/>
                  <a:gd name="T31" fmla="*/ 2147483647 h 100"/>
                  <a:gd name="T32" fmla="*/ 2147483647 w 202"/>
                  <a:gd name="T33" fmla="*/ 2147483647 h 100"/>
                  <a:gd name="T34" fmla="*/ 2147483647 w 202"/>
                  <a:gd name="T35" fmla="*/ 2147483647 h 100"/>
                  <a:gd name="T36" fmla="*/ 2147483647 w 202"/>
                  <a:gd name="T37" fmla="*/ 2147483647 h 100"/>
                  <a:gd name="T38" fmla="*/ 2147483647 w 202"/>
                  <a:gd name="T39" fmla="*/ 2147483647 h 100"/>
                  <a:gd name="T40" fmla="*/ 2147483647 w 202"/>
                  <a:gd name="T41" fmla="*/ 2147483647 h 100"/>
                  <a:gd name="T42" fmla="*/ 2147483647 w 202"/>
                  <a:gd name="T43" fmla="*/ 2147483647 h 100"/>
                  <a:gd name="T44" fmla="*/ 2147483647 w 202"/>
                  <a:gd name="T45" fmla="*/ 2147483647 h 100"/>
                  <a:gd name="T46" fmla="*/ 2147483647 w 202"/>
                  <a:gd name="T47" fmla="*/ 2147483647 h 100"/>
                  <a:gd name="T48" fmla="*/ 2147483647 w 202"/>
                  <a:gd name="T49" fmla="*/ 2147483647 h 100"/>
                  <a:gd name="T50" fmla="*/ 2147483647 w 202"/>
                  <a:gd name="T51" fmla="*/ 2147483647 h 100"/>
                  <a:gd name="T52" fmla="*/ 2147483647 w 202"/>
                  <a:gd name="T53" fmla="*/ 2147483647 h 100"/>
                  <a:gd name="T54" fmla="*/ 0 w 202"/>
                  <a:gd name="T55" fmla="*/ 2147483647 h 100"/>
                  <a:gd name="T56" fmla="*/ 2147483647 w 202"/>
                  <a:gd name="T57" fmla="*/ 2147483647 h 100"/>
                  <a:gd name="T58" fmla="*/ 2147483647 w 202"/>
                  <a:gd name="T59" fmla="*/ 0 h 100"/>
                  <a:gd name="T60" fmla="*/ 2147483647 w 202"/>
                  <a:gd name="T61" fmla="*/ 2147483647 h 100"/>
                  <a:gd name="T62" fmla="*/ 2147483647 w 202"/>
                  <a:gd name="T63" fmla="*/ 2147483647 h 100"/>
                  <a:gd name="T64" fmla="*/ 2147483647 w 202"/>
                  <a:gd name="T65" fmla="*/ 2147483647 h 100"/>
                  <a:gd name="T66" fmla="*/ 2147483647 w 202"/>
                  <a:gd name="T67" fmla="*/ 2147483647 h 100"/>
                  <a:gd name="T68" fmla="*/ 2147483647 w 202"/>
                  <a:gd name="T69" fmla="*/ 2147483647 h 100"/>
                  <a:gd name="T70" fmla="*/ 2147483647 w 202"/>
                  <a:gd name="T71" fmla="*/ 2147483647 h 100"/>
                  <a:gd name="T72" fmla="*/ 2147483647 w 202"/>
                  <a:gd name="T73" fmla="*/ 2147483647 h 100"/>
                  <a:gd name="T74" fmla="*/ 2147483647 w 202"/>
                  <a:gd name="T75" fmla="*/ 2147483647 h 100"/>
                  <a:gd name="T76" fmla="*/ 2147483647 w 202"/>
                  <a:gd name="T77" fmla="*/ 2147483647 h 100"/>
                  <a:gd name="T78" fmla="*/ 2147483647 w 202"/>
                  <a:gd name="T79" fmla="*/ 2147483647 h 100"/>
                  <a:gd name="T80" fmla="*/ 2147483647 w 202"/>
                  <a:gd name="T81" fmla="*/ 2147483647 h 100"/>
                  <a:gd name="T82" fmla="*/ 2147483647 w 202"/>
                  <a:gd name="T83" fmla="*/ 2147483647 h 100"/>
                  <a:gd name="T84" fmla="*/ 2147483647 w 202"/>
                  <a:gd name="T85" fmla="*/ 2147483647 h 100"/>
                  <a:gd name="T86" fmla="*/ 2147483647 w 202"/>
                  <a:gd name="T87" fmla="*/ 2147483647 h 10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202" h="100">
                    <a:moveTo>
                      <a:pt x="166" y="28"/>
                    </a:moveTo>
                    <a:lnTo>
                      <a:pt x="169" y="29"/>
                    </a:lnTo>
                    <a:lnTo>
                      <a:pt x="176" y="30"/>
                    </a:lnTo>
                    <a:lnTo>
                      <a:pt x="184" y="33"/>
                    </a:lnTo>
                    <a:lnTo>
                      <a:pt x="191" y="37"/>
                    </a:lnTo>
                    <a:lnTo>
                      <a:pt x="196" y="41"/>
                    </a:lnTo>
                    <a:lnTo>
                      <a:pt x="198" y="46"/>
                    </a:lnTo>
                    <a:lnTo>
                      <a:pt x="201" y="52"/>
                    </a:lnTo>
                    <a:lnTo>
                      <a:pt x="201" y="60"/>
                    </a:lnTo>
                    <a:lnTo>
                      <a:pt x="201" y="67"/>
                    </a:lnTo>
                    <a:lnTo>
                      <a:pt x="202" y="69"/>
                    </a:lnTo>
                    <a:lnTo>
                      <a:pt x="201" y="73"/>
                    </a:lnTo>
                    <a:lnTo>
                      <a:pt x="196" y="76"/>
                    </a:lnTo>
                    <a:lnTo>
                      <a:pt x="190" y="81"/>
                    </a:lnTo>
                    <a:lnTo>
                      <a:pt x="186" y="84"/>
                    </a:lnTo>
                    <a:lnTo>
                      <a:pt x="180" y="85"/>
                    </a:lnTo>
                    <a:lnTo>
                      <a:pt x="172" y="85"/>
                    </a:lnTo>
                    <a:lnTo>
                      <a:pt x="166" y="84"/>
                    </a:lnTo>
                    <a:lnTo>
                      <a:pt x="163" y="83"/>
                    </a:lnTo>
                    <a:lnTo>
                      <a:pt x="160" y="84"/>
                    </a:lnTo>
                    <a:lnTo>
                      <a:pt x="156" y="88"/>
                    </a:lnTo>
                    <a:lnTo>
                      <a:pt x="152" y="90"/>
                    </a:lnTo>
                    <a:lnTo>
                      <a:pt x="148" y="91"/>
                    </a:lnTo>
                    <a:lnTo>
                      <a:pt x="142" y="92"/>
                    </a:lnTo>
                    <a:lnTo>
                      <a:pt x="136" y="92"/>
                    </a:lnTo>
                    <a:lnTo>
                      <a:pt x="130" y="93"/>
                    </a:lnTo>
                    <a:lnTo>
                      <a:pt x="125" y="93"/>
                    </a:lnTo>
                    <a:lnTo>
                      <a:pt x="120" y="94"/>
                    </a:lnTo>
                    <a:lnTo>
                      <a:pt x="116" y="96"/>
                    </a:lnTo>
                    <a:lnTo>
                      <a:pt x="111" y="98"/>
                    </a:lnTo>
                    <a:lnTo>
                      <a:pt x="106" y="99"/>
                    </a:lnTo>
                    <a:lnTo>
                      <a:pt x="100" y="100"/>
                    </a:lnTo>
                    <a:lnTo>
                      <a:pt x="92" y="100"/>
                    </a:lnTo>
                    <a:lnTo>
                      <a:pt x="84" y="99"/>
                    </a:lnTo>
                    <a:lnTo>
                      <a:pt x="77" y="99"/>
                    </a:lnTo>
                    <a:lnTo>
                      <a:pt x="73" y="97"/>
                    </a:lnTo>
                    <a:lnTo>
                      <a:pt x="68" y="93"/>
                    </a:lnTo>
                    <a:lnTo>
                      <a:pt x="63" y="90"/>
                    </a:lnTo>
                    <a:lnTo>
                      <a:pt x="58" y="85"/>
                    </a:lnTo>
                    <a:lnTo>
                      <a:pt x="53" y="79"/>
                    </a:lnTo>
                    <a:lnTo>
                      <a:pt x="52" y="71"/>
                    </a:lnTo>
                    <a:lnTo>
                      <a:pt x="53" y="61"/>
                    </a:lnTo>
                    <a:lnTo>
                      <a:pt x="53" y="54"/>
                    </a:lnTo>
                    <a:lnTo>
                      <a:pt x="53" y="48"/>
                    </a:lnTo>
                    <a:lnTo>
                      <a:pt x="51" y="44"/>
                    </a:lnTo>
                    <a:lnTo>
                      <a:pt x="49" y="39"/>
                    </a:lnTo>
                    <a:lnTo>
                      <a:pt x="46" y="35"/>
                    </a:lnTo>
                    <a:lnTo>
                      <a:pt x="42" y="32"/>
                    </a:lnTo>
                    <a:lnTo>
                      <a:pt x="36" y="32"/>
                    </a:lnTo>
                    <a:lnTo>
                      <a:pt x="30" y="33"/>
                    </a:lnTo>
                    <a:lnTo>
                      <a:pt x="28" y="35"/>
                    </a:lnTo>
                    <a:lnTo>
                      <a:pt x="24" y="35"/>
                    </a:lnTo>
                    <a:lnTo>
                      <a:pt x="20" y="31"/>
                    </a:lnTo>
                    <a:lnTo>
                      <a:pt x="12" y="25"/>
                    </a:lnTo>
                    <a:lnTo>
                      <a:pt x="5" y="22"/>
                    </a:lnTo>
                    <a:lnTo>
                      <a:pt x="0" y="16"/>
                    </a:lnTo>
                    <a:lnTo>
                      <a:pt x="1" y="9"/>
                    </a:lnTo>
                    <a:lnTo>
                      <a:pt x="7" y="3"/>
                    </a:lnTo>
                    <a:lnTo>
                      <a:pt x="13" y="0"/>
                    </a:lnTo>
                    <a:lnTo>
                      <a:pt x="19" y="0"/>
                    </a:lnTo>
                    <a:lnTo>
                      <a:pt x="24" y="1"/>
                    </a:lnTo>
                    <a:lnTo>
                      <a:pt x="30" y="6"/>
                    </a:lnTo>
                    <a:lnTo>
                      <a:pt x="34" y="12"/>
                    </a:lnTo>
                    <a:lnTo>
                      <a:pt x="37" y="17"/>
                    </a:lnTo>
                    <a:lnTo>
                      <a:pt x="43" y="21"/>
                    </a:lnTo>
                    <a:lnTo>
                      <a:pt x="49" y="20"/>
                    </a:lnTo>
                    <a:lnTo>
                      <a:pt x="52" y="16"/>
                    </a:lnTo>
                    <a:lnTo>
                      <a:pt x="54" y="13"/>
                    </a:lnTo>
                    <a:lnTo>
                      <a:pt x="59" y="12"/>
                    </a:lnTo>
                    <a:lnTo>
                      <a:pt x="63" y="13"/>
                    </a:lnTo>
                    <a:lnTo>
                      <a:pt x="67" y="13"/>
                    </a:lnTo>
                    <a:lnTo>
                      <a:pt x="69" y="16"/>
                    </a:lnTo>
                    <a:lnTo>
                      <a:pt x="70" y="21"/>
                    </a:lnTo>
                    <a:lnTo>
                      <a:pt x="73" y="29"/>
                    </a:lnTo>
                    <a:lnTo>
                      <a:pt x="80" y="36"/>
                    </a:lnTo>
                    <a:lnTo>
                      <a:pt x="85" y="43"/>
                    </a:lnTo>
                    <a:lnTo>
                      <a:pt x="88" y="50"/>
                    </a:lnTo>
                    <a:lnTo>
                      <a:pt x="91" y="53"/>
                    </a:lnTo>
                    <a:lnTo>
                      <a:pt x="100" y="52"/>
                    </a:lnTo>
                    <a:lnTo>
                      <a:pt x="111" y="51"/>
                    </a:lnTo>
                    <a:lnTo>
                      <a:pt x="119" y="52"/>
                    </a:lnTo>
                    <a:lnTo>
                      <a:pt x="123" y="53"/>
                    </a:lnTo>
                    <a:lnTo>
                      <a:pt x="128" y="51"/>
                    </a:lnTo>
                    <a:lnTo>
                      <a:pt x="133" y="46"/>
                    </a:lnTo>
                    <a:lnTo>
                      <a:pt x="138" y="41"/>
                    </a:lnTo>
                    <a:lnTo>
                      <a:pt x="143" y="37"/>
                    </a:lnTo>
                    <a:lnTo>
                      <a:pt x="149" y="32"/>
                    </a:lnTo>
                    <a:lnTo>
                      <a:pt x="154" y="29"/>
                    </a:lnTo>
                    <a:lnTo>
                      <a:pt x="166" y="28"/>
                    </a:ln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323" name="Freeform 322"/>
              <p:cNvSpPr>
                <a:spLocks/>
              </p:cNvSpPr>
              <p:nvPr/>
            </p:nvSpPr>
            <p:spPr bwMode="auto">
              <a:xfrm>
                <a:off x="1663661" y="354013"/>
                <a:ext cx="44450" cy="38100"/>
              </a:xfrm>
              <a:custGeom>
                <a:avLst/>
                <a:gdLst>
                  <a:gd name="T0" fmla="*/ 2147483647 w 40"/>
                  <a:gd name="T1" fmla="*/ 2147483647 h 37"/>
                  <a:gd name="T2" fmla="*/ 2147483647 w 40"/>
                  <a:gd name="T3" fmla="*/ 2147483647 h 37"/>
                  <a:gd name="T4" fmla="*/ 2147483647 w 40"/>
                  <a:gd name="T5" fmla="*/ 2147483647 h 37"/>
                  <a:gd name="T6" fmla="*/ 2147483647 w 40"/>
                  <a:gd name="T7" fmla="*/ 2147483647 h 37"/>
                  <a:gd name="T8" fmla="*/ 2147483647 w 40"/>
                  <a:gd name="T9" fmla="*/ 2147483647 h 37"/>
                  <a:gd name="T10" fmla="*/ 2147483647 w 40"/>
                  <a:gd name="T11" fmla="*/ 2147483647 h 37"/>
                  <a:gd name="T12" fmla="*/ 2147483647 w 40"/>
                  <a:gd name="T13" fmla="*/ 2147483647 h 37"/>
                  <a:gd name="T14" fmla="*/ 2147483647 w 40"/>
                  <a:gd name="T15" fmla="*/ 2147483647 h 37"/>
                  <a:gd name="T16" fmla="*/ 2147483647 w 40"/>
                  <a:gd name="T17" fmla="*/ 2147483647 h 37"/>
                  <a:gd name="T18" fmla="*/ 2147483647 w 40"/>
                  <a:gd name="T19" fmla="*/ 2147483647 h 37"/>
                  <a:gd name="T20" fmla="*/ 2147483647 w 40"/>
                  <a:gd name="T21" fmla="*/ 2147483647 h 37"/>
                  <a:gd name="T22" fmla="*/ 2147483647 w 40"/>
                  <a:gd name="T23" fmla="*/ 2147483647 h 37"/>
                  <a:gd name="T24" fmla="*/ 2147483647 w 40"/>
                  <a:gd name="T25" fmla="*/ 2147483647 h 37"/>
                  <a:gd name="T26" fmla="*/ 2147483647 w 40"/>
                  <a:gd name="T27" fmla="*/ 2147483647 h 37"/>
                  <a:gd name="T28" fmla="*/ 0 w 40"/>
                  <a:gd name="T29" fmla="*/ 2147483647 h 37"/>
                  <a:gd name="T30" fmla="*/ 2147483647 w 40"/>
                  <a:gd name="T31" fmla="*/ 2147483647 h 37"/>
                  <a:gd name="T32" fmla="*/ 2147483647 w 40"/>
                  <a:gd name="T33" fmla="*/ 2147483647 h 37"/>
                  <a:gd name="T34" fmla="*/ 2147483647 w 40"/>
                  <a:gd name="T35" fmla="*/ 2147483647 h 37"/>
                  <a:gd name="T36" fmla="*/ 2147483647 w 40"/>
                  <a:gd name="T37" fmla="*/ 2147483647 h 37"/>
                  <a:gd name="T38" fmla="*/ 2147483647 w 40"/>
                  <a:gd name="T39" fmla="*/ 0 h 37"/>
                  <a:gd name="T40" fmla="*/ 2147483647 w 40"/>
                  <a:gd name="T41" fmla="*/ 2147483647 h 37"/>
                  <a:gd name="T42" fmla="*/ 2147483647 w 40"/>
                  <a:gd name="T43" fmla="*/ 2147483647 h 37"/>
                  <a:gd name="T44" fmla="*/ 2147483647 w 40"/>
                  <a:gd name="T45" fmla="*/ 2147483647 h 37"/>
                  <a:gd name="T46" fmla="*/ 2147483647 w 40"/>
                  <a:gd name="T47" fmla="*/ 2147483647 h 37"/>
                  <a:gd name="T48" fmla="*/ 2147483647 w 40"/>
                  <a:gd name="T49" fmla="*/ 2147483647 h 3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0" h="37">
                    <a:moveTo>
                      <a:pt x="38" y="20"/>
                    </a:moveTo>
                    <a:lnTo>
                      <a:pt x="37" y="21"/>
                    </a:lnTo>
                    <a:lnTo>
                      <a:pt x="35" y="26"/>
                    </a:lnTo>
                    <a:lnTo>
                      <a:pt x="32" y="30"/>
                    </a:lnTo>
                    <a:lnTo>
                      <a:pt x="28" y="34"/>
                    </a:lnTo>
                    <a:lnTo>
                      <a:pt x="24" y="36"/>
                    </a:lnTo>
                    <a:lnTo>
                      <a:pt x="19" y="37"/>
                    </a:lnTo>
                    <a:lnTo>
                      <a:pt x="14" y="37"/>
                    </a:lnTo>
                    <a:lnTo>
                      <a:pt x="13" y="37"/>
                    </a:lnTo>
                    <a:lnTo>
                      <a:pt x="12" y="36"/>
                    </a:lnTo>
                    <a:lnTo>
                      <a:pt x="11" y="34"/>
                    </a:lnTo>
                    <a:lnTo>
                      <a:pt x="9" y="32"/>
                    </a:lnTo>
                    <a:lnTo>
                      <a:pt x="5" y="28"/>
                    </a:lnTo>
                    <a:lnTo>
                      <a:pt x="2" y="24"/>
                    </a:lnTo>
                    <a:lnTo>
                      <a:pt x="0" y="20"/>
                    </a:lnTo>
                    <a:lnTo>
                      <a:pt x="2" y="17"/>
                    </a:lnTo>
                    <a:lnTo>
                      <a:pt x="6" y="12"/>
                    </a:lnTo>
                    <a:lnTo>
                      <a:pt x="12" y="7"/>
                    </a:lnTo>
                    <a:lnTo>
                      <a:pt x="17" y="3"/>
                    </a:lnTo>
                    <a:lnTo>
                      <a:pt x="20" y="0"/>
                    </a:lnTo>
                    <a:lnTo>
                      <a:pt x="25" y="2"/>
                    </a:lnTo>
                    <a:lnTo>
                      <a:pt x="32" y="4"/>
                    </a:lnTo>
                    <a:lnTo>
                      <a:pt x="37" y="7"/>
                    </a:lnTo>
                    <a:lnTo>
                      <a:pt x="40" y="12"/>
                    </a:lnTo>
                    <a:lnTo>
                      <a:pt x="38" y="20"/>
                    </a:ln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324" name="Freeform 323"/>
              <p:cNvSpPr>
                <a:spLocks/>
              </p:cNvSpPr>
              <p:nvPr/>
            </p:nvSpPr>
            <p:spPr bwMode="auto">
              <a:xfrm flipV="1">
                <a:off x="1833524" y="112713"/>
                <a:ext cx="214045" cy="323850"/>
              </a:xfrm>
              <a:custGeom>
                <a:avLst/>
                <a:gdLst>
                  <a:gd name="T0" fmla="*/ 2147483647 w 201"/>
                  <a:gd name="T1" fmla="*/ 2147483647 h 319"/>
                  <a:gd name="T2" fmla="*/ 2147483647 w 201"/>
                  <a:gd name="T3" fmla="*/ 2147483647 h 319"/>
                  <a:gd name="T4" fmla="*/ 2147483647 w 201"/>
                  <a:gd name="T5" fmla="*/ 2147483647 h 319"/>
                  <a:gd name="T6" fmla="*/ 2147483647 w 201"/>
                  <a:gd name="T7" fmla="*/ 2147483647 h 319"/>
                  <a:gd name="T8" fmla="*/ 2147483647 w 201"/>
                  <a:gd name="T9" fmla="*/ 2147483647 h 319"/>
                  <a:gd name="T10" fmla="*/ 2147483647 w 201"/>
                  <a:gd name="T11" fmla="*/ 2147483647 h 319"/>
                  <a:gd name="T12" fmla="*/ 2147483647 w 201"/>
                  <a:gd name="T13" fmla="*/ 2147483647 h 319"/>
                  <a:gd name="T14" fmla="*/ 2147483647 w 201"/>
                  <a:gd name="T15" fmla="*/ 2147483647 h 319"/>
                  <a:gd name="T16" fmla="*/ 2147483647 w 201"/>
                  <a:gd name="T17" fmla="*/ 2147483647 h 319"/>
                  <a:gd name="T18" fmla="*/ 2147483647 w 201"/>
                  <a:gd name="T19" fmla="*/ 2147483647 h 319"/>
                  <a:gd name="T20" fmla="*/ 2147483647 w 201"/>
                  <a:gd name="T21" fmla="*/ 2147483647 h 319"/>
                  <a:gd name="T22" fmla="*/ 2147483647 w 201"/>
                  <a:gd name="T23" fmla="*/ 2147483647 h 319"/>
                  <a:gd name="T24" fmla="*/ 2147483647 w 201"/>
                  <a:gd name="T25" fmla="*/ 2147483647 h 319"/>
                  <a:gd name="T26" fmla="*/ 2147483647 w 201"/>
                  <a:gd name="T27" fmla="*/ 2147483647 h 319"/>
                  <a:gd name="T28" fmla="*/ 2147483647 w 201"/>
                  <a:gd name="T29" fmla="*/ 2147483647 h 319"/>
                  <a:gd name="T30" fmla="*/ 2147483647 w 201"/>
                  <a:gd name="T31" fmla="*/ 2147483647 h 319"/>
                  <a:gd name="T32" fmla="*/ 2147483647 w 201"/>
                  <a:gd name="T33" fmla="*/ 2147483647 h 319"/>
                  <a:gd name="T34" fmla="*/ 2147483647 w 201"/>
                  <a:gd name="T35" fmla="*/ 2147483647 h 319"/>
                  <a:gd name="T36" fmla="*/ 2147483647 w 201"/>
                  <a:gd name="T37" fmla="*/ 2147483647 h 319"/>
                  <a:gd name="T38" fmla="*/ 2147483647 w 201"/>
                  <a:gd name="T39" fmla="*/ 2147483647 h 319"/>
                  <a:gd name="T40" fmla="*/ 2147483647 w 201"/>
                  <a:gd name="T41" fmla="*/ 2147483647 h 319"/>
                  <a:gd name="T42" fmla="*/ 2147483647 w 201"/>
                  <a:gd name="T43" fmla="*/ 2147483647 h 319"/>
                  <a:gd name="T44" fmla="*/ 2147483647 w 201"/>
                  <a:gd name="T45" fmla="*/ 2147483647 h 319"/>
                  <a:gd name="T46" fmla="*/ 2147483647 w 201"/>
                  <a:gd name="T47" fmla="*/ 2147483647 h 319"/>
                  <a:gd name="T48" fmla="*/ 2147483647 w 201"/>
                  <a:gd name="T49" fmla="*/ 2147483647 h 319"/>
                  <a:gd name="T50" fmla="*/ 2147483647 w 201"/>
                  <a:gd name="T51" fmla="*/ 0 h 319"/>
                  <a:gd name="T52" fmla="*/ 2147483647 w 201"/>
                  <a:gd name="T53" fmla="*/ 2147483647 h 319"/>
                  <a:gd name="T54" fmla="*/ 2147483647 w 201"/>
                  <a:gd name="T55" fmla="*/ 2147483647 h 319"/>
                  <a:gd name="T56" fmla="*/ 2147483647 w 201"/>
                  <a:gd name="T57" fmla="*/ 2147483647 h 319"/>
                  <a:gd name="T58" fmla="*/ 2147483647 w 201"/>
                  <a:gd name="T59" fmla="*/ 2147483647 h 319"/>
                  <a:gd name="T60" fmla="*/ 2147483647 w 201"/>
                  <a:gd name="T61" fmla="*/ 2147483647 h 319"/>
                  <a:gd name="T62" fmla="*/ 2147483647 w 201"/>
                  <a:gd name="T63" fmla="*/ 2147483647 h 319"/>
                  <a:gd name="T64" fmla="*/ 2147483647 w 201"/>
                  <a:gd name="T65" fmla="*/ 2147483647 h 319"/>
                  <a:gd name="T66" fmla="*/ 2147483647 w 201"/>
                  <a:gd name="T67" fmla="*/ 2147483647 h 319"/>
                  <a:gd name="T68" fmla="*/ 2147483647 w 201"/>
                  <a:gd name="T69" fmla="*/ 2147483647 h 319"/>
                  <a:gd name="T70" fmla="*/ 2147483647 w 201"/>
                  <a:gd name="T71" fmla="*/ 2147483647 h 319"/>
                  <a:gd name="T72" fmla="*/ 2147483647 w 201"/>
                  <a:gd name="T73" fmla="*/ 2147483647 h 319"/>
                  <a:gd name="T74" fmla="*/ 2147483647 w 201"/>
                  <a:gd name="T75" fmla="*/ 2147483647 h 319"/>
                  <a:gd name="T76" fmla="*/ 2147483647 w 201"/>
                  <a:gd name="T77" fmla="*/ 2147483647 h 319"/>
                  <a:gd name="T78" fmla="*/ 2147483647 w 201"/>
                  <a:gd name="T79" fmla="*/ 2147483647 h 319"/>
                  <a:gd name="T80" fmla="*/ 2147483647 w 201"/>
                  <a:gd name="T81" fmla="*/ 2147483647 h 319"/>
                  <a:gd name="T82" fmla="*/ 2147483647 w 201"/>
                  <a:gd name="T83" fmla="*/ 2147483647 h 319"/>
                  <a:gd name="T84" fmla="*/ 2147483647 w 201"/>
                  <a:gd name="T85" fmla="*/ 2147483647 h 319"/>
                  <a:gd name="T86" fmla="*/ 0 w 201"/>
                  <a:gd name="T87" fmla="*/ 2147483647 h 319"/>
                  <a:gd name="T88" fmla="*/ 2147483647 w 201"/>
                  <a:gd name="T89" fmla="*/ 2147483647 h 319"/>
                  <a:gd name="T90" fmla="*/ 2147483647 w 201"/>
                  <a:gd name="T91" fmla="*/ 2147483647 h 319"/>
                  <a:gd name="T92" fmla="*/ 2147483647 w 201"/>
                  <a:gd name="T93" fmla="*/ 2147483647 h 319"/>
                  <a:gd name="T94" fmla="*/ 2147483647 w 201"/>
                  <a:gd name="T95" fmla="*/ 2147483647 h 319"/>
                  <a:gd name="T96" fmla="*/ 2147483647 w 201"/>
                  <a:gd name="T97" fmla="*/ 2147483647 h 319"/>
                  <a:gd name="T98" fmla="*/ 2147483647 w 201"/>
                  <a:gd name="T99" fmla="*/ 2147483647 h 319"/>
                  <a:gd name="T100" fmla="*/ 2147483647 w 201"/>
                  <a:gd name="T101" fmla="*/ 2147483647 h 319"/>
                  <a:gd name="T102" fmla="*/ 2147483647 w 201"/>
                  <a:gd name="T103" fmla="*/ 2147483647 h 319"/>
                  <a:gd name="T104" fmla="*/ 2147483647 w 201"/>
                  <a:gd name="T105" fmla="*/ 2147483647 h 319"/>
                  <a:gd name="T106" fmla="*/ 2147483647 w 201"/>
                  <a:gd name="T107" fmla="*/ 2147483647 h 319"/>
                  <a:gd name="T108" fmla="*/ 2147483647 w 201"/>
                  <a:gd name="T109" fmla="*/ 2147483647 h 319"/>
                  <a:gd name="T110" fmla="*/ 2147483647 w 201"/>
                  <a:gd name="T111" fmla="*/ 2147483647 h 319"/>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01" h="319">
                    <a:moveTo>
                      <a:pt x="84" y="267"/>
                    </a:moveTo>
                    <a:lnTo>
                      <a:pt x="88" y="270"/>
                    </a:lnTo>
                    <a:lnTo>
                      <a:pt x="93" y="277"/>
                    </a:lnTo>
                    <a:lnTo>
                      <a:pt x="97" y="283"/>
                    </a:lnTo>
                    <a:lnTo>
                      <a:pt x="95" y="290"/>
                    </a:lnTo>
                    <a:lnTo>
                      <a:pt x="88" y="294"/>
                    </a:lnTo>
                    <a:lnTo>
                      <a:pt x="82" y="296"/>
                    </a:lnTo>
                    <a:lnTo>
                      <a:pt x="78" y="301"/>
                    </a:lnTo>
                    <a:lnTo>
                      <a:pt x="80" y="308"/>
                    </a:lnTo>
                    <a:lnTo>
                      <a:pt x="82" y="315"/>
                    </a:lnTo>
                    <a:lnTo>
                      <a:pt x="85" y="318"/>
                    </a:lnTo>
                    <a:lnTo>
                      <a:pt x="92" y="319"/>
                    </a:lnTo>
                    <a:lnTo>
                      <a:pt x="104" y="319"/>
                    </a:lnTo>
                    <a:lnTo>
                      <a:pt x="116" y="319"/>
                    </a:lnTo>
                    <a:lnTo>
                      <a:pt x="123" y="318"/>
                    </a:lnTo>
                    <a:lnTo>
                      <a:pt x="129" y="316"/>
                    </a:lnTo>
                    <a:lnTo>
                      <a:pt x="136" y="312"/>
                    </a:lnTo>
                    <a:lnTo>
                      <a:pt x="144" y="309"/>
                    </a:lnTo>
                    <a:lnTo>
                      <a:pt x="151" y="305"/>
                    </a:lnTo>
                    <a:lnTo>
                      <a:pt x="158" y="304"/>
                    </a:lnTo>
                    <a:lnTo>
                      <a:pt x="164" y="304"/>
                    </a:lnTo>
                    <a:lnTo>
                      <a:pt x="171" y="306"/>
                    </a:lnTo>
                    <a:lnTo>
                      <a:pt x="176" y="306"/>
                    </a:lnTo>
                    <a:lnTo>
                      <a:pt x="182" y="305"/>
                    </a:lnTo>
                    <a:lnTo>
                      <a:pt x="187" y="300"/>
                    </a:lnTo>
                    <a:lnTo>
                      <a:pt x="191" y="294"/>
                    </a:lnTo>
                    <a:lnTo>
                      <a:pt x="197" y="289"/>
                    </a:lnTo>
                    <a:lnTo>
                      <a:pt x="198" y="285"/>
                    </a:lnTo>
                    <a:lnTo>
                      <a:pt x="191" y="279"/>
                    </a:lnTo>
                    <a:lnTo>
                      <a:pt x="180" y="273"/>
                    </a:lnTo>
                    <a:lnTo>
                      <a:pt x="173" y="270"/>
                    </a:lnTo>
                    <a:lnTo>
                      <a:pt x="169" y="266"/>
                    </a:lnTo>
                    <a:lnTo>
                      <a:pt x="172" y="263"/>
                    </a:lnTo>
                    <a:lnTo>
                      <a:pt x="177" y="259"/>
                    </a:lnTo>
                    <a:lnTo>
                      <a:pt x="181" y="256"/>
                    </a:lnTo>
                    <a:lnTo>
                      <a:pt x="182" y="251"/>
                    </a:lnTo>
                    <a:lnTo>
                      <a:pt x="182" y="244"/>
                    </a:lnTo>
                    <a:lnTo>
                      <a:pt x="180" y="238"/>
                    </a:lnTo>
                    <a:lnTo>
                      <a:pt x="179" y="235"/>
                    </a:lnTo>
                    <a:lnTo>
                      <a:pt x="179" y="232"/>
                    </a:lnTo>
                    <a:lnTo>
                      <a:pt x="182" y="227"/>
                    </a:lnTo>
                    <a:lnTo>
                      <a:pt x="188" y="219"/>
                    </a:lnTo>
                    <a:lnTo>
                      <a:pt x="195" y="209"/>
                    </a:lnTo>
                    <a:lnTo>
                      <a:pt x="197" y="197"/>
                    </a:lnTo>
                    <a:lnTo>
                      <a:pt x="190" y="187"/>
                    </a:lnTo>
                    <a:lnTo>
                      <a:pt x="177" y="179"/>
                    </a:lnTo>
                    <a:lnTo>
                      <a:pt x="168" y="173"/>
                    </a:lnTo>
                    <a:lnTo>
                      <a:pt x="165" y="168"/>
                    </a:lnTo>
                    <a:lnTo>
                      <a:pt x="168" y="162"/>
                    </a:lnTo>
                    <a:lnTo>
                      <a:pt x="177" y="156"/>
                    </a:lnTo>
                    <a:lnTo>
                      <a:pt x="188" y="149"/>
                    </a:lnTo>
                    <a:lnTo>
                      <a:pt x="195" y="139"/>
                    </a:lnTo>
                    <a:lnTo>
                      <a:pt x="195" y="130"/>
                    </a:lnTo>
                    <a:lnTo>
                      <a:pt x="192" y="120"/>
                    </a:lnTo>
                    <a:lnTo>
                      <a:pt x="194" y="109"/>
                    </a:lnTo>
                    <a:lnTo>
                      <a:pt x="195" y="100"/>
                    </a:lnTo>
                    <a:lnTo>
                      <a:pt x="196" y="90"/>
                    </a:lnTo>
                    <a:lnTo>
                      <a:pt x="197" y="77"/>
                    </a:lnTo>
                    <a:lnTo>
                      <a:pt x="199" y="65"/>
                    </a:lnTo>
                    <a:lnTo>
                      <a:pt x="201" y="55"/>
                    </a:lnTo>
                    <a:lnTo>
                      <a:pt x="196" y="52"/>
                    </a:lnTo>
                    <a:lnTo>
                      <a:pt x="189" y="54"/>
                    </a:lnTo>
                    <a:lnTo>
                      <a:pt x="183" y="54"/>
                    </a:lnTo>
                    <a:lnTo>
                      <a:pt x="183" y="51"/>
                    </a:lnTo>
                    <a:lnTo>
                      <a:pt x="190" y="40"/>
                    </a:lnTo>
                    <a:lnTo>
                      <a:pt x="197" y="29"/>
                    </a:lnTo>
                    <a:lnTo>
                      <a:pt x="199" y="18"/>
                    </a:lnTo>
                    <a:lnTo>
                      <a:pt x="198" y="10"/>
                    </a:lnTo>
                    <a:lnTo>
                      <a:pt x="194" y="6"/>
                    </a:lnTo>
                    <a:lnTo>
                      <a:pt x="192" y="5"/>
                    </a:lnTo>
                    <a:lnTo>
                      <a:pt x="190" y="5"/>
                    </a:lnTo>
                    <a:lnTo>
                      <a:pt x="189" y="5"/>
                    </a:lnTo>
                    <a:lnTo>
                      <a:pt x="187" y="5"/>
                    </a:lnTo>
                    <a:lnTo>
                      <a:pt x="179" y="6"/>
                    </a:lnTo>
                    <a:lnTo>
                      <a:pt x="173" y="3"/>
                    </a:lnTo>
                    <a:lnTo>
                      <a:pt x="168" y="1"/>
                    </a:lnTo>
                    <a:lnTo>
                      <a:pt x="164" y="0"/>
                    </a:lnTo>
                    <a:lnTo>
                      <a:pt x="163" y="0"/>
                    </a:lnTo>
                    <a:lnTo>
                      <a:pt x="161" y="0"/>
                    </a:lnTo>
                    <a:lnTo>
                      <a:pt x="160" y="1"/>
                    </a:lnTo>
                    <a:lnTo>
                      <a:pt x="159" y="2"/>
                    </a:lnTo>
                    <a:lnTo>
                      <a:pt x="156" y="5"/>
                    </a:lnTo>
                    <a:lnTo>
                      <a:pt x="151" y="6"/>
                    </a:lnTo>
                    <a:lnTo>
                      <a:pt x="145" y="6"/>
                    </a:lnTo>
                    <a:lnTo>
                      <a:pt x="139" y="7"/>
                    </a:lnTo>
                    <a:lnTo>
                      <a:pt x="135" y="8"/>
                    </a:lnTo>
                    <a:lnTo>
                      <a:pt x="129" y="9"/>
                    </a:lnTo>
                    <a:lnTo>
                      <a:pt x="126" y="10"/>
                    </a:lnTo>
                    <a:lnTo>
                      <a:pt x="123" y="14"/>
                    </a:lnTo>
                    <a:lnTo>
                      <a:pt x="121" y="17"/>
                    </a:lnTo>
                    <a:lnTo>
                      <a:pt x="119" y="18"/>
                    </a:lnTo>
                    <a:lnTo>
                      <a:pt x="115" y="18"/>
                    </a:lnTo>
                    <a:lnTo>
                      <a:pt x="108" y="20"/>
                    </a:lnTo>
                    <a:lnTo>
                      <a:pt x="100" y="23"/>
                    </a:lnTo>
                    <a:lnTo>
                      <a:pt x="93" y="26"/>
                    </a:lnTo>
                    <a:lnTo>
                      <a:pt x="87" y="31"/>
                    </a:lnTo>
                    <a:lnTo>
                      <a:pt x="82" y="39"/>
                    </a:lnTo>
                    <a:lnTo>
                      <a:pt x="80" y="47"/>
                    </a:lnTo>
                    <a:lnTo>
                      <a:pt x="81" y="54"/>
                    </a:lnTo>
                    <a:lnTo>
                      <a:pt x="81" y="59"/>
                    </a:lnTo>
                    <a:lnTo>
                      <a:pt x="80" y="60"/>
                    </a:lnTo>
                    <a:lnTo>
                      <a:pt x="74" y="61"/>
                    </a:lnTo>
                    <a:lnTo>
                      <a:pt x="67" y="62"/>
                    </a:lnTo>
                    <a:lnTo>
                      <a:pt x="60" y="66"/>
                    </a:lnTo>
                    <a:lnTo>
                      <a:pt x="59" y="70"/>
                    </a:lnTo>
                    <a:lnTo>
                      <a:pt x="57" y="74"/>
                    </a:lnTo>
                    <a:lnTo>
                      <a:pt x="52" y="77"/>
                    </a:lnTo>
                    <a:lnTo>
                      <a:pt x="46" y="81"/>
                    </a:lnTo>
                    <a:lnTo>
                      <a:pt x="43" y="84"/>
                    </a:lnTo>
                    <a:lnTo>
                      <a:pt x="40" y="89"/>
                    </a:lnTo>
                    <a:lnTo>
                      <a:pt x="37" y="93"/>
                    </a:lnTo>
                    <a:lnTo>
                      <a:pt x="35" y="99"/>
                    </a:lnTo>
                    <a:lnTo>
                      <a:pt x="38" y="107"/>
                    </a:lnTo>
                    <a:lnTo>
                      <a:pt x="44" y="115"/>
                    </a:lnTo>
                    <a:lnTo>
                      <a:pt x="47" y="122"/>
                    </a:lnTo>
                    <a:lnTo>
                      <a:pt x="49" y="128"/>
                    </a:lnTo>
                    <a:lnTo>
                      <a:pt x="47" y="132"/>
                    </a:lnTo>
                    <a:lnTo>
                      <a:pt x="45" y="138"/>
                    </a:lnTo>
                    <a:lnTo>
                      <a:pt x="44" y="143"/>
                    </a:lnTo>
                    <a:lnTo>
                      <a:pt x="43" y="143"/>
                    </a:lnTo>
                    <a:lnTo>
                      <a:pt x="38" y="136"/>
                    </a:lnTo>
                    <a:lnTo>
                      <a:pt x="34" y="126"/>
                    </a:lnTo>
                    <a:lnTo>
                      <a:pt x="31" y="118"/>
                    </a:lnTo>
                    <a:lnTo>
                      <a:pt x="28" y="113"/>
                    </a:lnTo>
                    <a:lnTo>
                      <a:pt x="24" y="114"/>
                    </a:lnTo>
                    <a:lnTo>
                      <a:pt x="21" y="118"/>
                    </a:lnTo>
                    <a:lnTo>
                      <a:pt x="16" y="123"/>
                    </a:lnTo>
                    <a:lnTo>
                      <a:pt x="12" y="128"/>
                    </a:lnTo>
                    <a:lnTo>
                      <a:pt x="9" y="132"/>
                    </a:lnTo>
                    <a:lnTo>
                      <a:pt x="7" y="141"/>
                    </a:lnTo>
                    <a:lnTo>
                      <a:pt x="4" y="153"/>
                    </a:lnTo>
                    <a:lnTo>
                      <a:pt x="0" y="166"/>
                    </a:lnTo>
                    <a:lnTo>
                      <a:pt x="0" y="176"/>
                    </a:lnTo>
                    <a:lnTo>
                      <a:pt x="1" y="184"/>
                    </a:lnTo>
                    <a:lnTo>
                      <a:pt x="2" y="190"/>
                    </a:lnTo>
                    <a:lnTo>
                      <a:pt x="6" y="195"/>
                    </a:lnTo>
                    <a:lnTo>
                      <a:pt x="12" y="198"/>
                    </a:lnTo>
                    <a:lnTo>
                      <a:pt x="19" y="199"/>
                    </a:lnTo>
                    <a:lnTo>
                      <a:pt x="23" y="200"/>
                    </a:lnTo>
                    <a:lnTo>
                      <a:pt x="27" y="200"/>
                    </a:lnTo>
                    <a:lnTo>
                      <a:pt x="30" y="199"/>
                    </a:lnTo>
                    <a:lnTo>
                      <a:pt x="31" y="200"/>
                    </a:lnTo>
                    <a:lnTo>
                      <a:pt x="30" y="205"/>
                    </a:lnTo>
                    <a:lnTo>
                      <a:pt x="28" y="211"/>
                    </a:lnTo>
                    <a:lnTo>
                      <a:pt x="24" y="215"/>
                    </a:lnTo>
                    <a:lnTo>
                      <a:pt x="23" y="219"/>
                    </a:lnTo>
                    <a:lnTo>
                      <a:pt x="24" y="224"/>
                    </a:lnTo>
                    <a:lnTo>
                      <a:pt x="28" y="229"/>
                    </a:lnTo>
                    <a:lnTo>
                      <a:pt x="31" y="234"/>
                    </a:lnTo>
                    <a:lnTo>
                      <a:pt x="36" y="238"/>
                    </a:lnTo>
                    <a:lnTo>
                      <a:pt x="44" y="245"/>
                    </a:lnTo>
                    <a:lnTo>
                      <a:pt x="54" y="248"/>
                    </a:lnTo>
                    <a:lnTo>
                      <a:pt x="63" y="244"/>
                    </a:lnTo>
                    <a:lnTo>
                      <a:pt x="70" y="237"/>
                    </a:lnTo>
                    <a:lnTo>
                      <a:pt x="75" y="232"/>
                    </a:lnTo>
                    <a:lnTo>
                      <a:pt x="77" y="229"/>
                    </a:lnTo>
                    <a:lnTo>
                      <a:pt x="82" y="230"/>
                    </a:lnTo>
                    <a:lnTo>
                      <a:pt x="88" y="234"/>
                    </a:lnTo>
                    <a:lnTo>
                      <a:pt x="96" y="240"/>
                    </a:lnTo>
                    <a:lnTo>
                      <a:pt x="104" y="247"/>
                    </a:lnTo>
                    <a:lnTo>
                      <a:pt x="111" y="256"/>
                    </a:lnTo>
                    <a:lnTo>
                      <a:pt x="113" y="263"/>
                    </a:lnTo>
                    <a:lnTo>
                      <a:pt x="113" y="264"/>
                    </a:lnTo>
                    <a:lnTo>
                      <a:pt x="110" y="262"/>
                    </a:lnTo>
                    <a:lnTo>
                      <a:pt x="103" y="256"/>
                    </a:lnTo>
                    <a:lnTo>
                      <a:pt x="93" y="252"/>
                    </a:lnTo>
                    <a:lnTo>
                      <a:pt x="85" y="252"/>
                    </a:lnTo>
                    <a:lnTo>
                      <a:pt x="82" y="258"/>
                    </a:lnTo>
                    <a:lnTo>
                      <a:pt x="84" y="267"/>
                    </a:ln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325" name="Freeform 324"/>
              <p:cNvSpPr>
                <a:spLocks/>
              </p:cNvSpPr>
              <p:nvPr/>
            </p:nvSpPr>
            <p:spPr bwMode="auto">
              <a:xfrm>
                <a:off x="1838286" y="381000"/>
                <a:ext cx="36513" cy="17463"/>
              </a:xfrm>
              <a:custGeom>
                <a:avLst/>
                <a:gdLst>
                  <a:gd name="T0" fmla="*/ 2147483647 w 34"/>
                  <a:gd name="T1" fmla="*/ 0 h 18"/>
                  <a:gd name="T2" fmla="*/ 2147483647 w 34"/>
                  <a:gd name="T3" fmla="*/ 2147483647 h 18"/>
                  <a:gd name="T4" fmla="*/ 2147483647 w 34"/>
                  <a:gd name="T5" fmla="*/ 2147483647 h 18"/>
                  <a:gd name="T6" fmla="*/ 2147483647 w 34"/>
                  <a:gd name="T7" fmla="*/ 2147483647 h 18"/>
                  <a:gd name="T8" fmla="*/ 2147483647 w 34"/>
                  <a:gd name="T9" fmla="*/ 2147483647 h 18"/>
                  <a:gd name="T10" fmla="*/ 2147483647 w 34"/>
                  <a:gd name="T11" fmla="*/ 2147483647 h 18"/>
                  <a:gd name="T12" fmla="*/ 2147483647 w 34"/>
                  <a:gd name="T13" fmla="*/ 2147483647 h 18"/>
                  <a:gd name="T14" fmla="*/ 2147483647 w 34"/>
                  <a:gd name="T15" fmla="*/ 2147483647 h 18"/>
                  <a:gd name="T16" fmla="*/ 2147483647 w 34"/>
                  <a:gd name="T17" fmla="*/ 2147483647 h 18"/>
                  <a:gd name="T18" fmla="*/ 2147483647 w 34"/>
                  <a:gd name="T19" fmla="*/ 2147483647 h 18"/>
                  <a:gd name="T20" fmla="*/ 0 w 34"/>
                  <a:gd name="T21" fmla="*/ 2147483647 h 18"/>
                  <a:gd name="T22" fmla="*/ 0 w 34"/>
                  <a:gd name="T23" fmla="*/ 2147483647 h 18"/>
                  <a:gd name="T24" fmla="*/ 2147483647 w 34"/>
                  <a:gd name="T25" fmla="*/ 2147483647 h 18"/>
                  <a:gd name="T26" fmla="*/ 2147483647 w 34"/>
                  <a:gd name="T27" fmla="*/ 2147483647 h 18"/>
                  <a:gd name="T28" fmla="*/ 2147483647 w 34"/>
                  <a:gd name="T29" fmla="*/ 2147483647 h 18"/>
                  <a:gd name="T30" fmla="*/ 2147483647 w 34"/>
                  <a:gd name="T31" fmla="*/ 2147483647 h 18"/>
                  <a:gd name="T32" fmla="*/ 2147483647 w 34"/>
                  <a:gd name="T33" fmla="*/ 0 h 1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4" h="18">
                    <a:moveTo>
                      <a:pt x="31" y="0"/>
                    </a:moveTo>
                    <a:lnTo>
                      <a:pt x="32" y="1"/>
                    </a:lnTo>
                    <a:lnTo>
                      <a:pt x="34" y="3"/>
                    </a:lnTo>
                    <a:lnTo>
                      <a:pt x="34" y="6"/>
                    </a:lnTo>
                    <a:lnTo>
                      <a:pt x="30" y="10"/>
                    </a:lnTo>
                    <a:lnTo>
                      <a:pt x="24" y="14"/>
                    </a:lnTo>
                    <a:lnTo>
                      <a:pt x="22" y="16"/>
                    </a:lnTo>
                    <a:lnTo>
                      <a:pt x="19" y="18"/>
                    </a:lnTo>
                    <a:lnTo>
                      <a:pt x="12" y="18"/>
                    </a:lnTo>
                    <a:lnTo>
                      <a:pt x="4" y="16"/>
                    </a:lnTo>
                    <a:lnTo>
                      <a:pt x="0" y="13"/>
                    </a:lnTo>
                    <a:lnTo>
                      <a:pt x="0" y="9"/>
                    </a:lnTo>
                    <a:lnTo>
                      <a:pt x="4" y="7"/>
                    </a:lnTo>
                    <a:lnTo>
                      <a:pt x="14" y="4"/>
                    </a:lnTo>
                    <a:lnTo>
                      <a:pt x="22" y="2"/>
                    </a:lnTo>
                    <a:lnTo>
                      <a:pt x="29" y="1"/>
                    </a:lnTo>
                    <a:lnTo>
                      <a:pt x="31" y="0"/>
                    </a:ln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326" name="Freeform 325"/>
              <p:cNvSpPr>
                <a:spLocks/>
              </p:cNvSpPr>
              <p:nvPr/>
            </p:nvSpPr>
            <p:spPr bwMode="auto">
              <a:xfrm>
                <a:off x="1819236" y="334963"/>
                <a:ext cx="33338" cy="47625"/>
              </a:xfrm>
              <a:custGeom>
                <a:avLst/>
                <a:gdLst>
                  <a:gd name="T0" fmla="*/ 2147483647 w 34"/>
                  <a:gd name="T1" fmla="*/ 2147483647 h 46"/>
                  <a:gd name="T2" fmla="*/ 2147483647 w 34"/>
                  <a:gd name="T3" fmla="*/ 2147483647 h 46"/>
                  <a:gd name="T4" fmla="*/ 2147483647 w 34"/>
                  <a:gd name="T5" fmla="*/ 2147483647 h 46"/>
                  <a:gd name="T6" fmla="*/ 2147483647 w 34"/>
                  <a:gd name="T7" fmla="*/ 0 h 46"/>
                  <a:gd name="T8" fmla="*/ 2147483647 w 34"/>
                  <a:gd name="T9" fmla="*/ 0 h 46"/>
                  <a:gd name="T10" fmla="*/ 2147483647 w 34"/>
                  <a:gd name="T11" fmla="*/ 2147483647 h 46"/>
                  <a:gd name="T12" fmla="*/ 0 w 34"/>
                  <a:gd name="T13" fmla="*/ 2147483647 h 46"/>
                  <a:gd name="T14" fmla="*/ 2147483647 w 34"/>
                  <a:gd name="T15" fmla="*/ 2147483647 h 46"/>
                  <a:gd name="T16" fmla="*/ 2147483647 w 34"/>
                  <a:gd name="T17" fmla="*/ 2147483647 h 46"/>
                  <a:gd name="T18" fmla="*/ 2147483647 w 34"/>
                  <a:gd name="T19" fmla="*/ 2147483647 h 46"/>
                  <a:gd name="T20" fmla="*/ 2147483647 w 34"/>
                  <a:gd name="T21" fmla="*/ 2147483647 h 46"/>
                  <a:gd name="T22" fmla="*/ 2147483647 w 34"/>
                  <a:gd name="T23" fmla="*/ 2147483647 h 46"/>
                  <a:gd name="T24" fmla="*/ 2147483647 w 34"/>
                  <a:gd name="T25" fmla="*/ 2147483647 h 46"/>
                  <a:gd name="T26" fmla="*/ 2147483647 w 34"/>
                  <a:gd name="T27" fmla="*/ 2147483647 h 46"/>
                  <a:gd name="T28" fmla="*/ 2147483647 w 34"/>
                  <a:gd name="T29" fmla="*/ 2147483647 h 46"/>
                  <a:gd name="T30" fmla="*/ 2147483647 w 34"/>
                  <a:gd name="T31" fmla="*/ 2147483647 h 46"/>
                  <a:gd name="T32" fmla="*/ 2147483647 w 34"/>
                  <a:gd name="T33" fmla="*/ 2147483647 h 46"/>
                  <a:gd name="T34" fmla="*/ 2147483647 w 34"/>
                  <a:gd name="T35" fmla="*/ 2147483647 h 46"/>
                  <a:gd name="T36" fmla="*/ 2147483647 w 34"/>
                  <a:gd name="T37" fmla="*/ 2147483647 h 46"/>
                  <a:gd name="T38" fmla="*/ 2147483647 w 34"/>
                  <a:gd name="T39" fmla="*/ 2147483647 h 46"/>
                  <a:gd name="T40" fmla="*/ 2147483647 w 34"/>
                  <a:gd name="T41" fmla="*/ 2147483647 h 46"/>
                  <a:gd name="T42" fmla="*/ 2147483647 w 34"/>
                  <a:gd name="T43" fmla="*/ 2147483647 h 46"/>
                  <a:gd name="T44" fmla="*/ 2147483647 w 34"/>
                  <a:gd name="T45" fmla="*/ 2147483647 h 46"/>
                  <a:gd name="T46" fmla="*/ 2147483647 w 34"/>
                  <a:gd name="T47" fmla="*/ 2147483647 h 46"/>
                  <a:gd name="T48" fmla="*/ 2147483647 w 34"/>
                  <a:gd name="T49" fmla="*/ 2147483647 h 4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34" h="46">
                    <a:moveTo>
                      <a:pt x="22" y="14"/>
                    </a:moveTo>
                    <a:lnTo>
                      <a:pt x="20" y="10"/>
                    </a:lnTo>
                    <a:lnTo>
                      <a:pt x="14" y="5"/>
                    </a:lnTo>
                    <a:lnTo>
                      <a:pt x="7" y="0"/>
                    </a:lnTo>
                    <a:lnTo>
                      <a:pt x="3" y="0"/>
                    </a:lnTo>
                    <a:lnTo>
                      <a:pt x="1" y="5"/>
                    </a:lnTo>
                    <a:lnTo>
                      <a:pt x="0" y="10"/>
                    </a:lnTo>
                    <a:lnTo>
                      <a:pt x="1" y="15"/>
                    </a:lnTo>
                    <a:lnTo>
                      <a:pt x="1" y="20"/>
                    </a:lnTo>
                    <a:lnTo>
                      <a:pt x="3" y="27"/>
                    </a:lnTo>
                    <a:lnTo>
                      <a:pt x="4" y="36"/>
                    </a:lnTo>
                    <a:lnTo>
                      <a:pt x="7" y="43"/>
                    </a:lnTo>
                    <a:lnTo>
                      <a:pt x="11" y="46"/>
                    </a:lnTo>
                    <a:lnTo>
                      <a:pt x="16" y="46"/>
                    </a:lnTo>
                    <a:lnTo>
                      <a:pt x="21" y="44"/>
                    </a:lnTo>
                    <a:lnTo>
                      <a:pt x="26" y="42"/>
                    </a:lnTo>
                    <a:lnTo>
                      <a:pt x="29" y="38"/>
                    </a:lnTo>
                    <a:lnTo>
                      <a:pt x="31" y="33"/>
                    </a:lnTo>
                    <a:lnTo>
                      <a:pt x="34" y="30"/>
                    </a:lnTo>
                    <a:lnTo>
                      <a:pt x="34" y="27"/>
                    </a:lnTo>
                    <a:lnTo>
                      <a:pt x="30" y="22"/>
                    </a:lnTo>
                    <a:lnTo>
                      <a:pt x="26" y="17"/>
                    </a:lnTo>
                    <a:lnTo>
                      <a:pt x="23" y="15"/>
                    </a:lnTo>
                    <a:lnTo>
                      <a:pt x="22" y="14"/>
                    </a:ln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327" name="Freeform 326"/>
              <p:cNvSpPr>
                <a:spLocks/>
              </p:cNvSpPr>
              <p:nvPr/>
            </p:nvSpPr>
            <p:spPr bwMode="auto">
              <a:xfrm>
                <a:off x="1752561" y="312738"/>
                <a:ext cx="60325" cy="68262"/>
              </a:xfrm>
              <a:custGeom>
                <a:avLst/>
                <a:gdLst>
                  <a:gd name="T0" fmla="*/ 2147483647 w 58"/>
                  <a:gd name="T1" fmla="*/ 2147483647 h 67"/>
                  <a:gd name="T2" fmla="*/ 2147483647 w 58"/>
                  <a:gd name="T3" fmla="*/ 2147483647 h 67"/>
                  <a:gd name="T4" fmla="*/ 2147483647 w 58"/>
                  <a:gd name="T5" fmla="*/ 2147483647 h 67"/>
                  <a:gd name="T6" fmla="*/ 2147483647 w 58"/>
                  <a:gd name="T7" fmla="*/ 2147483647 h 67"/>
                  <a:gd name="T8" fmla="*/ 2147483647 w 58"/>
                  <a:gd name="T9" fmla="*/ 2147483647 h 67"/>
                  <a:gd name="T10" fmla="*/ 2147483647 w 58"/>
                  <a:gd name="T11" fmla="*/ 2147483647 h 67"/>
                  <a:gd name="T12" fmla="*/ 2147483647 w 58"/>
                  <a:gd name="T13" fmla="*/ 2147483647 h 67"/>
                  <a:gd name="T14" fmla="*/ 2147483647 w 58"/>
                  <a:gd name="T15" fmla="*/ 2147483647 h 67"/>
                  <a:gd name="T16" fmla="*/ 2147483647 w 58"/>
                  <a:gd name="T17" fmla="*/ 2147483647 h 67"/>
                  <a:gd name="T18" fmla="*/ 2147483647 w 58"/>
                  <a:gd name="T19" fmla="*/ 2147483647 h 67"/>
                  <a:gd name="T20" fmla="*/ 2147483647 w 58"/>
                  <a:gd name="T21" fmla="*/ 2147483647 h 67"/>
                  <a:gd name="T22" fmla="*/ 2147483647 w 58"/>
                  <a:gd name="T23" fmla="*/ 2147483647 h 67"/>
                  <a:gd name="T24" fmla="*/ 2147483647 w 58"/>
                  <a:gd name="T25" fmla="*/ 2147483647 h 67"/>
                  <a:gd name="T26" fmla="*/ 2147483647 w 58"/>
                  <a:gd name="T27" fmla="*/ 2147483647 h 67"/>
                  <a:gd name="T28" fmla="*/ 2147483647 w 58"/>
                  <a:gd name="T29" fmla="*/ 2147483647 h 67"/>
                  <a:gd name="T30" fmla="*/ 2147483647 w 58"/>
                  <a:gd name="T31" fmla="*/ 2147483647 h 67"/>
                  <a:gd name="T32" fmla="*/ 2147483647 w 58"/>
                  <a:gd name="T33" fmla="*/ 2147483647 h 67"/>
                  <a:gd name="T34" fmla="*/ 2147483647 w 58"/>
                  <a:gd name="T35" fmla="*/ 2147483647 h 67"/>
                  <a:gd name="T36" fmla="*/ 2147483647 w 58"/>
                  <a:gd name="T37" fmla="*/ 2147483647 h 67"/>
                  <a:gd name="T38" fmla="*/ 2147483647 w 58"/>
                  <a:gd name="T39" fmla="*/ 2147483647 h 67"/>
                  <a:gd name="T40" fmla="*/ 2147483647 w 58"/>
                  <a:gd name="T41" fmla="*/ 2147483647 h 67"/>
                  <a:gd name="T42" fmla="*/ 2147483647 w 58"/>
                  <a:gd name="T43" fmla="*/ 2147483647 h 67"/>
                  <a:gd name="T44" fmla="*/ 2147483647 w 58"/>
                  <a:gd name="T45" fmla="*/ 2147483647 h 67"/>
                  <a:gd name="T46" fmla="*/ 0 w 58"/>
                  <a:gd name="T47" fmla="*/ 2147483647 h 67"/>
                  <a:gd name="T48" fmla="*/ 2147483647 w 58"/>
                  <a:gd name="T49" fmla="*/ 0 h 67"/>
                  <a:gd name="T50" fmla="*/ 2147483647 w 58"/>
                  <a:gd name="T51" fmla="*/ 0 h 67"/>
                  <a:gd name="T52" fmla="*/ 2147483647 w 58"/>
                  <a:gd name="T53" fmla="*/ 0 h 67"/>
                  <a:gd name="T54" fmla="*/ 2147483647 w 58"/>
                  <a:gd name="T55" fmla="*/ 2147483647 h 67"/>
                  <a:gd name="T56" fmla="*/ 2147483647 w 58"/>
                  <a:gd name="T57" fmla="*/ 2147483647 h 67"/>
                  <a:gd name="T58" fmla="*/ 2147483647 w 58"/>
                  <a:gd name="T59" fmla="*/ 2147483647 h 67"/>
                  <a:gd name="T60" fmla="*/ 2147483647 w 58"/>
                  <a:gd name="T61" fmla="*/ 2147483647 h 67"/>
                  <a:gd name="T62" fmla="*/ 2147483647 w 58"/>
                  <a:gd name="T63" fmla="*/ 2147483647 h 67"/>
                  <a:gd name="T64" fmla="*/ 2147483647 w 58"/>
                  <a:gd name="T65" fmla="*/ 2147483647 h 67"/>
                  <a:gd name="T66" fmla="*/ 2147483647 w 58"/>
                  <a:gd name="T67" fmla="*/ 2147483647 h 67"/>
                  <a:gd name="T68" fmla="*/ 2147483647 w 58"/>
                  <a:gd name="T69" fmla="*/ 2147483647 h 67"/>
                  <a:gd name="T70" fmla="*/ 2147483647 w 58"/>
                  <a:gd name="T71" fmla="*/ 2147483647 h 67"/>
                  <a:gd name="T72" fmla="*/ 2147483647 w 58"/>
                  <a:gd name="T73" fmla="*/ 2147483647 h 6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58" h="67">
                    <a:moveTo>
                      <a:pt x="53" y="34"/>
                    </a:moveTo>
                    <a:lnTo>
                      <a:pt x="54" y="37"/>
                    </a:lnTo>
                    <a:lnTo>
                      <a:pt x="57" y="44"/>
                    </a:lnTo>
                    <a:lnTo>
                      <a:pt x="58" y="53"/>
                    </a:lnTo>
                    <a:lnTo>
                      <a:pt x="57" y="60"/>
                    </a:lnTo>
                    <a:lnTo>
                      <a:pt x="54" y="64"/>
                    </a:lnTo>
                    <a:lnTo>
                      <a:pt x="52" y="66"/>
                    </a:lnTo>
                    <a:lnTo>
                      <a:pt x="48" y="67"/>
                    </a:lnTo>
                    <a:lnTo>
                      <a:pt x="44" y="65"/>
                    </a:lnTo>
                    <a:lnTo>
                      <a:pt x="39" y="62"/>
                    </a:lnTo>
                    <a:lnTo>
                      <a:pt x="35" y="60"/>
                    </a:lnTo>
                    <a:lnTo>
                      <a:pt x="32" y="58"/>
                    </a:lnTo>
                    <a:lnTo>
                      <a:pt x="29" y="53"/>
                    </a:lnTo>
                    <a:lnTo>
                      <a:pt x="24" y="50"/>
                    </a:lnTo>
                    <a:lnTo>
                      <a:pt x="17" y="49"/>
                    </a:lnTo>
                    <a:lnTo>
                      <a:pt x="12" y="47"/>
                    </a:lnTo>
                    <a:lnTo>
                      <a:pt x="8" y="42"/>
                    </a:lnTo>
                    <a:lnTo>
                      <a:pt x="9" y="37"/>
                    </a:lnTo>
                    <a:lnTo>
                      <a:pt x="13" y="37"/>
                    </a:lnTo>
                    <a:lnTo>
                      <a:pt x="15" y="36"/>
                    </a:lnTo>
                    <a:lnTo>
                      <a:pt x="13" y="30"/>
                    </a:lnTo>
                    <a:lnTo>
                      <a:pt x="7" y="20"/>
                    </a:lnTo>
                    <a:lnTo>
                      <a:pt x="2" y="11"/>
                    </a:lnTo>
                    <a:lnTo>
                      <a:pt x="0" y="4"/>
                    </a:lnTo>
                    <a:lnTo>
                      <a:pt x="4" y="0"/>
                    </a:lnTo>
                    <a:lnTo>
                      <a:pt x="9" y="0"/>
                    </a:lnTo>
                    <a:lnTo>
                      <a:pt x="14" y="0"/>
                    </a:lnTo>
                    <a:lnTo>
                      <a:pt x="19" y="2"/>
                    </a:lnTo>
                    <a:lnTo>
                      <a:pt x="23" y="8"/>
                    </a:lnTo>
                    <a:lnTo>
                      <a:pt x="28" y="13"/>
                    </a:lnTo>
                    <a:lnTo>
                      <a:pt x="34" y="15"/>
                    </a:lnTo>
                    <a:lnTo>
                      <a:pt x="38" y="16"/>
                    </a:lnTo>
                    <a:lnTo>
                      <a:pt x="40" y="19"/>
                    </a:lnTo>
                    <a:lnTo>
                      <a:pt x="43" y="24"/>
                    </a:lnTo>
                    <a:lnTo>
                      <a:pt x="47" y="29"/>
                    </a:lnTo>
                    <a:lnTo>
                      <a:pt x="51" y="32"/>
                    </a:lnTo>
                    <a:lnTo>
                      <a:pt x="53" y="34"/>
                    </a:ln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328" name="Freeform 327"/>
              <p:cNvSpPr>
                <a:spLocks/>
              </p:cNvSpPr>
              <p:nvPr/>
            </p:nvSpPr>
            <p:spPr bwMode="auto">
              <a:xfrm>
                <a:off x="1509674" y="560388"/>
                <a:ext cx="269875" cy="234950"/>
              </a:xfrm>
              <a:custGeom>
                <a:avLst/>
                <a:gdLst>
                  <a:gd name="T0" fmla="*/ 2147483647 w 249"/>
                  <a:gd name="T1" fmla="*/ 2147483647 h 231"/>
                  <a:gd name="T2" fmla="*/ 2147483647 w 249"/>
                  <a:gd name="T3" fmla="*/ 2147483647 h 231"/>
                  <a:gd name="T4" fmla="*/ 2147483647 w 249"/>
                  <a:gd name="T5" fmla="*/ 2147483647 h 231"/>
                  <a:gd name="T6" fmla="*/ 2147483647 w 249"/>
                  <a:gd name="T7" fmla="*/ 2147483647 h 231"/>
                  <a:gd name="T8" fmla="*/ 2147483647 w 249"/>
                  <a:gd name="T9" fmla="*/ 2147483647 h 231"/>
                  <a:gd name="T10" fmla="*/ 2147483647 w 249"/>
                  <a:gd name="T11" fmla="*/ 2147483647 h 231"/>
                  <a:gd name="T12" fmla="*/ 2147483647 w 249"/>
                  <a:gd name="T13" fmla="*/ 2147483647 h 231"/>
                  <a:gd name="T14" fmla="*/ 2147483647 w 249"/>
                  <a:gd name="T15" fmla="*/ 2147483647 h 231"/>
                  <a:gd name="T16" fmla="*/ 2147483647 w 249"/>
                  <a:gd name="T17" fmla="*/ 2147483647 h 231"/>
                  <a:gd name="T18" fmla="*/ 2147483647 w 249"/>
                  <a:gd name="T19" fmla="*/ 2147483647 h 231"/>
                  <a:gd name="T20" fmla="*/ 2147483647 w 249"/>
                  <a:gd name="T21" fmla="*/ 2147483647 h 231"/>
                  <a:gd name="T22" fmla="*/ 2147483647 w 249"/>
                  <a:gd name="T23" fmla="*/ 2147483647 h 231"/>
                  <a:gd name="T24" fmla="*/ 2147483647 w 249"/>
                  <a:gd name="T25" fmla="*/ 2147483647 h 231"/>
                  <a:gd name="T26" fmla="*/ 2147483647 w 249"/>
                  <a:gd name="T27" fmla="*/ 2147483647 h 231"/>
                  <a:gd name="T28" fmla="*/ 2147483647 w 249"/>
                  <a:gd name="T29" fmla="*/ 2147483647 h 231"/>
                  <a:gd name="T30" fmla="*/ 2147483647 w 249"/>
                  <a:gd name="T31" fmla="*/ 2147483647 h 231"/>
                  <a:gd name="T32" fmla="*/ 2147483647 w 249"/>
                  <a:gd name="T33" fmla="*/ 2147483647 h 231"/>
                  <a:gd name="T34" fmla="*/ 2147483647 w 249"/>
                  <a:gd name="T35" fmla="*/ 2147483647 h 231"/>
                  <a:gd name="T36" fmla="*/ 2147483647 w 249"/>
                  <a:gd name="T37" fmla="*/ 2147483647 h 231"/>
                  <a:gd name="T38" fmla="*/ 2147483647 w 249"/>
                  <a:gd name="T39" fmla="*/ 2147483647 h 231"/>
                  <a:gd name="T40" fmla="*/ 2147483647 w 249"/>
                  <a:gd name="T41" fmla="*/ 2147483647 h 231"/>
                  <a:gd name="T42" fmla="*/ 2147483647 w 249"/>
                  <a:gd name="T43" fmla="*/ 2147483647 h 231"/>
                  <a:gd name="T44" fmla="*/ 2147483647 w 249"/>
                  <a:gd name="T45" fmla="*/ 2147483647 h 231"/>
                  <a:gd name="T46" fmla="*/ 2147483647 w 249"/>
                  <a:gd name="T47" fmla="*/ 2147483647 h 231"/>
                  <a:gd name="T48" fmla="*/ 2147483647 w 249"/>
                  <a:gd name="T49" fmla="*/ 2147483647 h 231"/>
                  <a:gd name="T50" fmla="*/ 2147483647 w 249"/>
                  <a:gd name="T51" fmla="*/ 2147483647 h 231"/>
                  <a:gd name="T52" fmla="*/ 2147483647 w 249"/>
                  <a:gd name="T53" fmla="*/ 2147483647 h 231"/>
                  <a:gd name="T54" fmla="*/ 2147483647 w 249"/>
                  <a:gd name="T55" fmla="*/ 2147483647 h 231"/>
                  <a:gd name="T56" fmla="*/ 2147483647 w 249"/>
                  <a:gd name="T57" fmla="*/ 2147483647 h 231"/>
                  <a:gd name="T58" fmla="*/ 2147483647 w 249"/>
                  <a:gd name="T59" fmla="*/ 2147483647 h 231"/>
                  <a:gd name="T60" fmla="*/ 2147483647 w 249"/>
                  <a:gd name="T61" fmla="*/ 2147483647 h 231"/>
                  <a:gd name="T62" fmla="*/ 2147483647 w 249"/>
                  <a:gd name="T63" fmla="*/ 2147483647 h 231"/>
                  <a:gd name="T64" fmla="*/ 2147483647 w 249"/>
                  <a:gd name="T65" fmla="*/ 2147483647 h 231"/>
                  <a:gd name="T66" fmla="*/ 2147483647 w 249"/>
                  <a:gd name="T67" fmla="*/ 2147483647 h 231"/>
                  <a:gd name="T68" fmla="*/ 2147483647 w 249"/>
                  <a:gd name="T69" fmla="*/ 2147483647 h 231"/>
                  <a:gd name="T70" fmla="*/ 2147483647 w 249"/>
                  <a:gd name="T71" fmla="*/ 2147483647 h 231"/>
                  <a:gd name="T72" fmla="*/ 2147483647 w 249"/>
                  <a:gd name="T73" fmla="*/ 2147483647 h 231"/>
                  <a:gd name="T74" fmla="*/ 2147483647 w 249"/>
                  <a:gd name="T75" fmla="*/ 2147483647 h 231"/>
                  <a:gd name="T76" fmla="*/ 2147483647 w 249"/>
                  <a:gd name="T77" fmla="*/ 2147483647 h 231"/>
                  <a:gd name="T78" fmla="*/ 2147483647 w 249"/>
                  <a:gd name="T79" fmla="*/ 2147483647 h 231"/>
                  <a:gd name="T80" fmla="*/ 2147483647 w 249"/>
                  <a:gd name="T81" fmla="*/ 2147483647 h 231"/>
                  <a:gd name="T82" fmla="*/ 2147483647 w 249"/>
                  <a:gd name="T83" fmla="*/ 2147483647 h 231"/>
                  <a:gd name="T84" fmla="*/ 2147483647 w 249"/>
                  <a:gd name="T85" fmla="*/ 2147483647 h 231"/>
                  <a:gd name="T86" fmla="*/ 2147483647 w 249"/>
                  <a:gd name="T87" fmla="*/ 2147483647 h 231"/>
                  <a:gd name="T88" fmla="*/ 2147483647 w 249"/>
                  <a:gd name="T89" fmla="*/ 2147483647 h 231"/>
                  <a:gd name="T90" fmla="*/ 2147483647 w 249"/>
                  <a:gd name="T91" fmla="*/ 2147483647 h 231"/>
                  <a:gd name="T92" fmla="*/ 2147483647 w 249"/>
                  <a:gd name="T93" fmla="*/ 2147483647 h 231"/>
                  <a:gd name="T94" fmla="*/ 2147483647 w 249"/>
                  <a:gd name="T95" fmla="*/ 2147483647 h 231"/>
                  <a:gd name="T96" fmla="*/ 2147483647 w 249"/>
                  <a:gd name="T97" fmla="*/ 2147483647 h 23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249" h="231">
                    <a:moveTo>
                      <a:pt x="239" y="162"/>
                    </a:moveTo>
                    <a:lnTo>
                      <a:pt x="241" y="164"/>
                    </a:lnTo>
                    <a:lnTo>
                      <a:pt x="246" y="168"/>
                    </a:lnTo>
                    <a:lnTo>
                      <a:pt x="249" y="175"/>
                    </a:lnTo>
                    <a:lnTo>
                      <a:pt x="248" y="182"/>
                    </a:lnTo>
                    <a:lnTo>
                      <a:pt x="244" y="187"/>
                    </a:lnTo>
                    <a:lnTo>
                      <a:pt x="239" y="188"/>
                    </a:lnTo>
                    <a:lnTo>
                      <a:pt x="236" y="187"/>
                    </a:lnTo>
                    <a:lnTo>
                      <a:pt x="232" y="187"/>
                    </a:lnTo>
                    <a:lnTo>
                      <a:pt x="229" y="187"/>
                    </a:lnTo>
                    <a:lnTo>
                      <a:pt x="226" y="187"/>
                    </a:lnTo>
                    <a:lnTo>
                      <a:pt x="226" y="189"/>
                    </a:lnTo>
                    <a:lnTo>
                      <a:pt x="228" y="195"/>
                    </a:lnTo>
                    <a:lnTo>
                      <a:pt x="230" y="204"/>
                    </a:lnTo>
                    <a:lnTo>
                      <a:pt x="232" y="213"/>
                    </a:lnTo>
                    <a:lnTo>
                      <a:pt x="231" y="220"/>
                    </a:lnTo>
                    <a:lnTo>
                      <a:pt x="224" y="225"/>
                    </a:lnTo>
                    <a:lnTo>
                      <a:pt x="216" y="227"/>
                    </a:lnTo>
                    <a:lnTo>
                      <a:pt x="211" y="230"/>
                    </a:lnTo>
                    <a:lnTo>
                      <a:pt x="205" y="231"/>
                    </a:lnTo>
                    <a:lnTo>
                      <a:pt x="195" y="225"/>
                    </a:lnTo>
                    <a:lnTo>
                      <a:pt x="190" y="220"/>
                    </a:lnTo>
                    <a:lnTo>
                      <a:pt x="184" y="215"/>
                    </a:lnTo>
                    <a:lnTo>
                      <a:pt x="178" y="210"/>
                    </a:lnTo>
                    <a:lnTo>
                      <a:pt x="173" y="205"/>
                    </a:lnTo>
                    <a:lnTo>
                      <a:pt x="170" y="202"/>
                    </a:lnTo>
                    <a:lnTo>
                      <a:pt x="165" y="198"/>
                    </a:lnTo>
                    <a:lnTo>
                      <a:pt x="163" y="196"/>
                    </a:lnTo>
                    <a:lnTo>
                      <a:pt x="161" y="195"/>
                    </a:lnTo>
                    <a:lnTo>
                      <a:pt x="158" y="194"/>
                    </a:lnTo>
                    <a:lnTo>
                      <a:pt x="157" y="194"/>
                    </a:lnTo>
                    <a:lnTo>
                      <a:pt x="154" y="196"/>
                    </a:lnTo>
                    <a:lnTo>
                      <a:pt x="146" y="202"/>
                    </a:lnTo>
                    <a:lnTo>
                      <a:pt x="140" y="206"/>
                    </a:lnTo>
                    <a:lnTo>
                      <a:pt x="132" y="210"/>
                    </a:lnTo>
                    <a:lnTo>
                      <a:pt x="123" y="213"/>
                    </a:lnTo>
                    <a:lnTo>
                      <a:pt x="114" y="216"/>
                    </a:lnTo>
                    <a:lnTo>
                      <a:pt x="104" y="219"/>
                    </a:lnTo>
                    <a:lnTo>
                      <a:pt x="95" y="220"/>
                    </a:lnTo>
                    <a:lnTo>
                      <a:pt x="89" y="221"/>
                    </a:lnTo>
                    <a:lnTo>
                      <a:pt x="85" y="223"/>
                    </a:lnTo>
                    <a:lnTo>
                      <a:pt x="81" y="223"/>
                    </a:lnTo>
                    <a:lnTo>
                      <a:pt x="78" y="223"/>
                    </a:lnTo>
                    <a:lnTo>
                      <a:pt x="73" y="221"/>
                    </a:lnTo>
                    <a:lnTo>
                      <a:pt x="67" y="219"/>
                    </a:lnTo>
                    <a:lnTo>
                      <a:pt x="62" y="218"/>
                    </a:lnTo>
                    <a:lnTo>
                      <a:pt x="57" y="216"/>
                    </a:lnTo>
                    <a:lnTo>
                      <a:pt x="52" y="215"/>
                    </a:lnTo>
                    <a:lnTo>
                      <a:pt x="49" y="215"/>
                    </a:lnTo>
                    <a:lnTo>
                      <a:pt x="46" y="213"/>
                    </a:lnTo>
                    <a:lnTo>
                      <a:pt x="44" y="210"/>
                    </a:lnTo>
                    <a:lnTo>
                      <a:pt x="44" y="204"/>
                    </a:lnTo>
                    <a:lnTo>
                      <a:pt x="43" y="197"/>
                    </a:lnTo>
                    <a:lnTo>
                      <a:pt x="40" y="188"/>
                    </a:lnTo>
                    <a:lnTo>
                      <a:pt x="33" y="180"/>
                    </a:lnTo>
                    <a:lnTo>
                      <a:pt x="25" y="173"/>
                    </a:lnTo>
                    <a:lnTo>
                      <a:pt x="16" y="167"/>
                    </a:lnTo>
                    <a:lnTo>
                      <a:pt x="9" y="164"/>
                    </a:lnTo>
                    <a:lnTo>
                      <a:pt x="3" y="162"/>
                    </a:lnTo>
                    <a:lnTo>
                      <a:pt x="1" y="157"/>
                    </a:lnTo>
                    <a:lnTo>
                      <a:pt x="0" y="151"/>
                    </a:lnTo>
                    <a:lnTo>
                      <a:pt x="0" y="143"/>
                    </a:lnTo>
                    <a:lnTo>
                      <a:pt x="0" y="136"/>
                    </a:lnTo>
                    <a:lnTo>
                      <a:pt x="1" y="130"/>
                    </a:lnTo>
                    <a:lnTo>
                      <a:pt x="5" y="129"/>
                    </a:lnTo>
                    <a:lnTo>
                      <a:pt x="12" y="129"/>
                    </a:lnTo>
                    <a:lnTo>
                      <a:pt x="20" y="128"/>
                    </a:lnTo>
                    <a:lnTo>
                      <a:pt x="27" y="129"/>
                    </a:lnTo>
                    <a:lnTo>
                      <a:pt x="36" y="132"/>
                    </a:lnTo>
                    <a:lnTo>
                      <a:pt x="42" y="135"/>
                    </a:lnTo>
                    <a:lnTo>
                      <a:pt x="49" y="138"/>
                    </a:lnTo>
                    <a:lnTo>
                      <a:pt x="57" y="142"/>
                    </a:lnTo>
                    <a:lnTo>
                      <a:pt x="65" y="147"/>
                    </a:lnTo>
                    <a:lnTo>
                      <a:pt x="72" y="149"/>
                    </a:lnTo>
                    <a:lnTo>
                      <a:pt x="79" y="151"/>
                    </a:lnTo>
                    <a:lnTo>
                      <a:pt x="82" y="151"/>
                    </a:lnTo>
                    <a:lnTo>
                      <a:pt x="85" y="149"/>
                    </a:lnTo>
                    <a:lnTo>
                      <a:pt x="86" y="141"/>
                    </a:lnTo>
                    <a:lnTo>
                      <a:pt x="86" y="133"/>
                    </a:lnTo>
                    <a:lnTo>
                      <a:pt x="81" y="126"/>
                    </a:lnTo>
                    <a:lnTo>
                      <a:pt x="69" y="121"/>
                    </a:lnTo>
                    <a:lnTo>
                      <a:pt x="56" y="118"/>
                    </a:lnTo>
                    <a:lnTo>
                      <a:pt x="50" y="117"/>
                    </a:lnTo>
                    <a:lnTo>
                      <a:pt x="44" y="117"/>
                    </a:lnTo>
                    <a:lnTo>
                      <a:pt x="35" y="115"/>
                    </a:lnTo>
                    <a:lnTo>
                      <a:pt x="24" y="115"/>
                    </a:lnTo>
                    <a:lnTo>
                      <a:pt x="17" y="115"/>
                    </a:lnTo>
                    <a:lnTo>
                      <a:pt x="12" y="114"/>
                    </a:lnTo>
                    <a:lnTo>
                      <a:pt x="8" y="111"/>
                    </a:lnTo>
                    <a:lnTo>
                      <a:pt x="3" y="104"/>
                    </a:lnTo>
                    <a:lnTo>
                      <a:pt x="2" y="96"/>
                    </a:lnTo>
                    <a:lnTo>
                      <a:pt x="2" y="90"/>
                    </a:lnTo>
                    <a:lnTo>
                      <a:pt x="4" y="86"/>
                    </a:lnTo>
                    <a:lnTo>
                      <a:pt x="11" y="84"/>
                    </a:lnTo>
                    <a:lnTo>
                      <a:pt x="20" y="86"/>
                    </a:lnTo>
                    <a:lnTo>
                      <a:pt x="28" y="84"/>
                    </a:lnTo>
                    <a:lnTo>
                      <a:pt x="29" y="79"/>
                    </a:lnTo>
                    <a:lnTo>
                      <a:pt x="26" y="73"/>
                    </a:lnTo>
                    <a:lnTo>
                      <a:pt x="23" y="71"/>
                    </a:lnTo>
                    <a:lnTo>
                      <a:pt x="19" y="68"/>
                    </a:lnTo>
                    <a:lnTo>
                      <a:pt x="13" y="62"/>
                    </a:lnTo>
                    <a:lnTo>
                      <a:pt x="8" y="54"/>
                    </a:lnTo>
                    <a:lnTo>
                      <a:pt x="3" y="49"/>
                    </a:lnTo>
                    <a:lnTo>
                      <a:pt x="3" y="44"/>
                    </a:lnTo>
                    <a:lnTo>
                      <a:pt x="8" y="39"/>
                    </a:lnTo>
                    <a:lnTo>
                      <a:pt x="14" y="37"/>
                    </a:lnTo>
                    <a:lnTo>
                      <a:pt x="19" y="35"/>
                    </a:lnTo>
                    <a:lnTo>
                      <a:pt x="21" y="33"/>
                    </a:lnTo>
                    <a:lnTo>
                      <a:pt x="24" y="27"/>
                    </a:lnTo>
                    <a:lnTo>
                      <a:pt x="25" y="21"/>
                    </a:lnTo>
                    <a:lnTo>
                      <a:pt x="25" y="18"/>
                    </a:lnTo>
                    <a:lnTo>
                      <a:pt x="28" y="15"/>
                    </a:lnTo>
                    <a:lnTo>
                      <a:pt x="33" y="14"/>
                    </a:lnTo>
                    <a:lnTo>
                      <a:pt x="40" y="13"/>
                    </a:lnTo>
                    <a:lnTo>
                      <a:pt x="46" y="9"/>
                    </a:lnTo>
                    <a:lnTo>
                      <a:pt x="51" y="7"/>
                    </a:lnTo>
                    <a:lnTo>
                      <a:pt x="61" y="5"/>
                    </a:lnTo>
                    <a:lnTo>
                      <a:pt x="72" y="3"/>
                    </a:lnTo>
                    <a:lnTo>
                      <a:pt x="81" y="0"/>
                    </a:lnTo>
                    <a:lnTo>
                      <a:pt x="88" y="3"/>
                    </a:lnTo>
                    <a:lnTo>
                      <a:pt x="88" y="9"/>
                    </a:lnTo>
                    <a:lnTo>
                      <a:pt x="85" y="18"/>
                    </a:lnTo>
                    <a:lnTo>
                      <a:pt x="81" y="23"/>
                    </a:lnTo>
                    <a:lnTo>
                      <a:pt x="82" y="27"/>
                    </a:lnTo>
                    <a:lnTo>
                      <a:pt x="88" y="26"/>
                    </a:lnTo>
                    <a:lnTo>
                      <a:pt x="95" y="23"/>
                    </a:lnTo>
                    <a:lnTo>
                      <a:pt x="100" y="24"/>
                    </a:lnTo>
                    <a:lnTo>
                      <a:pt x="102" y="27"/>
                    </a:lnTo>
                    <a:lnTo>
                      <a:pt x="104" y="34"/>
                    </a:lnTo>
                    <a:lnTo>
                      <a:pt x="110" y="41"/>
                    </a:lnTo>
                    <a:lnTo>
                      <a:pt x="117" y="46"/>
                    </a:lnTo>
                    <a:lnTo>
                      <a:pt x="124" y="47"/>
                    </a:lnTo>
                    <a:lnTo>
                      <a:pt x="127" y="45"/>
                    </a:lnTo>
                    <a:lnTo>
                      <a:pt x="127" y="38"/>
                    </a:lnTo>
                    <a:lnTo>
                      <a:pt x="126" y="31"/>
                    </a:lnTo>
                    <a:lnTo>
                      <a:pt x="125" y="27"/>
                    </a:lnTo>
                    <a:lnTo>
                      <a:pt x="129" y="27"/>
                    </a:lnTo>
                    <a:lnTo>
                      <a:pt x="134" y="33"/>
                    </a:lnTo>
                    <a:lnTo>
                      <a:pt x="140" y="39"/>
                    </a:lnTo>
                    <a:lnTo>
                      <a:pt x="145" y="47"/>
                    </a:lnTo>
                    <a:lnTo>
                      <a:pt x="146" y="58"/>
                    </a:lnTo>
                    <a:lnTo>
                      <a:pt x="147" y="69"/>
                    </a:lnTo>
                    <a:lnTo>
                      <a:pt x="148" y="80"/>
                    </a:lnTo>
                    <a:lnTo>
                      <a:pt x="152" y="83"/>
                    </a:lnTo>
                    <a:lnTo>
                      <a:pt x="155" y="75"/>
                    </a:lnTo>
                    <a:lnTo>
                      <a:pt x="158" y="64"/>
                    </a:lnTo>
                    <a:lnTo>
                      <a:pt x="161" y="57"/>
                    </a:lnTo>
                    <a:lnTo>
                      <a:pt x="162" y="51"/>
                    </a:lnTo>
                    <a:lnTo>
                      <a:pt x="160" y="46"/>
                    </a:lnTo>
                    <a:lnTo>
                      <a:pt x="157" y="39"/>
                    </a:lnTo>
                    <a:lnTo>
                      <a:pt x="156" y="33"/>
                    </a:lnTo>
                    <a:lnTo>
                      <a:pt x="157" y="27"/>
                    </a:lnTo>
                    <a:lnTo>
                      <a:pt x="160" y="22"/>
                    </a:lnTo>
                    <a:lnTo>
                      <a:pt x="164" y="20"/>
                    </a:lnTo>
                    <a:lnTo>
                      <a:pt x="169" y="21"/>
                    </a:lnTo>
                    <a:lnTo>
                      <a:pt x="173" y="23"/>
                    </a:lnTo>
                    <a:lnTo>
                      <a:pt x="179" y="26"/>
                    </a:lnTo>
                    <a:lnTo>
                      <a:pt x="181" y="24"/>
                    </a:lnTo>
                    <a:lnTo>
                      <a:pt x="183" y="22"/>
                    </a:lnTo>
                    <a:lnTo>
                      <a:pt x="181" y="19"/>
                    </a:lnTo>
                    <a:lnTo>
                      <a:pt x="181" y="18"/>
                    </a:lnTo>
                    <a:lnTo>
                      <a:pt x="179" y="15"/>
                    </a:lnTo>
                    <a:lnTo>
                      <a:pt x="175" y="11"/>
                    </a:lnTo>
                    <a:lnTo>
                      <a:pt x="172" y="7"/>
                    </a:lnTo>
                    <a:lnTo>
                      <a:pt x="179" y="5"/>
                    </a:lnTo>
                    <a:lnTo>
                      <a:pt x="185" y="5"/>
                    </a:lnTo>
                    <a:lnTo>
                      <a:pt x="192" y="5"/>
                    </a:lnTo>
                    <a:lnTo>
                      <a:pt x="198" y="5"/>
                    </a:lnTo>
                    <a:lnTo>
                      <a:pt x="203" y="6"/>
                    </a:lnTo>
                    <a:lnTo>
                      <a:pt x="208" y="8"/>
                    </a:lnTo>
                    <a:lnTo>
                      <a:pt x="211" y="11"/>
                    </a:lnTo>
                    <a:lnTo>
                      <a:pt x="213" y="15"/>
                    </a:lnTo>
                    <a:lnTo>
                      <a:pt x="211" y="21"/>
                    </a:lnTo>
                    <a:lnTo>
                      <a:pt x="207" y="31"/>
                    </a:lnTo>
                    <a:lnTo>
                      <a:pt x="203" y="37"/>
                    </a:lnTo>
                    <a:lnTo>
                      <a:pt x="199" y="39"/>
                    </a:lnTo>
                    <a:lnTo>
                      <a:pt x="195" y="42"/>
                    </a:lnTo>
                    <a:lnTo>
                      <a:pt x="192" y="45"/>
                    </a:lnTo>
                    <a:lnTo>
                      <a:pt x="193" y="52"/>
                    </a:lnTo>
                    <a:lnTo>
                      <a:pt x="195" y="60"/>
                    </a:lnTo>
                    <a:lnTo>
                      <a:pt x="196" y="69"/>
                    </a:lnTo>
                    <a:lnTo>
                      <a:pt x="198" y="79"/>
                    </a:lnTo>
                    <a:lnTo>
                      <a:pt x="199" y="89"/>
                    </a:lnTo>
                    <a:lnTo>
                      <a:pt x="201" y="98"/>
                    </a:lnTo>
                    <a:lnTo>
                      <a:pt x="201" y="105"/>
                    </a:lnTo>
                    <a:lnTo>
                      <a:pt x="200" y="110"/>
                    </a:lnTo>
                    <a:lnTo>
                      <a:pt x="199" y="112"/>
                    </a:lnTo>
                    <a:lnTo>
                      <a:pt x="198" y="115"/>
                    </a:lnTo>
                    <a:lnTo>
                      <a:pt x="198" y="122"/>
                    </a:lnTo>
                    <a:lnTo>
                      <a:pt x="201" y="130"/>
                    </a:lnTo>
                    <a:lnTo>
                      <a:pt x="205" y="136"/>
                    </a:lnTo>
                    <a:lnTo>
                      <a:pt x="209" y="141"/>
                    </a:lnTo>
                    <a:lnTo>
                      <a:pt x="216" y="147"/>
                    </a:lnTo>
                    <a:lnTo>
                      <a:pt x="224" y="153"/>
                    </a:lnTo>
                    <a:lnTo>
                      <a:pt x="231" y="158"/>
                    </a:lnTo>
                    <a:lnTo>
                      <a:pt x="237" y="160"/>
                    </a:lnTo>
                    <a:lnTo>
                      <a:pt x="239" y="162"/>
                    </a:ln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grpSp>
        <p:sp>
          <p:nvSpPr>
            <p:cNvPr id="110" name="ES"/>
            <p:cNvSpPr>
              <a:spLocks/>
            </p:cNvSpPr>
            <p:nvPr/>
          </p:nvSpPr>
          <p:spPr bwMode="auto">
            <a:xfrm rot="730076">
              <a:off x="4005992" y="3163091"/>
              <a:ext cx="360359" cy="280172"/>
            </a:xfrm>
            <a:custGeom>
              <a:avLst/>
              <a:gdLst>
                <a:gd name="T0" fmla="*/ 426164101 w 10000"/>
                <a:gd name="T1" fmla="*/ 33234648 h 10009"/>
                <a:gd name="T2" fmla="*/ 408082289 w 10000"/>
                <a:gd name="T3" fmla="*/ 32290934 h 10009"/>
                <a:gd name="T4" fmla="*/ 362807633 w 10000"/>
                <a:gd name="T5" fmla="*/ 28740862 h 10009"/>
                <a:gd name="T6" fmla="*/ 339258661 w 10000"/>
                <a:gd name="T7" fmla="*/ 30156419 h 10009"/>
                <a:gd name="T8" fmla="*/ 326642675 w 10000"/>
                <a:gd name="T9" fmla="*/ 30156419 h 10009"/>
                <a:gd name="T10" fmla="*/ 309215389 w 10000"/>
                <a:gd name="T11" fmla="*/ 16494176 h 10009"/>
                <a:gd name="T12" fmla="*/ 163298617 w 10000"/>
                <a:gd name="T13" fmla="*/ 202452 h 10009"/>
                <a:gd name="T14" fmla="*/ 87933914 w 10000"/>
                <a:gd name="T15" fmla="*/ 7685170 h 10009"/>
                <a:gd name="T16" fmla="*/ 62843529 w 10000"/>
                <a:gd name="T17" fmla="*/ 202452 h 10009"/>
                <a:gd name="T18" fmla="*/ 37659631 w 10000"/>
                <a:gd name="T19" fmla="*/ 7685170 h 10009"/>
                <a:gd name="T20" fmla="*/ 0 w 10000"/>
                <a:gd name="T21" fmla="*/ 22673701 h 10009"/>
                <a:gd name="T22" fmla="*/ 25137159 w 10000"/>
                <a:gd name="T23" fmla="*/ 60132717 h 10009"/>
                <a:gd name="T24" fmla="*/ 50274283 w 10000"/>
                <a:gd name="T25" fmla="*/ 45144977 h 10009"/>
                <a:gd name="T26" fmla="*/ 100501863 w 10000"/>
                <a:gd name="T27" fmla="*/ 52627695 h 10009"/>
                <a:gd name="T28" fmla="*/ 113117812 w 10000"/>
                <a:gd name="T29" fmla="*/ 60132717 h 10009"/>
                <a:gd name="T30" fmla="*/ 113117812 w 10000"/>
                <a:gd name="T31" fmla="*/ 60132717 h 10009"/>
                <a:gd name="T32" fmla="*/ 125592247 w 10000"/>
                <a:gd name="T33" fmla="*/ 67616225 h 10009"/>
                <a:gd name="T34" fmla="*/ 113117812 w 10000"/>
                <a:gd name="T35" fmla="*/ 90086683 h 10009"/>
                <a:gd name="T36" fmla="*/ 100501863 w 10000"/>
                <a:gd name="T37" fmla="*/ 127546490 h 10009"/>
                <a:gd name="T38" fmla="*/ 87933914 w 10000"/>
                <a:gd name="T39" fmla="*/ 150017738 h 10009"/>
                <a:gd name="T40" fmla="*/ 87933914 w 10000"/>
                <a:gd name="T41" fmla="*/ 164983174 h 10009"/>
                <a:gd name="T42" fmla="*/ 88027428 w 10000"/>
                <a:gd name="T43" fmla="*/ 168915820 h 10009"/>
                <a:gd name="T44" fmla="*/ 87933914 w 10000"/>
                <a:gd name="T45" fmla="*/ 172489014 h 10009"/>
                <a:gd name="T46" fmla="*/ 87933914 w 10000"/>
                <a:gd name="T47" fmla="*/ 179971704 h 10009"/>
                <a:gd name="T48" fmla="*/ 75364703 w 10000"/>
                <a:gd name="T49" fmla="*/ 202442981 h 10009"/>
                <a:gd name="T50" fmla="*/ 100501863 w 10000"/>
                <a:gd name="T51" fmla="*/ 202442981 h 10009"/>
                <a:gd name="T52" fmla="*/ 150776145 w 10000"/>
                <a:gd name="T53" fmla="*/ 224914229 h 10009"/>
                <a:gd name="T54" fmla="*/ 226140849 w 10000"/>
                <a:gd name="T55" fmla="*/ 209925699 h 10009"/>
                <a:gd name="T56" fmla="*/ 301505552 w 10000"/>
                <a:gd name="T57" fmla="*/ 202442981 h 10009"/>
                <a:gd name="T58" fmla="*/ 339258661 w 10000"/>
                <a:gd name="T59" fmla="*/ 172489014 h 10009"/>
                <a:gd name="T60" fmla="*/ 376916994 w 10000"/>
                <a:gd name="T61" fmla="*/ 142512716 h 10009"/>
                <a:gd name="T62" fmla="*/ 376916994 w 10000"/>
                <a:gd name="T63" fmla="*/ 127546490 h 10009"/>
                <a:gd name="T64" fmla="*/ 412193659 w 10000"/>
                <a:gd name="T65" fmla="*/ 87817472 h 10009"/>
                <a:gd name="T66" fmla="*/ 429341773 w 10000"/>
                <a:gd name="T67" fmla="*/ 83165896 h 10009"/>
                <a:gd name="T68" fmla="*/ 435368612 w 10000"/>
                <a:gd name="T69" fmla="*/ 80738868 h 10009"/>
                <a:gd name="T70" fmla="*/ 439900776 w 10000"/>
                <a:gd name="T71" fmla="*/ 78491989 h 10009"/>
                <a:gd name="T72" fmla="*/ 465785903 w 10000"/>
                <a:gd name="T73" fmla="*/ 63975302 h 10009"/>
                <a:gd name="T74" fmla="*/ 457094332 w 10000"/>
                <a:gd name="T75" fmla="*/ 39369538 h 10009"/>
                <a:gd name="T76" fmla="*/ 455739875 w 10000"/>
                <a:gd name="T77" fmla="*/ 35908735 h 10009"/>
                <a:gd name="T78" fmla="*/ 446722357 w 10000"/>
                <a:gd name="T79" fmla="*/ 35819466 h 10009"/>
                <a:gd name="T80" fmla="*/ 426164101 w 10000"/>
                <a:gd name="T81" fmla="*/ 33234648 h 10009"/>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0000" h="10009">
                  <a:moveTo>
                    <a:pt x="9121" y="1479"/>
                  </a:moveTo>
                  <a:cubicBezTo>
                    <a:pt x="8949" y="1545"/>
                    <a:pt x="8960" y="1470"/>
                    <a:pt x="8734" y="1437"/>
                  </a:cubicBezTo>
                  <a:cubicBezTo>
                    <a:pt x="8508" y="1404"/>
                    <a:pt x="8010" y="1295"/>
                    <a:pt x="7765" y="1279"/>
                  </a:cubicBezTo>
                  <a:cubicBezTo>
                    <a:pt x="7520" y="1263"/>
                    <a:pt x="7390" y="1332"/>
                    <a:pt x="7261" y="1342"/>
                  </a:cubicBezTo>
                  <a:cubicBezTo>
                    <a:pt x="7132" y="1353"/>
                    <a:pt x="7098" y="1443"/>
                    <a:pt x="6991" y="1342"/>
                  </a:cubicBezTo>
                  <a:cubicBezTo>
                    <a:pt x="6884" y="1241"/>
                    <a:pt x="6742" y="937"/>
                    <a:pt x="6618" y="734"/>
                  </a:cubicBezTo>
                  <a:cubicBezTo>
                    <a:pt x="5577" y="492"/>
                    <a:pt x="4284" y="74"/>
                    <a:pt x="3495" y="9"/>
                  </a:cubicBezTo>
                  <a:cubicBezTo>
                    <a:pt x="2706" y="-56"/>
                    <a:pt x="2420" y="231"/>
                    <a:pt x="1882" y="342"/>
                  </a:cubicBezTo>
                  <a:lnTo>
                    <a:pt x="1345" y="9"/>
                  </a:lnTo>
                  <a:lnTo>
                    <a:pt x="806" y="342"/>
                  </a:lnTo>
                  <a:cubicBezTo>
                    <a:pt x="806" y="342"/>
                    <a:pt x="268" y="1009"/>
                    <a:pt x="0" y="1009"/>
                  </a:cubicBezTo>
                  <a:lnTo>
                    <a:pt x="538" y="2676"/>
                  </a:lnTo>
                  <a:lnTo>
                    <a:pt x="1076" y="2009"/>
                  </a:lnTo>
                  <a:lnTo>
                    <a:pt x="2151" y="2342"/>
                  </a:lnTo>
                  <a:lnTo>
                    <a:pt x="2421" y="2676"/>
                  </a:lnTo>
                  <a:lnTo>
                    <a:pt x="2688" y="3009"/>
                  </a:lnTo>
                  <a:cubicBezTo>
                    <a:pt x="2600" y="3342"/>
                    <a:pt x="2510" y="3676"/>
                    <a:pt x="2421" y="4009"/>
                  </a:cubicBezTo>
                  <a:cubicBezTo>
                    <a:pt x="2330" y="4565"/>
                    <a:pt x="2241" y="5120"/>
                    <a:pt x="2151" y="5676"/>
                  </a:cubicBezTo>
                  <a:cubicBezTo>
                    <a:pt x="2062" y="6009"/>
                    <a:pt x="1971" y="6343"/>
                    <a:pt x="1882" y="6676"/>
                  </a:cubicBezTo>
                  <a:lnTo>
                    <a:pt x="1882" y="7342"/>
                  </a:lnTo>
                  <a:cubicBezTo>
                    <a:pt x="1882" y="7482"/>
                    <a:pt x="1889" y="7241"/>
                    <a:pt x="1884" y="7517"/>
                  </a:cubicBezTo>
                  <a:cubicBezTo>
                    <a:pt x="1879" y="7793"/>
                    <a:pt x="1882" y="7594"/>
                    <a:pt x="1882" y="7676"/>
                  </a:cubicBezTo>
                  <a:lnTo>
                    <a:pt x="1882" y="8009"/>
                  </a:lnTo>
                  <a:cubicBezTo>
                    <a:pt x="1792" y="8342"/>
                    <a:pt x="1703" y="8676"/>
                    <a:pt x="1613" y="9009"/>
                  </a:cubicBezTo>
                  <a:lnTo>
                    <a:pt x="2151" y="9009"/>
                  </a:lnTo>
                  <a:lnTo>
                    <a:pt x="3227" y="10009"/>
                  </a:lnTo>
                  <a:lnTo>
                    <a:pt x="4840" y="9342"/>
                  </a:lnTo>
                  <a:lnTo>
                    <a:pt x="6453" y="9009"/>
                  </a:lnTo>
                  <a:lnTo>
                    <a:pt x="7261" y="7676"/>
                  </a:lnTo>
                  <a:lnTo>
                    <a:pt x="8067" y="6342"/>
                  </a:lnTo>
                  <a:cubicBezTo>
                    <a:pt x="8067" y="6120"/>
                    <a:pt x="7941" y="6082"/>
                    <a:pt x="8067" y="5676"/>
                  </a:cubicBezTo>
                  <a:cubicBezTo>
                    <a:pt x="8193" y="5270"/>
                    <a:pt x="8503" y="4112"/>
                    <a:pt x="8822" y="3908"/>
                  </a:cubicBezTo>
                  <a:cubicBezTo>
                    <a:pt x="9185" y="3676"/>
                    <a:pt x="9126" y="3756"/>
                    <a:pt x="9189" y="3701"/>
                  </a:cubicBezTo>
                  <a:cubicBezTo>
                    <a:pt x="9252" y="3646"/>
                    <a:pt x="9284" y="3569"/>
                    <a:pt x="9318" y="3593"/>
                  </a:cubicBezTo>
                  <a:cubicBezTo>
                    <a:pt x="9388" y="3534"/>
                    <a:pt x="9296" y="3577"/>
                    <a:pt x="9415" y="3493"/>
                  </a:cubicBezTo>
                  <a:cubicBezTo>
                    <a:pt x="9534" y="3409"/>
                    <a:pt x="9908" y="3137"/>
                    <a:pt x="9969" y="2847"/>
                  </a:cubicBezTo>
                  <a:cubicBezTo>
                    <a:pt x="10030" y="2557"/>
                    <a:pt x="10018" y="1949"/>
                    <a:pt x="9783" y="1752"/>
                  </a:cubicBezTo>
                  <a:cubicBezTo>
                    <a:pt x="9774" y="1701"/>
                    <a:pt x="9763" y="1649"/>
                    <a:pt x="9754" y="1598"/>
                  </a:cubicBezTo>
                  <a:cubicBezTo>
                    <a:pt x="9738" y="1593"/>
                    <a:pt x="9576" y="1599"/>
                    <a:pt x="9561" y="1594"/>
                  </a:cubicBezTo>
                  <a:lnTo>
                    <a:pt x="9121" y="1479"/>
                  </a:lnTo>
                  <a:close/>
                </a:path>
              </a:pathLst>
            </a:custGeom>
            <a:solidFill>
              <a:schemeClr val="accent1"/>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111" name="PT"/>
            <p:cNvSpPr>
              <a:spLocks/>
            </p:cNvSpPr>
            <p:nvPr/>
          </p:nvSpPr>
          <p:spPr bwMode="auto">
            <a:xfrm rot="926903">
              <a:off x="4015517" y="3182140"/>
              <a:ext cx="90486" cy="196035"/>
            </a:xfrm>
            <a:custGeom>
              <a:avLst/>
              <a:gdLst>
                <a:gd name="T0" fmla="*/ 5203165 w 10000"/>
                <a:gd name="T1" fmla="*/ 55889666 h 10437"/>
                <a:gd name="T2" fmla="*/ 5203165 w 10000"/>
                <a:gd name="T3" fmla="*/ 52637007 h 10437"/>
                <a:gd name="T4" fmla="*/ 5387551 w 10000"/>
                <a:gd name="T5" fmla="*/ 46351799 h 10437"/>
                <a:gd name="T6" fmla="*/ 5946543 w 10000"/>
                <a:gd name="T7" fmla="*/ 39611862 h 10437"/>
                <a:gd name="T8" fmla="*/ 5946543 w 10000"/>
                <a:gd name="T9" fmla="*/ 36359184 h 10437"/>
                <a:gd name="T10" fmla="*/ 6172444 w 10000"/>
                <a:gd name="T11" fmla="*/ 28565155 h 10437"/>
                <a:gd name="T12" fmla="*/ 6689840 w 10000"/>
                <a:gd name="T13" fmla="*/ 23334419 h 10437"/>
                <a:gd name="T14" fmla="*/ 6802098 w 10000"/>
                <a:gd name="T15" fmla="*/ 16987401 h 10437"/>
                <a:gd name="T16" fmla="*/ 7433136 w 10000"/>
                <a:gd name="T17" fmla="*/ 10309636 h 10437"/>
                <a:gd name="T18" fmla="*/ 6689840 w 10000"/>
                <a:gd name="T19" fmla="*/ 7056976 h 10437"/>
                <a:gd name="T20" fmla="*/ 5946543 w 10000"/>
                <a:gd name="T21" fmla="*/ 3252678 h 10437"/>
                <a:gd name="T22" fmla="*/ 3716573 w 10000"/>
                <a:gd name="T23" fmla="*/ 0 h 10437"/>
                <a:gd name="T24" fmla="*/ 2229971 w 10000"/>
                <a:gd name="T25" fmla="*/ 3252678 h 10437"/>
                <a:gd name="T26" fmla="*/ 1486593 w 10000"/>
                <a:gd name="T27" fmla="*/ 7056976 h 10437"/>
                <a:gd name="T28" fmla="*/ 918027 w 10000"/>
                <a:gd name="T29" fmla="*/ 9848023 h 10437"/>
                <a:gd name="T30" fmla="*/ 1486593 w 10000"/>
                <a:gd name="T31" fmla="*/ 20074877 h 10437"/>
                <a:gd name="T32" fmla="*/ 1486593 w 10000"/>
                <a:gd name="T33" fmla="*/ 33099660 h 10437"/>
                <a:gd name="T34" fmla="*/ 170224 w 10000"/>
                <a:gd name="T35" fmla="*/ 42768374 h 10437"/>
                <a:gd name="T36" fmla="*/ 0 w 10000"/>
                <a:gd name="T37" fmla="*/ 49377103 h 10437"/>
                <a:gd name="T38" fmla="*/ 483164 w 10000"/>
                <a:gd name="T39" fmla="*/ 53195128 h 10437"/>
                <a:gd name="T40" fmla="*/ 1486593 w 10000"/>
                <a:gd name="T41" fmla="*/ 52637007 h 10437"/>
                <a:gd name="T42" fmla="*/ 842208 w 10000"/>
                <a:gd name="T43" fmla="*/ 71650188 h 10437"/>
                <a:gd name="T44" fmla="*/ 4818903 w 10000"/>
                <a:gd name="T45" fmla="*/ 71926007 h 10437"/>
                <a:gd name="T46" fmla="*/ 5335475 w 10000"/>
                <a:gd name="T47" fmla="*/ 64986150 h 10437"/>
                <a:gd name="T48" fmla="*/ 5203165 w 10000"/>
                <a:gd name="T49" fmla="*/ 62401868 h 10437"/>
                <a:gd name="T50" fmla="*/ 5203165 w 10000"/>
                <a:gd name="T51" fmla="*/ 55889666 h 1043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0000" h="10437">
                  <a:moveTo>
                    <a:pt x="7000" y="8110"/>
                  </a:moveTo>
                  <a:lnTo>
                    <a:pt x="7000" y="7638"/>
                  </a:lnTo>
                  <a:cubicBezTo>
                    <a:pt x="7083" y="7334"/>
                    <a:pt x="7165" y="7030"/>
                    <a:pt x="7248" y="6726"/>
                  </a:cubicBezTo>
                  <a:lnTo>
                    <a:pt x="8000" y="5748"/>
                  </a:lnTo>
                  <a:lnTo>
                    <a:pt x="8000" y="5276"/>
                  </a:lnTo>
                  <a:cubicBezTo>
                    <a:pt x="8101" y="4899"/>
                    <a:pt x="8203" y="4522"/>
                    <a:pt x="8304" y="4145"/>
                  </a:cubicBezTo>
                  <a:lnTo>
                    <a:pt x="9000" y="3386"/>
                  </a:lnTo>
                  <a:cubicBezTo>
                    <a:pt x="9050" y="3079"/>
                    <a:pt x="9101" y="2772"/>
                    <a:pt x="9151" y="2465"/>
                  </a:cubicBezTo>
                  <a:lnTo>
                    <a:pt x="10000" y="1496"/>
                  </a:lnTo>
                  <a:lnTo>
                    <a:pt x="9000" y="1024"/>
                  </a:lnTo>
                  <a:lnTo>
                    <a:pt x="8000" y="472"/>
                  </a:lnTo>
                  <a:lnTo>
                    <a:pt x="5000" y="0"/>
                  </a:lnTo>
                  <a:lnTo>
                    <a:pt x="3000" y="472"/>
                  </a:lnTo>
                  <a:lnTo>
                    <a:pt x="2000" y="1024"/>
                  </a:lnTo>
                  <a:lnTo>
                    <a:pt x="1235" y="1429"/>
                  </a:lnTo>
                  <a:lnTo>
                    <a:pt x="2000" y="2913"/>
                  </a:lnTo>
                  <a:lnTo>
                    <a:pt x="2000" y="4803"/>
                  </a:lnTo>
                  <a:lnTo>
                    <a:pt x="229" y="6206"/>
                  </a:lnTo>
                  <a:cubicBezTo>
                    <a:pt x="153" y="6526"/>
                    <a:pt x="76" y="6845"/>
                    <a:pt x="0" y="7165"/>
                  </a:cubicBezTo>
                  <a:lnTo>
                    <a:pt x="650" y="7719"/>
                  </a:lnTo>
                  <a:lnTo>
                    <a:pt x="2000" y="7638"/>
                  </a:lnTo>
                  <a:lnTo>
                    <a:pt x="1133" y="10397"/>
                  </a:lnTo>
                  <a:lnTo>
                    <a:pt x="6483" y="10437"/>
                  </a:lnTo>
                  <a:cubicBezTo>
                    <a:pt x="6656" y="10000"/>
                    <a:pt x="7005" y="9867"/>
                    <a:pt x="7178" y="9430"/>
                  </a:cubicBezTo>
                  <a:cubicBezTo>
                    <a:pt x="7119" y="9305"/>
                    <a:pt x="7059" y="9180"/>
                    <a:pt x="7000" y="9055"/>
                  </a:cubicBezTo>
                  <a:lnTo>
                    <a:pt x="7000" y="8110"/>
                  </a:ln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112" name="AT"/>
            <p:cNvSpPr>
              <a:spLocks/>
            </p:cNvSpPr>
            <p:nvPr/>
          </p:nvSpPr>
          <p:spPr bwMode="auto">
            <a:xfrm>
              <a:off x="4538533" y="3056728"/>
              <a:ext cx="190498" cy="84137"/>
            </a:xfrm>
            <a:custGeom>
              <a:avLst/>
              <a:gdLst>
                <a:gd name="T0" fmla="*/ 66415882 w 10000"/>
                <a:gd name="T1" fmla="*/ 3253953 h 10000"/>
                <a:gd name="T2" fmla="*/ 69306034 w 10000"/>
                <a:gd name="T3" fmla="*/ 2168926 h 10000"/>
                <a:gd name="T4" fmla="*/ 69306034 w 10000"/>
                <a:gd name="T5" fmla="*/ 2168926 h 10000"/>
                <a:gd name="T6" fmla="*/ 66415882 w 10000"/>
                <a:gd name="T7" fmla="*/ 1084463 h 10000"/>
                <a:gd name="T8" fmla="*/ 66415882 w 10000"/>
                <a:gd name="T9" fmla="*/ 542194 h 10000"/>
                <a:gd name="T10" fmla="*/ 63532969 w 10000"/>
                <a:gd name="T11" fmla="*/ 542194 h 10000"/>
                <a:gd name="T12" fmla="*/ 51979620 w 10000"/>
                <a:gd name="T13" fmla="*/ 0 h 10000"/>
                <a:gd name="T14" fmla="*/ 49089450 w 10000"/>
                <a:gd name="T15" fmla="*/ 542194 h 10000"/>
                <a:gd name="T16" fmla="*/ 40426253 w 10000"/>
                <a:gd name="T17" fmla="*/ 542194 h 10000"/>
                <a:gd name="T18" fmla="*/ 37542997 w 10000"/>
                <a:gd name="T19" fmla="*/ 1084463 h 10000"/>
                <a:gd name="T20" fmla="*/ 31763037 w 10000"/>
                <a:gd name="T21" fmla="*/ 1626657 h 10000"/>
                <a:gd name="T22" fmla="*/ 34653188 w 10000"/>
                <a:gd name="T23" fmla="*/ 2711120 h 10000"/>
                <a:gd name="T24" fmla="*/ 31763037 w 10000"/>
                <a:gd name="T25" fmla="*/ 3253953 h 10000"/>
                <a:gd name="T26" fmla="*/ 28879781 w 10000"/>
                <a:gd name="T27" fmla="*/ 3253953 h 10000"/>
                <a:gd name="T28" fmla="*/ 17326413 w 10000"/>
                <a:gd name="T29" fmla="*/ 3796155 h 10000"/>
                <a:gd name="T30" fmla="*/ 11553368 w 10000"/>
                <a:gd name="T31" fmla="*/ 3796155 h 10000"/>
                <a:gd name="T32" fmla="*/ 2890152 w 10000"/>
                <a:gd name="T33" fmla="*/ 3796155 h 10000"/>
                <a:gd name="T34" fmla="*/ 0 w 10000"/>
                <a:gd name="T35" fmla="*/ 3796155 h 10000"/>
                <a:gd name="T36" fmla="*/ 2890152 w 10000"/>
                <a:gd name="T37" fmla="*/ 4338416 h 10000"/>
                <a:gd name="T38" fmla="*/ 8663216 w 10000"/>
                <a:gd name="T39" fmla="*/ 5422879 h 10000"/>
                <a:gd name="T40" fmla="*/ 11553368 w 10000"/>
                <a:gd name="T41" fmla="*/ 5965081 h 10000"/>
                <a:gd name="T42" fmla="*/ 14436623 w 10000"/>
                <a:gd name="T43" fmla="*/ 5422879 h 10000"/>
                <a:gd name="T44" fmla="*/ 25989629 w 10000"/>
                <a:gd name="T45" fmla="*/ 5422879 h 10000"/>
                <a:gd name="T46" fmla="*/ 37542997 w 10000"/>
                <a:gd name="T47" fmla="*/ 5965081 h 10000"/>
                <a:gd name="T48" fmla="*/ 40426253 w 10000"/>
                <a:gd name="T49" fmla="*/ 5965081 h 10000"/>
                <a:gd name="T50" fmla="*/ 51979620 w 10000"/>
                <a:gd name="T51" fmla="*/ 5965081 h 10000"/>
                <a:gd name="T52" fmla="*/ 60642818 w 10000"/>
                <a:gd name="T53" fmla="*/ 4880618 h 10000"/>
                <a:gd name="T54" fmla="*/ 63532969 w 10000"/>
                <a:gd name="T55" fmla="*/ 4880618 h 10000"/>
                <a:gd name="T56" fmla="*/ 66415882 w 10000"/>
                <a:gd name="T57" fmla="*/ 3253953 h 10000"/>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0000" h="10000">
                  <a:moveTo>
                    <a:pt x="9583" y="5455"/>
                  </a:moveTo>
                  <a:lnTo>
                    <a:pt x="10000" y="3636"/>
                  </a:lnTo>
                  <a:lnTo>
                    <a:pt x="9583" y="1818"/>
                  </a:lnTo>
                  <a:lnTo>
                    <a:pt x="9583" y="909"/>
                  </a:lnTo>
                  <a:lnTo>
                    <a:pt x="9167" y="909"/>
                  </a:lnTo>
                  <a:lnTo>
                    <a:pt x="7500" y="0"/>
                  </a:lnTo>
                  <a:lnTo>
                    <a:pt x="7083" y="909"/>
                  </a:lnTo>
                  <a:lnTo>
                    <a:pt x="5833" y="909"/>
                  </a:lnTo>
                  <a:lnTo>
                    <a:pt x="5417" y="1818"/>
                  </a:lnTo>
                  <a:lnTo>
                    <a:pt x="4583" y="2727"/>
                  </a:lnTo>
                  <a:lnTo>
                    <a:pt x="5000" y="4545"/>
                  </a:lnTo>
                  <a:cubicBezTo>
                    <a:pt x="5000" y="4545"/>
                    <a:pt x="5000" y="5455"/>
                    <a:pt x="4583" y="5455"/>
                  </a:cubicBezTo>
                  <a:lnTo>
                    <a:pt x="4167" y="5455"/>
                  </a:lnTo>
                  <a:lnTo>
                    <a:pt x="2500" y="6364"/>
                  </a:lnTo>
                  <a:lnTo>
                    <a:pt x="1667" y="6364"/>
                  </a:lnTo>
                  <a:lnTo>
                    <a:pt x="417" y="6364"/>
                  </a:lnTo>
                  <a:lnTo>
                    <a:pt x="0" y="6364"/>
                  </a:lnTo>
                  <a:lnTo>
                    <a:pt x="417" y="7273"/>
                  </a:lnTo>
                  <a:lnTo>
                    <a:pt x="1250" y="9091"/>
                  </a:lnTo>
                  <a:lnTo>
                    <a:pt x="1667" y="10000"/>
                  </a:lnTo>
                  <a:lnTo>
                    <a:pt x="2083" y="9091"/>
                  </a:lnTo>
                  <a:lnTo>
                    <a:pt x="3750" y="9091"/>
                  </a:lnTo>
                  <a:lnTo>
                    <a:pt x="5417" y="10000"/>
                  </a:lnTo>
                  <a:lnTo>
                    <a:pt x="5833" y="10000"/>
                  </a:lnTo>
                  <a:lnTo>
                    <a:pt x="7500" y="10000"/>
                  </a:lnTo>
                  <a:lnTo>
                    <a:pt x="8750" y="8182"/>
                  </a:lnTo>
                  <a:lnTo>
                    <a:pt x="9167" y="8182"/>
                  </a:lnTo>
                  <a:cubicBezTo>
                    <a:pt x="9306" y="7273"/>
                    <a:pt x="9444" y="6364"/>
                    <a:pt x="9583" y="5455"/>
                  </a:cubicBez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113" name="DE"/>
            <p:cNvSpPr>
              <a:spLocks/>
            </p:cNvSpPr>
            <p:nvPr/>
          </p:nvSpPr>
          <p:spPr bwMode="auto">
            <a:xfrm>
              <a:off x="4462334" y="2820193"/>
              <a:ext cx="200023" cy="292098"/>
            </a:xfrm>
            <a:custGeom>
              <a:avLst/>
              <a:gdLst>
                <a:gd name="T0" fmla="*/ 13625735 w 10045"/>
                <a:gd name="T1" fmla="*/ 64787162 h 10019"/>
                <a:gd name="T2" fmla="*/ 10899242 w 10045"/>
                <a:gd name="T3" fmla="*/ 77774169 h 10019"/>
                <a:gd name="T4" fmla="*/ 10899242 w 10045"/>
                <a:gd name="T5" fmla="*/ 97217726 h 10019"/>
                <a:gd name="T6" fmla="*/ 5453384 w 10045"/>
                <a:gd name="T7" fmla="*/ 110154586 h 10019"/>
                <a:gd name="T8" fmla="*/ 5453384 w 10045"/>
                <a:gd name="T9" fmla="*/ 129598143 h 10019"/>
                <a:gd name="T10" fmla="*/ 2726891 w 10045"/>
                <a:gd name="T11" fmla="*/ 142560514 h 10019"/>
                <a:gd name="T12" fmla="*/ 2726891 w 10045"/>
                <a:gd name="T13" fmla="*/ 142560514 h 10019"/>
                <a:gd name="T14" fmla="*/ 5453384 w 10045"/>
                <a:gd name="T15" fmla="*/ 155522856 h 10019"/>
                <a:gd name="T16" fmla="*/ 2726891 w 10045"/>
                <a:gd name="T17" fmla="*/ 168510738 h 10019"/>
                <a:gd name="T18" fmla="*/ 0 w 10045"/>
                <a:gd name="T19" fmla="*/ 181422934 h 10019"/>
                <a:gd name="T20" fmla="*/ 8172350 w 10045"/>
                <a:gd name="T21" fmla="*/ 187928784 h 10019"/>
                <a:gd name="T22" fmla="*/ 13625735 w 10045"/>
                <a:gd name="T23" fmla="*/ 194409970 h 10019"/>
                <a:gd name="T24" fmla="*/ 21806011 w 10045"/>
                <a:gd name="T25" fmla="*/ 200891126 h 10019"/>
                <a:gd name="T26" fmla="*/ 17625060 w 10045"/>
                <a:gd name="T27" fmla="*/ 207074818 h 10019"/>
                <a:gd name="T28" fmla="*/ 14605927 w 10045"/>
                <a:gd name="T29" fmla="*/ 233967698 h 10019"/>
                <a:gd name="T30" fmla="*/ 16384347 w 10045"/>
                <a:gd name="T31" fmla="*/ 241814806 h 10019"/>
                <a:gd name="T32" fmla="*/ 27251848 w 10045"/>
                <a:gd name="T33" fmla="*/ 239778240 h 10019"/>
                <a:gd name="T34" fmla="*/ 32705232 w 10045"/>
                <a:gd name="T35" fmla="*/ 246259425 h 10019"/>
                <a:gd name="T36" fmla="*/ 35273916 w 10045"/>
                <a:gd name="T37" fmla="*/ 248643631 h 10019"/>
                <a:gd name="T38" fmla="*/ 37210146 w 10045"/>
                <a:gd name="T39" fmla="*/ 248295991 h 10019"/>
                <a:gd name="T40" fmla="*/ 43604474 w 10045"/>
                <a:gd name="T41" fmla="*/ 246259425 h 10019"/>
                <a:gd name="T42" fmla="*/ 49057859 w 10045"/>
                <a:gd name="T43" fmla="*/ 246259425 h 10019"/>
                <a:gd name="T44" fmla="*/ 59956702 w 10045"/>
                <a:gd name="T45" fmla="*/ 239778240 h 10019"/>
                <a:gd name="T46" fmla="*/ 66019142 w 10045"/>
                <a:gd name="T47" fmla="*/ 239107596 h 10019"/>
                <a:gd name="T48" fmla="*/ 67947427 w 10045"/>
                <a:gd name="T49" fmla="*/ 232626411 h 10019"/>
                <a:gd name="T50" fmla="*/ 65694781 w 10045"/>
                <a:gd name="T51" fmla="*/ 220310047 h 10019"/>
                <a:gd name="T52" fmla="*/ 69567620 w 10045"/>
                <a:gd name="T53" fmla="*/ 215244085 h 10019"/>
                <a:gd name="T54" fmla="*/ 72768756 w 10045"/>
                <a:gd name="T55" fmla="*/ 210427190 h 10019"/>
                <a:gd name="T56" fmla="*/ 74357228 w 10045"/>
                <a:gd name="T57" fmla="*/ 208738264 h 10019"/>
                <a:gd name="T58" fmla="*/ 70200073 w 10045"/>
                <a:gd name="T59" fmla="*/ 199525204 h 10019"/>
                <a:gd name="T60" fmla="*/ 63956027 w 10045"/>
                <a:gd name="T61" fmla="*/ 180752290 h 10019"/>
                <a:gd name="T62" fmla="*/ 57862264 w 10045"/>
                <a:gd name="T63" fmla="*/ 167840094 h 10019"/>
                <a:gd name="T64" fmla="*/ 56099714 w 10045"/>
                <a:gd name="T65" fmla="*/ 161334244 h 10019"/>
                <a:gd name="T66" fmla="*/ 59956702 w 10045"/>
                <a:gd name="T67" fmla="*/ 155522856 h 10019"/>
                <a:gd name="T68" fmla="*/ 65410485 w 10045"/>
                <a:gd name="T69" fmla="*/ 149041671 h 10019"/>
                <a:gd name="T70" fmla="*/ 71812340 w 10045"/>
                <a:gd name="T71" fmla="*/ 143578797 h 10019"/>
                <a:gd name="T72" fmla="*/ 74214890 w 10045"/>
                <a:gd name="T73" fmla="*/ 138488199 h 10019"/>
                <a:gd name="T74" fmla="*/ 79036200 w 10045"/>
                <a:gd name="T75" fmla="*/ 142560514 h 10019"/>
                <a:gd name="T76" fmla="*/ 79036200 w 10045"/>
                <a:gd name="T77" fmla="*/ 136104810 h 10019"/>
                <a:gd name="T78" fmla="*/ 79036200 w 10045"/>
                <a:gd name="T79" fmla="*/ 116635772 h 10019"/>
                <a:gd name="T80" fmla="*/ 76309309 w 10045"/>
                <a:gd name="T81" fmla="*/ 90736540 h 10019"/>
                <a:gd name="T82" fmla="*/ 76309309 w 10045"/>
                <a:gd name="T83" fmla="*/ 71293012 h 10019"/>
                <a:gd name="T84" fmla="*/ 76309309 w 10045"/>
                <a:gd name="T85" fmla="*/ 64787162 h 10019"/>
                <a:gd name="T86" fmla="*/ 73582815 w 10045"/>
                <a:gd name="T87" fmla="*/ 45368270 h 10019"/>
                <a:gd name="T88" fmla="*/ 73582815 w 10045"/>
                <a:gd name="T89" fmla="*/ 32405899 h 10019"/>
                <a:gd name="T90" fmla="*/ 62683594 w 10045"/>
                <a:gd name="T91" fmla="*/ 19443557 h 10019"/>
                <a:gd name="T92" fmla="*/ 51784352 w 10045"/>
                <a:gd name="T93" fmla="*/ 32405899 h 10019"/>
                <a:gd name="T94" fmla="*/ 46330967 w 10045"/>
                <a:gd name="T95" fmla="*/ 25924713 h 10019"/>
                <a:gd name="T96" fmla="*/ 46330967 w 10045"/>
                <a:gd name="T97" fmla="*/ 12962371 h 10019"/>
                <a:gd name="T98" fmla="*/ 38158617 w 10045"/>
                <a:gd name="T99" fmla="*/ 6481186 h 10019"/>
                <a:gd name="T100" fmla="*/ 38158617 w 10045"/>
                <a:gd name="T101" fmla="*/ 6481186 h 10019"/>
                <a:gd name="T102" fmla="*/ 32705232 w 10045"/>
                <a:gd name="T103" fmla="*/ 0 h 10019"/>
                <a:gd name="T104" fmla="*/ 29978341 w 10045"/>
                <a:gd name="T105" fmla="*/ 6481186 h 10019"/>
                <a:gd name="T106" fmla="*/ 29978341 w 10045"/>
                <a:gd name="T107" fmla="*/ 6481186 h 10019"/>
                <a:gd name="T108" fmla="*/ 27251848 w 10045"/>
                <a:gd name="T109" fmla="*/ 32405899 h 10019"/>
                <a:gd name="T110" fmla="*/ 24524957 w 10045"/>
                <a:gd name="T111" fmla="*/ 45368270 h 10019"/>
                <a:gd name="T112" fmla="*/ 19079518 w 10045"/>
                <a:gd name="T113" fmla="*/ 45368270 h 10019"/>
                <a:gd name="T114" fmla="*/ 13625735 w 10045"/>
                <a:gd name="T115" fmla="*/ 45368270 h 10019"/>
                <a:gd name="T116" fmla="*/ 13625735 w 10045"/>
                <a:gd name="T117" fmla="*/ 51849456 h 10019"/>
                <a:gd name="T118" fmla="*/ 13625735 w 10045"/>
                <a:gd name="T119" fmla="*/ 64787162 h 1001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0045" h="10019">
                  <a:moveTo>
                    <a:pt x="1724" y="2609"/>
                  </a:moveTo>
                  <a:lnTo>
                    <a:pt x="1379" y="3132"/>
                  </a:lnTo>
                  <a:lnTo>
                    <a:pt x="1379" y="3915"/>
                  </a:lnTo>
                  <a:lnTo>
                    <a:pt x="690" y="4436"/>
                  </a:lnTo>
                  <a:lnTo>
                    <a:pt x="690" y="5219"/>
                  </a:lnTo>
                  <a:lnTo>
                    <a:pt x="345" y="5741"/>
                  </a:lnTo>
                  <a:lnTo>
                    <a:pt x="690" y="6263"/>
                  </a:lnTo>
                  <a:lnTo>
                    <a:pt x="345" y="6786"/>
                  </a:lnTo>
                  <a:lnTo>
                    <a:pt x="0" y="7306"/>
                  </a:lnTo>
                  <a:lnTo>
                    <a:pt x="1034" y="7568"/>
                  </a:lnTo>
                  <a:lnTo>
                    <a:pt x="1724" y="7829"/>
                  </a:lnTo>
                  <a:cubicBezTo>
                    <a:pt x="2069" y="7916"/>
                    <a:pt x="2675" y="8005"/>
                    <a:pt x="2759" y="8090"/>
                  </a:cubicBezTo>
                  <a:cubicBezTo>
                    <a:pt x="2843" y="8175"/>
                    <a:pt x="2382" y="8117"/>
                    <a:pt x="2230" y="8339"/>
                  </a:cubicBezTo>
                  <a:cubicBezTo>
                    <a:pt x="2078" y="8560"/>
                    <a:pt x="1874" y="9189"/>
                    <a:pt x="1848" y="9422"/>
                  </a:cubicBezTo>
                  <a:cubicBezTo>
                    <a:pt x="1822" y="9656"/>
                    <a:pt x="1806" y="9700"/>
                    <a:pt x="2073" y="9738"/>
                  </a:cubicBezTo>
                  <a:cubicBezTo>
                    <a:pt x="2340" y="9777"/>
                    <a:pt x="3104" y="9626"/>
                    <a:pt x="3448" y="9656"/>
                  </a:cubicBezTo>
                  <a:cubicBezTo>
                    <a:pt x="3792" y="9686"/>
                    <a:pt x="3969" y="9858"/>
                    <a:pt x="4138" y="9917"/>
                  </a:cubicBezTo>
                  <a:cubicBezTo>
                    <a:pt x="4307" y="9976"/>
                    <a:pt x="4368" y="9999"/>
                    <a:pt x="4463" y="10013"/>
                  </a:cubicBezTo>
                  <a:cubicBezTo>
                    <a:pt x="4558" y="10027"/>
                    <a:pt x="4532" y="10015"/>
                    <a:pt x="4708" y="9999"/>
                  </a:cubicBezTo>
                  <a:cubicBezTo>
                    <a:pt x="4884" y="9983"/>
                    <a:pt x="5267" y="9931"/>
                    <a:pt x="5517" y="9917"/>
                  </a:cubicBezTo>
                  <a:cubicBezTo>
                    <a:pt x="5767" y="9903"/>
                    <a:pt x="5977" y="9917"/>
                    <a:pt x="6207" y="9917"/>
                  </a:cubicBezTo>
                  <a:cubicBezTo>
                    <a:pt x="6667" y="9830"/>
                    <a:pt x="7228" y="9704"/>
                    <a:pt x="7586" y="9656"/>
                  </a:cubicBezTo>
                  <a:cubicBezTo>
                    <a:pt x="7944" y="9608"/>
                    <a:pt x="8185" y="9677"/>
                    <a:pt x="8353" y="9629"/>
                  </a:cubicBezTo>
                  <a:cubicBezTo>
                    <a:pt x="8521" y="9581"/>
                    <a:pt x="8604" y="9494"/>
                    <a:pt x="8597" y="9368"/>
                  </a:cubicBezTo>
                  <a:cubicBezTo>
                    <a:pt x="8590" y="9242"/>
                    <a:pt x="8278" y="8989"/>
                    <a:pt x="8312" y="8872"/>
                  </a:cubicBezTo>
                  <a:cubicBezTo>
                    <a:pt x="8346" y="8755"/>
                    <a:pt x="8653" y="8734"/>
                    <a:pt x="8802" y="8668"/>
                  </a:cubicBezTo>
                  <a:cubicBezTo>
                    <a:pt x="8951" y="8602"/>
                    <a:pt x="9106" y="8518"/>
                    <a:pt x="9207" y="8474"/>
                  </a:cubicBezTo>
                  <a:cubicBezTo>
                    <a:pt x="9308" y="8430"/>
                    <a:pt x="9462" y="8479"/>
                    <a:pt x="9408" y="8406"/>
                  </a:cubicBezTo>
                  <a:cubicBezTo>
                    <a:pt x="9354" y="8333"/>
                    <a:pt x="9101" y="8223"/>
                    <a:pt x="8882" y="8035"/>
                  </a:cubicBezTo>
                  <a:cubicBezTo>
                    <a:pt x="8663" y="7847"/>
                    <a:pt x="8352" y="7492"/>
                    <a:pt x="8092" y="7279"/>
                  </a:cubicBezTo>
                  <a:cubicBezTo>
                    <a:pt x="7832" y="7066"/>
                    <a:pt x="7487" y="6889"/>
                    <a:pt x="7321" y="6759"/>
                  </a:cubicBezTo>
                  <a:cubicBezTo>
                    <a:pt x="7155" y="6629"/>
                    <a:pt x="7054" y="6580"/>
                    <a:pt x="7098" y="6497"/>
                  </a:cubicBezTo>
                  <a:cubicBezTo>
                    <a:pt x="7142" y="6414"/>
                    <a:pt x="7390" y="6345"/>
                    <a:pt x="7586" y="6263"/>
                  </a:cubicBezTo>
                  <a:cubicBezTo>
                    <a:pt x="7782" y="6181"/>
                    <a:pt x="8026" y="6082"/>
                    <a:pt x="8276" y="6002"/>
                  </a:cubicBezTo>
                  <a:cubicBezTo>
                    <a:pt x="8526" y="5922"/>
                    <a:pt x="8900" y="5853"/>
                    <a:pt x="9086" y="5782"/>
                  </a:cubicBezTo>
                  <a:cubicBezTo>
                    <a:pt x="9272" y="5711"/>
                    <a:pt x="9238" y="5584"/>
                    <a:pt x="9390" y="5577"/>
                  </a:cubicBezTo>
                  <a:cubicBezTo>
                    <a:pt x="9542" y="5570"/>
                    <a:pt x="9898" y="5757"/>
                    <a:pt x="10000" y="5741"/>
                  </a:cubicBezTo>
                  <a:cubicBezTo>
                    <a:pt x="10102" y="5725"/>
                    <a:pt x="10000" y="5568"/>
                    <a:pt x="10000" y="5481"/>
                  </a:cubicBezTo>
                  <a:lnTo>
                    <a:pt x="10000" y="4697"/>
                  </a:lnTo>
                  <a:cubicBezTo>
                    <a:pt x="9655" y="4697"/>
                    <a:pt x="9655" y="3654"/>
                    <a:pt x="9655" y="3654"/>
                  </a:cubicBezTo>
                  <a:lnTo>
                    <a:pt x="9655" y="2871"/>
                  </a:lnTo>
                  <a:lnTo>
                    <a:pt x="9655" y="2609"/>
                  </a:lnTo>
                  <a:lnTo>
                    <a:pt x="9310" y="1827"/>
                  </a:lnTo>
                  <a:lnTo>
                    <a:pt x="9310" y="1305"/>
                  </a:lnTo>
                  <a:lnTo>
                    <a:pt x="7931" y="783"/>
                  </a:lnTo>
                  <a:lnTo>
                    <a:pt x="6552" y="1305"/>
                  </a:lnTo>
                  <a:cubicBezTo>
                    <a:pt x="6552" y="1305"/>
                    <a:pt x="6207" y="1305"/>
                    <a:pt x="5862" y="1044"/>
                  </a:cubicBezTo>
                  <a:lnTo>
                    <a:pt x="5862" y="522"/>
                  </a:lnTo>
                  <a:lnTo>
                    <a:pt x="4828" y="261"/>
                  </a:lnTo>
                  <a:lnTo>
                    <a:pt x="4138" y="0"/>
                  </a:lnTo>
                  <a:lnTo>
                    <a:pt x="3793" y="261"/>
                  </a:lnTo>
                  <a:lnTo>
                    <a:pt x="3448" y="1305"/>
                  </a:lnTo>
                  <a:lnTo>
                    <a:pt x="3103" y="1827"/>
                  </a:lnTo>
                  <a:lnTo>
                    <a:pt x="2414" y="1827"/>
                  </a:lnTo>
                  <a:lnTo>
                    <a:pt x="1724" y="1827"/>
                  </a:lnTo>
                  <a:lnTo>
                    <a:pt x="1724" y="2088"/>
                  </a:lnTo>
                  <a:lnTo>
                    <a:pt x="1724" y="2609"/>
                  </a:ln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114" name="NL"/>
            <p:cNvSpPr>
              <a:spLocks/>
            </p:cNvSpPr>
            <p:nvPr/>
          </p:nvSpPr>
          <p:spPr bwMode="auto">
            <a:xfrm>
              <a:off x="4436934" y="2880517"/>
              <a:ext cx="76199" cy="101599"/>
            </a:xfrm>
            <a:custGeom>
              <a:avLst/>
              <a:gdLst>
                <a:gd name="T0" fmla="*/ 2147483647 w 66"/>
                <a:gd name="T1" fmla="*/ 2147483647 h 90"/>
                <a:gd name="T2" fmla="*/ 2147483647 w 66"/>
                <a:gd name="T3" fmla="*/ 2147483647 h 90"/>
                <a:gd name="T4" fmla="*/ 2147483647 w 66"/>
                <a:gd name="T5" fmla="*/ 2147483647 h 90"/>
                <a:gd name="T6" fmla="*/ 2147483647 w 66"/>
                <a:gd name="T7" fmla="*/ 2147483647 h 90"/>
                <a:gd name="T8" fmla="*/ 2147483647 w 66"/>
                <a:gd name="T9" fmla="*/ 2147483647 h 90"/>
                <a:gd name="T10" fmla="*/ 2147483647 w 66"/>
                <a:gd name="T11" fmla="*/ 2147483647 h 90"/>
                <a:gd name="T12" fmla="*/ 2147483647 w 66"/>
                <a:gd name="T13" fmla="*/ 2147483647 h 90"/>
                <a:gd name="T14" fmla="*/ 2147483647 w 66"/>
                <a:gd name="T15" fmla="*/ 2147483647 h 90"/>
                <a:gd name="T16" fmla="*/ 2147483647 w 66"/>
                <a:gd name="T17" fmla="*/ 2147483647 h 90"/>
                <a:gd name="T18" fmla="*/ 2147483647 w 66"/>
                <a:gd name="T19" fmla="*/ 2147483647 h 90"/>
                <a:gd name="T20" fmla="*/ 2147483647 w 66"/>
                <a:gd name="T21" fmla="*/ 0 h 90"/>
                <a:gd name="T22" fmla="*/ 2147483647 w 66"/>
                <a:gd name="T23" fmla="*/ 2147483647 h 90"/>
                <a:gd name="T24" fmla="*/ 2147483647 w 66"/>
                <a:gd name="T25" fmla="*/ 2147483647 h 90"/>
                <a:gd name="T26" fmla="*/ 2147483647 w 66"/>
                <a:gd name="T27" fmla="*/ 2147483647 h 90"/>
                <a:gd name="T28" fmla="*/ 2147483647 w 66"/>
                <a:gd name="T29" fmla="*/ 2147483647 h 90"/>
                <a:gd name="T30" fmla="*/ 2147483647 w 66"/>
                <a:gd name="T31" fmla="*/ 2147483647 h 90"/>
                <a:gd name="T32" fmla="*/ 0 w 66"/>
                <a:gd name="T33" fmla="*/ 2147483647 h 90"/>
                <a:gd name="T34" fmla="*/ 2147483647 w 66"/>
                <a:gd name="T35" fmla="*/ 2147483647 h 90"/>
                <a:gd name="T36" fmla="*/ 2147483647 w 66"/>
                <a:gd name="T37" fmla="*/ 2147483647 h 9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6" h="90">
                  <a:moveTo>
                    <a:pt x="18" y="72"/>
                  </a:moveTo>
                  <a:lnTo>
                    <a:pt x="30" y="78"/>
                  </a:lnTo>
                  <a:lnTo>
                    <a:pt x="36" y="84"/>
                  </a:lnTo>
                  <a:lnTo>
                    <a:pt x="42" y="90"/>
                  </a:lnTo>
                  <a:lnTo>
                    <a:pt x="48" y="78"/>
                  </a:lnTo>
                  <a:lnTo>
                    <a:pt x="48" y="60"/>
                  </a:lnTo>
                  <a:lnTo>
                    <a:pt x="60" y="48"/>
                  </a:lnTo>
                  <a:lnTo>
                    <a:pt x="60" y="30"/>
                  </a:lnTo>
                  <a:lnTo>
                    <a:pt x="66" y="18"/>
                  </a:lnTo>
                  <a:lnTo>
                    <a:pt x="66" y="6"/>
                  </a:lnTo>
                  <a:lnTo>
                    <a:pt x="66" y="0"/>
                  </a:lnTo>
                  <a:lnTo>
                    <a:pt x="54" y="6"/>
                  </a:lnTo>
                  <a:lnTo>
                    <a:pt x="36" y="12"/>
                  </a:lnTo>
                  <a:lnTo>
                    <a:pt x="36" y="30"/>
                  </a:lnTo>
                  <a:lnTo>
                    <a:pt x="24" y="18"/>
                  </a:lnTo>
                  <a:lnTo>
                    <a:pt x="12" y="54"/>
                  </a:lnTo>
                  <a:lnTo>
                    <a:pt x="0" y="66"/>
                  </a:lnTo>
                  <a:lnTo>
                    <a:pt x="6" y="72"/>
                  </a:lnTo>
                  <a:lnTo>
                    <a:pt x="18" y="72"/>
                  </a:ln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115" name="GR"/>
            <p:cNvSpPr>
              <a:spLocks/>
            </p:cNvSpPr>
            <p:nvPr/>
          </p:nvSpPr>
          <p:spPr bwMode="auto">
            <a:xfrm rot="20966185">
              <a:off x="4817930" y="3313901"/>
              <a:ext cx="158748" cy="161111"/>
            </a:xfrm>
            <a:custGeom>
              <a:avLst/>
              <a:gdLst>
                <a:gd name="T0" fmla="*/ 40259588 w 9874"/>
                <a:gd name="T1" fmla="*/ 3222024 h 10000"/>
                <a:gd name="T2" fmla="*/ 41079255 w 9874"/>
                <a:gd name="T3" fmla="*/ 2143737 h 10000"/>
                <a:gd name="T4" fmla="*/ 38370811 w 9874"/>
                <a:gd name="T5" fmla="*/ 2139192 h 10000"/>
                <a:gd name="T6" fmla="*/ 36665044 w 9874"/>
                <a:gd name="T7" fmla="*/ 0 h 10000"/>
                <a:gd name="T8" fmla="*/ 24138425 w 9874"/>
                <a:gd name="T9" fmla="*/ 1310622 h 10000"/>
                <a:gd name="T10" fmla="*/ 16179574 w 9874"/>
                <a:gd name="T11" fmla="*/ 4795722 h 10000"/>
                <a:gd name="T12" fmla="*/ 6935240 w 9874"/>
                <a:gd name="T13" fmla="*/ 6961386 h 10000"/>
                <a:gd name="T14" fmla="*/ 6935240 w 9874"/>
                <a:gd name="T15" fmla="*/ 9131056 h 10000"/>
                <a:gd name="T16" fmla="*/ 4622030 w 9874"/>
                <a:gd name="T17" fmla="*/ 13470920 h 10000"/>
                <a:gd name="T18" fmla="*/ 0 w 9874"/>
                <a:gd name="T19" fmla="*/ 17806517 h 10000"/>
                <a:gd name="T20" fmla="*/ 4622030 w 9874"/>
                <a:gd name="T21" fmla="*/ 24316313 h 10000"/>
                <a:gd name="T22" fmla="*/ 13866364 w 9874"/>
                <a:gd name="T23" fmla="*/ 26485983 h 10000"/>
                <a:gd name="T24" fmla="*/ 9244318 w 9874"/>
                <a:gd name="T25" fmla="*/ 30821579 h 10000"/>
                <a:gd name="T26" fmla="*/ 9244318 w 9874"/>
                <a:gd name="T27" fmla="*/ 39496761 h 10000"/>
                <a:gd name="T28" fmla="*/ 18492783 w 9874"/>
                <a:gd name="T29" fmla="*/ 43836625 h 10000"/>
                <a:gd name="T30" fmla="*/ 23110682 w 9874"/>
                <a:gd name="T31" fmla="*/ 39496761 h 10000"/>
                <a:gd name="T32" fmla="*/ 23110682 w 9874"/>
                <a:gd name="T33" fmla="*/ 35161443 h 10000"/>
                <a:gd name="T34" fmla="*/ 32354999 w 9874"/>
                <a:gd name="T35" fmla="*/ 30821579 h 10000"/>
                <a:gd name="T36" fmla="*/ 23110682 w 9874"/>
                <a:gd name="T37" fmla="*/ 22146381 h 10000"/>
                <a:gd name="T38" fmla="*/ 23110682 w 9874"/>
                <a:gd name="T39" fmla="*/ 17806517 h 10000"/>
                <a:gd name="T40" fmla="*/ 18492783 w 9874"/>
                <a:gd name="T41" fmla="*/ 11300988 h 10000"/>
                <a:gd name="T42" fmla="*/ 32354999 w 9874"/>
                <a:gd name="T43" fmla="*/ 9131056 h 10000"/>
                <a:gd name="T44" fmla="*/ 38075353 w 9874"/>
                <a:gd name="T45" fmla="*/ 7794223 h 10000"/>
                <a:gd name="T46" fmla="*/ 38187800 w 9874"/>
                <a:gd name="T47" fmla="*/ 4979936 h 10000"/>
                <a:gd name="T48" fmla="*/ 39161265 w 9874"/>
                <a:gd name="T49" fmla="*/ 3949787 h 10000"/>
                <a:gd name="T50" fmla="*/ 40259588 w 9874"/>
                <a:gd name="T51" fmla="*/ 3222024 h 1000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9874" h="10000">
                  <a:moveTo>
                    <a:pt x="9677" y="735"/>
                  </a:moveTo>
                  <a:lnTo>
                    <a:pt x="9874" y="489"/>
                  </a:lnTo>
                  <a:lnTo>
                    <a:pt x="9223" y="488"/>
                  </a:lnTo>
                  <a:lnTo>
                    <a:pt x="8813" y="0"/>
                  </a:lnTo>
                  <a:lnTo>
                    <a:pt x="5802" y="299"/>
                  </a:lnTo>
                  <a:lnTo>
                    <a:pt x="3889" y="1094"/>
                  </a:lnTo>
                  <a:lnTo>
                    <a:pt x="1667" y="1588"/>
                  </a:lnTo>
                  <a:lnTo>
                    <a:pt x="1667" y="2083"/>
                  </a:lnTo>
                  <a:lnTo>
                    <a:pt x="1111" y="3073"/>
                  </a:lnTo>
                  <a:lnTo>
                    <a:pt x="0" y="4062"/>
                  </a:lnTo>
                  <a:lnTo>
                    <a:pt x="1111" y="5547"/>
                  </a:lnTo>
                  <a:lnTo>
                    <a:pt x="3333" y="6042"/>
                  </a:lnTo>
                  <a:lnTo>
                    <a:pt x="2222" y="7031"/>
                  </a:lnTo>
                  <a:lnTo>
                    <a:pt x="2222" y="9010"/>
                  </a:lnTo>
                  <a:lnTo>
                    <a:pt x="4445" y="10000"/>
                  </a:lnTo>
                  <a:lnTo>
                    <a:pt x="5555" y="9010"/>
                  </a:lnTo>
                  <a:lnTo>
                    <a:pt x="5555" y="8021"/>
                  </a:lnTo>
                  <a:lnTo>
                    <a:pt x="7777" y="7031"/>
                  </a:lnTo>
                  <a:lnTo>
                    <a:pt x="5555" y="5052"/>
                  </a:lnTo>
                  <a:lnTo>
                    <a:pt x="5555" y="4062"/>
                  </a:lnTo>
                  <a:lnTo>
                    <a:pt x="4445" y="2578"/>
                  </a:lnTo>
                  <a:lnTo>
                    <a:pt x="7777" y="2083"/>
                  </a:lnTo>
                  <a:lnTo>
                    <a:pt x="9152" y="1778"/>
                  </a:lnTo>
                  <a:lnTo>
                    <a:pt x="9179" y="1136"/>
                  </a:lnTo>
                  <a:lnTo>
                    <a:pt x="9413" y="901"/>
                  </a:lnTo>
                  <a:lnTo>
                    <a:pt x="9677" y="735"/>
                  </a:ln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116" name="RO"/>
            <p:cNvSpPr>
              <a:spLocks/>
            </p:cNvSpPr>
            <p:nvPr/>
          </p:nvSpPr>
          <p:spPr bwMode="auto">
            <a:xfrm>
              <a:off x="4808406" y="3059903"/>
              <a:ext cx="204785" cy="168274"/>
            </a:xfrm>
            <a:custGeom>
              <a:avLst/>
              <a:gdLst>
                <a:gd name="T0" fmla="*/ 76535066 w 10000"/>
                <a:gd name="T1" fmla="*/ 22574748 h 10000"/>
                <a:gd name="T2" fmla="*/ 83691327 w 10000"/>
                <a:gd name="T3" fmla="*/ 19197435 h 10000"/>
                <a:gd name="T4" fmla="*/ 82314503 w 10000"/>
                <a:gd name="T5" fmla="*/ 11073437 h 10000"/>
                <a:gd name="T6" fmla="*/ 61804450 w 10000"/>
                <a:gd name="T7" fmla="*/ 0 h 10000"/>
                <a:gd name="T8" fmla="*/ 47671854 w 10000"/>
                <a:gd name="T9" fmla="*/ 3400804 h 10000"/>
                <a:gd name="T10" fmla="*/ 21707381 w 10000"/>
                <a:gd name="T11" fmla="*/ 5317827 h 10000"/>
                <a:gd name="T12" fmla="*/ 18817447 w 10000"/>
                <a:gd name="T13" fmla="*/ 3400804 h 10000"/>
                <a:gd name="T14" fmla="*/ 10156903 w 10000"/>
                <a:gd name="T15" fmla="*/ 12985361 h 10000"/>
                <a:gd name="T16" fmla="*/ 4385841 w 10000"/>
                <a:gd name="T17" fmla="*/ 20657725 h 10000"/>
                <a:gd name="T18" fmla="*/ 4120806 w 10000"/>
                <a:gd name="T19" fmla="*/ 21894580 h 10000"/>
                <a:gd name="T20" fmla="*/ 3607896 w 10000"/>
                <a:gd name="T21" fmla="*/ 22912274 h 10000"/>
                <a:gd name="T22" fmla="*/ 17202 w 10000"/>
                <a:gd name="T23" fmla="*/ 24567662 h 10000"/>
                <a:gd name="T24" fmla="*/ 15295111 w 10000"/>
                <a:gd name="T25" fmla="*/ 39146671 h 10000"/>
                <a:gd name="T26" fmla="*/ 24579703 w 10000"/>
                <a:gd name="T27" fmla="*/ 41743575 h 10000"/>
                <a:gd name="T28" fmla="*/ 27136223 w 10000"/>
                <a:gd name="T29" fmla="*/ 45372897 h 10000"/>
                <a:gd name="T30" fmla="*/ 47774616 w 10000"/>
                <a:gd name="T31" fmla="*/ 47532320 h 10000"/>
                <a:gd name="T32" fmla="*/ 73653959 w 10000"/>
                <a:gd name="T33" fmla="*/ 43660615 h 10000"/>
                <a:gd name="T34" fmla="*/ 76535066 w 10000"/>
                <a:gd name="T35" fmla="*/ 32159304 h 10000"/>
                <a:gd name="T36" fmla="*/ 82314503 w 10000"/>
                <a:gd name="T37" fmla="*/ 30242282 h 10000"/>
                <a:gd name="T38" fmla="*/ 81374265 w 10000"/>
                <a:gd name="T39" fmla="*/ 27526155 h 10000"/>
                <a:gd name="T40" fmla="*/ 76535066 w 10000"/>
                <a:gd name="T41" fmla="*/ 22574748 h 1000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0000" h="10000">
                  <a:moveTo>
                    <a:pt x="8952" y="4746"/>
                  </a:moveTo>
                  <a:cubicBezTo>
                    <a:pt x="8952" y="4746"/>
                    <a:pt x="9789" y="4438"/>
                    <a:pt x="9789" y="4036"/>
                  </a:cubicBezTo>
                  <a:cubicBezTo>
                    <a:pt x="10125" y="3229"/>
                    <a:pt x="10054" y="3000"/>
                    <a:pt x="9628" y="2328"/>
                  </a:cubicBezTo>
                  <a:cubicBezTo>
                    <a:pt x="9201" y="1655"/>
                    <a:pt x="8028" y="776"/>
                    <a:pt x="7229" y="0"/>
                  </a:cubicBezTo>
                  <a:cubicBezTo>
                    <a:pt x="6677" y="239"/>
                    <a:pt x="6358" y="529"/>
                    <a:pt x="5576" y="715"/>
                  </a:cubicBezTo>
                  <a:cubicBezTo>
                    <a:pt x="4794" y="901"/>
                    <a:pt x="3551" y="983"/>
                    <a:pt x="2539" y="1118"/>
                  </a:cubicBezTo>
                  <a:lnTo>
                    <a:pt x="2201" y="715"/>
                  </a:lnTo>
                  <a:lnTo>
                    <a:pt x="1188" y="2730"/>
                  </a:lnTo>
                  <a:cubicBezTo>
                    <a:pt x="963" y="3268"/>
                    <a:pt x="631" y="4031"/>
                    <a:pt x="513" y="4343"/>
                  </a:cubicBezTo>
                  <a:cubicBezTo>
                    <a:pt x="396" y="4654"/>
                    <a:pt x="496" y="4524"/>
                    <a:pt x="482" y="4603"/>
                  </a:cubicBezTo>
                  <a:cubicBezTo>
                    <a:pt x="467" y="4681"/>
                    <a:pt x="503" y="4723"/>
                    <a:pt x="422" y="4817"/>
                  </a:cubicBezTo>
                  <a:cubicBezTo>
                    <a:pt x="342" y="4911"/>
                    <a:pt x="-28" y="5153"/>
                    <a:pt x="2" y="5165"/>
                  </a:cubicBezTo>
                  <a:cubicBezTo>
                    <a:pt x="871" y="6361"/>
                    <a:pt x="1309" y="7628"/>
                    <a:pt x="1789" y="8230"/>
                  </a:cubicBezTo>
                  <a:cubicBezTo>
                    <a:pt x="2266" y="8832"/>
                    <a:pt x="2645" y="8558"/>
                    <a:pt x="2875" y="8776"/>
                  </a:cubicBezTo>
                  <a:cubicBezTo>
                    <a:pt x="3105" y="8994"/>
                    <a:pt x="2722" y="9336"/>
                    <a:pt x="3174" y="9539"/>
                  </a:cubicBezTo>
                  <a:cubicBezTo>
                    <a:pt x="3626" y="9742"/>
                    <a:pt x="4682" y="10053"/>
                    <a:pt x="5588" y="9993"/>
                  </a:cubicBezTo>
                  <a:cubicBezTo>
                    <a:pt x="6494" y="9933"/>
                    <a:pt x="8055" y="9717"/>
                    <a:pt x="8615" y="9179"/>
                  </a:cubicBezTo>
                  <a:cubicBezTo>
                    <a:pt x="9175" y="8641"/>
                    <a:pt x="8840" y="7567"/>
                    <a:pt x="8952" y="6761"/>
                  </a:cubicBezTo>
                  <a:lnTo>
                    <a:pt x="9628" y="6358"/>
                  </a:lnTo>
                  <a:cubicBezTo>
                    <a:pt x="9591" y="6168"/>
                    <a:pt x="9555" y="5977"/>
                    <a:pt x="9518" y="5787"/>
                  </a:cubicBezTo>
                  <a:cubicBezTo>
                    <a:pt x="9629" y="5384"/>
                    <a:pt x="8840" y="5149"/>
                    <a:pt x="8952" y="4746"/>
                  </a:cubicBez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117" name="CZ"/>
            <p:cNvSpPr>
              <a:spLocks/>
            </p:cNvSpPr>
            <p:nvPr/>
          </p:nvSpPr>
          <p:spPr bwMode="auto">
            <a:xfrm>
              <a:off x="4602033" y="2982117"/>
              <a:ext cx="158748" cy="82549"/>
            </a:xfrm>
            <a:custGeom>
              <a:avLst/>
              <a:gdLst>
                <a:gd name="T0" fmla="*/ 35895344 w 10569"/>
                <a:gd name="T1" fmla="*/ 3260169 h 10092"/>
                <a:gd name="T2" fmla="*/ 26280492 w 10569"/>
                <a:gd name="T3" fmla="*/ 1833956 h 10092"/>
                <a:gd name="T4" fmla="*/ 20105975 w 10569"/>
                <a:gd name="T5" fmla="*/ 917244 h 10092"/>
                <a:gd name="T6" fmla="*/ 13931458 w 10569"/>
                <a:gd name="T7" fmla="*/ 0 h 10092"/>
                <a:gd name="T8" fmla="*/ 13931458 w 10569"/>
                <a:gd name="T9" fmla="*/ 458319 h 10092"/>
                <a:gd name="T10" fmla="*/ 10844432 w 10569"/>
                <a:gd name="T11" fmla="*/ 0 h 10092"/>
                <a:gd name="T12" fmla="*/ 9298989 w 10569"/>
                <a:gd name="T13" fmla="*/ 458319 h 10092"/>
                <a:gd name="T14" fmla="*/ 6211738 w 10569"/>
                <a:gd name="T15" fmla="*/ 917244 h 10092"/>
                <a:gd name="T16" fmla="*/ 3124487 w 10569"/>
                <a:gd name="T17" fmla="*/ 1375637 h 10092"/>
                <a:gd name="T18" fmla="*/ 37446 w 10569"/>
                <a:gd name="T19" fmla="*/ 1833956 h 10092"/>
                <a:gd name="T20" fmla="*/ 1582663 w 10569"/>
                <a:gd name="T21" fmla="*/ 2453523 h 10092"/>
                <a:gd name="T22" fmla="*/ 4489881 w 10569"/>
                <a:gd name="T23" fmla="*/ 3289878 h 10092"/>
                <a:gd name="T24" fmla="*/ 7757166 w 10569"/>
                <a:gd name="T25" fmla="*/ 4585157 h 10092"/>
                <a:gd name="T26" fmla="*/ 9298989 w 10569"/>
                <a:gd name="T27" fmla="*/ 5044081 h 10092"/>
                <a:gd name="T28" fmla="*/ 10925872 w 10569"/>
                <a:gd name="T29" fmla="*/ 5553050 h 10092"/>
                <a:gd name="T30" fmla="*/ 16641728 w 10569"/>
                <a:gd name="T31" fmla="*/ 5499121 h 10092"/>
                <a:gd name="T32" fmla="*/ 18812093 w 10569"/>
                <a:gd name="T33" fmla="*/ 5040196 h 10092"/>
                <a:gd name="T34" fmla="*/ 21742997 w 10569"/>
                <a:gd name="T35" fmla="*/ 5177763 h 10092"/>
                <a:gd name="T36" fmla="*/ 21916272 w 10569"/>
                <a:gd name="T37" fmla="*/ 5191006 h 10092"/>
                <a:gd name="T38" fmla="*/ 22833159 w 10569"/>
                <a:gd name="T39" fmla="*/ 5285081 h 10092"/>
                <a:gd name="T40" fmla="*/ 26351779 w 10569"/>
                <a:gd name="T41" fmla="*/ 5526089 h 10092"/>
                <a:gd name="T42" fmla="*/ 29727586 w 10569"/>
                <a:gd name="T43" fmla="*/ 5147523 h 10092"/>
                <a:gd name="T44" fmla="*/ 35290700 w 10569"/>
                <a:gd name="T45" fmla="*/ 5368719 h 1009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0569" h="10092">
                  <a:moveTo>
                    <a:pt x="10569" y="5925"/>
                  </a:moveTo>
                  <a:cubicBezTo>
                    <a:pt x="10249" y="5077"/>
                    <a:pt x="8682" y="4197"/>
                    <a:pt x="7738" y="3333"/>
                  </a:cubicBezTo>
                  <a:lnTo>
                    <a:pt x="5920" y="1667"/>
                  </a:lnTo>
                  <a:lnTo>
                    <a:pt x="4102" y="0"/>
                  </a:lnTo>
                  <a:lnTo>
                    <a:pt x="4102" y="833"/>
                  </a:lnTo>
                  <a:lnTo>
                    <a:pt x="3193" y="0"/>
                  </a:lnTo>
                  <a:lnTo>
                    <a:pt x="2738" y="833"/>
                  </a:lnTo>
                  <a:lnTo>
                    <a:pt x="1829" y="1667"/>
                  </a:lnTo>
                  <a:lnTo>
                    <a:pt x="920" y="2500"/>
                  </a:lnTo>
                  <a:cubicBezTo>
                    <a:pt x="617" y="2778"/>
                    <a:pt x="87" y="3007"/>
                    <a:pt x="11" y="3333"/>
                  </a:cubicBezTo>
                  <a:cubicBezTo>
                    <a:pt x="-65" y="3659"/>
                    <a:pt x="248" y="4018"/>
                    <a:pt x="466" y="4459"/>
                  </a:cubicBezTo>
                  <a:cubicBezTo>
                    <a:pt x="684" y="4900"/>
                    <a:pt x="1019" y="5333"/>
                    <a:pt x="1322" y="5979"/>
                  </a:cubicBezTo>
                  <a:cubicBezTo>
                    <a:pt x="1625" y="6625"/>
                    <a:pt x="2048" y="7802"/>
                    <a:pt x="2284" y="8333"/>
                  </a:cubicBezTo>
                  <a:cubicBezTo>
                    <a:pt x="2520" y="8864"/>
                    <a:pt x="2583" y="8874"/>
                    <a:pt x="2738" y="9167"/>
                  </a:cubicBezTo>
                  <a:cubicBezTo>
                    <a:pt x="2893" y="9460"/>
                    <a:pt x="3217" y="10092"/>
                    <a:pt x="3217" y="10092"/>
                  </a:cubicBezTo>
                  <a:cubicBezTo>
                    <a:pt x="4581" y="10092"/>
                    <a:pt x="4900" y="9994"/>
                    <a:pt x="4900" y="9994"/>
                  </a:cubicBezTo>
                  <a:cubicBezTo>
                    <a:pt x="4785" y="9440"/>
                    <a:pt x="5654" y="9714"/>
                    <a:pt x="5539" y="9160"/>
                  </a:cubicBezTo>
                  <a:cubicBezTo>
                    <a:pt x="5853" y="9260"/>
                    <a:pt x="6250" y="9364"/>
                    <a:pt x="6402" y="9410"/>
                  </a:cubicBezTo>
                  <a:cubicBezTo>
                    <a:pt x="6554" y="9456"/>
                    <a:pt x="6377" y="9434"/>
                    <a:pt x="6453" y="9434"/>
                  </a:cubicBezTo>
                  <a:cubicBezTo>
                    <a:pt x="6529" y="9434"/>
                    <a:pt x="6505" y="9504"/>
                    <a:pt x="6723" y="9605"/>
                  </a:cubicBezTo>
                  <a:cubicBezTo>
                    <a:pt x="6941" y="9707"/>
                    <a:pt x="7421" y="10085"/>
                    <a:pt x="7759" y="10043"/>
                  </a:cubicBezTo>
                  <a:cubicBezTo>
                    <a:pt x="8097" y="10001"/>
                    <a:pt x="8436" y="9626"/>
                    <a:pt x="8753" y="9355"/>
                  </a:cubicBezTo>
                  <a:cubicBezTo>
                    <a:pt x="9070" y="9084"/>
                    <a:pt x="8347" y="9964"/>
                    <a:pt x="10391" y="9757"/>
                  </a:cubicBezTo>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118" name="HU"/>
            <p:cNvSpPr>
              <a:spLocks/>
            </p:cNvSpPr>
            <p:nvPr/>
          </p:nvSpPr>
          <p:spPr bwMode="auto">
            <a:xfrm>
              <a:off x="4714743" y="3067841"/>
              <a:ext cx="138112" cy="95249"/>
            </a:xfrm>
            <a:custGeom>
              <a:avLst/>
              <a:gdLst>
                <a:gd name="T0" fmla="*/ 19546837 w 9980"/>
                <a:gd name="T1" fmla="*/ 0 h 10000"/>
                <a:gd name="T2" fmla="*/ 15929452 w 9980"/>
                <a:gd name="T3" fmla="*/ 1326499 h 10000"/>
                <a:gd name="T4" fmla="*/ 10695094 w 9980"/>
                <a:gd name="T5" fmla="*/ 1927289 h 10000"/>
                <a:gd name="T6" fmla="*/ 6765918 w 9980"/>
                <a:gd name="T7" fmla="*/ 2528164 h 10000"/>
                <a:gd name="T8" fmla="*/ 4147500 w 9980"/>
                <a:gd name="T9" fmla="*/ 2309784 h 10000"/>
                <a:gd name="T10" fmla="*/ 2839634 w 9980"/>
                <a:gd name="T11" fmla="*/ 1927289 h 10000"/>
                <a:gd name="T12" fmla="*/ 1529069 w 9980"/>
                <a:gd name="T13" fmla="*/ 3128039 h 10000"/>
                <a:gd name="T14" fmla="*/ 218517 w 9980"/>
                <a:gd name="T15" fmla="*/ 4930483 h 10000"/>
                <a:gd name="T16" fmla="*/ 58608 w 9980"/>
                <a:gd name="T17" fmla="*/ 5184610 h 10000"/>
                <a:gd name="T18" fmla="*/ 831183 w 9980"/>
                <a:gd name="T19" fmla="*/ 5914673 h 10000"/>
                <a:gd name="T20" fmla="*/ 4379234 w 9980"/>
                <a:gd name="T21" fmla="*/ 8205226 h 10000"/>
                <a:gd name="T22" fmla="*/ 9616277 w 9980"/>
                <a:gd name="T23" fmla="*/ 8732701 h 10000"/>
                <a:gd name="T24" fmla="*/ 11691362 w 9980"/>
                <a:gd name="T25" fmla="*/ 8224457 h 10000"/>
                <a:gd name="T26" fmla="*/ 16006632 w 9980"/>
                <a:gd name="T27" fmla="*/ 7478697 h 10000"/>
                <a:gd name="T28" fmla="*/ 16313055 w 9980"/>
                <a:gd name="T29" fmla="*/ 7478697 h 10000"/>
                <a:gd name="T30" fmla="*/ 19858435 w 9980"/>
                <a:gd name="T31" fmla="*/ 6732022 h 10000"/>
                <a:gd name="T32" fmla="*/ 22477047 w 9980"/>
                <a:gd name="T33" fmla="*/ 4329703 h 10000"/>
                <a:gd name="T34" fmla="*/ 26406029 w 9980"/>
                <a:gd name="T35" fmla="*/ 1326499 h 10000"/>
                <a:gd name="T36" fmla="*/ 25865368 w 9980"/>
                <a:gd name="T37" fmla="*/ 109147 h 10000"/>
                <a:gd name="T38" fmla="*/ 24315043 w 9980"/>
                <a:gd name="T39" fmla="*/ 289960 h 10000"/>
                <a:gd name="T40" fmla="*/ 19546837 w 9980"/>
                <a:gd name="T41" fmla="*/ 0 h 1000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9980" h="10000">
                  <a:moveTo>
                    <a:pt x="7338" y="0"/>
                  </a:moveTo>
                  <a:cubicBezTo>
                    <a:pt x="6885" y="506"/>
                    <a:pt x="6535" y="1151"/>
                    <a:pt x="5980" y="1519"/>
                  </a:cubicBezTo>
                  <a:cubicBezTo>
                    <a:pt x="5426" y="1887"/>
                    <a:pt x="4670" y="1978"/>
                    <a:pt x="4015" y="2207"/>
                  </a:cubicBezTo>
                  <a:cubicBezTo>
                    <a:pt x="2540" y="2895"/>
                    <a:pt x="2950" y="2822"/>
                    <a:pt x="2540" y="2895"/>
                  </a:cubicBezTo>
                  <a:cubicBezTo>
                    <a:pt x="2130" y="2968"/>
                    <a:pt x="1557" y="2645"/>
                    <a:pt x="1557" y="2645"/>
                  </a:cubicBezTo>
                  <a:cubicBezTo>
                    <a:pt x="1066" y="1958"/>
                    <a:pt x="1230" y="2051"/>
                    <a:pt x="1066" y="2207"/>
                  </a:cubicBezTo>
                  <a:cubicBezTo>
                    <a:pt x="902" y="2363"/>
                    <a:pt x="574" y="3582"/>
                    <a:pt x="574" y="3582"/>
                  </a:cubicBezTo>
                  <a:cubicBezTo>
                    <a:pt x="409" y="4270"/>
                    <a:pt x="174" y="5254"/>
                    <a:pt x="82" y="5646"/>
                  </a:cubicBezTo>
                  <a:cubicBezTo>
                    <a:pt x="-10" y="6038"/>
                    <a:pt x="-16" y="5749"/>
                    <a:pt x="22" y="5937"/>
                  </a:cubicBezTo>
                  <a:cubicBezTo>
                    <a:pt x="60" y="6125"/>
                    <a:pt x="42" y="6197"/>
                    <a:pt x="312" y="6773"/>
                  </a:cubicBezTo>
                  <a:cubicBezTo>
                    <a:pt x="583" y="7349"/>
                    <a:pt x="1094" y="8858"/>
                    <a:pt x="1644" y="9396"/>
                  </a:cubicBezTo>
                  <a:cubicBezTo>
                    <a:pt x="2194" y="9934"/>
                    <a:pt x="3153" y="9997"/>
                    <a:pt x="3610" y="10000"/>
                  </a:cubicBezTo>
                  <a:cubicBezTo>
                    <a:pt x="4068" y="10003"/>
                    <a:pt x="3989" y="9657"/>
                    <a:pt x="4389" y="9418"/>
                  </a:cubicBezTo>
                  <a:cubicBezTo>
                    <a:pt x="4788" y="9179"/>
                    <a:pt x="5720" y="8707"/>
                    <a:pt x="6009" y="8564"/>
                  </a:cubicBezTo>
                  <a:cubicBezTo>
                    <a:pt x="6298" y="8421"/>
                    <a:pt x="5883" y="8706"/>
                    <a:pt x="6124" y="8564"/>
                  </a:cubicBezTo>
                  <a:cubicBezTo>
                    <a:pt x="6364" y="8422"/>
                    <a:pt x="7069" y="8310"/>
                    <a:pt x="7455" y="7709"/>
                  </a:cubicBezTo>
                  <a:cubicBezTo>
                    <a:pt x="7841" y="7109"/>
                    <a:pt x="8111" y="5875"/>
                    <a:pt x="8438" y="4958"/>
                  </a:cubicBezTo>
                  <a:cubicBezTo>
                    <a:pt x="8929" y="3812"/>
                    <a:pt x="9701" y="2324"/>
                    <a:pt x="9913" y="1519"/>
                  </a:cubicBezTo>
                  <a:cubicBezTo>
                    <a:pt x="10125" y="713"/>
                    <a:pt x="9778" y="589"/>
                    <a:pt x="9710" y="125"/>
                  </a:cubicBezTo>
                  <a:lnTo>
                    <a:pt x="9128" y="332"/>
                  </a:lnTo>
                  <a:lnTo>
                    <a:pt x="7338" y="0"/>
                  </a:ln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119" name="SK"/>
            <p:cNvSpPr>
              <a:spLocks/>
            </p:cNvSpPr>
            <p:nvPr/>
          </p:nvSpPr>
          <p:spPr bwMode="auto">
            <a:xfrm>
              <a:off x="4719507" y="3028153"/>
              <a:ext cx="133348" cy="69849"/>
            </a:xfrm>
            <a:custGeom>
              <a:avLst/>
              <a:gdLst>
                <a:gd name="T0" fmla="*/ 14753551 w 10000"/>
                <a:gd name="T1" fmla="*/ 221096 h 9595"/>
                <a:gd name="T2" fmla="*/ 11909822 w 10000"/>
                <a:gd name="T3" fmla="*/ 35191 h 9595"/>
                <a:gd name="T4" fmla="*/ 9391507 w 10000"/>
                <a:gd name="T5" fmla="*/ 37469 h 9595"/>
                <a:gd name="T6" fmla="*/ 6706745 w 10000"/>
                <a:gd name="T7" fmla="*/ 221096 h 9595"/>
                <a:gd name="T8" fmla="*/ 5366857 w 10000"/>
                <a:gd name="T9" fmla="*/ 1062251 h 9595"/>
                <a:gd name="T10" fmla="*/ 0 w 10000"/>
                <a:gd name="T11" fmla="*/ 1903829 h 9595"/>
                <a:gd name="T12" fmla="*/ 1342381 w 10000"/>
                <a:gd name="T13" fmla="*/ 2744978 h 9595"/>
                <a:gd name="T14" fmla="*/ 2325917 w 10000"/>
                <a:gd name="T15" fmla="*/ 3250351 h 9595"/>
                <a:gd name="T16" fmla="*/ 4794266 w 10000"/>
                <a:gd name="T17" fmla="*/ 3632346 h 9595"/>
                <a:gd name="T18" fmla="*/ 10529383 w 10000"/>
                <a:gd name="T19" fmla="*/ 3127344 h 9595"/>
                <a:gd name="T20" fmla="*/ 14824866 w 10000"/>
                <a:gd name="T21" fmla="*/ 2897184 h 9595"/>
                <a:gd name="T22" fmla="*/ 16939344 w 10000"/>
                <a:gd name="T23" fmla="*/ 2073784 h 9595"/>
                <a:gd name="T24" fmla="*/ 21890456 w 10000"/>
                <a:gd name="T25" fmla="*/ 2243747 h 9595"/>
                <a:gd name="T26" fmla="*/ 23289738 w 10000"/>
                <a:gd name="T27" fmla="*/ 1882630 h 9595"/>
                <a:gd name="T28" fmla="*/ 23370468 w 10000"/>
                <a:gd name="T29" fmla="*/ 1483201 h 9595"/>
                <a:gd name="T30" fmla="*/ 23726819 w 10000"/>
                <a:gd name="T31" fmla="*/ 815451 h 9595"/>
                <a:gd name="T32" fmla="*/ 20379494 w 10000"/>
                <a:gd name="T33" fmla="*/ 459583 h 9595"/>
                <a:gd name="T34" fmla="*/ 20120408 w 10000"/>
                <a:gd name="T35" fmla="*/ 221096 h 9595"/>
                <a:gd name="T36" fmla="*/ 14753551 w 10000"/>
                <a:gd name="T37" fmla="*/ 221096 h 959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0000" h="9595">
                  <a:moveTo>
                    <a:pt x="6210" y="584"/>
                  </a:moveTo>
                  <a:cubicBezTo>
                    <a:pt x="5554" y="325"/>
                    <a:pt x="5389" y="258"/>
                    <a:pt x="5013" y="93"/>
                  </a:cubicBezTo>
                  <a:cubicBezTo>
                    <a:pt x="4637" y="-72"/>
                    <a:pt x="4318" y="17"/>
                    <a:pt x="3953" y="99"/>
                  </a:cubicBezTo>
                  <a:lnTo>
                    <a:pt x="2823" y="584"/>
                  </a:lnTo>
                  <a:lnTo>
                    <a:pt x="2259" y="2806"/>
                  </a:lnTo>
                  <a:lnTo>
                    <a:pt x="0" y="5029"/>
                  </a:lnTo>
                  <a:lnTo>
                    <a:pt x="565" y="7251"/>
                  </a:lnTo>
                  <a:lnTo>
                    <a:pt x="979" y="8586"/>
                  </a:lnTo>
                  <a:lnTo>
                    <a:pt x="2018" y="9595"/>
                  </a:lnTo>
                  <a:lnTo>
                    <a:pt x="4432" y="8261"/>
                  </a:lnTo>
                  <a:lnTo>
                    <a:pt x="6240" y="7653"/>
                  </a:lnTo>
                  <a:lnTo>
                    <a:pt x="7130" y="5478"/>
                  </a:lnTo>
                  <a:lnTo>
                    <a:pt x="9214" y="5927"/>
                  </a:lnTo>
                  <a:lnTo>
                    <a:pt x="9803" y="4973"/>
                  </a:lnTo>
                  <a:cubicBezTo>
                    <a:pt x="9735" y="4622"/>
                    <a:pt x="9905" y="4270"/>
                    <a:pt x="9837" y="3918"/>
                  </a:cubicBezTo>
                  <a:cubicBezTo>
                    <a:pt x="9758" y="2807"/>
                    <a:pt x="10067" y="3265"/>
                    <a:pt x="9987" y="2154"/>
                  </a:cubicBezTo>
                  <a:cubicBezTo>
                    <a:pt x="9527" y="1653"/>
                    <a:pt x="9037" y="1714"/>
                    <a:pt x="8578" y="1214"/>
                  </a:cubicBezTo>
                  <a:cubicBezTo>
                    <a:pt x="8542" y="1004"/>
                    <a:pt x="8505" y="794"/>
                    <a:pt x="8469" y="584"/>
                  </a:cubicBezTo>
                  <a:lnTo>
                    <a:pt x="6210" y="584"/>
                  </a:ln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120" name="BG"/>
            <p:cNvSpPr>
              <a:spLocks/>
            </p:cNvSpPr>
            <p:nvPr/>
          </p:nvSpPr>
          <p:spPr bwMode="auto">
            <a:xfrm>
              <a:off x="4868730" y="3209127"/>
              <a:ext cx="175357" cy="141287"/>
            </a:xfrm>
            <a:custGeom>
              <a:avLst/>
              <a:gdLst>
                <a:gd name="T0" fmla="*/ 22159047 w 10000"/>
                <a:gd name="T1" fmla="*/ 1471825 h 10000"/>
                <a:gd name="T2" fmla="*/ 5539588 w 10000"/>
                <a:gd name="T3" fmla="*/ 1471825 h 10000"/>
                <a:gd name="T4" fmla="*/ 0 w 10000"/>
                <a:gd name="T5" fmla="*/ 0 h 10000"/>
                <a:gd name="T6" fmla="*/ 0 w 10000"/>
                <a:gd name="T7" fmla="*/ 2940641 h 10000"/>
                <a:gd name="T8" fmla="*/ 2772971 w 10000"/>
                <a:gd name="T9" fmla="*/ 7356103 h 10000"/>
                <a:gd name="T10" fmla="*/ 4138115 w 10000"/>
                <a:gd name="T11" fmla="*/ 12109724 h 10000"/>
                <a:gd name="T12" fmla="*/ 2772971 w 10000"/>
                <a:gd name="T13" fmla="*/ 14954558 h 10000"/>
                <a:gd name="T14" fmla="*/ 5539588 w 10000"/>
                <a:gd name="T15" fmla="*/ 17897996 h 10000"/>
                <a:gd name="T16" fmla="*/ 9738697 w 10000"/>
                <a:gd name="T17" fmla="*/ 21659295 h 10000"/>
                <a:gd name="T18" fmla="*/ 25047652 w 10000"/>
                <a:gd name="T19" fmla="*/ 18924256 h 10000"/>
                <a:gd name="T20" fmla="*/ 27107390 w 10000"/>
                <a:gd name="T21" fmla="*/ 19930961 h 10000"/>
                <a:gd name="T22" fmla="*/ 30532582 w 10000"/>
                <a:gd name="T23" fmla="*/ 19950516 h 10000"/>
                <a:gd name="T24" fmla="*/ 30471606 w 10000"/>
                <a:gd name="T25" fmla="*/ 20838638 h 10000"/>
                <a:gd name="T26" fmla="*/ 27698635 w 10000"/>
                <a:gd name="T27" fmla="*/ 22310463 h 10000"/>
                <a:gd name="T28" fmla="*/ 30471606 w 10000"/>
                <a:gd name="T29" fmla="*/ 28194755 h 10000"/>
                <a:gd name="T30" fmla="*/ 41551111 w 10000"/>
                <a:gd name="T31" fmla="*/ 23782288 h 10000"/>
                <a:gd name="T32" fmla="*/ 52630635 w 10000"/>
                <a:gd name="T33" fmla="*/ 23782288 h 10000"/>
                <a:gd name="T34" fmla="*/ 58170241 w 10000"/>
                <a:gd name="T35" fmla="*/ 19369822 h 10000"/>
                <a:gd name="T36" fmla="*/ 60943194 w 10000"/>
                <a:gd name="T37" fmla="*/ 19369822 h 10000"/>
                <a:gd name="T38" fmla="*/ 44324082 w 10000"/>
                <a:gd name="T39" fmla="*/ 16426171 h 10000"/>
                <a:gd name="T40" fmla="*/ 41551111 w 10000"/>
                <a:gd name="T41" fmla="*/ 8824933 h 10000"/>
                <a:gd name="T42" fmla="*/ 52630635 w 10000"/>
                <a:gd name="T43" fmla="*/ 2940641 h 10000"/>
                <a:gd name="T44" fmla="*/ 36011194 w 10000"/>
                <a:gd name="T45" fmla="*/ 0 h 10000"/>
                <a:gd name="T46" fmla="*/ 22159047 w 10000"/>
                <a:gd name="T47" fmla="*/ 1471825 h 10000"/>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000" h="10000">
                  <a:moveTo>
                    <a:pt x="3636" y="522"/>
                  </a:moveTo>
                  <a:lnTo>
                    <a:pt x="909" y="522"/>
                  </a:lnTo>
                  <a:lnTo>
                    <a:pt x="0" y="0"/>
                  </a:lnTo>
                  <a:lnTo>
                    <a:pt x="0" y="1043"/>
                  </a:lnTo>
                  <a:lnTo>
                    <a:pt x="455" y="2609"/>
                  </a:lnTo>
                  <a:cubicBezTo>
                    <a:pt x="530" y="3171"/>
                    <a:pt x="604" y="3733"/>
                    <a:pt x="679" y="4295"/>
                  </a:cubicBezTo>
                  <a:cubicBezTo>
                    <a:pt x="604" y="4631"/>
                    <a:pt x="530" y="4968"/>
                    <a:pt x="455" y="5304"/>
                  </a:cubicBezTo>
                  <a:lnTo>
                    <a:pt x="909" y="6348"/>
                  </a:lnTo>
                  <a:lnTo>
                    <a:pt x="1598" y="7682"/>
                  </a:lnTo>
                  <a:cubicBezTo>
                    <a:pt x="2779" y="7328"/>
                    <a:pt x="2976" y="7157"/>
                    <a:pt x="4110" y="6712"/>
                  </a:cubicBezTo>
                  <a:lnTo>
                    <a:pt x="4448" y="7069"/>
                  </a:lnTo>
                  <a:lnTo>
                    <a:pt x="5010" y="7076"/>
                  </a:lnTo>
                  <a:cubicBezTo>
                    <a:pt x="5007" y="7181"/>
                    <a:pt x="5003" y="7286"/>
                    <a:pt x="5000" y="7391"/>
                  </a:cubicBezTo>
                  <a:lnTo>
                    <a:pt x="4545" y="7913"/>
                  </a:lnTo>
                  <a:lnTo>
                    <a:pt x="5000" y="10000"/>
                  </a:lnTo>
                  <a:lnTo>
                    <a:pt x="6818" y="8435"/>
                  </a:lnTo>
                  <a:lnTo>
                    <a:pt x="8636" y="8435"/>
                  </a:lnTo>
                  <a:lnTo>
                    <a:pt x="9545" y="6870"/>
                  </a:lnTo>
                  <a:lnTo>
                    <a:pt x="10000" y="6870"/>
                  </a:lnTo>
                  <a:lnTo>
                    <a:pt x="7273" y="5826"/>
                  </a:lnTo>
                  <a:cubicBezTo>
                    <a:pt x="7121" y="4927"/>
                    <a:pt x="6970" y="4029"/>
                    <a:pt x="6818" y="3130"/>
                  </a:cubicBezTo>
                  <a:lnTo>
                    <a:pt x="8636" y="1043"/>
                  </a:lnTo>
                  <a:lnTo>
                    <a:pt x="5909" y="0"/>
                  </a:lnTo>
                  <a:lnTo>
                    <a:pt x="3636" y="522"/>
                  </a:ln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121" name="CH"/>
            <p:cNvSpPr>
              <a:spLocks/>
            </p:cNvSpPr>
            <p:nvPr/>
          </p:nvSpPr>
          <p:spPr bwMode="auto">
            <a:xfrm>
              <a:off x="4462334" y="3094828"/>
              <a:ext cx="114299" cy="65088"/>
            </a:xfrm>
            <a:custGeom>
              <a:avLst/>
              <a:gdLst>
                <a:gd name="T0" fmla="*/ 11660715 w 10000"/>
                <a:gd name="T1" fmla="*/ 642479 h 11466"/>
                <a:gd name="T2" fmla="*/ 10601051 w 10000"/>
                <a:gd name="T3" fmla="*/ 411497 h 11466"/>
                <a:gd name="T4" fmla="*/ 8480157 w 10000"/>
                <a:gd name="T5" fmla="*/ 180516 h 11466"/>
                <a:gd name="T6" fmla="*/ 5403601 w 10000"/>
                <a:gd name="T7" fmla="*/ 359942 h 11466"/>
                <a:gd name="T8" fmla="*/ 4815962 w 10000"/>
                <a:gd name="T9" fmla="*/ 0 h 11466"/>
                <a:gd name="T10" fmla="*/ 3180420 w 10000"/>
                <a:gd name="T11" fmla="*/ 347017 h 11466"/>
                <a:gd name="T12" fmla="*/ 0 w 10000"/>
                <a:gd name="T13" fmla="*/ 1104441 h 11466"/>
                <a:gd name="T14" fmla="*/ 0 w 10000"/>
                <a:gd name="T15" fmla="*/ 1566369 h 11466"/>
                <a:gd name="T16" fmla="*/ 2120756 w 10000"/>
                <a:gd name="T17" fmla="*/ 1566369 h 11466"/>
                <a:gd name="T18" fmla="*/ 3128551 w 10000"/>
                <a:gd name="T19" fmla="*/ 2118686 h 11466"/>
                <a:gd name="T20" fmla="*/ 4240084 w 10000"/>
                <a:gd name="T21" fmla="*/ 2028332 h 11466"/>
                <a:gd name="T22" fmla="*/ 6583589 w 10000"/>
                <a:gd name="T23" fmla="*/ 1669485 h 11466"/>
                <a:gd name="T24" fmla="*/ 7800541 w 10000"/>
                <a:gd name="T25" fmla="*/ 1874785 h 11466"/>
                <a:gd name="T26" fmla="*/ 11660715 w 10000"/>
                <a:gd name="T27" fmla="*/ 1566369 h 11466"/>
                <a:gd name="T28" fmla="*/ 13781471 w 10000"/>
                <a:gd name="T29" fmla="*/ 1335388 h 11466"/>
                <a:gd name="T30" fmla="*/ 14841135 w 10000"/>
                <a:gd name="T31" fmla="*/ 1335388 h 11466"/>
                <a:gd name="T32" fmla="*/ 13781471 w 10000"/>
                <a:gd name="T33" fmla="*/ 1104441 h 11466"/>
                <a:gd name="T34" fmla="*/ 11660715 w 10000"/>
                <a:gd name="T35" fmla="*/ 642479 h 1146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0000" h="11466">
                  <a:moveTo>
                    <a:pt x="7857" y="3477"/>
                  </a:moveTo>
                  <a:lnTo>
                    <a:pt x="7143" y="2227"/>
                  </a:lnTo>
                  <a:lnTo>
                    <a:pt x="5714" y="977"/>
                  </a:lnTo>
                  <a:lnTo>
                    <a:pt x="3641" y="1948"/>
                  </a:lnTo>
                  <a:cubicBezTo>
                    <a:pt x="3532" y="1206"/>
                    <a:pt x="3354" y="742"/>
                    <a:pt x="3245" y="0"/>
                  </a:cubicBezTo>
                  <a:lnTo>
                    <a:pt x="2143" y="1878"/>
                  </a:lnTo>
                  <a:lnTo>
                    <a:pt x="0" y="5977"/>
                  </a:lnTo>
                  <a:lnTo>
                    <a:pt x="0" y="8477"/>
                  </a:lnTo>
                  <a:lnTo>
                    <a:pt x="1429" y="8477"/>
                  </a:lnTo>
                  <a:lnTo>
                    <a:pt x="2108" y="11466"/>
                  </a:lnTo>
                  <a:lnTo>
                    <a:pt x="2857" y="10977"/>
                  </a:lnTo>
                  <a:lnTo>
                    <a:pt x="4436" y="9035"/>
                  </a:lnTo>
                  <a:lnTo>
                    <a:pt x="5256" y="10146"/>
                  </a:lnTo>
                  <a:lnTo>
                    <a:pt x="7857" y="8477"/>
                  </a:lnTo>
                  <a:lnTo>
                    <a:pt x="9286" y="7227"/>
                  </a:lnTo>
                  <a:lnTo>
                    <a:pt x="10000" y="7227"/>
                  </a:lnTo>
                  <a:lnTo>
                    <a:pt x="9286" y="5977"/>
                  </a:lnTo>
                  <a:lnTo>
                    <a:pt x="7857" y="3477"/>
                  </a:ln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122" name="BE"/>
            <p:cNvSpPr>
              <a:spLocks/>
            </p:cNvSpPr>
            <p:nvPr/>
          </p:nvSpPr>
          <p:spPr bwMode="auto">
            <a:xfrm>
              <a:off x="4412388" y="2948779"/>
              <a:ext cx="64232" cy="74612"/>
            </a:xfrm>
            <a:custGeom>
              <a:avLst/>
              <a:gdLst>
                <a:gd name="T0" fmla="*/ 853877 w 10056"/>
                <a:gd name="T1" fmla="*/ 1901050 h 10000"/>
                <a:gd name="T2" fmla="*/ 1199163 w 10056"/>
                <a:gd name="T3" fmla="*/ 2661744 h 10000"/>
                <a:gd name="T4" fmla="*/ 1890040 w 10056"/>
                <a:gd name="T5" fmla="*/ 3041860 h 10000"/>
                <a:gd name="T6" fmla="*/ 2519852 w 10056"/>
                <a:gd name="T7" fmla="*/ 3533440 h 10000"/>
                <a:gd name="T8" fmla="*/ 3168589 w 10056"/>
                <a:gd name="T9" fmla="*/ 4158958 h 10000"/>
                <a:gd name="T10" fmla="*/ 3574230 w 10056"/>
                <a:gd name="T11" fmla="*/ 3130881 h 10000"/>
                <a:gd name="T12" fmla="*/ 3333712 w 10056"/>
                <a:gd name="T13" fmla="*/ 2370194 h 10000"/>
                <a:gd name="T14" fmla="*/ 3594263 w 10056"/>
                <a:gd name="T15" fmla="*/ 1365000 h 10000"/>
                <a:gd name="T16" fmla="*/ 3087789 w 10056"/>
                <a:gd name="T17" fmla="*/ 984817 h 10000"/>
                <a:gd name="T18" fmla="*/ 2580612 w 10056"/>
                <a:gd name="T19" fmla="*/ 760247 h 10000"/>
                <a:gd name="T20" fmla="*/ 1890040 w 10056"/>
                <a:gd name="T21" fmla="*/ 380123 h 10000"/>
                <a:gd name="T22" fmla="*/ 1199163 w 10056"/>
                <a:gd name="T23" fmla="*/ 380123 h 10000"/>
                <a:gd name="T24" fmla="*/ 853877 w 10056"/>
                <a:gd name="T25" fmla="*/ 0 h 10000"/>
                <a:gd name="T26" fmla="*/ 163355 w 10056"/>
                <a:gd name="T27" fmla="*/ 380123 h 10000"/>
                <a:gd name="T28" fmla="*/ 0 w 10056"/>
                <a:gd name="T29" fmla="*/ 403835 h 10000"/>
                <a:gd name="T30" fmla="*/ 325253 w 10056"/>
                <a:gd name="T31" fmla="*/ 1431913 h 10000"/>
                <a:gd name="T32" fmla="*/ 853877 w 10056"/>
                <a:gd name="T33" fmla="*/ 1901050 h 1000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0056" h="10000">
                  <a:moveTo>
                    <a:pt x="2389" y="4571"/>
                  </a:moveTo>
                  <a:lnTo>
                    <a:pt x="3355" y="6400"/>
                  </a:lnTo>
                  <a:lnTo>
                    <a:pt x="5288" y="7314"/>
                  </a:lnTo>
                  <a:lnTo>
                    <a:pt x="7050" y="8496"/>
                  </a:lnTo>
                  <a:lnTo>
                    <a:pt x="8865" y="10000"/>
                  </a:lnTo>
                  <a:cubicBezTo>
                    <a:pt x="8961" y="9105"/>
                    <a:pt x="9904" y="8423"/>
                    <a:pt x="10000" y="7528"/>
                  </a:cubicBezTo>
                  <a:lnTo>
                    <a:pt x="9327" y="5699"/>
                  </a:lnTo>
                  <a:cubicBezTo>
                    <a:pt x="9382" y="4965"/>
                    <a:pt x="10001" y="4016"/>
                    <a:pt x="10056" y="3282"/>
                  </a:cubicBezTo>
                  <a:lnTo>
                    <a:pt x="8639" y="2368"/>
                  </a:lnTo>
                  <a:lnTo>
                    <a:pt x="7220" y="1828"/>
                  </a:lnTo>
                  <a:lnTo>
                    <a:pt x="5288" y="914"/>
                  </a:lnTo>
                  <a:lnTo>
                    <a:pt x="3355" y="914"/>
                  </a:lnTo>
                  <a:lnTo>
                    <a:pt x="2389" y="0"/>
                  </a:lnTo>
                  <a:lnTo>
                    <a:pt x="457" y="914"/>
                  </a:lnTo>
                  <a:lnTo>
                    <a:pt x="0" y="971"/>
                  </a:lnTo>
                  <a:cubicBezTo>
                    <a:pt x="152" y="1866"/>
                    <a:pt x="757" y="2548"/>
                    <a:pt x="910" y="3443"/>
                  </a:cubicBezTo>
                  <a:lnTo>
                    <a:pt x="2389" y="4571"/>
                  </a:ln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123" name="SI"/>
            <p:cNvSpPr>
              <a:spLocks/>
            </p:cNvSpPr>
            <p:nvPr/>
          </p:nvSpPr>
          <p:spPr bwMode="auto">
            <a:xfrm rot="21133526">
              <a:off x="4636958" y="3124991"/>
              <a:ext cx="88899" cy="47624"/>
            </a:xfrm>
            <a:custGeom>
              <a:avLst/>
              <a:gdLst>
                <a:gd name="T0" fmla="*/ 0 w 1912593"/>
                <a:gd name="T1" fmla="*/ 14 h 1229193"/>
                <a:gd name="T2" fmla="*/ 8 w 1912593"/>
                <a:gd name="T3" fmla="*/ 68 h 1229193"/>
                <a:gd name="T4" fmla="*/ 110 w 1912593"/>
                <a:gd name="T5" fmla="*/ 72 h 1229193"/>
                <a:gd name="T6" fmla="*/ 190 w 1912593"/>
                <a:gd name="T7" fmla="*/ 19 h 1229193"/>
                <a:gd name="T8" fmla="*/ 178 w 1912593"/>
                <a:gd name="T9" fmla="*/ 0 h 1229193"/>
                <a:gd name="T10" fmla="*/ 112 w 1912593"/>
                <a:gd name="T11" fmla="*/ 15 h 1229193"/>
                <a:gd name="T12" fmla="*/ 15 w 1912593"/>
                <a:gd name="T13" fmla="*/ 14 h 1229193"/>
                <a:gd name="T14" fmla="*/ 13 w 1912593"/>
                <a:gd name="T15" fmla="*/ 14 h 1229193"/>
                <a:gd name="T16" fmla="*/ 0 w 1912593"/>
                <a:gd name="T17" fmla="*/ 14 h 122919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912593" h="1229193">
                  <a:moveTo>
                    <a:pt x="0" y="233280"/>
                  </a:moveTo>
                  <a:lnTo>
                    <a:pt x="83793" y="1154242"/>
                  </a:lnTo>
                  <a:lnTo>
                    <a:pt x="1103124" y="1229193"/>
                  </a:lnTo>
                  <a:lnTo>
                    <a:pt x="1912593" y="314793"/>
                  </a:lnTo>
                  <a:lnTo>
                    <a:pt x="1792672" y="0"/>
                  </a:lnTo>
                  <a:lnTo>
                    <a:pt x="1124055" y="252554"/>
                  </a:lnTo>
                  <a:cubicBezTo>
                    <a:pt x="892871" y="224853"/>
                    <a:pt x="379360" y="273001"/>
                    <a:pt x="148176" y="245300"/>
                  </a:cubicBezTo>
                  <a:lnTo>
                    <a:pt x="128763" y="242675"/>
                  </a:lnTo>
                  <a:lnTo>
                    <a:pt x="0" y="233280"/>
                  </a:ln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124" name="HR"/>
            <p:cNvSpPr>
              <a:spLocks/>
            </p:cNvSpPr>
            <p:nvPr/>
          </p:nvSpPr>
          <p:spPr bwMode="auto">
            <a:xfrm>
              <a:off x="4641719" y="3134516"/>
              <a:ext cx="142874" cy="149224"/>
            </a:xfrm>
            <a:custGeom>
              <a:avLst/>
              <a:gdLst>
                <a:gd name="T0" fmla="*/ 121 w 3644175"/>
                <a:gd name="T1" fmla="*/ 0 h 3780713"/>
                <a:gd name="T2" fmla="*/ 68 w 3644175"/>
                <a:gd name="T3" fmla="*/ 59 h 3780713"/>
                <a:gd name="T4" fmla="*/ 6 w 3644175"/>
                <a:gd name="T5" fmla="*/ 61 h 3780713"/>
                <a:gd name="T6" fmla="*/ 0 w 3644175"/>
                <a:gd name="T7" fmla="*/ 79 h 3780713"/>
                <a:gd name="T8" fmla="*/ 15 w 3644175"/>
                <a:gd name="T9" fmla="*/ 112 h 3780713"/>
                <a:gd name="T10" fmla="*/ 29 w 3644175"/>
                <a:gd name="T11" fmla="*/ 93 h 3780713"/>
                <a:gd name="T12" fmla="*/ 38 w 3644175"/>
                <a:gd name="T13" fmla="*/ 83 h 3780713"/>
                <a:gd name="T14" fmla="*/ 54 w 3644175"/>
                <a:gd name="T15" fmla="*/ 99 h 3780713"/>
                <a:gd name="T16" fmla="*/ 68 w 3644175"/>
                <a:gd name="T17" fmla="*/ 147 h 3780713"/>
                <a:gd name="T18" fmla="*/ 97 w 3644175"/>
                <a:gd name="T19" fmla="*/ 180 h 3780713"/>
                <a:gd name="T20" fmla="*/ 193 w 3644175"/>
                <a:gd name="T21" fmla="*/ 231 h 3780713"/>
                <a:gd name="T22" fmla="*/ 87 w 3644175"/>
                <a:gd name="T23" fmla="*/ 102 h 3780713"/>
                <a:gd name="T24" fmla="*/ 93 w 3644175"/>
                <a:gd name="T25" fmla="*/ 83 h 3780713"/>
                <a:gd name="T26" fmla="*/ 105 w 3644175"/>
                <a:gd name="T27" fmla="*/ 93 h 3780713"/>
                <a:gd name="T28" fmla="*/ 219 w 3644175"/>
                <a:gd name="T29" fmla="*/ 99 h 3780713"/>
                <a:gd name="T30" fmla="*/ 204 w 3644175"/>
                <a:gd name="T31" fmla="*/ 37 h 3780713"/>
                <a:gd name="T32" fmla="*/ 190 w 3644175"/>
                <a:gd name="T33" fmla="*/ 46 h 3780713"/>
                <a:gd name="T34" fmla="*/ 149 w 3644175"/>
                <a:gd name="T35" fmla="*/ 39 h 3780713"/>
                <a:gd name="T36" fmla="*/ 125 w 3644175"/>
                <a:gd name="T37" fmla="*/ 8 h 3780713"/>
                <a:gd name="T38" fmla="*/ 121 w 3644175"/>
                <a:gd name="T39" fmla="*/ 0 h 378071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3644175" h="3780713">
                  <a:moveTo>
                    <a:pt x="2018109" y="0"/>
                  </a:moveTo>
                  <a:lnTo>
                    <a:pt x="1131347" y="970851"/>
                  </a:lnTo>
                  <a:lnTo>
                    <a:pt x="106496" y="992543"/>
                  </a:lnTo>
                  <a:lnTo>
                    <a:pt x="0" y="1285960"/>
                  </a:lnTo>
                  <a:lnTo>
                    <a:pt x="250657" y="1838746"/>
                  </a:lnTo>
                  <a:lnTo>
                    <a:pt x="476240" y="1522355"/>
                  </a:lnTo>
                  <a:lnTo>
                    <a:pt x="637449" y="1360281"/>
                  </a:lnTo>
                  <a:lnTo>
                    <a:pt x="900975" y="1622129"/>
                  </a:lnTo>
                  <a:lnTo>
                    <a:pt x="1125827" y="2401618"/>
                  </a:lnTo>
                  <a:lnTo>
                    <a:pt x="1614428" y="2951232"/>
                  </a:lnTo>
                  <a:cubicBezTo>
                    <a:pt x="2156362" y="3074631"/>
                    <a:pt x="2677783" y="3504219"/>
                    <a:pt x="3209460" y="3780713"/>
                  </a:cubicBezTo>
                  <a:lnTo>
                    <a:pt x="1455611" y="1667100"/>
                  </a:lnTo>
                  <a:lnTo>
                    <a:pt x="1543203" y="1366330"/>
                  </a:lnTo>
                  <a:lnTo>
                    <a:pt x="1755414" y="1517198"/>
                  </a:lnTo>
                  <a:lnTo>
                    <a:pt x="3644175" y="1622129"/>
                  </a:lnTo>
                  <a:lnTo>
                    <a:pt x="3394079" y="610450"/>
                  </a:lnTo>
                  <a:lnTo>
                    <a:pt x="3170007" y="750786"/>
                  </a:lnTo>
                  <a:lnTo>
                    <a:pt x="2480463" y="641709"/>
                  </a:lnTo>
                  <a:lnTo>
                    <a:pt x="2078068" y="137463"/>
                  </a:lnTo>
                  <a:lnTo>
                    <a:pt x="2018109" y="0"/>
                  </a:ln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125" name="BA"/>
            <p:cNvSpPr>
              <a:spLocks/>
            </p:cNvSpPr>
            <p:nvPr/>
          </p:nvSpPr>
          <p:spPr bwMode="auto">
            <a:xfrm>
              <a:off x="4700457" y="3186902"/>
              <a:ext cx="98424" cy="98424"/>
            </a:xfrm>
            <a:custGeom>
              <a:avLst/>
              <a:gdLst>
                <a:gd name="T0" fmla="*/ 147 w 2398426"/>
                <a:gd name="T1" fmla="*/ 17 h 2488994"/>
                <a:gd name="T2" fmla="*/ 18 w 2398426"/>
                <a:gd name="T3" fmla="*/ 9 h 2488994"/>
                <a:gd name="T4" fmla="*/ 5 w 2398426"/>
                <a:gd name="T5" fmla="*/ 0 h 2488994"/>
                <a:gd name="T6" fmla="*/ 0 w 2398426"/>
                <a:gd name="T7" fmla="*/ 20 h 2488994"/>
                <a:gd name="T8" fmla="*/ 117 w 2398426"/>
                <a:gd name="T9" fmla="*/ 153 h 2488994"/>
                <a:gd name="T10" fmla="*/ 151 w 2398426"/>
                <a:gd name="T11" fmla="*/ 95 h 2488994"/>
                <a:gd name="T12" fmla="*/ 166 w 2398426"/>
                <a:gd name="T13" fmla="*/ 88 h 2488994"/>
                <a:gd name="T14" fmla="*/ 147 w 2398426"/>
                <a:gd name="T15" fmla="*/ 17 h 248899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398426" h="2488994">
                  <a:moveTo>
                    <a:pt x="2113613" y="269822"/>
                  </a:moveTo>
                  <a:lnTo>
                    <a:pt x="254833" y="149901"/>
                  </a:lnTo>
                  <a:lnTo>
                    <a:pt x="74951" y="0"/>
                  </a:lnTo>
                  <a:lnTo>
                    <a:pt x="0" y="329783"/>
                  </a:lnTo>
                  <a:lnTo>
                    <a:pt x="1691048" y="2488994"/>
                  </a:lnTo>
                  <a:lnTo>
                    <a:pt x="2177788" y="1556144"/>
                  </a:lnTo>
                  <a:lnTo>
                    <a:pt x="2398426" y="1439055"/>
                  </a:lnTo>
                  <a:lnTo>
                    <a:pt x="2113613" y="269822"/>
                  </a:ln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126" name="ME"/>
            <p:cNvSpPr>
              <a:spLocks/>
            </p:cNvSpPr>
            <p:nvPr/>
          </p:nvSpPr>
          <p:spPr bwMode="auto">
            <a:xfrm rot="286500">
              <a:off x="4771893" y="3247227"/>
              <a:ext cx="44449" cy="58737"/>
            </a:xfrm>
            <a:custGeom>
              <a:avLst/>
              <a:gdLst>
                <a:gd name="T0" fmla="*/ 20 w 1259245"/>
                <a:gd name="T1" fmla="*/ 0 h 1506961"/>
                <a:gd name="T2" fmla="*/ 0 w 1259245"/>
                <a:gd name="T3" fmla="*/ 58 h 1506961"/>
                <a:gd name="T4" fmla="*/ 27 w 1259245"/>
                <a:gd name="T5" fmla="*/ 90 h 1506961"/>
                <a:gd name="T6" fmla="*/ 56 w 1259245"/>
                <a:gd name="T7" fmla="*/ 34 h 1506961"/>
                <a:gd name="T8" fmla="*/ 20 w 1259245"/>
                <a:gd name="T9" fmla="*/ 0 h 150696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59245" h="1506961">
                  <a:moveTo>
                    <a:pt x="459998" y="0"/>
                  </a:moveTo>
                  <a:lnTo>
                    <a:pt x="0" y="967315"/>
                  </a:lnTo>
                  <a:lnTo>
                    <a:pt x="599606" y="1506961"/>
                  </a:lnTo>
                  <a:lnTo>
                    <a:pt x="1259243" y="571259"/>
                  </a:lnTo>
                  <a:lnTo>
                    <a:pt x="459998" y="0"/>
                  </a:ln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127" name="KO"/>
            <p:cNvSpPr>
              <a:spLocks/>
            </p:cNvSpPr>
            <p:nvPr/>
          </p:nvSpPr>
          <p:spPr bwMode="auto">
            <a:xfrm>
              <a:off x="4813168" y="3258339"/>
              <a:ext cx="39688" cy="49211"/>
            </a:xfrm>
            <a:custGeom>
              <a:avLst/>
              <a:gdLst>
                <a:gd name="T0" fmla="*/ 22 w 1097536"/>
                <a:gd name="T1" fmla="*/ 0 h 1184223"/>
                <a:gd name="T2" fmla="*/ 0 w 1097536"/>
                <a:gd name="T3" fmla="*/ 30 h 1184223"/>
                <a:gd name="T4" fmla="*/ 21 w 1097536"/>
                <a:gd name="T5" fmla="*/ 86 h 1184223"/>
                <a:gd name="T6" fmla="*/ 50 w 1097536"/>
                <a:gd name="T7" fmla="*/ 60 h 1184223"/>
                <a:gd name="T8" fmla="*/ 51 w 1097536"/>
                <a:gd name="T9" fmla="*/ 37 h 1184223"/>
                <a:gd name="T10" fmla="*/ 22 w 1097536"/>
                <a:gd name="T11" fmla="*/ 0 h 118422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097536" h="1184223">
                  <a:moveTo>
                    <a:pt x="482939" y="0"/>
                  </a:moveTo>
                  <a:lnTo>
                    <a:pt x="0" y="416160"/>
                  </a:lnTo>
                  <a:lnTo>
                    <a:pt x="452959" y="1184223"/>
                  </a:lnTo>
                  <a:lnTo>
                    <a:pt x="1067555" y="824459"/>
                  </a:lnTo>
                  <a:lnTo>
                    <a:pt x="1097536" y="509666"/>
                  </a:lnTo>
                  <a:lnTo>
                    <a:pt x="482939" y="0"/>
                  </a:ln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128" name="MK"/>
            <p:cNvSpPr>
              <a:spLocks/>
            </p:cNvSpPr>
            <p:nvPr/>
          </p:nvSpPr>
          <p:spPr bwMode="auto">
            <a:xfrm>
              <a:off x="4830630" y="3285326"/>
              <a:ext cx="65086" cy="60324"/>
            </a:xfrm>
            <a:custGeom>
              <a:avLst/>
              <a:gdLst>
                <a:gd name="T0" fmla="*/ 0 w 1852882"/>
                <a:gd name="T1" fmla="*/ 31 h 1521018"/>
                <a:gd name="T2" fmla="*/ 0 w 1852882"/>
                <a:gd name="T3" fmla="*/ 75 h 1521018"/>
                <a:gd name="T4" fmla="*/ 19 w 1852882"/>
                <a:gd name="T5" fmla="*/ 94 h 1521018"/>
                <a:gd name="T6" fmla="*/ 37 w 1852882"/>
                <a:gd name="T7" fmla="*/ 86 h 1521018"/>
                <a:gd name="T8" fmla="*/ 77 w 1852882"/>
                <a:gd name="T9" fmla="*/ 59 h 1521018"/>
                <a:gd name="T10" fmla="*/ 81 w 1852882"/>
                <a:gd name="T11" fmla="*/ 46 h 1521018"/>
                <a:gd name="T12" fmla="*/ 77 w 1852882"/>
                <a:gd name="T13" fmla="*/ 23 h 1521018"/>
                <a:gd name="T14" fmla="*/ 68 w 1852882"/>
                <a:gd name="T15" fmla="*/ 19 h 1521018"/>
                <a:gd name="T16" fmla="*/ 60 w 1852882"/>
                <a:gd name="T17" fmla="*/ 0 h 1521018"/>
                <a:gd name="T18" fmla="*/ 28 w 1852882"/>
                <a:gd name="T19" fmla="*/ 11 h 1521018"/>
                <a:gd name="T20" fmla="*/ 0 w 1852882"/>
                <a:gd name="T21" fmla="*/ 31 h 15210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852882" h="1521018">
                  <a:moveTo>
                    <a:pt x="0" y="507061"/>
                  </a:moveTo>
                  <a:lnTo>
                    <a:pt x="0" y="1211599"/>
                  </a:lnTo>
                  <a:lnTo>
                    <a:pt x="435424" y="1521018"/>
                  </a:lnTo>
                  <a:lnTo>
                    <a:pt x="839449" y="1391481"/>
                  </a:lnTo>
                  <a:lnTo>
                    <a:pt x="1763339" y="952692"/>
                  </a:lnTo>
                  <a:lnTo>
                    <a:pt x="1852882" y="743963"/>
                  </a:lnTo>
                  <a:lnTo>
                    <a:pt x="1756379" y="372784"/>
                  </a:lnTo>
                  <a:lnTo>
                    <a:pt x="1563372" y="307281"/>
                  </a:lnTo>
                  <a:lnTo>
                    <a:pt x="1370668" y="0"/>
                  </a:lnTo>
                  <a:lnTo>
                    <a:pt x="644577" y="177278"/>
                  </a:lnTo>
                  <a:lnTo>
                    <a:pt x="0" y="507061"/>
                  </a:ln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129" name="AL"/>
            <p:cNvSpPr>
              <a:spLocks/>
            </p:cNvSpPr>
            <p:nvPr/>
          </p:nvSpPr>
          <p:spPr bwMode="auto">
            <a:xfrm>
              <a:off x="4790942" y="3275802"/>
              <a:ext cx="53975" cy="107136"/>
            </a:xfrm>
            <a:custGeom>
              <a:avLst/>
              <a:gdLst>
                <a:gd name="T0" fmla="*/ 0 w 444747"/>
                <a:gd name="T1" fmla="*/ 425 h 900169"/>
                <a:gd name="T2" fmla="*/ 177 w 444747"/>
                <a:gd name="T3" fmla="*/ 533 h 900169"/>
                <a:gd name="T4" fmla="*/ 177 w 444747"/>
                <a:gd name="T5" fmla="*/ 1275 h 900169"/>
                <a:gd name="T6" fmla="*/ 467 w 444747"/>
                <a:gd name="T7" fmla="*/ 1604 h 900169"/>
                <a:gd name="T8" fmla="*/ 580 w 444747"/>
                <a:gd name="T9" fmla="*/ 1490 h 900169"/>
                <a:gd name="T10" fmla="*/ 681 w 444747"/>
                <a:gd name="T11" fmla="*/ 1218 h 900169"/>
                <a:gd name="T12" fmla="*/ 643 w 444747"/>
                <a:gd name="T13" fmla="*/ 1084 h 900169"/>
                <a:gd name="T14" fmla="*/ 788 w 444747"/>
                <a:gd name="T15" fmla="*/ 1027 h 900169"/>
                <a:gd name="T16" fmla="*/ 580 w 444747"/>
                <a:gd name="T17" fmla="*/ 850 h 900169"/>
                <a:gd name="T18" fmla="*/ 580 w 444747"/>
                <a:gd name="T19" fmla="*/ 476 h 900169"/>
                <a:gd name="T20" fmla="*/ 328 w 444747"/>
                <a:gd name="T21" fmla="*/ 0 h 900169"/>
                <a:gd name="T22" fmla="*/ 0 w 444747"/>
                <a:gd name="T23" fmla="*/ 425 h 90016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44747" h="900169">
                  <a:moveTo>
                    <a:pt x="0" y="238385"/>
                  </a:moveTo>
                  <a:lnTo>
                    <a:pt x="99623" y="298870"/>
                  </a:lnTo>
                  <a:lnTo>
                    <a:pt x="99623" y="715154"/>
                  </a:lnTo>
                  <a:lnTo>
                    <a:pt x="263290" y="900169"/>
                  </a:lnTo>
                  <a:lnTo>
                    <a:pt x="327333" y="836125"/>
                  </a:lnTo>
                  <a:lnTo>
                    <a:pt x="384261" y="683132"/>
                  </a:lnTo>
                  <a:lnTo>
                    <a:pt x="362913" y="608414"/>
                  </a:lnTo>
                  <a:lnTo>
                    <a:pt x="444747" y="576393"/>
                  </a:lnTo>
                  <a:lnTo>
                    <a:pt x="327333" y="476769"/>
                  </a:lnTo>
                  <a:lnTo>
                    <a:pt x="327333" y="266849"/>
                  </a:lnTo>
                  <a:lnTo>
                    <a:pt x="185014" y="0"/>
                  </a:lnTo>
                  <a:lnTo>
                    <a:pt x="0" y="238385"/>
                  </a:ln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130" name="IE"/>
            <p:cNvSpPr>
              <a:spLocks/>
            </p:cNvSpPr>
            <p:nvPr/>
          </p:nvSpPr>
          <p:spPr bwMode="auto">
            <a:xfrm>
              <a:off x="4031392" y="2790030"/>
              <a:ext cx="109535" cy="163512"/>
            </a:xfrm>
            <a:custGeom>
              <a:avLst/>
              <a:gdLst>
                <a:gd name="T0" fmla="*/ 2147483647 w 84"/>
                <a:gd name="T1" fmla="*/ 2147483647 h 126"/>
                <a:gd name="T2" fmla="*/ 0 w 84"/>
                <a:gd name="T3" fmla="*/ 2147483647 h 126"/>
                <a:gd name="T4" fmla="*/ 0 w 84"/>
                <a:gd name="T5" fmla="*/ 2147483647 h 126"/>
                <a:gd name="T6" fmla="*/ 2147483647 w 84"/>
                <a:gd name="T7" fmla="*/ 2147483647 h 126"/>
                <a:gd name="T8" fmla="*/ 2147483647 w 84"/>
                <a:gd name="T9" fmla="*/ 2147483647 h 126"/>
                <a:gd name="T10" fmla="*/ 2147483647 w 84"/>
                <a:gd name="T11" fmla="*/ 2147483647 h 126"/>
                <a:gd name="T12" fmla="*/ 2147483647 w 84"/>
                <a:gd name="T13" fmla="*/ 2147483647 h 126"/>
                <a:gd name="T14" fmla="*/ 2147483647 w 84"/>
                <a:gd name="T15" fmla="*/ 2147483647 h 126"/>
                <a:gd name="T16" fmla="*/ 2147483647 w 84"/>
                <a:gd name="T17" fmla="*/ 2147483647 h 126"/>
                <a:gd name="T18" fmla="*/ 2147483647 w 84"/>
                <a:gd name="T19" fmla="*/ 2147483647 h 126"/>
                <a:gd name="T20" fmla="*/ 2147483647 w 84"/>
                <a:gd name="T21" fmla="*/ 2147483647 h 126"/>
                <a:gd name="T22" fmla="*/ 2147483647 w 84"/>
                <a:gd name="T23" fmla="*/ 0 h 126"/>
                <a:gd name="T24" fmla="*/ 2147483647 w 84"/>
                <a:gd name="T25" fmla="*/ 2147483647 h 126"/>
                <a:gd name="T26" fmla="*/ 2147483647 w 84"/>
                <a:gd name="T27" fmla="*/ 2147483647 h 126"/>
                <a:gd name="T28" fmla="*/ 2147483647 w 84"/>
                <a:gd name="T29" fmla="*/ 2147483647 h 126"/>
                <a:gd name="T30" fmla="*/ 2147483647 w 84"/>
                <a:gd name="T31" fmla="*/ 2147483647 h 126"/>
                <a:gd name="T32" fmla="*/ 2147483647 w 84"/>
                <a:gd name="T33" fmla="*/ 2147483647 h 126"/>
                <a:gd name="T34" fmla="*/ 2147483647 w 84"/>
                <a:gd name="T35" fmla="*/ 2147483647 h 126"/>
                <a:gd name="T36" fmla="*/ 2147483647 w 84"/>
                <a:gd name="T37" fmla="*/ 2147483647 h 126"/>
                <a:gd name="T38" fmla="*/ 2147483647 w 84"/>
                <a:gd name="T39" fmla="*/ 2147483647 h 126"/>
                <a:gd name="T40" fmla="*/ 2147483647 w 84"/>
                <a:gd name="T41" fmla="*/ 2147483647 h 1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84" h="126">
                  <a:moveTo>
                    <a:pt x="18" y="126"/>
                  </a:moveTo>
                  <a:lnTo>
                    <a:pt x="0" y="114"/>
                  </a:lnTo>
                  <a:lnTo>
                    <a:pt x="0" y="102"/>
                  </a:lnTo>
                  <a:lnTo>
                    <a:pt x="6" y="96"/>
                  </a:lnTo>
                  <a:lnTo>
                    <a:pt x="12" y="84"/>
                  </a:lnTo>
                  <a:lnTo>
                    <a:pt x="12" y="66"/>
                  </a:lnTo>
                  <a:lnTo>
                    <a:pt x="6" y="60"/>
                  </a:lnTo>
                  <a:lnTo>
                    <a:pt x="12" y="54"/>
                  </a:lnTo>
                  <a:lnTo>
                    <a:pt x="6" y="36"/>
                  </a:lnTo>
                  <a:lnTo>
                    <a:pt x="30" y="30"/>
                  </a:lnTo>
                  <a:lnTo>
                    <a:pt x="30" y="18"/>
                  </a:lnTo>
                  <a:lnTo>
                    <a:pt x="54" y="0"/>
                  </a:lnTo>
                  <a:lnTo>
                    <a:pt x="60" y="6"/>
                  </a:lnTo>
                  <a:lnTo>
                    <a:pt x="72" y="6"/>
                  </a:lnTo>
                  <a:lnTo>
                    <a:pt x="78" y="18"/>
                  </a:lnTo>
                  <a:lnTo>
                    <a:pt x="84" y="30"/>
                  </a:lnTo>
                  <a:lnTo>
                    <a:pt x="72" y="42"/>
                  </a:lnTo>
                  <a:lnTo>
                    <a:pt x="78" y="66"/>
                  </a:lnTo>
                  <a:lnTo>
                    <a:pt x="72" y="96"/>
                  </a:lnTo>
                  <a:lnTo>
                    <a:pt x="54" y="102"/>
                  </a:lnTo>
                  <a:lnTo>
                    <a:pt x="18" y="126"/>
                  </a:ln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131" name="MG"/>
            <p:cNvSpPr>
              <a:spLocks/>
            </p:cNvSpPr>
            <p:nvPr/>
          </p:nvSpPr>
          <p:spPr bwMode="auto">
            <a:xfrm>
              <a:off x="5336184" y="4723510"/>
              <a:ext cx="166687" cy="346073"/>
            </a:xfrm>
            <a:custGeom>
              <a:avLst/>
              <a:gdLst>
                <a:gd name="T0" fmla="*/ 2147483647 w 126"/>
                <a:gd name="T1" fmla="*/ 2147483647 h 265"/>
                <a:gd name="T2" fmla="*/ 0 w 126"/>
                <a:gd name="T3" fmla="*/ 2147483647 h 265"/>
                <a:gd name="T4" fmla="*/ 2147483647 w 126"/>
                <a:gd name="T5" fmla="*/ 2147483647 h 265"/>
                <a:gd name="T6" fmla="*/ 2147483647 w 126"/>
                <a:gd name="T7" fmla="*/ 2147483647 h 265"/>
                <a:gd name="T8" fmla="*/ 2147483647 w 126"/>
                <a:gd name="T9" fmla="*/ 2147483647 h 265"/>
                <a:gd name="T10" fmla="*/ 2147483647 w 126"/>
                <a:gd name="T11" fmla="*/ 2147483647 h 265"/>
                <a:gd name="T12" fmla="*/ 2147483647 w 126"/>
                <a:gd name="T13" fmla="*/ 2147483647 h 265"/>
                <a:gd name="T14" fmla="*/ 2147483647 w 126"/>
                <a:gd name="T15" fmla="*/ 2147483647 h 265"/>
                <a:gd name="T16" fmla="*/ 2147483647 w 126"/>
                <a:gd name="T17" fmla="*/ 0 h 265"/>
                <a:gd name="T18" fmla="*/ 2147483647 w 126"/>
                <a:gd name="T19" fmla="*/ 2147483647 h 265"/>
                <a:gd name="T20" fmla="*/ 2147483647 w 126"/>
                <a:gd name="T21" fmla="*/ 2147483647 h 265"/>
                <a:gd name="T22" fmla="*/ 2147483647 w 126"/>
                <a:gd name="T23" fmla="*/ 2147483647 h 265"/>
                <a:gd name="T24" fmla="*/ 2147483647 w 126"/>
                <a:gd name="T25" fmla="*/ 2147483647 h 265"/>
                <a:gd name="T26" fmla="*/ 2147483647 w 126"/>
                <a:gd name="T27" fmla="*/ 2147483647 h 265"/>
                <a:gd name="T28" fmla="*/ 2147483647 w 126"/>
                <a:gd name="T29" fmla="*/ 2147483647 h 265"/>
                <a:gd name="T30" fmla="*/ 2147483647 w 126"/>
                <a:gd name="T31" fmla="*/ 2147483647 h 265"/>
                <a:gd name="T32" fmla="*/ 2147483647 w 126"/>
                <a:gd name="T33" fmla="*/ 2147483647 h 26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26" h="265">
                  <a:moveTo>
                    <a:pt x="6" y="217"/>
                  </a:moveTo>
                  <a:lnTo>
                    <a:pt x="0" y="193"/>
                  </a:lnTo>
                  <a:lnTo>
                    <a:pt x="12" y="169"/>
                  </a:lnTo>
                  <a:lnTo>
                    <a:pt x="24" y="139"/>
                  </a:lnTo>
                  <a:lnTo>
                    <a:pt x="12" y="91"/>
                  </a:lnTo>
                  <a:lnTo>
                    <a:pt x="30" y="78"/>
                  </a:lnTo>
                  <a:lnTo>
                    <a:pt x="54" y="60"/>
                  </a:lnTo>
                  <a:lnTo>
                    <a:pt x="78" y="24"/>
                  </a:lnTo>
                  <a:lnTo>
                    <a:pt x="108" y="0"/>
                  </a:lnTo>
                  <a:lnTo>
                    <a:pt x="126" y="24"/>
                  </a:lnTo>
                  <a:lnTo>
                    <a:pt x="126" y="66"/>
                  </a:lnTo>
                  <a:lnTo>
                    <a:pt x="126" y="91"/>
                  </a:lnTo>
                  <a:lnTo>
                    <a:pt x="78" y="253"/>
                  </a:lnTo>
                  <a:lnTo>
                    <a:pt x="54" y="259"/>
                  </a:lnTo>
                  <a:lnTo>
                    <a:pt x="30" y="265"/>
                  </a:lnTo>
                  <a:lnTo>
                    <a:pt x="6" y="247"/>
                  </a:lnTo>
                  <a:lnTo>
                    <a:pt x="6" y="217"/>
                  </a:ln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grpSp>
          <p:nvGrpSpPr>
            <p:cNvPr id="132" name="NZ"/>
            <p:cNvGrpSpPr/>
            <p:nvPr/>
          </p:nvGrpSpPr>
          <p:grpSpPr>
            <a:xfrm>
              <a:off x="8385502" y="5336281"/>
              <a:ext cx="280984" cy="388935"/>
              <a:chOff x="8336776" y="4001967"/>
              <a:chExt cx="280987" cy="388938"/>
            </a:xfrm>
          </p:grpSpPr>
          <p:sp>
            <p:nvSpPr>
              <p:cNvPr id="310" name="Freeform 309"/>
              <p:cNvSpPr>
                <a:spLocks/>
              </p:cNvSpPr>
              <p:nvPr/>
            </p:nvSpPr>
            <p:spPr bwMode="auto">
              <a:xfrm>
                <a:off x="8336776" y="4186117"/>
                <a:ext cx="179387" cy="204788"/>
              </a:xfrm>
              <a:custGeom>
                <a:avLst/>
                <a:gdLst>
                  <a:gd name="T0" fmla="*/ 0 w 138"/>
                  <a:gd name="T1" fmla="*/ 2147483647 h 157"/>
                  <a:gd name="T2" fmla="*/ 2147483647 w 138"/>
                  <a:gd name="T3" fmla="*/ 2147483647 h 157"/>
                  <a:gd name="T4" fmla="*/ 2147483647 w 138"/>
                  <a:gd name="T5" fmla="*/ 2147483647 h 157"/>
                  <a:gd name="T6" fmla="*/ 2147483647 w 138"/>
                  <a:gd name="T7" fmla="*/ 2147483647 h 157"/>
                  <a:gd name="T8" fmla="*/ 2147483647 w 138"/>
                  <a:gd name="T9" fmla="*/ 2147483647 h 157"/>
                  <a:gd name="T10" fmla="*/ 2147483647 w 138"/>
                  <a:gd name="T11" fmla="*/ 2147483647 h 157"/>
                  <a:gd name="T12" fmla="*/ 2147483647 w 138"/>
                  <a:gd name="T13" fmla="*/ 0 h 157"/>
                  <a:gd name="T14" fmla="*/ 2147483647 w 138"/>
                  <a:gd name="T15" fmla="*/ 2147483647 h 157"/>
                  <a:gd name="T16" fmla="*/ 2147483647 w 138"/>
                  <a:gd name="T17" fmla="*/ 2147483647 h 157"/>
                  <a:gd name="T18" fmla="*/ 2147483647 w 138"/>
                  <a:gd name="T19" fmla="*/ 2147483647 h 157"/>
                  <a:gd name="T20" fmla="*/ 2147483647 w 138"/>
                  <a:gd name="T21" fmla="*/ 2147483647 h 157"/>
                  <a:gd name="T22" fmla="*/ 2147483647 w 138"/>
                  <a:gd name="T23" fmla="*/ 2147483647 h 157"/>
                  <a:gd name="T24" fmla="*/ 2147483647 w 138"/>
                  <a:gd name="T25" fmla="*/ 2147483647 h 157"/>
                  <a:gd name="T26" fmla="*/ 2147483647 w 138"/>
                  <a:gd name="T27" fmla="*/ 2147483647 h 157"/>
                  <a:gd name="T28" fmla="*/ 2147483647 w 138"/>
                  <a:gd name="T29" fmla="*/ 2147483647 h 157"/>
                  <a:gd name="T30" fmla="*/ 2147483647 w 138"/>
                  <a:gd name="T31" fmla="*/ 2147483647 h 157"/>
                  <a:gd name="T32" fmla="*/ 2147483647 w 138"/>
                  <a:gd name="T33" fmla="*/ 2147483647 h 157"/>
                  <a:gd name="T34" fmla="*/ 0 w 138"/>
                  <a:gd name="T35" fmla="*/ 2147483647 h 15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38" h="157">
                    <a:moveTo>
                      <a:pt x="0" y="133"/>
                    </a:moveTo>
                    <a:lnTo>
                      <a:pt x="18" y="97"/>
                    </a:lnTo>
                    <a:lnTo>
                      <a:pt x="30" y="79"/>
                    </a:lnTo>
                    <a:lnTo>
                      <a:pt x="66" y="60"/>
                    </a:lnTo>
                    <a:lnTo>
                      <a:pt x="78" y="54"/>
                    </a:lnTo>
                    <a:lnTo>
                      <a:pt x="90" y="30"/>
                    </a:lnTo>
                    <a:lnTo>
                      <a:pt x="102" y="0"/>
                    </a:lnTo>
                    <a:lnTo>
                      <a:pt x="114" y="12"/>
                    </a:lnTo>
                    <a:lnTo>
                      <a:pt x="138" y="18"/>
                    </a:lnTo>
                    <a:lnTo>
                      <a:pt x="138" y="36"/>
                    </a:lnTo>
                    <a:lnTo>
                      <a:pt x="114" y="54"/>
                    </a:lnTo>
                    <a:lnTo>
                      <a:pt x="102" y="67"/>
                    </a:lnTo>
                    <a:lnTo>
                      <a:pt x="78" y="91"/>
                    </a:lnTo>
                    <a:lnTo>
                      <a:pt x="72" y="115"/>
                    </a:lnTo>
                    <a:lnTo>
                      <a:pt x="66" y="151"/>
                    </a:lnTo>
                    <a:lnTo>
                      <a:pt x="36" y="157"/>
                    </a:lnTo>
                    <a:lnTo>
                      <a:pt x="18" y="151"/>
                    </a:lnTo>
                    <a:lnTo>
                      <a:pt x="0" y="133"/>
                    </a:ln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311" name="Freeform 310"/>
              <p:cNvSpPr>
                <a:spLocks/>
              </p:cNvSpPr>
              <p:nvPr/>
            </p:nvSpPr>
            <p:spPr bwMode="auto">
              <a:xfrm>
                <a:off x="8492351" y="4001967"/>
                <a:ext cx="125412" cy="201613"/>
              </a:xfrm>
              <a:custGeom>
                <a:avLst/>
                <a:gdLst>
                  <a:gd name="T0" fmla="*/ 2147483647 w 96"/>
                  <a:gd name="T1" fmla="*/ 2147483647 h 156"/>
                  <a:gd name="T2" fmla="*/ 2147483647 w 96"/>
                  <a:gd name="T3" fmla="*/ 2147483647 h 156"/>
                  <a:gd name="T4" fmla="*/ 2147483647 w 96"/>
                  <a:gd name="T5" fmla="*/ 2147483647 h 156"/>
                  <a:gd name="T6" fmla="*/ 0 w 96"/>
                  <a:gd name="T7" fmla="*/ 0 h 156"/>
                  <a:gd name="T8" fmla="*/ 2147483647 w 96"/>
                  <a:gd name="T9" fmla="*/ 2147483647 h 156"/>
                  <a:gd name="T10" fmla="*/ 2147483647 w 96"/>
                  <a:gd name="T11" fmla="*/ 2147483647 h 156"/>
                  <a:gd name="T12" fmla="*/ 2147483647 w 96"/>
                  <a:gd name="T13" fmla="*/ 2147483647 h 156"/>
                  <a:gd name="T14" fmla="*/ 2147483647 w 96"/>
                  <a:gd name="T15" fmla="*/ 2147483647 h 156"/>
                  <a:gd name="T16" fmla="*/ 2147483647 w 96"/>
                  <a:gd name="T17" fmla="*/ 2147483647 h 156"/>
                  <a:gd name="T18" fmla="*/ 2147483647 w 96"/>
                  <a:gd name="T19" fmla="*/ 2147483647 h 156"/>
                  <a:gd name="T20" fmla="*/ 2147483647 w 96"/>
                  <a:gd name="T21" fmla="*/ 2147483647 h 156"/>
                  <a:gd name="T22" fmla="*/ 2147483647 w 96"/>
                  <a:gd name="T23" fmla="*/ 2147483647 h 156"/>
                  <a:gd name="T24" fmla="*/ 2147483647 w 96"/>
                  <a:gd name="T25" fmla="*/ 2147483647 h 156"/>
                  <a:gd name="T26" fmla="*/ 2147483647 w 96"/>
                  <a:gd name="T27" fmla="*/ 2147483647 h 156"/>
                  <a:gd name="T28" fmla="*/ 2147483647 w 96"/>
                  <a:gd name="T29" fmla="*/ 2147483647 h 156"/>
                  <a:gd name="T30" fmla="*/ 2147483647 w 96"/>
                  <a:gd name="T31" fmla="*/ 2147483647 h 156"/>
                  <a:gd name="T32" fmla="*/ 2147483647 w 96"/>
                  <a:gd name="T33" fmla="*/ 2147483647 h 156"/>
                  <a:gd name="T34" fmla="*/ 2147483647 w 96"/>
                  <a:gd name="T35" fmla="*/ 2147483647 h 15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96" h="156">
                    <a:moveTo>
                      <a:pt x="6" y="108"/>
                    </a:moveTo>
                    <a:lnTo>
                      <a:pt x="24" y="78"/>
                    </a:lnTo>
                    <a:lnTo>
                      <a:pt x="24" y="54"/>
                    </a:lnTo>
                    <a:lnTo>
                      <a:pt x="0" y="0"/>
                    </a:lnTo>
                    <a:lnTo>
                      <a:pt x="30" y="12"/>
                    </a:lnTo>
                    <a:lnTo>
                      <a:pt x="30" y="42"/>
                    </a:lnTo>
                    <a:lnTo>
                      <a:pt x="42" y="60"/>
                    </a:lnTo>
                    <a:lnTo>
                      <a:pt x="60" y="78"/>
                    </a:lnTo>
                    <a:lnTo>
                      <a:pt x="84" y="66"/>
                    </a:lnTo>
                    <a:lnTo>
                      <a:pt x="96" y="78"/>
                    </a:lnTo>
                    <a:lnTo>
                      <a:pt x="90" y="90"/>
                    </a:lnTo>
                    <a:lnTo>
                      <a:pt x="78" y="102"/>
                    </a:lnTo>
                    <a:lnTo>
                      <a:pt x="66" y="114"/>
                    </a:lnTo>
                    <a:lnTo>
                      <a:pt x="60" y="132"/>
                    </a:lnTo>
                    <a:lnTo>
                      <a:pt x="42" y="156"/>
                    </a:lnTo>
                    <a:lnTo>
                      <a:pt x="24" y="144"/>
                    </a:lnTo>
                    <a:lnTo>
                      <a:pt x="30" y="126"/>
                    </a:lnTo>
                    <a:lnTo>
                      <a:pt x="6" y="108"/>
                    </a:ln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grpSp>
        <p:grpSp>
          <p:nvGrpSpPr>
            <p:cNvPr id="133" name="AU"/>
            <p:cNvGrpSpPr/>
            <p:nvPr/>
          </p:nvGrpSpPr>
          <p:grpSpPr>
            <a:xfrm>
              <a:off x="7065569" y="4709223"/>
              <a:ext cx="981799" cy="914393"/>
              <a:chOff x="7016830" y="3374905"/>
              <a:chExt cx="986290" cy="914400"/>
            </a:xfrm>
          </p:grpSpPr>
          <p:sp>
            <p:nvSpPr>
              <p:cNvPr id="308" name="Freeform 307"/>
              <p:cNvSpPr>
                <a:spLocks/>
              </p:cNvSpPr>
              <p:nvPr/>
            </p:nvSpPr>
            <p:spPr bwMode="auto">
              <a:xfrm>
                <a:off x="7016830" y="3374905"/>
                <a:ext cx="986290" cy="750887"/>
              </a:xfrm>
              <a:custGeom>
                <a:avLst/>
                <a:gdLst>
                  <a:gd name="T0" fmla="*/ 2147483647 w 757"/>
                  <a:gd name="T1" fmla="*/ 2147483647 h 577"/>
                  <a:gd name="T2" fmla="*/ 2147483647 w 757"/>
                  <a:gd name="T3" fmla="*/ 2147483647 h 577"/>
                  <a:gd name="T4" fmla="*/ 0 w 757"/>
                  <a:gd name="T5" fmla="*/ 2147483647 h 577"/>
                  <a:gd name="T6" fmla="*/ 2147483647 w 757"/>
                  <a:gd name="T7" fmla="*/ 2147483647 h 577"/>
                  <a:gd name="T8" fmla="*/ 2147483647 w 757"/>
                  <a:gd name="T9" fmla="*/ 2147483647 h 577"/>
                  <a:gd name="T10" fmla="*/ 2147483647 w 757"/>
                  <a:gd name="T11" fmla="*/ 2147483647 h 577"/>
                  <a:gd name="T12" fmla="*/ 2147483647 w 757"/>
                  <a:gd name="T13" fmla="*/ 2147483647 h 577"/>
                  <a:gd name="T14" fmla="*/ 2147483647 w 757"/>
                  <a:gd name="T15" fmla="*/ 2147483647 h 577"/>
                  <a:gd name="T16" fmla="*/ 2147483647 w 757"/>
                  <a:gd name="T17" fmla="*/ 2147483647 h 577"/>
                  <a:gd name="T18" fmla="*/ 2147483647 w 757"/>
                  <a:gd name="T19" fmla="*/ 2147483647 h 577"/>
                  <a:gd name="T20" fmla="*/ 2147483647 w 757"/>
                  <a:gd name="T21" fmla="*/ 0 h 577"/>
                  <a:gd name="T22" fmla="*/ 2147483647 w 757"/>
                  <a:gd name="T23" fmla="*/ 2147483647 h 577"/>
                  <a:gd name="T24" fmla="*/ 2147483647 w 757"/>
                  <a:gd name="T25" fmla="*/ 2147483647 h 577"/>
                  <a:gd name="T26" fmla="*/ 2147483647 w 757"/>
                  <a:gd name="T27" fmla="*/ 2147483647 h 577"/>
                  <a:gd name="T28" fmla="*/ 2147483647 w 757"/>
                  <a:gd name="T29" fmla="*/ 2147483647 h 577"/>
                  <a:gd name="T30" fmla="*/ 2147483647 w 757"/>
                  <a:gd name="T31" fmla="*/ 2147483647 h 577"/>
                  <a:gd name="T32" fmla="*/ 2147483647 w 757"/>
                  <a:gd name="T33" fmla="*/ 2147483647 h 577"/>
                  <a:gd name="T34" fmla="*/ 2147483647 w 757"/>
                  <a:gd name="T35" fmla="*/ 2147483647 h 577"/>
                  <a:gd name="T36" fmla="*/ 2147483647 w 757"/>
                  <a:gd name="T37" fmla="*/ 2147483647 h 577"/>
                  <a:gd name="T38" fmla="*/ 2147483647 w 757"/>
                  <a:gd name="T39" fmla="*/ 2147483647 h 577"/>
                  <a:gd name="T40" fmla="*/ 2147483647 w 757"/>
                  <a:gd name="T41" fmla="*/ 2147483647 h 577"/>
                  <a:gd name="T42" fmla="*/ 2147483647 w 757"/>
                  <a:gd name="T43" fmla="*/ 2147483647 h 577"/>
                  <a:gd name="T44" fmla="*/ 2147483647 w 757"/>
                  <a:gd name="T45" fmla="*/ 2147483647 h 577"/>
                  <a:gd name="T46" fmla="*/ 2147483647 w 757"/>
                  <a:gd name="T47" fmla="*/ 2147483647 h 577"/>
                  <a:gd name="T48" fmla="*/ 2147483647 w 757"/>
                  <a:gd name="T49" fmla="*/ 2147483647 h 577"/>
                  <a:gd name="T50" fmla="*/ 2147483647 w 757"/>
                  <a:gd name="T51" fmla="*/ 2147483647 h 577"/>
                  <a:gd name="T52" fmla="*/ 2147483647 w 757"/>
                  <a:gd name="T53" fmla="*/ 2147483647 h 577"/>
                  <a:gd name="T54" fmla="*/ 2147483647 w 757"/>
                  <a:gd name="T55" fmla="*/ 2147483647 h 577"/>
                  <a:gd name="T56" fmla="*/ 2147483647 w 757"/>
                  <a:gd name="T57" fmla="*/ 2147483647 h 577"/>
                  <a:gd name="T58" fmla="*/ 2147483647 w 757"/>
                  <a:gd name="T59" fmla="*/ 2147483647 h 577"/>
                  <a:gd name="T60" fmla="*/ 2147483647 w 757"/>
                  <a:gd name="T61" fmla="*/ 2147483647 h 577"/>
                  <a:gd name="T62" fmla="*/ 2147483647 w 757"/>
                  <a:gd name="T63" fmla="*/ 2147483647 h 577"/>
                  <a:gd name="T64" fmla="*/ 2147483647 w 757"/>
                  <a:gd name="T65" fmla="*/ 2147483647 h 577"/>
                  <a:gd name="T66" fmla="*/ 2147483647 w 757"/>
                  <a:gd name="T67" fmla="*/ 2147483647 h 577"/>
                  <a:gd name="T68" fmla="*/ 2147483647 w 757"/>
                  <a:gd name="T69" fmla="*/ 2147483647 h 577"/>
                  <a:gd name="T70" fmla="*/ 2147483647 w 757"/>
                  <a:gd name="T71" fmla="*/ 2147483647 h 57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757" h="577">
                    <a:moveTo>
                      <a:pt x="30" y="463"/>
                    </a:moveTo>
                    <a:lnTo>
                      <a:pt x="36" y="415"/>
                    </a:lnTo>
                    <a:lnTo>
                      <a:pt x="30" y="385"/>
                    </a:lnTo>
                    <a:lnTo>
                      <a:pt x="6" y="307"/>
                    </a:lnTo>
                    <a:lnTo>
                      <a:pt x="6" y="283"/>
                    </a:lnTo>
                    <a:lnTo>
                      <a:pt x="0" y="247"/>
                    </a:lnTo>
                    <a:lnTo>
                      <a:pt x="6" y="217"/>
                    </a:lnTo>
                    <a:lnTo>
                      <a:pt x="30" y="193"/>
                    </a:lnTo>
                    <a:lnTo>
                      <a:pt x="78" y="175"/>
                    </a:lnTo>
                    <a:lnTo>
                      <a:pt x="114" y="151"/>
                    </a:lnTo>
                    <a:lnTo>
                      <a:pt x="144" y="145"/>
                    </a:lnTo>
                    <a:lnTo>
                      <a:pt x="156" y="109"/>
                    </a:lnTo>
                    <a:lnTo>
                      <a:pt x="180" y="97"/>
                    </a:lnTo>
                    <a:lnTo>
                      <a:pt x="204" y="90"/>
                    </a:lnTo>
                    <a:lnTo>
                      <a:pt x="240" y="60"/>
                    </a:lnTo>
                    <a:lnTo>
                      <a:pt x="264" y="48"/>
                    </a:lnTo>
                    <a:lnTo>
                      <a:pt x="282" y="60"/>
                    </a:lnTo>
                    <a:lnTo>
                      <a:pt x="300" y="66"/>
                    </a:lnTo>
                    <a:lnTo>
                      <a:pt x="312" y="42"/>
                    </a:lnTo>
                    <a:lnTo>
                      <a:pt x="330" y="24"/>
                    </a:lnTo>
                    <a:lnTo>
                      <a:pt x="360" y="18"/>
                    </a:lnTo>
                    <a:lnTo>
                      <a:pt x="372" y="0"/>
                    </a:lnTo>
                    <a:lnTo>
                      <a:pt x="396" y="6"/>
                    </a:lnTo>
                    <a:lnTo>
                      <a:pt x="438" y="12"/>
                    </a:lnTo>
                    <a:lnTo>
                      <a:pt x="432" y="36"/>
                    </a:lnTo>
                    <a:lnTo>
                      <a:pt x="420" y="66"/>
                    </a:lnTo>
                    <a:lnTo>
                      <a:pt x="438" y="78"/>
                    </a:lnTo>
                    <a:lnTo>
                      <a:pt x="468" y="78"/>
                    </a:lnTo>
                    <a:lnTo>
                      <a:pt x="492" y="115"/>
                    </a:lnTo>
                    <a:lnTo>
                      <a:pt x="510" y="109"/>
                    </a:lnTo>
                    <a:lnTo>
                      <a:pt x="540" y="90"/>
                    </a:lnTo>
                    <a:lnTo>
                      <a:pt x="540" y="30"/>
                    </a:lnTo>
                    <a:lnTo>
                      <a:pt x="564" y="0"/>
                    </a:lnTo>
                    <a:lnTo>
                      <a:pt x="576" y="42"/>
                    </a:lnTo>
                    <a:lnTo>
                      <a:pt x="582" y="54"/>
                    </a:lnTo>
                    <a:lnTo>
                      <a:pt x="594" y="60"/>
                    </a:lnTo>
                    <a:lnTo>
                      <a:pt x="612" y="121"/>
                    </a:lnTo>
                    <a:lnTo>
                      <a:pt x="642" y="151"/>
                    </a:lnTo>
                    <a:lnTo>
                      <a:pt x="678" y="163"/>
                    </a:lnTo>
                    <a:lnTo>
                      <a:pt x="690" y="199"/>
                    </a:lnTo>
                    <a:lnTo>
                      <a:pt x="708" y="211"/>
                    </a:lnTo>
                    <a:lnTo>
                      <a:pt x="714" y="241"/>
                    </a:lnTo>
                    <a:lnTo>
                      <a:pt x="751" y="265"/>
                    </a:lnTo>
                    <a:lnTo>
                      <a:pt x="751" y="289"/>
                    </a:lnTo>
                    <a:lnTo>
                      <a:pt x="757" y="325"/>
                    </a:lnTo>
                    <a:lnTo>
                      <a:pt x="757" y="379"/>
                    </a:lnTo>
                    <a:lnTo>
                      <a:pt x="714" y="469"/>
                    </a:lnTo>
                    <a:lnTo>
                      <a:pt x="696" y="523"/>
                    </a:lnTo>
                    <a:lnTo>
                      <a:pt x="696" y="547"/>
                    </a:lnTo>
                    <a:lnTo>
                      <a:pt x="684" y="547"/>
                    </a:lnTo>
                    <a:lnTo>
                      <a:pt x="660" y="559"/>
                    </a:lnTo>
                    <a:lnTo>
                      <a:pt x="636" y="577"/>
                    </a:lnTo>
                    <a:lnTo>
                      <a:pt x="618" y="577"/>
                    </a:lnTo>
                    <a:lnTo>
                      <a:pt x="594" y="559"/>
                    </a:lnTo>
                    <a:lnTo>
                      <a:pt x="576" y="571"/>
                    </a:lnTo>
                    <a:lnTo>
                      <a:pt x="534" y="553"/>
                    </a:lnTo>
                    <a:lnTo>
                      <a:pt x="498" y="535"/>
                    </a:lnTo>
                    <a:lnTo>
                      <a:pt x="480" y="505"/>
                    </a:lnTo>
                    <a:lnTo>
                      <a:pt x="468" y="481"/>
                    </a:lnTo>
                    <a:lnTo>
                      <a:pt x="444" y="487"/>
                    </a:lnTo>
                    <a:lnTo>
                      <a:pt x="420" y="463"/>
                    </a:lnTo>
                    <a:lnTo>
                      <a:pt x="378" y="421"/>
                    </a:lnTo>
                    <a:lnTo>
                      <a:pt x="312" y="409"/>
                    </a:lnTo>
                    <a:lnTo>
                      <a:pt x="264" y="415"/>
                    </a:lnTo>
                    <a:lnTo>
                      <a:pt x="204" y="433"/>
                    </a:lnTo>
                    <a:lnTo>
                      <a:pt x="198" y="451"/>
                    </a:lnTo>
                    <a:lnTo>
                      <a:pt x="162" y="457"/>
                    </a:lnTo>
                    <a:lnTo>
                      <a:pt x="138" y="457"/>
                    </a:lnTo>
                    <a:lnTo>
                      <a:pt x="120" y="475"/>
                    </a:lnTo>
                    <a:lnTo>
                      <a:pt x="84" y="487"/>
                    </a:lnTo>
                    <a:lnTo>
                      <a:pt x="60" y="487"/>
                    </a:lnTo>
                    <a:lnTo>
                      <a:pt x="30" y="463"/>
                    </a:lnTo>
                    <a:close/>
                  </a:path>
                </a:pathLst>
              </a:custGeom>
              <a:solidFill>
                <a:srgbClr val="00B9E4"/>
              </a:solidFill>
              <a:ln w="9525" cap="flat" cmpd="sng">
                <a:solidFill>
                  <a:schemeClr val="bg1"/>
                </a:solidFill>
                <a:prstDash val="solid"/>
                <a:round/>
                <a:headEnd type="none" w="med" len="med"/>
                <a:tailEnd type="none" w="med" len="med"/>
              </a:ln>
              <a:effectLst/>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309" name="Freeform 308"/>
              <p:cNvSpPr>
                <a:spLocks/>
              </p:cNvSpPr>
              <p:nvPr/>
            </p:nvSpPr>
            <p:spPr bwMode="auto">
              <a:xfrm>
                <a:off x="7790395" y="4170242"/>
                <a:ext cx="87313" cy="119063"/>
              </a:xfrm>
              <a:custGeom>
                <a:avLst/>
                <a:gdLst>
                  <a:gd name="T0" fmla="*/ 0 w 66"/>
                  <a:gd name="T1" fmla="*/ 2147483647 h 91"/>
                  <a:gd name="T2" fmla="*/ 2147483647 w 66"/>
                  <a:gd name="T3" fmla="*/ 2147483647 h 91"/>
                  <a:gd name="T4" fmla="*/ 2147483647 w 66"/>
                  <a:gd name="T5" fmla="*/ 2147483647 h 91"/>
                  <a:gd name="T6" fmla="*/ 2147483647 w 66"/>
                  <a:gd name="T7" fmla="*/ 2147483647 h 91"/>
                  <a:gd name="T8" fmla="*/ 2147483647 w 66"/>
                  <a:gd name="T9" fmla="*/ 2147483647 h 91"/>
                  <a:gd name="T10" fmla="*/ 2147483647 w 66"/>
                  <a:gd name="T11" fmla="*/ 2147483647 h 91"/>
                  <a:gd name="T12" fmla="*/ 2147483647 w 66"/>
                  <a:gd name="T13" fmla="*/ 0 h 91"/>
                  <a:gd name="T14" fmla="*/ 2147483647 w 66"/>
                  <a:gd name="T15" fmla="*/ 2147483647 h 91"/>
                  <a:gd name="T16" fmla="*/ 0 w 66"/>
                  <a:gd name="T17" fmla="*/ 2147483647 h 9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6" h="91">
                    <a:moveTo>
                      <a:pt x="0" y="18"/>
                    </a:moveTo>
                    <a:lnTo>
                      <a:pt x="12" y="48"/>
                    </a:lnTo>
                    <a:lnTo>
                      <a:pt x="18" y="72"/>
                    </a:lnTo>
                    <a:lnTo>
                      <a:pt x="36" y="91"/>
                    </a:lnTo>
                    <a:lnTo>
                      <a:pt x="48" y="66"/>
                    </a:lnTo>
                    <a:lnTo>
                      <a:pt x="66" y="30"/>
                    </a:lnTo>
                    <a:lnTo>
                      <a:pt x="66" y="0"/>
                    </a:lnTo>
                    <a:lnTo>
                      <a:pt x="42" y="12"/>
                    </a:lnTo>
                    <a:lnTo>
                      <a:pt x="0" y="18"/>
                    </a:ln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grpSp>
        <p:sp>
          <p:nvSpPr>
            <p:cNvPr id="134" name="CU"/>
            <p:cNvSpPr>
              <a:spLocks/>
            </p:cNvSpPr>
            <p:nvPr/>
          </p:nvSpPr>
          <p:spPr bwMode="auto">
            <a:xfrm>
              <a:off x="2076584" y="3857555"/>
              <a:ext cx="276222" cy="77786"/>
            </a:xfrm>
            <a:custGeom>
              <a:avLst/>
              <a:gdLst>
                <a:gd name="T0" fmla="*/ 2147483647 w 35"/>
                <a:gd name="T1" fmla="*/ 2147483647 h 10"/>
                <a:gd name="T2" fmla="*/ 2147483647 w 35"/>
                <a:gd name="T3" fmla="*/ 0 h 10"/>
                <a:gd name="T4" fmla="*/ 2147483647 w 35"/>
                <a:gd name="T5" fmla="*/ 0 h 10"/>
                <a:gd name="T6" fmla="*/ 2147483647 w 35"/>
                <a:gd name="T7" fmla="*/ 2147483647 h 10"/>
                <a:gd name="T8" fmla="*/ 2147483647 w 35"/>
                <a:gd name="T9" fmla="*/ 2147483647 h 10"/>
                <a:gd name="T10" fmla="*/ 2147483647 w 35"/>
                <a:gd name="T11" fmla="*/ 2147483647 h 10"/>
                <a:gd name="T12" fmla="*/ 2147483647 w 35"/>
                <a:gd name="T13" fmla="*/ 2147483647 h 10"/>
                <a:gd name="T14" fmla="*/ 2147483647 w 35"/>
                <a:gd name="T15" fmla="*/ 2147483647 h 10"/>
                <a:gd name="T16" fmla="*/ 2147483647 w 35"/>
                <a:gd name="T17" fmla="*/ 2147483647 h 10"/>
                <a:gd name="T18" fmla="*/ 2147483647 w 35"/>
                <a:gd name="T19" fmla="*/ 2147483647 h 10"/>
                <a:gd name="T20" fmla="*/ 2147483647 w 35"/>
                <a:gd name="T21" fmla="*/ 2147483647 h 10"/>
                <a:gd name="T22" fmla="*/ 2147483647 w 35"/>
                <a:gd name="T23" fmla="*/ 2147483647 h 10"/>
                <a:gd name="T24" fmla="*/ 2147483647 w 35"/>
                <a:gd name="T25" fmla="*/ 2147483647 h 10"/>
                <a:gd name="T26" fmla="*/ 2147483647 w 35"/>
                <a:gd name="T27" fmla="*/ 2147483647 h 10"/>
                <a:gd name="T28" fmla="*/ 0 w 35"/>
                <a:gd name="T29" fmla="*/ 2147483647 h 10"/>
                <a:gd name="T30" fmla="*/ 2147483647 w 35"/>
                <a:gd name="T31" fmla="*/ 2147483647 h 1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5" h="10">
                  <a:moveTo>
                    <a:pt x="2" y="1"/>
                  </a:moveTo>
                  <a:cubicBezTo>
                    <a:pt x="8" y="0"/>
                    <a:pt x="8" y="0"/>
                    <a:pt x="8" y="0"/>
                  </a:cubicBezTo>
                  <a:cubicBezTo>
                    <a:pt x="19" y="0"/>
                    <a:pt x="19" y="0"/>
                    <a:pt x="19" y="0"/>
                  </a:cubicBezTo>
                  <a:cubicBezTo>
                    <a:pt x="26" y="3"/>
                    <a:pt x="26" y="3"/>
                    <a:pt x="26" y="3"/>
                  </a:cubicBezTo>
                  <a:cubicBezTo>
                    <a:pt x="26" y="3"/>
                    <a:pt x="27" y="5"/>
                    <a:pt x="28" y="6"/>
                  </a:cubicBezTo>
                  <a:cubicBezTo>
                    <a:pt x="30" y="7"/>
                    <a:pt x="33" y="7"/>
                    <a:pt x="33" y="7"/>
                  </a:cubicBezTo>
                  <a:cubicBezTo>
                    <a:pt x="35" y="9"/>
                    <a:pt x="35" y="9"/>
                    <a:pt x="35" y="9"/>
                  </a:cubicBezTo>
                  <a:cubicBezTo>
                    <a:pt x="35" y="9"/>
                    <a:pt x="35" y="10"/>
                    <a:pt x="33" y="10"/>
                  </a:cubicBezTo>
                  <a:cubicBezTo>
                    <a:pt x="31" y="10"/>
                    <a:pt x="25" y="10"/>
                    <a:pt x="25" y="10"/>
                  </a:cubicBezTo>
                  <a:cubicBezTo>
                    <a:pt x="23" y="8"/>
                    <a:pt x="23" y="8"/>
                    <a:pt x="23" y="8"/>
                  </a:cubicBezTo>
                  <a:cubicBezTo>
                    <a:pt x="21" y="5"/>
                    <a:pt x="21" y="5"/>
                    <a:pt x="21" y="5"/>
                  </a:cubicBezTo>
                  <a:cubicBezTo>
                    <a:pt x="15" y="4"/>
                    <a:pt x="15" y="4"/>
                    <a:pt x="15" y="4"/>
                  </a:cubicBezTo>
                  <a:cubicBezTo>
                    <a:pt x="9" y="4"/>
                    <a:pt x="9" y="4"/>
                    <a:pt x="9" y="4"/>
                  </a:cubicBezTo>
                  <a:cubicBezTo>
                    <a:pt x="5" y="4"/>
                    <a:pt x="5" y="4"/>
                    <a:pt x="5" y="4"/>
                  </a:cubicBezTo>
                  <a:cubicBezTo>
                    <a:pt x="0" y="3"/>
                    <a:pt x="0" y="3"/>
                    <a:pt x="0" y="3"/>
                  </a:cubicBezTo>
                  <a:lnTo>
                    <a:pt x="2" y="1"/>
                  </a:ln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135" name="HTDO"/>
            <p:cNvSpPr>
              <a:spLocks/>
            </p:cNvSpPr>
            <p:nvPr/>
          </p:nvSpPr>
          <p:spPr bwMode="auto">
            <a:xfrm>
              <a:off x="2352807" y="3943279"/>
              <a:ext cx="171448" cy="45223"/>
            </a:xfrm>
            <a:custGeom>
              <a:avLst/>
              <a:gdLst>
                <a:gd name="T0" fmla="*/ 2147483647 w 132"/>
                <a:gd name="T1" fmla="*/ 0 h 36"/>
                <a:gd name="T2" fmla="*/ 2147483647 w 132"/>
                <a:gd name="T3" fmla="*/ 2147483647 h 36"/>
                <a:gd name="T4" fmla="*/ 0 w 132"/>
                <a:gd name="T5" fmla="*/ 2147483647 h 36"/>
                <a:gd name="T6" fmla="*/ 2147483647 w 132"/>
                <a:gd name="T7" fmla="*/ 2147483647 h 36"/>
                <a:gd name="T8" fmla="*/ 2147483647 w 132"/>
                <a:gd name="T9" fmla="*/ 2147483647 h 36"/>
                <a:gd name="T10" fmla="*/ 2147483647 w 132"/>
                <a:gd name="T11" fmla="*/ 2147483647 h 36"/>
                <a:gd name="T12" fmla="*/ 2147483647 w 132"/>
                <a:gd name="T13" fmla="*/ 2147483647 h 36"/>
                <a:gd name="T14" fmla="*/ 2147483647 w 132"/>
                <a:gd name="T15" fmla="*/ 2147483647 h 36"/>
                <a:gd name="T16" fmla="*/ 2147483647 w 132"/>
                <a:gd name="T17" fmla="*/ 2147483647 h 36"/>
                <a:gd name="T18" fmla="*/ 2147483647 w 132"/>
                <a:gd name="T19" fmla="*/ 0 h 36"/>
                <a:gd name="T20" fmla="*/ 2147483647 w 132"/>
                <a:gd name="T21" fmla="*/ 0 h 3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2" h="36">
                  <a:moveTo>
                    <a:pt x="24" y="0"/>
                  </a:moveTo>
                  <a:lnTo>
                    <a:pt x="24" y="12"/>
                  </a:lnTo>
                  <a:lnTo>
                    <a:pt x="0" y="18"/>
                  </a:lnTo>
                  <a:lnTo>
                    <a:pt x="30" y="30"/>
                  </a:lnTo>
                  <a:lnTo>
                    <a:pt x="42" y="36"/>
                  </a:lnTo>
                  <a:lnTo>
                    <a:pt x="66" y="36"/>
                  </a:lnTo>
                  <a:lnTo>
                    <a:pt x="84" y="24"/>
                  </a:lnTo>
                  <a:lnTo>
                    <a:pt x="132" y="30"/>
                  </a:lnTo>
                  <a:lnTo>
                    <a:pt x="108" y="18"/>
                  </a:lnTo>
                  <a:lnTo>
                    <a:pt x="72" y="0"/>
                  </a:lnTo>
                  <a:lnTo>
                    <a:pt x="24" y="0"/>
                  </a:ln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grpSp>
          <p:nvGrpSpPr>
            <p:cNvPr id="136" name="IT"/>
            <p:cNvGrpSpPr/>
            <p:nvPr/>
          </p:nvGrpSpPr>
          <p:grpSpPr>
            <a:xfrm>
              <a:off x="4470271" y="3128165"/>
              <a:ext cx="311146" cy="338908"/>
              <a:chOff x="4421507" y="1793836"/>
              <a:chExt cx="311150" cy="336998"/>
            </a:xfrm>
          </p:grpSpPr>
          <p:sp>
            <p:nvSpPr>
              <p:cNvPr id="305" name="Freeform 304"/>
              <p:cNvSpPr>
                <a:spLocks/>
              </p:cNvSpPr>
              <p:nvPr/>
            </p:nvSpPr>
            <p:spPr bwMode="auto">
              <a:xfrm>
                <a:off x="4421507" y="1793836"/>
                <a:ext cx="311150" cy="311598"/>
              </a:xfrm>
              <a:custGeom>
                <a:avLst/>
                <a:gdLst>
                  <a:gd name="T0" fmla="*/ 2147483647 w 154"/>
                  <a:gd name="T1" fmla="*/ 2147483647 h 154"/>
                  <a:gd name="T2" fmla="*/ 2147483647 w 154"/>
                  <a:gd name="T3" fmla="*/ 0 h 154"/>
                  <a:gd name="T4" fmla="*/ 2147483647 w 154"/>
                  <a:gd name="T5" fmla="*/ 0 h 154"/>
                  <a:gd name="T6" fmla="*/ 2147483647 w 154"/>
                  <a:gd name="T7" fmla="*/ 2147483647 h 154"/>
                  <a:gd name="T8" fmla="*/ 2147483647 w 154"/>
                  <a:gd name="T9" fmla="*/ 2147483647 h 154"/>
                  <a:gd name="T10" fmla="*/ 2147483647 w 154"/>
                  <a:gd name="T11" fmla="*/ 2147483647 h 154"/>
                  <a:gd name="T12" fmla="*/ 2147483647 w 154"/>
                  <a:gd name="T13" fmla="*/ 2147483647 h 154"/>
                  <a:gd name="T14" fmla="*/ 2147483647 w 154"/>
                  <a:gd name="T15" fmla="*/ 2147483647 h 154"/>
                  <a:gd name="T16" fmla="*/ 2147483647 w 154"/>
                  <a:gd name="T17" fmla="*/ 2147483647 h 154"/>
                  <a:gd name="T18" fmla="*/ 2147483647 w 154"/>
                  <a:gd name="T19" fmla="*/ 2147483647 h 154"/>
                  <a:gd name="T20" fmla="*/ 2147483647 w 154"/>
                  <a:gd name="T21" fmla="*/ 2147483647 h 154"/>
                  <a:gd name="T22" fmla="*/ 0 w 154"/>
                  <a:gd name="T23" fmla="*/ 2147483647 h 154"/>
                  <a:gd name="T24" fmla="*/ 2147483647 w 154"/>
                  <a:gd name="T25" fmla="*/ 2147483647 h 154"/>
                  <a:gd name="T26" fmla="*/ 2147483647 w 154"/>
                  <a:gd name="T27" fmla="*/ 2147483647 h 154"/>
                  <a:gd name="T28" fmla="*/ 2147483647 w 154"/>
                  <a:gd name="T29" fmla="*/ 2147483647 h 154"/>
                  <a:gd name="T30" fmla="*/ 2147483647 w 154"/>
                  <a:gd name="T31" fmla="*/ 2147483647 h 154"/>
                  <a:gd name="T32" fmla="*/ 2147483647 w 154"/>
                  <a:gd name="T33" fmla="*/ 2147483647 h 154"/>
                  <a:gd name="T34" fmla="*/ 2147483647 w 154"/>
                  <a:gd name="T35" fmla="*/ 2147483647 h 154"/>
                  <a:gd name="T36" fmla="*/ 2147483647 w 154"/>
                  <a:gd name="T37" fmla="*/ 2147483647 h 154"/>
                  <a:gd name="T38" fmla="*/ 2147483647 w 154"/>
                  <a:gd name="T39" fmla="*/ 2147483647 h 154"/>
                  <a:gd name="T40" fmla="*/ 2147483647 w 154"/>
                  <a:gd name="T41" fmla="*/ 2147483647 h 154"/>
                  <a:gd name="T42" fmla="*/ 2147483647 w 154"/>
                  <a:gd name="T43" fmla="*/ 2147483647 h 154"/>
                  <a:gd name="T44" fmla="*/ 2147483647 w 154"/>
                  <a:gd name="T45" fmla="*/ 2147483647 h 154"/>
                  <a:gd name="T46" fmla="*/ 2147483647 w 154"/>
                  <a:gd name="T47" fmla="*/ 2147483647 h 154"/>
                  <a:gd name="T48" fmla="*/ 2147483647 w 154"/>
                  <a:gd name="T49" fmla="*/ 2147483647 h 154"/>
                  <a:gd name="T50" fmla="*/ 2147483647 w 154"/>
                  <a:gd name="T51" fmla="*/ 2147483647 h 154"/>
                  <a:gd name="T52" fmla="*/ 2147483647 w 154"/>
                  <a:gd name="T53" fmla="*/ 2147483647 h 154"/>
                  <a:gd name="T54" fmla="*/ 2147483647 w 154"/>
                  <a:gd name="T55" fmla="*/ 2147483647 h 154"/>
                  <a:gd name="T56" fmla="*/ 2147483647 w 154"/>
                  <a:gd name="T57" fmla="*/ 2147483647 h 154"/>
                  <a:gd name="T58" fmla="*/ 2147483647 w 154"/>
                  <a:gd name="T59" fmla="*/ 2147483647 h 154"/>
                  <a:gd name="T60" fmla="*/ 2147483647 w 154"/>
                  <a:gd name="T61" fmla="*/ 2147483647 h 154"/>
                  <a:gd name="T62" fmla="*/ 2147483647 w 154"/>
                  <a:gd name="T63" fmla="*/ 2147483647 h 154"/>
                  <a:gd name="T64" fmla="*/ 2147483647 w 154"/>
                  <a:gd name="T65" fmla="*/ 2147483647 h 154"/>
                  <a:gd name="T66" fmla="*/ 2147483647 w 154"/>
                  <a:gd name="T67" fmla="*/ 2147483647 h 15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54" h="154">
                    <a:moveTo>
                      <a:pt x="87" y="4"/>
                    </a:moveTo>
                    <a:lnTo>
                      <a:pt x="71" y="0"/>
                    </a:lnTo>
                    <a:lnTo>
                      <a:pt x="54" y="0"/>
                    </a:lnTo>
                    <a:lnTo>
                      <a:pt x="50" y="4"/>
                    </a:lnTo>
                    <a:lnTo>
                      <a:pt x="46" y="4"/>
                    </a:lnTo>
                    <a:lnTo>
                      <a:pt x="37" y="8"/>
                    </a:lnTo>
                    <a:lnTo>
                      <a:pt x="25" y="12"/>
                    </a:lnTo>
                    <a:lnTo>
                      <a:pt x="21" y="8"/>
                    </a:lnTo>
                    <a:lnTo>
                      <a:pt x="8" y="16"/>
                    </a:lnTo>
                    <a:lnTo>
                      <a:pt x="4" y="16"/>
                    </a:lnTo>
                    <a:lnTo>
                      <a:pt x="4" y="25"/>
                    </a:lnTo>
                    <a:lnTo>
                      <a:pt x="0" y="33"/>
                    </a:lnTo>
                    <a:lnTo>
                      <a:pt x="4" y="45"/>
                    </a:lnTo>
                    <a:lnTo>
                      <a:pt x="12" y="54"/>
                    </a:lnTo>
                    <a:lnTo>
                      <a:pt x="21" y="45"/>
                    </a:lnTo>
                    <a:lnTo>
                      <a:pt x="42" y="54"/>
                    </a:lnTo>
                    <a:lnTo>
                      <a:pt x="54" y="78"/>
                    </a:lnTo>
                    <a:lnTo>
                      <a:pt x="67" y="95"/>
                    </a:lnTo>
                    <a:lnTo>
                      <a:pt x="96" y="112"/>
                    </a:lnTo>
                    <a:lnTo>
                      <a:pt x="114" y="126"/>
                    </a:lnTo>
                    <a:lnTo>
                      <a:pt x="106" y="154"/>
                    </a:lnTo>
                    <a:lnTo>
                      <a:pt x="133" y="133"/>
                    </a:lnTo>
                    <a:lnTo>
                      <a:pt x="133" y="120"/>
                    </a:lnTo>
                    <a:lnTo>
                      <a:pt x="146" y="124"/>
                    </a:lnTo>
                    <a:lnTo>
                      <a:pt x="154" y="124"/>
                    </a:lnTo>
                    <a:lnTo>
                      <a:pt x="133" y="104"/>
                    </a:lnTo>
                    <a:lnTo>
                      <a:pt x="117" y="91"/>
                    </a:lnTo>
                    <a:lnTo>
                      <a:pt x="104" y="87"/>
                    </a:lnTo>
                    <a:lnTo>
                      <a:pt x="87" y="58"/>
                    </a:lnTo>
                    <a:lnTo>
                      <a:pt x="79" y="41"/>
                    </a:lnTo>
                    <a:lnTo>
                      <a:pt x="83" y="25"/>
                    </a:lnTo>
                    <a:lnTo>
                      <a:pt x="87" y="25"/>
                    </a:lnTo>
                    <a:lnTo>
                      <a:pt x="87" y="16"/>
                    </a:lnTo>
                    <a:lnTo>
                      <a:pt x="87" y="4"/>
                    </a:ln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306" name="Freeform 305"/>
              <p:cNvSpPr>
                <a:spLocks/>
              </p:cNvSpPr>
              <p:nvPr/>
            </p:nvSpPr>
            <p:spPr bwMode="auto">
              <a:xfrm>
                <a:off x="4537395" y="2084797"/>
                <a:ext cx="77787" cy="46037"/>
              </a:xfrm>
              <a:custGeom>
                <a:avLst/>
                <a:gdLst>
                  <a:gd name="T0" fmla="*/ 0 w 60"/>
                  <a:gd name="T1" fmla="*/ 2147483647 h 36"/>
                  <a:gd name="T2" fmla="*/ 2147483647 w 60"/>
                  <a:gd name="T3" fmla="*/ 0 h 36"/>
                  <a:gd name="T4" fmla="*/ 2147483647 w 60"/>
                  <a:gd name="T5" fmla="*/ 2147483647 h 36"/>
                  <a:gd name="T6" fmla="*/ 2147483647 w 60"/>
                  <a:gd name="T7" fmla="*/ 2147483647 h 36"/>
                  <a:gd name="T8" fmla="*/ 2147483647 w 60"/>
                  <a:gd name="T9" fmla="*/ 2147483647 h 36"/>
                  <a:gd name="T10" fmla="*/ 2147483647 w 60"/>
                  <a:gd name="T11" fmla="*/ 2147483647 h 36"/>
                  <a:gd name="T12" fmla="*/ 0 w 60"/>
                  <a:gd name="T13" fmla="*/ 2147483647 h 3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0" h="36">
                    <a:moveTo>
                      <a:pt x="0" y="12"/>
                    </a:moveTo>
                    <a:lnTo>
                      <a:pt x="36" y="0"/>
                    </a:lnTo>
                    <a:lnTo>
                      <a:pt x="60" y="6"/>
                    </a:lnTo>
                    <a:lnTo>
                      <a:pt x="60" y="18"/>
                    </a:lnTo>
                    <a:lnTo>
                      <a:pt x="54" y="36"/>
                    </a:lnTo>
                    <a:lnTo>
                      <a:pt x="30" y="24"/>
                    </a:lnTo>
                    <a:lnTo>
                      <a:pt x="0" y="12"/>
                    </a:ln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307" name="Freeform 306"/>
              <p:cNvSpPr>
                <a:spLocks/>
              </p:cNvSpPr>
              <p:nvPr/>
            </p:nvSpPr>
            <p:spPr bwMode="auto">
              <a:xfrm>
                <a:off x="4450082" y="2000211"/>
                <a:ext cx="31750" cy="57598"/>
              </a:xfrm>
              <a:custGeom>
                <a:avLst/>
                <a:gdLst>
                  <a:gd name="T0" fmla="*/ 0 w 24"/>
                  <a:gd name="T1" fmla="*/ 2147483647 h 48"/>
                  <a:gd name="T2" fmla="*/ 2147483647 w 24"/>
                  <a:gd name="T3" fmla="*/ 2147483647 h 48"/>
                  <a:gd name="T4" fmla="*/ 2147483647 w 24"/>
                  <a:gd name="T5" fmla="*/ 0 h 48"/>
                  <a:gd name="T6" fmla="*/ 2147483647 w 24"/>
                  <a:gd name="T7" fmla="*/ 2147483647 h 48"/>
                  <a:gd name="T8" fmla="*/ 2147483647 w 24"/>
                  <a:gd name="T9" fmla="*/ 2147483647 h 48"/>
                  <a:gd name="T10" fmla="*/ 0 w 24"/>
                  <a:gd name="T11" fmla="*/ 2147483647 h 4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4" h="48">
                    <a:moveTo>
                      <a:pt x="0" y="48"/>
                    </a:moveTo>
                    <a:lnTo>
                      <a:pt x="6" y="6"/>
                    </a:lnTo>
                    <a:lnTo>
                      <a:pt x="18" y="0"/>
                    </a:lnTo>
                    <a:lnTo>
                      <a:pt x="24" y="24"/>
                    </a:lnTo>
                    <a:lnTo>
                      <a:pt x="24" y="48"/>
                    </a:lnTo>
                    <a:lnTo>
                      <a:pt x="0" y="48"/>
                    </a:ln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grpSp>
        <p:grpSp>
          <p:nvGrpSpPr>
            <p:cNvPr id="137" name="FR"/>
            <p:cNvGrpSpPr/>
            <p:nvPr/>
          </p:nvGrpSpPr>
          <p:grpSpPr>
            <a:xfrm>
              <a:off x="4218715" y="2951953"/>
              <a:ext cx="311881" cy="366710"/>
              <a:chOff x="4169949" y="1617623"/>
              <a:chExt cx="315436" cy="366713"/>
            </a:xfrm>
          </p:grpSpPr>
          <p:sp>
            <p:nvSpPr>
              <p:cNvPr id="303" name="Freeform 302"/>
              <p:cNvSpPr>
                <a:spLocks/>
              </p:cNvSpPr>
              <p:nvPr/>
            </p:nvSpPr>
            <p:spPr bwMode="auto">
              <a:xfrm rot="471028">
                <a:off x="4169949" y="1617623"/>
                <a:ext cx="301149" cy="293688"/>
              </a:xfrm>
              <a:custGeom>
                <a:avLst/>
                <a:gdLst>
                  <a:gd name="T0" fmla="*/ 255899615 w 10043"/>
                  <a:gd name="T1" fmla="*/ 182500249 h 10000"/>
                  <a:gd name="T2" fmla="*/ 260305209 w 10043"/>
                  <a:gd name="T3" fmla="*/ 166367556 h 10000"/>
                  <a:gd name="T4" fmla="*/ 260305209 w 10043"/>
                  <a:gd name="T5" fmla="*/ 154066199 h 10000"/>
                  <a:gd name="T6" fmla="*/ 260305209 w 10043"/>
                  <a:gd name="T7" fmla="*/ 154066199 h 10000"/>
                  <a:gd name="T8" fmla="*/ 253121605 w 10043"/>
                  <a:gd name="T9" fmla="*/ 141738968 h 10000"/>
                  <a:gd name="T10" fmla="*/ 238753485 w 10043"/>
                  <a:gd name="T11" fmla="*/ 141738968 h 10000"/>
                  <a:gd name="T12" fmla="*/ 241222933 w 10043"/>
                  <a:gd name="T13" fmla="*/ 133621726 h 10000"/>
                  <a:gd name="T14" fmla="*/ 260305209 w 10043"/>
                  <a:gd name="T15" fmla="*/ 110920025 h 10000"/>
                  <a:gd name="T16" fmla="*/ 267461165 w 10043"/>
                  <a:gd name="T17" fmla="*/ 104731402 h 10000"/>
                  <a:gd name="T18" fmla="*/ 267461165 w 10043"/>
                  <a:gd name="T19" fmla="*/ 104731402 h 10000"/>
                  <a:gd name="T20" fmla="*/ 267461165 w 10043"/>
                  <a:gd name="T21" fmla="*/ 80101963 h 10000"/>
                  <a:gd name="T22" fmla="*/ 281829285 w 10043"/>
                  <a:gd name="T23" fmla="*/ 67774732 h 10000"/>
                  <a:gd name="T24" fmla="*/ 260305209 w 10043"/>
                  <a:gd name="T25" fmla="*/ 61611131 h 10000"/>
                  <a:gd name="T26" fmla="*/ 245938000 w 10043"/>
                  <a:gd name="T27" fmla="*/ 55447501 h 10000"/>
                  <a:gd name="T28" fmla="*/ 224385365 w 10043"/>
                  <a:gd name="T29" fmla="*/ 49283901 h 10000"/>
                  <a:gd name="T30" fmla="*/ 217230320 w 10043"/>
                  <a:gd name="T31" fmla="*/ 43120271 h 10000"/>
                  <a:gd name="T32" fmla="*/ 202862230 w 10043"/>
                  <a:gd name="T33" fmla="*/ 36956670 h 10000"/>
                  <a:gd name="T34" fmla="*/ 188494111 w 10043"/>
                  <a:gd name="T35" fmla="*/ 30818062 h 10000"/>
                  <a:gd name="T36" fmla="*/ 181310506 w 10043"/>
                  <a:gd name="T37" fmla="*/ 18490831 h 10000"/>
                  <a:gd name="T38" fmla="*/ 166970035 w 10043"/>
                  <a:gd name="T39" fmla="*/ 12327231 h 10000"/>
                  <a:gd name="T40" fmla="*/ 159786430 w 10043"/>
                  <a:gd name="T41" fmla="*/ 0 h 10000"/>
                  <a:gd name="T42" fmla="*/ 145418311 w 10043"/>
                  <a:gd name="T43" fmla="*/ 6163601 h 10000"/>
                  <a:gd name="T44" fmla="*/ 131078750 w 10043"/>
                  <a:gd name="T45" fmla="*/ 30818062 h 10000"/>
                  <a:gd name="T46" fmla="*/ 123895176 w 10043"/>
                  <a:gd name="T47" fmla="*/ 36956670 h 10000"/>
                  <a:gd name="T48" fmla="*/ 109162285 w 10043"/>
                  <a:gd name="T49" fmla="*/ 53063489 h 10000"/>
                  <a:gd name="T50" fmla="*/ 83597386 w 10043"/>
                  <a:gd name="T51" fmla="*/ 51592024 h 10000"/>
                  <a:gd name="T52" fmla="*/ 77368031 w 10043"/>
                  <a:gd name="T53" fmla="*/ 41826487 h 10000"/>
                  <a:gd name="T54" fmla="*/ 65890306 w 10043"/>
                  <a:gd name="T55" fmla="*/ 41116643 h 10000"/>
                  <a:gd name="T56" fmla="*/ 65665568 w 10043"/>
                  <a:gd name="T57" fmla="*/ 56943989 h 10000"/>
                  <a:gd name="T58" fmla="*/ 66451256 w 10043"/>
                  <a:gd name="T59" fmla="*/ 73938362 h 10000"/>
                  <a:gd name="T60" fmla="*/ 44928091 w 10043"/>
                  <a:gd name="T61" fmla="*/ 73938362 h 10000"/>
                  <a:gd name="T62" fmla="*/ 36172200 w 10043"/>
                  <a:gd name="T63" fmla="*/ 63336167 h 10000"/>
                  <a:gd name="T64" fmla="*/ 19194631 w 10043"/>
                  <a:gd name="T65" fmla="*/ 66582741 h 10000"/>
                  <a:gd name="T66" fmla="*/ 925690 w 10043"/>
                  <a:gd name="T67" fmla="*/ 69550693 h 10000"/>
                  <a:gd name="T68" fmla="*/ 2638009 w 10043"/>
                  <a:gd name="T69" fmla="*/ 82460982 h 10000"/>
                  <a:gd name="T70" fmla="*/ 2946572 w 10043"/>
                  <a:gd name="T71" fmla="*/ 94356932 h 10000"/>
                  <a:gd name="T72" fmla="*/ 23375486 w 10043"/>
                  <a:gd name="T73" fmla="*/ 110920025 h 10000"/>
                  <a:gd name="T74" fmla="*/ 44928091 w 10043"/>
                  <a:gd name="T75" fmla="*/ 110920025 h 10000"/>
                  <a:gd name="T76" fmla="*/ 52083136 w 10043"/>
                  <a:gd name="T77" fmla="*/ 117083655 h 10000"/>
                  <a:gd name="T78" fmla="*/ 52083136 w 10043"/>
                  <a:gd name="T79" fmla="*/ 123248137 h 10000"/>
                  <a:gd name="T80" fmla="*/ 59267651 w 10043"/>
                  <a:gd name="T81" fmla="*/ 135575338 h 10000"/>
                  <a:gd name="T82" fmla="*/ 66451256 w 10043"/>
                  <a:gd name="T83" fmla="*/ 154066199 h 10000"/>
                  <a:gd name="T84" fmla="*/ 73635771 w 10043"/>
                  <a:gd name="T85" fmla="*/ 160203926 h 10000"/>
                  <a:gd name="T86" fmla="*/ 73635771 w 10043"/>
                  <a:gd name="T87" fmla="*/ 178695638 h 10000"/>
                  <a:gd name="T88" fmla="*/ 61399977 w 10043"/>
                  <a:gd name="T89" fmla="*/ 216438071 h 10000"/>
                  <a:gd name="T90" fmla="*/ 59436212 w 10043"/>
                  <a:gd name="T91" fmla="*/ 223312396 h 10000"/>
                  <a:gd name="T92" fmla="*/ 70604463 w 10043"/>
                  <a:gd name="T93" fmla="*/ 240002274 h 10000"/>
                  <a:gd name="T94" fmla="*/ 80819376 w 10043"/>
                  <a:gd name="T95" fmla="*/ 240306770 h 10000"/>
                  <a:gd name="T96" fmla="*/ 95158936 w 10043"/>
                  <a:gd name="T97" fmla="*/ 240306770 h 10000"/>
                  <a:gd name="T98" fmla="*/ 116710630 w 10043"/>
                  <a:gd name="T99" fmla="*/ 246470371 h 10000"/>
                  <a:gd name="T100" fmla="*/ 131078750 w 10043"/>
                  <a:gd name="T101" fmla="*/ 246470371 h 10000"/>
                  <a:gd name="T102" fmla="*/ 152602826 w 10043"/>
                  <a:gd name="T103" fmla="*/ 252634001 h 10000"/>
                  <a:gd name="T104" fmla="*/ 166970035 w 10043"/>
                  <a:gd name="T105" fmla="*/ 252634001 h 10000"/>
                  <a:gd name="T106" fmla="*/ 178897235 w 10043"/>
                  <a:gd name="T107" fmla="*/ 238759387 h 10000"/>
                  <a:gd name="T108" fmla="*/ 192759672 w 10043"/>
                  <a:gd name="T109" fmla="*/ 238454920 h 10000"/>
                  <a:gd name="T110" fmla="*/ 225115787 w 10043"/>
                  <a:gd name="T111" fmla="*/ 244136373 h 10000"/>
                  <a:gd name="T112" fmla="*/ 243243814 w 10043"/>
                  <a:gd name="T113" fmla="*/ 247129348 h 10000"/>
                  <a:gd name="T114" fmla="*/ 271221984 w 10043"/>
                  <a:gd name="T115" fmla="*/ 226685755 h 10000"/>
                  <a:gd name="T116" fmla="*/ 254776805 w 10043"/>
                  <a:gd name="T117" fmla="*/ 205226942 h 10000"/>
                  <a:gd name="T118" fmla="*/ 250933102 w 10043"/>
                  <a:gd name="T119" fmla="*/ 198758875 h 10000"/>
                  <a:gd name="T120" fmla="*/ 255899615 w 10043"/>
                  <a:gd name="T121" fmla="*/ 182500249 h 1000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0043" h="10000">
                    <a:moveTo>
                      <a:pt x="9119" y="7195"/>
                    </a:moveTo>
                    <a:cubicBezTo>
                      <a:pt x="9204" y="7033"/>
                      <a:pt x="9249" y="6746"/>
                      <a:pt x="9276" y="6559"/>
                    </a:cubicBezTo>
                    <a:cubicBezTo>
                      <a:pt x="9302" y="6372"/>
                      <a:pt x="9276" y="6235"/>
                      <a:pt x="9276" y="6074"/>
                    </a:cubicBezTo>
                    <a:cubicBezTo>
                      <a:pt x="9191" y="5911"/>
                      <a:pt x="9105" y="5750"/>
                      <a:pt x="9020" y="5588"/>
                    </a:cubicBezTo>
                    <a:cubicBezTo>
                      <a:pt x="8849" y="5588"/>
                      <a:pt x="8579" y="5641"/>
                      <a:pt x="8508" y="5588"/>
                    </a:cubicBezTo>
                    <a:cubicBezTo>
                      <a:pt x="8437" y="5534"/>
                      <a:pt x="8566" y="5375"/>
                      <a:pt x="8596" y="5268"/>
                    </a:cubicBezTo>
                    <a:cubicBezTo>
                      <a:pt x="8822" y="4969"/>
                      <a:pt x="9120" y="4562"/>
                      <a:pt x="9276" y="4373"/>
                    </a:cubicBezTo>
                    <a:cubicBezTo>
                      <a:pt x="9431" y="4183"/>
                      <a:pt x="9446" y="4210"/>
                      <a:pt x="9531" y="4129"/>
                    </a:cubicBezTo>
                    <a:lnTo>
                      <a:pt x="9531" y="3158"/>
                    </a:lnTo>
                    <a:lnTo>
                      <a:pt x="10043" y="2672"/>
                    </a:lnTo>
                    <a:lnTo>
                      <a:pt x="9276" y="2429"/>
                    </a:lnTo>
                    <a:lnTo>
                      <a:pt x="8764" y="2186"/>
                    </a:lnTo>
                    <a:lnTo>
                      <a:pt x="7996" y="1943"/>
                    </a:lnTo>
                    <a:lnTo>
                      <a:pt x="7741" y="1700"/>
                    </a:lnTo>
                    <a:lnTo>
                      <a:pt x="7229" y="1457"/>
                    </a:lnTo>
                    <a:lnTo>
                      <a:pt x="6717" y="1215"/>
                    </a:lnTo>
                    <a:lnTo>
                      <a:pt x="6461" y="729"/>
                    </a:lnTo>
                    <a:lnTo>
                      <a:pt x="5950" y="486"/>
                    </a:lnTo>
                    <a:lnTo>
                      <a:pt x="5694" y="0"/>
                    </a:lnTo>
                    <a:lnTo>
                      <a:pt x="5182" y="243"/>
                    </a:lnTo>
                    <a:lnTo>
                      <a:pt x="4671" y="1215"/>
                    </a:lnTo>
                    <a:cubicBezTo>
                      <a:pt x="4586" y="1296"/>
                      <a:pt x="4545" y="1311"/>
                      <a:pt x="4415" y="1457"/>
                    </a:cubicBezTo>
                    <a:cubicBezTo>
                      <a:pt x="4285" y="1603"/>
                      <a:pt x="4129" y="1996"/>
                      <a:pt x="3890" y="2092"/>
                    </a:cubicBezTo>
                    <a:cubicBezTo>
                      <a:pt x="3651" y="2188"/>
                      <a:pt x="3168" y="2108"/>
                      <a:pt x="2979" y="2034"/>
                    </a:cubicBezTo>
                    <a:cubicBezTo>
                      <a:pt x="2790" y="1960"/>
                      <a:pt x="2862" y="1718"/>
                      <a:pt x="2757" y="1649"/>
                    </a:cubicBezTo>
                    <a:cubicBezTo>
                      <a:pt x="2652" y="1580"/>
                      <a:pt x="2418" y="1522"/>
                      <a:pt x="2348" y="1621"/>
                    </a:cubicBezTo>
                    <a:cubicBezTo>
                      <a:pt x="2279" y="1720"/>
                      <a:pt x="2337" y="2029"/>
                      <a:pt x="2340" y="2245"/>
                    </a:cubicBezTo>
                    <a:cubicBezTo>
                      <a:pt x="2343" y="2461"/>
                      <a:pt x="2491" y="2803"/>
                      <a:pt x="2368" y="2915"/>
                    </a:cubicBezTo>
                    <a:cubicBezTo>
                      <a:pt x="2245" y="3027"/>
                      <a:pt x="1781" y="2985"/>
                      <a:pt x="1601" y="2915"/>
                    </a:cubicBezTo>
                    <a:cubicBezTo>
                      <a:pt x="1421" y="2845"/>
                      <a:pt x="1442" y="2545"/>
                      <a:pt x="1289" y="2497"/>
                    </a:cubicBezTo>
                    <a:cubicBezTo>
                      <a:pt x="1136" y="2449"/>
                      <a:pt x="893" y="2584"/>
                      <a:pt x="684" y="2625"/>
                    </a:cubicBezTo>
                    <a:cubicBezTo>
                      <a:pt x="475" y="2666"/>
                      <a:pt x="131" y="2638"/>
                      <a:pt x="33" y="2742"/>
                    </a:cubicBezTo>
                    <a:cubicBezTo>
                      <a:pt x="-65" y="2846"/>
                      <a:pt x="82" y="3088"/>
                      <a:pt x="94" y="3251"/>
                    </a:cubicBezTo>
                    <a:cubicBezTo>
                      <a:pt x="106" y="3414"/>
                      <a:pt x="-17" y="3533"/>
                      <a:pt x="105" y="3720"/>
                    </a:cubicBezTo>
                    <a:cubicBezTo>
                      <a:pt x="228" y="3907"/>
                      <a:pt x="584" y="4264"/>
                      <a:pt x="833" y="4373"/>
                    </a:cubicBezTo>
                    <a:cubicBezTo>
                      <a:pt x="1082" y="4481"/>
                      <a:pt x="1345" y="4373"/>
                      <a:pt x="1601" y="4373"/>
                    </a:cubicBezTo>
                    <a:lnTo>
                      <a:pt x="1856" y="4616"/>
                    </a:lnTo>
                    <a:lnTo>
                      <a:pt x="1856" y="4859"/>
                    </a:lnTo>
                    <a:lnTo>
                      <a:pt x="2112" y="5345"/>
                    </a:lnTo>
                    <a:cubicBezTo>
                      <a:pt x="2197" y="5588"/>
                      <a:pt x="2283" y="5831"/>
                      <a:pt x="2368" y="6074"/>
                    </a:cubicBezTo>
                    <a:lnTo>
                      <a:pt x="2624" y="6316"/>
                    </a:lnTo>
                    <a:cubicBezTo>
                      <a:pt x="2624" y="6559"/>
                      <a:pt x="2696" y="6675"/>
                      <a:pt x="2624" y="7045"/>
                    </a:cubicBezTo>
                    <a:cubicBezTo>
                      <a:pt x="2551" y="7414"/>
                      <a:pt x="2272" y="8240"/>
                      <a:pt x="2188" y="8533"/>
                    </a:cubicBezTo>
                    <a:cubicBezTo>
                      <a:pt x="2104" y="8826"/>
                      <a:pt x="2064" y="8649"/>
                      <a:pt x="2118" y="8804"/>
                    </a:cubicBezTo>
                    <a:cubicBezTo>
                      <a:pt x="2173" y="8958"/>
                      <a:pt x="2390" y="9351"/>
                      <a:pt x="2516" y="9462"/>
                    </a:cubicBezTo>
                    <a:cubicBezTo>
                      <a:pt x="2643" y="9574"/>
                      <a:pt x="2734" y="9472"/>
                      <a:pt x="2880" y="9474"/>
                    </a:cubicBezTo>
                    <a:cubicBezTo>
                      <a:pt x="3025" y="9476"/>
                      <a:pt x="3220" y="9474"/>
                      <a:pt x="3391" y="9474"/>
                    </a:cubicBezTo>
                    <a:lnTo>
                      <a:pt x="4159" y="9717"/>
                    </a:lnTo>
                    <a:lnTo>
                      <a:pt x="4671" y="9717"/>
                    </a:lnTo>
                    <a:lnTo>
                      <a:pt x="5438" y="9960"/>
                    </a:lnTo>
                    <a:cubicBezTo>
                      <a:pt x="5609" y="9960"/>
                      <a:pt x="5793" y="10051"/>
                      <a:pt x="5950" y="9960"/>
                    </a:cubicBezTo>
                    <a:cubicBezTo>
                      <a:pt x="6106" y="9870"/>
                      <a:pt x="6222" y="9506"/>
                      <a:pt x="6375" y="9413"/>
                    </a:cubicBezTo>
                    <a:cubicBezTo>
                      <a:pt x="6529" y="9321"/>
                      <a:pt x="6594" y="9367"/>
                      <a:pt x="6869" y="9401"/>
                    </a:cubicBezTo>
                    <a:cubicBezTo>
                      <a:pt x="7143" y="9436"/>
                      <a:pt x="7722" y="9569"/>
                      <a:pt x="8022" y="9625"/>
                    </a:cubicBezTo>
                    <a:cubicBezTo>
                      <a:pt x="8322" y="9682"/>
                      <a:pt x="8393" y="9858"/>
                      <a:pt x="8668" y="9743"/>
                    </a:cubicBezTo>
                    <a:cubicBezTo>
                      <a:pt x="8942" y="9628"/>
                      <a:pt x="9580" y="8937"/>
                      <a:pt x="9665" y="8937"/>
                    </a:cubicBezTo>
                    <a:lnTo>
                      <a:pt x="9079" y="8091"/>
                    </a:lnTo>
                    <a:cubicBezTo>
                      <a:pt x="9008" y="7886"/>
                      <a:pt x="8985" y="7957"/>
                      <a:pt x="8942" y="7836"/>
                    </a:cubicBezTo>
                    <a:cubicBezTo>
                      <a:pt x="8899" y="7714"/>
                      <a:pt x="9114" y="7387"/>
                      <a:pt x="9119" y="7195"/>
                    </a:cubicBez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304" name="Freeform 303"/>
              <p:cNvSpPr>
                <a:spLocks/>
              </p:cNvSpPr>
              <p:nvPr/>
            </p:nvSpPr>
            <p:spPr bwMode="auto">
              <a:xfrm>
                <a:off x="4445698" y="1936711"/>
                <a:ext cx="39687" cy="47625"/>
              </a:xfrm>
              <a:custGeom>
                <a:avLst/>
                <a:gdLst>
                  <a:gd name="T0" fmla="*/ 0 w 30"/>
                  <a:gd name="T1" fmla="*/ 2147483647 h 37"/>
                  <a:gd name="T2" fmla="*/ 2147483647 w 30"/>
                  <a:gd name="T3" fmla="*/ 0 h 37"/>
                  <a:gd name="T4" fmla="*/ 2147483647 w 30"/>
                  <a:gd name="T5" fmla="*/ 2147483647 h 37"/>
                  <a:gd name="T6" fmla="*/ 2147483647 w 30"/>
                  <a:gd name="T7" fmla="*/ 2147483647 h 37"/>
                  <a:gd name="T8" fmla="*/ 0 w 30"/>
                  <a:gd name="T9" fmla="*/ 2147483647 h 3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0" h="37">
                    <a:moveTo>
                      <a:pt x="0" y="12"/>
                    </a:moveTo>
                    <a:lnTo>
                      <a:pt x="24" y="0"/>
                    </a:lnTo>
                    <a:lnTo>
                      <a:pt x="30" y="24"/>
                    </a:lnTo>
                    <a:lnTo>
                      <a:pt x="24" y="37"/>
                    </a:lnTo>
                    <a:lnTo>
                      <a:pt x="0" y="12"/>
                    </a:ln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grpSp>
        <p:sp>
          <p:nvSpPr>
            <p:cNvPr id="138" name="Freeform 137"/>
            <p:cNvSpPr>
              <a:spLocks/>
            </p:cNvSpPr>
            <p:nvPr/>
          </p:nvSpPr>
          <p:spPr bwMode="auto">
            <a:xfrm>
              <a:off x="5282211" y="3444849"/>
              <a:ext cx="39688" cy="7938"/>
            </a:xfrm>
            <a:custGeom>
              <a:avLst/>
              <a:gdLst>
                <a:gd name="T0" fmla="*/ 2147483647 w 30"/>
                <a:gd name="T1" fmla="*/ 0 h 6"/>
                <a:gd name="T2" fmla="*/ 2147483647 w 30"/>
                <a:gd name="T3" fmla="*/ 0 h 6"/>
                <a:gd name="T4" fmla="*/ 0 w 30"/>
                <a:gd name="T5" fmla="*/ 2147483647 h 6"/>
                <a:gd name="T6" fmla="*/ 2147483647 w 30"/>
                <a:gd name="T7" fmla="*/ 0 h 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0" h="6">
                  <a:moveTo>
                    <a:pt x="24" y="0"/>
                  </a:moveTo>
                  <a:lnTo>
                    <a:pt x="30" y="0"/>
                  </a:lnTo>
                  <a:lnTo>
                    <a:pt x="0" y="6"/>
                  </a:lnTo>
                  <a:lnTo>
                    <a:pt x="24" y="0"/>
                  </a:ln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139" name="Rectangle 138"/>
            <p:cNvSpPr>
              <a:spLocks noChangeArrowheads="1"/>
            </p:cNvSpPr>
            <p:nvPr/>
          </p:nvSpPr>
          <p:spPr bwMode="auto">
            <a:xfrm>
              <a:off x="5142512" y="3674221"/>
              <a:ext cx="0" cy="3175"/>
            </a:xfrm>
            <a:prstGeom prst="rect">
              <a:avLst/>
            </a:prstGeom>
            <a:solidFill>
              <a:srgbClr val="00B9E4"/>
            </a:solidFill>
            <a:ln w="9525">
              <a:solidFill>
                <a:schemeClr val="bg1"/>
              </a:solidFill>
              <a:miter lim="800000"/>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sz="1286"/>
            </a:p>
          </p:txBody>
        </p:sp>
        <p:sp>
          <p:nvSpPr>
            <p:cNvPr id="140" name="TR"/>
            <p:cNvSpPr>
              <a:spLocks/>
            </p:cNvSpPr>
            <p:nvPr/>
          </p:nvSpPr>
          <p:spPr bwMode="auto">
            <a:xfrm>
              <a:off x="4890956" y="3298026"/>
              <a:ext cx="484918" cy="176986"/>
            </a:xfrm>
            <a:custGeom>
              <a:avLst/>
              <a:gdLst>
                <a:gd name="T0" fmla="*/ 635446347 w 10616"/>
                <a:gd name="T1" fmla="*/ 50199597 h 10000"/>
                <a:gd name="T2" fmla="*/ 669215180 w 10616"/>
                <a:gd name="T3" fmla="*/ 52704822 h 10000"/>
                <a:gd name="T4" fmla="*/ 854898495 w 10616"/>
                <a:gd name="T5" fmla="*/ 50199597 h 10000"/>
                <a:gd name="T6" fmla="*/ 939372103 w 10616"/>
                <a:gd name="T7" fmla="*/ 47688273 h 10000"/>
                <a:gd name="T8" fmla="*/ 1023746879 w 10616"/>
                <a:gd name="T9" fmla="*/ 45177253 h 10000"/>
                <a:gd name="T10" fmla="*/ 1057515666 w 10616"/>
                <a:gd name="T11" fmla="*/ 47688273 h 10000"/>
                <a:gd name="T12" fmla="*/ 1040680689 w 10616"/>
                <a:gd name="T13" fmla="*/ 40160704 h 10000"/>
                <a:gd name="T14" fmla="*/ 1040680689 w 10616"/>
                <a:gd name="T15" fmla="*/ 22588788 h 10000"/>
                <a:gd name="T16" fmla="*/ 1057515666 w 10616"/>
                <a:gd name="T17" fmla="*/ 20077464 h 10000"/>
                <a:gd name="T18" fmla="*/ 989975913 w 10616"/>
                <a:gd name="T19" fmla="*/ 7527551 h 10000"/>
                <a:gd name="T20" fmla="*/ 956207080 w 10616"/>
                <a:gd name="T21" fmla="*/ 2511001 h 10000"/>
                <a:gd name="T22" fmla="*/ 905603316 w 10616"/>
                <a:gd name="T23" fmla="*/ 2511001 h 10000"/>
                <a:gd name="T24" fmla="*/ 888667328 w 10616"/>
                <a:gd name="T25" fmla="*/ 0 h 10000"/>
                <a:gd name="T26" fmla="*/ 888667328 w 10616"/>
                <a:gd name="T27" fmla="*/ 0 h 10000"/>
                <a:gd name="T28" fmla="*/ 821129708 w 10616"/>
                <a:gd name="T29" fmla="*/ 7527551 h 10000"/>
                <a:gd name="T30" fmla="*/ 736754932 w 10616"/>
                <a:gd name="T31" fmla="*/ 7527551 h 10000"/>
                <a:gd name="T32" fmla="*/ 719818944 w 10616"/>
                <a:gd name="T33" fmla="*/ 7527551 h 10000"/>
                <a:gd name="T34" fmla="*/ 719818944 w 10616"/>
                <a:gd name="T35" fmla="*/ 7527551 h 10000"/>
                <a:gd name="T36" fmla="*/ 652281324 w 10616"/>
                <a:gd name="T37" fmla="*/ 2511001 h 10000"/>
                <a:gd name="T38" fmla="*/ 601675381 w 10616"/>
                <a:gd name="T39" fmla="*/ 0 h 10000"/>
                <a:gd name="T40" fmla="*/ 466598009 w 10616"/>
                <a:gd name="T41" fmla="*/ 0 h 10000"/>
                <a:gd name="T42" fmla="*/ 432829176 w 10616"/>
                <a:gd name="T43" fmla="*/ 0 h 10000"/>
                <a:gd name="T44" fmla="*/ 382124400 w 10616"/>
                <a:gd name="T45" fmla="*/ 2511001 h 10000"/>
                <a:gd name="T46" fmla="*/ 348355567 w 10616"/>
                <a:gd name="T47" fmla="*/ 7527551 h 10000"/>
                <a:gd name="T48" fmla="*/ 263980838 w 10616"/>
                <a:gd name="T49" fmla="*/ 10038893 h 10000"/>
                <a:gd name="T50" fmla="*/ 247044849 w 10616"/>
                <a:gd name="T51" fmla="*/ 7527551 h 10000"/>
                <a:gd name="T52" fmla="*/ 230209872 w 10616"/>
                <a:gd name="T53" fmla="*/ 7527551 h 10000"/>
                <a:gd name="T54" fmla="*/ 196441039 w 10616"/>
                <a:gd name="T55" fmla="*/ 15060914 h 10000"/>
                <a:gd name="T56" fmla="*/ 128901287 w 10616"/>
                <a:gd name="T57" fmla="*/ 15060914 h 10000"/>
                <a:gd name="T58" fmla="*/ 76702938 w 10616"/>
                <a:gd name="T59" fmla="*/ 14304686 h 10000"/>
                <a:gd name="T60" fmla="*/ 20421611 w 10616"/>
                <a:gd name="T61" fmla="*/ 17993477 h 10000"/>
                <a:gd name="T62" fmla="*/ 0 w 10616"/>
                <a:gd name="T63" fmla="*/ 19667490 h 10000"/>
                <a:gd name="T64" fmla="*/ 69531848 w 10616"/>
                <a:gd name="T65" fmla="*/ 33181506 h 10000"/>
                <a:gd name="T66" fmla="*/ 128901287 w 10616"/>
                <a:gd name="T67" fmla="*/ 42666252 h 10000"/>
                <a:gd name="T68" fmla="*/ 162672253 w 10616"/>
                <a:gd name="T69" fmla="*/ 50199597 h 10000"/>
                <a:gd name="T70" fmla="*/ 314584602 w 10616"/>
                <a:gd name="T71" fmla="*/ 52704822 h 10000"/>
                <a:gd name="T72" fmla="*/ 331520590 w 10616"/>
                <a:gd name="T73" fmla="*/ 52704822 h 10000"/>
                <a:gd name="T74" fmla="*/ 449664153 w 10616"/>
                <a:gd name="T75" fmla="*/ 57727148 h 10000"/>
                <a:gd name="T76" fmla="*/ 517201773 w 10616"/>
                <a:gd name="T77" fmla="*/ 52704822 h 10000"/>
                <a:gd name="T78" fmla="*/ 584741571 w 10616"/>
                <a:gd name="T79" fmla="*/ 57727148 h 10000"/>
                <a:gd name="T80" fmla="*/ 584741571 w 10616"/>
                <a:gd name="T81" fmla="*/ 57727148 h 10000"/>
                <a:gd name="T82" fmla="*/ 584741571 w 10616"/>
                <a:gd name="T83" fmla="*/ 57727148 h 10000"/>
                <a:gd name="T84" fmla="*/ 635446347 w 10616"/>
                <a:gd name="T85" fmla="*/ 50199597 h 1000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0616" h="10000">
                  <a:moveTo>
                    <a:pt x="6379" y="8696"/>
                  </a:moveTo>
                  <a:lnTo>
                    <a:pt x="6718" y="9130"/>
                  </a:lnTo>
                  <a:lnTo>
                    <a:pt x="8582" y="8696"/>
                  </a:lnTo>
                  <a:lnTo>
                    <a:pt x="9430" y="8261"/>
                  </a:lnTo>
                  <a:lnTo>
                    <a:pt x="10277" y="7826"/>
                  </a:lnTo>
                  <a:lnTo>
                    <a:pt x="10616" y="8261"/>
                  </a:lnTo>
                  <a:cubicBezTo>
                    <a:pt x="10560" y="7826"/>
                    <a:pt x="10503" y="7392"/>
                    <a:pt x="10447" y="6957"/>
                  </a:cubicBezTo>
                  <a:lnTo>
                    <a:pt x="10447" y="3913"/>
                  </a:lnTo>
                  <a:cubicBezTo>
                    <a:pt x="10503" y="3768"/>
                    <a:pt x="10560" y="3623"/>
                    <a:pt x="10616" y="3478"/>
                  </a:cubicBezTo>
                  <a:lnTo>
                    <a:pt x="9938" y="1304"/>
                  </a:lnTo>
                  <a:lnTo>
                    <a:pt x="9599" y="435"/>
                  </a:lnTo>
                  <a:lnTo>
                    <a:pt x="9091" y="435"/>
                  </a:lnTo>
                  <a:cubicBezTo>
                    <a:pt x="9034" y="290"/>
                    <a:pt x="8978" y="145"/>
                    <a:pt x="8921" y="0"/>
                  </a:cubicBezTo>
                  <a:lnTo>
                    <a:pt x="8243" y="1304"/>
                  </a:lnTo>
                  <a:lnTo>
                    <a:pt x="7396" y="1304"/>
                  </a:lnTo>
                  <a:lnTo>
                    <a:pt x="7226" y="1304"/>
                  </a:lnTo>
                  <a:lnTo>
                    <a:pt x="6548" y="435"/>
                  </a:lnTo>
                  <a:lnTo>
                    <a:pt x="6040" y="0"/>
                  </a:lnTo>
                  <a:lnTo>
                    <a:pt x="4684" y="0"/>
                  </a:lnTo>
                  <a:lnTo>
                    <a:pt x="4345" y="0"/>
                  </a:lnTo>
                  <a:lnTo>
                    <a:pt x="3836" y="435"/>
                  </a:lnTo>
                  <a:lnTo>
                    <a:pt x="3497" y="1304"/>
                  </a:lnTo>
                  <a:lnTo>
                    <a:pt x="2650" y="1739"/>
                  </a:lnTo>
                  <a:cubicBezTo>
                    <a:pt x="2593" y="1594"/>
                    <a:pt x="2537" y="1449"/>
                    <a:pt x="2480" y="1304"/>
                  </a:cubicBezTo>
                  <a:lnTo>
                    <a:pt x="2311" y="1304"/>
                  </a:lnTo>
                  <a:lnTo>
                    <a:pt x="1972" y="2609"/>
                  </a:lnTo>
                  <a:cubicBezTo>
                    <a:pt x="1746" y="2609"/>
                    <a:pt x="1494" y="2631"/>
                    <a:pt x="1294" y="2609"/>
                  </a:cubicBezTo>
                  <a:cubicBezTo>
                    <a:pt x="1094" y="2587"/>
                    <a:pt x="883" y="2261"/>
                    <a:pt x="770" y="2478"/>
                  </a:cubicBezTo>
                  <a:cubicBezTo>
                    <a:pt x="657" y="2695"/>
                    <a:pt x="333" y="2962"/>
                    <a:pt x="205" y="3117"/>
                  </a:cubicBezTo>
                  <a:cubicBezTo>
                    <a:pt x="77" y="3272"/>
                    <a:pt x="0" y="3266"/>
                    <a:pt x="0" y="3407"/>
                  </a:cubicBezTo>
                  <a:cubicBezTo>
                    <a:pt x="113" y="3701"/>
                    <a:pt x="482" y="5084"/>
                    <a:pt x="698" y="5748"/>
                  </a:cubicBezTo>
                  <a:cubicBezTo>
                    <a:pt x="914" y="6412"/>
                    <a:pt x="1138" y="6900"/>
                    <a:pt x="1294" y="7391"/>
                  </a:cubicBezTo>
                  <a:cubicBezTo>
                    <a:pt x="1450" y="7882"/>
                    <a:pt x="1520" y="8261"/>
                    <a:pt x="1633" y="8696"/>
                  </a:cubicBezTo>
                  <a:lnTo>
                    <a:pt x="3158" y="9130"/>
                  </a:lnTo>
                  <a:lnTo>
                    <a:pt x="3328" y="9130"/>
                  </a:lnTo>
                  <a:lnTo>
                    <a:pt x="4514" y="10000"/>
                  </a:lnTo>
                  <a:lnTo>
                    <a:pt x="5192" y="9130"/>
                  </a:lnTo>
                  <a:lnTo>
                    <a:pt x="5870" y="10000"/>
                  </a:lnTo>
                  <a:lnTo>
                    <a:pt x="6379" y="8696"/>
                  </a:ln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141" name="Freeform 140"/>
            <p:cNvSpPr>
              <a:spLocks/>
            </p:cNvSpPr>
            <p:nvPr/>
          </p:nvSpPr>
          <p:spPr bwMode="auto">
            <a:xfrm>
              <a:off x="5131399" y="3444849"/>
              <a:ext cx="180974" cy="143647"/>
            </a:xfrm>
            <a:custGeom>
              <a:avLst/>
              <a:gdLst>
                <a:gd name="T0" fmla="*/ 2147483647 w 139"/>
                <a:gd name="T1" fmla="*/ 2147483647 h 114"/>
                <a:gd name="T2" fmla="*/ 2147483647 w 139"/>
                <a:gd name="T3" fmla="*/ 2147483647 h 114"/>
                <a:gd name="T4" fmla="*/ 2147483647 w 139"/>
                <a:gd name="T5" fmla="*/ 2147483647 h 114"/>
                <a:gd name="T6" fmla="*/ 2147483647 w 139"/>
                <a:gd name="T7" fmla="*/ 2147483647 h 114"/>
                <a:gd name="T8" fmla="*/ 2147483647 w 139"/>
                <a:gd name="T9" fmla="*/ 2147483647 h 114"/>
                <a:gd name="T10" fmla="*/ 2147483647 w 139"/>
                <a:gd name="T11" fmla="*/ 2147483647 h 114"/>
                <a:gd name="T12" fmla="*/ 2147483647 w 139"/>
                <a:gd name="T13" fmla="*/ 0 h 114"/>
                <a:gd name="T14" fmla="*/ 2147483647 w 139"/>
                <a:gd name="T15" fmla="*/ 2147483647 h 114"/>
                <a:gd name="T16" fmla="*/ 2147483647 w 139"/>
                <a:gd name="T17" fmla="*/ 2147483647 h 114"/>
                <a:gd name="T18" fmla="*/ 2147483647 w 139"/>
                <a:gd name="T19" fmla="*/ 2147483647 h 114"/>
                <a:gd name="T20" fmla="*/ 2147483647 w 139"/>
                <a:gd name="T21" fmla="*/ 2147483647 h 114"/>
                <a:gd name="T22" fmla="*/ 2147483647 w 139"/>
                <a:gd name="T23" fmla="*/ 2147483647 h 114"/>
                <a:gd name="T24" fmla="*/ 2147483647 w 139"/>
                <a:gd name="T25" fmla="*/ 2147483647 h 114"/>
                <a:gd name="T26" fmla="*/ 0 w 139"/>
                <a:gd name="T27" fmla="*/ 2147483647 h 114"/>
                <a:gd name="T28" fmla="*/ 2147483647 w 139"/>
                <a:gd name="T29" fmla="*/ 2147483647 h 114"/>
                <a:gd name="T30" fmla="*/ 2147483647 w 139"/>
                <a:gd name="T31" fmla="*/ 2147483647 h 11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139" h="114">
                  <a:moveTo>
                    <a:pt x="25" y="114"/>
                  </a:moveTo>
                  <a:lnTo>
                    <a:pt x="61" y="96"/>
                  </a:lnTo>
                  <a:lnTo>
                    <a:pt x="73" y="90"/>
                  </a:lnTo>
                  <a:lnTo>
                    <a:pt x="115" y="66"/>
                  </a:lnTo>
                  <a:lnTo>
                    <a:pt x="127" y="24"/>
                  </a:lnTo>
                  <a:lnTo>
                    <a:pt x="139" y="6"/>
                  </a:lnTo>
                  <a:lnTo>
                    <a:pt x="139" y="0"/>
                  </a:lnTo>
                  <a:lnTo>
                    <a:pt x="115" y="6"/>
                  </a:lnTo>
                  <a:lnTo>
                    <a:pt x="49" y="12"/>
                  </a:lnTo>
                  <a:lnTo>
                    <a:pt x="37" y="6"/>
                  </a:lnTo>
                  <a:lnTo>
                    <a:pt x="19" y="24"/>
                  </a:lnTo>
                  <a:lnTo>
                    <a:pt x="25" y="48"/>
                  </a:lnTo>
                  <a:lnTo>
                    <a:pt x="0" y="102"/>
                  </a:lnTo>
                  <a:lnTo>
                    <a:pt x="13" y="102"/>
                  </a:lnTo>
                  <a:lnTo>
                    <a:pt x="25" y="114"/>
                  </a:ln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142" name="JO"/>
            <p:cNvSpPr>
              <a:spLocks/>
            </p:cNvSpPr>
            <p:nvPr/>
          </p:nvSpPr>
          <p:spPr bwMode="auto">
            <a:xfrm>
              <a:off x="5107586" y="3558335"/>
              <a:ext cx="126999" cy="115886"/>
            </a:xfrm>
            <a:custGeom>
              <a:avLst/>
              <a:gdLst>
                <a:gd name="T0" fmla="*/ 2147483647 w 97"/>
                <a:gd name="T1" fmla="*/ 2147483647 h 90"/>
                <a:gd name="T2" fmla="*/ 2147483647 w 97"/>
                <a:gd name="T3" fmla="*/ 0 h 90"/>
                <a:gd name="T4" fmla="*/ 2147483647 w 97"/>
                <a:gd name="T5" fmla="*/ 2147483647 h 90"/>
                <a:gd name="T6" fmla="*/ 2147483647 w 97"/>
                <a:gd name="T7" fmla="*/ 2147483647 h 90"/>
                <a:gd name="T8" fmla="*/ 2147483647 w 97"/>
                <a:gd name="T9" fmla="*/ 2147483647 h 90"/>
                <a:gd name="T10" fmla="*/ 2147483647 w 97"/>
                <a:gd name="T11" fmla="*/ 2147483647 h 90"/>
                <a:gd name="T12" fmla="*/ 2147483647 w 97"/>
                <a:gd name="T13" fmla="*/ 2147483647 h 90"/>
                <a:gd name="T14" fmla="*/ 0 w 97"/>
                <a:gd name="T15" fmla="*/ 2147483647 h 90"/>
                <a:gd name="T16" fmla="*/ 2147483647 w 97"/>
                <a:gd name="T17" fmla="*/ 2147483647 h 90"/>
                <a:gd name="T18" fmla="*/ 2147483647 w 97"/>
                <a:gd name="T19" fmla="*/ 2147483647 h 90"/>
                <a:gd name="T20" fmla="*/ 2147483647 w 97"/>
                <a:gd name="T21" fmla="*/ 2147483647 h 90"/>
                <a:gd name="T22" fmla="*/ 2147483647 w 97"/>
                <a:gd name="T23" fmla="*/ 2147483647 h 90"/>
                <a:gd name="T24" fmla="*/ 2147483647 w 97"/>
                <a:gd name="T25" fmla="*/ 2147483647 h 90"/>
                <a:gd name="T26" fmla="*/ 2147483647 w 97"/>
                <a:gd name="T27" fmla="*/ 2147483647 h 90"/>
                <a:gd name="T28" fmla="*/ 2147483647 w 97"/>
                <a:gd name="T29" fmla="*/ 2147483647 h 90"/>
                <a:gd name="T30" fmla="*/ 2147483647 w 97"/>
                <a:gd name="T31" fmla="*/ 2147483647 h 90"/>
                <a:gd name="T32" fmla="*/ 2147483647 w 97"/>
                <a:gd name="T33" fmla="*/ 2147483647 h 90"/>
                <a:gd name="T34" fmla="*/ 2147483647 w 97"/>
                <a:gd name="T35" fmla="*/ 2147483647 h 90"/>
                <a:gd name="T36" fmla="*/ 2147483647 w 97"/>
                <a:gd name="T37" fmla="*/ 2147483647 h 90"/>
                <a:gd name="T38" fmla="*/ 2147483647 w 97"/>
                <a:gd name="T39" fmla="*/ 2147483647 h 9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97" h="90">
                  <a:moveTo>
                    <a:pt x="91" y="24"/>
                  </a:moveTo>
                  <a:lnTo>
                    <a:pt x="91" y="0"/>
                  </a:lnTo>
                  <a:lnTo>
                    <a:pt x="79" y="6"/>
                  </a:lnTo>
                  <a:lnTo>
                    <a:pt x="43" y="24"/>
                  </a:lnTo>
                  <a:lnTo>
                    <a:pt x="31" y="12"/>
                  </a:lnTo>
                  <a:lnTo>
                    <a:pt x="18" y="12"/>
                  </a:lnTo>
                  <a:lnTo>
                    <a:pt x="12" y="18"/>
                  </a:lnTo>
                  <a:lnTo>
                    <a:pt x="0" y="42"/>
                  </a:lnTo>
                  <a:lnTo>
                    <a:pt x="18" y="90"/>
                  </a:lnTo>
                  <a:lnTo>
                    <a:pt x="25" y="90"/>
                  </a:lnTo>
                  <a:lnTo>
                    <a:pt x="37" y="90"/>
                  </a:lnTo>
                  <a:lnTo>
                    <a:pt x="49" y="78"/>
                  </a:lnTo>
                  <a:lnTo>
                    <a:pt x="67" y="78"/>
                  </a:lnTo>
                  <a:lnTo>
                    <a:pt x="73" y="66"/>
                  </a:lnTo>
                  <a:lnTo>
                    <a:pt x="61" y="36"/>
                  </a:lnTo>
                  <a:lnTo>
                    <a:pt x="85" y="30"/>
                  </a:lnTo>
                  <a:lnTo>
                    <a:pt x="97" y="24"/>
                  </a:lnTo>
                  <a:lnTo>
                    <a:pt x="91" y="24"/>
                  </a:lnTo>
                  <a:close/>
                </a:path>
              </a:pathLst>
            </a:custGeom>
            <a:solidFill>
              <a:schemeClr val="accent1"/>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143" name="Freeform 142"/>
            <p:cNvSpPr>
              <a:spLocks/>
            </p:cNvSpPr>
            <p:nvPr/>
          </p:nvSpPr>
          <p:spPr bwMode="auto">
            <a:xfrm>
              <a:off x="5259985" y="3710734"/>
              <a:ext cx="126999" cy="113484"/>
            </a:xfrm>
            <a:custGeom>
              <a:avLst/>
              <a:gdLst>
                <a:gd name="T0" fmla="*/ 2147483647 w 97"/>
                <a:gd name="T1" fmla="*/ 2147483647 h 90"/>
                <a:gd name="T2" fmla="*/ 2147483647 w 97"/>
                <a:gd name="T3" fmla="*/ 0 h 90"/>
                <a:gd name="T4" fmla="*/ 2147483647 w 97"/>
                <a:gd name="T5" fmla="*/ 2147483647 h 90"/>
                <a:gd name="T6" fmla="*/ 2147483647 w 97"/>
                <a:gd name="T7" fmla="*/ 2147483647 h 90"/>
                <a:gd name="T8" fmla="*/ 2147483647 w 97"/>
                <a:gd name="T9" fmla="*/ 2147483647 h 90"/>
                <a:gd name="T10" fmla="*/ 2147483647 w 97"/>
                <a:gd name="T11" fmla="*/ 2147483647 h 90"/>
                <a:gd name="T12" fmla="*/ 2147483647 w 97"/>
                <a:gd name="T13" fmla="*/ 2147483647 h 90"/>
                <a:gd name="T14" fmla="*/ 0 w 97"/>
                <a:gd name="T15" fmla="*/ 2147483647 h 90"/>
                <a:gd name="T16" fmla="*/ 2147483647 w 97"/>
                <a:gd name="T17" fmla="*/ 2147483647 h 90"/>
                <a:gd name="T18" fmla="*/ 2147483647 w 97"/>
                <a:gd name="T19" fmla="*/ 2147483647 h 90"/>
                <a:gd name="T20" fmla="*/ 2147483647 w 97"/>
                <a:gd name="T21" fmla="*/ 2147483647 h 90"/>
                <a:gd name="T22" fmla="*/ 2147483647 w 97"/>
                <a:gd name="T23" fmla="*/ 2147483647 h 90"/>
                <a:gd name="T24" fmla="*/ 2147483647 w 97"/>
                <a:gd name="T25" fmla="*/ 2147483647 h 90"/>
                <a:gd name="T26" fmla="*/ 2147483647 w 97"/>
                <a:gd name="T27" fmla="*/ 2147483647 h 90"/>
                <a:gd name="T28" fmla="*/ 2147483647 w 97"/>
                <a:gd name="T29" fmla="*/ 2147483647 h 90"/>
                <a:gd name="T30" fmla="*/ 2147483647 w 97"/>
                <a:gd name="T31" fmla="*/ 2147483647 h 90"/>
                <a:gd name="T32" fmla="*/ 2147483647 w 97"/>
                <a:gd name="T33" fmla="*/ 2147483647 h 90"/>
                <a:gd name="T34" fmla="*/ 2147483647 w 97"/>
                <a:gd name="T35" fmla="*/ 2147483647 h 90"/>
                <a:gd name="T36" fmla="*/ 2147483647 w 97"/>
                <a:gd name="T37" fmla="*/ 2147483647 h 90"/>
                <a:gd name="T38" fmla="*/ 2147483647 w 97"/>
                <a:gd name="T39" fmla="*/ 2147483647 h 9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97" h="90">
                  <a:moveTo>
                    <a:pt x="91" y="24"/>
                  </a:moveTo>
                  <a:lnTo>
                    <a:pt x="91" y="0"/>
                  </a:lnTo>
                  <a:lnTo>
                    <a:pt x="79" y="6"/>
                  </a:lnTo>
                  <a:lnTo>
                    <a:pt x="43" y="24"/>
                  </a:lnTo>
                  <a:lnTo>
                    <a:pt x="31" y="12"/>
                  </a:lnTo>
                  <a:lnTo>
                    <a:pt x="18" y="12"/>
                  </a:lnTo>
                  <a:lnTo>
                    <a:pt x="12" y="18"/>
                  </a:lnTo>
                  <a:lnTo>
                    <a:pt x="0" y="42"/>
                  </a:lnTo>
                  <a:lnTo>
                    <a:pt x="18" y="90"/>
                  </a:lnTo>
                  <a:lnTo>
                    <a:pt x="25" y="90"/>
                  </a:lnTo>
                  <a:lnTo>
                    <a:pt x="37" y="90"/>
                  </a:lnTo>
                  <a:lnTo>
                    <a:pt x="49" y="78"/>
                  </a:lnTo>
                  <a:lnTo>
                    <a:pt x="67" y="78"/>
                  </a:lnTo>
                  <a:lnTo>
                    <a:pt x="73" y="66"/>
                  </a:lnTo>
                  <a:lnTo>
                    <a:pt x="61" y="36"/>
                  </a:lnTo>
                  <a:lnTo>
                    <a:pt x="85" y="30"/>
                  </a:lnTo>
                  <a:lnTo>
                    <a:pt x="97" y="24"/>
                  </a:lnTo>
                  <a:lnTo>
                    <a:pt x="91" y="24"/>
                  </a:lnTo>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144" name="AE"/>
            <p:cNvSpPr>
              <a:spLocks/>
            </p:cNvSpPr>
            <p:nvPr/>
          </p:nvSpPr>
          <p:spPr bwMode="auto">
            <a:xfrm>
              <a:off x="5547321" y="3775006"/>
              <a:ext cx="111855" cy="77786"/>
            </a:xfrm>
            <a:custGeom>
              <a:avLst/>
              <a:gdLst>
                <a:gd name="T0" fmla="*/ 2147483647 w 90"/>
                <a:gd name="T1" fmla="*/ 2147483647 h 60"/>
                <a:gd name="T2" fmla="*/ 2147483647 w 90"/>
                <a:gd name="T3" fmla="*/ 2147483647 h 60"/>
                <a:gd name="T4" fmla="*/ 2147483647 w 90"/>
                <a:gd name="T5" fmla="*/ 2147483647 h 60"/>
                <a:gd name="T6" fmla="*/ 2147483647 w 90"/>
                <a:gd name="T7" fmla="*/ 2147483647 h 60"/>
                <a:gd name="T8" fmla="*/ 2147483647 w 90"/>
                <a:gd name="T9" fmla="*/ 0 h 60"/>
                <a:gd name="T10" fmla="*/ 2147483647 w 90"/>
                <a:gd name="T11" fmla="*/ 2147483647 h 60"/>
                <a:gd name="T12" fmla="*/ 2147483647 w 90"/>
                <a:gd name="T13" fmla="*/ 2147483647 h 60"/>
                <a:gd name="T14" fmla="*/ 0 w 90"/>
                <a:gd name="T15" fmla="*/ 2147483647 h 60"/>
                <a:gd name="T16" fmla="*/ 2147483647 w 90"/>
                <a:gd name="T17" fmla="*/ 2147483647 h 6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0" h="60">
                  <a:moveTo>
                    <a:pt x="18" y="48"/>
                  </a:moveTo>
                  <a:lnTo>
                    <a:pt x="66" y="60"/>
                  </a:lnTo>
                  <a:lnTo>
                    <a:pt x="78" y="30"/>
                  </a:lnTo>
                  <a:lnTo>
                    <a:pt x="90" y="24"/>
                  </a:lnTo>
                  <a:lnTo>
                    <a:pt x="84" y="0"/>
                  </a:lnTo>
                  <a:lnTo>
                    <a:pt x="30" y="18"/>
                  </a:lnTo>
                  <a:lnTo>
                    <a:pt x="6" y="6"/>
                  </a:lnTo>
                  <a:lnTo>
                    <a:pt x="0" y="24"/>
                  </a:lnTo>
                  <a:lnTo>
                    <a:pt x="18" y="48"/>
                  </a:ln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145" name="OM"/>
            <p:cNvSpPr>
              <a:spLocks/>
            </p:cNvSpPr>
            <p:nvPr/>
          </p:nvSpPr>
          <p:spPr bwMode="auto">
            <a:xfrm>
              <a:off x="5564782" y="3805167"/>
              <a:ext cx="180118" cy="215085"/>
            </a:xfrm>
            <a:custGeom>
              <a:avLst/>
              <a:gdLst>
                <a:gd name="T0" fmla="*/ 2147483647 w 24"/>
                <a:gd name="T1" fmla="*/ 2147483647 h 28"/>
                <a:gd name="T2" fmla="*/ 2147483647 w 24"/>
                <a:gd name="T3" fmla="*/ 2147483647 h 28"/>
                <a:gd name="T4" fmla="*/ 2147483647 w 24"/>
                <a:gd name="T5" fmla="*/ 2147483647 h 28"/>
                <a:gd name="T6" fmla="*/ 2147483647 w 24"/>
                <a:gd name="T7" fmla="*/ 2147483647 h 28"/>
                <a:gd name="T8" fmla="*/ 0 w 24"/>
                <a:gd name="T9" fmla="*/ 2147483647 h 28"/>
                <a:gd name="T10" fmla="*/ 2147483647 w 24"/>
                <a:gd name="T11" fmla="*/ 2147483647 h 28"/>
                <a:gd name="T12" fmla="*/ 2147483647 w 24"/>
                <a:gd name="T13" fmla="*/ 2147483647 h 28"/>
                <a:gd name="T14" fmla="*/ 2147483647 w 24"/>
                <a:gd name="T15" fmla="*/ 2147483647 h 28"/>
                <a:gd name="T16" fmla="*/ 2147483647 w 24"/>
                <a:gd name="T17" fmla="*/ 2147483647 h 28"/>
                <a:gd name="T18" fmla="*/ 2147483647 w 24"/>
                <a:gd name="T19" fmla="*/ 2147483647 h 28"/>
                <a:gd name="T20" fmla="*/ 2147483647 w 24"/>
                <a:gd name="T21" fmla="*/ 2147483647 h 28"/>
                <a:gd name="T22" fmla="*/ 2147483647 w 24"/>
                <a:gd name="T23" fmla="*/ 2147483647 h 28"/>
                <a:gd name="T24" fmla="*/ 2147483647 w 24"/>
                <a:gd name="T25" fmla="*/ 0 h 28"/>
                <a:gd name="T26" fmla="*/ 2147483647 w 24"/>
                <a:gd name="T27" fmla="*/ 0 h 28"/>
                <a:gd name="T28" fmla="*/ 2147483647 w 24"/>
                <a:gd name="T29" fmla="*/ 2147483647 h 28"/>
                <a:gd name="T30" fmla="*/ 2147483647 w 24"/>
                <a:gd name="T31" fmla="*/ 2147483647 h 2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4" h="28">
                  <a:moveTo>
                    <a:pt x="9" y="6"/>
                  </a:moveTo>
                  <a:cubicBezTo>
                    <a:pt x="10" y="6"/>
                    <a:pt x="10" y="6"/>
                    <a:pt x="10" y="6"/>
                  </a:cubicBezTo>
                  <a:cubicBezTo>
                    <a:pt x="9" y="13"/>
                    <a:pt x="9" y="13"/>
                    <a:pt x="9" y="13"/>
                  </a:cubicBezTo>
                  <a:cubicBezTo>
                    <a:pt x="4" y="17"/>
                    <a:pt x="4" y="17"/>
                    <a:pt x="4" y="17"/>
                  </a:cubicBezTo>
                  <a:cubicBezTo>
                    <a:pt x="4" y="17"/>
                    <a:pt x="3" y="18"/>
                    <a:pt x="0" y="18"/>
                  </a:cubicBezTo>
                  <a:cubicBezTo>
                    <a:pt x="1" y="21"/>
                    <a:pt x="1" y="21"/>
                    <a:pt x="1" y="21"/>
                  </a:cubicBezTo>
                  <a:cubicBezTo>
                    <a:pt x="4" y="28"/>
                    <a:pt x="4" y="28"/>
                    <a:pt x="4" y="28"/>
                  </a:cubicBezTo>
                  <a:cubicBezTo>
                    <a:pt x="11" y="23"/>
                    <a:pt x="11" y="23"/>
                    <a:pt x="11" y="23"/>
                  </a:cubicBezTo>
                  <a:cubicBezTo>
                    <a:pt x="17" y="15"/>
                    <a:pt x="17" y="15"/>
                    <a:pt x="17" y="15"/>
                  </a:cubicBezTo>
                  <a:cubicBezTo>
                    <a:pt x="20" y="11"/>
                    <a:pt x="20" y="11"/>
                    <a:pt x="20" y="11"/>
                  </a:cubicBezTo>
                  <a:cubicBezTo>
                    <a:pt x="24" y="7"/>
                    <a:pt x="24" y="7"/>
                    <a:pt x="24" y="7"/>
                  </a:cubicBezTo>
                  <a:cubicBezTo>
                    <a:pt x="16" y="1"/>
                    <a:pt x="16" y="1"/>
                    <a:pt x="16" y="1"/>
                  </a:cubicBezTo>
                  <a:cubicBezTo>
                    <a:pt x="13" y="0"/>
                    <a:pt x="13" y="0"/>
                    <a:pt x="13" y="0"/>
                  </a:cubicBezTo>
                  <a:cubicBezTo>
                    <a:pt x="13" y="0"/>
                    <a:pt x="13" y="0"/>
                    <a:pt x="13" y="0"/>
                  </a:cubicBezTo>
                  <a:cubicBezTo>
                    <a:pt x="11" y="1"/>
                    <a:pt x="11" y="1"/>
                    <a:pt x="11" y="1"/>
                  </a:cubicBezTo>
                  <a:lnTo>
                    <a:pt x="9" y="6"/>
                  </a:ln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146" name="YE"/>
            <p:cNvSpPr>
              <a:spLocks/>
            </p:cNvSpPr>
            <p:nvPr/>
          </p:nvSpPr>
          <p:spPr bwMode="auto">
            <a:xfrm>
              <a:off x="5329835" y="3944866"/>
              <a:ext cx="265110" cy="162698"/>
            </a:xfrm>
            <a:custGeom>
              <a:avLst/>
              <a:gdLst>
                <a:gd name="T0" fmla="*/ 2147483647 w 34"/>
                <a:gd name="T1" fmla="*/ 0 h 21"/>
                <a:gd name="T2" fmla="*/ 2147483647 w 34"/>
                <a:gd name="T3" fmla="*/ 2147483647 h 21"/>
                <a:gd name="T4" fmla="*/ 2147483647 w 34"/>
                <a:gd name="T5" fmla="*/ 2147483647 h 21"/>
                <a:gd name="T6" fmla="*/ 2147483647 w 34"/>
                <a:gd name="T7" fmla="*/ 2147483647 h 21"/>
                <a:gd name="T8" fmla="*/ 0 w 34"/>
                <a:gd name="T9" fmla="*/ 2147483647 h 21"/>
                <a:gd name="T10" fmla="*/ 2147483647 w 34"/>
                <a:gd name="T11" fmla="*/ 2147483647 h 21"/>
                <a:gd name="T12" fmla="*/ 2147483647 w 34"/>
                <a:gd name="T13" fmla="*/ 2147483647 h 21"/>
                <a:gd name="T14" fmla="*/ 2147483647 w 34"/>
                <a:gd name="T15" fmla="*/ 2147483647 h 21"/>
                <a:gd name="T16" fmla="*/ 2147483647 w 34"/>
                <a:gd name="T17" fmla="*/ 2147483647 h 21"/>
                <a:gd name="T18" fmla="*/ 2147483647 w 34"/>
                <a:gd name="T19" fmla="*/ 2147483647 h 21"/>
                <a:gd name="T20" fmla="*/ 2147483647 w 34"/>
                <a:gd name="T21" fmla="*/ 2147483647 h 21"/>
                <a:gd name="T22" fmla="*/ 2147483647 w 34"/>
                <a:gd name="T23" fmla="*/ 2147483647 h 21"/>
                <a:gd name="T24" fmla="*/ 2147483647 w 34"/>
                <a:gd name="T25" fmla="*/ 2147483647 h 21"/>
                <a:gd name="T26" fmla="*/ 2147483647 w 34"/>
                <a:gd name="T27" fmla="*/ 0 h 2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4" h="21">
                  <a:moveTo>
                    <a:pt x="30" y="0"/>
                  </a:moveTo>
                  <a:cubicBezTo>
                    <a:pt x="25" y="2"/>
                    <a:pt x="18" y="3"/>
                    <a:pt x="18" y="4"/>
                  </a:cubicBezTo>
                  <a:cubicBezTo>
                    <a:pt x="16" y="5"/>
                    <a:pt x="14" y="7"/>
                    <a:pt x="14" y="7"/>
                  </a:cubicBezTo>
                  <a:cubicBezTo>
                    <a:pt x="3" y="7"/>
                    <a:pt x="3" y="7"/>
                    <a:pt x="3" y="7"/>
                  </a:cubicBezTo>
                  <a:cubicBezTo>
                    <a:pt x="0" y="8"/>
                    <a:pt x="0" y="8"/>
                    <a:pt x="0" y="8"/>
                  </a:cubicBezTo>
                  <a:cubicBezTo>
                    <a:pt x="1" y="12"/>
                    <a:pt x="1" y="12"/>
                    <a:pt x="1" y="12"/>
                  </a:cubicBezTo>
                  <a:cubicBezTo>
                    <a:pt x="5" y="21"/>
                    <a:pt x="5" y="21"/>
                    <a:pt x="5" y="21"/>
                  </a:cubicBezTo>
                  <a:cubicBezTo>
                    <a:pt x="12" y="19"/>
                    <a:pt x="12" y="19"/>
                    <a:pt x="12" y="19"/>
                  </a:cubicBezTo>
                  <a:cubicBezTo>
                    <a:pt x="15" y="19"/>
                    <a:pt x="15" y="19"/>
                    <a:pt x="15" y="19"/>
                  </a:cubicBezTo>
                  <a:cubicBezTo>
                    <a:pt x="19" y="15"/>
                    <a:pt x="19" y="15"/>
                    <a:pt x="19" y="15"/>
                  </a:cubicBezTo>
                  <a:cubicBezTo>
                    <a:pt x="25" y="13"/>
                    <a:pt x="25" y="13"/>
                    <a:pt x="25" y="13"/>
                  </a:cubicBezTo>
                  <a:cubicBezTo>
                    <a:pt x="34" y="10"/>
                    <a:pt x="34" y="10"/>
                    <a:pt x="34" y="10"/>
                  </a:cubicBezTo>
                  <a:cubicBezTo>
                    <a:pt x="31" y="3"/>
                    <a:pt x="31" y="3"/>
                    <a:pt x="31" y="3"/>
                  </a:cubicBezTo>
                  <a:lnTo>
                    <a:pt x="30" y="0"/>
                  </a:ln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grpSp>
          <p:nvGrpSpPr>
            <p:cNvPr id="147" name="SA"/>
            <p:cNvGrpSpPr/>
            <p:nvPr/>
          </p:nvGrpSpPr>
          <p:grpSpPr>
            <a:xfrm>
              <a:off x="5142512" y="3588496"/>
              <a:ext cx="492853" cy="417469"/>
              <a:chOff x="5093754" y="2254170"/>
              <a:chExt cx="497341" cy="414111"/>
            </a:xfrm>
          </p:grpSpPr>
          <p:sp>
            <p:nvSpPr>
              <p:cNvPr id="301" name="Freeform 300"/>
              <p:cNvSpPr>
                <a:spLocks/>
              </p:cNvSpPr>
              <p:nvPr/>
            </p:nvSpPr>
            <p:spPr bwMode="auto">
              <a:xfrm>
                <a:off x="5093754" y="2254170"/>
                <a:ext cx="489403" cy="414111"/>
              </a:xfrm>
              <a:custGeom>
                <a:avLst/>
                <a:gdLst>
                  <a:gd name="T0" fmla="*/ 2147483647 w 63"/>
                  <a:gd name="T1" fmla="*/ 2147483647 h 54"/>
                  <a:gd name="T2" fmla="*/ 2147483647 w 63"/>
                  <a:gd name="T3" fmla="*/ 2147483647 h 54"/>
                  <a:gd name="T4" fmla="*/ 2147483647 w 63"/>
                  <a:gd name="T5" fmla="*/ 2147483647 h 54"/>
                  <a:gd name="T6" fmla="*/ 2147483647 w 63"/>
                  <a:gd name="T7" fmla="*/ 2147483647 h 54"/>
                  <a:gd name="T8" fmla="*/ 2147483647 w 63"/>
                  <a:gd name="T9" fmla="*/ 2147483647 h 54"/>
                  <a:gd name="T10" fmla="*/ 2147483647 w 63"/>
                  <a:gd name="T11" fmla="*/ 2147483647 h 54"/>
                  <a:gd name="T12" fmla="*/ 2147483647 w 63"/>
                  <a:gd name="T13" fmla="*/ 2147483647 h 54"/>
                  <a:gd name="T14" fmla="*/ 2147483647 w 63"/>
                  <a:gd name="T15" fmla="*/ 2147483647 h 54"/>
                  <a:gd name="T16" fmla="*/ 2147483647 w 63"/>
                  <a:gd name="T17" fmla="*/ 2147483647 h 54"/>
                  <a:gd name="T18" fmla="*/ 2147483647 w 63"/>
                  <a:gd name="T19" fmla="*/ 2147483647 h 54"/>
                  <a:gd name="T20" fmla="*/ 2147483647 w 63"/>
                  <a:gd name="T21" fmla="*/ 2147483647 h 54"/>
                  <a:gd name="T22" fmla="*/ 2147483647 w 63"/>
                  <a:gd name="T23" fmla="*/ 2147483647 h 54"/>
                  <a:gd name="T24" fmla="*/ 2147483647 w 63"/>
                  <a:gd name="T25" fmla="*/ 2147483647 h 54"/>
                  <a:gd name="T26" fmla="*/ 2147483647 w 63"/>
                  <a:gd name="T27" fmla="*/ 2147483647 h 54"/>
                  <a:gd name="T28" fmla="*/ 2147483647 w 63"/>
                  <a:gd name="T29" fmla="*/ 0 h 54"/>
                  <a:gd name="T30" fmla="*/ 2147483647 w 63"/>
                  <a:gd name="T31" fmla="*/ 0 h 54"/>
                  <a:gd name="T32" fmla="*/ 2147483647 w 63"/>
                  <a:gd name="T33" fmla="*/ 2147483647 h 54"/>
                  <a:gd name="T34" fmla="*/ 2147483647 w 63"/>
                  <a:gd name="T35" fmla="*/ 2147483647 h 54"/>
                  <a:gd name="T36" fmla="*/ 2147483647 w 63"/>
                  <a:gd name="T37" fmla="*/ 2147483647 h 54"/>
                  <a:gd name="T38" fmla="*/ 2147483647 w 63"/>
                  <a:gd name="T39" fmla="*/ 2147483647 h 54"/>
                  <a:gd name="T40" fmla="*/ 2147483647 w 63"/>
                  <a:gd name="T41" fmla="*/ 2147483647 h 54"/>
                  <a:gd name="T42" fmla="*/ 2147483647 w 63"/>
                  <a:gd name="T43" fmla="*/ 2147483647 h 54"/>
                  <a:gd name="T44" fmla="*/ 0 w 63"/>
                  <a:gd name="T45" fmla="*/ 2147483647 h 54"/>
                  <a:gd name="T46" fmla="*/ 2147483647 w 63"/>
                  <a:gd name="T47" fmla="*/ 2147483647 h 54"/>
                  <a:gd name="T48" fmla="*/ 2147483647 w 63"/>
                  <a:gd name="T49" fmla="*/ 2147483647 h 54"/>
                  <a:gd name="T50" fmla="*/ 2147483647 w 63"/>
                  <a:gd name="T51" fmla="*/ 2147483647 h 54"/>
                  <a:gd name="T52" fmla="*/ 2147483647 w 63"/>
                  <a:gd name="T53" fmla="*/ 2147483647 h 54"/>
                  <a:gd name="T54" fmla="*/ 2147483647 w 63"/>
                  <a:gd name="T55" fmla="*/ 2147483647 h 54"/>
                  <a:gd name="T56" fmla="*/ 2147483647 w 63"/>
                  <a:gd name="T57" fmla="*/ 2147483647 h 54"/>
                  <a:gd name="T58" fmla="*/ 2147483647 w 63"/>
                  <a:gd name="T59" fmla="*/ 2147483647 h 54"/>
                  <a:gd name="T60" fmla="*/ 2147483647 w 63"/>
                  <a:gd name="T61" fmla="*/ 2147483647 h 54"/>
                  <a:gd name="T62" fmla="*/ 2147483647 w 63"/>
                  <a:gd name="T63" fmla="*/ 2147483647 h 54"/>
                  <a:gd name="T64" fmla="*/ 2147483647 w 63"/>
                  <a:gd name="T65" fmla="*/ 2147483647 h 54"/>
                  <a:gd name="T66" fmla="*/ 2147483647 w 63"/>
                  <a:gd name="T67" fmla="*/ 2147483647 h 5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63" h="54">
                    <a:moveTo>
                      <a:pt x="63" y="34"/>
                    </a:moveTo>
                    <a:cubicBezTo>
                      <a:pt x="55" y="32"/>
                      <a:pt x="55" y="32"/>
                      <a:pt x="55" y="32"/>
                    </a:cubicBezTo>
                    <a:cubicBezTo>
                      <a:pt x="52" y="28"/>
                      <a:pt x="52" y="28"/>
                      <a:pt x="52" y="28"/>
                    </a:cubicBezTo>
                    <a:cubicBezTo>
                      <a:pt x="53" y="25"/>
                      <a:pt x="53" y="25"/>
                      <a:pt x="53" y="25"/>
                    </a:cubicBezTo>
                    <a:cubicBezTo>
                      <a:pt x="52" y="25"/>
                      <a:pt x="52" y="25"/>
                      <a:pt x="52" y="25"/>
                    </a:cubicBezTo>
                    <a:cubicBezTo>
                      <a:pt x="48" y="23"/>
                      <a:pt x="48" y="23"/>
                      <a:pt x="48" y="23"/>
                    </a:cubicBezTo>
                    <a:cubicBezTo>
                      <a:pt x="46" y="17"/>
                      <a:pt x="46" y="17"/>
                      <a:pt x="46" y="17"/>
                    </a:cubicBezTo>
                    <a:cubicBezTo>
                      <a:pt x="42" y="13"/>
                      <a:pt x="42" y="13"/>
                      <a:pt x="42" y="13"/>
                    </a:cubicBezTo>
                    <a:cubicBezTo>
                      <a:pt x="42" y="12"/>
                      <a:pt x="42" y="12"/>
                      <a:pt x="42" y="12"/>
                    </a:cubicBezTo>
                    <a:cubicBezTo>
                      <a:pt x="39" y="12"/>
                      <a:pt x="39" y="12"/>
                      <a:pt x="39" y="12"/>
                    </a:cubicBezTo>
                    <a:cubicBezTo>
                      <a:pt x="36" y="10"/>
                      <a:pt x="36" y="10"/>
                      <a:pt x="36" y="10"/>
                    </a:cubicBezTo>
                    <a:cubicBezTo>
                      <a:pt x="28" y="9"/>
                      <a:pt x="28" y="9"/>
                      <a:pt x="28" y="9"/>
                    </a:cubicBezTo>
                    <a:cubicBezTo>
                      <a:pt x="25" y="6"/>
                      <a:pt x="25" y="6"/>
                      <a:pt x="25" y="6"/>
                    </a:cubicBezTo>
                    <a:cubicBezTo>
                      <a:pt x="15" y="1"/>
                      <a:pt x="15" y="1"/>
                      <a:pt x="15" y="1"/>
                    </a:cubicBezTo>
                    <a:cubicBezTo>
                      <a:pt x="11" y="0"/>
                      <a:pt x="11" y="0"/>
                      <a:pt x="11" y="0"/>
                    </a:cubicBezTo>
                    <a:cubicBezTo>
                      <a:pt x="12" y="0"/>
                      <a:pt x="12" y="0"/>
                      <a:pt x="12" y="0"/>
                    </a:cubicBezTo>
                    <a:cubicBezTo>
                      <a:pt x="10" y="1"/>
                      <a:pt x="10" y="1"/>
                      <a:pt x="10" y="1"/>
                    </a:cubicBezTo>
                    <a:cubicBezTo>
                      <a:pt x="6" y="2"/>
                      <a:pt x="6" y="2"/>
                      <a:pt x="6" y="2"/>
                    </a:cubicBezTo>
                    <a:cubicBezTo>
                      <a:pt x="8" y="7"/>
                      <a:pt x="8" y="7"/>
                      <a:pt x="8" y="7"/>
                    </a:cubicBezTo>
                    <a:cubicBezTo>
                      <a:pt x="7" y="9"/>
                      <a:pt x="7" y="9"/>
                      <a:pt x="7" y="9"/>
                    </a:cubicBezTo>
                    <a:cubicBezTo>
                      <a:pt x="4" y="9"/>
                      <a:pt x="4" y="9"/>
                      <a:pt x="4" y="9"/>
                    </a:cubicBezTo>
                    <a:cubicBezTo>
                      <a:pt x="2" y="11"/>
                      <a:pt x="2" y="11"/>
                      <a:pt x="2" y="11"/>
                    </a:cubicBezTo>
                    <a:cubicBezTo>
                      <a:pt x="0" y="11"/>
                      <a:pt x="0" y="11"/>
                      <a:pt x="0" y="11"/>
                    </a:cubicBezTo>
                    <a:cubicBezTo>
                      <a:pt x="2" y="15"/>
                      <a:pt x="2" y="15"/>
                      <a:pt x="2" y="15"/>
                    </a:cubicBezTo>
                    <a:cubicBezTo>
                      <a:pt x="9" y="29"/>
                      <a:pt x="9" y="29"/>
                      <a:pt x="9" y="29"/>
                    </a:cubicBezTo>
                    <a:cubicBezTo>
                      <a:pt x="13" y="33"/>
                      <a:pt x="13" y="33"/>
                      <a:pt x="13" y="33"/>
                    </a:cubicBezTo>
                    <a:cubicBezTo>
                      <a:pt x="15" y="39"/>
                      <a:pt x="15" y="39"/>
                      <a:pt x="15" y="39"/>
                    </a:cubicBezTo>
                    <a:cubicBezTo>
                      <a:pt x="17" y="46"/>
                      <a:pt x="17" y="46"/>
                      <a:pt x="17" y="46"/>
                    </a:cubicBezTo>
                    <a:cubicBezTo>
                      <a:pt x="24" y="53"/>
                      <a:pt x="24" y="53"/>
                      <a:pt x="24" y="53"/>
                    </a:cubicBezTo>
                    <a:cubicBezTo>
                      <a:pt x="24" y="54"/>
                      <a:pt x="24" y="54"/>
                      <a:pt x="24" y="54"/>
                    </a:cubicBezTo>
                    <a:cubicBezTo>
                      <a:pt x="27" y="53"/>
                      <a:pt x="27" y="53"/>
                      <a:pt x="27" y="53"/>
                    </a:cubicBezTo>
                    <a:cubicBezTo>
                      <a:pt x="38" y="53"/>
                      <a:pt x="38" y="53"/>
                      <a:pt x="38" y="53"/>
                    </a:cubicBezTo>
                    <a:cubicBezTo>
                      <a:pt x="38" y="53"/>
                      <a:pt x="40" y="51"/>
                      <a:pt x="42" y="50"/>
                    </a:cubicBezTo>
                    <a:cubicBezTo>
                      <a:pt x="42" y="49"/>
                      <a:pt x="49" y="48"/>
                      <a:pt x="54" y="46"/>
                    </a:cubicBezTo>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302" name="Freeform 301"/>
              <p:cNvSpPr>
                <a:spLocks/>
              </p:cNvSpPr>
              <p:nvPr/>
            </p:nvSpPr>
            <p:spPr bwMode="auto">
              <a:xfrm>
                <a:off x="5516029" y="2500122"/>
                <a:ext cx="75066" cy="108741"/>
              </a:xfrm>
              <a:custGeom>
                <a:avLst/>
                <a:gdLst>
                  <a:gd name="T0" fmla="*/ 0 w 10"/>
                  <a:gd name="T1" fmla="*/ 2147483647 h 12"/>
                  <a:gd name="T2" fmla="*/ 2147483647 w 10"/>
                  <a:gd name="T3" fmla="*/ 2147483647 h 12"/>
                  <a:gd name="T4" fmla="*/ 2147483647 w 10"/>
                  <a:gd name="T5" fmla="*/ 2147483647 h 12"/>
                  <a:gd name="T6" fmla="*/ 2147483647 w 10"/>
                  <a:gd name="T7" fmla="*/ 0 h 12"/>
                  <a:gd name="T8" fmla="*/ 2147483647 w 10"/>
                  <a:gd name="T9" fmla="*/ 0 h 12"/>
                  <a:gd name="T10" fmla="*/ 0 60000 65536"/>
                  <a:gd name="T11" fmla="*/ 0 60000 65536"/>
                  <a:gd name="T12" fmla="*/ 0 60000 65536"/>
                  <a:gd name="T13" fmla="*/ 0 60000 65536"/>
                  <a:gd name="T14" fmla="*/ 0 60000 65536"/>
                  <a:gd name="connsiteX0" fmla="*/ 0 w 10000"/>
                  <a:gd name="connsiteY0" fmla="*/ 11810 h 11810"/>
                  <a:gd name="connsiteX1" fmla="*/ 4000 w 10000"/>
                  <a:gd name="connsiteY1" fmla="*/ 10977 h 11810"/>
                  <a:gd name="connsiteX2" fmla="*/ 9000 w 10000"/>
                  <a:gd name="connsiteY2" fmla="*/ 7643 h 11810"/>
                  <a:gd name="connsiteX3" fmla="*/ 10000 w 10000"/>
                  <a:gd name="connsiteY3" fmla="*/ 1810 h 11810"/>
                  <a:gd name="connsiteX4" fmla="*/ 1387 w 10000"/>
                  <a:gd name="connsiteY4" fmla="*/ 0 h 118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1810">
                    <a:moveTo>
                      <a:pt x="0" y="11810"/>
                    </a:moveTo>
                    <a:cubicBezTo>
                      <a:pt x="3000" y="11810"/>
                      <a:pt x="4000" y="10977"/>
                      <a:pt x="4000" y="10977"/>
                    </a:cubicBezTo>
                    <a:lnTo>
                      <a:pt x="9000" y="7643"/>
                    </a:lnTo>
                    <a:lnTo>
                      <a:pt x="10000" y="1810"/>
                    </a:lnTo>
                    <a:cubicBezTo>
                      <a:pt x="9000" y="1810"/>
                      <a:pt x="1387" y="0"/>
                      <a:pt x="1387" y="0"/>
                    </a:cubicBezTo>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grpSp>
        <p:sp>
          <p:nvSpPr>
            <p:cNvPr id="148" name="IQ"/>
            <p:cNvSpPr>
              <a:spLocks/>
            </p:cNvSpPr>
            <p:nvPr/>
          </p:nvSpPr>
          <p:spPr bwMode="auto">
            <a:xfrm>
              <a:off x="5226649" y="3435324"/>
              <a:ext cx="249234" cy="248422"/>
            </a:xfrm>
            <a:custGeom>
              <a:avLst/>
              <a:gdLst>
                <a:gd name="T0" fmla="*/ 2147483647 w 192"/>
                <a:gd name="T1" fmla="*/ 2147483647 h 192"/>
                <a:gd name="T2" fmla="*/ 2147483647 w 192"/>
                <a:gd name="T3" fmla="*/ 2147483647 h 192"/>
                <a:gd name="T4" fmla="*/ 2147483647 w 192"/>
                <a:gd name="T5" fmla="*/ 2147483647 h 192"/>
                <a:gd name="T6" fmla="*/ 2147483647 w 192"/>
                <a:gd name="T7" fmla="*/ 2147483647 h 192"/>
                <a:gd name="T8" fmla="*/ 2147483647 w 192"/>
                <a:gd name="T9" fmla="*/ 2147483647 h 192"/>
                <a:gd name="T10" fmla="*/ 2147483647 w 192"/>
                <a:gd name="T11" fmla="*/ 0 h 192"/>
                <a:gd name="T12" fmla="*/ 2147483647 w 192"/>
                <a:gd name="T13" fmla="*/ 2147483647 h 192"/>
                <a:gd name="T14" fmla="*/ 2147483647 w 192"/>
                <a:gd name="T15" fmla="*/ 2147483647 h 192"/>
                <a:gd name="T16" fmla="*/ 2147483647 w 192"/>
                <a:gd name="T17" fmla="*/ 2147483647 h 192"/>
                <a:gd name="T18" fmla="*/ 2147483647 w 192"/>
                <a:gd name="T19" fmla="*/ 2147483647 h 192"/>
                <a:gd name="T20" fmla="*/ 2147483647 w 192"/>
                <a:gd name="T21" fmla="*/ 2147483647 h 192"/>
                <a:gd name="T22" fmla="*/ 0 w 192"/>
                <a:gd name="T23" fmla="*/ 2147483647 h 192"/>
                <a:gd name="T24" fmla="*/ 0 w 192"/>
                <a:gd name="T25" fmla="*/ 2147483647 h 192"/>
                <a:gd name="T26" fmla="*/ 2147483647 w 192"/>
                <a:gd name="T27" fmla="*/ 2147483647 h 192"/>
                <a:gd name="T28" fmla="*/ 2147483647 w 192"/>
                <a:gd name="T29" fmla="*/ 2147483647 h 192"/>
                <a:gd name="T30" fmla="*/ 2147483647 w 192"/>
                <a:gd name="T31" fmla="*/ 2147483647 h 192"/>
                <a:gd name="T32" fmla="*/ 2147483647 w 192"/>
                <a:gd name="T33" fmla="*/ 2147483647 h 192"/>
                <a:gd name="T34" fmla="*/ 2147483647 w 192"/>
                <a:gd name="T35" fmla="*/ 2147483647 h 192"/>
                <a:gd name="T36" fmla="*/ 2147483647 w 192"/>
                <a:gd name="T37" fmla="*/ 2147483647 h 192"/>
                <a:gd name="T38" fmla="*/ 2147483647 w 192"/>
                <a:gd name="T39" fmla="*/ 2147483647 h 192"/>
                <a:gd name="T40" fmla="*/ 2147483647 w 192"/>
                <a:gd name="T41" fmla="*/ 2147483647 h 192"/>
                <a:gd name="T42" fmla="*/ 2147483647 w 192"/>
                <a:gd name="T43" fmla="*/ 2147483647 h 192"/>
                <a:gd name="T44" fmla="*/ 2147483647 w 192"/>
                <a:gd name="T45" fmla="*/ 2147483647 h 19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92" h="192">
                  <a:moveTo>
                    <a:pt x="168" y="120"/>
                  </a:moveTo>
                  <a:lnTo>
                    <a:pt x="132" y="90"/>
                  </a:lnTo>
                  <a:lnTo>
                    <a:pt x="132" y="66"/>
                  </a:lnTo>
                  <a:lnTo>
                    <a:pt x="138" y="42"/>
                  </a:lnTo>
                  <a:lnTo>
                    <a:pt x="114" y="6"/>
                  </a:lnTo>
                  <a:lnTo>
                    <a:pt x="102" y="0"/>
                  </a:lnTo>
                  <a:lnTo>
                    <a:pt x="72" y="6"/>
                  </a:lnTo>
                  <a:lnTo>
                    <a:pt x="66" y="6"/>
                  </a:lnTo>
                  <a:lnTo>
                    <a:pt x="66" y="12"/>
                  </a:lnTo>
                  <a:lnTo>
                    <a:pt x="54" y="30"/>
                  </a:lnTo>
                  <a:lnTo>
                    <a:pt x="42" y="72"/>
                  </a:lnTo>
                  <a:lnTo>
                    <a:pt x="0" y="96"/>
                  </a:lnTo>
                  <a:lnTo>
                    <a:pt x="0" y="120"/>
                  </a:lnTo>
                  <a:lnTo>
                    <a:pt x="24" y="126"/>
                  </a:lnTo>
                  <a:lnTo>
                    <a:pt x="84" y="156"/>
                  </a:lnTo>
                  <a:lnTo>
                    <a:pt x="102" y="174"/>
                  </a:lnTo>
                  <a:lnTo>
                    <a:pt x="150" y="180"/>
                  </a:lnTo>
                  <a:lnTo>
                    <a:pt x="168" y="192"/>
                  </a:lnTo>
                  <a:lnTo>
                    <a:pt x="186" y="192"/>
                  </a:lnTo>
                  <a:lnTo>
                    <a:pt x="180" y="180"/>
                  </a:lnTo>
                  <a:lnTo>
                    <a:pt x="192" y="174"/>
                  </a:lnTo>
                  <a:lnTo>
                    <a:pt x="180" y="150"/>
                  </a:lnTo>
                  <a:lnTo>
                    <a:pt x="168" y="120"/>
                  </a:ln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149" name="IR"/>
            <p:cNvSpPr>
              <a:spLocks/>
            </p:cNvSpPr>
            <p:nvPr/>
          </p:nvSpPr>
          <p:spPr bwMode="auto">
            <a:xfrm>
              <a:off x="5369523" y="3346616"/>
              <a:ext cx="462691" cy="442676"/>
            </a:xfrm>
            <a:custGeom>
              <a:avLst/>
              <a:gdLst>
                <a:gd name="T0" fmla="*/ 2147483647 w 60"/>
                <a:gd name="T1" fmla="*/ 2147483647 h 55"/>
                <a:gd name="T2" fmla="*/ 2147483647 w 60"/>
                <a:gd name="T3" fmla="*/ 2147483647 h 55"/>
                <a:gd name="T4" fmla="*/ 2147483647 w 60"/>
                <a:gd name="T5" fmla="*/ 2147483647 h 55"/>
                <a:gd name="T6" fmla="*/ 2147483647 w 60"/>
                <a:gd name="T7" fmla="*/ 2147483647 h 55"/>
                <a:gd name="T8" fmla="*/ 2147483647 w 60"/>
                <a:gd name="T9" fmla="*/ 2147483647 h 55"/>
                <a:gd name="T10" fmla="*/ 2147483647 w 60"/>
                <a:gd name="T11" fmla="*/ 2147483647 h 55"/>
                <a:gd name="T12" fmla="*/ 2147483647 w 60"/>
                <a:gd name="T13" fmla="*/ 2147483647 h 55"/>
                <a:gd name="T14" fmla="*/ 2147483647 w 60"/>
                <a:gd name="T15" fmla="*/ 2147483647 h 55"/>
                <a:gd name="T16" fmla="*/ 2147483647 w 60"/>
                <a:gd name="T17" fmla="*/ 2147483647 h 55"/>
                <a:gd name="T18" fmla="*/ 2147483647 w 60"/>
                <a:gd name="T19" fmla="*/ 2147483647 h 55"/>
                <a:gd name="T20" fmla="*/ 2147483647 w 60"/>
                <a:gd name="T21" fmla="*/ 2147483647 h 55"/>
                <a:gd name="T22" fmla="*/ 2147483647 w 60"/>
                <a:gd name="T23" fmla="*/ 2147483647 h 55"/>
                <a:gd name="T24" fmla="*/ 2147483647 w 60"/>
                <a:gd name="T25" fmla="*/ 2147483647 h 55"/>
                <a:gd name="T26" fmla="*/ 2147483647 w 60"/>
                <a:gd name="T27" fmla="*/ 2147483647 h 55"/>
                <a:gd name="T28" fmla="*/ 2147483647 w 60"/>
                <a:gd name="T29" fmla="*/ 2147483647 h 55"/>
                <a:gd name="T30" fmla="*/ 2147483647 w 60"/>
                <a:gd name="T31" fmla="*/ 2147483647 h 55"/>
                <a:gd name="T32" fmla="*/ 2147483647 w 60"/>
                <a:gd name="T33" fmla="*/ 2147483647 h 55"/>
                <a:gd name="T34" fmla="*/ 2147483647 w 60"/>
                <a:gd name="T35" fmla="*/ 2147483647 h 55"/>
                <a:gd name="T36" fmla="*/ 2147483647 w 60"/>
                <a:gd name="T37" fmla="*/ 2147483647 h 55"/>
                <a:gd name="T38" fmla="*/ 2147483647 w 60"/>
                <a:gd name="T39" fmla="*/ 2147483647 h 55"/>
                <a:gd name="T40" fmla="*/ 2147483647 w 60"/>
                <a:gd name="T41" fmla="*/ 0 h 55"/>
                <a:gd name="T42" fmla="*/ 2147483647 w 60"/>
                <a:gd name="T43" fmla="*/ 2147483647 h 55"/>
                <a:gd name="T44" fmla="*/ 2147483647 w 60"/>
                <a:gd name="T45" fmla="*/ 2147483647 h 55"/>
                <a:gd name="T46" fmla="*/ 0 w 60"/>
                <a:gd name="T47" fmla="*/ 0 h 55"/>
                <a:gd name="T48" fmla="*/ 0 w 60"/>
                <a:gd name="T49" fmla="*/ 0 h 55"/>
                <a:gd name="T50" fmla="*/ 0 w 60"/>
                <a:gd name="T51" fmla="*/ 2147483647 h 55"/>
                <a:gd name="T52" fmla="*/ 2147483647 w 60"/>
                <a:gd name="T53" fmla="*/ 2147483647 h 55"/>
                <a:gd name="T54" fmla="*/ 2147483647 w 60"/>
                <a:gd name="T55" fmla="*/ 2147483647 h 55"/>
                <a:gd name="T56" fmla="*/ 2147483647 w 60"/>
                <a:gd name="T57" fmla="*/ 2147483647 h 55"/>
                <a:gd name="T58" fmla="*/ 2147483647 w 60"/>
                <a:gd name="T59" fmla="*/ 2147483647 h 55"/>
                <a:gd name="T60" fmla="*/ 2147483647 w 60"/>
                <a:gd name="T61" fmla="*/ 2147483647 h 55"/>
                <a:gd name="T62" fmla="*/ 2147483647 w 60"/>
                <a:gd name="T63" fmla="*/ 2147483647 h 55"/>
                <a:gd name="T64" fmla="*/ 2147483647 w 60"/>
                <a:gd name="T65" fmla="*/ 2147483647 h 55"/>
                <a:gd name="T66" fmla="*/ 2147483647 w 60"/>
                <a:gd name="T67" fmla="*/ 2147483647 h 55"/>
                <a:gd name="T68" fmla="*/ 2147483647 w 60"/>
                <a:gd name="T69" fmla="*/ 2147483647 h 55"/>
                <a:gd name="T70" fmla="*/ 2147483647 w 60"/>
                <a:gd name="T71" fmla="*/ 2147483647 h 55"/>
                <a:gd name="T72" fmla="*/ 2147483647 w 60"/>
                <a:gd name="T73" fmla="*/ 2147483647 h 55"/>
                <a:gd name="T74" fmla="*/ 2147483647 w 60"/>
                <a:gd name="T75" fmla="*/ 2147483647 h 55"/>
                <a:gd name="T76" fmla="*/ 2147483647 w 60"/>
                <a:gd name="T77" fmla="*/ 2147483647 h 55"/>
                <a:gd name="T78" fmla="*/ 2147483647 w 60"/>
                <a:gd name="T79" fmla="*/ 2147483647 h 55"/>
                <a:gd name="T80" fmla="*/ 2147483647 w 60"/>
                <a:gd name="T81" fmla="*/ 2147483647 h 55"/>
                <a:gd name="T82" fmla="*/ 2147483647 w 60"/>
                <a:gd name="T83" fmla="*/ 2147483647 h 55"/>
                <a:gd name="T84" fmla="*/ 2147483647 w 60"/>
                <a:gd name="T85" fmla="*/ 2147483647 h 55"/>
                <a:gd name="T86" fmla="*/ 2147483647 w 60"/>
                <a:gd name="T87" fmla="*/ 2147483647 h 55"/>
                <a:gd name="T88" fmla="*/ 2147483647 w 60"/>
                <a:gd name="T89" fmla="*/ 2147483647 h 55"/>
                <a:gd name="T90" fmla="*/ 2147483647 w 60"/>
                <a:gd name="T91" fmla="*/ 2147483647 h 55"/>
                <a:gd name="T92" fmla="*/ 2147483647 w 60"/>
                <a:gd name="T93" fmla="*/ 2147483647 h 55"/>
                <a:gd name="T94" fmla="*/ 2147483647 w 60"/>
                <a:gd name="T95" fmla="*/ 2147483647 h 55"/>
                <a:gd name="T96" fmla="*/ 2147483647 w 60"/>
                <a:gd name="T97" fmla="*/ 2147483647 h 55"/>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connsiteX0" fmla="*/ 8833 w 10000"/>
                <a:gd name="connsiteY0" fmla="*/ 7136 h 10227"/>
                <a:gd name="connsiteX1" fmla="*/ 8833 w 10000"/>
                <a:gd name="connsiteY1" fmla="*/ 7136 h 10227"/>
                <a:gd name="connsiteX2" fmla="*/ 9167 w 10000"/>
                <a:gd name="connsiteY2" fmla="*/ 6045 h 10227"/>
                <a:gd name="connsiteX3" fmla="*/ 8500 w 10000"/>
                <a:gd name="connsiteY3" fmla="*/ 5682 h 10227"/>
                <a:gd name="connsiteX4" fmla="*/ 8500 w 10000"/>
                <a:gd name="connsiteY4" fmla="*/ 4772 h 10227"/>
                <a:gd name="connsiteX5" fmla="*/ 8667 w 10000"/>
                <a:gd name="connsiteY5" fmla="*/ 4045 h 10227"/>
                <a:gd name="connsiteX6" fmla="*/ 8833 w 10000"/>
                <a:gd name="connsiteY6" fmla="*/ 2409 h 10227"/>
                <a:gd name="connsiteX7" fmla="*/ 8167 w 10000"/>
                <a:gd name="connsiteY7" fmla="*/ 2227 h 10227"/>
                <a:gd name="connsiteX8" fmla="*/ 7500 w 10000"/>
                <a:gd name="connsiteY8" fmla="*/ 1682 h 10227"/>
                <a:gd name="connsiteX9" fmla="*/ 6667 w 10000"/>
                <a:gd name="connsiteY9" fmla="*/ 1136 h 10227"/>
                <a:gd name="connsiteX10" fmla="*/ 6000 w 10000"/>
                <a:gd name="connsiteY10" fmla="*/ 1318 h 10227"/>
                <a:gd name="connsiteX11" fmla="*/ 5167 w 10000"/>
                <a:gd name="connsiteY11" fmla="*/ 1682 h 10227"/>
                <a:gd name="connsiteX12" fmla="*/ 5000 w 10000"/>
                <a:gd name="connsiteY12" fmla="*/ 2045 h 10227"/>
                <a:gd name="connsiteX13" fmla="*/ 4333 w 10000"/>
                <a:gd name="connsiteY13" fmla="*/ 2227 h 10227"/>
                <a:gd name="connsiteX14" fmla="*/ 3667 w 10000"/>
                <a:gd name="connsiteY14" fmla="*/ 2227 h 10227"/>
                <a:gd name="connsiteX15" fmla="*/ 3167 w 10000"/>
                <a:gd name="connsiteY15" fmla="*/ 1863 h 10227"/>
                <a:gd name="connsiteX16" fmla="*/ 2500 w 10000"/>
                <a:gd name="connsiteY16" fmla="*/ 1863 h 10227"/>
                <a:gd name="connsiteX17" fmla="*/ 2500 w 10000"/>
                <a:gd name="connsiteY17" fmla="*/ 1318 h 10227"/>
                <a:gd name="connsiteX18" fmla="*/ 2000 w 10000"/>
                <a:gd name="connsiteY18" fmla="*/ 954 h 10227"/>
                <a:gd name="connsiteX19" fmla="*/ 2000 w 10000"/>
                <a:gd name="connsiteY19" fmla="*/ 591 h 10227"/>
                <a:gd name="connsiteX20" fmla="*/ 1667 w 10000"/>
                <a:gd name="connsiteY20" fmla="*/ 0 h 10227"/>
                <a:gd name="connsiteX21" fmla="*/ 1000 w 10000"/>
                <a:gd name="connsiteY21" fmla="*/ 772 h 10227"/>
                <a:gd name="connsiteX22" fmla="*/ 500 w 10000"/>
                <a:gd name="connsiteY22" fmla="*/ 591 h 10227"/>
                <a:gd name="connsiteX23" fmla="*/ 0 w 10000"/>
                <a:gd name="connsiteY23" fmla="*/ 227 h 10227"/>
                <a:gd name="connsiteX24" fmla="*/ 0 w 10000"/>
                <a:gd name="connsiteY24" fmla="*/ 227 h 10227"/>
                <a:gd name="connsiteX25" fmla="*/ 0 w 10000"/>
                <a:gd name="connsiteY25" fmla="*/ 1500 h 10227"/>
                <a:gd name="connsiteX26" fmla="*/ 167 w 10000"/>
                <a:gd name="connsiteY26" fmla="*/ 2045 h 10227"/>
                <a:gd name="connsiteX27" fmla="*/ 167 w 10000"/>
                <a:gd name="connsiteY27" fmla="*/ 2045 h 10227"/>
                <a:gd name="connsiteX28" fmla="*/ 833 w 10000"/>
                <a:gd name="connsiteY28" fmla="*/ 3136 h 10227"/>
                <a:gd name="connsiteX29" fmla="*/ 667 w 10000"/>
                <a:gd name="connsiteY29" fmla="*/ 3863 h 10227"/>
                <a:gd name="connsiteX30" fmla="*/ 667 w 10000"/>
                <a:gd name="connsiteY30" fmla="*/ 4591 h 10227"/>
                <a:gd name="connsiteX31" fmla="*/ 1667 w 10000"/>
                <a:gd name="connsiteY31" fmla="*/ 5500 h 10227"/>
                <a:gd name="connsiteX32" fmla="*/ 2000 w 10000"/>
                <a:gd name="connsiteY32" fmla="*/ 6409 h 10227"/>
                <a:gd name="connsiteX33" fmla="*/ 2333 w 10000"/>
                <a:gd name="connsiteY33" fmla="*/ 7136 h 10227"/>
                <a:gd name="connsiteX34" fmla="*/ 2500 w 10000"/>
                <a:gd name="connsiteY34" fmla="*/ 6772 h 10227"/>
                <a:gd name="connsiteX35" fmla="*/ 3167 w 10000"/>
                <a:gd name="connsiteY35" fmla="*/ 7318 h 10227"/>
                <a:gd name="connsiteX36" fmla="*/ 3833 w 10000"/>
                <a:gd name="connsiteY36" fmla="*/ 8227 h 10227"/>
                <a:gd name="connsiteX37" fmla="*/ 4667 w 10000"/>
                <a:gd name="connsiteY37" fmla="*/ 8954 h 10227"/>
                <a:gd name="connsiteX38" fmla="*/ 5667 w 10000"/>
                <a:gd name="connsiteY38" fmla="*/ 9136 h 10227"/>
                <a:gd name="connsiteX39" fmla="*/ 6500 w 10000"/>
                <a:gd name="connsiteY39" fmla="*/ 8954 h 10227"/>
                <a:gd name="connsiteX40" fmla="*/ 7000 w 10000"/>
                <a:gd name="connsiteY40" fmla="*/ 9682 h 10227"/>
                <a:gd name="connsiteX41" fmla="*/ 8833 w 10000"/>
                <a:gd name="connsiteY41" fmla="*/ 10227 h 10227"/>
                <a:gd name="connsiteX42" fmla="*/ 9167 w 10000"/>
                <a:gd name="connsiteY42" fmla="*/ 10227 h 10227"/>
                <a:gd name="connsiteX43" fmla="*/ 9167 w 10000"/>
                <a:gd name="connsiteY43" fmla="*/ 9500 h 10227"/>
                <a:gd name="connsiteX44" fmla="*/ 10000 w 10000"/>
                <a:gd name="connsiteY44" fmla="*/ 9136 h 10227"/>
                <a:gd name="connsiteX45" fmla="*/ 9833 w 10000"/>
                <a:gd name="connsiteY45" fmla="*/ 8591 h 10227"/>
                <a:gd name="connsiteX46" fmla="*/ 9667 w 10000"/>
                <a:gd name="connsiteY46" fmla="*/ 8227 h 10227"/>
                <a:gd name="connsiteX47" fmla="*/ 9000 w 10000"/>
                <a:gd name="connsiteY47" fmla="*/ 7500 h 10227"/>
                <a:gd name="connsiteX48" fmla="*/ 8833 w 10000"/>
                <a:gd name="connsiteY48" fmla="*/ 7136 h 10227"/>
                <a:gd name="connsiteX0" fmla="*/ 8833 w 10000"/>
                <a:gd name="connsiteY0" fmla="*/ 7360 h 10451"/>
                <a:gd name="connsiteX1" fmla="*/ 8833 w 10000"/>
                <a:gd name="connsiteY1" fmla="*/ 7360 h 10451"/>
                <a:gd name="connsiteX2" fmla="*/ 9167 w 10000"/>
                <a:gd name="connsiteY2" fmla="*/ 6269 h 10451"/>
                <a:gd name="connsiteX3" fmla="*/ 8500 w 10000"/>
                <a:gd name="connsiteY3" fmla="*/ 5906 h 10451"/>
                <a:gd name="connsiteX4" fmla="*/ 8500 w 10000"/>
                <a:gd name="connsiteY4" fmla="*/ 4996 h 10451"/>
                <a:gd name="connsiteX5" fmla="*/ 8667 w 10000"/>
                <a:gd name="connsiteY5" fmla="*/ 4269 h 10451"/>
                <a:gd name="connsiteX6" fmla="*/ 8833 w 10000"/>
                <a:gd name="connsiteY6" fmla="*/ 2633 h 10451"/>
                <a:gd name="connsiteX7" fmla="*/ 8167 w 10000"/>
                <a:gd name="connsiteY7" fmla="*/ 2451 h 10451"/>
                <a:gd name="connsiteX8" fmla="*/ 7500 w 10000"/>
                <a:gd name="connsiteY8" fmla="*/ 1906 h 10451"/>
                <a:gd name="connsiteX9" fmla="*/ 6667 w 10000"/>
                <a:gd name="connsiteY9" fmla="*/ 1360 h 10451"/>
                <a:gd name="connsiteX10" fmla="*/ 6000 w 10000"/>
                <a:gd name="connsiteY10" fmla="*/ 1542 h 10451"/>
                <a:gd name="connsiteX11" fmla="*/ 5167 w 10000"/>
                <a:gd name="connsiteY11" fmla="*/ 1906 h 10451"/>
                <a:gd name="connsiteX12" fmla="*/ 5000 w 10000"/>
                <a:gd name="connsiteY12" fmla="*/ 2269 h 10451"/>
                <a:gd name="connsiteX13" fmla="*/ 4333 w 10000"/>
                <a:gd name="connsiteY13" fmla="*/ 2451 h 10451"/>
                <a:gd name="connsiteX14" fmla="*/ 3667 w 10000"/>
                <a:gd name="connsiteY14" fmla="*/ 2451 h 10451"/>
                <a:gd name="connsiteX15" fmla="*/ 3167 w 10000"/>
                <a:gd name="connsiteY15" fmla="*/ 2087 h 10451"/>
                <a:gd name="connsiteX16" fmla="*/ 2500 w 10000"/>
                <a:gd name="connsiteY16" fmla="*/ 2087 h 10451"/>
                <a:gd name="connsiteX17" fmla="*/ 2500 w 10000"/>
                <a:gd name="connsiteY17" fmla="*/ 1542 h 10451"/>
                <a:gd name="connsiteX18" fmla="*/ 2000 w 10000"/>
                <a:gd name="connsiteY18" fmla="*/ 1178 h 10451"/>
                <a:gd name="connsiteX19" fmla="*/ 2000 w 10000"/>
                <a:gd name="connsiteY19" fmla="*/ 815 h 10451"/>
                <a:gd name="connsiteX20" fmla="*/ 1667 w 10000"/>
                <a:gd name="connsiteY20" fmla="*/ 224 h 10451"/>
                <a:gd name="connsiteX21" fmla="*/ 1204 w 10000"/>
                <a:gd name="connsiteY21" fmla="*/ 30 h 10451"/>
                <a:gd name="connsiteX22" fmla="*/ 500 w 10000"/>
                <a:gd name="connsiteY22" fmla="*/ 815 h 10451"/>
                <a:gd name="connsiteX23" fmla="*/ 0 w 10000"/>
                <a:gd name="connsiteY23" fmla="*/ 451 h 10451"/>
                <a:gd name="connsiteX24" fmla="*/ 0 w 10000"/>
                <a:gd name="connsiteY24" fmla="*/ 451 h 10451"/>
                <a:gd name="connsiteX25" fmla="*/ 0 w 10000"/>
                <a:gd name="connsiteY25" fmla="*/ 1724 h 10451"/>
                <a:gd name="connsiteX26" fmla="*/ 167 w 10000"/>
                <a:gd name="connsiteY26" fmla="*/ 2269 h 10451"/>
                <a:gd name="connsiteX27" fmla="*/ 167 w 10000"/>
                <a:gd name="connsiteY27" fmla="*/ 2269 h 10451"/>
                <a:gd name="connsiteX28" fmla="*/ 833 w 10000"/>
                <a:gd name="connsiteY28" fmla="*/ 3360 h 10451"/>
                <a:gd name="connsiteX29" fmla="*/ 667 w 10000"/>
                <a:gd name="connsiteY29" fmla="*/ 4087 h 10451"/>
                <a:gd name="connsiteX30" fmla="*/ 667 w 10000"/>
                <a:gd name="connsiteY30" fmla="*/ 4815 h 10451"/>
                <a:gd name="connsiteX31" fmla="*/ 1667 w 10000"/>
                <a:gd name="connsiteY31" fmla="*/ 5724 h 10451"/>
                <a:gd name="connsiteX32" fmla="*/ 2000 w 10000"/>
                <a:gd name="connsiteY32" fmla="*/ 6633 h 10451"/>
                <a:gd name="connsiteX33" fmla="*/ 2333 w 10000"/>
                <a:gd name="connsiteY33" fmla="*/ 7360 h 10451"/>
                <a:gd name="connsiteX34" fmla="*/ 2500 w 10000"/>
                <a:gd name="connsiteY34" fmla="*/ 6996 h 10451"/>
                <a:gd name="connsiteX35" fmla="*/ 3167 w 10000"/>
                <a:gd name="connsiteY35" fmla="*/ 7542 h 10451"/>
                <a:gd name="connsiteX36" fmla="*/ 3833 w 10000"/>
                <a:gd name="connsiteY36" fmla="*/ 8451 h 10451"/>
                <a:gd name="connsiteX37" fmla="*/ 4667 w 10000"/>
                <a:gd name="connsiteY37" fmla="*/ 9178 h 10451"/>
                <a:gd name="connsiteX38" fmla="*/ 5667 w 10000"/>
                <a:gd name="connsiteY38" fmla="*/ 9360 h 10451"/>
                <a:gd name="connsiteX39" fmla="*/ 6500 w 10000"/>
                <a:gd name="connsiteY39" fmla="*/ 9178 h 10451"/>
                <a:gd name="connsiteX40" fmla="*/ 7000 w 10000"/>
                <a:gd name="connsiteY40" fmla="*/ 9906 h 10451"/>
                <a:gd name="connsiteX41" fmla="*/ 8833 w 10000"/>
                <a:gd name="connsiteY41" fmla="*/ 10451 h 10451"/>
                <a:gd name="connsiteX42" fmla="*/ 9167 w 10000"/>
                <a:gd name="connsiteY42" fmla="*/ 10451 h 10451"/>
                <a:gd name="connsiteX43" fmla="*/ 9167 w 10000"/>
                <a:gd name="connsiteY43" fmla="*/ 9724 h 10451"/>
                <a:gd name="connsiteX44" fmla="*/ 10000 w 10000"/>
                <a:gd name="connsiteY44" fmla="*/ 9360 h 10451"/>
                <a:gd name="connsiteX45" fmla="*/ 9833 w 10000"/>
                <a:gd name="connsiteY45" fmla="*/ 8815 h 10451"/>
                <a:gd name="connsiteX46" fmla="*/ 9667 w 10000"/>
                <a:gd name="connsiteY46" fmla="*/ 8451 h 10451"/>
                <a:gd name="connsiteX47" fmla="*/ 9000 w 10000"/>
                <a:gd name="connsiteY47" fmla="*/ 7724 h 10451"/>
                <a:gd name="connsiteX48" fmla="*/ 8833 w 10000"/>
                <a:gd name="connsiteY48" fmla="*/ 7360 h 10451"/>
                <a:gd name="connsiteX0" fmla="*/ 8833 w 10000"/>
                <a:gd name="connsiteY0" fmla="*/ 7337 h 10428"/>
                <a:gd name="connsiteX1" fmla="*/ 8833 w 10000"/>
                <a:gd name="connsiteY1" fmla="*/ 7337 h 10428"/>
                <a:gd name="connsiteX2" fmla="*/ 9167 w 10000"/>
                <a:gd name="connsiteY2" fmla="*/ 6246 h 10428"/>
                <a:gd name="connsiteX3" fmla="*/ 8500 w 10000"/>
                <a:gd name="connsiteY3" fmla="*/ 5883 h 10428"/>
                <a:gd name="connsiteX4" fmla="*/ 8500 w 10000"/>
                <a:gd name="connsiteY4" fmla="*/ 4973 h 10428"/>
                <a:gd name="connsiteX5" fmla="*/ 8667 w 10000"/>
                <a:gd name="connsiteY5" fmla="*/ 4246 h 10428"/>
                <a:gd name="connsiteX6" fmla="*/ 8833 w 10000"/>
                <a:gd name="connsiteY6" fmla="*/ 2610 h 10428"/>
                <a:gd name="connsiteX7" fmla="*/ 8167 w 10000"/>
                <a:gd name="connsiteY7" fmla="*/ 2428 h 10428"/>
                <a:gd name="connsiteX8" fmla="*/ 7500 w 10000"/>
                <a:gd name="connsiteY8" fmla="*/ 1883 h 10428"/>
                <a:gd name="connsiteX9" fmla="*/ 6667 w 10000"/>
                <a:gd name="connsiteY9" fmla="*/ 1337 h 10428"/>
                <a:gd name="connsiteX10" fmla="*/ 6000 w 10000"/>
                <a:gd name="connsiteY10" fmla="*/ 1519 h 10428"/>
                <a:gd name="connsiteX11" fmla="*/ 5167 w 10000"/>
                <a:gd name="connsiteY11" fmla="*/ 1883 h 10428"/>
                <a:gd name="connsiteX12" fmla="*/ 5000 w 10000"/>
                <a:gd name="connsiteY12" fmla="*/ 2246 h 10428"/>
                <a:gd name="connsiteX13" fmla="*/ 4333 w 10000"/>
                <a:gd name="connsiteY13" fmla="*/ 2428 h 10428"/>
                <a:gd name="connsiteX14" fmla="*/ 3667 w 10000"/>
                <a:gd name="connsiteY14" fmla="*/ 2428 h 10428"/>
                <a:gd name="connsiteX15" fmla="*/ 3167 w 10000"/>
                <a:gd name="connsiteY15" fmla="*/ 2064 h 10428"/>
                <a:gd name="connsiteX16" fmla="*/ 2500 w 10000"/>
                <a:gd name="connsiteY16" fmla="*/ 2064 h 10428"/>
                <a:gd name="connsiteX17" fmla="*/ 2500 w 10000"/>
                <a:gd name="connsiteY17" fmla="*/ 1519 h 10428"/>
                <a:gd name="connsiteX18" fmla="*/ 2000 w 10000"/>
                <a:gd name="connsiteY18" fmla="*/ 1155 h 10428"/>
                <a:gd name="connsiteX19" fmla="*/ 2000 w 10000"/>
                <a:gd name="connsiteY19" fmla="*/ 792 h 10428"/>
                <a:gd name="connsiteX20" fmla="*/ 1667 w 10000"/>
                <a:gd name="connsiteY20" fmla="*/ 201 h 10428"/>
                <a:gd name="connsiteX21" fmla="*/ 1204 w 10000"/>
                <a:gd name="connsiteY21" fmla="*/ 7 h 10428"/>
                <a:gd name="connsiteX22" fmla="*/ 755 w 10000"/>
                <a:gd name="connsiteY22" fmla="*/ 394 h 10428"/>
                <a:gd name="connsiteX23" fmla="*/ 0 w 10000"/>
                <a:gd name="connsiteY23" fmla="*/ 428 h 10428"/>
                <a:gd name="connsiteX24" fmla="*/ 0 w 10000"/>
                <a:gd name="connsiteY24" fmla="*/ 428 h 10428"/>
                <a:gd name="connsiteX25" fmla="*/ 0 w 10000"/>
                <a:gd name="connsiteY25" fmla="*/ 1701 h 10428"/>
                <a:gd name="connsiteX26" fmla="*/ 167 w 10000"/>
                <a:gd name="connsiteY26" fmla="*/ 2246 h 10428"/>
                <a:gd name="connsiteX27" fmla="*/ 167 w 10000"/>
                <a:gd name="connsiteY27" fmla="*/ 2246 h 10428"/>
                <a:gd name="connsiteX28" fmla="*/ 833 w 10000"/>
                <a:gd name="connsiteY28" fmla="*/ 3337 h 10428"/>
                <a:gd name="connsiteX29" fmla="*/ 667 w 10000"/>
                <a:gd name="connsiteY29" fmla="*/ 4064 h 10428"/>
                <a:gd name="connsiteX30" fmla="*/ 667 w 10000"/>
                <a:gd name="connsiteY30" fmla="*/ 4792 h 10428"/>
                <a:gd name="connsiteX31" fmla="*/ 1667 w 10000"/>
                <a:gd name="connsiteY31" fmla="*/ 5701 h 10428"/>
                <a:gd name="connsiteX32" fmla="*/ 2000 w 10000"/>
                <a:gd name="connsiteY32" fmla="*/ 6610 h 10428"/>
                <a:gd name="connsiteX33" fmla="*/ 2333 w 10000"/>
                <a:gd name="connsiteY33" fmla="*/ 7337 h 10428"/>
                <a:gd name="connsiteX34" fmla="*/ 2500 w 10000"/>
                <a:gd name="connsiteY34" fmla="*/ 6973 h 10428"/>
                <a:gd name="connsiteX35" fmla="*/ 3167 w 10000"/>
                <a:gd name="connsiteY35" fmla="*/ 7519 h 10428"/>
                <a:gd name="connsiteX36" fmla="*/ 3833 w 10000"/>
                <a:gd name="connsiteY36" fmla="*/ 8428 h 10428"/>
                <a:gd name="connsiteX37" fmla="*/ 4667 w 10000"/>
                <a:gd name="connsiteY37" fmla="*/ 9155 h 10428"/>
                <a:gd name="connsiteX38" fmla="*/ 5667 w 10000"/>
                <a:gd name="connsiteY38" fmla="*/ 9337 h 10428"/>
                <a:gd name="connsiteX39" fmla="*/ 6500 w 10000"/>
                <a:gd name="connsiteY39" fmla="*/ 9155 h 10428"/>
                <a:gd name="connsiteX40" fmla="*/ 7000 w 10000"/>
                <a:gd name="connsiteY40" fmla="*/ 9883 h 10428"/>
                <a:gd name="connsiteX41" fmla="*/ 8833 w 10000"/>
                <a:gd name="connsiteY41" fmla="*/ 10428 h 10428"/>
                <a:gd name="connsiteX42" fmla="*/ 9167 w 10000"/>
                <a:gd name="connsiteY42" fmla="*/ 10428 h 10428"/>
                <a:gd name="connsiteX43" fmla="*/ 9167 w 10000"/>
                <a:gd name="connsiteY43" fmla="*/ 9701 h 10428"/>
                <a:gd name="connsiteX44" fmla="*/ 10000 w 10000"/>
                <a:gd name="connsiteY44" fmla="*/ 9337 h 10428"/>
                <a:gd name="connsiteX45" fmla="*/ 9833 w 10000"/>
                <a:gd name="connsiteY45" fmla="*/ 8792 h 10428"/>
                <a:gd name="connsiteX46" fmla="*/ 9667 w 10000"/>
                <a:gd name="connsiteY46" fmla="*/ 8428 h 10428"/>
                <a:gd name="connsiteX47" fmla="*/ 9000 w 10000"/>
                <a:gd name="connsiteY47" fmla="*/ 7701 h 10428"/>
                <a:gd name="connsiteX48" fmla="*/ 8833 w 10000"/>
                <a:gd name="connsiteY48" fmla="*/ 7337 h 10428"/>
                <a:gd name="connsiteX0" fmla="*/ 8833 w 10000"/>
                <a:gd name="connsiteY0" fmla="*/ 7334 h 10425"/>
                <a:gd name="connsiteX1" fmla="*/ 8833 w 10000"/>
                <a:gd name="connsiteY1" fmla="*/ 7334 h 10425"/>
                <a:gd name="connsiteX2" fmla="*/ 9167 w 10000"/>
                <a:gd name="connsiteY2" fmla="*/ 6243 h 10425"/>
                <a:gd name="connsiteX3" fmla="*/ 8500 w 10000"/>
                <a:gd name="connsiteY3" fmla="*/ 5880 h 10425"/>
                <a:gd name="connsiteX4" fmla="*/ 8500 w 10000"/>
                <a:gd name="connsiteY4" fmla="*/ 4970 h 10425"/>
                <a:gd name="connsiteX5" fmla="*/ 8667 w 10000"/>
                <a:gd name="connsiteY5" fmla="*/ 4243 h 10425"/>
                <a:gd name="connsiteX6" fmla="*/ 8833 w 10000"/>
                <a:gd name="connsiteY6" fmla="*/ 2607 h 10425"/>
                <a:gd name="connsiteX7" fmla="*/ 8167 w 10000"/>
                <a:gd name="connsiteY7" fmla="*/ 2425 h 10425"/>
                <a:gd name="connsiteX8" fmla="*/ 7500 w 10000"/>
                <a:gd name="connsiteY8" fmla="*/ 1880 h 10425"/>
                <a:gd name="connsiteX9" fmla="*/ 6667 w 10000"/>
                <a:gd name="connsiteY9" fmla="*/ 1334 h 10425"/>
                <a:gd name="connsiteX10" fmla="*/ 6000 w 10000"/>
                <a:gd name="connsiteY10" fmla="*/ 1516 h 10425"/>
                <a:gd name="connsiteX11" fmla="*/ 5167 w 10000"/>
                <a:gd name="connsiteY11" fmla="*/ 1880 h 10425"/>
                <a:gd name="connsiteX12" fmla="*/ 5000 w 10000"/>
                <a:gd name="connsiteY12" fmla="*/ 2243 h 10425"/>
                <a:gd name="connsiteX13" fmla="*/ 4333 w 10000"/>
                <a:gd name="connsiteY13" fmla="*/ 2425 h 10425"/>
                <a:gd name="connsiteX14" fmla="*/ 3667 w 10000"/>
                <a:gd name="connsiteY14" fmla="*/ 2425 h 10425"/>
                <a:gd name="connsiteX15" fmla="*/ 3167 w 10000"/>
                <a:gd name="connsiteY15" fmla="*/ 2061 h 10425"/>
                <a:gd name="connsiteX16" fmla="*/ 2500 w 10000"/>
                <a:gd name="connsiteY16" fmla="*/ 2061 h 10425"/>
                <a:gd name="connsiteX17" fmla="*/ 2500 w 10000"/>
                <a:gd name="connsiteY17" fmla="*/ 1516 h 10425"/>
                <a:gd name="connsiteX18" fmla="*/ 2000 w 10000"/>
                <a:gd name="connsiteY18" fmla="*/ 1152 h 10425"/>
                <a:gd name="connsiteX19" fmla="*/ 2000 w 10000"/>
                <a:gd name="connsiteY19" fmla="*/ 789 h 10425"/>
                <a:gd name="connsiteX20" fmla="*/ 1667 w 10000"/>
                <a:gd name="connsiteY20" fmla="*/ 198 h 10425"/>
                <a:gd name="connsiteX21" fmla="*/ 1204 w 10000"/>
                <a:gd name="connsiteY21" fmla="*/ 4 h 10425"/>
                <a:gd name="connsiteX22" fmla="*/ 908 w 10000"/>
                <a:gd name="connsiteY22" fmla="*/ 334 h 10425"/>
                <a:gd name="connsiteX23" fmla="*/ 0 w 10000"/>
                <a:gd name="connsiteY23" fmla="*/ 425 h 10425"/>
                <a:gd name="connsiteX24" fmla="*/ 0 w 10000"/>
                <a:gd name="connsiteY24" fmla="*/ 425 h 10425"/>
                <a:gd name="connsiteX25" fmla="*/ 0 w 10000"/>
                <a:gd name="connsiteY25" fmla="*/ 1698 h 10425"/>
                <a:gd name="connsiteX26" fmla="*/ 167 w 10000"/>
                <a:gd name="connsiteY26" fmla="*/ 2243 h 10425"/>
                <a:gd name="connsiteX27" fmla="*/ 167 w 10000"/>
                <a:gd name="connsiteY27" fmla="*/ 2243 h 10425"/>
                <a:gd name="connsiteX28" fmla="*/ 833 w 10000"/>
                <a:gd name="connsiteY28" fmla="*/ 3334 h 10425"/>
                <a:gd name="connsiteX29" fmla="*/ 667 w 10000"/>
                <a:gd name="connsiteY29" fmla="*/ 4061 h 10425"/>
                <a:gd name="connsiteX30" fmla="*/ 667 w 10000"/>
                <a:gd name="connsiteY30" fmla="*/ 4789 h 10425"/>
                <a:gd name="connsiteX31" fmla="*/ 1667 w 10000"/>
                <a:gd name="connsiteY31" fmla="*/ 5698 h 10425"/>
                <a:gd name="connsiteX32" fmla="*/ 2000 w 10000"/>
                <a:gd name="connsiteY32" fmla="*/ 6607 h 10425"/>
                <a:gd name="connsiteX33" fmla="*/ 2333 w 10000"/>
                <a:gd name="connsiteY33" fmla="*/ 7334 h 10425"/>
                <a:gd name="connsiteX34" fmla="*/ 2500 w 10000"/>
                <a:gd name="connsiteY34" fmla="*/ 6970 h 10425"/>
                <a:gd name="connsiteX35" fmla="*/ 3167 w 10000"/>
                <a:gd name="connsiteY35" fmla="*/ 7516 h 10425"/>
                <a:gd name="connsiteX36" fmla="*/ 3833 w 10000"/>
                <a:gd name="connsiteY36" fmla="*/ 8425 h 10425"/>
                <a:gd name="connsiteX37" fmla="*/ 4667 w 10000"/>
                <a:gd name="connsiteY37" fmla="*/ 9152 h 10425"/>
                <a:gd name="connsiteX38" fmla="*/ 5667 w 10000"/>
                <a:gd name="connsiteY38" fmla="*/ 9334 h 10425"/>
                <a:gd name="connsiteX39" fmla="*/ 6500 w 10000"/>
                <a:gd name="connsiteY39" fmla="*/ 9152 h 10425"/>
                <a:gd name="connsiteX40" fmla="*/ 7000 w 10000"/>
                <a:gd name="connsiteY40" fmla="*/ 9880 h 10425"/>
                <a:gd name="connsiteX41" fmla="*/ 8833 w 10000"/>
                <a:gd name="connsiteY41" fmla="*/ 10425 h 10425"/>
                <a:gd name="connsiteX42" fmla="*/ 9167 w 10000"/>
                <a:gd name="connsiteY42" fmla="*/ 10425 h 10425"/>
                <a:gd name="connsiteX43" fmla="*/ 9167 w 10000"/>
                <a:gd name="connsiteY43" fmla="*/ 9698 h 10425"/>
                <a:gd name="connsiteX44" fmla="*/ 10000 w 10000"/>
                <a:gd name="connsiteY44" fmla="*/ 9334 h 10425"/>
                <a:gd name="connsiteX45" fmla="*/ 9833 w 10000"/>
                <a:gd name="connsiteY45" fmla="*/ 8789 h 10425"/>
                <a:gd name="connsiteX46" fmla="*/ 9667 w 10000"/>
                <a:gd name="connsiteY46" fmla="*/ 8425 h 10425"/>
                <a:gd name="connsiteX47" fmla="*/ 9000 w 10000"/>
                <a:gd name="connsiteY47" fmla="*/ 7698 h 10425"/>
                <a:gd name="connsiteX48" fmla="*/ 8833 w 10000"/>
                <a:gd name="connsiteY48" fmla="*/ 7334 h 10425"/>
                <a:gd name="connsiteX0" fmla="*/ 8833 w 10000"/>
                <a:gd name="connsiteY0" fmla="*/ 7349 h 10440"/>
                <a:gd name="connsiteX1" fmla="*/ 8833 w 10000"/>
                <a:gd name="connsiteY1" fmla="*/ 7349 h 10440"/>
                <a:gd name="connsiteX2" fmla="*/ 9167 w 10000"/>
                <a:gd name="connsiteY2" fmla="*/ 6258 h 10440"/>
                <a:gd name="connsiteX3" fmla="*/ 8500 w 10000"/>
                <a:gd name="connsiteY3" fmla="*/ 5895 h 10440"/>
                <a:gd name="connsiteX4" fmla="*/ 8500 w 10000"/>
                <a:gd name="connsiteY4" fmla="*/ 4985 h 10440"/>
                <a:gd name="connsiteX5" fmla="*/ 8667 w 10000"/>
                <a:gd name="connsiteY5" fmla="*/ 4258 h 10440"/>
                <a:gd name="connsiteX6" fmla="*/ 8833 w 10000"/>
                <a:gd name="connsiteY6" fmla="*/ 2622 h 10440"/>
                <a:gd name="connsiteX7" fmla="*/ 8167 w 10000"/>
                <a:gd name="connsiteY7" fmla="*/ 2440 h 10440"/>
                <a:gd name="connsiteX8" fmla="*/ 7500 w 10000"/>
                <a:gd name="connsiteY8" fmla="*/ 1895 h 10440"/>
                <a:gd name="connsiteX9" fmla="*/ 6667 w 10000"/>
                <a:gd name="connsiteY9" fmla="*/ 1349 h 10440"/>
                <a:gd name="connsiteX10" fmla="*/ 6000 w 10000"/>
                <a:gd name="connsiteY10" fmla="*/ 1531 h 10440"/>
                <a:gd name="connsiteX11" fmla="*/ 5167 w 10000"/>
                <a:gd name="connsiteY11" fmla="*/ 1895 h 10440"/>
                <a:gd name="connsiteX12" fmla="*/ 5000 w 10000"/>
                <a:gd name="connsiteY12" fmla="*/ 2258 h 10440"/>
                <a:gd name="connsiteX13" fmla="*/ 4333 w 10000"/>
                <a:gd name="connsiteY13" fmla="*/ 2440 h 10440"/>
                <a:gd name="connsiteX14" fmla="*/ 3667 w 10000"/>
                <a:gd name="connsiteY14" fmla="*/ 2440 h 10440"/>
                <a:gd name="connsiteX15" fmla="*/ 3167 w 10000"/>
                <a:gd name="connsiteY15" fmla="*/ 2076 h 10440"/>
                <a:gd name="connsiteX16" fmla="*/ 2500 w 10000"/>
                <a:gd name="connsiteY16" fmla="*/ 2076 h 10440"/>
                <a:gd name="connsiteX17" fmla="*/ 2500 w 10000"/>
                <a:gd name="connsiteY17" fmla="*/ 1531 h 10440"/>
                <a:gd name="connsiteX18" fmla="*/ 2000 w 10000"/>
                <a:gd name="connsiteY18" fmla="*/ 1167 h 10440"/>
                <a:gd name="connsiteX19" fmla="*/ 2000 w 10000"/>
                <a:gd name="connsiteY19" fmla="*/ 804 h 10440"/>
                <a:gd name="connsiteX20" fmla="*/ 1667 w 10000"/>
                <a:gd name="connsiteY20" fmla="*/ 213 h 10440"/>
                <a:gd name="connsiteX21" fmla="*/ 1204 w 10000"/>
                <a:gd name="connsiteY21" fmla="*/ 19 h 10440"/>
                <a:gd name="connsiteX22" fmla="*/ 959 w 10000"/>
                <a:gd name="connsiteY22" fmla="*/ 633 h 10440"/>
                <a:gd name="connsiteX23" fmla="*/ 0 w 10000"/>
                <a:gd name="connsiteY23" fmla="*/ 440 h 10440"/>
                <a:gd name="connsiteX24" fmla="*/ 0 w 10000"/>
                <a:gd name="connsiteY24" fmla="*/ 440 h 10440"/>
                <a:gd name="connsiteX25" fmla="*/ 0 w 10000"/>
                <a:gd name="connsiteY25" fmla="*/ 1713 h 10440"/>
                <a:gd name="connsiteX26" fmla="*/ 167 w 10000"/>
                <a:gd name="connsiteY26" fmla="*/ 2258 h 10440"/>
                <a:gd name="connsiteX27" fmla="*/ 167 w 10000"/>
                <a:gd name="connsiteY27" fmla="*/ 2258 h 10440"/>
                <a:gd name="connsiteX28" fmla="*/ 833 w 10000"/>
                <a:gd name="connsiteY28" fmla="*/ 3349 h 10440"/>
                <a:gd name="connsiteX29" fmla="*/ 667 w 10000"/>
                <a:gd name="connsiteY29" fmla="*/ 4076 h 10440"/>
                <a:gd name="connsiteX30" fmla="*/ 667 w 10000"/>
                <a:gd name="connsiteY30" fmla="*/ 4804 h 10440"/>
                <a:gd name="connsiteX31" fmla="*/ 1667 w 10000"/>
                <a:gd name="connsiteY31" fmla="*/ 5713 h 10440"/>
                <a:gd name="connsiteX32" fmla="*/ 2000 w 10000"/>
                <a:gd name="connsiteY32" fmla="*/ 6622 h 10440"/>
                <a:gd name="connsiteX33" fmla="*/ 2333 w 10000"/>
                <a:gd name="connsiteY33" fmla="*/ 7349 h 10440"/>
                <a:gd name="connsiteX34" fmla="*/ 2500 w 10000"/>
                <a:gd name="connsiteY34" fmla="*/ 6985 h 10440"/>
                <a:gd name="connsiteX35" fmla="*/ 3167 w 10000"/>
                <a:gd name="connsiteY35" fmla="*/ 7531 h 10440"/>
                <a:gd name="connsiteX36" fmla="*/ 3833 w 10000"/>
                <a:gd name="connsiteY36" fmla="*/ 8440 h 10440"/>
                <a:gd name="connsiteX37" fmla="*/ 4667 w 10000"/>
                <a:gd name="connsiteY37" fmla="*/ 9167 h 10440"/>
                <a:gd name="connsiteX38" fmla="*/ 5667 w 10000"/>
                <a:gd name="connsiteY38" fmla="*/ 9349 h 10440"/>
                <a:gd name="connsiteX39" fmla="*/ 6500 w 10000"/>
                <a:gd name="connsiteY39" fmla="*/ 9167 h 10440"/>
                <a:gd name="connsiteX40" fmla="*/ 7000 w 10000"/>
                <a:gd name="connsiteY40" fmla="*/ 9895 h 10440"/>
                <a:gd name="connsiteX41" fmla="*/ 8833 w 10000"/>
                <a:gd name="connsiteY41" fmla="*/ 10440 h 10440"/>
                <a:gd name="connsiteX42" fmla="*/ 9167 w 10000"/>
                <a:gd name="connsiteY42" fmla="*/ 10440 h 10440"/>
                <a:gd name="connsiteX43" fmla="*/ 9167 w 10000"/>
                <a:gd name="connsiteY43" fmla="*/ 9713 h 10440"/>
                <a:gd name="connsiteX44" fmla="*/ 10000 w 10000"/>
                <a:gd name="connsiteY44" fmla="*/ 9349 h 10440"/>
                <a:gd name="connsiteX45" fmla="*/ 9833 w 10000"/>
                <a:gd name="connsiteY45" fmla="*/ 8804 h 10440"/>
                <a:gd name="connsiteX46" fmla="*/ 9667 w 10000"/>
                <a:gd name="connsiteY46" fmla="*/ 8440 h 10440"/>
                <a:gd name="connsiteX47" fmla="*/ 9000 w 10000"/>
                <a:gd name="connsiteY47" fmla="*/ 7713 h 10440"/>
                <a:gd name="connsiteX48" fmla="*/ 8833 w 10000"/>
                <a:gd name="connsiteY48" fmla="*/ 7349 h 10440"/>
                <a:gd name="connsiteX0" fmla="*/ 8833 w 10000"/>
                <a:gd name="connsiteY0" fmla="*/ 7349 h 10440"/>
                <a:gd name="connsiteX1" fmla="*/ 8833 w 10000"/>
                <a:gd name="connsiteY1" fmla="*/ 7349 h 10440"/>
                <a:gd name="connsiteX2" fmla="*/ 9167 w 10000"/>
                <a:gd name="connsiteY2" fmla="*/ 6258 h 10440"/>
                <a:gd name="connsiteX3" fmla="*/ 8500 w 10000"/>
                <a:gd name="connsiteY3" fmla="*/ 5895 h 10440"/>
                <a:gd name="connsiteX4" fmla="*/ 8500 w 10000"/>
                <a:gd name="connsiteY4" fmla="*/ 4985 h 10440"/>
                <a:gd name="connsiteX5" fmla="*/ 8667 w 10000"/>
                <a:gd name="connsiteY5" fmla="*/ 4258 h 10440"/>
                <a:gd name="connsiteX6" fmla="*/ 8833 w 10000"/>
                <a:gd name="connsiteY6" fmla="*/ 2622 h 10440"/>
                <a:gd name="connsiteX7" fmla="*/ 8167 w 10000"/>
                <a:gd name="connsiteY7" fmla="*/ 2440 h 10440"/>
                <a:gd name="connsiteX8" fmla="*/ 7500 w 10000"/>
                <a:gd name="connsiteY8" fmla="*/ 1895 h 10440"/>
                <a:gd name="connsiteX9" fmla="*/ 6667 w 10000"/>
                <a:gd name="connsiteY9" fmla="*/ 1349 h 10440"/>
                <a:gd name="connsiteX10" fmla="*/ 6000 w 10000"/>
                <a:gd name="connsiteY10" fmla="*/ 1531 h 10440"/>
                <a:gd name="connsiteX11" fmla="*/ 5167 w 10000"/>
                <a:gd name="connsiteY11" fmla="*/ 1895 h 10440"/>
                <a:gd name="connsiteX12" fmla="*/ 5000 w 10000"/>
                <a:gd name="connsiteY12" fmla="*/ 2258 h 10440"/>
                <a:gd name="connsiteX13" fmla="*/ 4333 w 10000"/>
                <a:gd name="connsiteY13" fmla="*/ 2440 h 10440"/>
                <a:gd name="connsiteX14" fmla="*/ 3667 w 10000"/>
                <a:gd name="connsiteY14" fmla="*/ 2440 h 10440"/>
                <a:gd name="connsiteX15" fmla="*/ 3167 w 10000"/>
                <a:gd name="connsiteY15" fmla="*/ 2076 h 10440"/>
                <a:gd name="connsiteX16" fmla="*/ 2500 w 10000"/>
                <a:gd name="connsiteY16" fmla="*/ 2076 h 10440"/>
                <a:gd name="connsiteX17" fmla="*/ 2500 w 10000"/>
                <a:gd name="connsiteY17" fmla="*/ 1531 h 10440"/>
                <a:gd name="connsiteX18" fmla="*/ 2000 w 10000"/>
                <a:gd name="connsiteY18" fmla="*/ 1167 h 10440"/>
                <a:gd name="connsiteX19" fmla="*/ 2000 w 10000"/>
                <a:gd name="connsiteY19" fmla="*/ 804 h 10440"/>
                <a:gd name="connsiteX20" fmla="*/ 1667 w 10000"/>
                <a:gd name="connsiteY20" fmla="*/ 213 h 10440"/>
                <a:gd name="connsiteX21" fmla="*/ 1204 w 10000"/>
                <a:gd name="connsiteY21" fmla="*/ 19 h 10440"/>
                <a:gd name="connsiteX22" fmla="*/ 1061 w 10000"/>
                <a:gd name="connsiteY22" fmla="*/ 633 h 10440"/>
                <a:gd name="connsiteX23" fmla="*/ 0 w 10000"/>
                <a:gd name="connsiteY23" fmla="*/ 440 h 10440"/>
                <a:gd name="connsiteX24" fmla="*/ 0 w 10000"/>
                <a:gd name="connsiteY24" fmla="*/ 440 h 10440"/>
                <a:gd name="connsiteX25" fmla="*/ 0 w 10000"/>
                <a:gd name="connsiteY25" fmla="*/ 1713 h 10440"/>
                <a:gd name="connsiteX26" fmla="*/ 167 w 10000"/>
                <a:gd name="connsiteY26" fmla="*/ 2258 h 10440"/>
                <a:gd name="connsiteX27" fmla="*/ 167 w 10000"/>
                <a:gd name="connsiteY27" fmla="*/ 2258 h 10440"/>
                <a:gd name="connsiteX28" fmla="*/ 833 w 10000"/>
                <a:gd name="connsiteY28" fmla="*/ 3349 h 10440"/>
                <a:gd name="connsiteX29" fmla="*/ 667 w 10000"/>
                <a:gd name="connsiteY29" fmla="*/ 4076 h 10440"/>
                <a:gd name="connsiteX30" fmla="*/ 667 w 10000"/>
                <a:gd name="connsiteY30" fmla="*/ 4804 h 10440"/>
                <a:gd name="connsiteX31" fmla="*/ 1667 w 10000"/>
                <a:gd name="connsiteY31" fmla="*/ 5713 h 10440"/>
                <a:gd name="connsiteX32" fmla="*/ 2000 w 10000"/>
                <a:gd name="connsiteY32" fmla="*/ 6622 h 10440"/>
                <a:gd name="connsiteX33" fmla="*/ 2333 w 10000"/>
                <a:gd name="connsiteY33" fmla="*/ 7349 h 10440"/>
                <a:gd name="connsiteX34" fmla="*/ 2500 w 10000"/>
                <a:gd name="connsiteY34" fmla="*/ 6985 h 10440"/>
                <a:gd name="connsiteX35" fmla="*/ 3167 w 10000"/>
                <a:gd name="connsiteY35" fmla="*/ 7531 h 10440"/>
                <a:gd name="connsiteX36" fmla="*/ 3833 w 10000"/>
                <a:gd name="connsiteY36" fmla="*/ 8440 h 10440"/>
                <a:gd name="connsiteX37" fmla="*/ 4667 w 10000"/>
                <a:gd name="connsiteY37" fmla="*/ 9167 h 10440"/>
                <a:gd name="connsiteX38" fmla="*/ 5667 w 10000"/>
                <a:gd name="connsiteY38" fmla="*/ 9349 h 10440"/>
                <a:gd name="connsiteX39" fmla="*/ 6500 w 10000"/>
                <a:gd name="connsiteY39" fmla="*/ 9167 h 10440"/>
                <a:gd name="connsiteX40" fmla="*/ 7000 w 10000"/>
                <a:gd name="connsiteY40" fmla="*/ 9895 h 10440"/>
                <a:gd name="connsiteX41" fmla="*/ 8833 w 10000"/>
                <a:gd name="connsiteY41" fmla="*/ 10440 h 10440"/>
                <a:gd name="connsiteX42" fmla="*/ 9167 w 10000"/>
                <a:gd name="connsiteY42" fmla="*/ 10440 h 10440"/>
                <a:gd name="connsiteX43" fmla="*/ 9167 w 10000"/>
                <a:gd name="connsiteY43" fmla="*/ 9713 h 10440"/>
                <a:gd name="connsiteX44" fmla="*/ 10000 w 10000"/>
                <a:gd name="connsiteY44" fmla="*/ 9349 h 10440"/>
                <a:gd name="connsiteX45" fmla="*/ 9833 w 10000"/>
                <a:gd name="connsiteY45" fmla="*/ 8804 h 10440"/>
                <a:gd name="connsiteX46" fmla="*/ 9667 w 10000"/>
                <a:gd name="connsiteY46" fmla="*/ 8440 h 10440"/>
                <a:gd name="connsiteX47" fmla="*/ 9000 w 10000"/>
                <a:gd name="connsiteY47" fmla="*/ 7713 h 10440"/>
                <a:gd name="connsiteX48" fmla="*/ 8833 w 10000"/>
                <a:gd name="connsiteY48" fmla="*/ 7349 h 10440"/>
                <a:gd name="connsiteX0" fmla="*/ 8833 w 10000"/>
                <a:gd name="connsiteY0" fmla="*/ 7364 h 10455"/>
                <a:gd name="connsiteX1" fmla="*/ 8833 w 10000"/>
                <a:gd name="connsiteY1" fmla="*/ 7364 h 10455"/>
                <a:gd name="connsiteX2" fmla="*/ 9167 w 10000"/>
                <a:gd name="connsiteY2" fmla="*/ 6273 h 10455"/>
                <a:gd name="connsiteX3" fmla="*/ 8500 w 10000"/>
                <a:gd name="connsiteY3" fmla="*/ 5910 h 10455"/>
                <a:gd name="connsiteX4" fmla="*/ 8500 w 10000"/>
                <a:gd name="connsiteY4" fmla="*/ 5000 h 10455"/>
                <a:gd name="connsiteX5" fmla="*/ 8667 w 10000"/>
                <a:gd name="connsiteY5" fmla="*/ 4273 h 10455"/>
                <a:gd name="connsiteX6" fmla="*/ 8833 w 10000"/>
                <a:gd name="connsiteY6" fmla="*/ 2637 h 10455"/>
                <a:gd name="connsiteX7" fmla="*/ 8167 w 10000"/>
                <a:gd name="connsiteY7" fmla="*/ 2455 h 10455"/>
                <a:gd name="connsiteX8" fmla="*/ 7500 w 10000"/>
                <a:gd name="connsiteY8" fmla="*/ 1910 h 10455"/>
                <a:gd name="connsiteX9" fmla="*/ 6667 w 10000"/>
                <a:gd name="connsiteY9" fmla="*/ 1364 h 10455"/>
                <a:gd name="connsiteX10" fmla="*/ 6000 w 10000"/>
                <a:gd name="connsiteY10" fmla="*/ 1546 h 10455"/>
                <a:gd name="connsiteX11" fmla="*/ 5167 w 10000"/>
                <a:gd name="connsiteY11" fmla="*/ 1910 h 10455"/>
                <a:gd name="connsiteX12" fmla="*/ 5000 w 10000"/>
                <a:gd name="connsiteY12" fmla="*/ 2273 h 10455"/>
                <a:gd name="connsiteX13" fmla="*/ 4333 w 10000"/>
                <a:gd name="connsiteY13" fmla="*/ 2455 h 10455"/>
                <a:gd name="connsiteX14" fmla="*/ 3667 w 10000"/>
                <a:gd name="connsiteY14" fmla="*/ 2455 h 10455"/>
                <a:gd name="connsiteX15" fmla="*/ 3167 w 10000"/>
                <a:gd name="connsiteY15" fmla="*/ 2091 h 10455"/>
                <a:gd name="connsiteX16" fmla="*/ 2500 w 10000"/>
                <a:gd name="connsiteY16" fmla="*/ 2091 h 10455"/>
                <a:gd name="connsiteX17" fmla="*/ 2500 w 10000"/>
                <a:gd name="connsiteY17" fmla="*/ 1546 h 10455"/>
                <a:gd name="connsiteX18" fmla="*/ 2000 w 10000"/>
                <a:gd name="connsiteY18" fmla="*/ 1182 h 10455"/>
                <a:gd name="connsiteX19" fmla="*/ 2000 w 10000"/>
                <a:gd name="connsiteY19" fmla="*/ 819 h 10455"/>
                <a:gd name="connsiteX20" fmla="*/ 1667 w 10000"/>
                <a:gd name="connsiteY20" fmla="*/ 228 h 10455"/>
                <a:gd name="connsiteX21" fmla="*/ 1204 w 10000"/>
                <a:gd name="connsiteY21" fmla="*/ 34 h 10455"/>
                <a:gd name="connsiteX22" fmla="*/ 1010 w 10000"/>
                <a:gd name="connsiteY22" fmla="*/ 875 h 10455"/>
                <a:gd name="connsiteX23" fmla="*/ 0 w 10000"/>
                <a:gd name="connsiteY23" fmla="*/ 455 h 10455"/>
                <a:gd name="connsiteX24" fmla="*/ 0 w 10000"/>
                <a:gd name="connsiteY24" fmla="*/ 455 h 10455"/>
                <a:gd name="connsiteX25" fmla="*/ 0 w 10000"/>
                <a:gd name="connsiteY25" fmla="*/ 1728 h 10455"/>
                <a:gd name="connsiteX26" fmla="*/ 167 w 10000"/>
                <a:gd name="connsiteY26" fmla="*/ 2273 h 10455"/>
                <a:gd name="connsiteX27" fmla="*/ 167 w 10000"/>
                <a:gd name="connsiteY27" fmla="*/ 2273 h 10455"/>
                <a:gd name="connsiteX28" fmla="*/ 833 w 10000"/>
                <a:gd name="connsiteY28" fmla="*/ 3364 h 10455"/>
                <a:gd name="connsiteX29" fmla="*/ 667 w 10000"/>
                <a:gd name="connsiteY29" fmla="*/ 4091 h 10455"/>
                <a:gd name="connsiteX30" fmla="*/ 667 w 10000"/>
                <a:gd name="connsiteY30" fmla="*/ 4819 h 10455"/>
                <a:gd name="connsiteX31" fmla="*/ 1667 w 10000"/>
                <a:gd name="connsiteY31" fmla="*/ 5728 h 10455"/>
                <a:gd name="connsiteX32" fmla="*/ 2000 w 10000"/>
                <a:gd name="connsiteY32" fmla="*/ 6637 h 10455"/>
                <a:gd name="connsiteX33" fmla="*/ 2333 w 10000"/>
                <a:gd name="connsiteY33" fmla="*/ 7364 h 10455"/>
                <a:gd name="connsiteX34" fmla="*/ 2500 w 10000"/>
                <a:gd name="connsiteY34" fmla="*/ 7000 h 10455"/>
                <a:gd name="connsiteX35" fmla="*/ 3167 w 10000"/>
                <a:gd name="connsiteY35" fmla="*/ 7546 h 10455"/>
                <a:gd name="connsiteX36" fmla="*/ 3833 w 10000"/>
                <a:gd name="connsiteY36" fmla="*/ 8455 h 10455"/>
                <a:gd name="connsiteX37" fmla="*/ 4667 w 10000"/>
                <a:gd name="connsiteY37" fmla="*/ 9182 h 10455"/>
                <a:gd name="connsiteX38" fmla="*/ 5667 w 10000"/>
                <a:gd name="connsiteY38" fmla="*/ 9364 h 10455"/>
                <a:gd name="connsiteX39" fmla="*/ 6500 w 10000"/>
                <a:gd name="connsiteY39" fmla="*/ 9182 h 10455"/>
                <a:gd name="connsiteX40" fmla="*/ 7000 w 10000"/>
                <a:gd name="connsiteY40" fmla="*/ 9910 h 10455"/>
                <a:gd name="connsiteX41" fmla="*/ 8833 w 10000"/>
                <a:gd name="connsiteY41" fmla="*/ 10455 h 10455"/>
                <a:gd name="connsiteX42" fmla="*/ 9167 w 10000"/>
                <a:gd name="connsiteY42" fmla="*/ 10455 h 10455"/>
                <a:gd name="connsiteX43" fmla="*/ 9167 w 10000"/>
                <a:gd name="connsiteY43" fmla="*/ 9728 h 10455"/>
                <a:gd name="connsiteX44" fmla="*/ 10000 w 10000"/>
                <a:gd name="connsiteY44" fmla="*/ 9364 h 10455"/>
                <a:gd name="connsiteX45" fmla="*/ 9833 w 10000"/>
                <a:gd name="connsiteY45" fmla="*/ 8819 h 10455"/>
                <a:gd name="connsiteX46" fmla="*/ 9667 w 10000"/>
                <a:gd name="connsiteY46" fmla="*/ 8455 h 10455"/>
                <a:gd name="connsiteX47" fmla="*/ 9000 w 10000"/>
                <a:gd name="connsiteY47" fmla="*/ 7728 h 10455"/>
                <a:gd name="connsiteX48" fmla="*/ 8833 w 10000"/>
                <a:gd name="connsiteY48" fmla="*/ 7364 h 10455"/>
                <a:gd name="connsiteX0" fmla="*/ 8833 w 10000"/>
                <a:gd name="connsiteY0" fmla="*/ 7357 h 10448"/>
                <a:gd name="connsiteX1" fmla="*/ 8833 w 10000"/>
                <a:gd name="connsiteY1" fmla="*/ 7357 h 10448"/>
                <a:gd name="connsiteX2" fmla="*/ 9167 w 10000"/>
                <a:gd name="connsiteY2" fmla="*/ 6266 h 10448"/>
                <a:gd name="connsiteX3" fmla="*/ 8500 w 10000"/>
                <a:gd name="connsiteY3" fmla="*/ 5903 h 10448"/>
                <a:gd name="connsiteX4" fmla="*/ 8500 w 10000"/>
                <a:gd name="connsiteY4" fmla="*/ 4993 h 10448"/>
                <a:gd name="connsiteX5" fmla="*/ 8667 w 10000"/>
                <a:gd name="connsiteY5" fmla="*/ 4266 h 10448"/>
                <a:gd name="connsiteX6" fmla="*/ 8833 w 10000"/>
                <a:gd name="connsiteY6" fmla="*/ 2630 h 10448"/>
                <a:gd name="connsiteX7" fmla="*/ 8167 w 10000"/>
                <a:gd name="connsiteY7" fmla="*/ 2448 h 10448"/>
                <a:gd name="connsiteX8" fmla="*/ 7500 w 10000"/>
                <a:gd name="connsiteY8" fmla="*/ 1903 h 10448"/>
                <a:gd name="connsiteX9" fmla="*/ 6667 w 10000"/>
                <a:gd name="connsiteY9" fmla="*/ 1357 h 10448"/>
                <a:gd name="connsiteX10" fmla="*/ 6000 w 10000"/>
                <a:gd name="connsiteY10" fmla="*/ 1539 h 10448"/>
                <a:gd name="connsiteX11" fmla="*/ 5167 w 10000"/>
                <a:gd name="connsiteY11" fmla="*/ 1903 h 10448"/>
                <a:gd name="connsiteX12" fmla="*/ 5000 w 10000"/>
                <a:gd name="connsiteY12" fmla="*/ 2266 h 10448"/>
                <a:gd name="connsiteX13" fmla="*/ 4333 w 10000"/>
                <a:gd name="connsiteY13" fmla="*/ 2448 h 10448"/>
                <a:gd name="connsiteX14" fmla="*/ 3667 w 10000"/>
                <a:gd name="connsiteY14" fmla="*/ 2448 h 10448"/>
                <a:gd name="connsiteX15" fmla="*/ 3167 w 10000"/>
                <a:gd name="connsiteY15" fmla="*/ 2084 h 10448"/>
                <a:gd name="connsiteX16" fmla="*/ 2500 w 10000"/>
                <a:gd name="connsiteY16" fmla="*/ 2084 h 10448"/>
                <a:gd name="connsiteX17" fmla="*/ 2500 w 10000"/>
                <a:gd name="connsiteY17" fmla="*/ 1539 h 10448"/>
                <a:gd name="connsiteX18" fmla="*/ 2000 w 10000"/>
                <a:gd name="connsiteY18" fmla="*/ 1175 h 10448"/>
                <a:gd name="connsiteX19" fmla="*/ 2000 w 10000"/>
                <a:gd name="connsiteY19" fmla="*/ 812 h 10448"/>
                <a:gd name="connsiteX20" fmla="*/ 1667 w 10000"/>
                <a:gd name="connsiteY20" fmla="*/ 221 h 10448"/>
                <a:gd name="connsiteX21" fmla="*/ 1204 w 10000"/>
                <a:gd name="connsiteY21" fmla="*/ 27 h 10448"/>
                <a:gd name="connsiteX22" fmla="*/ 908 w 10000"/>
                <a:gd name="connsiteY22" fmla="*/ 754 h 10448"/>
                <a:gd name="connsiteX23" fmla="*/ 0 w 10000"/>
                <a:gd name="connsiteY23" fmla="*/ 448 h 10448"/>
                <a:gd name="connsiteX24" fmla="*/ 0 w 10000"/>
                <a:gd name="connsiteY24" fmla="*/ 448 h 10448"/>
                <a:gd name="connsiteX25" fmla="*/ 0 w 10000"/>
                <a:gd name="connsiteY25" fmla="*/ 1721 h 10448"/>
                <a:gd name="connsiteX26" fmla="*/ 167 w 10000"/>
                <a:gd name="connsiteY26" fmla="*/ 2266 h 10448"/>
                <a:gd name="connsiteX27" fmla="*/ 167 w 10000"/>
                <a:gd name="connsiteY27" fmla="*/ 2266 h 10448"/>
                <a:gd name="connsiteX28" fmla="*/ 833 w 10000"/>
                <a:gd name="connsiteY28" fmla="*/ 3357 h 10448"/>
                <a:gd name="connsiteX29" fmla="*/ 667 w 10000"/>
                <a:gd name="connsiteY29" fmla="*/ 4084 h 10448"/>
                <a:gd name="connsiteX30" fmla="*/ 667 w 10000"/>
                <a:gd name="connsiteY30" fmla="*/ 4812 h 10448"/>
                <a:gd name="connsiteX31" fmla="*/ 1667 w 10000"/>
                <a:gd name="connsiteY31" fmla="*/ 5721 h 10448"/>
                <a:gd name="connsiteX32" fmla="*/ 2000 w 10000"/>
                <a:gd name="connsiteY32" fmla="*/ 6630 h 10448"/>
                <a:gd name="connsiteX33" fmla="*/ 2333 w 10000"/>
                <a:gd name="connsiteY33" fmla="*/ 7357 h 10448"/>
                <a:gd name="connsiteX34" fmla="*/ 2500 w 10000"/>
                <a:gd name="connsiteY34" fmla="*/ 6993 h 10448"/>
                <a:gd name="connsiteX35" fmla="*/ 3167 w 10000"/>
                <a:gd name="connsiteY35" fmla="*/ 7539 h 10448"/>
                <a:gd name="connsiteX36" fmla="*/ 3833 w 10000"/>
                <a:gd name="connsiteY36" fmla="*/ 8448 h 10448"/>
                <a:gd name="connsiteX37" fmla="*/ 4667 w 10000"/>
                <a:gd name="connsiteY37" fmla="*/ 9175 h 10448"/>
                <a:gd name="connsiteX38" fmla="*/ 5667 w 10000"/>
                <a:gd name="connsiteY38" fmla="*/ 9357 h 10448"/>
                <a:gd name="connsiteX39" fmla="*/ 6500 w 10000"/>
                <a:gd name="connsiteY39" fmla="*/ 9175 h 10448"/>
                <a:gd name="connsiteX40" fmla="*/ 7000 w 10000"/>
                <a:gd name="connsiteY40" fmla="*/ 9903 h 10448"/>
                <a:gd name="connsiteX41" fmla="*/ 8833 w 10000"/>
                <a:gd name="connsiteY41" fmla="*/ 10448 h 10448"/>
                <a:gd name="connsiteX42" fmla="*/ 9167 w 10000"/>
                <a:gd name="connsiteY42" fmla="*/ 10448 h 10448"/>
                <a:gd name="connsiteX43" fmla="*/ 9167 w 10000"/>
                <a:gd name="connsiteY43" fmla="*/ 9721 h 10448"/>
                <a:gd name="connsiteX44" fmla="*/ 10000 w 10000"/>
                <a:gd name="connsiteY44" fmla="*/ 9357 h 10448"/>
                <a:gd name="connsiteX45" fmla="*/ 9833 w 10000"/>
                <a:gd name="connsiteY45" fmla="*/ 8812 h 10448"/>
                <a:gd name="connsiteX46" fmla="*/ 9667 w 10000"/>
                <a:gd name="connsiteY46" fmla="*/ 8448 h 10448"/>
                <a:gd name="connsiteX47" fmla="*/ 9000 w 10000"/>
                <a:gd name="connsiteY47" fmla="*/ 7721 h 10448"/>
                <a:gd name="connsiteX48" fmla="*/ 8833 w 10000"/>
                <a:gd name="connsiteY48" fmla="*/ 7357 h 10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0000" h="10448">
                  <a:moveTo>
                    <a:pt x="8833" y="7357"/>
                  </a:moveTo>
                  <a:lnTo>
                    <a:pt x="8833" y="7357"/>
                  </a:lnTo>
                  <a:cubicBezTo>
                    <a:pt x="8944" y="6993"/>
                    <a:pt x="9056" y="6630"/>
                    <a:pt x="9167" y="6266"/>
                  </a:cubicBezTo>
                  <a:lnTo>
                    <a:pt x="8500" y="5903"/>
                  </a:lnTo>
                  <a:lnTo>
                    <a:pt x="8500" y="4993"/>
                  </a:lnTo>
                  <a:cubicBezTo>
                    <a:pt x="8556" y="4751"/>
                    <a:pt x="8611" y="4508"/>
                    <a:pt x="8667" y="4266"/>
                  </a:cubicBezTo>
                  <a:cubicBezTo>
                    <a:pt x="8722" y="3721"/>
                    <a:pt x="8778" y="3175"/>
                    <a:pt x="8833" y="2630"/>
                  </a:cubicBezTo>
                  <a:lnTo>
                    <a:pt x="8167" y="2448"/>
                  </a:lnTo>
                  <a:lnTo>
                    <a:pt x="7500" y="1903"/>
                  </a:lnTo>
                  <a:lnTo>
                    <a:pt x="6667" y="1357"/>
                  </a:lnTo>
                  <a:lnTo>
                    <a:pt x="6000" y="1539"/>
                  </a:lnTo>
                  <a:lnTo>
                    <a:pt x="5167" y="1903"/>
                  </a:lnTo>
                  <a:cubicBezTo>
                    <a:pt x="5111" y="2024"/>
                    <a:pt x="5056" y="2145"/>
                    <a:pt x="5000" y="2266"/>
                  </a:cubicBezTo>
                  <a:lnTo>
                    <a:pt x="4333" y="2448"/>
                  </a:lnTo>
                  <a:lnTo>
                    <a:pt x="3667" y="2448"/>
                  </a:lnTo>
                  <a:lnTo>
                    <a:pt x="3167" y="2084"/>
                  </a:lnTo>
                  <a:lnTo>
                    <a:pt x="2500" y="2084"/>
                  </a:lnTo>
                  <a:lnTo>
                    <a:pt x="2500" y="1539"/>
                  </a:lnTo>
                  <a:lnTo>
                    <a:pt x="2000" y="1175"/>
                  </a:lnTo>
                  <a:cubicBezTo>
                    <a:pt x="2000" y="812"/>
                    <a:pt x="2056" y="971"/>
                    <a:pt x="2000" y="812"/>
                  </a:cubicBezTo>
                  <a:cubicBezTo>
                    <a:pt x="1945" y="653"/>
                    <a:pt x="1800" y="352"/>
                    <a:pt x="1667" y="221"/>
                  </a:cubicBezTo>
                  <a:cubicBezTo>
                    <a:pt x="1534" y="90"/>
                    <a:pt x="1330" y="-62"/>
                    <a:pt x="1204" y="27"/>
                  </a:cubicBezTo>
                  <a:cubicBezTo>
                    <a:pt x="1078" y="116"/>
                    <a:pt x="1109" y="684"/>
                    <a:pt x="908" y="754"/>
                  </a:cubicBezTo>
                  <a:cubicBezTo>
                    <a:pt x="707" y="824"/>
                    <a:pt x="151" y="499"/>
                    <a:pt x="0" y="448"/>
                  </a:cubicBezTo>
                  <a:lnTo>
                    <a:pt x="0" y="448"/>
                  </a:lnTo>
                  <a:lnTo>
                    <a:pt x="0" y="1721"/>
                  </a:lnTo>
                  <a:cubicBezTo>
                    <a:pt x="56" y="1903"/>
                    <a:pt x="111" y="2084"/>
                    <a:pt x="167" y="2266"/>
                  </a:cubicBezTo>
                  <a:lnTo>
                    <a:pt x="167" y="2266"/>
                  </a:lnTo>
                  <a:lnTo>
                    <a:pt x="833" y="3357"/>
                  </a:lnTo>
                  <a:cubicBezTo>
                    <a:pt x="778" y="3599"/>
                    <a:pt x="722" y="3842"/>
                    <a:pt x="667" y="4084"/>
                  </a:cubicBezTo>
                  <a:lnTo>
                    <a:pt x="667" y="4812"/>
                  </a:lnTo>
                  <a:lnTo>
                    <a:pt x="1667" y="5721"/>
                  </a:lnTo>
                  <a:lnTo>
                    <a:pt x="2000" y="6630"/>
                  </a:lnTo>
                  <a:lnTo>
                    <a:pt x="2333" y="7357"/>
                  </a:lnTo>
                  <a:cubicBezTo>
                    <a:pt x="2389" y="7236"/>
                    <a:pt x="2444" y="7114"/>
                    <a:pt x="2500" y="6993"/>
                  </a:cubicBezTo>
                  <a:lnTo>
                    <a:pt x="3167" y="7539"/>
                  </a:lnTo>
                  <a:lnTo>
                    <a:pt x="3833" y="8448"/>
                  </a:lnTo>
                  <a:lnTo>
                    <a:pt x="4667" y="9175"/>
                  </a:lnTo>
                  <a:lnTo>
                    <a:pt x="5667" y="9357"/>
                  </a:lnTo>
                  <a:lnTo>
                    <a:pt x="6500" y="9175"/>
                  </a:lnTo>
                  <a:lnTo>
                    <a:pt x="7000" y="9903"/>
                  </a:lnTo>
                  <a:lnTo>
                    <a:pt x="8833" y="10448"/>
                  </a:lnTo>
                  <a:lnTo>
                    <a:pt x="9167" y="10448"/>
                  </a:lnTo>
                  <a:lnTo>
                    <a:pt x="9167" y="9721"/>
                  </a:lnTo>
                  <a:lnTo>
                    <a:pt x="10000" y="9357"/>
                  </a:lnTo>
                  <a:cubicBezTo>
                    <a:pt x="9944" y="9175"/>
                    <a:pt x="9889" y="8994"/>
                    <a:pt x="9833" y="8812"/>
                  </a:cubicBezTo>
                  <a:lnTo>
                    <a:pt x="9667" y="8448"/>
                  </a:lnTo>
                  <a:lnTo>
                    <a:pt x="9000" y="7721"/>
                  </a:lnTo>
                  <a:cubicBezTo>
                    <a:pt x="8944" y="7600"/>
                    <a:pt x="8889" y="7478"/>
                    <a:pt x="8833" y="7357"/>
                  </a:cubicBezTo>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150" name="LT"/>
            <p:cNvSpPr>
              <a:spLocks/>
            </p:cNvSpPr>
            <p:nvPr/>
          </p:nvSpPr>
          <p:spPr bwMode="auto">
            <a:xfrm>
              <a:off x="4784593" y="2743994"/>
              <a:ext cx="158748" cy="107949"/>
            </a:xfrm>
            <a:custGeom>
              <a:avLst/>
              <a:gdLst>
                <a:gd name="T0" fmla="*/ 2147483647 w 20"/>
                <a:gd name="T1" fmla="*/ 2147483647 h 14"/>
                <a:gd name="T2" fmla="*/ 2147483647 w 20"/>
                <a:gd name="T3" fmla="*/ 2147483647 h 14"/>
                <a:gd name="T4" fmla="*/ 2147483647 w 20"/>
                <a:gd name="T5" fmla="*/ 0 h 14"/>
                <a:gd name="T6" fmla="*/ 2147483647 w 20"/>
                <a:gd name="T7" fmla="*/ 2147483647 h 14"/>
                <a:gd name="T8" fmla="*/ 2147483647 w 20"/>
                <a:gd name="T9" fmla="*/ 0 h 14"/>
                <a:gd name="T10" fmla="*/ 2147483647 w 20"/>
                <a:gd name="T11" fmla="*/ 0 h 14"/>
                <a:gd name="T12" fmla="*/ 2147483647 w 20"/>
                <a:gd name="T13" fmla="*/ 2147483647 h 14"/>
                <a:gd name="T14" fmla="*/ 2147483647 w 20"/>
                <a:gd name="T15" fmla="*/ 2147483647 h 14"/>
                <a:gd name="T16" fmla="*/ 0 w 20"/>
                <a:gd name="T17" fmla="*/ 2147483647 h 14"/>
                <a:gd name="T18" fmla="*/ 2147483647 w 20"/>
                <a:gd name="T19" fmla="*/ 2147483647 h 14"/>
                <a:gd name="T20" fmla="*/ 2147483647 w 20"/>
                <a:gd name="T21" fmla="*/ 2147483647 h 14"/>
                <a:gd name="T22" fmla="*/ 2147483647 w 20"/>
                <a:gd name="T23" fmla="*/ 2147483647 h 14"/>
                <a:gd name="T24" fmla="*/ 2147483647 w 20"/>
                <a:gd name="T25" fmla="*/ 2147483647 h 14"/>
                <a:gd name="T26" fmla="*/ 2147483647 w 20"/>
                <a:gd name="T27" fmla="*/ 2147483647 h 14"/>
                <a:gd name="T28" fmla="*/ 2147483647 w 20"/>
                <a:gd name="T29" fmla="*/ 2147483647 h 14"/>
                <a:gd name="T30" fmla="*/ 2147483647 w 20"/>
                <a:gd name="T31" fmla="*/ 2147483647 h 14"/>
                <a:gd name="T32" fmla="*/ 2147483647 w 20"/>
                <a:gd name="T33" fmla="*/ 2147483647 h 14"/>
                <a:gd name="T34" fmla="*/ 2147483647 w 20"/>
                <a:gd name="T35" fmla="*/ 2147483647 h 14"/>
                <a:gd name="T36" fmla="*/ 2147483647 w 20"/>
                <a:gd name="T37" fmla="*/ 2147483647 h 14"/>
                <a:gd name="T38" fmla="*/ 2147483647 w 20"/>
                <a:gd name="T39" fmla="*/ 2147483647 h 14"/>
                <a:gd name="T40" fmla="*/ 2147483647 w 20"/>
                <a:gd name="T41" fmla="*/ 2147483647 h 14"/>
                <a:gd name="T42" fmla="*/ 2147483647 w 20"/>
                <a:gd name="T43" fmla="*/ 2147483647 h 14"/>
                <a:gd name="T44" fmla="*/ 2147483647 w 20"/>
                <a:gd name="T45" fmla="*/ 2147483647 h 1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0" h="14">
                  <a:moveTo>
                    <a:pt x="19" y="4"/>
                  </a:moveTo>
                  <a:cubicBezTo>
                    <a:pt x="17" y="2"/>
                    <a:pt x="17" y="2"/>
                    <a:pt x="17" y="2"/>
                  </a:cubicBezTo>
                  <a:cubicBezTo>
                    <a:pt x="15" y="0"/>
                    <a:pt x="15" y="0"/>
                    <a:pt x="15" y="0"/>
                  </a:cubicBezTo>
                  <a:cubicBezTo>
                    <a:pt x="13" y="1"/>
                    <a:pt x="13" y="1"/>
                    <a:pt x="13" y="1"/>
                  </a:cubicBezTo>
                  <a:cubicBezTo>
                    <a:pt x="9" y="0"/>
                    <a:pt x="9" y="0"/>
                    <a:pt x="9" y="0"/>
                  </a:cubicBezTo>
                  <a:cubicBezTo>
                    <a:pt x="5" y="0"/>
                    <a:pt x="5" y="0"/>
                    <a:pt x="5" y="0"/>
                  </a:cubicBezTo>
                  <a:cubicBezTo>
                    <a:pt x="1" y="1"/>
                    <a:pt x="1" y="1"/>
                    <a:pt x="1" y="1"/>
                  </a:cubicBezTo>
                  <a:cubicBezTo>
                    <a:pt x="1" y="3"/>
                    <a:pt x="1" y="5"/>
                    <a:pt x="1" y="5"/>
                  </a:cubicBezTo>
                  <a:cubicBezTo>
                    <a:pt x="0" y="6"/>
                    <a:pt x="0" y="6"/>
                    <a:pt x="0" y="6"/>
                  </a:cubicBezTo>
                  <a:cubicBezTo>
                    <a:pt x="2" y="6"/>
                    <a:pt x="2" y="6"/>
                    <a:pt x="2" y="6"/>
                  </a:cubicBezTo>
                  <a:cubicBezTo>
                    <a:pt x="4" y="7"/>
                    <a:pt x="4" y="7"/>
                    <a:pt x="4" y="7"/>
                  </a:cubicBezTo>
                  <a:cubicBezTo>
                    <a:pt x="6" y="8"/>
                    <a:pt x="6" y="8"/>
                    <a:pt x="6" y="8"/>
                  </a:cubicBezTo>
                  <a:cubicBezTo>
                    <a:pt x="7" y="10"/>
                    <a:pt x="7" y="10"/>
                    <a:pt x="7" y="10"/>
                  </a:cubicBezTo>
                  <a:cubicBezTo>
                    <a:pt x="6" y="12"/>
                    <a:pt x="6" y="12"/>
                    <a:pt x="6" y="12"/>
                  </a:cubicBezTo>
                  <a:cubicBezTo>
                    <a:pt x="7" y="12"/>
                    <a:pt x="7" y="12"/>
                    <a:pt x="7" y="12"/>
                  </a:cubicBezTo>
                  <a:cubicBezTo>
                    <a:pt x="9" y="14"/>
                    <a:pt x="9" y="14"/>
                    <a:pt x="9" y="14"/>
                  </a:cubicBezTo>
                  <a:cubicBezTo>
                    <a:pt x="11" y="13"/>
                    <a:pt x="11" y="13"/>
                    <a:pt x="11" y="13"/>
                  </a:cubicBezTo>
                  <a:cubicBezTo>
                    <a:pt x="13" y="12"/>
                    <a:pt x="13" y="12"/>
                    <a:pt x="13" y="12"/>
                  </a:cubicBezTo>
                  <a:cubicBezTo>
                    <a:pt x="13" y="12"/>
                    <a:pt x="15" y="12"/>
                    <a:pt x="16" y="12"/>
                  </a:cubicBezTo>
                  <a:cubicBezTo>
                    <a:pt x="17" y="12"/>
                    <a:pt x="16" y="9"/>
                    <a:pt x="16" y="9"/>
                  </a:cubicBezTo>
                  <a:cubicBezTo>
                    <a:pt x="18" y="7"/>
                    <a:pt x="18" y="7"/>
                    <a:pt x="18" y="7"/>
                  </a:cubicBezTo>
                  <a:cubicBezTo>
                    <a:pt x="20" y="4"/>
                    <a:pt x="20" y="4"/>
                    <a:pt x="20" y="4"/>
                  </a:cubicBezTo>
                  <a:cubicBezTo>
                    <a:pt x="19" y="4"/>
                    <a:pt x="19" y="4"/>
                    <a:pt x="19" y="4"/>
                  </a:cubicBezTo>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151" name="EE"/>
            <p:cNvSpPr>
              <a:spLocks/>
            </p:cNvSpPr>
            <p:nvPr/>
          </p:nvSpPr>
          <p:spPr bwMode="auto">
            <a:xfrm>
              <a:off x="4854442" y="2594769"/>
              <a:ext cx="119062" cy="101599"/>
            </a:xfrm>
            <a:custGeom>
              <a:avLst/>
              <a:gdLst>
                <a:gd name="T0" fmla="*/ 2147483647 w 90"/>
                <a:gd name="T1" fmla="*/ 2147483647 h 78"/>
                <a:gd name="T2" fmla="*/ 2147483647 w 90"/>
                <a:gd name="T3" fmla="*/ 2147483647 h 78"/>
                <a:gd name="T4" fmla="*/ 2147483647 w 90"/>
                <a:gd name="T5" fmla="*/ 2147483647 h 78"/>
                <a:gd name="T6" fmla="*/ 2147483647 w 90"/>
                <a:gd name="T7" fmla="*/ 2147483647 h 78"/>
                <a:gd name="T8" fmla="*/ 2147483647 w 90"/>
                <a:gd name="T9" fmla="*/ 2147483647 h 78"/>
                <a:gd name="T10" fmla="*/ 2147483647 w 90"/>
                <a:gd name="T11" fmla="*/ 0 h 78"/>
                <a:gd name="T12" fmla="*/ 2147483647 w 90"/>
                <a:gd name="T13" fmla="*/ 0 h 78"/>
                <a:gd name="T14" fmla="*/ 2147483647 w 90"/>
                <a:gd name="T15" fmla="*/ 0 h 78"/>
                <a:gd name="T16" fmla="*/ 0 w 90"/>
                <a:gd name="T17" fmla="*/ 2147483647 h 78"/>
                <a:gd name="T18" fmla="*/ 0 w 90"/>
                <a:gd name="T19" fmla="*/ 2147483647 h 78"/>
                <a:gd name="T20" fmla="*/ 2147483647 w 90"/>
                <a:gd name="T21" fmla="*/ 2147483647 h 78"/>
                <a:gd name="T22" fmla="*/ 2147483647 w 90"/>
                <a:gd name="T23" fmla="*/ 2147483647 h 78"/>
                <a:gd name="T24" fmla="*/ 2147483647 w 90"/>
                <a:gd name="T25" fmla="*/ 2147483647 h 78"/>
                <a:gd name="T26" fmla="*/ 2147483647 w 90"/>
                <a:gd name="T27" fmla="*/ 2147483647 h 78"/>
                <a:gd name="T28" fmla="*/ 2147483647 w 90"/>
                <a:gd name="T29" fmla="*/ 2147483647 h 78"/>
                <a:gd name="T30" fmla="*/ 2147483647 w 90"/>
                <a:gd name="T31" fmla="*/ 2147483647 h 7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90" h="78">
                  <a:moveTo>
                    <a:pt x="54" y="66"/>
                  </a:moveTo>
                  <a:lnTo>
                    <a:pt x="78" y="78"/>
                  </a:lnTo>
                  <a:lnTo>
                    <a:pt x="84" y="42"/>
                  </a:lnTo>
                  <a:lnTo>
                    <a:pt x="84" y="30"/>
                  </a:lnTo>
                  <a:lnTo>
                    <a:pt x="90" y="6"/>
                  </a:lnTo>
                  <a:lnTo>
                    <a:pt x="84" y="0"/>
                  </a:lnTo>
                  <a:lnTo>
                    <a:pt x="72" y="0"/>
                  </a:lnTo>
                  <a:lnTo>
                    <a:pt x="36" y="0"/>
                  </a:lnTo>
                  <a:lnTo>
                    <a:pt x="0" y="18"/>
                  </a:lnTo>
                  <a:lnTo>
                    <a:pt x="0" y="30"/>
                  </a:lnTo>
                  <a:lnTo>
                    <a:pt x="6" y="42"/>
                  </a:lnTo>
                  <a:lnTo>
                    <a:pt x="12" y="48"/>
                  </a:lnTo>
                  <a:lnTo>
                    <a:pt x="18" y="54"/>
                  </a:lnTo>
                  <a:lnTo>
                    <a:pt x="12" y="60"/>
                  </a:lnTo>
                  <a:lnTo>
                    <a:pt x="36" y="54"/>
                  </a:lnTo>
                  <a:lnTo>
                    <a:pt x="54" y="66"/>
                  </a:ln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152" name="BY"/>
            <p:cNvSpPr>
              <a:spLocks/>
            </p:cNvSpPr>
            <p:nvPr/>
          </p:nvSpPr>
          <p:spPr bwMode="auto">
            <a:xfrm>
              <a:off x="4849681" y="2751930"/>
              <a:ext cx="226157" cy="211136"/>
            </a:xfrm>
            <a:custGeom>
              <a:avLst/>
              <a:gdLst>
                <a:gd name="T0" fmla="*/ 2147483647 w 30"/>
                <a:gd name="T1" fmla="*/ 2147483647 h 27"/>
                <a:gd name="T2" fmla="*/ 2147483647 w 30"/>
                <a:gd name="T3" fmla="*/ 2147483647 h 27"/>
                <a:gd name="T4" fmla="*/ 2147483647 w 30"/>
                <a:gd name="T5" fmla="*/ 2147483647 h 27"/>
                <a:gd name="T6" fmla="*/ 2147483647 w 30"/>
                <a:gd name="T7" fmla="*/ 2147483647 h 27"/>
                <a:gd name="T8" fmla="*/ 2147483647 w 30"/>
                <a:gd name="T9" fmla="*/ 0 h 27"/>
                <a:gd name="T10" fmla="*/ 2147483647 w 30"/>
                <a:gd name="T11" fmla="*/ 2147483647 h 27"/>
                <a:gd name="T12" fmla="*/ 2147483647 w 30"/>
                <a:gd name="T13" fmla="*/ 2147483647 h 27"/>
                <a:gd name="T14" fmla="*/ 2147483647 w 30"/>
                <a:gd name="T15" fmla="*/ 2147483647 h 27"/>
                <a:gd name="T16" fmla="*/ 2147483647 w 30"/>
                <a:gd name="T17" fmla="*/ 2147483647 h 27"/>
                <a:gd name="T18" fmla="*/ 2147483647 w 30"/>
                <a:gd name="T19" fmla="*/ 2147483647 h 27"/>
                <a:gd name="T20" fmla="*/ 2147483647 w 30"/>
                <a:gd name="T21" fmla="*/ 2147483647 h 27"/>
                <a:gd name="T22" fmla="*/ 2147483647 w 30"/>
                <a:gd name="T23" fmla="*/ 2147483647 h 27"/>
                <a:gd name="T24" fmla="*/ 2147483647 w 30"/>
                <a:gd name="T25" fmla="*/ 2147483647 h 27"/>
                <a:gd name="T26" fmla="*/ 2147483647 w 30"/>
                <a:gd name="T27" fmla="*/ 2147483647 h 27"/>
                <a:gd name="T28" fmla="*/ 2147483647 w 30"/>
                <a:gd name="T29" fmla="*/ 2147483647 h 27"/>
                <a:gd name="T30" fmla="*/ 2147483647 w 30"/>
                <a:gd name="T31" fmla="*/ 2147483647 h 27"/>
                <a:gd name="T32" fmla="*/ 0 w 30"/>
                <a:gd name="T33" fmla="*/ 2147483647 h 27"/>
                <a:gd name="T34" fmla="*/ 2147483647 w 30"/>
                <a:gd name="T35" fmla="*/ 2147483647 h 27"/>
                <a:gd name="T36" fmla="*/ 2147483647 w 30"/>
                <a:gd name="T37" fmla="*/ 2147483647 h 27"/>
                <a:gd name="T38" fmla="*/ 2147483647 w 30"/>
                <a:gd name="T39" fmla="*/ 2147483647 h 27"/>
                <a:gd name="T40" fmla="*/ 2147483647 w 30"/>
                <a:gd name="T41" fmla="*/ 2147483647 h 27"/>
                <a:gd name="T42" fmla="*/ 2147483647 w 30"/>
                <a:gd name="T43" fmla="*/ 2147483647 h 27"/>
                <a:gd name="T44" fmla="*/ 2147483647 w 30"/>
                <a:gd name="T45" fmla="*/ 2147483647 h 27"/>
                <a:gd name="T46" fmla="*/ 2147483647 w 30"/>
                <a:gd name="T47" fmla="*/ 2147483647 h 27"/>
                <a:gd name="T48" fmla="*/ 2147483647 w 30"/>
                <a:gd name="T49" fmla="*/ 2147483647 h 27"/>
                <a:gd name="T50" fmla="*/ 2147483647 w 30"/>
                <a:gd name="T51" fmla="*/ 2147483647 h 27"/>
                <a:gd name="T52" fmla="*/ 2147483647 w 30"/>
                <a:gd name="T53" fmla="*/ 2147483647 h 27"/>
                <a:gd name="T54" fmla="*/ 2147483647 w 30"/>
                <a:gd name="T55" fmla="*/ 2147483647 h 27"/>
                <a:gd name="T56" fmla="*/ 2147483647 w 30"/>
                <a:gd name="T57" fmla="*/ 2147483647 h 2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30" h="27">
                  <a:moveTo>
                    <a:pt x="30" y="14"/>
                  </a:moveTo>
                  <a:cubicBezTo>
                    <a:pt x="27" y="11"/>
                    <a:pt x="27" y="11"/>
                    <a:pt x="27" y="11"/>
                  </a:cubicBezTo>
                  <a:cubicBezTo>
                    <a:pt x="23" y="3"/>
                    <a:pt x="23" y="3"/>
                    <a:pt x="23" y="3"/>
                  </a:cubicBezTo>
                  <a:cubicBezTo>
                    <a:pt x="20" y="2"/>
                    <a:pt x="20" y="2"/>
                    <a:pt x="20" y="2"/>
                  </a:cubicBezTo>
                  <a:cubicBezTo>
                    <a:pt x="17" y="0"/>
                    <a:pt x="17" y="0"/>
                    <a:pt x="17" y="0"/>
                  </a:cubicBezTo>
                  <a:cubicBezTo>
                    <a:pt x="14" y="2"/>
                    <a:pt x="14" y="2"/>
                    <a:pt x="14" y="2"/>
                  </a:cubicBezTo>
                  <a:cubicBezTo>
                    <a:pt x="11" y="3"/>
                    <a:pt x="11" y="3"/>
                    <a:pt x="11" y="3"/>
                  </a:cubicBezTo>
                  <a:cubicBezTo>
                    <a:pt x="12" y="3"/>
                    <a:pt x="12" y="3"/>
                    <a:pt x="12" y="3"/>
                  </a:cubicBezTo>
                  <a:cubicBezTo>
                    <a:pt x="10" y="6"/>
                    <a:pt x="10" y="6"/>
                    <a:pt x="10" y="6"/>
                  </a:cubicBezTo>
                  <a:cubicBezTo>
                    <a:pt x="8" y="8"/>
                    <a:pt x="8" y="8"/>
                    <a:pt x="8" y="8"/>
                  </a:cubicBezTo>
                  <a:cubicBezTo>
                    <a:pt x="8" y="8"/>
                    <a:pt x="9" y="11"/>
                    <a:pt x="8" y="11"/>
                  </a:cubicBezTo>
                  <a:cubicBezTo>
                    <a:pt x="7" y="11"/>
                    <a:pt x="5" y="11"/>
                    <a:pt x="5" y="11"/>
                  </a:cubicBezTo>
                  <a:cubicBezTo>
                    <a:pt x="3" y="12"/>
                    <a:pt x="3" y="12"/>
                    <a:pt x="3" y="12"/>
                  </a:cubicBezTo>
                  <a:cubicBezTo>
                    <a:pt x="1" y="13"/>
                    <a:pt x="1" y="13"/>
                    <a:pt x="1" y="13"/>
                  </a:cubicBezTo>
                  <a:cubicBezTo>
                    <a:pt x="1" y="14"/>
                    <a:pt x="1" y="14"/>
                    <a:pt x="1" y="14"/>
                  </a:cubicBezTo>
                  <a:cubicBezTo>
                    <a:pt x="2" y="18"/>
                    <a:pt x="2" y="18"/>
                    <a:pt x="2" y="18"/>
                  </a:cubicBezTo>
                  <a:cubicBezTo>
                    <a:pt x="0" y="20"/>
                    <a:pt x="0" y="20"/>
                    <a:pt x="0" y="20"/>
                  </a:cubicBezTo>
                  <a:cubicBezTo>
                    <a:pt x="1" y="23"/>
                    <a:pt x="1" y="23"/>
                    <a:pt x="1" y="23"/>
                  </a:cubicBezTo>
                  <a:cubicBezTo>
                    <a:pt x="1" y="25"/>
                    <a:pt x="1" y="25"/>
                    <a:pt x="1" y="25"/>
                  </a:cubicBezTo>
                  <a:cubicBezTo>
                    <a:pt x="3" y="24"/>
                    <a:pt x="3" y="24"/>
                    <a:pt x="3" y="24"/>
                  </a:cubicBezTo>
                  <a:cubicBezTo>
                    <a:pt x="7" y="24"/>
                    <a:pt x="7" y="24"/>
                    <a:pt x="7" y="24"/>
                  </a:cubicBezTo>
                  <a:cubicBezTo>
                    <a:pt x="13" y="26"/>
                    <a:pt x="13" y="26"/>
                    <a:pt x="13" y="26"/>
                  </a:cubicBezTo>
                  <a:cubicBezTo>
                    <a:pt x="20" y="26"/>
                    <a:pt x="20" y="26"/>
                    <a:pt x="20" y="26"/>
                  </a:cubicBezTo>
                  <a:cubicBezTo>
                    <a:pt x="24" y="27"/>
                    <a:pt x="24" y="27"/>
                    <a:pt x="24" y="27"/>
                  </a:cubicBezTo>
                  <a:cubicBezTo>
                    <a:pt x="26" y="21"/>
                    <a:pt x="26" y="21"/>
                    <a:pt x="26" y="21"/>
                  </a:cubicBezTo>
                  <a:cubicBezTo>
                    <a:pt x="27" y="21"/>
                    <a:pt x="27" y="21"/>
                    <a:pt x="27" y="21"/>
                  </a:cubicBezTo>
                  <a:cubicBezTo>
                    <a:pt x="26" y="17"/>
                    <a:pt x="26" y="17"/>
                    <a:pt x="26" y="17"/>
                  </a:cubicBezTo>
                  <a:cubicBezTo>
                    <a:pt x="29" y="16"/>
                    <a:pt x="29" y="16"/>
                    <a:pt x="29" y="16"/>
                  </a:cubicBezTo>
                  <a:lnTo>
                    <a:pt x="30" y="14"/>
                  </a:ln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153" name="LV"/>
            <p:cNvSpPr>
              <a:spLocks/>
            </p:cNvSpPr>
            <p:nvPr/>
          </p:nvSpPr>
          <p:spPr bwMode="auto">
            <a:xfrm>
              <a:off x="4792531" y="2666206"/>
              <a:ext cx="190498" cy="107949"/>
            </a:xfrm>
            <a:custGeom>
              <a:avLst/>
              <a:gdLst>
                <a:gd name="T0" fmla="*/ 2147483647 w 24"/>
                <a:gd name="T1" fmla="*/ 2147483647 h 14"/>
                <a:gd name="T2" fmla="*/ 2147483647 w 24"/>
                <a:gd name="T3" fmla="*/ 2147483647 h 14"/>
                <a:gd name="T4" fmla="*/ 2147483647 w 24"/>
                <a:gd name="T5" fmla="*/ 2147483647 h 14"/>
                <a:gd name="T6" fmla="*/ 2147483647 w 24"/>
                <a:gd name="T7" fmla="*/ 2147483647 h 14"/>
                <a:gd name="T8" fmla="*/ 2147483647 w 24"/>
                <a:gd name="T9" fmla="*/ 2147483647 h 14"/>
                <a:gd name="T10" fmla="*/ 2147483647 w 24"/>
                <a:gd name="T11" fmla="*/ 2147483647 h 14"/>
                <a:gd name="T12" fmla="*/ 2147483647 w 24"/>
                <a:gd name="T13" fmla="*/ 2147483647 h 14"/>
                <a:gd name="T14" fmla="*/ 2147483647 w 24"/>
                <a:gd name="T15" fmla="*/ 2147483647 h 14"/>
                <a:gd name="T16" fmla="*/ 2147483647 w 24"/>
                <a:gd name="T17" fmla="*/ 2147483647 h 14"/>
                <a:gd name="T18" fmla="*/ 2147483647 w 24"/>
                <a:gd name="T19" fmla="*/ 2147483647 h 14"/>
                <a:gd name="T20" fmla="*/ 2147483647 w 24"/>
                <a:gd name="T21" fmla="*/ 2147483647 h 14"/>
                <a:gd name="T22" fmla="*/ 2147483647 w 24"/>
                <a:gd name="T23" fmla="*/ 0 h 14"/>
                <a:gd name="T24" fmla="*/ 2147483647 w 24"/>
                <a:gd name="T25" fmla="*/ 2147483647 h 14"/>
                <a:gd name="T26" fmla="*/ 2147483647 w 24"/>
                <a:gd name="T27" fmla="*/ 2147483647 h 14"/>
                <a:gd name="T28" fmla="*/ 2147483647 w 24"/>
                <a:gd name="T29" fmla="*/ 2147483647 h 14"/>
                <a:gd name="T30" fmla="*/ 2147483647 w 24"/>
                <a:gd name="T31" fmla="*/ 2147483647 h 14"/>
                <a:gd name="T32" fmla="*/ 2147483647 w 24"/>
                <a:gd name="T33" fmla="*/ 2147483647 h 14"/>
                <a:gd name="T34" fmla="*/ 2147483647 w 24"/>
                <a:gd name="T35" fmla="*/ 2147483647 h 14"/>
                <a:gd name="T36" fmla="*/ 0 w 24"/>
                <a:gd name="T37" fmla="*/ 2147483647 h 14"/>
                <a:gd name="T38" fmla="*/ 2147483647 w 24"/>
                <a:gd name="T39" fmla="*/ 2147483647 h 14"/>
                <a:gd name="T40" fmla="*/ 2147483647 w 24"/>
                <a:gd name="T41" fmla="*/ 2147483647 h 1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4" h="14">
                  <a:moveTo>
                    <a:pt x="8" y="10"/>
                  </a:moveTo>
                  <a:cubicBezTo>
                    <a:pt x="12" y="11"/>
                    <a:pt x="12" y="11"/>
                    <a:pt x="12" y="11"/>
                  </a:cubicBezTo>
                  <a:cubicBezTo>
                    <a:pt x="14" y="10"/>
                    <a:pt x="14" y="10"/>
                    <a:pt x="14" y="10"/>
                  </a:cubicBezTo>
                  <a:cubicBezTo>
                    <a:pt x="16" y="12"/>
                    <a:pt x="16" y="12"/>
                    <a:pt x="16" y="12"/>
                  </a:cubicBezTo>
                  <a:cubicBezTo>
                    <a:pt x="18" y="14"/>
                    <a:pt x="18" y="14"/>
                    <a:pt x="18" y="14"/>
                  </a:cubicBezTo>
                  <a:cubicBezTo>
                    <a:pt x="21" y="13"/>
                    <a:pt x="21" y="13"/>
                    <a:pt x="21" y="13"/>
                  </a:cubicBezTo>
                  <a:cubicBezTo>
                    <a:pt x="24" y="11"/>
                    <a:pt x="24" y="11"/>
                    <a:pt x="24" y="11"/>
                  </a:cubicBezTo>
                  <a:cubicBezTo>
                    <a:pt x="23" y="10"/>
                    <a:pt x="23" y="10"/>
                    <a:pt x="23" y="10"/>
                  </a:cubicBezTo>
                  <a:cubicBezTo>
                    <a:pt x="21" y="5"/>
                    <a:pt x="21" y="5"/>
                    <a:pt x="21" y="5"/>
                  </a:cubicBezTo>
                  <a:cubicBezTo>
                    <a:pt x="21" y="4"/>
                    <a:pt x="21" y="4"/>
                    <a:pt x="21" y="4"/>
                  </a:cubicBezTo>
                  <a:cubicBezTo>
                    <a:pt x="17" y="2"/>
                    <a:pt x="17" y="2"/>
                    <a:pt x="17" y="2"/>
                  </a:cubicBezTo>
                  <a:cubicBezTo>
                    <a:pt x="14" y="0"/>
                    <a:pt x="14" y="0"/>
                    <a:pt x="14" y="0"/>
                  </a:cubicBezTo>
                  <a:cubicBezTo>
                    <a:pt x="10" y="1"/>
                    <a:pt x="10" y="1"/>
                    <a:pt x="10" y="1"/>
                  </a:cubicBezTo>
                  <a:cubicBezTo>
                    <a:pt x="9" y="5"/>
                    <a:pt x="9" y="5"/>
                    <a:pt x="9" y="5"/>
                  </a:cubicBezTo>
                  <a:cubicBezTo>
                    <a:pt x="8" y="6"/>
                    <a:pt x="8" y="6"/>
                    <a:pt x="8" y="6"/>
                  </a:cubicBezTo>
                  <a:cubicBezTo>
                    <a:pt x="5" y="3"/>
                    <a:pt x="5" y="3"/>
                    <a:pt x="5" y="3"/>
                  </a:cubicBezTo>
                  <a:cubicBezTo>
                    <a:pt x="3" y="3"/>
                    <a:pt x="3" y="3"/>
                    <a:pt x="3" y="3"/>
                  </a:cubicBezTo>
                  <a:cubicBezTo>
                    <a:pt x="3" y="3"/>
                    <a:pt x="1" y="7"/>
                    <a:pt x="1" y="8"/>
                  </a:cubicBezTo>
                  <a:cubicBezTo>
                    <a:pt x="1" y="8"/>
                    <a:pt x="0" y="10"/>
                    <a:pt x="0" y="11"/>
                  </a:cubicBezTo>
                  <a:cubicBezTo>
                    <a:pt x="4" y="10"/>
                    <a:pt x="4" y="10"/>
                    <a:pt x="4" y="10"/>
                  </a:cubicBezTo>
                  <a:lnTo>
                    <a:pt x="8" y="10"/>
                  </a:ln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154" name="GN"/>
            <p:cNvSpPr>
              <a:spLocks/>
            </p:cNvSpPr>
            <p:nvPr/>
          </p:nvSpPr>
          <p:spPr bwMode="auto">
            <a:xfrm>
              <a:off x="3898044" y="4107564"/>
              <a:ext cx="188910" cy="141287"/>
            </a:xfrm>
            <a:custGeom>
              <a:avLst/>
              <a:gdLst>
                <a:gd name="T0" fmla="*/ 2147483647 w 24"/>
                <a:gd name="T1" fmla="*/ 2147483647 h 18"/>
                <a:gd name="T2" fmla="*/ 2147483647 w 24"/>
                <a:gd name="T3" fmla="*/ 2147483647 h 18"/>
                <a:gd name="T4" fmla="*/ 2147483647 w 24"/>
                <a:gd name="T5" fmla="*/ 2147483647 h 18"/>
                <a:gd name="T6" fmla="*/ 2147483647 w 24"/>
                <a:gd name="T7" fmla="*/ 2147483647 h 18"/>
                <a:gd name="T8" fmla="*/ 2147483647 w 24"/>
                <a:gd name="T9" fmla="*/ 2147483647 h 18"/>
                <a:gd name="T10" fmla="*/ 2147483647 w 24"/>
                <a:gd name="T11" fmla="*/ 2147483647 h 18"/>
                <a:gd name="T12" fmla="*/ 2147483647 w 24"/>
                <a:gd name="T13" fmla="*/ 2147483647 h 18"/>
                <a:gd name="T14" fmla="*/ 2147483647 w 24"/>
                <a:gd name="T15" fmla="*/ 2147483647 h 18"/>
                <a:gd name="T16" fmla="*/ 2147483647 w 24"/>
                <a:gd name="T17" fmla="*/ 2147483647 h 18"/>
                <a:gd name="T18" fmla="*/ 2147483647 w 24"/>
                <a:gd name="T19" fmla="*/ 2147483647 h 18"/>
                <a:gd name="T20" fmla="*/ 2147483647 w 24"/>
                <a:gd name="T21" fmla="*/ 2147483647 h 18"/>
                <a:gd name="T22" fmla="*/ 2147483647 w 24"/>
                <a:gd name="T23" fmla="*/ 2147483647 h 18"/>
                <a:gd name="T24" fmla="*/ 2147483647 w 24"/>
                <a:gd name="T25" fmla="*/ 2147483647 h 18"/>
                <a:gd name="T26" fmla="*/ 2147483647 w 24"/>
                <a:gd name="T27" fmla="*/ 2147483647 h 18"/>
                <a:gd name="T28" fmla="*/ 2147483647 w 24"/>
                <a:gd name="T29" fmla="*/ 2147483647 h 18"/>
                <a:gd name="T30" fmla="*/ 2147483647 w 24"/>
                <a:gd name="T31" fmla="*/ 2147483647 h 18"/>
                <a:gd name="T32" fmla="*/ 2147483647 w 24"/>
                <a:gd name="T33" fmla="*/ 0 h 18"/>
                <a:gd name="T34" fmla="*/ 2147483647 w 24"/>
                <a:gd name="T35" fmla="*/ 0 h 18"/>
                <a:gd name="T36" fmla="*/ 2147483647 w 24"/>
                <a:gd name="T37" fmla="*/ 2147483647 h 18"/>
                <a:gd name="T38" fmla="*/ 2147483647 w 24"/>
                <a:gd name="T39" fmla="*/ 2147483647 h 18"/>
                <a:gd name="T40" fmla="*/ 2147483647 w 24"/>
                <a:gd name="T41" fmla="*/ 2147483647 h 18"/>
                <a:gd name="T42" fmla="*/ 0 w 24"/>
                <a:gd name="T43" fmla="*/ 2147483647 h 18"/>
                <a:gd name="T44" fmla="*/ 2147483647 w 24"/>
                <a:gd name="T45" fmla="*/ 2147483647 h 18"/>
                <a:gd name="T46" fmla="*/ 2147483647 w 24"/>
                <a:gd name="T47" fmla="*/ 2147483647 h 18"/>
                <a:gd name="T48" fmla="*/ 2147483647 w 24"/>
                <a:gd name="T49" fmla="*/ 2147483647 h 18"/>
                <a:gd name="T50" fmla="*/ 2147483647 w 24"/>
                <a:gd name="T51" fmla="*/ 2147483647 h 1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24" h="18">
                  <a:moveTo>
                    <a:pt x="9" y="10"/>
                  </a:moveTo>
                  <a:cubicBezTo>
                    <a:pt x="13" y="10"/>
                    <a:pt x="13" y="10"/>
                    <a:pt x="13" y="10"/>
                  </a:cubicBezTo>
                  <a:cubicBezTo>
                    <a:pt x="15" y="13"/>
                    <a:pt x="15" y="13"/>
                    <a:pt x="15" y="13"/>
                  </a:cubicBezTo>
                  <a:cubicBezTo>
                    <a:pt x="16" y="14"/>
                    <a:pt x="16" y="14"/>
                    <a:pt x="16" y="14"/>
                  </a:cubicBezTo>
                  <a:cubicBezTo>
                    <a:pt x="18" y="15"/>
                    <a:pt x="18" y="15"/>
                    <a:pt x="18" y="15"/>
                  </a:cubicBezTo>
                  <a:cubicBezTo>
                    <a:pt x="18" y="15"/>
                    <a:pt x="19" y="18"/>
                    <a:pt x="20" y="18"/>
                  </a:cubicBezTo>
                  <a:cubicBezTo>
                    <a:pt x="20" y="18"/>
                    <a:pt x="21" y="17"/>
                    <a:pt x="22" y="17"/>
                  </a:cubicBezTo>
                  <a:cubicBezTo>
                    <a:pt x="23" y="17"/>
                    <a:pt x="24" y="16"/>
                    <a:pt x="24" y="16"/>
                  </a:cubicBezTo>
                  <a:cubicBezTo>
                    <a:pt x="24" y="12"/>
                    <a:pt x="24" y="12"/>
                    <a:pt x="24" y="12"/>
                  </a:cubicBezTo>
                  <a:cubicBezTo>
                    <a:pt x="24" y="8"/>
                    <a:pt x="24" y="8"/>
                    <a:pt x="24" y="8"/>
                  </a:cubicBezTo>
                  <a:cubicBezTo>
                    <a:pt x="23" y="8"/>
                    <a:pt x="23" y="8"/>
                    <a:pt x="23" y="8"/>
                  </a:cubicBezTo>
                  <a:cubicBezTo>
                    <a:pt x="21" y="3"/>
                    <a:pt x="21" y="3"/>
                    <a:pt x="21" y="3"/>
                  </a:cubicBezTo>
                  <a:cubicBezTo>
                    <a:pt x="21" y="3"/>
                    <a:pt x="21" y="1"/>
                    <a:pt x="20" y="1"/>
                  </a:cubicBezTo>
                  <a:cubicBezTo>
                    <a:pt x="20" y="1"/>
                    <a:pt x="16" y="2"/>
                    <a:pt x="16" y="2"/>
                  </a:cubicBezTo>
                  <a:cubicBezTo>
                    <a:pt x="12" y="2"/>
                    <a:pt x="12" y="2"/>
                    <a:pt x="12" y="2"/>
                  </a:cubicBezTo>
                  <a:cubicBezTo>
                    <a:pt x="12" y="1"/>
                    <a:pt x="12" y="1"/>
                    <a:pt x="12" y="1"/>
                  </a:cubicBezTo>
                  <a:cubicBezTo>
                    <a:pt x="7" y="0"/>
                    <a:pt x="7" y="0"/>
                    <a:pt x="7" y="0"/>
                  </a:cubicBezTo>
                  <a:cubicBezTo>
                    <a:pt x="5" y="0"/>
                    <a:pt x="5" y="0"/>
                    <a:pt x="5" y="0"/>
                  </a:cubicBezTo>
                  <a:cubicBezTo>
                    <a:pt x="5" y="1"/>
                    <a:pt x="5" y="1"/>
                    <a:pt x="5" y="1"/>
                  </a:cubicBezTo>
                  <a:cubicBezTo>
                    <a:pt x="5" y="4"/>
                    <a:pt x="5" y="4"/>
                    <a:pt x="5" y="4"/>
                  </a:cubicBezTo>
                  <a:cubicBezTo>
                    <a:pt x="3" y="4"/>
                    <a:pt x="3" y="4"/>
                    <a:pt x="3" y="4"/>
                  </a:cubicBezTo>
                  <a:cubicBezTo>
                    <a:pt x="0" y="6"/>
                    <a:pt x="0" y="6"/>
                    <a:pt x="0" y="6"/>
                  </a:cubicBezTo>
                  <a:cubicBezTo>
                    <a:pt x="1" y="6"/>
                    <a:pt x="1" y="6"/>
                    <a:pt x="1" y="6"/>
                  </a:cubicBezTo>
                  <a:cubicBezTo>
                    <a:pt x="6" y="13"/>
                    <a:pt x="6" y="13"/>
                    <a:pt x="6" y="13"/>
                  </a:cubicBezTo>
                  <a:cubicBezTo>
                    <a:pt x="8" y="12"/>
                    <a:pt x="8" y="12"/>
                    <a:pt x="8" y="12"/>
                  </a:cubicBezTo>
                  <a:lnTo>
                    <a:pt x="9" y="10"/>
                  </a:ln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155" name="SN"/>
            <p:cNvSpPr>
              <a:spLocks/>
            </p:cNvSpPr>
            <p:nvPr/>
          </p:nvSpPr>
          <p:spPr bwMode="auto">
            <a:xfrm>
              <a:off x="3852006" y="4005964"/>
              <a:ext cx="147636" cy="111124"/>
            </a:xfrm>
            <a:custGeom>
              <a:avLst/>
              <a:gdLst>
                <a:gd name="T0" fmla="*/ 2147483647 w 114"/>
                <a:gd name="T1" fmla="*/ 2147483647 h 85"/>
                <a:gd name="T2" fmla="*/ 2147483647 w 114"/>
                <a:gd name="T3" fmla="*/ 2147483647 h 85"/>
                <a:gd name="T4" fmla="*/ 2147483647 w 114"/>
                <a:gd name="T5" fmla="*/ 2147483647 h 85"/>
                <a:gd name="T6" fmla="*/ 2147483647 w 114"/>
                <a:gd name="T7" fmla="*/ 2147483647 h 85"/>
                <a:gd name="T8" fmla="*/ 2147483647 w 114"/>
                <a:gd name="T9" fmla="*/ 2147483647 h 85"/>
                <a:gd name="T10" fmla="*/ 2147483647 w 114"/>
                <a:gd name="T11" fmla="*/ 2147483647 h 85"/>
                <a:gd name="T12" fmla="*/ 2147483647 w 114"/>
                <a:gd name="T13" fmla="*/ 2147483647 h 85"/>
                <a:gd name="T14" fmla="*/ 2147483647 w 114"/>
                <a:gd name="T15" fmla="*/ 2147483647 h 85"/>
                <a:gd name="T16" fmla="*/ 2147483647 w 114"/>
                <a:gd name="T17" fmla="*/ 2147483647 h 85"/>
                <a:gd name="T18" fmla="*/ 2147483647 w 114"/>
                <a:gd name="T19" fmla="*/ 2147483647 h 85"/>
                <a:gd name="T20" fmla="*/ 2147483647 w 114"/>
                <a:gd name="T21" fmla="*/ 2147483647 h 85"/>
                <a:gd name="T22" fmla="*/ 2147483647 w 114"/>
                <a:gd name="T23" fmla="*/ 0 h 85"/>
                <a:gd name="T24" fmla="*/ 2147483647 w 114"/>
                <a:gd name="T25" fmla="*/ 2147483647 h 85"/>
                <a:gd name="T26" fmla="*/ 2147483647 w 114"/>
                <a:gd name="T27" fmla="*/ 2147483647 h 85"/>
                <a:gd name="T28" fmla="*/ 0 w 114"/>
                <a:gd name="T29" fmla="*/ 2147483647 h 85"/>
                <a:gd name="T30" fmla="*/ 2147483647 w 114"/>
                <a:gd name="T31" fmla="*/ 2147483647 h 85"/>
                <a:gd name="T32" fmla="*/ 2147483647 w 114"/>
                <a:gd name="T33" fmla="*/ 2147483647 h 85"/>
                <a:gd name="T34" fmla="*/ 2147483647 w 114"/>
                <a:gd name="T35" fmla="*/ 2147483647 h 85"/>
                <a:gd name="T36" fmla="*/ 2147483647 w 114"/>
                <a:gd name="T37" fmla="*/ 2147483647 h 8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14" h="85">
                  <a:moveTo>
                    <a:pt x="54" y="79"/>
                  </a:moveTo>
                  <a:lnTo>
                    <a:pt x="66" y="79"/>
                  </a:lnTo>
                  <a:lnTo>
                    <a:pt x="78" y="79"/>
                  </a:lnTo>
                  <a:lnTo>
                    <a:pt x="108" y="85"/>
                  </a:lnTo>
                  <a:lnTo>
                    <a:pt x="114" y="85"/>
                  </a:lnTo>
                  <a:lnTo>
                    <a:pt x="102" y="61"/>
                  </a:lnTo>
                  <a:lnTo>
                    <a:pt x="96" y="43"/>
                  </a:lnTo>
                  <a:lnTo>
                    <a:pt x="96" y="36"/>
                  </a:lnTo>
                  <a:lnTo>
                    <a:pt x="84" y="30"/>
                  </a:lnTo>
                  <a:lnTo>
                    <a:pt x="72" y="18"/>
                  </a:lnTo>
                  <a:lnTo>
                    <a:pt x="42" y="0"/>
                  </a:lnTo>
                  <a:lnTo>
                    <a:pt x="30" y="6"/>
                  </a:lnTo>
                  <a:lnTo>
                    <a:pt x="12" y="6"/>
                  </a:lnTo>
                  <a:lnTo>
                    <a:pt x="0" y="43"/>
                  </a:lnTo>
                  <a:lnTo>
                    <a:pt x="12" y="85"/>
                  </a:lnTo>
                  <a:lnTo>
                    <a:pt x="18" y="85"/>
                  </a:lnTo>
                  <a:lnTo>
                    <a:pt x="24" y="85"/>
                  </a:lnTo>
                  <a:lnTo>
                    <a:pt x="54" y="79"/>
                  </a:ln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156" name="MR"/>
            <p:cNvSpPr>
              <a:spLocks/>
            </p:cNvSpPr>
            <p:nvPr/>
          </p:nvSpPr>
          <p:spPr bwMode="auto">
            <a:xfrm>
              <a:off x="3859944" y="3739308"/>
              <a:ext cx="298447" cy="314281"/>
            </a:xfrm>
            <a:custGeom>
              <a:avLst/>
              <a:gdLst>
                <a:gd name="T0" fmla="*/ 2147483647 w 38"/>
                <a:gd name="T1" fmla="*/ 2147483647 h 41"/>
                <a:gd name="T2" fmla="*/ 2147483647 w 38"/>
                <a:gd name="T3" fmla="*/ 2147483647 h 41"/>
                <a:gd name="T4" fmla="*/ 2147483647 w 38"/>
                <a:gd name="T5" fmla="*/ 2147483647 h 41"/>
                <a:gd name="T6" fmla="*/ 2147483647 w 38"/>
                <a:gd name="T7" fmla="*/ 2147483647 h 41"/>
                <a:gd name="T8" fmla="*/ 2147483647 w 38"/>
                <a:gd name="T9" fmla="*/ 2147483647 h 41"/>
                <a:gd name="T10" fmla="*/ 2147483647 w 38"/>
                <a:gd name="T11" fmla="*/ 2147483647 h 41"/>
                <a:gd name="T12" fmla="*/ 2147483647 w 38"/>
                <a:gd name="T13" fmla="*/ 2147483647 h 41"/>
                <a:gd name="T14" fmla="*/ 2147483647 w 38"/>
                <a:gd name="T15" fmla="*/ 2147483647 h 41"/>
                <a:gd name="T16" fmla="*/ 2147483647 w 38"/>
                <a:gd name="T17" fmla="*/ 2147483647 h 41"/>
                <a:gd name="T18" fmla="*/ 2147483647 w 38"/>
                <a:gd name="T19" fmla="*/ 2147483647 h 41"/>
                <a:gd name="T20" fmla="*/ 2147483647 w 38"/>
                <a:gd name="T21" fmla="*/ 2147483647 h 41"/>
                <a:gd name="T22" fmla="*/ 2147483647 w 38"/>
                <a:gd name="T23" fmla="*/ 2147483647 h 41"/>
                <a:gd name="T24" fmla="*/ 2147483647 w 38"/>
                <a:gd name="T25" fmla="*/ 2147483647 h 41"/>
                <a:gd name="T26" fmla="*/ 2147483647 w 38"/>
                <a:gd name="T27" fmla="*/ 0 h 41"/>
                <a:gd name="T28" fmla="*/ 2147483647 w 38"/>
                <a:gd name="T29" fmla="*/ 2147483647 h 41"/>
                <a:gd name="T30" fmla="*/ 2147483647 w 38"/>
                <a:gd name="T31" fmla="*/ 2147483647 h 41"/>
                <a:gd name="T32" fmla="*/ 2147483647 w 38"/>
                <a:gd name="T33" fmla="*/ 2147483647 h 41"/>
                <a:gd name="T34" fmla="*/ 2147483647 w 38"/>
                <a:gd name="T35" fmla="*/ 2147483647 h 41"/>
                <a:gd name="T36" fmla="*/ 2147483647 w 38"/>
                <a:gd name="T37" fmla="*/ 2147483647 h 41"/>
                <a:gd name="T38" fmla="*/ 2147483647 w 38"/>
                <a:gd name="T39" fmla="*/ 2147483647 h 41"/>
                <a:gd name="T40" fmla="*/ 0 w 38"/>
                <a:gd name="T41" fmla="*/ 2147483647 h 41"/>
                <a:gd name="T42" fmla="*/ 2147483647 w 38"/>
                <a:gd name="T43" fmla="*/ 2147483647 h 41"/>
                <a:gd name="T44" fmla="*/ 2147483647 w 38"/>
                <a:gd name="T45" fmla="*/ 2147483647 h 41"/>
                <a:gd name="T46" fmla="*/ 2147483647 w 38"/>
                <a:gd name="T47" fmla="*/ 2147483647 h 41"/>
                <a:gd name="T48" fmla="*/ 2147483647 w 38"/>
                <a:gd name="T49" fmla="*/ 2147483647 h 41"/>
                <a:gd name="T50" fmla="*/ 2147483647 w 38"/>
                <a:gd name="T51" fmla="*/ 2147483647 h 4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38" h="41">
                  <a:moveTo>
                    <a:pt x="6" y="35"/>
                  </a:moveTo>
                  <a:cubicBezTo>
                    <a:pt x="11" y="38"/>
                    <a:pt x="11" y="38"/>
                    <a:pt x="11" y="38"/>
                  </a:cubicBezTo>
                  <a:cubicBezTo>
                    <a:pt x="13" y="40"/>
                    <a:pt x="13" y="40"/>
                    <a:pt x="13" y="40"/>
                  </a:cubicBezTo>
                  <a:cubicBezTo>
                    <a:pt x="15" y="41"/>
                    <a:pt x="15" y="41"/>
                    <a:pt x="15" y="41"/>
                  </a:cubicBezTo>
                  <a:cubicBezTo>
                    <a:pt x="15" y="41"/>
                    <a:pt x="15" y="41"/>
                    <a:pt x="15" y="41"/>
                  </a:cubicBezTo>
                  <a:cubicBezTo>
                    <a:pt x="18" y="38"/>
                    <a:pt x="18" y="38"/>
                    <a:pt x="18" y="38"/>
                  </a:cubicBezTo>
                  <a:cubicBezTo>
                    <a:pt x="20" y="40"/>
                    <a:pt x="20" y="40"/>
                    <a:pt x="20" y="40"/>
                  </a:cubicBezTo>
                  <a:cubicBezTo>
                    <a:pt x="21" y="39"/>
                    <a:pt x="21" y="39"/>
                    <a:pt x="21" y="39"/>
                  </a:cubicBezTo>
                  <a:cubicBezTo>
                    <a:pt x="35" y="39"/>
                    <a:pt x="35" y="39"/>
                    <a:pt x="35" y="39"/>
                  </a:cubicBezTo>
                  <a:cubicBezTo>
                    <a:pt x="38" y="37"/>
                    <a:pt x="38" y="37"/>
                    <a:pt x="38" y="37"/>
                  </a:cubicBezTo>
                  <a:cubicBezTo>
                    <a:pt x="36" y="36"/>
                    <a:pt x="36" y="36"/>
                    <a:pt x="36" y="36"/>
                  </a:cubicBezTo>
                  <a:cubicBezTo>
                    <a:pt x="33" y="7"/>
                    <a:pt x="33" y="7"/>
                    <a:pt x="33" y="7"/>
                  </a:cubicBezTo>
                  <a:cubicBezTo>
                    <a:pt x="36" y="7"/>
                    <a:pt x="36" y="7"/>
                    <a:pt x="36" y="7"/>
                  </a:cubicBezTo>
                  <a:cubicBezTo>
                    <a:pt x="27" y="0"/>
                    <a:pt x="27" y="0"/>
                    <a:pt x="27" y="0"/>
                  </a:cubicBezTo>
                  <a:cubicBezTo>
                    <a:pt x="27" y="3"/>
                    <a:pt x="27" y="3"/>
                    <a:pt x="27" y="3"/>
                  </a:cubicBezTo>
                  <a:cubicBezTo>
                    <a:pt x="17" y="3"/>
                    <a:pt x="17" y="3"/>
                    <a:pt x="17" y="3"/>
                  </a:cubicBezTo>
                  <a:cubicBezTo>
                    <a:pt x="16" y="11"/>
                    <a:pt x="16" y="11"/>
                    <a:pt x="16" y="11"/>
                  </a:cubicBezTo>
                  <a:cubicBezTo>
                    <a:pt x="14" y="13"/>
                    <a:pt x="14" y="13"/>
                    <a:pt x="14" y="13"/>
                  </a:cubicBezTo>
                  <a:cubicBezTo>
                    <a:pt x="14" y="13"/>
                    <a:pt x="14" y="20"/>
                    <a:pt x="13" y="20"/>
                  </a:cubicBezTo>
                  <a:cubicBezTo>
                    <a:pt x="13" y="20"/>
                    <a:pt x="5" y="19"/>
                    <a:pt x="1" y="19"/>
                  </a:cubicBezTo>
                  <a:cubicBezTo>
                    <a:pt x="0" y="20"/>
                    <a:pt x="0" y="20"/>
                    <a:pt x="0" y="20"/>
                  </a:cubicBezTo>
                  <a:cubicBezTo>
                    <a:pt x="3" y="26"/>
                    <a:pt x="3" y="26"/>
                    <a:pt x="3" y="26"/>
                  </a:cubicBezTo>
                  <a:cubicBezTo>
                    <a:pt x="3" y="33"/>
                    <a:pt x="3" y="33"/>
                    <a:pt x="3" y="33"/>
                  </a:cubicBezTo>
                  <a:cubicBezTo>
                    <a:pt x="1" y="36"/>
                    <a:pt x="1" y="36"/>
                    <a:pt x="1" y="36"/>
                  </a:cubicBezTo>
                  <a:cubicBezTo>
                    <a:pt x="4" y="36"/>
                    <a:pt x="4" y="36"/>
                    <a:pt x="4" y="36"/>
                  </a:cubicBezTo>
                  <a:lnTo>
                    <a:pt x="6" y="35"/>
                  </a:ln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157" name="EG"/>
            <p:cNvSpPr>
              <a:spLocks/>
            </p:cNvSpPr>
            <p:nvPr/>
          </p:nvSpPr>
          <p:spPr bwMode="auto">
            <a:xfrm>
              <a:off x="4879842" y="3605959"/>
              <a:ext cx="275369" cy="270646"/>
            </a:xfrm>
            <a:custGeom>
              <a:avLst/>
              <a:gdLst>
                <a:gd name="T0" fmla="*/ 0 w 36"/>
                <a:gd name="T1" fmla="*/ 2147483647 h 35"/>
                <a:gd name="T2" fmla="*/ 2147483647 w 36"/>
                <a:gd name="T3" fmla="*/ 2147483647 h 35"/>
                <a:gd name="T4" fmla="*/ 2147483647 w 36"/>
                <a:gd name="T5" fmla="*/ 2147483647 h 35"/>
                <a:gd name="T6" fmla="*/ 2147483647 w 36"/>
                <a:gd name="T7" fmla="*/ 2147483647 h 35"/>
                <a:gd name="T8" fmla="*/ 2147483647 w 36"/>
                <a:gd name="T9" fmla="*/ 2147483647 h 35"/>
                <a:gd name="T10" fmla="*/ 2147483647 w 36"/>
                <a:gd name="T11" fmla="*/ 2147483647 h 35"/>
                <a:gd name="T12" fmla="*/ 2147483647 w 36"/>
                <a:gd name="T13" fmla="*/ 2147483647 h 35"/>
                <a:gd name="T14" fmla="*/ 2147483647 w 36"/>
                <a:gd name="T15" fmla="*/ 2147483647 h 35"/>
                <a:gd name="T16" fmla="*/ 2147483647 w 36"/>
                <a:gd name="T17" fmla="*/ 2147483647 h 35"/>
                <a:gd name="T18" fmla="*/ 2147483647 w 36"/>
                <a:gd name="T19" fmla="*/ 2147483647 h 35"/>
                <a:gd name="T20" fmla="*/ 2147483647 w 36"/>
                <a:gd name="T21" fmla="*/ 2147483647 h 35"/>
                <a:gd name="T22" fmla="*/ 2147483647 w 36"/>
                <a:gd name="T23" fmla="*/ 2147483647 h 35"/>
                <a:gd name="T24" fmla="*/ 2147483647 w 36"/>
                <a:gd name="T25" fmla="*/ 2147483647 h 35"/>
                <a:gd name="T26" fmla="*/ 2147483647 w 36"/>
                <a:gd name="T27" fmla="*/ 2147483647 h 35"/>
                <a:gd name="T28" fmla="*/ 2147483647 w 36"/>
                <a:gd name="T29" fmla="*/ 2147483647 h 35"/>
                <a:gd name="T30" fmla="*/ 2147483647 w 36"/>
                <a:gd name="T31" fmla="*/ 2147483647 h 35"/>
                <a:gd name="T32" fmla="*/ 2147483647 w 36"/>
                <a:gd name="T33" fmla="*/ 2147483647 h 35"/>
                <a:gd name="T34" fmla="*/ 2147483647 w 36"/>
                <a:gd name="T35" fmla="*/ 2147483647 h 35"/>
                <a:gd name="T36" fmla="*/ 2147483647 w 36"/>
                <a:gd name="T37" fmla="*/ 2147483647 h 35"/>
                <a:gd name="T38" fmla="*/ 2147483647 w 36"/>
                <a:gd name="T39" fmla="*/ 2147483647 h 35"/>
                <a:gd name="T40" fmla="*/ 2147483647 w 36"/>
                <a:gd name="T41" fmla="*/ 0 h 35"/>
                <a:gd name="T42" fmla="*/ 2147483647 w 36"/>
                <a:gd name="T43" fmla="*/ 0 h 35"/>
                <a:gd name="T44" fmla="*/ 2147483647 w 36"/>
                <a:gd name="T45" fmla="*/ 2147483647 h 35"/>
                <a:gd name="T46" fmla="*/ 0 w 36"/>
                <a:gd name="T47" fmla="*/ 2147483647 h 3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36" h="35">
                  <a:moveTo>
                    <a:pt x="0" y="5"/>
                  </a:moveTo>
                  <a:cubicBezTo>
                    <a:pt x="0" y="5"/>
                    <a:pt x="1" y="7"/>
                    <a:pt x="1" y="8"/>
                  </a:cubicBezTo>
                  <a:cubicBezTo>
                    <a:pt x="1" y="8"/>
                    <a:pt x="2" y="10"/>
                    <a:pt x="2" y="10"/>
                  </a:cubicBezTo>
                  <a:cubicBezTo>
                    <a:pt x="2" y="10"/>
                    <a:pt x="1" y="35"/>
                    <a:pt x="2" y="35"/>
                  </a:cubicBezTo>
                  <a:cubicBezTo>
                    <a:pt x="2" y="35"/>
                    <a:pt x="2" y="35"/>
                    <a:pt x="3" y="35"/>
                  </a:cubicBezTo>
                  <a:cubicBezTo>
                    <a:pt x="7" y="35"/>
                    <a:pt x="29" y="35"/>
                    <a:pt x="29" y="35"/>
                  </a:cubicBezTo>
                  <a:cubicBezTo>
                    <a:pt x="34" y="32"/>
                    <a:pt x="34" y="32"/>
                    <a:pt x="34" y="32"/>
                  </a:cubicBezTo>
                  <a:cubicBezTo>
                    <a:pt x="36" y="30"/>
                    <a:pt x="36" y="30"/>
                    <a:pt x="36" y="30"/>
                  </a:cubicBezTo>
                  <a:cubicBezTo>
                    <a:pt x="36" y="30"/>
                    <a:pt x="36" y="30"/>
                    <a:pt x="36" y="30"/>
                  </a:cubicBezTo>
                  <a:cubicBezTo>
                    <a:pt x="33" y="23"/>
                    <a:pt x="33" y="23"/>
                    <a:pt x="33" y="23"/>
                  </a:cubicBezTo>
                  <a:cubicBezTo>
                    <a:pt x="29" y="15"/>
                    <a:pt x="29" y="15"/>
                    <a:pt x="29" y="15"/>
                  </a:cubicBezTo>
                  <a:cubicBezTo>
                    <a:pt x="24" y="8"/>
                    <a:pt x="24" y="8"/>
                    <a:pt x="24" y="8"/>
                  </a:cubicBezTo>
                  <a:cubicBezTo>
                    <a:pt x="31" y="12"/>
                    <a:pt x="31" y="12"/>
                    <a:pt x="31" y="12"/>
                  </a:cubicBezTo>
                  <a:cubicBezTo>
                    <a:pt x="34" y="9"/>
                    <a:pt x="34" y="9"/>
                    <a:pt x="34" y="9"/>
                  </a:cubicBezTo>
                  <a:cubicBezTo>
                    <a:pt x="33" y="9"/>
                    <a:pt x="33" y="9"/>
                    <a:pt x="33" y="9"/>
                  </a:cubicBezTo>
                  <a:cubicBezTo>
                    <a:pt x="30" y="1"/>
                    <a:pt x="30" y="1"/>
                    <a:pt x="30" y="1"/>
                  </a:cubicBezTo>
                  <a:cubicBezTo>
                    <a:pt x="28" y="3"/>
                    <a:pt x="28" y="3"/>
                    <a:pt x="28" y="3"/>
                  </a:cubicBezTo>
                  <a:cubicBezTo>
                    <a:pt x="22" y="2"/>
                    <a:pt x="22" y="2"/>
                    <a:pt x="22" y="2"/>
                  </a:cubicBezTo>
                  <a:cubicBezTo>
                    <a:pt x="19" y="1"/>
                    <a:pt x="19" y="1"/>
                    <a:pt x="19" y="1"/>
                  </a:cubicBezTo>
                  <a:cubicBezTo>
                    <a:pt x="12" y="3"/>
                    <a:pt x="12" y="3"/>
                    <a:pt x="12" y="3"/>
                  </a:cubicBezTo>
                  <a:cubicBezTo>
                    <a:pt x="6" y="0"/>
                    <a:pt x="6" y="0"/>
                    <a:pt x="6" y="0"/>
                  </a:cubicBezTo>
                  <a:cubicBezTo>
                    <a:pt x="2" y="0"/>
                    <a:pt x="2" y="0"/>
                    <a:pt x="2" y="0"/>
                  </a:cubicBezTo>
                  <a:cubicBezTo>
                    <a:pt x="1" y="2"/>
                    <a:pt x="1" y="2"/>
                    <a:pt x="1" y="2"/>
                  </a:cubicBezTo>
                  <a:lnTo>
                    <a:pt x="0" y="5"/>
                  </a:ln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158" name="LY"/>
            <p:cNvSpPr>
              <a:spLocks/>
            </p:cNvSpPr>
            <p:nvPr/>
          </p:nvSpPr>
          <p:spPr bwMode="auto">
            <a:xfrm>
              <a:off x="4494084" y="3558335"/>
              <a:ext cx="409571" cy="386532"/>
            </a:xfrm>
            <a:custGeom>
              <a:avLst/>
              <a:gdLst>
                <a:gd name="T0" fmla="*/ 2147483647 w 52"/>
                <a:gd name="T1" fmla="*/ 2147483647 h 50"/>
                <a:gd name="T2" fmla="*/ 2147483647 w 52"/>
                <a:gd name="T3" fmla="*/ 2147483647 h 50"/>
                <a:gd name="T4" fmla="*/ 2147483647 w 52"/>
                <a:gd name="T5" fmla="*/ 2147483647 h 50"/>
                <a:gd name="T6" fmla="*/ 0 w 52"/>
                <a:gd name="T7" fmla="*/ 2147483647 h 50"/>
                <a:gd name="T8" fmla="*/ 0 w 52"/>
                <a:gd name="T9" fmla="*/ 2147483647 h 50"/>
                <a:gd name="T10" fmla="*/ 2147483647 w 52"/>
                <a:gd name="T11" fmla="*/ 2147483647 h 50"/>
                <a:gd name="T12" fmla="*/ 2147483647 w 52"/>
                <a:gd name="T13" fmla="*/ 2147483647 h 50"/>
                <a:gd name="T14" fmla="*/ 2147483647 w 52"/>
                <a:gd name="T15" fmla="*/ 2147483647 h 50"/>
                <a:gd name="T16" fmla="*/ 2147483647 w 52"/>
                <a:gd name="T17" fmla="*/ 2147483647 h 50"/>
                <a:gd name="T18" fmla="*/ 2147483647 w 52"/>
                <a:gd name="T19" fmla="*/ 2147483647 h 50"/>
                <a:gd name="T20" fmla="*/ 2147483647 w 52"/>
                <a:gd name="T21" fmla="*/ 2147483647 h 50"/>
                <a:gd name="T22" fmla="*/ 2147483647 w 52"/>
                <a:gd name="T23" fmla="*/ 2147483647 h 50"/>
                <a:gd name="T24" fmla="*/ 2147483647 w 52"/>
                <a:gd name="T25" fmla="*/ 2147483647 h 50"/>
                <a:gd name="T26" fmla="*/ 2147483647 w 52"/>
                <a:gd name="T27" fmla="*/ 2147483647 h 50"/>
                <a:gd name="T28" fmla="*/ 2147483647 w 52"/>
                <a:gd name="T29" fmla="*/ 2147483647 h 50"/>
                <a:gd name="T30" fmla="*/ 2147483647 w 52"/>
                <a:gd name="T31" fmla="*/ 2147483647 h 50"/>
                <a:gd name="T32" fmla="*/ 2147483647 w 52"/>
                <a:gd name="T33" fmla="*/ 2147483647 h 50"/>
                <a:gd name="T34" fmla="*/ 2147483647 w 52"/>
                <a:gd name="T35" fmla="*/ 2147483647 h 50"/>
                <a:gd name="T36" fmla="*/ 2147483647 w 52"/>
                <a:gd name="T37" fmla="*/ 2147483647 h 50"/>
                <a:gd name="T38" fmla="*/ 2147483647 w 52"/>
                <a:gd name="T39" fmla="*/ 2147483647 h 50"/>
                <a:gd name="T40" fmla="*/ 2147483647 w 52"/>
                <a:gd name="T41" fmla="*/ 2147483647 h 50"/>
                <a:gd name="T42" fmla="*/ 2147483647 w 52"/>
                <a:gd name="T43" fmla="*/ 2147483647 h 50"/>
                <a:gd name="T44" fmla="*/ 2147483647 w 52"/>
                <a:gd name="T45" fmla="*/ 2147483647 h 50"/>
                <a:gd name="T46" fmla="*/ 2147483647 w 52"/>
                <a:gd name="T47" fmla="*/ 2147483647 h 50"/>
                <a:gd name="T48" fmla="*/ 2147483647 w 52"/>
                <a:gd name="T49" fmla="*/ 2147483647 h 50"/>
                <a:gd name="T50" fmla="*/ 2147483647 w 52"/>
                <a:gd name="T51" fmla="*/ 2147483647 h 50"/>
                <a:gd name="T52" fmla="*/ 2147483647 w 52"/>
                <a:gd name="T53" fmla="*/ 2147483647 h 50"/>
                <a:gd name="T54" fmla="*/ 2147483647 w 52"/>
                <a:gd name="T55" fmla="*/ 2147483647 h 50"/>
                <a:gd name="T56" fmla="*/ 2147483647 w 52"/>
                <a:gd name="T57" fmla="*/ 2147483647 h 50"/>
                <a:gd name="T58" fmla="*/ 2147483647 w 52"/>
                <a:gd name="T59" fmla="*/ 2147483647 h 50"/>
                <a:gd name="T60" fmla="*/ 2147483647 w 52"/>
                <a:gd name="T61" fmla="*/ 2147483647 h 50"/>
                <a:gd name="T62" fmla="*/ 2147483647 w 52"/>
                <a:gd name="T63" fmla="*/ 2147483647 h 50"/>
                <a:gd name="T64" fmla="*/ 2147483647 w 52"/>
                <a:gd name="T65" fmla="*/ 2147483647 h 50"/>
                <a:gd name="T66" fmla="*/ 2147483647 w 52"/>
                <a:gd name="T67" fmla="*/ 0 h 50"/>
                <a:gd name="T68" fmla="*/ 2147483647 w 52"/>
                <a:gd name="T69" fmla="*/ 2147483647 h 50"/>
                <a:gd name="T70" fmla="*/ 2147483647 w 52"/>
                <a:gd name="T71" fmla="*/ 2147483647 h 5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52" h="50">
                  <a:moveTo>
                    <a:pt x="4" y="6"/>
                  </a:moveTo>
                  <a:cubicBezTo>
                    <a:pt x="3" y="9"/>
                    <a:pt x="3" y="9"/>
                    <a:pt x="3" y="9"/>
                  </a:cubicBezTo>
                  <a:cubicBezTo>
                    <a:pt x="2" y="10"/>
                    <a:pt x="2" y="10"/>
                    <a:pt x="2" y="10"/>
                  </a:cubicBezTo>
                  <a:cubicBezTo>
                    <a:pt x="0" y="12"/>
                    <a:pt x="0" y="12"/>
                    <a:pt x="0" y="12"/>
                  </a:cubicBezTo>
                  <a:cubicBezTo>
                    <a:pt x="0" y="29"/>
                    <a:pt x="0" y="29"/>
                    <a:pt x="0" y="29"/>
                  </a:cubicBezTo>
                  <a:cubicBezTo>
                    <a:pt x="6" y="34"/>
                    <a:pt x="6" y="34"/>
                    <a:pt x="6" y="34"/>
                  </a:cubicBezTo>
                  <a:cubicBezTo>
                    <a:pt x="9" y="35"/>
                    <a:pt x="9" y="35"/>
                    <a:pt x="9" y="35"/>
                  </a:cubicBezTo>
                  <a:cubicBezTo>
                    <a:pt x="17" y="36"/>
                    <a:pt x="17" y="36"/>
                    <a:pt x="17" y="36"/>
                  </a:cubicBezTo>
                  <a:cubicBezTo>
                    <a:pt x="19" y="38"/>
                    <a:pt x="19" y="38"/>
                    <a:pt x="19" y="38"/>
                  </a:cubicBezTo>
                  <a:cubicBezTo>
                    <a:pt x="23" y="36"/>
                    <a:pt x="23" y="36"/>
                    <a:pt x="23" y="36"/>
                  </a:cubicBezTo>
                  <a:cubicBezTo>
                    <a:pt x="47" y="49"/>
                    <a:pt x="47" y="49"/>
                    <a:pt x="47" y="49"/>
                  </a:cubicBezTo>
                  <a:cubicBezTo>
                    <a:pt x="47" y="48"/>
                    <a:pt x="47" y="48"/>
                    <a:pt x="47" y="48"/>
                  </a:cubicBezTo>
                  <a:cubicBezTo>
                    <a:pt x="47" y="49"/>
                    <a:pt x="47" y="49"/>
                    <a:pt x="47" y="49"/>
                  </a:cubicBezTo>
                  <a:cubicBezTo>
                    <a:pt x="48" y="50"/>
                    <a:pt x="48" y="50"/>
                    <a:pt x="48" y="50"/>
                  </a:cubicBezTo>
                  <a:cubicBezTo>
                    <a:pt x="48" y="47"/>
                    <a:pt x="48" y="47"/>
                    <a:pt x="48" y="47"/>
                  </a:cubicBezTo>
                  <a:cubicBezTo>
                    <a:pt x="51" y="47"/>
                    <a:pt x="51" y="47"/>
                    <a:pt x="51" y="47"/>
                  </a:cubicBezTo>
                  <a:cubicBezTo>
                    <a:pt x="52" y="41"/>
                    <a:pt x="52" y="41"/>
                    <a:pt x="52" y="41"/>
                  </a:cubicBezTo>
                  <a:cubicBezTo>
                    <a:pt x="51" y="41"/>
                    <a:pt x="51" y="41"/>
                    <a:pt x="51" y="41"/>
                  </a:cubicBezTo>
                  <a:cubicBezTo>
                    <a:pt x="50" y="41"/>
                    <a:pt x="51" y="16"/>
                    <a:pt x="51" y="16"/>
                  </a:cubicBezTo>
                  <a:cubicBezTo>
                    <a:pt x="51" y="16"/>
                    <a:pt x="50" y="14"/>
                    <a:pt x="50" y="14"/>
                  </a:cubicBezTo>
                  <a:cubicBezTo>
                    <a:pt x="50" y="13"/>
                    <a:pt x="49" y="11"/>
                    <a:pt x="49" y="11"/>
                  </a:cubicBezTo>
                  <a:cubicBezTo>
                    <a:pt x="50" y="8"/>
                    <a:pt x="50" y="8"/>
                    <a:pt x="50" y="8"/>
                  </a:cubicBezTo>
                  <a:cubicBezTo>
                    <a:pt x="51" y="6"/>
                    <a:pt x="51" y="6"/>
                    <a:pt x="51" y="6"/>
                  </a:cubicBezTo>
                  <a:cubicBezTo>
                    <a:pt x="48" y="5"/>
                    <a:pt x="48" y="5"/>
                    <a:pt x="48" y="5"/>
                  </a:cubicBezTo>
                  <a:cubicBezTo>
                    <a:pt x="45" y="3"/>
                    <a:pt x="45" y="3"/>
                    <a:pt x="45" y="3"/>
                  </a:cubicBezTo>
                  <a:cubicBezTo>
                    <a:pt x="41" y="2"/>
                    <a:pt x="41" y="2"/>
                    <a:pt x="41" y="2"/>
                  </a:cubicBezTo>
                  <a:cubicBezTo>
                    <a:pt x="35" y="4"/>
                    <a:pt x="35" y="4"/>
                    <a:pt x="35" y="4"/>
                  </a:cubicBezTo>
                  <a:cubicBezTo>
                    <a:pt x="35" y="8"/>
                    <a:pt x="35" y="8"/>
                    <a:pt x="35" y="8"/>
                  </a:cubicBezTo>
                  <a:cubicBezTo>
                    <a:pt x="29" y="10"/>
                    <a:pt x="29" y="10"/>
                    <a:pt x="29" y="10"/>
                  </a:cubicBezTo>
                  <a:cubicBezTo>
                    <a:pt x="25" y="7"/>
                    <a:pt x="25" y="7"/>
                    <a:pt x="25" y="7"/>
                  </a:cubicBezTo>
                  <a:cubicBezTo>
                    <a:pt x="22" y="5"/>
                    <a:pt x="22" y="5"/>
                    <a:pt x="22" y="5"/>
                  </a:cubicBezTo>
                  <a:cubicBezTo>
                    <a:pt x="20" y="3"/>
                    <a:pt x="20" y="3"/>
                    <a:pt x="20" y="3"/>
                  </a:cubicBezTo>
                  <a:cubicBezTo>
                    <a:pt x="13" y="2"/>
                    <a:pt x="13" y="2"/>
                    <a:pt x="13" y="2"/>
                  </a:cubicBezTo>
                  <a:cubicBezTo>
                    <a:pt x="8" y="0"/>
                    <a:pt x="8" y="0"/>
                    <a:pt x="8" y="0"/>
                  </a:cubicBezTo>
                  <a:cubicBezTo>
                    <a:pt x="8" y="2"/>
                    <a:pt x="8" y="2"/>
                    <a:pt x="8" y="2"/>
                  </a:cubicBezTo>
                  <a:lnTo>
                    <a:pt x="4" y="6"/>
                  </a:ln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159" name="TN"/>
            <p:cNvSpPr>
              <a:spLocks/>
            </p:cNvSpPr>
            <p:nvPr/>
          </p:nvSpPr>
          <p:spPr bwMode="auto">
            <a:xfrm>
              <a:off x="4454396" y="3444849"/>
              <a:ext cx="103187" cy="191272"/>
            </a:xfrm>
            <a:custGeom>
              <a:avLst/>
              <a:gdLst>
                <a:gd name="T0" fmla="*/ 2147483647 w 78"/>
                <a:gd name="T1" fmla="*/ 2147483647 h 150"/>
                <a:gd name="T2" fmla="*/ 2147483647 w 78"/>
                <a:gd name="T3" fmla="*/ 2147483647 h 150"/>
                <a:gd name="T4" fmla="*/ 2147483647 w 78"/>
                <a:gd name="T5" fmla="*/ 2147483647 h 150"/>
                <a:gd name="T6" fmla="*/ 0 w 78"/>
                <a:gd name="T7" fmla="*/ 2147483647 h 150"/>
                <a:gd name="T8" fmla="*/ 0 w 78"/>
                <a:gd name="T9" fmla="*/ 2147483647 h 150"/>
                <a:gd name="T10" fmla="*/ 2147483647 w 78"/>
                <a:gd name="T11" fmla="*/ 2147483647 h 150"/>
                <a:gd name="T12" fmla="*/ 2147483647 w 78"/>
                <a:gd name="T13" fmla="*/ 2147483647 h 150"/>
                <a:gd name="T14" fmla="*/ 2147483647 w 78"/>
                <a:gd name="T15" fmla="*/ 2147483647 h 150"/>
                <a:gd name="T16" fmla="*/ 2147483647 w 78"/>
                <a:gd name="T17" fmla="*/ 2147483647 h 150"/>
                <a:gd name="T18" fmla="*/ 2147483647 w 78"/>
                <a:gd name="T19" fmla="*/ 2147483647 h 150"/>
                <a:gd name="T20" fmla="*/ 2147483647 w 78"/>
                <a:gd name="T21" fmla="*/ 2147483647 h 150"/>
                <a:gd name="T22" fmla="*/ 2147483647 w 78"/>
                <a:gd name="T23" fmla="*/ 2147483647 h 150"/>
                <a:gd name="T24" fmla="*/ 2147483647 w 78"/>
                <a:gd name="T25" fmla="*/ 2147483647 h 150"/>
                <a:gd name="T26" fmla="*/ 2147483647 w 78"/>
                <a:gd name="T27" fmla="*/ 2147483647 h 150"/>
                <a:gd name="T28" fmla="*/ 2147483647 w 78"/>
                <a:gd name="T29" fmla="*/ 2147483647 h 150"/>
                <a:gd name="T30" fmla="*/ 2147483647 w 78"/>
                <a:gd name="T31" fmla="*/ 2147483647 h 150"/>
                <a:gd name="T32" fmla="*/ 2147483647 w 78"/>
                <a:gd name="T33" fmla="*/ 2147483647 h 150"/>
                <a:gd name="T34" fmla="*/ 2147483647 w 78"/>
                <a:gd name="T35" fmla="*/ 2147483647 h 150"/>
                <a:gd name="T36" fmla="*/ 2147483647 w 78"/>
                <a:gd name="T37" fmla="*/ 0 h 150"/>
                <a:gd name="T38" fmla="*/ 2147483647 w 78"/>
                <a:gd name="T39" fmla="*/ 0 h 150"/>
                <a:gd name="T40" fmla="*/ 2147483647 w 78"/>
                <a:gd name="T41" fmla="*/ 2147483647 h 150"/>
                <a:gd name="T42" fmla="*/ 2147483647 w 78"/>
                <a:gd name="T43" fmla="*/ 2147483647 h 15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78" h="150">
                  <a:moveTo>
                    <a:pt x="18" y="12"/>
                  </a:moveTo>
                  <a:lnTo>
                    <a:pt x="18" y="30"/>
                  </a:lnTo>
                  <a:lnTo>
                    <a:pt x="18" y="54"/>
                  </a:lnTo>
                  <a:lnTo>
                    <a:pt x="0" y="78"/>
                  </a:lnTo>
                  <a:lnTo>
                    <a:pt x="0" y="90"/>
                  </a:lnTo>
                  <a:lnTo>
                    <a:pt x="12" y="102"/>
                  </a:lnTo>
                  <a:lnTo>
                    <a:pt x="18" y="108"/>
                  </a:lnTo>
                  <a:lnTo>
                    <a:pt x="36" y="120"/>
                  </a:lnTo>
                  <a:lnTo>
                    <a:pt x="36" y="144"/>
                  </a:lnTo>
                  <a:lnTo>
                    <a:pt x="42" y="150"/>
                  </a:lnTo>
                  <a:lnTo>
                    <a:pt x="48" y="144"/>
                  </a:lnTo>
                  <a:lnTo>
                    <a:pt x="54" y="126"/>
                  </a:lnTo>
                  <a:lnTo>
                    <a:pt x="78" y="102"/>
                  </a:lnTo>
                  <a:lnTo>
                    <a:pt x="78" y="90"/>
                  </a:lnTo>
                  <a:lnTo>
                    <a:pt x="60" y="84"/>
                  </a:lnTo>
                  <a:lnTo>
                    <a:pt x="42" y="72"/>
                  </a:lnTo>
                  <a:lnTo>
                    <a:pt x="66" y="36"/>
                  </a:lnTo>
                  <a:lnTo>
                    <a:pt x="60" y="12"/>
                  </a:lnTo>
                  <a:lnTo>
                    <a:pt x="36" y="0"/>
                  </a:lnTo>
                  <a:lnTo>
                    <a:pt x="24" y="0"/>
                  </a:lnTo>
                  <a:lnTo>
                    <a:pt x="24" y="6"/>
                  </a:lnTo>
                  <a:lnTo>
                    <a:pt x="18" y="12"/>
                  </a:ln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160" name="MA"/>
            <p:cNvSpPr>
              <a:spLocks/>
            </p:cNvSpPr>
            <p:nvPr/>
          </p:nvSpPr>
          <p:spPr bwMode="auto">
            <a:xfrm>
              <a:off x="3955193" y="3490887"/>
              <a:ext cx="296859" cy="224608"/>
            </a:xfrm>
            <a:custGeom>
              <a:avLst/>
              <a:gdLst>
                <a:gd name="T0" fmla="*/ 2147483647 w 228"/>
                <a:gd name="T1" fmla="*/ 2147483647 h 174"/>
                <a:gd name="T2" fmla="*/ 2147483647 w 228"/>
                <a:gd name="T3" fmla="*/ 2147483647 h 174"/>
                <a:gd name="T4" fmla="*/ 2147483647 w 228"/>
                <a:gd name="T5" fmla="*/ 2147483647 h 174"/>
                <a:gd name="T6" fmla="*/ 2147483647 w 228"/>
                <a:gd name="T7" fmla="*/ 2147483647 h 174"/>
                <a:gd name="T8" fmla="*/ 2147483647 w 228"/>
                <a:gd name="T9" fmla="*/ 2147483647 h 174"/>
                <a:gd name="T10" fmla="*/ 2147483647 w 228"/>
                <a:gd name="T11" fmla="*/ 2147483647 h 174"/>
                <a:gd name="T12" fmla="*/ 2147483647 w 228"/>
                <a:gd name="T13" fmla="*/ 2147483647 h 174"/>
                <a:gd name="T14" fmla="*/ 2147483647 w 228"/>
                <a:gd name="T15" fmla="*/ 2147483647 h 174"/>
                <a:gd name="T16" fmla="*/ 2147483647 w 228"/>
                <a:gd name="T17" fmla="*/ 2147483647 h 174"/>
                <a:gd name="T18" fmla="*/ 2147483647 w 228"/>
                <a:gd name="T19" fmla="*/ 2147483647 h 174"/>
                <a:gd name="T20" fmla="*/ 2147483647 w 228"/>
                <a:gd name="T21" fmla="*/ 2147483647 h 174"/>
                <a:gd name="T22" fmla="*/ 2147483647 w 228"/>
                <a:gd name="T23" fmla="*/ 2147483647 h 174"/>
                <a:gd name="T24" fmla="*/ 2147483647 w 228"/>
                <a:gd name="T25" fmla="*/ 2147483647 h 174"/>
                <a:gd name="T26" fmla="*/ 2147483647 w 228"/>
                <a:gd name="T27" fmla="*/ 0 h 174"/>
                <a:gd name="T28" fmla="*/ 2147483647 w 228"/>
                <a:gd name="T29" fmla="*/ 2147483647 h 174"/>
                <a:gd name="T30" fmla="*/ 2147483647 w 228"/>
                <a:gd name="T31" fmla="*/ 2147483647 h 174"/>
                <a:gd name="T32" fmla="*/ 2147483647 w 228"/>
                <a:gd name="T33" fmla="*/ 2147483647 h 174"/>
                <a:gd name="T34" fmla="*/ 2147483647 w 228"/>
                <a:gd name="T35" fmla="*/ 2147483647 h 174"/>
                <a:gd name="T36" fmla="*/ 2147483647 w 228"/>
                <a:gd name="T37" fmla="*/ 2147483647 h 174"/>
                <a:gd name="T38" fmla="*/ 0 w 228"/>
                <a:gd name="T39" fmla="*/ 2147483647 h 174"/>
                <a:gd name="T40" fmla="*/ 2147483647 w 228"/>
                <a:gd name="T41" fmla="*/ 2147483647 h 174"/>
                <a:gd name="T42" fmla="*/ 2147483647 w 228"/>
                <a:gd name="T43" fmla="*/ 2147483647 h 17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228" h="174">
                  <a:moveTo>
                    <a:pt x="90" y="156"/>
                  </a:moveTo>
                  <a:lnTo>
                    <a:pt x="114" y="138"/>
                  </a:lnTo>
                  <a:lnTo>
                    <a:pt x="144" y="120"/>
                  </a:lnTo>
                  <a:lnTo>
                    <a:pt x="180" y="108"/>
                  </a:lnTo>
                  <a:lnTo>
                    <a:pt x="186" y="96"/>
                  </a:lnTo>
                  <a:lnTo>
                    <a:pt x="192" y="84"/>
                  </a:lnTo>
                  <a:lnTo>
                    <a:pt x="216" y="78"/>
                  </a:lnTo>
                  <a:lnTo>
                    <a:pt x="228" y="72"/>
                  </a:lnTo>
                  <a:lnTo>
                    <a:pt x="222" y="42"/>
                  </a:lnTo>
                  <a:lnTo>
                    <a:pt x="216" y="12"/>
                  </a:lnTo>
                  <a:lnTo>
                    <a:pt x="210" y="12"/>
                  </a:lnTo>
                  <a:lnTo>
                    <a:pt x="186" y="12"/>
                  </a:lnTo>
                  <a:lnTo>
                    <a:pt x="168" y="12"/>
                  </a:lnTo>
                  <a:lnTo>
                    <a:pt x="144" y="0"/>
                  </a:lnTo>
                  <a:lnTo>
                    <a:pt x="120" y="36"/>
                  </a:lnTo>
                  <a:lnTo>
                    <a:pt x="96" y="60"/>
                  </a:lnTo>
                  <a:lnTo>
                    <a:pt x="72" y="90"/>
                  </a:lnTo>
                  <a:lnTo>
                    <a:pt x="66" y="138"/>
                  </a:lnTo>
                  <a:lnTo>
                    <a:pt x="12" y="162"/>
                  </a:lnTo>
                  <a:lnTo>
                    <a:pt x="0" y="174"/>
                  </a:lnTo>
                  <a:lnTo>
                    <a:pt x="84" y="174"/>
                  </a:lnTo>
                  <a:lnTo>
                    <a:pt x="90" y="156"/>
                  </a:ln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161" name="EH"/>
            <p:cNvSpPr>
              <a:spLocks/>
            </p:cNvSpPr>
            <p:nvPr/>
          </p:nvSpPr>
          <p:spPr bwMode="auto">
            <a:xfrm>
              <a:off x="3866294" y="3715495"/>
              <a:ext cx="204785" cy="175396"/>
            </a:xfrm>
            <a:custGeom>
              <a:avLst/>
              <a:gdLst>
                <a:gd name="T0" fmla="*/ 2147483647 w 26"/>
                <a:gd name="T1" fmla="*/ 2147483647 h 23"/>
                <a:gd name="T2" fmla="*/ 2147483647 w 26"/>
                <a:gd name="T3" fmla="*/ 2147483647 h 23"/>
                <a:gd name="T4" fmla="*/ 2147483647 w 26"/>
                <a:gd name="T5" fmla="*/ 2147483647 h 23"/>
                <a:gd name="T6" fmla="*/ 2147483647 w 26"/>
                <a:gd name="T7" fmla="*/ 2147483647 h 23"/>
                <a:gd name="T8" fmla="*/ 2147483647 w 26"/>
                <a:gd name="T9" fmla="*/ 2147483647 h 23"/>
                <a:gd name="T10" fmla="*/ 2147483647 w 26"/>
                <a:gd name="T11" fmla="*/ 2147483647 h 23"/>
                <a:gd name="T12" fmla="*/ 2147483647 w 26"/>
                <a:gd name="T13" fmla="*/ 0 h 23"/>
                <a:gd name="T14" fmla="*/ 2147483647 w 26"/>
                <a:gd name="T15" fmla="*/ 0 h 23"/>
                <a:gd name="T16" fmla="*/ 2147483647 w 26"/>
                <a:gd name="T17" fmla="*/ 2147483647 h 23"/>
                <a:gd name="T18" fmla="*/ 2147483647 w 26"/>
                <a:gd name="T19" fmla="*/ 2147483647 h 23"/>
                <a:gd name="T20" fmla="*/ 0 w 26"/>
                <a:gd name="T21" fmla="*/ 2147483647 h 23"/>
                <a:gd name="T22" fmla="*/ 2147483647 w 26"/>
                <a:gd name="T23" fmla="*/ 2147483647 h 23"/>
                <a:gd name="T24" fmla="*/ 2147483647 w 26"/>
                <a:gd name="T25" fmla="*/ 2147483647 h 2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 h="23">
                  <a:moveTo>
                    <a:pt x="13" y="16"/>
                  </a:moveTo>
                  <a:cubicBezTo>
                    <a:pt x="15" y="14"/>
                    <a:pt x="15" y="14"/>
                    <a:pt x="15" y="14"/>
                  </a:cubicBezTo>
                  <a:cubicBezTo>
                    <a:pt x="16" y="6"/>
                    <a:pt x="16" y="6"/>
                    <a:pt x="16" y="6"/>
                  </a:cubicBezTo>
                  <a:cubicBezTo>
                    <a:pt x="26" y="6"/>
                    <a:pt x="26" y="6"/>
                    <a:pt x="26" y="6"/>
                  </a:cubicBezTo>
                  <a:cubicBezTo>
                    <a:pt x="26" y="3"/>
                    <a:pt x="26" y="3"/>
                    <a:pt x="26" y="3"/>
                  </a:cubicBezTo>
                  <a:cubicBezTo>
                    <a:pt x="25" y="3"/>
                    <a:pt x="25" y="3"/>
                    <a:pt x="25" y="3"/>
                  </a:cubicBezTo>
                  <a:cubicBezTo>
                    <a:pt x="25" y="0"/>
                    <a:pt x="25" y="0"/>
                    <a:pt x="25" y="0"/>
                  </a:cubicBezTo>
                  <a:cubicBezTo>
                    <a:pt x="11" y="0"/>
                    <a:pt x="11" y="0"/>
                    <a:pt x="11" y="0"/>
                  </a:cubicBezTo>
                  <a:cubicBezTo>
                    <a:pt x="9" y="2"/>
                    <a:pt x="9" y="2"/>
                    <a:pt x="9" y="2"/>
                  </a:cubicBezTo>
                  <a:cubicBezTo>
                    <a:pt x="4" y="13"/>
                    <a:pt x="4" y="13"/>
                    <a:pt x="4" y="13"/>
                  </a:cubicBezTo>
                  <a:cubicBezTo>
                    <a:pt x="0" y="22"/>
                    <a:pt x="0" y="22"/>
                    <a:pt x="0" y="22"/>
                  </a:cubicBezTo>
                  <a:cubicBezTo>
                    <a:pt x="4" y="22"/>
                    <a:pt x="12" y="23"/>
                    <a:pt x="12" y="23"/>
                  </a:cubicBezTo>
                  <a:cubicBezTo>
                    <a:pt x="13" y="23"/>
                    <a:pt x="13" y="16"/>
                    <a:pt x="13" y="16"/>
                  </a:cubicBez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162" name="GW"/>
            <p:cNvSpPr>
              <a:spLocks/>
            </p:cNvSpPr>
            <p:nvPr/>
          </p:nvSpPr>
          <p:spPr bwMode="auto">
            <a:xfrm>
              <a:off x="3875818" y="4107564"/>
              <a:ext cx="61911" cy="47624"/>
            </a:xfrm>
            <a:custGeom>
              <a:avLst/>
              <a:gdLst>
                <a:gd name="T0" fmla="*/ 2147483647 w 48"/>
                <a:gd name="T1" fmla="*/ 2147483647 h 36"/>
                <a:gd name="T2" fmla="*/ 2147483647 w 48"/>
                <a:gd name="T3" fmla="*/ 2147483647 h 36"/>
                <a:gd name="T4" fmla="*/ 2147483647 w 48"/>
                <a:gd name="T5" fmla="*/ 0 h 36"/>
                <a:gd name="T6" fmla="*/ 2147483647 w 48"/>
                <a:gd name="T7" fmla="*/ 0 h 36"/>
                <a:gd name="T8" fmla="*/ 2147483647 w 48"/>
                <a:gd name="T9" fmla="*/ 2147483647 h 36"/>
                <a:gd name="T10" fmla="*/ 0 w 48"/>
                <a:gd name="T11" fmla="*/ 2147483647 h 36"/>
                <a:gd name="T12" fmla="*/ 2147483647 w 48"/>
                <a:gd name="T13" fmla="*/ 2147483647 h 36"/>
                <a:gd name="T14" fmla="*/ 2147483647 w 48"/>
                <a:gd name="T15" fmla="*/ 2147483647 h 36"/>
                <a:gd name="T16" fmla="*/ 2147483647 w 48"/>
                <a:gd name="T17" fmla="*/ 2147483647 h 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8" h="36">
                  <a:moveTo>
                    <a:pt x="48" y="24"/>
                  </a:moveTo>
                  <a:lnTo>
                    <a:pt x="48" y="6"/>
                  </a:lnTo>
                  <a:lnTo>
                    <a:pt x="48" y="0"/>
                  </a:lnTo>
                  <a:lnTo>
                    <a:pt x="36" y="0"/>
                  </a:lnTo>
                  <a:lnTo>
                    <a:pt x="6" y="6"/>
                  </a:lnTo>
                  <a:lnTo>
                    <a:pt x="0" y="6"/>
                  </a:lnTo>
                  <a:lnTo>
                    <a:pt x="18" y="36"/>
                  </a:lnTo>
                  <a:lnTo>
                    <a:pt x="36" y="24"/>
                  </a:lnTo>
                  <a:lnTo>
                    <a:pt x="48" y="24"/>
                  </a:ln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163" name="SD"/>
            <p:cNvSpPr>
              <a:spLocks/>
            </p:cNvSpPr>
            <p:nvPr/>
          </p:nvSpPr>
          <p:spPr bwMode="auto">
            <a:xfrm>
              <a:off x="4817930" y="3838503"/>
              <a:ext cx="399193" cy="352486"/>
            </a:xfrm>
            <a:custGeom>
              <a:avLst/>
              <a:gdLst>
                <a:gd name="T0" fmla="*/ 2147483647 w 52"/>
                <a:gd name="T1" fmla="*/ 2147483647 h 64"/>
                <a:gd name="T2" fmla="*/ 2147483647 w 52"/>
                <a:gd name="T3" fmla="*/ 2147483647 h 64"/>
                <a:gd name="T4" fmla="*/ 2147483647 w 52"/>
                <a:gd name="T5" fmla="*/ 2147483647 h 64"/>
                <a:gd name="T6" fmla="*/ 2147483647 w 52"/>
                <a:gd name="T7" fmla="*/ 2147483647 h 64"/>
                <a:gd name="T8" fmla="*/ 2147483647 w 52"/>
                <a:gd name="T9" fmla="*/ 2147483647 h 64"/>
                <a:gd name="T10" fmla="*/ 2147483647 w 52"/>
                <a:gd name="T11" fmla="*/ 2147483647 h 64"/>
                <a:gd name="T12" fmla="*/ 2147483647 w 52"/>
                <a:gd name="T13" fmla="*/ 2147483647 h 64"/>
                <a:gd name="T14" fmla="*/ 2147483647 w 52"/>
                <a:gd name="T15" fmla="*/ 2147483647 h 64"/>
                <a:gd name="T16" fmla="*/ 2147483647 w 52"/>
                <a:gd name="T17" fmla="*/ 2147483647 h 64"/>
                <a:gd name="T18" fmla="*/ 0 w 52"/>
                <a:gd name="T19" fmla="*/ 2147483647 h 64"/>
                <a:gd name="T20" fmla="*/ 2147483647 w 52"/>
                <a:gd name="T21" fmla="*/ 2147483647 h 64"/>
                <a:gd name="T22" fmla="*/ 2147483647 w 52"/>
                <a:gd name="T23" fmla="*/ 2147483647 h 64"/>
                <a:gd name="T24" fmla="*/ 2147483647 w 52"/>
                <a:gd name="T25" fmla="*/ 2147483647 h 64"/>
                <a:gd name="T26" fmla="*/ 2147483647 w 52"/>
                <a:gd name="T27" fmla="*/ 2147483647 h 64"/>
                <a:gd name="T28" fmla="*/ 2147483647 w 52"/>
                <a:gd name="T29" fmla="*/ 2147483647 h 64"/>
                <a:gd name="T30" fmla="*/ 2147483647 w 52"/>
                <a:gd name="T31" fmla="*/ 2147483647 h 64"/>
                <a:gd name="T32" fmla="*/ 2147483647 w 52"/>
                <a:gd name="T33" fmla="*/ 2147483647 h 64"/>
                <a:gd name="T34" fmla="*/ 2147483647 w 52"/>
                <a:gd name="T35" fmla="*/ 2147483647 h 64"/>
                <a:gd name="T36" fmla="*/ 2147483647 w 52"/>
                <a:gd name="T37" fmla="*/ 2147483647 h 64"/>
                <a:gd name="T38" fmla="*/ 2147483647 w 52"/>
                <a:gd name="T39" fmla="*/ 2147483647 h 64"/>
                <a:gd name="T40" fmla="*/ 2147483647 w 52"/>
                <a:gd name="T41" fmla="*/ 2147483647 h 64"/>
                <a:gd name="T42" fmla="*/ 2147483647 w 52"/>
                <a:gd name="T43" fmla="*/ 2147483647 h 64"/>
                <a:gd name="T44" fmla="*/ 2147483647 w 52"/>
                <a:gd name="T45" fmla="*/ 2147483647 h 64"/>
                <a:gd name="T46" fmla="*/ 2147483647 w 52"/>
                <a:gd name="T47" fmla="*/ 2147483647 h 64"/>
                <a:gd name="T48" fmla="*/ 2147483647 w 52"/>
                <a:gd name="T49" fmla="*/ 2147483647 h 64"/>
                <a:gd name="T50" fmla="*/ 2147483647 w 52"/>
                <a:gd name="T51" fmla="*/ 2147483647 h 64"/>
                <a:gd name="T52" fmla="*/ 2147483647 w 52"/>
                <a:gd name="T53" fmla="*/ 2147483647 h 64"/>
                <a:gd name="T54" fmla="*/ 2147483647 w 52"/>
                <a:gd name="T55" fmla="*/ 2147483647 h 64"/>
                <a:gd name="T56" fmla="*/ 2147483647 w 52"/>
                <a:gd name="T57" fmla="*/ 2147483647 h 64"/>
                <a:gd name="T58" fmla="*/ 2147483647 w 52"/>
                <a:gd name="T59" fmla="*/ 2147483647 h 64"/>
                <a:gd name="T60" fmla="*/ 2147483647 w 52"/>
                <a:gd name="T61" fmla="*/ 2147483647 h 64"/>
                <a:gd name="T62" fmla="*/ 2147483647 w 52"/>
                <a:gd name="T63" fmla="*/ 2147483647 h 64"/>
                <a:gd name="T64" fmla="*/ 2147483647 w 52"/>
                <a:gd name="T65" fmla="*/ 2147483647 h 64"/>
                <a:gd name="T66" fmla="*/ 2147483647 w 52"/>
                <a:gd name="T67" fmla="*/ 2147483647 h 64"/>
                <a:gd name="T68" fmla="*/ 2147483647 w 52"/>
                <a:gd name="T69" fmla="*/ 2147483647 h 64"/>
                <a:gd name="T70" fmla="*/ 2147483647 w 52"/>
                <a:gd name="T71" fmla="*/ 0 h 64"/>
                <a:gd name="T72" fmla="*/ 2147483647 w 52"/>
                <a:gd name="T73" fmla="*/ 2147483647 h 64"/>
                <a:gd name="T74" fmla="*/ 2147483647 w 52"/>
                <a:gd name="T75" fmla="*/ 2147483647 h 6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connsiteX0" fmla="*/ 7115 w 10000"/>
                <a:gd name="connsiteY0" fmla="*/ 781 h 10000"/>
                <a:gd name="connsiteX1" fmla="*/ 2115 w 10000"/>
                <a:gd name="connsiteY1" fmla="*/ 781 h 10000"/>
                <a:gd name="connsiteX2" fmla="*/ 1923 w 10000"/>
                <a:gd name="connsiteY2" fmla="*/ 1719 h 10000"/>
                <a:gd name="connsiteX3" fmla="*/ 1346 w 10000"/>
                <a:gd name="connsiteY3" fmla="*/ 1719 h 10000"/>
                <a:gd name="connsiteX4" fmla="*/ 1346 w 10000"/>
                <a:gd name="connsiteY4" fmla="*/ 2188 h 10000"/>
                <a:gd name="connsiteX5" fmla="*/ 1154 w 10000"/>
                <a:gd name="connsiteY5" fmla="*/ 2031 h 10000"/>
                <a:gd name="connsiteX6" fmla="*/ 962 w 10000"/>
                <a:gd name="connsiteY6" fmla="*/ 3906 h 10000"/>
                <a:gd name="connsiteX7" fmla="*/ 385 w 10000"/>
                <a:gd name="connsiteY7" fmla="*/ 4219 h 10000"/>
                <a:gd name="connsiteX8" fmla="*/ 192 w 10000"/>
                <a:gd name="connsiteY8" fmla="*/ 5000 h 10000"/>
                <a:gd name="connsiteX9" fmla="*/ 0 w 10000"/>
                <a:gd name="connsiteY9" fmla="*/ 5469 h 10000"/>
                <a:gd name="connsiteX10" fmla="*/ 577 w 10000"/>
                <a:gd name="connsiteY10" fmla="*/ 6406 h 10000"/>
                <a:gd name="connsiteX11" fmla="*/ 962 w 10000"/>
                <a:gd name="connsiteY11" fmla="*/ 7031 h 10000"/>
                <a:gd name="connsiteX12" fmla="*/ 1538 w 10000"/>
                <a:gd name="connsiteY12" fmla="*/ 7813 h 10000"/>
                <a:gd name="connsiteX13" fmla="*/ 2308 w 10000"/>
                <a:gd name="connsiteY13" fmla="*/ 8125 h 10000"/>
                <a:gd name="connsiteX14" fmla="*/ 3462 w 10000"/>
                <a:gd name="connsiteY14" fmla="*/ 9063 h 10000"/>
                <a:gd name="connsiteX15" fmla="*/ 3846 w 10000"/>
                <a:gd name="connsiteY15" fmla="*/ 9531 h 10000"/>
                <a:gd name="connsiteX16" fmla="*/ 4808 w 10000"/>
                <a:gd name="connsiteY16" fmla="*/ 9531 h 10000"/>
                <a:gd name="connsiteX17" fmla="*/ 5577 w 10000"/>
                <a:gd name="connsiteY17" fmla="*/ 10000 h 10000"/>
                <a:gd name="connsiteX18" fmla="*/ 6923 w 10000"/>
                <a:gd name="connsiteY18" fmla="*/ 9844 h 10000"/>
                <a:gd name="connsiteX19" fmla="*/ 7885 w 10000"/>
                <a:gd name="connsiteY19" fmla="*/ 9531 h 10000"/>
                <a:gd name="connsiteX20" fmla="*/ 8462 w 10000"/>
                <a:gd name="connsiteY20" fmla="*/ 9531 h 10000"/>
                <a:gd name="connsiteX21" fmla="*/ 8462 w 10000"/>
                <a:gd name="connsiteY21" fmla="*/ 9219 h 10000"/>
                <a:gd name="connsiteX22" fmla="*/ 8077 w 10000"/>
                <a:gd name="connsiteY22" fmla="*/ 8906 h 10000"/>
                <a:gd name="connsiteX23" fmla="*/ 7500 w 10000"/>
                <a:gd name="connsiteY23" fmla="*/ 8438 h 10000"/>
                <a:gd name="connsiteX24" fmla="*/ 6731 w 10000"/>
                <a:gd name="connsiteY24" fmla="*/ 7969 h 10000"/>
                <a:gd name="connsiteX25" fmla="*/ 6513 w 10000"/>
                <a:gd name="connsiteY25" fmla="*/ 6497 h 10000"/>
                <a:gd name="connsiteX26" fmla="*/ 7308 w 10000"/>
                <a:gd name="connsiteY26" fmla="*/ 7500 h 10000"/>
                <a:gd name="connsiteX27" fmla="*/ 7500 w 10000"/>
                <a:gd name="connsiteY27" fmla="*/ 6563 h 10000"/>
                <a:gd name="connsiteX28" fmla="*/ 8269 w 10000"/>
                <a:gd name="connsiteY28" fmla="*/ 5938 h 10000"/>
                <a:gd name="connsiteX29" fmla="*/ 8846 w 10000"/>
                <a:gd name="connsiteY29" fmla="*/ 5000 h 10000"/>
                <a:gd name="connsiteX30" fmla="*/ 9038 w 10000"/>
                <a:gd name="connsiteY30" fmla="*/ 3281 h 10000"/>
                <a:gd name="connsiteX31" fmla="*/ 9615 w 10000"/>
                <a:gd name="connsiteY31" fmla="*/ 2969 h 10000"/>
                <a:gd name="connsiteX32" fmla="*/ 10000 w 10000"/>
                <a:gd name="connsiteY32" fmla="*/ 2813 h 10000"/>
                <a:gd name="connsiteX33" fmla="*/ 9615 w 10000"/>
                <a:gd name="connsiteY33" fmla="*/ 2031 h 10000"/>
                <a:gd name="connsiteX34" fmla="*/ 9038 w 10000"/>
                <a:gd name="connsiteY34" fmla="*/ 625 h 10000"/>
                <a:gd name="connsiteX35" fmla="*/ 8462 w 10000"/>
                <a:gd name="connsiteY35" fmla="*/ 0 h 10000"/>
                <a:gd name="connsiteX36" fmla="*/ 8077 w 10000"/>
                <a:gd name="connsiteY36" fmla="*/ 313 h 10000"/>
                <a:gd name="connsiteX37" fmla="*/ 7115 w 10000"/>
                <a:gd name="connsiteY37" fmla="*/ 781 h 10000"/>
                <a:gd name="connsiteX0" fmla="*/ 7115 w 10000"/>
                <a:gd name="connsiteY0" fmla="*/ 781 h 10000"/>
                <a:gd name="connsiteX1" fmla="*/ 2115 w 10000"/>
                <a:gd name="connsiteY1" fmla="*/ 781 h 10000"/>
                <a:gd name="connsiteX2" fmla="*/ 1923 w 10000"/>
                <a:gd name="connsiteY2" fmla="*/ 1719 h 10000"/>
                <a:gd name="connsiteX3" fmla="*/ 1346 w 10000"/>
                <a:gd name="connsiteY3" fmla="*/ 1719 h 10000"/>
                <a:gd name="connsiteX4" fmla="*/ 1346 w 10000"/>
                <a:gd name="connsiteY4" fmla="*/ 2188 h 10000"/>
                <a:gd name="connsiteX5" fmla="*/ 1154 w 10000"/>
                <a:gd name="connsiteY5" fmla="*/ 2031 h 10000"/>
                <a:gd name="connsiteX6" fmla="*/ 962 w 10000"/>
                <a:gd name="connsiteY6" fmla="*/ 3906 h 10000"/>
                <a:gd name="connsiteX7" fmla="*/ 385 w 10000"/>
                <a:gd name="connsiteY7" fmla="*/ 4219 h 10000"/>
                <a:gd name="connsiteX8" fmla="*/ 192 w 10000"/>
                <a:gd name="connsiteY8" fmla="*/ 5000 h 10000"/>
                <a:gd name="connsiteX9" fmla="*/ 0 w 10000"/>
                <a:gd name="connsiteY9" fmla="*/ 5469 h 10000"/>
                <a:gd name="connsiteX10" fmla="*/ 577 w 10000"/>
                <a:gd name="connsiteY10" fmla="*/ 6406 h 10000"/>
                <a:gd name="connsiteX11" fmla="*/ 962 w 10000"/>
                <a:gd name="connsiteY11" fmla="*/ 7031 h 10000"/>
                <a:gd name="connsiteX12" fmla="*/ 1538 w 10000"/>
                <a:gd name="connsiteY12" fmla="*/ 7813 h 10000"/>
                <a:gd name="connsiteX13" fmla="*/ 2308 w 10000"/>
                <a:gd name="connsiteY13" fmla="*/ 8125 h 10000"/>
                <a:gd name="connsiteX14" fmla="*/ 3462 w 10000"/>
                <a:gd name="connsiteY14" fmla="*/ 9063 h 10000"/>
                <a:gd name="connsiteX15" fmla="*/ 3846 w 10000"/>
                <a:gd name="connsiteY15" fmla="*/ 9531 h 10000"/>
                <a:gd name="connsiteX16" fmla="*/ 4808 w 10000"/>
                <a:gd name="connsiteY16" fmla="*/ 9531 h 10000"/>
                <a:gd name="connsiteX17" fmla="*/ 5577 w 10000"/>
                <a:gd name="connsiteY17" fmla="*/ 10000 h 10000"/>
                <a:gd name="connsiteX18" fmla="*/ 6923 w 10000"/>
                <a:gd name="connsiteY18" fmla="*/ 9844 h 10000"/>
                <a:gd name="connsiteX19" fmla="*/ 7885 w 10000"/>
                <a:gd name="connsiteY19" fmla="*/ 9531 h 10000"/>
                <a:gd name="connsiteX20" fmla="*/ 8462 w 10000"/>
                <a:gd name="connsiteY20" fmla="*/ 9531 h 10000"/>
                <a:gd name="connsiteX21" fmla="*/ 8462 w 10000"/>
                <a:gd name="connsiteY21" fmla="*/ 9219 h 10000"/>
                <a:gd name="connsiteX22" fmla="*/ 8077 w 10000"/>
                <a:gd name="connsiteY22" fmla="*/ 8906 h 10000"/>
                <a:gd name="connsiteX23" fmla="*/ 7500 w 10000"/>
                <a:gd name="connsiteY23" fmla="*/ 8438 h 10000"/>
                <a:gd name="connsiteX24" fmla="*/ 6731 w 10000"/>
                <a:gd name="connsiteY24" fmla="*/ 7969 h 10000"/>
                <a:gd name="connsiteX25" fmla="*/ 6513 w 10000"/>
                <a:gd name="connsiteY25" fmla="*/ 6497 h 10000"/>
                <a:gd name="connsiteX26" fmla="*/ 6898 w 10000"/>
                <a:gd name="connsiteY26" fmla="*/ 6592 h 10000"/>
                <a:gd name="connsiteX27" fmla="*/ 7500 w 10000"/>
                <a:gd name="connsiteY27" fmla="*/ 6563 h 10000"/>
                <a:gd name="connsiteX28" fmla="*/ 8269 w 10000"/>
                <a:gd name="connsiteY28" fmla="*/ 5938 h 10000"/>
                <a:gd name="connsiteX29" fmla="*/ 8846 w 10000"/>
                <a:gd name="connsiteY29" fmla="*/ 5000 h 10000"/>
                <a:gd name="connsiteX30" fmla="*/ 9038 w 10000"/>
                <a:gd name="connsiteY30" fmla="*/ 3281 h 10000"/>
                <a:gd name="connsiteX31" fmla="*/ 9615 w 10000"/>
                <a:gd name="connsiteY31" fmla="*/ 2969 h 10000"/>
                <a:gd name="connsiteX32" fmla="*/ 10000 w 10000"/>
                <a:gd name="connsiteY32" fmla="*/ 2813 h 10000"/>
                <a:gd name="connsiteX33" fmla="*/ 9615 w 10000"/>
                <a:gd name="connsiteY33" fmla="*/ 2031 h 10000"/>
                <a:gd name="connsiteX34" fmla="*/ 9038 w 10000"/>
                <a:gd name="connsiteY34" fmla="*/ 625 h 10000"/>
                <a:gd name="connsiteX35" fmla="*/ 8462 w 10000"/>
                <a:gd name="connsiteY35" fmla="*/ 0 h 10000"/>
                <a:gd name="connsiteX36" fmla="*/ 8077 w 10000"/>
                <a:gd name="connsiteY36" fmla="*/ 313 h 10000"/>
                <a:gd name="connsiteX37" fmla="*/ 7115 w 10000"/>
                <a:gd name="connsiteY37" fmla="*/ 781 h 10000"/>
                <a:gd name="connsiteX0" fmla="*/ 7115 w 10000"/>
                <a:gd name="connsiteY0" fmla="*/ 781 h 10000"/>
                <a:gd name="connsiteX1" fmla="*/ 2115 w 10000"/>
                <a:gd name="connsiteY1" fmla="*/ 781 h 10000"/>
                <a:gd name="connsiteX2" fmla="*/ 1923 w 10000"/>
                <a:gd name="connsiteY2" fmla="*/ 1719 h 10000"/>
                <a:gd name="connsiteX3" fmla="*/ 1346 w 10000"/>
                <a:gd name="connsiteY3" fmla="*/ 1719 h 10000"/>
                <a:gd name="connsiteX4" fmla="*/ 1346 w 10000"/>
                <a:gd name="connsiteY4" fmla="*/ 2188 h 10000"/>
                <a:gd name="connsiteX5" fmla="*/ 1154 w 10000"/>
                <a:gd name="connsiteY5" fmla="*/ 2031 h 10000"/>
                <a:gd name="connsiteX6" fmla="*/ 962 w 10000"/>
                <a:gd name="connsiteY6" fmla="*/ 3906 h 10000"/>
                <a:gd name="connsiteX7" fmla="*/ 385 w 10000"/>
                <a:gd name="connsiteY7" fmla="*/ 4219 h 10000"/>
                <a:gd name="connsiteX8" fmla="*/ 192 w 10000"/>
                <a:gd name="connsiteY8" fmla="*/ 5000 h 10000"/>
                <a:gd name="connsiteX9" fmla="*/ 0 w 10000"/>
                <a:gd name="connsiteY9" fmla="*/ 5469 h 10000"/>
                <a:gd name="connsiteX10" fmla="*/ 577 w 10000"/>
                <a:gd name="connsiteY10" fmla="*/ 6406 h 10000"/>
                <a:gd name="connsiteX11" fmla="*/ 962 w 10000"/>
                <a:gd name="connsiteY11" fmla="*/ 7031 h 10000"/>
                <a:gd name="connsiteX12" fmla="*/ 1538 w 10000"/>
                <a:gd name="connsiteY12" fmla="*/ 7813 h 10000"/>
                <a:gd name="connsiteX13" fmla="*/ 2308 w 10000"/>
                <a:gd name="connsiteY13" fmla="*/ 8125 h 10000"/>
                <a:gd name="connsiteX14" fmla="*/ 3462 w 10000"/>
                <a:gd name="connsiteY14" fmla="*/ 9063 h 10000"/>
                <a:gd name="connsiteX15" fmla="*/ 3846 w 10000"/>
                <a:gd name="connsiteY15" fmla="*/ 9531 h 10000"/>
                <a:gd name="connsiteX16" fmla="*/ 4808 w 10000"/>
                <a:gd name="connsiteY16" fmla="*/ 9531 h 10000"/>
                <a:gd name="connsiteX17" fmla="*/ 5577 w 10000"/>
                <a:gd name="connsiteY17" fmla="*/ 10000 h 10000"/>
                <a:gd name="connsiteX18" fmla="*/ 6923 w 10000"/>
                <a:gd name="connsiteY18" fmla="*/ 9844 h 10000"/>
                <a:gd name="connsiteX19" fmla="*/ 7885 w 10000"/>
                <a:gd name="connsiteY19" fmla="*/ 9531 h 10000"/>
                <a:gd name="connsiteX20" fmla="*/ 8462 w 10000"/>
                <a:gd name="connsiteY20" fmla="*/ 9531 h 10000"/>
                <a:gd name="connsiteX21" fmla="*/ 8462 w 10000"/>
                <a:gd name="connsiteY21" fmla="*/ 9219 h 10000"/>
                <a:gd name="connsiteX22" fmla="*/ 8077 w 10000"/>
                <a:gd name="connsiteY22" fmla="*/ 8906 h 10000"/>
                <a:gd name="connsiteX23" fmla="*/ 7500 w 10000"/>
                <a:gd name="connsiteY23" fmla="*/ 8438 h 10000"/>
                <a:gd name="connsiteX24" fmla="*/ 6731 w 10000"/>
                <a:gd name="connsiteY24" fmla="*/ 7969 h 10000"/>
                <a:gd name="connsiteX25" fmla="*/ 6454 w 10000"/>
                <a:gd name="connsiteY25" fmla="*/ 5542 h 10000"/>
                <a:gd name="connsiteX26" fmla="*/ 6898 w 10000"/>
                <a:gd name="connsiteY26" fmla="*/ 6592 h 10000"/>
                <a:gd name="connsiteX27" fmla="*/ 7500 w 10000"/>
                <a:gd name="connsiteY27" fmla="*/ 6563 h 10000"/>
                <a:gd name="connsiteX28" fmla="*/ 8269 w 10000"/>
                <a:gd name="connsiteY28" fmla="*/ 5938 h 10000"/>
                <a:gd name="connsiteX29" fmla="*/ 8846 w 10000"/>
                <a:gd name="connsiteY29" fmla="*/ 5000 h 10000"/>
                <a:gd name="connsiteX30" fmla="*/ 9038 w 10000"/>
                <a:gd name="connsiteY30" fmla="*/ 3281 h 10000"/>
                <a:gd name="connsiteX31" fmla="*/ 9615 w 10000"/>
                <a:gd name="connsiteY31" fmla="*/ 2969 h 10000"/>
                <a:gd name="connsiteX32" fmla="*/ 10000 w 10000"/>
                <a:gd name="connsiteY32" fmla="*/ 2813 h 10000"/>
                <a:gd name="connsiteX33" fmla="*/ 9615 w 10000"/>
                <a:gd name="connsiteY33" fmla="*/ 2031 h 10000"/>
                <a:gd name="connsiteX34" fmla="*/ 9038 w 10000"/>
                <a:gd name="connsiteY34" fmla="*/ 625 h 10000"/>
                <a:gd name="connsiteX35" fmla="*/ 8462 w 10000"/>
                <a:gd name="connsiteY35" fmla="*/ 0 h 10000"/>
                <a:gd name="connsiteX36" fmla="*/ 8077 w 10000"/>
                <a:gd name="connsiteY36" fmla="*/ 313 h 10000"/>
                <a:gd name="connsiteX37" fmla="*/ 7115 w 10000"/>
                <a:gd name="connsiteY37" fmla="*/ 781 h 10000"/>
                <a:gd name="connsiteX0" fmla="*/ 7115 w 10000"/>
                <a:gd name="connsiteY0" fmla="*/ 781 h 10000"/>
                <a:gd name="connsiteX1" fmla="*/ 2115 w 10000"/>
                <a:gd name="connsiteY1" fmla="*/ 781 h 10000"/>
                <a:gd name="connsiteX2" fmla="*/ 1923 w 10000"/>
                <a:gd name="connsiteY2" fmla="*/ 1719 h 10000"/>
                <a:gd name="connsiteX3" fmla="*/ 1346 w 10000"/>
                <a:gd name="connsiteY3" fmla="*/ 1719 h 10000"/>
                <a:gd name="connsiteX4" fmla="*/ 1346 w 10000"/>
                <a:gd name="connsiteY4" fmla="*/ 2188 h 10000"/>
                <a:gd name="connsiteX5" fmla="*/ 1154 w 10000"/>
                <a:gd name="connsiteY5" fmla="*/ 2031 h 10000"/>
                <a:gd name="connsiteX6" fmla="*/ 962 w 10000"/>
                <a:gd name="connsiteY6" fmla="*/ 3906 h 10000"/>
                <a:gd name="connsiteX7" fmla="*/ 385 w 10000"/>
                <a:gd name="connsiteY7" fmla="*/ 4219 h 10000"/>
                <a:gd name="connsiteX8" fmla="*/ 192 w 10000"/>
                <a:gd name="connsiteY8" fmla="*/ 5000 h 10000"/>
                <a:gd name="connsiteX9" fmla="*/ 0 w 10000"/>
                <a:gd name="connsiteY9" fmla="*/ 5469 h 10000"/>
                <a:gd name="connsiteX10" fmla="*/ 577 w 10000"/>
                <a:gd name="connsiteY10" fmla="*/ 6406 h 10000"/>
                <a:gd name="connsiteX11" fmla="*/ 962 w 10000"/>
                <a:gd name="connsiteY11" fmla="*/ 7031 h 10000"/>
                <a:gd name="connsiteX12" fmla="*/ 1538 w 10000"/>
                <a:gd name="connsiteY12" fmla="*/ 7813 h 10000"/>
                <a:gd name="connsiteX13" fmla="*/ 2308 w 10000"/>
                <a:gd name="connsiteY13" fmla="*/ 8125 h 10000"/>
                <a:gd name="connsiteX14" fmla="*/ 3462 w 10000"/>
                <a:gd name="connsiteY14" fmla="*/ 9063 h 10000"/>
                <a:gd name="connsiteX15" fmla="*/ 3846 w 10000"/>
                <a:gd name="connsiteY15" fmla="*/ 9531 h 10000"/>
                <a:gd name="connsiteX16" fmla="*/ 4808 w 10000"/>
                <a:gd name="connsiteY16" fmla="*/ 9531 h 10000"/>
                <a:gd name="connsiteX17" fmla="*/ 5577 w 10000"/>
                <a:gd name="connsiteY17" fmla="*/ 10000 h 10000"/>
                <a:gd name="connsiteX18" fmla="*/ 6923 w 10000"/>
                <a:gd name="connsiteY18" fmla="*/ 9844 h 10000"/>
                <a:gd name="connsiteX19" fmla="*/ 7885 w 10000"/>
                <a:gd name="connsiteY19" fmla="*/ 9531 h 10000"/>
                <a:gd name="connsiteX20" fmla="*/ 8462 w 10000"/>
                <a:gd name="connsiteY20" fmla="*/ 9531 h 10000"/>
                <a:gd name="connsiteX21" fmla="*/ 8462 w 10000"/>
                <a:gd name="connsiteY21" fmla="*/ 9219 h 10000"/>
                <a:gd name="connsiteX22" fmla="*/ 8077 w 10000"/>
                <a:gd name="connsiteY22" fmla="*/ 8906 h 10000"/>
                <a:gd name="connsiteX23" fmla="*/ 7500 w 10000"/>
                <a:gd name="connsiteY23" fmla="*/ 8438 h 10000"/>
                <a:gd name="connsiteX24" fmla="*/ 6262 w 10000"/>
                <a:gd name="connsiteY24" fmla="*/ 5580 h 10000"/>
                <a:gd name="connsiteX25" fmla="*/ 6454 w 10000"/>
                <a:gd name="connsiteY25" fmla="*/ 5542 h 10000"/>
                <a:gd name="connsiteX26" fmla="*/ 6898 w 10000"/>
                <a:gd name="connsiteY26" fmla="*/ 6592 h 10000"/>
                <a:gd name="connsiteX27" fmla="*/ 7500 w 10000"/>
                <a:gd name="connsiteY27" fmla="*/ 6563 h 10000"/>
                <a:gd name="connsiteX28" fmla="*/ 8269 w 10000"/>
                <a:gd name="connsiteY28" fmla="*/ 5938 h 10000"/>
                <a:gd name="connsiteX29" fmla="*/ 8846 w 10000"/>
                <a:gd name="connsiteY29" fmla="*/ 5000 h 10000"/>
                <a:gd name="connsiteX30" fmla="*/ 9038 w 10000"/>
                <a:gd name="connsiteY30" fmla="*/ 3281 h 10000"/>
                <a:gd name="connsiteX31" fmla="*/ 9615 w 10000"/>
                <a:gd name="connsiteY31" fmla="*/ 2969 h 10000"/>
                <a:gd name="connsiteX32" fmla="*/ 10000 w 10000"/>
                <a:gd name="connsiteY32" fmla="*/ 2813 h 10000"/>
                <a:gd name="connsiteX33" fmla="*/ 9615 w 10000"/>
                <a:gd name="connsiteY33" fmla="*/ 2031 h 10000"/>
                <a:gd name="connsiteX34" fmla="*/ 9038 w 10000"/>
                <a:gd name="connsiteY34" fmla="*/ 625 h 10000"/>
                <a:gd name="connsiteX35" fmla="*/ 8462 w 10000"/>
                <a:gd name="connsiteY35" fmla="*/ 0 h 10000"/>
                <a:gd name="connsiteX36" fmla="*/ 8077 w 10000"/>
                <a:gd name="connsiteY36" fmla="*/ 313 h 10000"/>
                <a:gd name="connsiteX37" fmla="*/ 7115 w 10000"/>
                <a:gd name="connsiteY37" fmla="*/ 781 h 10000"/>
                <a:gd name="connsiteX0" fmla="*/ 7115 w 10000"/>
                <a:gd name="connsiteY0" fmla="*/ 781 h 10000"/>
                <a:gd name="connsiteX1" fmla="*/ 2115 w 10000"/>
                <a:gd name="connsiteY1" fmla="*/ 781 h 10000"/>
                <a:gd name="connsiteX2" fmla="*/ 1923 w 10000"/>
                <a:gd name="connsiteY2" fmla="*/ 1719 h 10000"/>
                <a:gd name="connsiteX3" fmla="*/ 1346 w 10000"/>
                <a:gd name="connsiteY3" fmla="*/ 1719 h 10000"/>
                <a:gd name="connsiteX4" fmla="*/ 1346 w 10000"/>
                <a:gd name="connsiteY4" fmla="*/ 2188 h 10000"/>
                <a:gd name="connsiteX5" fmla="*/ 1154 w 10000"/>
                <a:gd name="connsiteY5" fmla="*/ 2031 h 10000"/>
                <a:gd name="connsiteX6" fmla="*/ 962 w 10000"/>
                <a:gd name="connsiteY6" fmla="*/ 3906 h 10000"/>
                <a:gd name="connsiteX7" fmla="*/ 385 w 10000"/>
                <a:gd name="connsiteY7" fmla="*/ 4219 h 10000"/>
                <a:gd name="connsiteX8" fmla="*/ 192 w 10000"/>
                <a:gd name="connsiteY8" fmla="*/ 5000 h 10000"/>
                <a:gd name="connsiteX9" fmla="*/ 0 w 10000"/>
                <a:gd name="connsiteY9" fmla="*/ 5469 h 10000"/>
                <a:gd name="connsiteX10" fmla="*/ 577 w 10000"/>
                <a:gd name="connsiteY10" fmla="*/ 6406 h 10000"/>
                <a:gd name="connsiteX11" fmla="*/ 962 w 10000"/>
                <a:gd name="connsiteY11" fmla="*/ 7031 h 10000"/>
                <a:gd name="connsiteX12" fmla="*/ 1538 w 10000"/>
                <a:gd name="connsiteY12" fmla="*/ 7813 h 10000"/>
                <a:gd name="connsiteX13" fmla="*/ 2308 w 10000"/>
                <a:gd name="connsiteY13" fmla="*/ 8125 h 10000"/>
                <a:gd name="connsiteX14" fmla="*/ 3462 w 10000"/>
                <a:gd name="connsiteY14" fmla="*/ 9063 h 10000"/>
                <a:gd name="connsiteX15" fmla="*/ 3846 w 10000"/>
                <a:gd name="connsiteY15" fmla="*/ 9531 h 10000"/>
                <a:gd name="connsiteX16" fmla="*/ 4808 w 10000"/>
                <a:gd name="connsiteY16" fmla="*/ 9531 h 10000"/>
                <a:gd name="connsiteX17" fmla="*/ 5577 w 10000"/>
                <a:gd name="connsiteY17" fmla="*/ 10000 h 10000"/>
                <a:gd name="connsiteX18" fmla="*/ 6923 w 10000"/>
                <a:gd name="connsiteY18" fmla="*/ 9844 h 10000"/>
                <a:gd name="connsiteX19" fmla="*/ 7885 w 10000"/>
                <a:gd name="connsiteY19" fmla="*/ 9531 h 10000"/>
                <a:gd name="connsiteX20" fmla="*/ 8462 w 10000"/>
                <a:gd name="connsiteY20" fmla="*/ 9531 h 10000"/>
                <a:gd name="connsiteX21" fmla="*/ 8462 w 10000"/>
                <a:gd name="connsiteY21" fmla="*/ 9219 h 10000"/>
                <a:gd name="connsiteX22" fmla="*/ 8077 w 10000"/>
                <a:gd name="connsiteY22" fmla="*/ 8906 h 10000"/>
                <a:gd name="connsiteX23" fmla="*/ 5801 w 10000"/>
                <a:gd name="connsiteY23" fmla="*/ 6814 h 10000"/>
                <a:gd name="connsiteX24" fmla="*/ 6262 w 10000"/>
                <a:gd name="connsiteY24" fmla="*/ 5580 h 10000"/>
                <a:gd name="connsiteX25" fmla="*/ 6454 w 10000"/>
                <a:gd name="connsiteY25" fmla="*/ 5542 h 10000"/>
                <a:gd name="connsiteX26" fmla="*/ 6898 w 10000"/>
                <a:gd name="connsiteY26" fmla="*/ 6592 h 10000"/>
                <a:gd name="connsiteX27" fmla="*/ 7500 w 10000"/>
                <a:gd name="connsiteY27" fmla="*/ 6563 h 10000"/>
                <a:gd name="connsiteX28" fmla="*/ 8269 w 10000"/>
                <a:gd name="connsiteY28" fmla="*/ 5938 h 10000"/>
                <a:gd name="connsiteX29" fmla="*/ 8846 w 10000"/>
                <a:gd name="connsiteY29" fmla="*/ 5000 h 10000"/>
                <a:gd name="connsiteX30" fmla="*/ 9038 w 10000"/>
                <a:gd name="connsiteY30" fmla="*/ 3281 h 10000"/>
                <a:gd name="connsiteX31" fmla="*/ 9615 w 10000"/>
                <a:gd name="connsiteY31" fmla="*/ 2969 h 10000"/>
                <a:gd name="connsiteX32" fmla="*/ 10000 w 10000"/>
                <a:gd name="connsiteY32" fmla="*/ 2813 h 10000"/>
                <a:gd name="connsiteX33" fmla="*/ 9615 w 10000"/>
                <a:gd name="connsiteY33" fmla="*/ 2031 h 10000"/>
                <a:gd name="connsiteX34" fmla="*/ 9038 w 10000"/>
                <a:gd name="connsiteY34" fmla="*/ 625 h 10000"/>
                <a:gd name="connsiteX35" fmla="*/ 8462 w 10000"/>
                <a:gd name="connsiteY35" fmla="*/ 0 h 10000"/>
                <a:gd name="connsiteX36" fmla="*/ 8077 w 10000"/>
                <a:gd name="connsiteY36" fmla="*/ 313 h 10000"/>
                <a:gd name="connsiteX37" fmla="*/ 7115 w 10000"/>
                <a:gd name="connsiteY37" fmla="*/ 781 h 10000"/>
                <a:gd name="connsiteX0" fmla="*/ 7115 w 10000"/>
                <a:gd name="connsiteY0" fmla="*/ 781 h 10000"/>
                <a:gd name="connsiteX1" fmla="*/ 2115 w 10000"/>
                <a:gd name="connsiteY1" fmla="*/ 781 h 10000"/>
                <a:gd name="connsiteX2" fmla="*/ 1923 w 10000"/>
                <a:gd name="connsiteY2" fmla="*/ 1719 h 10000"/>
                <a:gd name="connsiteX3" fmla="*/ 1346 w 10000"/>
                <a:gd name="connsiteY3" fmla="*/ 1719 h 10000"/>
                <a:gd name="connsiteX4" fmla="*/ 1346 w 10000"/>
                <a:gd name="connsiteY4" fmla="*/ 2188 h 10000"/>
                <a:gd name="connsiteX5" fmla="*/ 1154 w 10000"/>
                <a:gd name="connsiteY5" fmla="*/ 2031 h 10000"/>
                <a:gd name="connsiteX6" fmla="*/ 962 w 10000"/>
                <a:gd name="connsiteY6" fmla="*/ 3906 h 10000"/>
                <a:gd name="connsiteX7" fmla="*/ 385 w 10000"/>
                <a:gd name="connsiteY7" fmla="*/ 4219 h 10000"/>
                <a:gd name="connsiteX8" fmla="*/ 192 w 10000"/>
                <a:gd name="connsiteY8" fmla="*/ 5000 h 10000"/>
                <a:gd name="connsiteX9" fmla="*/ 0 w 10000"/>
                <a:gd name="connsiteY9" fmla="*/ 5469 h 10000"/>
                <a:gd name="connsiteX10" fmla="*/ 577 w 10000"/>
                <a:gd name="connsiteY10" fmla="*/ 6406 h 10000"/>
                <a:gd name="connsiteX11" fmla="*/ 962 w 10000"/>
                <a:gd name="connsiteY11" fmla="*/ 7031 h 10000"/>
                <a:gd name="connsiteX12" fmla="*/ 1538 w 10000"/>
                <a:gd name="connsiteY12" fmla="*/ 7813 h 10000"/>
                <a:gd name="connsiteX13" fmla="*/ 2308 w 10000"/>
                <a:gd name="connsiteY13" fmla="*/ 8125 h 10000"/>
                <a:gd name="connsiteX14" fmla="*/ 3462 w 10000"/>
                <a:gd name="connsiteY14" fmla="*/ 9063 h 10000"/>
                <a:gd name="connsiteX15" fmla="*/ 3846 w 10000"/>
                <a:gd name="connsiteY15" fmla="*/ 9531 h 10000"/>
                <a:gd name="connsiteX16" fmla="*/ 4808 w 10000"/>
                <a:gd name="connsiteY16" fmla="*/ 9531 h 10000"/>
                <a:gd name="connsiteX17" fmla="*/ 5577 w 10000"/>
                <a:gd name="connsiteY17" fmla="*/ 10000 h 10000"/>
                <a:gd name="connsiteX18" fmla="*/ 6923 w 10000"/>
                <a:gd name="connsiteY18" fmla="*/ 9844 h 10000"/>
                <a:gd name="connsiteX19" fmla="*/ 7885 w 10000"/>
                <a:gd name="connsiteY19" fmla="*/ 9531 h 10000"/>
                <a:gd name="connsiteX20" fmla="*/ 8462 w 10000"/>
                <a:gd name="connsiteY20" fmla="*/ 9531 h 10000"/>
                <a:gd name="connsiteX21" fmla="*/ 8462 w 10000"/>
                <a:gd name="connsiteY21" fmla="*/ 9219 h 10000"/>
                <a:gd name="connsiteX22" fmla="*/ 8077 w 10000"/>
                <a:gd name="connsiteY22" fmla="*/ 8906 h 10000"/>
                <a:gd name="connsiteX23" fmla="*/ 5020 w 10000"/>
                <a:gd name="connsiteY23" fmla="*/ 6338 h 10000"/>
                <a:gd name="connsiteX24" fmla="*/ 5801 w 10000"/>
                <a:gd name="connsiteY24" fmla="*/ 6814 h 10000"/>
                <a:gd name="connsiteX25" fmla="*/ 6262 w 10000"/>
                <a:gd name="connsiteY25" fmla="*/ 5580 h 10000"/>
                <a:gd name="connsiteX26" fmla="*/ 6454 w 10000"/>
                <a:gd name="connsiteY26" fmla="*/ 5542 h 10000"/>
                <a:gd name="connsiteX27" fmla="*/ 6898 w 10000"/>
                <a:gd name="connsiteY27" fmla="*/ 6592 h 10000"/>
                <a:gd name="connsiteX28" fmla="*/ 7500 w 10000"/>
                <a:gd name="connsiteY28" fmla="*/ 6563 h 10000"/>
                <a:gd name="connsiteX29" fmla="*/ 8269 w 10000"/>
                <a:gd name="connsiteY29" fmla="*/ 5938 h 10000"/>
                <a:gd name="connsiteX30" fmla="*/ 8846 w 10000"/>
                <a:gd name="connsiteY30" fmla="*/ 5000 h 10000"/>
                <a:gd name="connsiteX31" fmla="*/ 9038 w 10000"/>
                <a:gd name="connsiteY31" fmla="*/ 3281 h 10000"/>
                <a:gd name="connsiteX32" fmla="*/ 9615 w 10000"/>
                <a:gd name="connsiteY32" fmla="*/ 2969 h 10000"/>
                <a:gd name="connsiteX33" fmla="*/ 10000 w 10000"/>
                <a:gd name="connsiteY33" fmla="*/ 2813 h 10000"/>
                <a:gd name="connsiteX34" fmla="*/ 9615 w 10000"/>
                <a:gd name="connsiteY34" fmla="*/ 2031 h 10000"/>
                <a:gd name="connsiteX35" fmla="*/ 9038 w 10000"/>
                <a:gd name="connsiteY35" fmla="*/ 625 h 10000"/>
                <a:gd name="connsiteX36" fmla="*/ 8462 w 10000"/>
                <a:gd name="connsiteY36" fmla="*/ 0 h 10000"/>
                <a:gd name="connsiteX37" fmla="*/ 8077 w 10000"/>
                <a:gd name="connsiteY37" fmla="*/ 313 h 10000"/>
                <a:gd name="connsiteX38" fmla="*/ 7115 w 10000"/>
                <a:gd name="connsiteY38" fmla="*/ 781 h 10000"/>
                <a:gd name="connsiteX0" fmla="*/ 7115 w 10000"/>
                <a:gd name="connsiteY0" fmla="*/ 781 h 10000"/>
                <a:gd name="connsiteX1" fmla="*/ 2115 w 10000"/>
                <a:gd name="connsiteY1" fmla="*/ 781 h 10000"/>
                <a:gd name="connsiteX2" fmla="*/ 1923 w 10000"/>
                <a:gd name="connsiteY2" fmla="*/ 1719 h 10000"/>
                <a:gd name="connsiteX3" fmla="*/ 1346 w 10000"/>
                <a:gd name="connsiteY3" fmla="*/ 1719 h 10000"/>
                <a:gd name="connsiteX4" fmla="*/ 1346 w 10000"/>
                <a:gd name="connsiteY4" fmla="*/ 2188 h 10000"/>
                <a:gd name="connsiteX5" fmla="*/ 1154 w 10000"/>
                <a:gd name="connsiteY5" fmla="*/ 2031 h 10000"/>
                <a:gd name="connsiteX6" fmla="*/ 962 w 10000"/>
                <a:gd name="connsiteY6" fmla="*/ 3906 h 10000"/>
                <a:gd name="connsiteX7" fmla="*/ 385 w 10000"/>
                <a:gd name="connsiteY7" fmla="*/ 4219 h 10000"/>
                <a:gd name="connsiteX8" fmla="*/ 192 w 10000"/>
                <a:gd name="connsiteY8" fmla="*/ 5000 h 10000"/>
                <a:gd name="connsiteX9" fmla="*/ 0 w 10000"/>
                <a:gd name="connsiteY9" fmla="*/ 5469 h 10000"/>
                <a:gd name="connsiteX10" fmla="*/ 577 w 10000"/>
                <a:gd name="connsiteY10" fmla="*/ 6406 h 10000"/>
                <a:gd name="connsiteX11" fmla="*/ 962 w 10000"/>
                <a:gd name="connsiteY11" fmla="*/ 7031 h 10000"/>
                <a:gd name="connsiteX12" fmla="*/ 1538 w 10000"/>
                <a:gd name="connsiteY12" fmla="*/ 7813 h 10000"/>
                <a:gd name="connsiteX13" fmla="*/ 2308 w 10000"/>
                <a:gd name="connsiteY13" fmla="*/ 8125 h 10000"/>
                <a:gd name="connsiteX14" fmla="*/ 3462 w 10000"/>
                <a:gd name="connsiteY14" fmla="*/ 9063 h 10000"/>
                <a:gd name="connsiteX15" fmla="*/ 3846 w 10000"/>
                <a:gd name="connsiteY15" fmla="*/ 9531 h 10000"/>
                <a:gd name="connsiteX16" fmla="*/ 4808 w 10000"/>
                <a:gd name="connsiteY16" fmla="*/ 9531 h 10000"/>
                <a:gd name="connsiteX17" fmla="*/ 5577 w 10000"/>
                <a:gd name="connsiteY17" fmla="*/ 10000 h 10000"/>
                <a:gd name="connsiteX18" fmla="*/ 6923 w 10000"/>
                <a:gd name="connsiteY18" fmla="*/ 9844 h 10000"/>
                <a:gd name="connsiteX19" fmla="*/ 7885 w 10000"/>
                <a:gd name="connsiteY19" fmla="*/ 9531 h 10000"/>
                <a:gd name="connsiteX20" fmla="*/ 8462 w 10000"/>
                <a:gd name="connsiteY20" fmla="*/ 9531 h 10000"/>
                <a:gd name="connsiteX21" fmla="*/ 8462 w 10000"/>
                <a:gd name="connsiteY21" fmla="*/ 9219 h 10000"/>
                <a:gd name="connsiteX22" fmla="*/ 8077 w 10000"/>
                <a:gd name="connsiteY22" fmla="*/ 8906 h 10000"/>
                <a:gd name="connsiteX23" fmla="*/ 5020 w 10000"/>
                <a:gd name="connsiteY23" fmla="*/ 6338 h 10000"/>
                <a:gd name="connsiteX24" fmla="*/ 5567 w 10000"/>
                <a:gd name="connsiteY24" fmla="*/ 6910 h 10000"/>
                <a:gd name="connsiteX25" fmla="*/ 6262 w 10000"/>
                <a:gd name="connsiteY25" fmla="*/ 5580 h 10000"/>
                <a:gd name="connsiteX26" fmla="*/ 6454 w 10000"/>
                <a:gd name="connsiteY26" fmla="*/ 5542 h 10000"/>
                <a:gd name="connsiteX27" fmla="*/ 6898 w 10000"/>
                <a:gd name="connsiteY27" fmla="*/ 6592 h 10000"/>
                <a:gd name="connsiteX28" fmla="*/ 7500 w 10000"/>
                <a:gd name="connsiteY28" fmla="*/ 6563 h 10000"/>
                <a:gd name="connsiteX29" fmla="*/ 8269 w 10000"/>
                <a:gd name="connsiteY29" fmla="*/ 5938 h 10000"/>
                <a:gd name="connsiteX30" fmla="*/ 8846 w 10000"/>
                <a:gd name="connsiteY30" fmla="*/ 5000 h 10000"/>
                <a:gd name="connsiteX31" fmla="*/ 9038 w 10000"/>
                <a:gd name="connsiteY31" fmla="*/ 3281 h 10000"/>
                <a:gd name="connsiteX32" fmla="*/ 9615 w 10000"/>
                <a:gd name="connsiteY32" fmla="*/ 2969 h 10000"/>
                <a:gd name="connsiteX33" fmla="*/ 10000 w 10000"/>
                <a:gd name="connsiteY33" fmla="*/ 2813 h 10000"/>
                <a:gd name="connsiteX34" fmla="*/ 9615 w 10000"/>
                <a:gd name="connsiteY34" fmla="*/ 2031 h 10000"/>
                <a:gd name="connsiteX35" fmla="*/ 9038 w 10000"/>
                <a:gd name="connsiteY35" fmla="*/ 625 h 10000"/>
                <a:gd name="connsiteX36" fmla="*/ 8462 w 10000"/>
                <a:gd name="connsiteY36" fmla="*/ 0 h 10000"/>
                <a:gd name="connsiteX37" fmla="*/ 8077 w 10000"/>
                <a:gd name="connsiteY37" fmla="*/ 313 h 10000"/>
                <a:gd name="connsiteX38" fmla="*/ 7115 w 10000"/>
                <a:gd name="connsiteY38" fmla="*/ 781 h 10000"/>
                <a:gd name="connsiteX0" fmla="*/ 7115 w 10000"/>
                <a:gd name="connsiteY0" fmla="*/ 781 h 10000"/>
                <a:gd name="connsiteX1" fmla="*/ 2115 w 10000"/>
                <a:gd name="connsiteY1" fmla="*/ 781 h 10000"/>
                <a:gd name="connsiteX2" fmla="*/ 1923 w 10000"/>
                <a:gd name="connsiteY2" fmla="*/ 1719 h 10000"/>
                <a:gd name="connsiteX3" fmla="*/ 1346 w 10000"/>
                <a:gd name="connsiteY3" fmla="*/ 1719 h 10000"/>
                <a:gd name="connsiteX4" fmla="*/ 1346 w 10000"/>
                <a:gd name="connsiteY4" fmla="*/ 2188 h 10000"/>
                <a:gd name="connsiteX5" fmla="*/ 1154 w 10000"/>
                <a:gd name="connsiteY5" fmla="*/ 2031 h 10000"/>
                <a:gd name="connsiteX6" fmla="*/ 962 w 10000"/>
                <a:gd name="connsiteY6" fmla="*/ 3906 h 10000"/>
                <a:gd name="connsiteX7" fmla="*/ 385 w 10000"/>
                <a:gd name="connsiteY7" fmla="*/ 4219 h 10000"/>
                <a:gd name="connsiteX8" fmla="*/ 192 w 10000"/>
                <a:gd name="connsiteY8" fmla="*/ 5000 h 10000"/>
                <a:gd name="connsiteX9" fmla="*/ 0 w 10000"/>
                <a:gd name="connsiteY9" fmla="*/ 5469 h 10000"/>
                <a:gd name="connsiteX10" fmla="*/ 577 w 10000"/>
                <a:gd name="connsiteY10" fmla="*/ 6406 h 10000"/>
                <a:gd name="connsiteX11" fmla="*/ 962 w 10000"/>
                <a:gd name="connsiteY11" fmla="*/ 7031 h 10000"/>
                <a:gd name="connsiteX12" fmla="*/ 1538 w 10000"/>
                <a:gd name="connsiteY12" fmla="*/ 7813 h 10000"/>
                <a:gd name="connsiteX13" fmla="*/ 2308 w 10000"/>
                <a:gd name="connsiteY13" fmla="*/ 8125 h 10000"/>
                <a:gd name="connsiteX14" fmla="*/ 3462 w 10000"/>
                <a:gd name="connsiteY14" fmla="*/ 9063 h 10000"/>
                <a:gd name="connsiteX15" fmla="*/ 3846 w 10000"/>
                <a:gd name="connsiteY15" fmla="*/ 9531 h 10000"/>
                <a:gd name="connsiteX16" fmla="*/ 4808 w 10000"/>
                <a:gd name="connsiteY16" fmla="*/ 9531 h 10000"/>
                <a:gd name="connsiteX17" fmla="*/ 5577 w 10000"/>
                <a:gd name="connsiteY17" fmla="*/ 10000 h 10000"/>
                <a:gd name="connsiteX18" fmla="*/ 6923 w 10000"/>
                <a:gd name="connsiteY18" fmla="*/ 9844 h 10000"/>
                <a:gd name="connsiteX19" fmla="*/ 7885 w 10000"/>
                <a:gd name="connsiteY19" fmla="*/ 9531 h 10000"/>
                <a:gd name="connsiteX20" fmla="*/ 8462 w 10000"/>
                <a:gd name="connsiteY20" fmla="*/ 9531 h 10000"/>
                <a:gd name="connsiteX21" fmla="*/ 8462 w 10000"/>
                <a:gd name="connsiteY21" fmla="*/ 9219 h 10000"/>
                <a:gd name="connsiteX22" fmla="*/ 4620 w 10000"/>
                <a:gd name="connsiteY22" fmla="*/ 7043 h 10000"/>
                <a:gd name="connsiteX23" fmla="*/ 5020 w 10000"/>
                <a:gd name="connsiteY23" fmla="*/ 6338 h 10000"/>
                <a:gd name="connsiteX24" fmla="*/ 5567 w 10000"/>
                <a:gd name="connsiteY24" fmla="*/ 6910 h 10000"/>
                <a:gd name="connsiteX25" fmla="*/ 6262 w 10000"/>
                <a:gd name="connsiteY25" fmla="*/ 5580 h 10000"/>
                <a:gd name="connsiteX26" fmla="*/ 6454 w 10000"/>
                <a:gd name="connsiteY26" fmla="*/ 5542 h 10000"/>
                <a:gd name="connsiteX27" fmla="*/ 6898 w 10000"/>
                <a:gd name="connsiteY27" fmla="*/ 6592 h 10000"/>
                <a:gd name="connsiteX28" fmla="*/ 7500 w 10000"/>
                <a:gd name="connsiteY28" fmla="*/ 6563 h 10000"/>
                <a:gd name="connsiteX29" fmla="*/ 8269 w 10000"/>
                <a:gd name="connsiteY29" fmla="*/ 5938 h 10000"/>
                <a:gd name="connsiteX30" fmla="*/ 8846 w 10000"/>
                <a:gd name="connsiteY30" fmla="*/ 5000 h 10000"/>
                <a:gd name="connsiteX31" fmla="*/ 9038 w 10000"/>
                <a:gd name="connsiteY31" fmla="*/ 3281 h 10000"/>
                <a:gd name="connsiteX32" fmla="*/ 9615 w 10000"/>
                <a:gd name="connsiteY32" fmla="*/ 2969 h 10000"/>
                <a:gd name="connsiteX33" fmla="*/ 10000 w 10000"/>
                <a:gd name="connsiteY33" fmla="*/ 2813 h 10000"/>
                <a:gd name="connsiteX34" fmla="*/ 9615 w 10000"/>
                <a:gd name="connsiteY34" fmla="*/ 2031 h 10000"/>
                <a:gd name="connsiteX35" fmla="*/ 9038 w 10000"/>
                <a:gd name="connsiteY35" fmla="*/ 625 h 10000"/>
                <a:gd name="connsiteX36" fmla="*/ 8462 w 10000"/>
                <a:gd name="connsiteY36" fmla="*/ 0 h 10000"/>
                <a:gd name="connsiteX37" fmla="*/ 8077 w 10000"/>
                <a:gd name="connsiteY37" fmla="*/ 313 h 10000"/>
                <a:gd name="connsiteX38" fmla="*/ 7115 w 10000"/>
                <a:gd name="connsiteY38" fmla="*/ 781 h 10000"/>
                <a:gd name="connsiteX0" fmla="*/ 7115 w 10000"/>
                <a:gd name="connsiteY0" fmla="*/ 781 h 10000"/>
                <a:gd name="connsiteX1" fmla="*/ 2115 w 10000"/>
                <a:gd name="connsiteY1" fmla="*/ 781 h 10000"/>
                <a:gd name="connsiteX2" fmla="*/ 1923 w 10000"/>
                <a:gd name="connsiteY2" fmla="*/ 1719 h 10000"/>
                <a:gd name="connsiteX3" fmla="*/ 1346 w 10000"/>
                <a:gd name="connsiteY3" fmla="*/ 1719 h 10000"/>
                <a:gd name="connsiteX4" fmla="*/ 1346 w 10000"/>
                <a:gd name="connsiteY4" fmla="*/ 2188 h 10000"/>
                <a:gd name="connsiteX5" fmla="*/ 1154 w 10000"/>
                <a:gd name="connsiteY5" fmla="*/ 2031 h 10000"/>
                <a:gd name="connsiteX6" fmla="*/ 962 w 10000"/>
                <a:gd name="connsiteY6" fmla="*/ 3906 h 10000"/>
                <a:gd name="connsiteX7" fmla="*/ 385 w 10000"/>
                <a:gd name="connsiteY7" fmla="*/ 4219 h 10000"/>
                <a:gd name="connsiteX8" fmla="*/ 192 w 10000"/>
                <a:gd name="connsiteY8" fmla="*/ 5000 h 10000"/>
                <a:gd name="connsiteX9" fmla="*/ 0 w 10000"/>
                <a:gd name="connsiteY9" fmla="*/ 5469 h 10000"/>
                <a:gd name="connsiteX10" fmla="*/ 577 w 10000"/>
                <a:gd name="connsiteY10" fmla="*/ 6406 h 10000"/>
                <a:gd name="connsiteX11" fmla="*/ 962 w 10000"/>
                <a:gd name="connsiteY11" fmla="*/ 7031 h 10000"/>
                <a:gd name="connsiteX12" fmla="*/ 1538 w 10000"/>
                <a:gd name="connsiteY12" fmla="*/ 7813 h 10000"/>
                <a:gd name="connsiteX13" fmla="*/ 2308 w 10000"/>
                <a:gd name="connsiteY13" fmla="*/ 8125 h 10000"/>
                <a:gd name="connsiteX14" fmla="*/ 3462 w 10000"/>
                <a:gd name="connsiteY14" fmla="*/ 9063 h 10000"/>
                <a:gd name="connsiteX15" fmla="*/ 3846 w 10000"/>
                <a:gd name="connsiteY15" fmla="*/ 9531 h 10000"/>
                <a:gd name="connsiteX16" fmla="*/ 4808 w 10000"/>
                <a:gd name="connsiteY16" fmla="*/ 9531 h 10000"/>
                <a:gd name="connsiteX17" fmla="*/ 5577 w 10000"/>
                <a:gd name="connsiteY17" fmla="*/ 10000 h 10000"/>
                <a:gd name="connsiteX18" fmla="*/ 6923 w 10000"/>
                <a:gd name="connsiteY18" fmla="*/ 9844 h 10000"/>
                <a:gd name="connsiteX19" fmla="*/ 7885 w 10000"/>
                <a:gd name="connsiteY19" fmla="*/ 9531 h 10000"/>
                <a:gd name="connsiteX20" fmla="*/ 8462 w 10000"/>
                <a:gd name="connsiteY20" fmla="*/ 9531 h 10000"/>
                <a:gd name="connsiteX21" fmla="*/ 3364 w 10000"/>
                <a:gd name="connsiteY21" fmla="*/ 7165 h 10000"/>
                <a:gd name="connsiteX22" fmla="*/ 4620 w 10000"/>
                <a:gd name="connsiteY22" fmla="*/ 7043 h 10000"/>
                <a:gd name="connsiteX23" fmla="*/ 5020 w 10000"/>
                <a:gd name="connsiteY23" fmla="*/ 6338 h 10000"/>
                <a:gd name="connsiteX24" fmla="*/ 5567 w 10000"/>
                <a:gd name="connsiteY24" fmla="*/ 6910 h 10000"/>
                <a:gd name="connsiteX25" fmla="*/ 6262 w 10000"/>
                <a:gd name="connsiteY25" fmla="*/ 5580 h 10000"/>
                <a:gd name="connsiteX26" fmla="*/ 6454 w 10000"/>
                <a:gd name="connsiteY26" fmla="*/ 5542 h 10000"/>
                <a:gd name="connsiteX27" fmla="*/ 6898 w 10000"/>
                <a:gd name="connsiteY27" fmla="*/ 6592 h 10000"/>
                <a:gd name="connsiteX28" fmla="*/ 7500 w 10000"/>
                <a:gd name="connsiteY28" fmla="*/ 6563 h 10000"/>
                <a:gd name="connsiteX29" fmla="*/ 8269 w 10000"/>
                <a:gd name="connsiteY29" fmla="*/ 5938 h 10000"/>
                <a:gd name="connsiteX30" fmla="*/ 8846 w 10000"/>
                <a:gd name="connsiteY30" fmla="*/ 5000 h 10000"/>
                <a:gd name="connsiteX31" fmla="*/ 9038 w 10000"/>
                <a:gd name="connsiteY31" fmla="*/ 3281 h 10000"/>
                <a:gd name="connsiteX32" fmla="*/ 9615 w 10000"/>
                <a:gd name="connsiteY32" fmla="*/ 2969 h 10000"/>
                <a:gd name="connsiteX33" fmla="*/ 10000 w 10000"/>
                <a:gd name="connsiteY33" fmla="*/ 2813 h 10000"/>
                <a:gd name="connsiteX34" fmla="*/ 9615 w 10000"/>
                <a:gd name="connsiteY34" fmla="*/ 2031 h 10000"/>
                <a:gd name="connsiteX35" fmla="*/ 9038 w 10000"/>
                <a:gd name="connsiteY35" fmla="*/ 625 h 10000"/>
                <a:gd name="connsiteX36" fmla="*/ 8462 w 10000"/>
                <a:gd name="connsiteY36" fmla="*/ 0 h 10000"/>
                <a:gd name="connsiteX37" fmla="*/ 8077 w 10000"/>
                <a:gd name="connsiteY37" fmla="*/ 313 h 10000"/>
                <a:gd name="connsiteX38" fmla="*/ 7115 w 10000"/>
                <a:gd name="connsiteY38" fmla="*/ 781 h 10000"/>
                <a:gd name="connsiteX0" fmla="*/ 7115 w 10000"/>
                <a:gd name="connsiteY0" fmla="*/ 781 h 10000"/>
                <a:gd name="connsiteX1" fmla="*/ 2115 w 10000"/>
                <a:gd name="connsiteY1" fmla="*/ 781 h 10000"/>
                <a:gd name="connsiteX2" fmla="*/ 1923 w 10000"/>
                <a:gd name="connsiteY2" fmla="*/ 1719 h 10000"/>
                <a:gd name="connsiteX3" fmla="*/ 1346 w 10000"/>
                <a:gd name="connsiteY3" fmla="*/ 1719 h 10000"/>
                <a:gd name="connsiteX4" fmla="*/ 1346 w 10000"/>
                <a:gd name="connsiteY4" fmla="*/ 2188 h 10000"/>
                <a:gd name="connsiteX5" fmla="*/ 1154 w 10000"/>
                <a:gd name="connsiteY5" fmla="*/ 2031 h 10000"/>
                <a:gd name="connsiteX6" fmla="*/ 962 w 10000"/>
                <a:gd name="connsiteY6" fmla="*/ 3906 h 10000"/>
                <a:gd name="connsiteX7" fmla="*/ 385 w 10000"/>
                <a:gd name="connsiteY7" fmla="*/ 4219 h 10000"/>
                <a:gd name="connsiteX8" fmla="*/ 192 w 10000"/>
                <a:gd name="connsiteY8" fmla="*/ 5000 h 10000"/>
                <a:gd name="connsiteX9" fmla="*/ 0 w 10000"/>
                <a:gd name="connsiteY9" fmla="*/ 5469 h 10000"/>
                <a:gd name="connsiteX10" fmla="*/ 577 w 10000"/>
                <a:gd name="connsiteY10" fmla="*/ 6406 h 10000"/>
                <a:gd name="connsiteX11" fmla="*/ 962 w 10000"/>
                <a:gd name="connsiteY11" fmla="*/ 7031 h 10000"/>
                <a:gd name="connsiteX12" fmla="*/ 1538 w 10000"/>
                <a:gd name="connsiteY12" fmla="*/ 7813 h 10000"/>
                <a:gd name="connsiteX13" fmla="*/ 2308 w 10000"/>
                <a:gd name="connsiteY13" fmla="*/ 8125 h 10000"/>
                <a:gd name="connsiteX14" fmla="*/ 3462 w 10000"/>
                <a:gd name="connsiteY14" fmla="*/ 9063 h 10000"/>
                <a:gd name="connsiteX15" fmla="*/ 3846 w 10000"/>
                <a:gd name="connsiteY15" fmla="*/ 9531 h 10000"/>
                <a:gd name="connsiteX16" fmla="*/ 4808 w 10000"/>
                <a:gd name="connsiteY16" fmla="*/ 9531 h 10000"/>
                <a:gd name="connsiteX17" fmla="*/ 5577 w 10000"/>
                <a:gd name="connsiteY17" fmla="*/ 10000 h 10000"/>
                <a:gd name="connsiteX18" fmla="*/ 6923 w 10000"/>
                <a:gd name="connsiteY18" fmla="*/ 9844 h 10000"/>
                <a:gd name="connsiteX19" fmla="*/ 7885 w 10000"/>
                <a:gd name="connsiteY19" fmla="*/ 9531 h 10000"/>
                <a:gd name="connsiteX20" fmla="*/ 1782 w 10000"/>
                <a:gd name="connsiteY20" fmla="*/ 6760 h 10000"/>
                <a:gd name="connsiteX21" fmla="*/ 3364 w 10000"/>
                <a:gd name="connsiteY21" fmla="*/ 7165 h 10000"/>
                <a:gd name="connsiteX22" fmla="*/ 4620 w 10000"/>
                <a:gd name="connsiteY22" fmla="*/ 7043 h 10000"/>
                <a:gd name="connsiteX23" fmla="*/ 5020 w 10000"/>
                <a:gd name="connsiteY23" fmla="*/ 6338 h 10000"/>
                <a:gd name="connsiteX24" fmla="*/ 5567 w 10000"/>
                <a:gd name="connsiteY24" fmla="*/ 6910 h 10000"/>
                <a:gd name="connsiteX25" fmla="*/ 6262 w 10000"/>
                <a:gd name="connsiteY25" fmla="*/ 5580 h 10000"/>
                <a:gd name="connsiteX26" fmla="*/ 6454 w 10000"/>
                <a:gd name="connsiteY26" fmla="*/ 5542 h 10000"/>
                <a:gd name="connsiteX27" fmla="*/ 6898 w 10000"/>
                <a:gd name="connsiteY27" fmla="*/ 6592 h 10000"/>
                <a:gd name="connsiteX28" fmla="*/ 7500 w 10000"/>
                <a:gd name="connsiteY28" fmla="*/ 6563 h 10000"/>
                <a:gd name="connsiteX29" fmla="*/ 8269 w 10000"/>
                <a:gd name="connsiteY29" fmla="*/ 5938 h 10000"/>
                <a:gd name="connsiteX30" fmla="*/ 8846 w 10000"/>
                <a:gd name="connsiteY30" fmla="*/ 5000 h 10000"/>
                <a:gd name="connsiteX31" fmla="*/ 9038 w 10000"/>
                <a:gd name="connsiteY31" fmla="*/ 3281 h 10000"/>
                <a:gd name="connsiteX32" fmla="*/ 9615 w 10000"/>
                <a:gd name="connsiteY32" fmla="*/ 2969 h 10000"/>
                <a:gd name="connsiteX33" fmla="*/ 10000 w 10000"/>
                <a:gd name="connsiteY33" fmla="*/ 2813 h 10000"/>
                <a:gd name="connsiteX34" fmla="*/ 9615 w 10000"/>
                <a:gd name="connsiteY34" fmla="*/ 2031 h 10000"/>
                <a:gd name="connsiteX35" fmla="*/ 9038 w 10000"/>
                <a:gd name="connsiteY35" fmla="*/ 625 h 10000"/>
                <a:gd name="connsiteX36" fmla="*/ 8462 w 10000"/>
                <a:gd name="connsiteY36" fmla="*/ 0 h 10000"/>
                <a:gd name="connsiteX37" fmla="*/ 8077 w 10000"/>
                <a:gd name="connsiteY37" fmla="*/ 313 h 10000"/>
                <a:gd name="connsiteX38" fmla="*/ 7115 w 10000"/>
                <a:gd name="connsiteY38" fmla="*/ 781 h 10000"/>
                <a:gd name="connsiteX0" fmla="*/ 7115 w 10000"/>
                <a:gd name="connsiteY0" fmla="*/ 781 h 10096"/>
                <a:gd name="connsiteX1" fmla="*/ 2115 w 10000"/>
                <a:gd name="connsiteY1" fmla="*/ 781 h 10096"/>
                <a:gd name="connsiteX2" fmla="*/ 1923 w 10000"/>
                <a:gd name="connsiteY2" fmla="*/ 1719 h 10096"/>
                <a:gd name="connsiteX3" fmla="*/ 1346 w 10000"/>
                <a:gd name="connsiteY3" fmla="*/ 1719 h 10096"/>
                <a:gd name="connsiteX4" fmla="*/ 1346 w 10000"/>
                <a:gd name="connsiteY4" fmla="*/ 2188 h 10096"/>
                <a:gd name="connsiteX5" fmla="*/ 1154 w 10000"/>
                <a:gd name="connsiteY5" fmla="*/ 2031 h 10096"/>
                <a:gd name="connsiteX6" fmla="*/ 962 w 10000"/>
                <a:gd name="connsiteY6" fmla="*/ 3906 h 10096"/>
                <a:gd name="connsiteX7" fmla="*/ 385 w 10000"/>
                <a:gd name="connsiteY7" fmla="*/ 4219 h 10096"/>
                <a:gd name="connsiteX8" fmla="*/ 192 w 10000"/>
                <a:gd name="connsiteY8" fmla="*/ 5000 h 10096"/>
                <a:gd name="connsiteX9" fmla="*/ 0 w 10000"/>
                <a:gd name="connsiteY9" fmla="*/ 5469 h 10096"/>
                <a:gd name="connsiteX10" fmla="*/ 577 w 10000"/>
                <a:gd name="connsiteY10" fmla="*/ 6406 h 10096"/>
                <a:gd name="connsiteX11" fmla="*/ 962 w 10000"/>
                <a:gd name="connsiteY11" fmla="*/ 7031 h 10096"/>
                <a:gd name="connsiteX12" fmla="*/ 1538 w 10000"/>
                <a:gd name="connsiteY12" fmla="*/ 7813 h 10096"/>
                <a:gd name="connsiteX13" fmla="*/ 2308 w 10000"/>
                <a:gd name="connsiteY13" fmla="*/ 8125 h 10096"/>
                <a:gd name="connsiteX14" fmla="*/ 3462 w 10000"/>
                <a:gd name="connsiteY14" fmla="*/ 9063 h 10096"/>
                <a:gd name="connsiteX15" fmla="*/ 3846 w 10000"/>
                <a:gd name="connsiteY15" fmla="*/ 9531 h 10096"/>
                <a:gd name="connsiteX16" fmla="*/ 4808 w 10000"/>
                <a:gd name="connsiteY16" fmla="*/ 9531 h 10096"/>
                <a:gd name="connsiteX17" fmla="*/ 5577 w 10000"/>
                <a:gd name="connsiteY17" fmla="*/ 10000 h 10096"/>
                <a:gd name="connsiteX18" fmla="*/ 6923 w 10000"/>
                <a:gd name="connsiteY18" fmla="*/ 9844 h 10096"/>
                <a:gd name="connsiteX19" fmla="*/ 1030 w 10000"/>
                <a:gd name="connsiteY19" fmla="*/ 7047 h 10096"/>
                <a:gd name="connsiteX20" fmla="*/ 1782 w 10000"/>
                <a:gd name="connsiteY20" fmla="*/ 6760 h 10096"/>
                <a:gd name="connsiteX21" fmla="*/ 3364 w 10000"/>
                <a:gd name="connsiteY21" fmla="*/ 7165 h 10096"/>
                <a:gd name="connsiteX22" fmla="*/ 4620 w 10000"/>
                <a:gd name="connsiteY22" fmla="*/ 7043 h 10096"/>
                <a:gd name="connsiteX23" fmla="*/ 5020 w 10000"/>
                <a:gd name="connsiteY23" fmla="*/ 6338 h 10096"/>
                <a:gd name="connsiteX24" fmla="*/ 5567 w 10000"/>
                <a:gd name="connsiteY24" fmla="*/ 6910 h 10096"/>
                <a:gd name="connsiteX25" fmla="*/ 6262 w 10000"/>
                <a:gd name="connsiteY25" fmla="*/ 5580 h 10096"/>
                <a:gd name="connsiteX26" fmla="*/ 6454 w 10000"/>
                <a:gd name="connsiteY26" fmla="*/ 5542 h 10096"/>
                <a:gd name="connsiteX27" fmla="*/ 6898 w 10000"/>
                <a:gd name="connsiteY27" fmla="*/ 6592 h 10096"/>
                <a:gd name="connsiteX28" fmla="*/ 7500 w 10000"/>
                <a:gd name="connsiteY28" fmla="*/ 6563 h 10096"/>
                <a:gd name="connsiteX29" fmla="*/ 8269 w 10000"/>
                <a:gd name="connsiteY29" fmla="*/ 5938 h 10096"/>
                <a:gd name="connsiteX30" fmla="*/ 8846 w 10000"/>
                <a:gd name="connsiteY30" fmla="*/ 5000 h 10096"/>
                <a:gd name="connsiteX31" fmla="*/ 9038 w 10000"/>
                <a:gd name="connsiteY31" fmla="*/ 3281 h 10096"/>
                <a:gd name="connsiteX32" fmla="*/ 9615 w 10000"/>
                <a:gd name="connsiteY32" fmla="*/ 2969 h 10096"/>
                <a:gd name="connsiteX33" fmla="*/ 10000 w 10000"/>
                <a:gd name="connsiteY33" fmla="*/ 2813 h 10096"/>
                <a:gd name="connsiteX34" fmla="*/ 9615 w 10000"/>
                <a:gd name="connsiteY34" fmla="*/ 2031 h 10096"/>
                <a:gd name="connsiteX35" fmla="*/ 9038 w 10000"/>
                <a:gd name="connsiteY35" fmla="*/ 625 h 10096"/>
                <a:gd name="connsiteX36" fmla="*/ 8462 w 10000"/>
                <a:gd name="connsiteY36" fmla="*/ 0 h 10096"/>
                <a:gd name="connsiteX37" fmla="*/ 8077 w 10000"/>
                <a:gd name="connsiteY37" fmla="*/ 313 h 10096"/>
                <a:gd name="connsiteX38" fmla="*/ 7115 w 10000"/>
                <a:gd name="connsiteY38" fmla="*/ 781 h 10096"/>
                <a:gd name="connsiteX0" fmla="*/ 7115 w 10000"/>
                <a:gd name="connsiteY0" fmla="*/ 781 h 10096"/>
                <a:gd name="connsiteX1" fmla="*/ 2115 w 10000"/>
                <a:gd name="connsiteY1" fmla="*/ 781 h 10096"/>
                <a:gd name="connsiteX2" fmla="*/ 1923 w 10000"/>
                <a:gd name="connsiteY2" fmla="*/ 1719 h 10096"/>
                <a:gd name="connsiteX3" fmla="*/ 1346 w 10000"/>
                <a:gd name="connsiteY3" fmla="*/ 1719 h 10096"/>
                <a:gd name="connsiteX4" fmla="*/ 1346 w 10000"/>
                <a:gd name="connsiteY4" fmla="*/ 2188 h 10096"/>
                <a:gd name="connsiteX5" fmla="*/ 1154 w 10000"/>
                <a:gd name="connsiteY5" fmla="*/ 2031 h 10096"/>
                <a:gd name="connsiteX6" fmla="*/ 962 w 10000"/>
                <a:gd name="connsiteY6" fmla="*/ 3906 h 10096"/>
                <a:gd name="connsiteX7" fmla="*/ 385 w 10000"/>
                <a:gd name="connsiteY7" fmla="*/ 4219 h 10096"/>
                <a:gd name="connsiteX8" fmla="*/ 192 w 10000"/>
                <a:gd name="connsiteY8" fmla="*/ 5000 h 10096"/>
                <a:gd name="connsiteX9" fmla="*/ 0 w 10000"/>
                <a:gd name="connsiteY9" fmla="*/ 5469 h 10096"/>
                <a:gd name="connsiteX10" fmla="*/ 577 w 10000"/>
                <a:gd name="connsiteY10" fmla="*/ 6406 h 10096"/>
                <a:gd name="connsiteX11" fmla="*/ 962 w 10000"/>
                <a:gd name="connsiteY11" fmla="*/ 7031 h 10096"/>
                <a:gd name="connsiteX12" fmla="*/ 1538 w 10000"/>
                <a:gd name="connsiteY12" fmla="*/ 7813 h 10096"/>
                <a:gd name="connsiteX13" fmla="*/ 2308 w 10000"/>
                <a:gd name="connsiteY13" fmla="*/ 8125 h 10096"/>
                <a:gd name="connsiteX14" fmla="*/ 3462 w 10000"/>
                <a:gd name="connsiteY14" fmla="*/ 9063 h 10096"/>
                <a:gd name="connsiteX15" fmla="*/ 3846 w 10000"/>
                <a:gd name="connsiteY15" fmla="*/ 9531 h 10096"/>
                <a:gd name="connsiteX16" fmla="*/ 4808 w 10000"/>
                <a:gd name="connsiteY16" fmla="*/ 9531 h 10096"/>
                <a:gd name="connsiteX17" fmla="*/ 5577 w 10000"/>
                <a:gd name="connsiteY17" fmla="*/ 10000 h 10096"/>
                <a:gd name="connsiteX18" fmla="*/ 6923 w 10000"/>
                <a:gd name="connsiteY18" fmla="*/ 9844 h 10096"/>
                <a:gd name="connsiteX19" fmla="*/ 1030 w 10000"/>
                <a:gd name="connsiteY19" fmla="*/ 7047 h 10096"/>
                <a:gd name="connsiteX20" fmla="*/ 1782 w 10000"/>
                <a:gd name="connsiteY20" fmla="*/ 6760 h 10096"/>
                <a:gd name="connsiteX21" fmla="*/ 3364 w 10000"/>
                <a:gd name="connsiteY21" fmla="*/ 7165 h 10096"/>
                <a:gd name="connsiteX22" fmla="*/ 4620 w 10000"/>
                <a:gd name="connsiteY22" fmla="*/ 7043 h 10096"/>
                <a:gd name="connsiteX23" fmla="*/ 5020 w 10000"/>
                <a:gd name="connsiteY23" fmla="*/ 6338 h 10096"/>
                <a:gd name="connsiteX24" fmla="*/ 5567 w 10000"/>
                <a:gd name="connsiteY24" fmla="*/ 6910 h 10096"/>
                <a:gd name="connsiteX25" fmla="*/ 6262 w 10000"/>
                <a:gd name="connsiteY25" fmla="*/ 5580 h 10096"/>
                <a:gd name="connsiteX26" fmla="*/ 6454 w 10000"/>
                <a:gd name="connsiteY26" fmla="*/ 5542 h 10096"/>
                <a:gd name="connsiteX27" fmla="*/ 6898 w 10000"/>
                <a:gd name="connsiteY27" fmla="*/ 6592 h 10096"/>
                <a:gd name="connsiteX28" fmla="*/ 7500 w 10000"/>
                <a:gd name="connsiteY28" fmla="*/ 6563 h 10096"/>
                <a:gd name="connsiteX29" fmla="*/ 8269 w 10000"/>
                <a:gd name="connsiteY29" fmla="*/ 5938 h 10096"/>
                <a:gd name="connsiteX30" fmla="*/ 8846 w 10000"/>
                <a:gd name="connsiteY30" fmla="*/ 5000 h 10096"/>
                <a:gd name="connsiteX31" fmla="*/ 9038 w 10000"/>
                <a:gd name="connsiteY31" fmla="*/ 3281 h 10096"/>
                <a:gd name="connsiteX32" fmla="*/ 9615 w 10000"/>
                <a:gd name="connsiteY32" fmla="*/ 2969 h 10096"/>
                <a:gd name="connsiteX33" fmla="*/ 10000 w 10000"/>
                <a:gd name="connsiteY33" fmla="*/ 2813 h 10096"/>
                <a:gd name="connsiteX34" fmla="*/ 9615 w 10000"/>
                <a:gd name="connsiteY34" fmla="*/ 2031 h 10096"/>
                <a:gd name="connsiteX35" fmla="*/ 9038 w 10000"/>
                <a:gd name="connsiteY35" fmla="*/ 625 h 10096"/>
                <a:gd name="connsiteX36" fmla="*/ 8462 w 10000"/>
                <a:gd name="connsiteY36" fmla="*/ 0 h 10096"/>
                <a:gd name="connsiteX37" fmla="*/ 8077 w 10000"/>
                <a:gd name="connsiteY37" fmla="*/ 313 h 10096"/>
                <a:gd name="connsiteX38" fmla="*/ 7115 w 10000"/>
                <a:gd name="connsiteY38" fmla="*/ 781 h 10096"/>
                <a:gd name="connsiteX0" fmla="*/ 7115 w 10000"/>
                <a:gd name="connsiteY0" fmla="*/ 781 h 10096"/>
                <a:gd name="connsiteX1" fmla="*/ 2115 w 10000"/>
                <a:gd name="connsiteY1" fmla="*/ 781 h 10096"/>
                <a:gd name="connsiteX2" fmla="*/ 1923 w 10000"/>
                <a:gd name="connsiteY2" fmla="*/ 1719 h 10096"/>
                <a:gd name="connsiteX3" fmla="*/ 1346 w 10000"/>
                <a:gd name="connsiteY3" fmla="*/ 1719 h 10096"/>
                <a:gd name="connsiteX4" fmla="*/ 1346 w 10000"/>
                <a:gd name="connsiteY4" fmla="*/ 2188 h 10096"/>
                <a:gd name="connsiteX5" fmla="*/ 1154 w 10000"/>
                <a:gd name="connsiteY5" fmla="*/ 2031 h 10096"/>
                <a:gd name="connsiteX6" fmla="*/ 962 w 10000"/>
                <a:gd name="connsiteY6" fmla="*/ 3906 h 10096"/>
                <a:gd name="connsiteX7" fmla="*/ 385 w 10000"/>
                <a:gd name="connsiteY7" fmla="*/ 4219 h 10096"/>
                <a:gd name="connsiteX8" fmla="*/ 192 w 10000"/>
                <a:gd name="connsiteY8" fmla="*/ 5000 h 10096"/>
                <a:gd name="connsiteX9" fmla="*/ 0 w 10000"/>
                <a:gd name="connsiteY9" fmla="*/ 5469 h 10096"/>
                <a:gd name="connsiteX10" fmla="*/ 577 w 10000"/>
                <a:gd name="connsiteY10" fmla="*/ 6406 h 10096"/>
                <a:gd name="connsiteX11" fmla="*/ 962 w 10000"/>
                <a:gd name="connsiteY11" fmla="*/ 7031 h 10096"/>
                <a:gd name="connsiteX12" fmla="*/ 1538 w 10000"/>
                <a:gd name="connsiteY12" fmla="*/ 7813 h 10096"/>
                <a:gd name="connsiteX13" fmla="*/ 2308 w 10000"/>
                <a:gd name="connsiteY13" fmla="*/ 8125 h 10096"/>
                <a:gd name="connsiteX14" fmla="*/ 3462 w 10000"/>
                <a:gd name="connsiteY14" fmla="*/ 9063 h 10096"/>
                <a:gd name="connsiteX15" fmla="*/ 3846 w 10000"/>
                <a:gd name="connsiteY15" fmla="*/ 9531 h 10096"/>
                <a:gd name="connsiteX16" fmla="*/ 4808 w 10000"/>
                <a:gd name="connsiteY16" fmla="*/ 9531 h 10096"/>
                <a:gd name="connsiteX17" fmla="*/ 5577 w 10000"/>
                <a:gd name="connsiteY17" fmla="*/ 10000 h 10096"/>
                <a:gd name="connsiteX18" fmla="*/ 6923 w 10000"/>
                <a:gd name="connsiteY18" fmla="*/ 9844 h 10096"/>
                <a:gd name="connsiteX19" fmla="*/ 1030 w 10000"/>
                <a:gd name="connsiteY19" fmla="*/ 7047 h 10096"/>
                <a:gd name="connsiteX20" fmla="*/ 1782 w 10000"/>
                <a:gd name="connsiteY20" fmla="*/ 6760 h 10096"/>
                <a:gd name="connsiteX21" fmla="*/ 3364 w 10000"/>
                <a:gd name="connsiteY21" fmla="*/ 7165 h 10096"/>
                <a:gd name="connsiteX22" fmla="*/ 4620 w 10000"/>
                <a:gd name="connsiteY22" fmla="*/ 7043 h 10096"/>
                <a:gd name="connsiteX23" fmla="*/ 5020 w 10000"/>
                <a:gd name="connsiteY23" fmla="*/ 6338 h 10096"/>
                <a:gd name="connsiteX24" fmla="*/ 5567 w 10000"/>
                <a:gd name="connsiteY24" fmla="*/ 6910 h 10096"/>
                <a:gd name="connsiteX25" fmla="*/ 6262 w 10000"/>
                <a:gd name="connsiteY25" fmla="*/ 5580 h 10096"/>
                <a:gd name="connsiteX26" fmla="*/ 6454 w 10000"/>
                <a:gd name="connsiteY26" fmla="*/ 5542 h 10096"/>
                <a:gd name="connsiteX27" fmla="*/ 6898 w 10000"/>
                <a:gd name="connsiteY27" fmla="*/ 6592 h 10096"/>
                <a:gd name="connsiteX28" fmla="*/ 7500 w 10000"/>
                <a:gd name="connsiteY28" fmla="*/ 6563 h 10096"/>
                <a:gd name="connsiteX29" fmla="*/ 8269 w 10000"/>
                <a:gd name="connsiteY29" fmla="*/ 5938 h 10096"/>
                <a:gd name="connsiteX30" fmla="*/ 8846 w 10000"/>
                <a:gd name="connsiteY30" fmla="*/ 5000 h 10096"/>
                <a:gd name="connsiteX31" fmla="*/ 9038 w 10000"/>
                <a:gd name="connsiteY31" fmla="*/ 3281 h 10096"/>
                <a:gd name="connsiteX32" fmla="*/ 9615 w 10000"/>
                <a:gd name="connsiteY32" fmla="*/ 2969 h 10096"/>
                <a:gd name="connsiteX33" fmla="*/ 10000 w 10000"/>
                <a:gd name="connsiteY33" fmla="*/ 2813 h 10096"/>
                <a:gd name="connsiteX34" fmla="*/ 9615 w 10000"/>
                <a:gd name="connsiteY34" fmla="*/ 2031 h 10096"/>
                <a:gd name="connsiteX35" fmla="*/ 9038 w 10000"/>
                <a:gd name="connsiteY35" fmla="*/ 625 h 10096"/>
                <a:gd name="connsiteX36" fmla="*/ 8462 w 10000"/>
                <a:gd name="connsiteY36" fmla="*/ 0 h 10096"/>
                <a:gd name="connsiteX37" fmla="*/ 8077 w 10000"/>
                <a:gd name="connsiteY37" fmla="*/ 313 h 10096"/>
                <a:gd name="connsiteX38" fmla="*/ 7115 w 10000"/>
                <a:gd name="connsiteY38" fmla="*/ 781 h 10096"/>
                <a:gd name="connsiteX0" fmla="*/ 7115 w 10000"/>
                <a:gd name="connsiteY0" fmla="*/ 781 h 10125"/>
                <a:gd name="connsiteX1" fmla="*/ 2115 w 10000"/>
                <a:gd name="connsiteY1" fmla="*/ 781 h 10125"/>
                <a:gd name="connsiteX2" fmla="*/ 1923 w 10000"/>
                <a:gd name="connsiteY2" fmla="*/ 1719 h 10125"/>
                <a:gd name="connsiteX3" fmla="*/ 1346 w 10000"/>
                <a:gd name="connsiteY3" fmla="*/ 1719 h 10125"/>
                <a:gd name="connsiteX4" fmla="*/ 1346 w 10000"/>
                <a:gd name="connsiteY4" fmla="*/ 2188 h 10125"/>
                <a:gd name="connsiteX5" fmla="*/ 1154 w 10000"/>
                <a:gd name="connsiteY5" fmla="*/ 2031 h 10125"/>
                <a:gd name="connsiteX6" fmla="*/ 962 w 10000"/>
                <a:gd name="connsiteY6" fmla="*/ 3906 h 10125"/>
                <a:gd name="connsiteX7" fmla="*/ 385 w 10000"/>
                <a:gd name="connsiteY7" fmla="*/ 4219 h 10125"/>
                <a:gd name="connsiteX8" fmla="*/ 192 w 10000"/>
                <a:gd name="connsiteY8" fmla="*/ 5000 h 10125"/>
                <a:gd name="connsiteX9" fmla="*/ 0 w 10000"/>
                <a:gd name="connsiteY9" fmla="*/ 5469 h 10125"/>
                <a:gd name="connsiteX10" fmla="*/ 577 w 10000"/>
                <a:gd name="connsiteY10" fmla="*/ 6406 h 10125"/>
                <a:gd name="connsiteX11" fmla="*/ 962 w 10000"/>
                <a:gd name="connsiteY11" fmla="*/ 7031 h 10125"/>
                <a:gd name="connsiteX12" fmla="*/ 1538 w 10000"/>
                <a:gd name="connsiteY12" fmla="*/ 7813 h 10125"/>
                <a:gd name="connsiteX13" fmla="*/ 2308 w 10000"/>
                <a:gd name="connsiteY13" fmla="*/ 8125 h 10125"/>
                <a:gd name="connsiteX14" fmla="*/ 3462 w 10000"/>
                <a:gd name="connsiteY14" fmla="*/ 9063 h 10125"/>
                <a:gd name="connsiteX15" fmla="*/ 3846 w 10000"/>
                <a:gd name="connsiteY15" fmla="*/ 9531 h 10125"/>
                <a:gd name="connsiteX16" fmla="*/ 4808 w 10000"/>
                <a:gd name="connsiteY16" fmla="*/ 9531 h 10125"/>
                <a:gd name="connsiteX17" fmla="*/ 5577 w 10000"/>
                <a:gd name="connsiteY17" fmla="*/ 10000 h 10125"/>
                <a:gd name="connsiteX18" fmla="*/ 1030 w 10000"/>
                <a:gd name="connsiteY18" fmla="*/ 7047 h 10125"/>
                <a:gd name="connsiteX19" fmla="*/ 1782 w 10000"/>
                <a:gd name="connsiteY19" fmla="*/ 6760 h 10125"/>
                <a:gd name="connsiteX20" fmla="*/ 3364 w 10000"/>
                <a:gd name="connsiteY20" fmla="*/ 7165 h 10125"/>
                <a:gd name="connsiteX21" fmla="*/ 4620 w 10000"/>
                <a:gd name="connsiteY21" fmla="*/ 7043 h 10125"/>
                <a:gd name="connsiteX22" fmla="*/ 5020 w 10000"/>
                <a:gd name="connsiteY22" fmla="*/ 6338 h 10125"/>
                <a:gd name="connsiteX23" fmla="*/ 5567 w 10000"/>
                <a:gd name="connsiteY23" fmla="*/ 6910 h 10125"/>
                <a:gd name="connsiteX24" fmla="*/ 6262 w 10000"/>
                <a:gd name="connsiteY24" fmla="*/ 5580 h 10125"/>
                <a:gd name="connsiteX25" fmla="*/ 6454 w 10000"/>
                <a:gd name="connsiteY25" fmla="*/ 5542 h 10125"/>
                <a:gd name="connsiteX26" fmla="*/ 6898 w 10000"/>
                <a:gd name="connsiteY26" fmla="*/ 6592 h 10125"/>
                <a:gd name="connsiteX27" fmla="*/ 7500 w 10000"/>
                <a:gd name="connsiteY27" fmla="*/ 6563 h 10125"/>
                <a:gd name="connsiteX28" fmla="*/ 8269 w 10000"/>
                <a:gd name="connsiteY28" fmla="*/ 5938 h 10125"/>
                <a:gd name="connsiteX29" fmla="*/ 8846 w 10000"/>
                <a:gd name="connsiteY29" fmla="*/ 5000 h 10125"/>
                <a:gd name="connsiteX30" fmla="*/ 9038 w 10000"/>
                <a:gd name="connsiteY30" fmla="*/ 3281 h 10125"/>
                <a:gd name="connsiteX31" fmla="*/ 9615 w 10000"/>
                <a:gd name="connsiteY31" fmla="*/ 2969 h 10125"/>
                <a:gd name="connsiteX32" fmla="*/ 10000 w 10000"/>
                <a:gd name="connsiteY32" fmla="*/ 2813 h 10125"/>
                <a:gd name="connsiteX33" fmla="*/ 9615 w 10000"/>
                <a:gd name="connsiteY33" fmla="*/ 2031 h 10125"/>
                <a:gd name="connsiteX34" fmla="*/ 9038 w 10000"/>
                <a:gd name="connsiteY34" fmla="*/ 625 h 10125"/>
                <a:gd name="connsiteX35" fmla="*/ 8462 w 10000"/>
                <a:gd name="connsiteY35" fmla="*/ 0 h 10125"/>
                <a:gd name="connsiteX36" fmla="*/ 8077 w 10000"/>
                <a:gd name="connsiteY36" fmla="*/ 313 h 10125"/>
                <a:gd name="connsiteX37" fmla="*/ 7115 w 10000"/>
                <a:gd name="connsiteY37" fmla="*/ 781 h 10125"/>
                <a:gd name="connsiteX0" fmla="*/ 7115 w 10000"/>
                <a:gd name="connsiteY0" fmla="*/ 781 h 9715"/>
                <a:gd name="connsiteX1" fmla="*/ 2115 w 10000"/>
                <a:gd name="connsiteY1" fmla="*/ 781 h 9715"/>
                <a:gd name="connsiteX2" fmla="*/ 1923 w 10000"/>
                <a:gd name="connsiteY2" fmla="*/ 1719 h 9715"/>
                <a:gd name="connsiteX3" fmla="*/ 1346 w 10000"/>
                <a:gd name="connsiteY3" fmla="*/ 1719 h 9715"/>
                <a:gd name="connsiteX4" fmla="*/ 1346 w 10000"/>
                <a:gd name="connsiteY4" fmla="*/ 2188 h 9715"/>
                <a:gd name="connsiteX5" fmla="*/ 1154 w 10000"/>
                <a:gd name="connsiteY5" fmla="*/ 2031 h 9715"/>
                <a:gd name="connsiteX6" fmla="*/ 962 w 10000"/>
                <a:gd name="connsiteY6" fmla="*/ 3906 h 9715"/>
                <a:gd name="connsiteX7" fmla="*/ 385 w 10000"/>
                <a:gd name="connsiteY7" fmla="*/ 4219 h 9715"/>
                <a:gd name="connsiteX8" fmla="*/ 192 w 10000"/>
                <a:gd name="connsiteY8" fmla="*/ 5000 h 9715"/>
                <a:gd name="connsiteX9" fmla="*/ 0 w 10000"/>
                <a:gd name="connsiteY9" fmla="*/ 5469 h 9715"/>
                <a:gd name="connsiteX10" fmla="*/ 577 w 10000"/>
                <a:gd name="connsiteY10" fmla="*/ 6406 h 9715"/>
                <a:gd name="connsiteX11" fmla="*/ 962 w 10000"/>
                <a:gd name="connsiteY11" fmla="*/ 7031 h 9715"/>
                <a:gd name="connsiteX12" fmla="*/ 1538 w 10000"/>
                <a:gd name="connsiteY12" fmla="*/ 7813 h 9715"/>
                <a:gd name="connsiteX13" fmla="*/ 2308 w 10000"/>
                <a:gd name="connsiteY13" fmla="*/ 8125 h 9715"/>
                <a:gd name="connsiteX14" fmla="*/ 3462 w 10000"/>
                <a:gd name="connsiteY14" fmla="*/ 9063 h 9715"/>
                <a:gd name="connsiteX15" fmla="*/ 3846 w 10000"/>
                <a:gd name="connsiteY15" fmla="*/ 9531 h 9715"/>
                <a:gd name="connsiteX16" fmla="*/ 4808 w 10000"/>
                <a:gd name="connsiteY16" fmla="*/ 9531 h 9715"/>
                <a:gd name="connsiteX17" fmla="*/ 1030 w 10000"/>
                <a:gd name="connsiteY17" fmla="*/ 7047 h 9715"/>
                <a:gd name="connsiteX18" fmla="*/ 1782 w 10000"/>
                <a:gd name="connsiteY18" fmla="*/ 6760 h 9715"/>
                <a:gd name="connsiteX19" fmla="*/ 3364 w 10000"/>
                <a:gd name="connsiteY19" fmla="*/ 7165 h 9715"/>
                <a:gd name="connsiteX20" fmla="*/ 4620 w 10000"/>
                <a:gd name="connsiteY20" fmla="*/ 7043 h 9715"/>
                <a:gd name="connsiteX21" fmla="*/ 5020 w 10000"/>
                <a:gd name="connsiteY21" fmla="*/ 6338 h 9715"/>
                <a:gd name="connsiteX22" fmla="*/ 5567 w 10000"/>
                <a:gd name="connsiteY22" fmla="*/ 6910 h 9715"/>
                <a:gd name="connsiteX23" fmla="*/ 6262 w 10000"/>
                <a:gd name="connsiteY23" fmla="*/ 5580 h 9715"/>
                <a:gd name="connsiteX24" fmla="*/ 6454 w 10000"/>
                <a:gd name="connsiteY24" fmla="*/ 5542 h 9715"/>
                <a:gd name="connsiteX25" fmla="*/ 6898 w 10000"/>
                <a:gd name="connsiteY25" fmla="*/ 6592 h 9715"/>
                <a:gd name="connsiteX26" fmla="*/ 7500 w 10000"/>
                <a:gd name="connsiteY26" fmla="*/ 6563 h 9715"/>
                <a:gd name="connsiteX27" fmla="*/ 8269 w 10000"/>
                <a:gd name="connsiteY27" fmla="*/ 5938 h 9715"/>
                <a:gd name="connsiteX28" fmla="*/ 8846 w 10000"/>
                <a:gd name="connsiteY28" fmla="*/ 5000 h 9715"/>
                <a:gd name="connsiteX29" fmla="*/ 9038 w 10000"/>
                <a:gd name="connsiteY29" fmla="*/ 3281 h 9715"/>
                <a:gd name="connsiteX30" fmla="*/ 9615 w 10000"/>
                <a:gd name="connsiteY30" fmla="*/ 2969 h 9715"/>
                <a:gd name="connsiteX31" fmla="*/ 10000 w 10000"/>
                <a:gd name="connsiteY31" fmla="*/ 2813 h 9715"/>
                <a:gd name="connsiteX32" fmla="*/ 9615 w 10000"/>
                <a:gd name="connsiteY32" fmla="*/ 2031 h 9715"/>
                <a:gd name="connsiteX33" fmla="*/ 9038 w 10000"/>
                <a:gd name="connsiteY33" fmla="*/ 625 h 9715"/>
                <a:gd name="connsiteX34" fmla="*/ 8462 w 10000"/>
                <a:gd name="connsiteY34" fmla="*/ 0 h 9715"/>
                <a:gd name="connsiteX35" fmla="*/ 8077 w 10000"/>
                <a:gd name="connsiteY35" fmla="*/ 313 h 9715"/>
                <a:gd name="connsiteX36" fmla="*/ 7115 w 10000"/>
                <a:gd name="connsiteY36" fmla="*/ 781 h 9715"/>
                <a:gd name="connsiteX0" fmla="*/ 7115 w 10000"/>
                <a:gd name="connsiteY0" fmla="*/ 804 h 9909"/>
                <a:gd name="connsiteX1" fmla="*/ 2115 w 10000"/>
                <a:gd name="connsiteY1" fmla="*/ 804 h 9909"/>
                <a:gd name="connsiteX2" fmla="*/ 1923 w 10000"/>
                <a:gd name="connsiteY2" fmla="*/ 1769 h 9909"/>
                <a:gd name="connsiteX3" fmla="*/ 1346 w 10000"/>
                <a:gd name="connsiteY3" fmla="*/ 1769 h 9909"/>
                <a:gd name="connsiteX4" fmla="*/ 1346 w 10000"/>
                <a:gd name="connsiteY4" fmla="*/ 2252 h 9909"/>
                <a:gd name="connsiteX5" fmla="*/ 1154 w 10000"/>
                <a:gd name="connsiteY5" fmla="*/ 2091 h 9909"/>
                <a:gd name="connsiteX6" fmla="*/ 962 w 10000"/>
                <a:gd name="connsiteY6" fmla="*/ 4021 h 9909"/>
                <a:gd name="connsiteX7" fmla="*/ 385 w 10000"/>
                <a:gd name="connsiteY7" fmla="*/ 4343 h 9909"/>
                <a:gd name="connsiteX8" fmla="*/ 192 w 10000"/>
                <a:gd name="connsiteY8" fmla="*/ 5147 h 9909"/>
                <a:gd name="connsiteX9" fmla="*/ 0 w 10000"/>
                <a:gd name="connsiteY9" fmla="*/ 5629 h 9909"/>
                <a:gd name="connsiteX10" fmla="*/ 577 w 10000"/>
                <a:gd name="connsiteY10" fmla="*/ 6594 h 9909"/>
                <a:gd name="connsiteX11" fmla="*/ 962 w 10000"/>
                <a:gd name="connsiteY11" fmla="*/ 7237 h 9909"/>
                <a:gd name="connsiteX12" fmla="*/ 1538 w 10000"/>
                <a:gd name="connsiteY12" fmla="*/ 8042 h 9909"/>
                <a:gd name="connsiteX13" fmla="*/ 2308 w 10000"/>
                <a:gd name="connsiteY13" fmla="*/ 8363 h 9909"/>
                <a:gd name="connsiteX14" fmla="*/ 3462 w 10000"/>
                <a:gd name="connsiteY14" fmla="*/ 9329 h 9909"/>
                <a:gd name="connsiteX15" fmla="*/ 3846 w 10000"/>
                <a:gd name="connsiteY15" fmla="*/ 9811 h 9909"/>
                <a:gd name="connsiteX16" fmla="*/ 1030 w 10000"/>
                <a:gd name="connsiteY16" fmla="*/ 7254 h 9909"/>
                <a:gd name="connsiteX17" fmla="*/ 1782 w 10000"/>
                <a:gd name="connsiteY17" fmla="*/ 6958 h 9909"/>
                <a:gd name="connsiteX18" fmla="*/ 3364 w 10000"/>
                <a:gd name="connsiteY18" fmla="*/ 7375 h 9909"/>
                <a:gd name="connsiteX19" fmla="*/ 4620 w 10000"/>
                <a:gd name="connsiteY19" fmla="*/ 7250 h 9909"/>
                <a:gd name="connsiteX20" fmla="*/ 5020 w 10000"/>
                <a:gd name="connsiteY20" fmla="*/ 6524 h 9909"/>
                <a:gd name="connsiteX21" fmla="*/ 5567 w 10000"/>
                <a:gd name="connsiteY21" fmla="*/ 7113 h 9909"/>
                <a:gd name="connsiteX22" fmla="*/ 6262 w 10000"/>
                <a:gd name="connsiteY22" fmla="*/ 5744 h 9909"/>
                <a:gd name="connsiteX23" fmla="*/ 6454 w 10000"/>
                <a:gd name="connsiteY23" fmla="*/ 5705 h 9909"/>
                <a:gd name="connsiteX24" fmla="*/ 6898 w 10000"/>
                <a:gd name="connsiteY24" fmla="*/ 6785 h 9909"/>
                <a:gd name="connsiteX25" fmla="*/ 7500 w 10000"/>
                <a:gd name="connsiteY25" fmla="*/ 6756 h 9909"/>
                <a:gd name="connsiteX26" fmla="*/ 8269 w 10000"/>
                <a:gd name="connsiteY26" fmla="*/ 6112 h 9909"/>
                <a:gd name="connsiteX27" fmla="*/ 8846 w 10000"/>
                <a:gd name="connsiteY27" fmla="*/ 5147 h 9909"/>
                <a:gd name="connsiteX28" fmla="*/ 9038 w 10000"/>
                <a:gd name="connsiteY28" fmla="*/ 3377 h 9909"/>
                <a:gd name="connsiteX29" fmla="*/ 9615 w 10000"/>
                <a:gd name="connsiteY29" fmla="*/ 3056 h 9909"/>
                <a:gd name="connsiteX30" fmla="*/ 10000 w 10000"/>
                <a:gd name="connsiteY30" fmla="*/ 2896 h 9909"/>
                <a:gd name="connsiteX31" fmla="*/ 9615 w 10000"/>
                <a:gd name="connsiteY31" fmla="*/ 2091 h 9909"/>
                <a:gd name="connsiteX32" fmla="*/ 9038 w 10000"/>
                <a:gd name="connsiteY32" fmla="*/ 643 h 9909"/>
                <a:gd name="connsiteX33" fmla="*/ 8462 w 10000"/>
                <a:gd name="connsiteY33" fmla="*/ 0 h 9909"/>
                <a:gd name="connsiteX34" fmla="*/ 8077 w 10000"/>
                <a:gd name="connsiteY34" fmla="*/ 322 h 9909"/>
                <a:gd name="connsiteX35" fmla="*/ 7115 w 10000"/>
                <a:gd name="connsiteY35" fmla="*/ 804 h 9909"/>
                <a:gd name="connsiteX0" fmla="*/ 7115 w 10000"/>
                <a:gd name="connsiteY0" fmla="*/ 811 h 9415"/>
                <a:gd name="connsiteX1" fmla="*/ 2115 w 10000"/>
                <a:gd name="connsiteY1" fmla="*/ 811 h 9415"/>
                <a:gd name="connsiteX2" fmla="*/ 1923 w 10000"/>
                <a:gd name="connsiteY2" fmla="*/ 1785 h 9415"/>
                <a:gd name="connsiteX3" fmla="*/ 1346 w 10000"/>
                <a:gd name="connsiteY3" fmla="*/ 1785 h 9415"/>
                <a:gd name="connsiteX4" fmla="*/ 1346 w 10000"/>
                <a:gd name="connsiteY4" fmla="*/ 2273 h 9415"/>
                <a:gd name="connsiteX5" fmla="*/ 1154 w 10000"/>
                <a:gd name="connsiteY5" fmla="*/ 2110 h 9415"/>
                <a:gd name="connsiteX6" fmla="*/ 962 w 10000"/>
                <a:gd name="connsiteY6" fmla="*/ 4058 h 9415"/>
                <a:gd name="connsiteX7" fmla="*/ 385 w 10000"/>
                <a:gd name="connsiteY7" fmla="*/ 4383 h 9415"/>
                <a:gd name="connsiteX8" fmla="*/ 192 w 10000"/>
                <a:gd name="connsiteY8" fmla="*/ 5194 h 9415"/>
                <a:gd name="connsiteX9" fmla="*/ 0 w 10000"/>
                <a:gd name="connsiteY9" fmla="*/ 5681 h 9415"/>
                <a:gd name="connsiteX10" fmla="*/ 577 w 10000"/>
                <a:gd name="connsiteY10" fmla="*/ 6655 h 9415"/>
                <a:gd name="connsiteX11" fmla="*/ 962 w 10000"/>
                <a:gd name="connsiteY11" fmla="*/ 7303 h 9415"/>
                <a:gd name="connsiteX12" fmla="*/ 1538 w 10000"/>
                <a:gd name="connsiteY12" fmla="*/ 8116 h 9415"/>
                <a:gd name="connsiteX13" fmla="*/ 2308 w 10000"/>
                <a:gd name="connsiteY13" fmla="*/ 8440 h 9415"/>
                <a:gd name="connsiteX14" fmla="*/ 3462 w 10000"/>
                <a:gd name="connsiteY14" fmla="*/ 9415 h 9415"/>
                <a:gd name="connsiteX15" fmla="*/ 1030 w 10000"/>
                <a:gd name="connsiteY15" fmla="*/ 7321 h 9415"/>
                <a:gd name="connsiteX16" fmla="*/ 1782 w 10000"/>
                <a:gd name="connsiteY16" fmla="*/ 7022 h 9415"/>
                <a:gd name="connsiteX17" fmla="*/ 3364 w 10000"/>
                <a:gd name="connsiteY17" fmla="*/ 7443 h 9415"/>
                <a:gd name="connsiteX18" fmla="*/ 4620 w 10000"/>
                <a:gd name="connsiteY18" fmla="*/ 7317 h 9415"/>
                <a:gd name="connsiteX19" fmla="*/ 5020 w 10000"/>
                <a:gd name="connsiteY19" fmla="*/ 6584 h 9415"/>
                <a:gd name="connsiteX20" fmla="*/ 5567 w 10000"/>
                <a:gd name="connsiteY20" fmla="*/ 7178 h 9415"/>
                <a:gd name="connsiteX21" fmla="*/ 6262 w 10000"/>
                <a:gd name="connsiteY21" fmla="*/ 5797 h 9415"/>
                <a:gd name="connsiteX22" fmla="*/ 6454 w 10000"/>
                <a:gd name="connsiteY22" fmla="*/ 5757 h 9415"/>
                <a:gd name="connsiteX23" fmla="*/ 6898 w 10000"/>
                <a:gd name="connsiteY23" fmla="*/ 6847 h 9415"/>
                <a:gd name="connsiteX24" fmla="*/ 7500 w 10000"/>
                <a:gd name="connsiteY24" fmla="*/ 6818 h 9415"/>
                <a:gd name="connsiteX25" fmla="*/ 8269 w 10000"/>
                <a:gd name="connsiteY25" fmla="*/ 6168 h 9415"/>
                <a:gd name="connsiteX26" fmla="*/ 8846 w 10000"/>
                <a:gd name="connsiteY26" fmla="*/ 5194 h 9415"/>
                <a:gd name="connsiteX27" fmla="*/ 9038 w 10000"/>
                <a:gd name="connsiteY27" fmla="*/ 3408 h 9415"/>
                <a:gd name="connsiteX28" fmla="*/ 9615 w 10000"/>
                <a:gd name="connsiteY28" fmla="*/ 3084 h 9415"/>
                <a:gd name="connsiteX29" fmla="*/ 10000 w 10000"/>
                <a:gd name="connsiteY29" fmla="*/ 2923 h 9415"/>
                <a:gd name="connsiteX30" fmla="*/ 9615 w 10000"/>
                <a:gd name="connsiteY30" fmla="*/ 2110 h 9415"/>
                <a:gd name="connsiteX31" fmla="*/ 9038 w 10000"/>
                <a:gd name="connsiteY31" fmla="*/ 649 h 9415"/>
                <a:gd name="connsiteX32" fmla="*/ 8462 w 10000"/>
                <a:gd name="connsiteY32" fmla="*/ 0 h 9415"/>
                <a:gd name="connsiteX33" fmla="*/ 8077 w 10000"/>
                <a:gd name="connsiteY33" fmla="*/ 325 h 9415"/>
                <a:gd name="connsiteX34" fmla="*/ 7115 w 10000"/>
                <a:gd name="connsiteY34" fmla="*/ 811 h 9415"/>
                <a:gd name="connsiteX0" fmla="*/ 7115 w 10000"/>
                <a:gd name="connsiteY0" fmla="*/ 861 h 8964"/>
                <a:gd name="connsiteX1" fmla="*/ 2115 w 10000"/>
                <a:gd name="connsiteY1" fmla="*/ 861 h 8964"/>
                <a:gd name="connsiteX2" fmla="*/ 1923 w 10000"/>
                <a:gd name="connsiteY2" fmla="*/ 1896 h 8964"/>
                <a:gd name="connsiteX3" fmla="*/ 1346 w 10000"/>
                <a:gd name="connsiteY3" fmla="*/ 1896 h 8964"/>
                <a:gd name="connsiteX4" fmla="*/ 1346 w 10000"/>
                <a:gd name="connsiteY4" fmla="*/ 2414 h 8964"/>
                <a:gd name="connsiteX5" fmla="*/ 1154 w 10000"/>
                <a:gd name="connsiteY5" fmla="*/ 2241 h 8964"/>
                <a:gd name="connsiteX6" fmla="*/ 962 w 10000"/>
                <a:gd name="connsiteY6" fmla="*/ 4310 h 8964"/>
                <a:gd name="connsiteX7" fmla="*/ 385 w 10000"/>
                <a:gd name="connsiteY7" fmla="*/ 4655 h 8964"/>
                <a:gd name="connsiteX8" fmla="*/ 192 w 10000"/>
                <a:gd name="connsiteY8" fmla="*/ 5517 h 8964"/>
                <a:gd name="connsiteX9" fmla="*/ 0 w 10000"/>
                <a:gd name="connsiteY9" fmla="*/ 6034 h 8964"/>
                <a:gd name="connsiteX10" fmla="*/ 577 w 10000"/>
                <a:gd name="connsiteY10" fmla="*/ 7069 h 8964"/>
                <a:gd name="connsiteX11" fmla="*/ 962 w 10000"/>
                <a:gd name="connsiteY11" fmla="*/ 7757 h 8964"/>
                <a:gd name="connsiteX12" fmla="*/ 1538 w 10000"/>
                <a:gd name="connsiteY12" fmla="*/ 8620 h 8964"/>
                <a:gd name="connsiteX13" fmla="*/ 2308 w 10000"/>
                <a:gd name="connsiteY13" fmla="*/ 8964 h 8964"/>
                <a:gd name="connsiteX14" fmla="*/ 1030 w 10000"/>
                <a:gd name="connsiteY14" fmla="*/ 7776 h 8964"/>
                <a:gd name="connsiteX15" fmla="*/ 1782 w 10000"/>
                <a:gd name="connsiteY15" fmla="*/ 7458 h 8964"/>
                <a:gd name="connsiteX16" fmla="*/ 3364 w 10000"/>
                <a:gd name="connsiteY16" fmla="*/ 7905 h 8964"/>
                <a:gd name="connsiteX17" fmla="*/ 4620 w 10000"/>
                <a:gd name="connsiteY17" fmla="*/ 7772 h 8964"/>
                <a:gd name="connsiteX18" fmla="*/ 5020 w 10000"/>
                <a:gd name="connsiteY18" fmla="*/ 6993 h 8964"/>
                <a:gd name="connsiteX19" fmla="*/ 5567 w 10000"/>
                <a:gd name="connsiteY19" fmla="*/ 7624 h 8964"/>
                <a:gd name="connsiteX20" fmla="*/ 6262 w 10000"/>
                <a:gd name="connsiteY20" fmla="*/ 6157 h 8964"/>
                <a:gd name="connsiteX21" fmla="*/ 6454 w 10000"/>
                <a:gd name="connsiteY21" fmla="*/ 6115 h 8964"/>
                <a:gd name="connsiteX22" fmla="*/ 6898 w 10000"/>
                <a:gd name="connsiteY22" fmla="*/ 7272 h 8964"/>
                <a:gd name="connsiteX23" fmla="*/ 7500 w 10000"/>
                <a:gd name="connsiteY23" fmla="*/ 7242 h 8964"/>
                <a:gd name="connsiteX24" fmla="*/ 8269 w 10000"/>
                <a:gd name="connsiteY24" fmla="*/ 6551 h 8964"/>
                <a:gd name="connsiteX25" fmla="*/ 8846 w 10000"/>
                <a:gd name="connsiteY25" fmla="*/ 5517 h 8964"/>
                <a:gd name="connsiteX26" fmla="*/ 9038 w 10000"/>
                <a:gd name="connsiteY26" fmla="*/ 3620 h 8964"/>
                <a:gd name="connsiteX27" fmla="*/ 9615 w 10000"/>
                <a:gd name="connsiteY27" fmla="*/ 3276 h 8964"/>
                <a:gd name="connsiteX28" fmla="*/ 10000 w 10000"/>
                <a:gd name="connsiteY28" fmla="*/ 3105 h 8964"/>
                <a:gd name="connsiteX29" fmla="*/ 9615 w 10000"/>
                <a:gd name="connsiteY29" fmla="*/ 2241 h 8964"/>
                <a:gd name="connsiteX30" fmla="*/ 9038 w 10000"/>
                <a:gd name="connsiteY30" fmla="*/ 689 h 8964"/>
                <a:gd name="connsiteX31" fmla="*/ 8462 w 10000"/>
                <a:gd name="connsiteY31" fmla="*/ 0 h 8964"/>
                <a:gd name="connsiteX32" fmla="*/ 8077 w 10000"/>
                <a:gd name="connsiteY32" fmla="*/ 345 h 8964"/>
                <a:gd name="connsiteX33" fmla="*/ 7115 w 10000"/>
                <a:gd name="connsiteY33" fmla="*/ 861 h 8964"/>
                <a:gd name="connsiteX0" fmla="*/ 7115 w 10000"/>
                <a:gd name="connsiteY0" fmla="*/ 961 h 9616"/>
                <a:gd name="connsiteX1" fmla="*/ 2115 w 10000"/>
                <a:gd name="connsiteY1" fmla="*/ 961 h 9616"/>
                <a:gd name="connsiteX2" fmla="*/ 1923 w 10000"/>
                <a:gd name="connsiteY2" fmla="*/ 2115 h 9616"/>
                <a:gd name="connsiteX3" fmla="*/ 1346 w 10000"/>
                <a:gd name="connsiteY3" fmla="*/ 2115 h 9616"/>
                <a:gd name="connsiteX4" fmla="*/ 1346 w 10000"/>
                <a:gd name="connsiteY4" fmla="*/ 2693 h 9616"/>
                <a:gd name="connsiteX5" fmla="*/ 1154 w 10000"/>
                <a:gd name="connsiteY5" fmla="*/ 2500 h 9616"/>
                <a:gd name="connsiteX6" fmla="*/ 962 w 10000"/>
                <a:gd name="connsiteY6" fmla="*/ 4808 h 9616"/>
                <a:gd name="connsiteX7" fmla="*/ 385 w 10000"/>
                <a:gd name="connsiteY7" fmla="*/ 5193 h 9616"/>
                <a:gd name="connsiteX8" fmla="*/ 192 w 10000"/>
                <a:gd name="connsiteY8" fmla="*/ 6155 h 9616"/>
                <a:gd name="connsiteX9" fmla="*/ 0 w 10000"/>
                <a:gd name="connsiteY9" fmla="*/ 6731 h 9616"/>
                <a:gd name="connsiteX10" fmla="*/ 577 w 10000"/>
                <a:gd name="connsiteY10" fmla="*/ 7886 h 9616"/>
                <a:gd name="connsiteX11" fmla="*/ 962 w 10000"/>
                <a:gd name="connsiteY11" fmla="*/ 8654 h 9616"/>
                <a:gd name="connsiteX12" fmla="*/ 1538 w 10000"/>
                <a:gd name="connsiteY12" fmla="*/ 9616 h 9616"/>
                <a:gd name="connsiteX13" fmla="*/ 1030 w 10000"/>
                <a:gd name="connsiteY13" fmla="*/ 8675 h 9616"/>
                <a:gd name="connsiteX14" fmla="*/ 1782 w 10000"/>
                <a:gd name="connsiteY14" fmla="*/ 8320 h 9616"/>
                <a:gd name="connsiteX15" fmla="*/ 3364 w 10000"/>
                <a:gd name="connsiteY15" fmla="*/ 8819 h 9616"/>
                <a:gd name="connsiteX16" fmla="*/ 4620 w 10000"/>
                <a:gd name="connsiteY16" fmla="*/ 8670 h 9616"/>
                <a:gd name="connsiteX17" fmla="*/ 5020 w 10000"/>
                <a:gd name="connsiteY17" fmla="*/ 7801 h 9616"/>
                <a:gd name="connsiteX18" fmla="*/ 5567 w 10000"/>
                <a:gd name="connsiteY18" fmla="*/ 8505 h 9616"/>
                <a:gd name="connsiteX19" fmla="*/ 6262 w 10000"/>
                <a:gd name="connsiteY19" fmla="*/ 6869 h 9616"/>
                <a:gd name="connsiteX20" fmla="*/ 6454 w 10000"/>
                <a:gd name="connsiteY20" fmla="*/ 6822 h 9616"/>
                <a:gd name="connsiteX21" fmla="*/ 6898 w 10000"/>
                <a:gd name="connsiteY21" fmla="*/ 8112 h 9616"/>
                <a:gd name="connsiteX22" fmla="*/ 7500 w 10000"/>
                <a:gd name="connsiteY22" fmla="*/ 8079 h 9616"/>
                <a:gd name="connsiteX23" fmla="*/ 8269 w 10000"/>
                <a:gd name="connsiteY23" fmla="*/ 7308 h 9616"/>
                <a:gd name="connsiteX24" fmla="*/ 8846 w 10000"/>
                <a:gd name="connsiteY24" fmla="*/ 6155 h 9616"/>
                <a:gd name="connsiteX25" fmla="*/ 9038 w 10000"/>
                <a:gd name="connsiteY25" fmla="*/ 4038 h 9616"/>
                <a:gd name="connsiteX26" fmla="*/ 9615 w 10000"/>
                <a:gd name="connsiteY26" fmla="*/ 3655 h 9616"/>
                <a:gd name="connsiteX27" fmla="*/ 10000 w 10000"/>
                <a:gd name="connsiteY27" fmla="*/ 3464 h 9616"/>
                <a:gd name="connsiteX28" fmla="*/ 9615 w 10000"/>
                <a:gd name="connsiteY28" fmla="*/ 2500 h 9616"/>
                <a:gd name="connsiteX29" fmla="*/ 9038 w 10000"/>
                <a:gd name="connsiteY29" fmla="*/ 769 h 9616"/>
                <a:gd name="connsiteX30" fmla="*/ 8462 w 10000"/>
                <a:gd name="connsiteY30" fmla="*/ 0 h 9616"/>
                <a:gd name="connsiteX31" fmla="*/ 8077 w 10000"/>
                <a:gd name="connsiteY31" fmla="*/ 385 h 9616"/>
                <a:gd name="connsiteX32" fmla="*/ 7115 w 10000"/>
                <a:gd name="connsiteY32" fmla="*/ 961 h 9616"/>
                <a:gd name="connsiteX0" fmla="*/ 7115 w 10000"/>
                <a:gd name="connsiteY0" fmla="*/ 999 h 9198"/>
                <a:gd name="connsiteX1" fmla="*/ 2115 w 10000"/>
                <a:gd name="connsiteY1" fmla="*/ 999 h 9198"/>
                <a:gd name="connsiteX2" fmla="*/ 1923 w 10000"/>
                <a:gd name="connsiteY2" fmla="*/ 2199 h 9198"/>
                <a:gd name="connsiteX3" fmla="*/ 1346 w 10000"/>
                <a:gd name="connsiteY3" fmla="*/ 2199 h 9198"/>
                <a:gd name="connsiteX4" fmla="*/ 1346 w 10000"/>
                <a:gd name="connsiteY4" fmla="*/ 2801 h 9198"/>
                <a:gd name="connsiteX5" fmla="*/ 1154 w 10000"/>
                <a:gd name="connsiteY5" fmla="*/ 2600 h 9198"/>
                <a:gd name="connsiteX6" fmla="*/ 962 w 10000"/>
                <a:gd name="connsiteY6" fmla="*/ 5000 h 9198"/>
                <a:gd name="connsiteX7" fmla="*/ 385 w 10000"/>
                <a:gd name="connsiteY7" fmla="*/ 5400 h 9198"/>
                <a:gd name="connsiteX8" fmla="*/ 192 w 10000"/>
                <a:gd name="connsiteY8" fmla="*/ 6401 h 9198"/>
                <a:gd name="connsiteX9" fmla="*/ 0 w 10000"/>
                <a:gd name="connsiteY9" fmla="*/ 7000 h 9198"/>
                <a:gd name="connsiteX10" fmla="*/ 577 w 10000"/>
                <a:gd name="connsiteY10" fmla="*/ 8201 h 9198"/>
                <a:gd name="connsiteX11" fmla="*/ 962 w 10000"/>
                <a:gd name="connsiteY11" fmla="*/ 9000 h 9198"/>
                <a:gd name="connsiteX12" fmla="*/ 1030 w 10000"/>
                <a:gd name="connsiteY12" fmla="*/ 9021 h 9198"/>
                <a:gd name="connsiteX13" fmla="*/ 1782 w 10000"/>
                <a:gd name="connsiteY13" fmla="*/ 8652 h 9198"/>
                <a:gd name="connsiteX14" fmla="*/ 3364 w 10000"/>
                <a:gd name="connsiteY14" fmla="*/ 9171 h 9198"/>
                <a:gd name="connsiteX15" fmla="*/ 4620 w 10000"/>
                <a:gd name="connsiteY15" fmla="*/ 9016 h 9198"/>
                <a:gd name="connsiteX16" fmla="*/ 5020 w 10000"/>
                <a:gd name="connsiteY16" fmla="*/ 8113 h 9198"/>
                <a:gd name="connsiteX17" fmla="*/ 5567 w 10000"/>
                <a:gd name="connsiteY17" fmla="*/ 8845 h 9198"/>
                <a:gd name="connsiteX18" fmla="*/ 6262 w 10000"/>
                <a:gd name="connsiteY18" fmla="*/ 7143 h 9198"/>
                <a:gd name="connsiteX19" fmla="*/ 6454 w 10000"/>
                <a:gd name="connsiteY19" fmla="*/ 7094 h 9198"/>
                <a:gd name="connsiteX20" fmla="*/ 6898 w 10000"/>
                <a:gd name="connsiteY20" fmla="*/ 8436 h 9198"/>
                <a:gd name="connsiteX21" fmla="*/ 7500 w 10000"/>
                <a:gd name="connsiteY21" fmla="*/ 8402 h 9198"/>
                <a:gd name="connsiteX22" fmla="*/ 8269 w 10000"/>
                <a:gd name="connsiteY22" fmla="*/ 7600 h 9198"/>
                <a:gd name="connsiteX23" fmla="*/ 8846 w 10000"/>
                <a:gd name="connsiteY23" fmla="*/ 6401 h 9198"/>
                <a:gd name="connsiteX24" fmla="*/ 9038 w 10000"/>
                <a:gd name="connsiteY24" fmla="*/ 4199 h 9198"/>
                <a:gd name="connsiteX25" fmla="*/ 9615 w 10000"/>
                <a:gd name="connsiteY25" fmla="*/ 3801 h 9198"/>
                <a:gd name="connsiteX26" fmla="*/ 10000 w 10000"/>
                <a:gd name="connsiteY26" fmla="*/ 3602 h 9198"/>
                <a:gd name="connsiteX27" fmla="*/ 9615 w 10000"/>
                <a:gd name="connsiteY27" fmla="*/ 2600 h 9198"/>
                <a:gd name="connsiteX28" fmla="*/ 9038 w 10000"/>
                <a:gd name="connsiteY28" fmla="*/ 800 h 9198"/>
                <a:gd name="connsiteX29" fmla="*/ 8462 w 10000"/>
                <a:gd name="connsiteY29" fmla="*/ 0 h 9198"/>
                <a:gd name="connsiteX30" fmla="*/ 8077 w 10000"/>
                <a:gd name="connsiteY30" fmla="*/ 400 h 9198"/>
                <a:gd name="connsiteX31" fmla="*/ 7115 w 10000"/>
                <a:gd name="connsiteY31" fmla="*/ 999 h 9198"/>
                <a:gd name="connsiteX0" fmla="*/ 7115 w 10000"/>
                <a:gd name="connsiteY0" fmla="*/ 1086 h 9971"/>
                <a:gd name="connsiteX1" fmla="*/ 2115 w 10000"/>
                <a:gd name="connsiteY1" fmla="*/ 1086 h 9971"/>
                <a:gd name="connsiteX2" fmla="*/ 1923 w 10000"/>
                <a:gd name="connsiteY2" fmla="*/ 2391 h 9971"/>
                <a:gd name="connsiteX3" fmla="*/ 1346 w 10000"/>
                <a:gd name="connsiteY3" fmla="*/ 2391 h 9971"/>
                <a:gd name="connsiteX4" fmla="*/ 1346 w 10000"/>
                <a:gd name="connsiteY4" fmla="*/ 3045 h 9971"/>
                <a:gd name="connsiteX5" fmla="*/ 1154 w 10000"/>
                <a:gd name="connsiteY5" fmla="*/ 2827 h 9971"/>
                <a:gd name="connsiteX6" fmla="*/ 962 w 10000"/>
                <a:gd name="connsiteY6" fmla="*/ 5436 h 9971"/>
                <a:gd name="connsiteX7" fmla="*/ 385 w 10000"/>
                <a:gd name="connsiteY7" fmla="*/ 5871 h 9971"/>
                <a:gd name="connsiteX8" fmla="*/ 192 w 10000"/>
                <a:gd name="connsiteY8" fmla="*/ 6959 h 9971"/>
                <a:gd name="connsiteX9" fmla="*/ 0 w 10000"/>
                <a:gd name="connsiteY9" fmla="*/ 7610 h 9971"/>
                <a:gd name="connsiteX10" fmla="*/ 577 w 10000"/>
                <a:gd name="connsiteY10" fmla="*/ 8916 h 9971"/>
                <a:gd name="connsiteX11" fmla="*/ 962 w 10000"/>
                <a:gd name="connsiteY11" fmla="*/ 9785 h 9971"/>
                <a:gd name="connsiteX12" fmla="*/ 1030 w 10000"/>
                <a:gd name="connsiteY12" fmla="*/ 9808 h 9971"/>
                <a:gd name="connsiteX13" fmla="*/ 1782 w 10000"/>
                <a:gd name="connsiteY13" fmla="*/ 9406 h 9971"/>
                <a:gd name="connsiteX14" fmla="*/ 3364 w 10000"/>
                <a:gd name="connsiteY14" fmla="*/ 9971 h 9971"/>
                <a:gd name="connsiteX15" fmla="*/ 4620 w 10000"/>
                <a:gd name="connsiteY15" fmla="*/ 9802 h 9971"/>
                <a:gd name="connsiteX16" fmla="*/ 5020 w 10000"/>
                <a:gd name="connsiteY16" fmla="*/ 8820 h 9971"/>
                <a:gd name="connsiteX17" fmla="*/ 5567 w 10000"/>
                <a:gd name="connsiteY17" fmla="*/ 9616 h 9971"/>
                <a:gd name="connsiteX18" fmla="*/ 6262 w 10000"/>
                <a:gd name="connsiteY18" fmla="*/ 7766 h 9971"/>
                <a:gd name="connsiteX19" fmla="*/ 6454 w 10000"/>
                <a:gd name="connsiteY19" fmla="*/ 7713 h 9971"/>
                <a:gd name="connsiteX20" fmla="*/ 6898 w 10000"/>
                <a:gd name="connsiteY20" fmla="*/ 9172 h 9971"/>
                <a:gd name="connsiteX21" fmla="*/ 7500 w 10000"/>
                <a:gd name="connsiteY21" fmla="*/ 9135 h 9971"/>
                <a:gd name="connsiteX22" fmla="*/ 8269 w 10000"/>
                <a:gd name="connsiteY22" fmla="*/ 8263 h 9971"/>
                <a:gd name="connsiteX23" fmla="*/ 8846 w 10000"/>
                <a:gd name="connsiteY23" fmla="*/ 6959 h 9971"/>
                <a:gd name="connsiteX24" fmla="*/ 9038 w 10000"/>
                <a:gd name="connsiteY24" fmla="*/ 4565 h 9971"/>
                <a:gd name="connsiteX25" fmla="*/ 9615 w 10000"/>
                <a:gd name="connsiteY25" fmla="*/ 4132 h 9971"/>
                <a:gd name="connsiteX26" fmla="*/ 10000 w 10000"/>
                <a:gd name="connsiteY26" fmla="*/ 3916 h 9971"/>
                <a:gd name="connsiteX27" fmla="*/ 9615 w 10000"/>
                <a:gd name="connsiteY27" fmla="*/ 2827 h 9971"/>
                <a:gd name="connsiteX28" fmla="*/ 9038 w 10000"/>
                <a:gd name="connsiteY28" fmla="*/ 870 h 9971"/>
                <a:gd name="connsiteX29" fmla="*/ 8462 w 10000"/>
                <a:gd name="connsiteY29" fmla="*/ 0 h 9971"/>
                <a:gd name="connsiteX30" fmla="*/ 8077 w 10000"/>
                <a:gd name="connsiteY30" fmla="*/ 435 h 9971"/>
                <a:gd name="connsiteX31" fmla="*/ 7115 w 10000"/>
                <a:gd name="connsiteY31" fmla="*/ 1086 h 9971"/>
                <a:gd name="connsiteX0" fmla="*/ 7115 w 10000"/>
                <a:gd name="connsiteY0" fmla="*/ 1089 h 10000"/>
                <a:gd name="connsiteX1" fmla="*/ 2115 w 10000"/>
                <a:gd name="connsiteY1" fmla="*/ 1089 h 10000"/>
                <a:gd name="connsiteX2" fmla="*/ 1923 w 10000"/>
                <a:gd name="connsiteY2" fmla="*/ 2398 h 10000"/>
                <a:gd name="connsiteX3" fmla="*/ 1346 w 10000"/>
                <a:gd name="connsiteY3" fmla="*/ 2398 h 10000"/>
                <a:gd name="connsiteX4" fmla="*/ 1346 w 10000"/>
                <a:gd name="connsiteY4" fmla="*/ 3054 h 10000"/>
                <a:gd name="connsiteX5" fmla="*/ 1154 w 10000"/>
                <a:gd name="connsiteY5" fmla="*/ 2835 h 10000"/>
                <a:gd name="connsiteX6" fmla="*/ 962 w 10000"/>
                <a:gd name="connsiteY6" fmla="*/ 5452 h 10000"/>
                <a:gd name="connsiteX7" fmla="*/ 385 w 10000"/>
                <a:gd name="connsiteY7" fmla="*/ 5888 h 10000"/>
                <a:gd name="connsiteX8" fmla="*/ 192 w 10000"/>
                <a:gd name="connsiteY8" fmla="*/ 6979 h 10000"/>
                <a:gd name="connsiteX9" fmla="*/ 0 w 10000"/>
                <a:gd name="connsiteY9" fmla="*/ 7632 h 10000"/>
                <a:gd name="connsiteX10" fmla="*/ 577 w 10000"/>
                <a:gd name="connsiteY10" fmla="*/ 8942 h 10000"/>
                <a:gd name="connsiteX11" fmla="*/ 962 w 10000"/>
                <a:gd name="connsiteY11" fmla="*/ 9813 h 10000"/>
                <a:gd name="connsiteX12" fmla="*/ 1030 w 10000"/>
                <a:gd name="connsiteY12" fmla="*/ 9837 h 10000"/>
                <a:gd name="connsiteX13" fmla="*/ 1782 w 10000"/>
                <a:gd name="connsiteY13" fmla="*/ 9433 h 10000"/>
                <a:gd name="connsiteX14" fmla="*/ 3364 w 10000"/>
                <a:gd name="connsiteY14" fmla="*/ 10000 h 10000"/>
                <a:gd name="connsiteX15" fmla="*/ 4620 w 10000"/>
                <a:gd name="connsiteY15" fmla="*/ 9831 h 10000"/>
                <a:gd name="connsiteX16" fmla="*/ 5020 w 10000"/>
                <a:gd name="connsiteY16" fmla="*/ 8846 h 10000"/>
                <a:gd name="connsiteX17" fmla="*/ 5567 w 10000"/>
                <a:gd name="connsiteY17" fmla="*/ 9644 h 10000"/>
                <a:gd name="connsiteX18" fmla="*/ 6262 w 10000"/>
                <a:gd name="connsiteY18" fmla="*/ 7789 h 10000"/>
                <a:gd name="connsiteX19" fmla="*/ 6454 w 10000"/>
                <a:gd name="connsiteY19" fmla="*/ 7735 h 10000"/>
                <a:gd name="connsiteX20" fmla="*/ 6898 w 10000"/>
                <a:gd name="connsiteY20" fmla="*/ 9199 h 10000"/>
                <a:gd name="connsiteX21" fmla="*/ 7500 w 10000"/>
                <a:gd name="connsiteY21" fmla="*/ 9162 h 10000"/>
                <a:gd name="connsiteX22" fmla="*/ 8269 w 10000"/>
                <a:gd name="connsiteY22" fmla="*/ 8287 h 10000"/>
                <a:gd name="connsiteX23" fmla="*/ 8846 w 10000"/>
                <a:gd name="connsiteY23" fmla="*/ 6979 h 10000"/>
                <a:gd name="connsiteX24" fmla="*/ 9038 w 10000"/>
                <a:gd name="connsiteY24" fmla="*/ 4578 h 10000"/>
                <a:gd name="connsiteX25" fmla="*/ 9615 w 10000"/>
                <a:gd name="connsiteY25" fmla="*/ 4144 h 10000"/>
                <a:gd name="connsiteX26" fmla="*/ 10000 w 10000"/>
                <a:gd name="connsiteY26" fmla="*/ 3927 h 10000"/>
                <a:gd name="connsiteX27" fmla="*/ 9615 w 10000"/>
                <a:gd name="connsiteY27" fmla="*/ 2835 h 10000"/>
                <a:gd name="connsiteX28" fmla="*/ 9038 w 10000"/>
                <a:gd name="connsiteY28" fmla="*/ 873 h 10000"/>
                <a:gd name="connsiteX29" fmla="*/ 8462 w 10000"/>
                <a:gd name="connsiteY29" fmla="*/ 0 h 10000"/>
                <a:gd name="connsiteX30" fmla="*/ 8077 w 10000"/>
                <a:gd name="connsiteY30" fmla="*/ 436 h 10000"/>
                <a:gd name="connsiteX31" fmla="*/ 7115 w 10000"/>
                <a:gd name="connsiteY31" fmla="*/ 1089 h 10000"/>
                <a:gd name="connsiteX0" fmla="*/ 7115 w 10000"/>
                <a:gd name="connsiteY0" fmla="*/ 1089 h 10000"/>
                <a:gd name="connsiteX1" fmla="*/ 2115 w 10000"/>
                <a:gd name="connsiteY1" fmla="*/ 1089 h 10000"/>
                <a:gd name="connsiteX2" fmla="*/ 1923 w 10000"/>
                <a:gd name="connsiteY2" fmla="*/ 2398 h 10000"/>
                <a:gd name="connsiteX3" fmla="*/ 1346 w 10000"/>
                <a:gd name="connsiteY3" fmla="*/ 2398 h 10000"/>
                <a:gd name="connsiteX4" fmla="*/ 1346 w 10000"/>
                <a:gd name="connsiteY4" fmla="*/ 3054 h 10000"/>
                <a:gd name="connsiteX5" fmla="*/ 1154 w 10000"/>
                <a:gd name="connsiteY5" fmla="*/ 2835 h 10000"/>
                <a:gd name="connsiteX6" fmla="*/ 962 w 10000"/>
                <a:gd name="connsiteY6" fmla="*/ 5452 h 10000"/>
                <a:gd name="connsiteX7" fmla="*/ 385 w 10000"/>
                <a:gd name="connsiteY7" fmla="*/ 5888 h 10000"/>
                <a:gd name="connsiteX8" fmla="*/ 192 w 10000"/>
                <a:gd name="connsiteY8" fmla="*/ 6979 h 10000"/>
                <a:gd name="connsiteX9" fmla="*/ 0 w 10000"/>
                <a:gd name="connsiteY9" fmla="*/ 7632 h 10000"/>
                <a:gd name="connsiteX10" fmla="*/ 577 w 10000"/>
                <a:gd name="connsiteY10" fmla="*/ 8942 h 10000"/>
                <a:gd name="connsiteX11" fmla="*/ 962 w 10000"/>
                <a:gd name="connsiteY11" fmla="*/ 9813 h 10000"/>
                <a:gd name="connsiteX12" fmla="*/ 1030 w 10000"/>
                <a:gd name="connsiteY12" fmla="*/ 9837 h 10000"/>
                <a:gd name="connsiteX13" fmla="*/ 1782 w 10000"/>
                <a:gd name="connsiteY13" fmla="*/ 9433 h 10000"/>
                <a:gd name="connsiteX14" fmla="*/ 3364 w 10000"/>
                <a:gd name="connsiteY14" fmla="*/ 10000 h 10000"/>
                <a:gd name="connsiteX15" fmla="*/ 4620 w 10000"/>
                <a:gd name="connsiteY15" fmla="*/ 9831 h 10000"/>
                <a:gd name="connsiteX16" fmla="*/ 5020 w 10000"/>
                <a:gd name="connsiteY16" fmla="*/ 8846 h 10000"/>
                <a:gd name="connsiteX17" fmla="*/ 5567 w 10000"/>
                <a:gd name="connsiteY17" fmla="*/ 9644 h 10000"/>
                <a:gd name="connsiteX18" fmla="*/ 6262 w 10000"/>
                <a:gd name="connsiteY18" fmla="*/ 7789 h 10000"/>
                <a:gd name="connsiteX19" fmla="*/ 6454 w 10000"/>
                <a:gd name="connsiteY19" fmla="*/ 7735 h 10000"/>
                <a:gd name="connsiteX20" fmla="*/ 6898 w 10000"/>
                <a:gd name="connsiteY20" fmla="*/ 9199 h 10000"/>
                <a:gd name="connsiteX21" fmla="*/ 7500 w 10000"/>
                <a:gd name="connsiteY21" fmla="*/ 9162 h 10000"/>
                <a:gd name="connsiteX22" fmla="*/ 8269 w 10000"/>
                <a:gd name="connsiteY22" fmla="*/ 8287 h 10000"/>
                <a:gd name="connsiteX23" fmla="*/ 8846 w 10000"/>
                <a:gd name="connsiteY23" fmla="*/ 6979 h 10000"/>
                <a:gd name="connsiteX24" fmla="*/ 9038 w 10000"/>
                <a:gd name="connsiteY24" fmla="*/ 4578 h 10000"/>
                <a:gd name="connsiteX25" fmla="*/ 9615 w 10000"/>
                <a:gd name="connsiteY25" fmla="*/ 4144 h 10000"/>
                <a:gd name="connsiteX26" fmla="*/ 10000 w 10000"/>
                <a:gd name="connsiteY26" fmla="*/ 3927 h 10000"/>
                <a:gd name="connsiteX27" fmla="*/ 9615 w 10000"/>
                <a:gd name="connsiteY27" fmla="*/ 2835 h 10000"/>
                <a:gd name="connsiteX28" fmla="*/ 9038 w 10000"/>
                <a:gd name="connsiteY28" fmla="*/ 873 h 10000"/>
                <a:gd name="connsiteX29" fmla="*/ 8462 w 10000"/>
                <a:gd name="connsiteY29" fmla="*/ 0 h 10000"/>
                <a:gd name="connsiteX30" fmla="*/ 8077 w 10000"/>
                <a:gd name="connsiteY30" fmla="*/ 436 h 10000"/>
                <a:gd name="connsiteX31" fmla="*/ 7115 w 10000"/>
                <a:gd name="connsiteY31" fmla="*/ 1089 h 10000"/>
                <a:gd name="connsiteX0" fmla="*/ 7115 w 10000"/>
                <a:gd name="connsiteY0" fmla="*/ 1089 h 10000"/>
                <a:gd name="connsiteX1" fmla="*/ 2115 w 10000"/>
                <a:gd name="connsiteY1" fmla="*/ 1089 h 10000"/>
                <a:gd name="connsiteX2" fmla="*/ 1923 w 10000"/>
                <a:gd name="connsiteY2" fmla="*/ 2398 h 10000"/>
                <a:gd name="connsiteX3" fmla="*/ 1346 w 10000"/>
                <a:gd name="connsiteY3" fmla="*/ 2398 h 10000"/>
                <a:gd name="connsiteX4" fmla="*/ 1346 w 10000"/>
                <a:gd name="connsiteY4" fmla="*/ 3054 h 10000"/>
                <a:gd name="connsiteX5" fmla="*/ 1154 w 10000"/>
                <a:gd name="connsiteY5" fmla="*/ 2835 h 10000"/>
                <a:gd name="connsiteX6" fmla="*/ 962 w 10000"/>
                <a:gd name="connsiteY6" fmla="*/ 5452 h 10000"/>
                <a:gd name="connsiteX7" fmla="*/ 385 w 10000"/>
                <a:gd name="connsiteY7" fmla="*/ 5888 h 10000"/>
                <a:gd name="connsiteX8" fmla="*/ 192 w 10000"/>
                <a:gd name="connsiteY8" fmla="*/ 6979 h 10000"/>
                <a:gd name="connsiteX9" fmla="*/ 0 w 10000"/>
                <a:gd name="connsiteY9" fmla="*/ 7632 h 10000"/>
                <a:gd name="connsiteX10" fmla="*/ 577 w 10000"/>
                <a:gd name="connsiteY10" fmla="*/ 8942 h 10000"/>
                <a:gd name="connsiteX11" fmla="*/ 962 w 10000"/>
                <a:gd name="connsiteY11" fmla="*/ 9813 h 10000"/>
                <a:gd name="connsiteX12" fmla="*/ 1030 w 10000"/>
                <a:gd name="connsiteY12" fmla="*/ 9837 h 10000"/>
                <a:gd name="connsiteX13" fmla="*/ 1782 w 10000"/>
                <a:gd name="connsiteY13" fmla="*/ 9433 h 10000"/>
                <a:gd name="connsiteX14" fmla="*/ 3364 w 10000"/>
                <a:gd name="connsiteY14" fmla="*/ 10000 h 10000"/>
                <a:gd name="connsiteX15" fmla="*/ 4620 w 10000"/>
                <a:gd name="connsiteY15" fmla="*/ 9831 h 10000"/>
                <a:gd name="connsiteX16" fmla="*/ 5020 w 10000"/>
                <a:gd name="connsiteY16" fmla="*/ 8846 h 10000"/>
                <a:gd name="connsiteX17" fmla="*/ 5567 w 10000"/>
                <a:gd name="connsiteY17" fmla="*/ 9644 h 10000"/>
                <a:gd name="connsiteX18" fmla="*/ 6262 w 10000"/>
                <a:gd name="connsiteY18" fmla="*/ 7789 h 10000"/>
                <a:gd name="connsiteX19" fmla="*/ 6454 w 10000"/>
                <a:gd name="connsiteY19" fmla="*/ 7735 h 10000"/>
                <a:gd name="connsiteX20" fmla="*/ 6898 w 10000"/>
                <a:gd name="connsiteY20" fmla="*/ 9199 h 10000"/>
                <a:gd name="connsiteX21" fmla="*/ 7500 w 10000"/>
                <a:gd name="connsiteY21" fmla="*/ 9162 h 10000"/>
                <a:gd name="connsiteX22" fmla="*/ 8269 w 10000"/>
                <a:gd name="connsiteY22" fmla="*/ 8287 h 10000"/>
                <a:gd name="connsiteX23" fmla="*/ 8846 w 10000"/>
                <a:gd name="connsiteY23" fmla="*/ 6979 h 10000"/>
                <a:gd name="connsiteX24" fmla="*/ 9038 w 10000"/>
                <a:gd name="connsiteY24" fmla="*/ 4578 h 10000"/>
                <a:gd name="connsiteX25" fmla="*/ 9615 w 10000"/>
                <a:gd name="connsiteY25" fmla="*/ 4144 h 10000"/>
                <a:gd name="connsiteX26" fmla="*/ 10000 w 10000"/>
                <a:gd name="connsiteY26" fmla="*/ 3927 h 10000"/>
                <a:gd name="connsiteX27" fmla="*/ 9615 w 10000"/>
                <a:gd name="connsiteY27" fmla="*/ 2835 h 10000"/>
                <a:gd name="connsiteX28" fmla="*/ 9038 w 10000"/>
                <a:gd name="connsiteY28" fmla="*/ 873 h 10000"/>
                <a:gd name="connsiteX29" fmla="*/ 8462 w 10000"/>
                <a:gd name="connsiteY29" fmla="*/ 0 h 10000"/>
                <a:gd name="connsiteX30" fmla="*/ 8077 w 10000"/>
                <a:gd name="connsiteY30" fmla="*/ 436 h 10000"/>
                <a:gd name="connsiteX31" fmla="*/ 7115 w 10000"/>
                <a:gd name="connsiteY31" fmla="*/ 1089 h 10000"/>
                <a:gd name="connsiteX0" fmla="*/ 7115 w 10000"/>
                <a:gd name="connsiteY0" fmla="*/ 1089 h 10000"/>
                <a:gd name="connsiteX1" fmla="*/ 2115 w 10000"/>
                <a:gd name="connsiteY1" fmla="*/ 1089 h 10000"/>
                <a:gd name="connsiteX2" fmla="*/ 1923 w 10000"/>
                <a:gd name="connsiteY2" fmla="*/ 2398 h 10000"/>
                <a:gd name="connsiteX3" fmla="*/ 1346 w 10000"/>
                <a:gd name="connsiteY3" fmla="*/ 2398 h 10000"/>
                <a:gd name="connsiteX4" fmla="*/ 1346 w 10000"/>
                <a:gd name="connsiteY4" fmla="*/ 3054 h 10000"/>
                <a:gd name="connsiteX5" fmla="*/ 1154 w 10000"/>
                <a:gd name="connsiteY5" fmla="*/ 2835 h 10000"/>
                <a:gd name="connsiteX6" fmla="*/ 962 w 10000"/>
                <a:gd name="connsiteY6" fmla="*/ 5452 h 10000"/>
                <a:gd name="connsiteX7" fmla="*/ 385 w 10000"/>
                <a:gd name="connsiteY7" fmla="*/ 5888 h 10000"/>
                <a:gd name="connsiteX8" fmla="*/ 192 w 10000"/>
                <a:gd name="connsiteY8" fmla="*/ 6979 h 10000"/>
                <a:gd name="connsiteX9" fmla="*/ 0 w 10000"/>
                <a:gd name="connsiteY9" fmla="*/ 7632 h 10000"/>
                <a:gd name="connsiteX10" fmla="*/ 577 w 10000"/>
                <a:gd name="connsiteY10" fmla="*/ 8942 h 10000"/>
                <a:gd name="connsiteX11" fmla="*/ 962 w 10000"/>
                <a:gd name="connsiteY11" fmla="*/ 9813 h 10000"/>
                <a:gd name="connsiteX12" fmla="*/ 1030 w 10000"/>
                <a:gd name="connsiteY12" fmla="*/ 9837 h 10000"/>
                <a:gd name="connsiteX13" fmla="*/ 1782 w 10000"/>
                <a:gd name="connsiteY13" fmla="*/ 9433 h 10000"/>
                <a:gd name="connsiteX14" fmla="*/ 3364 w 10000"/>
                <a:gd name="connsiteY14" fmla="*/ 10000 h 10000"/>
                <a:gd name="connsiteX15" fmla="*/ 4620 w 10000"/>
                <a:gd name="connsiteY15" fmla="*/ 9831 h 10000"/>
                <a:gd name="connsiteX16" fmla="*/ 5020 w 10000"/>
                <a:gd name="connsiteY16" fmla="*/ 8846 h 10000"/>
                <a:gd name="connsiteX17" fmla="*/ 5567 w 10000"/>
                <a:gd name="connsiteY17" fmla="*/ 9644 h 10000"/>
                <a:gd name="connsiteX18" fmla="*/ 6262 w 10000"/>
                <a:gd name="connsiteY18" fmla="*/ 7789 h 10000"/>
                <a:gd name="connsiteX19" fmla="*/ 6454 w 10000"/>
                <a:gd name="connsiteY19" fmla="*/ 7735 h 10000"/>
                <a:gd name="connsiteX20" fmla="*/ 6898 w 10000"/>
                <a:gd name="connsiteY20" fmla="*/ 9199 h 10000"/>
                <a:gd name="connsiteX21" fmla="*/ 7500 w 10000"/>
                <a:gd name="connsiteY21" fmla="*/ 9162 h 10000"/>
                <a:gd name="connsiteX22" fmla="*/ 8269 w 10000"/>
                <a:gd name="connsiteY22" fmla="*/ 8287 h 10000"/>
                <a:gd name="connsiteX23" fmla="*/ 8846 w 10000"/>
                <a:gd name="connsiteY23" fmla="*/ 6979 h 10000"/>
                <a:gd name="connsiteX24" fmla="*/ 9038 w 10000"/>
                <a:gd name="connsiteY24" fmla="*/ 4578 h 10000"/>
                <a:gd name="connsiteX25" fmla="*/ 9615 w 10000"/>
                <a:gd name="connsiteY25" fmla="*/ 4144 h 10000"/>
                <a:gd name="connsiteX26" fmla="*/ 10000 w 10000"/>
                <a:gd name="connsiteY26" fmla="*/ 3927 h 10000"/>
                <a:gd name="connsiteX27" fmla="*/ 9615 w 10000"/>
                <a:gd name="connsiteY27" fmla="*/ 2835 h 10000"/>
                <a:gd name="connsiteX28" fmla="*/ 9038 w 10000"/>
                <a:gd name="connsiteY28" fmla="*/ 873 h 10000"/>
                <a:gd name="connsiteX29" fmla="*/ 8462 w 10000"/>
                <a:gd name="connsiteY29" fmla="*/ 0 h 10000"/>
                <a:gd name="connsiteX30" fmla="*/ 8077 w 10000"/>
                <a:gd name="connsiteY30" fmla="*/ 436 h 10000"/>
                <a:gd name="connsiteX31" fmla="*/ 7115 w 10000"/>
                <a:gd name="connsiteY31" fmla="*/ 1089 h 10000"/>
                <a:gd name="connsiteX0" fmla="*/ 7115 w 10000"/>
                <a:gd name="connsiteY0" fmla="*/ 1089 h 10000"/>
                <a:gd name="connsiteX1" fmla="*/ 2115 w 10000"/>
                <a:gd name="connsiteY1" fmla="*/ 1089 h 10000"/>
                <a:gd name="connsiteX2" fmla="*/ 1923 w 10000"/>
                <a:gd name="connsiteY2" fmla="*/ 2398 h 10000"/>
                <a:gd name="connsiteX3" fmla="*/ 1346 w 10000"/>
                <a:gd name="connsiteY3" fmla="*/ 2398 h 10000"/>
                <a:gd name="connsiteX4" fmla="*/ 1346 w 10000"/>
                <a:gd name="connsiteY4" fmla="*/ 3054 h 10000"/>
                <a:gd name="connsiteX5" fmla="*/ 1154 w 10000"/>
                <a:gd name="connsiteY5" fmla="*/ 2835 h 10000"/>
                <a:gd name="connsiteX6" fmla="*/ 962 w 10000"/>
                <a:gd name="connsiteY6" fmla="*/ 5452 h 10000"/>
                <a:gd name="connsiteX7" fmla="*/ 385 w 10000"/>
                <a:gd name="connsiteY7" fmla="*/ 5888 h 10000"/>
                <a:gd name="connsiteX8" fmla="*/ 192 w 10000"/>
                <a:gd name="connsiteY8" fmla="*/ 6979 h 10000"/>
                <a:gd name="connsiteX9" fmla="*/ 0 w 10000"/>
                <a:gd name="connsiteY9" fmla="*/ 7632 h 10000"/>
                <a:gd name="connsiteX10" fmla="*/ 577 w 10000"/>
                <a:gd name="connsiteY10" fmla="*/ 8942 h 10000"/>
                <a:gd name="connsiteX11" fmla="*/ 962 w 10000"/>
                <a:gd name="connsiteY11" fmla="*/ 9813 h 10000"/>
                <a:gd name="connsiteX12" fmla="*/ 1030 w 10000"/>
                <a:gd name="connsiteY12" fmla="*/ 9837 h 10000"/>
                <a:gd name="connsiteX13" fmla="*/ 1782 w 10000"/>
                <a:gd name="connsiteY13" fmla="*/ 9433 h 10000"/>
                <a:gd name="connsiteX14" fmla="*/ 3364 w 10000"/>
                <a:gd name="connsiteY14" fmla="*/ 10000 h 10000"/>
                <a:gd name="connsiteX15" fmla="*/ 4620 w 10000"/>
                <a:gd name="connsiteY15" fmla="*/ 9831 h 10000"/>
                <a:gd name="connsiteX16" fmla="*/ 5020 w 10000"/>
                <a:gd name="connsiteY16" fmla="*/ 8846 h 10000"/>
                <a:gd name="connsiteX17" fmla="*/ 5567 w 10000"/>
                <a:gd name="connsiteY17" fmla="*/ 9644 h 10000"/>
                <a:gd name="connsiteX18" fmla="*/ 6262 w 10000"/>
                <a:gd name="connsiteY18" fmla="*/ 7789 h 10000"/>
                <a:gd name="connsiteX19" fmla="*/ 6454 w 10000"/>
                <a:gd name="connsiteY19" fmla="*/ 7735 h 10000"/>
                <a:gd name="connsiteX20" fmla="*/ 6898 w 10000"/>
                <a:gd name="connsiteY20" fmla="*/ 9199 h 10000"/>
                <a:gd name="connsiteX21" fmla="*/ 7500 w 10000"/>
                <a:gd name="connsiteY21" fmla="*/ 9162 h 10000"/>
                <a:gd name="connsiteX22" fmla="*/ 8269 w 10000"/>
                <a:gd name="connsiteY22" fmla="*/ 8287 h 10000"/>
                <a:gd name="connsiteX23" fmla="*/ 8846 w 10000"/>
                <a:gd name="connsiteY23" fmla="*/ 6979 h 10000"/>
                <a:gd name="connsiteX24" fmla="*/ 9038 w 10000"/>
                <a:gd name="connsiteY24" fmla="*/ 4578 h 10000"/>
                <a:gd name="connsiteX25" fmla="*/ 9615 w 10000"/>
                <a:gd name="connsiteY25" fmla="*/ 4144 h 10000"/>
                <a:gd name="connsiteX26" fmla="*/ 10000 w 10000"/>
                <a:gd name="connsiteY26" fmla="*/ 3927 h 10000"/>
                <a:gd name="connsiteX27" fmla="*/ 9615 w 10000"/>
                <a:gd name="connsiteY27" fmla="*/ 2835 h 10000"/>
                <a:gd name="connsiteX28" fmla="*/ 9038 w 10000"/>
                <a:gd name="connsiteY28" fmla="*/ 873 h 10000"/>
                <a:gd name="connsiteX29" fmla="*/ 8462 w 10000"/>
                <a:gd name="connsiteY29" fmla="*/ 0 h 10000"/>
                <a:gd name="connsiteX30" fmla="*/ 8077 w 10000"/>
                <a:gd name="connsiteY30" fmla="*/ 436 h 10000"/>
                <a:gd name="connsiteX31" fmla="*/ 7115 w 10000"/>
                <a:gd name="connsiteY31" fmla="*/ 1089 h 10000"/>
                <a:gd name="connsiteX0" fmla="*/ 7115 w 10000"/>
                <a:gd name="connsiteY0" fmla="*/ 1089 h 10002"/>
                <a:gd name="connsiteX1" fmla="*/ 2115 w 10000"/>
                <a:gd name="connsiteY1" fmla="*/ 1089 h 10002"/>
                <a:gd name="connsiteX2" fmla="*/ 1923 w 10000"/>
                <a:gd name="connsiteY2" fmla="*/ 2398 h 10002"/>
                <a:gd name="connsiteX3" fmla="*/ 1346 w 10000"/>
                <a:gd name="connsiteY3" fmla="*/ 2398 h 10002"/>
                <a:gd name="connsiteX4" fmla="*/ 1346 w 10000"/>
                <a:gd name="connsiteY4" fmla="*/ 3054 h 10002"/>
                <a:gd name="connsiteX5" fmla="*/ 1154 w 10000"/>
                <a:gd name="connsiteY5" fmla="*/ 2835 h 10002"/>
                <a:gd name="connsiteX6" fmla="*/ 962 w 10000"/>
                <a:gd name="connsiteY6" fmla="*/ 5452 h 10002"/>
                <a:gd name="connsiteX7" fmla="*/ 385 w 10000"/>
                <a:gd name="connsiteY7" fmla="*/ 5888 h 10002"/>
                <a:gd name="connsiteX8" fmla="*/ 192 w 10000"/>
                <a:gd name="connsiteY8" fmla="*/ 6979 h 10002"/>
                <a:gd name="connsiteX9" fmla="*/ 0 w 10000"/>
                <a:gd name="connsiteY9" fmla="*/ 7632 h 10002"/>
                <a:gd name="connsiteX10" fmla="*/ 577 w 10000"/>
                <a:gd name="connsiteY10" fmla="*/ 8942 h 10002"/>
                <a:gd name="connsiteX11" fmla="*/ 962 w 10000"/>
                <a:gd name="connsiteY11" fmla="*/ 9813 h 10002"/>
                <a:gd name="connsiteX12" fmla="*/ 1030 w 10000"/>
                <a:gd name="connsiteY12" fmla="*/ 9837 h 10002"/>
                <a:gd name="connsiteX13" fmla="*/ 1782 w 10000"/>
                <a:gd name="connsiteY13" fmla="*/ 9433 h 10002"/>
                <a:gd name="connsiteX14" fmla="*/ 3364 w 10000"/>
                <a:gd name="connsiteY14" fmla="*/ 10000 h 10002"/>
                <a:gd name="connsiteX15" fmla="*/ 4620 w 10000"/>
                <a:gd name="connsiteY15" fmla="*/ 9631 h 10002"/>
                <a:gd name="connsiteX16" fmla="*/ 5020 w 10000"/>
                <a:gd name="connsiteY16" fmla="*/ 8846 h 10002"/>
                <a:gd name="connsiteX17" fmla="*/ 5567 w 10000"/>
                <a:gd name="connsiteY17" fmla="*/ 9644 h 10002"/>
                <a:gd name="connsiteX18" fmla="*/ 6262 w 10000"/>
                <a:gd name="connsiteY18" fmla="*/ 7789 h 10002"/>
                <a:gd name="connsiteX19" fmla="*/ 6454 w 10000"/>
                <a:gd name="connsiteY19" fmla="*/ 7735 h 10002"/>
                <a:gd name="connsiteX20" fmla="*/ 6898 w 10000"/>
                <a:gd name="connsiteY20" fmla="*/ 9199 h 10002"/>
                <a:gd name="connsiteX21" fmla="*/ 7500 w 10000"/>
                <a:gd name="connsiteY21" fmla="*/ 9162 h 10002"/>
                <a:gd name="connsiteX22" fmla="*/ 8269 w 10000"/>
                <a:gd name="connsiteY22" fmla="*/ 8287 h 10002"/>
                <a:gd name="connsiteX23" fmla="*/ 8846 w 10000"/>
                <a:gd name="connsiteY23" fmla="*/ 6979 h 10002"/>
                <a:gd name="connsiteX24" fmla="*/ 9038 w 10000"/>
                <a:gd name="connsiteY24" fmla="*/ 4578 h 10002"/>
                <a:gd name="connsiteX25" fmla="*/ 9615 w 10000"/>
                <a:gd name="connsiteY25" fmla="*/ 4144 h 10002"/>
                <a:gd name="connsiteX26" fmla="*/ 10000 w 10000"/>
                <a:gd name="connsiteY26" fmla="*/ 3927 h 10002"/>
                <a:gd name="connsiteX27" fmla="*/ 9615 w 10000"/>
                <a:gd name="connsiteY27" fmla="*/ 2835 h 10002"/>
                <a:gd name="connsiteX28" fmla="*/ 9038 w 10000"/>
                <a:gd name="connsiteY28" fmla="*/ 873 h 10002"/>
                <a:gd name="connsiteX29" fmla="*/ 8462 w 10000"/>
                <a:gd name="connsiteY29" fmla="*/ 0 h 10002"/>
                <a:gd name="connsiteX30" fmla="*/ 8077 w 10000"/>
                <a:gd name="connsiteY30" fmla="*/ 436 h 10002"/>
                <a:gd name="connsiteX31" fmla="*/ 7115 w 10000"/>
                <a:gd name="connsiteY31" fmla="*/ 1089 h 10002"/>
                <a:gd name="connsiteX0" fmla="*/ 7115 w 10000"/>
                <a:gd name="connsiteY0" fmla="*/ 1089 h 9837"/>
                <a:gd name="connsiteX1" fmla="*/ 2115 w 10000"/>
                <a:gd name="connsiteY1" fmla="*/ 1089 h 9837"/>
                <a:gd name="connsiteX2" fmla="*/ 1923 w 10000"/>
                <a:gd name="connsiteY2" fmla="*/ 2398 h 9837"/>
                <a:gd name="connsiteX3" fmla="*/ 1346 w 10000"/>
                <a:gd name="connsiteY3" fmla="*/ 2398 h 9837"/>
                <a:gd name="connsiteX4" fmla="*/ 1346 w 10000"/>
                <a:gd name="connsiteY4" fmla="*/ 3054 h 9837"/>
                <a:gd name="connsiteX5" fmla="*/ 1154 w 10000"/>
                <a:gd name="connsiteY5" fmla="*/ 2835 h 9837"/>
                <a:gd name="connsiteX6" fmla="*/ 962 w 10000"/>
                <a:gd name="connsiteY6" fmla="*/ 5452 h 9837"/>
                <a:gd name="connsiteX7" fmla="*/ 385 w 10000"/>
                <a:gd name="connsiteY7" fmla="*/ 5888 h 9837"/>
                <a:gd name="connsiteX8" fmla="*/ 192 w 10000"/>
                <a:gd name="connsiteY8" fmla="*/ 6979 h 9837"/>
                <a:gd name="connsiteX9" fmla="*/ 0 w 10000"/>
                <a:gd name="connsiteY9" fmla="*/ 7632 h 9837"/>
                <a:gd name="connsiteX10" fmla="*/ 577 w 10000"/>
                <a:gd name="connsiteY10" fmla="*/ 8942 h 9837"/>
                <a:gd name="connsiteX11" fmla="*/ 962 w 10000"/>
                <a:gd name="connsiteY11" fmla="*/ 9813 h 9837"/>
                <a:gd name="connsiteX12" fmla="*/ 1030 w 10000"/>
                <a:gd name="connsiteY12" fmla="*/ 9837 h 9837"/>
                <a:gd name="connsiteX13" fmla="*/ 1782 w 10000"/>
                <a:gd name="connsiteY13" fmla="*/ 9433 h 9837"/>
                <a:gd name="connsiteX14" fmla="*/ 3305 w 10000"/>
                <a:gd name="connsiteY14" fmla="*/ 9733 h 9837"/>
                <a:gd name="connsiteX15" fmla="*/ 4620 w 10000"/>
                <a:gd name="connsiteY15" fmla="*/ 9631 h 9837"/>
                <a:gd name="connsiteX16" fmla="*/ 5020 w 10000"/>
                <a:gd name="connsiteY16" fmla="*/ 8846 h 9837"/>
                <a:gd name="connsiteX17" fmla="*/ 5567 w 10000"/>
                <a:gd name="connsiteY17" fmla="*/ 9644 h 9837"/>
                <a:gd name="connsiteX18" fmla="*/ 6262 w 10000"/>
                <a:gd name="connsiteY18" fmla="*/ 7789 h 9837"/>
                <a:gd name="connsiteX19" fmla="*/ 6454 w 10000"/>
                <a:gd name="connsiteY19" fmla="*/ 7735 h 9837"/>
                <a:gd name="connsiteX20" fmla="*/ 6898 w 10000"/>
                <a:gd name="connsiteY20" fmla="*/ 9199 h 9837"/>
                <a:gd name="connsiteX21" fmla="*/ 7500 w 10000"/>
                <a:gd name="connsiteY21" fmla="*/ 9162 h 9837"/>
                <a:gd name="connsiteX22" fmla="*/ 8269 w 10000"/>
                <a:gd name="connsiteY22" fmla="*/ 8287 h 9837"/>
                <a:gd name="connsiteX23" fmla="*/ 8846 w 10000"/>
                <a:gd name="connsiteY23" fmla="*/ 6979 h 9837"/>
                <a:gd name="connsiteX24" fmla="*/ 9038 w 10000"/>
                <a:gd name="connsiteY24" fmla="*/ 4578 h 9837"/>
                <a:gd name="connsiteX25" fmla="*/ 9615 w 10000"/>
                <a:gd name="connsiteY25" fmla="*/ 4144 h 9837"/>
                <a:gd name="connsiteX26" fmla="*/ 10000 w 10000"/>
                <a:gd name="connsiteY26" fmla="*/ 3927 h 9837"/>
                <a:gd name="connsiteX27" fmla="*/ 9615 w 10000"/>
                <a:gd name="connsiteY27" fmla="*/ 2835 h 9837"/>
                <a:gd name="connsiteX28" fmla="*/ 9038 w 10000"/>
                <a:gd name="connsiteY28" fmla="*/ 873 h 9837"/>
                <a:gd name="connsiteX29" fmla="*/ 8462 w 10000"/>
                <a:gd name="connsiteY29" fmla="*/ 0 h 9837"/>
                <a:gd name="connsiteX30" fmla="*/ 8077 w 10000"/>
                <a:gd name="connsiteY30" fmla="*/ 436 h 9837"/>
                <a:gd name="connsiteX31" fmla="*/ 7115 w 10000"/>
                <a:gd name="connsiteY31" fmla="*/ 1089 h 9837"/>
                <a:gd name="connsiteX0" fmla="*/ 7115 w 10000"/>
                <a:gd name="connsiteY0" fmla="*/ 1107 h 10101"/>
                <a:gd name="connsiteX1" fmla="*/ 2115 w 10000"/>
                <a:gd name="connsiteY1" fmla="*/ 1107 h 10101"/>
                <a:gd name="connsiteX2" fmla="*/ 1923 w 10000"/>
                <a:gd name="connsiteY2" fmla="*/ 2438 h 10101"/>
                <a:gd name="connsiteX3" fmla="*/ 1346 w 10000"/>
                <a:gd name="connsiteY3" fmla="*/ 2438 h 10101"/>
                <a:gd name="connsiteX4" fmla="*/ 1346 w 10000"/>
                <a:gd name="connsiteY4" fmla="*/ 3105 h 10101"/>
                <a:gd name="connsiteX5" fmla="*/ 1154 w 10000"/>
                <a:gd name="connsiteY5" fmla="*/ 2882 h 10101"/>
                <a:gd name="connsiteX6" fmla="*/ 962 w 10000"/>
                <a:gd name="connsiteY6" fmla="*/ 5542 h 10101"/>
                <a:gd name="connsiteX7" fmla="*/ 385 w 10000"/>
                <a:gd name="connsiteY7" fmla="*/ 5986 h 10101"/>
                <a:gd name="connsiteX8" fmla="*/ 192 w 10000"/>
                <a:gd name="connsiteY8" fmla="*/ 7095 h 10101"/>
                <a:gd name="connsiteX9" fmla="*/ 0 w 10000"/>
                <a:gd name="connsiteY9" fmla="*/ 7758 h 10101"/>
                <a:gd name="connsiteX10" fmla="*/ 577 w 10000"/>
                <a:gd name="connsiteY10" fmla="*/ 9090 h 10101"/>
                <a:gd name="connsiteX11" fmla="*/ 962 w 10000"/>
                <a:gd name="connsiteY11" fmla="*/ 9976 h 10101"/>
                <a:gd name="connsiteX12" fmla="*/ 1030 w 10000"/>
                <a:gd name="connsiteY12" fmla="*/ 10000 h 10101"/>
                <a:gd name="connsiteX13" fmla="*/ 1782 w 10000"/>
                <a:gd name="connsiteY13" fmla="*/ 9589 h 10101"/>
                <a:gd name="connsiteX14" fmla="*/ 3305 w 10000"/>
                <a:gd name="connsiteY14" fmla="*/ 10097 h 10101"/>
                <a:gd name="connsiteX15" fmla="*/ 4620 w 10000"/>
                <a:gd name="connsiteY15" fmla="*/ 9791 h 10101"/>
                <a:gd name="connsiteX16" fmla="*/ 5020 w 10000"/>
                <a:gd name="connsiteY16" fmla="*/ 8993 h 10101"/>
                <a:gd name="connsiteX17" fmla="*/ 5567 w 10000"/>
                <a:gd name="connsiteY17" fmla="*/ 9804 h 10101"/>
                <a:gd name="connsiteX18" fmla="*/ 6262 w 10000"/>
                <a:gd name="connsiteY18" fmla="*/ 7918 h 10101"/>
                <a:gd name="connsiteX19" fmla="*/ 6454 w 10000"/>
                <a:gd name="connsiteY19" fmla="*/ 7863 h 10101"/>
                <a:gd name="connsiteX20" fmla="*/ 6898 w 10000"/>
                <a:gd name="connsiteY20" fmla="*/ 9351 h 10101"/>
                <a:gd name="connsiteX21" fmla="*/ 7500 w 10000"/>
                <a:gd name="connsiteY21" fmla="*/ 9314 h 10101"/>
                <a:gd name="connsiteX22" fmla="*/ 8269 w 10000"/>
                <a:gd name="connsiteY22" fmla="*/ 8424 h 10101"/>
                <a:gd name="connsiteX23" fmla="*/ 8846 w 10000"/>
                <a:gd name="connsiteY23" fmla="*/ 7095 h 10101"/>
                <a:gd name="connsiteX24" fmla="*/ 9038 w 10000"/>
                <a:gd name="connsiteY24" fmla="*/ 4654 h 10101"/>
                <a:gd name="connsiteX25" fmla="*/ 9615 w 10000"/>
                <a:gd name="connsiteY25" fmla="*/ 4213 h 10101"/>
                <a:gd name="connsiteX26" fmla="*/ 10000 w 10000"/>
                <a:gd name="connsiteY26" fmla="*/ 3992 h 10101"/>
                <a:gd name="connsiteX27" fmla="*/ 9615 w 10000"/>
                <a:gd name="connsiteY27" fmla="*/ 2882 h 10101"/>
                <a:gd name="connsiteX28" fmla="*/ 9038 w 10000"/>
                <a:gd name="connsiteY28" fmla="*/ 887 h 10101"/>
                <a:gd name="connsiteX29" fmla="*/ 8462 w 10000"/>
                <a:gd name="connsiteY29" fmla="*/ 0 h 10101"/>
                <a:gd name="connsiteX30" fmla="*/ 8077 w 10000"/>
                <a:gd name="connsiteY30" fmla="*/ 443 h 10101"/>
                <a:gd name="connsiteX31" fmla="*/ 7115 w 10000"/>
                <a:gd name="connsiteY31" fmla="*/ 1107 h 10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0000" h="10101">
                  <a:moveTo>
                    <a:pt x="7115" y="1107"/>
                  </a:moveTo>
                  <a:lnTo>
                    <a:pt x="2115" y="1107"/>
                  </a:lnTo>
                  <a:lnTo>
                    <a:pt x="1923" y="2438"/>
                  </a:lnTo>
                  <a:lnTo>
                    <a:pt x="1346" y="2438"/>
                  </a:lnTo>
                  <a:lnTo>
                    <a:pt x="1346" y="3105"/>
                  </a:lnTo>
                  <a:lnTo>
                    <a:pt x="1154" y="2882"/>
                  </a:lnTo>
                  <a:lnTo>
                    <a:pt x="962" y="5542"/>
                  </a:lnTo>
                  <a:lnTo>
                    <a:pt x="385" y="5986"/>
                  </a:lnTo>
                  <a:cubicBezTo>
                    <a:pt x="321" y="6355"/>
                    <a:pt x="256" y="6725"/>
                    <a:pt x="192" y="7095"/>
                  </a:cubicBezTo>
                  <a:lnTo>
                    <a:pt x="0" y="7758"/>
                  </a:lnTo>
                  <a:lnTo>
                    <a:pt x="577" y="9090"/>
                  </a:lnTo>
                  <a:lnTo>
                    <a:pt x="962" y="9976"/>
                  </a:lnTo>
                  <a:lnTo>
                    <a:pt x="1030" y="10000"/>
                  </a:lnTo>
                  <a:cubicBezTo>
                    <a:pt x="1281" y="9863"/>
                    <a:pt x="1403" y="9573"/>
                    <a:pt x="1782" y="9589"/>
                  </a:cubicBezTo>
                  <a:cubicBezTo>
                    <a:pt x="2161" y="9605"/>
                    <a:pt x="2832" y="10064"/>
                    <a:pt x="3305" y="10097"/>
                  </a:cubicBezTo>
                  <a:cubicBezTo>
                    <a:pt x="3778" y="10131"/>
                    <a:pt x="4334" y="9975"/>
                    <a:pt x="4620" y="9791"/>
                  </a:cubicBezTo>
                  <a:cubicBezTo>
                    <a:pt x="4906" y="9607"/>
                    <a:pt x="4887" y="9259"/>
                    <a:pt x="5020" y="8993"/>
                  </a:cubicBezTo>
                  <a:lnTo>
                    <a:pt x="5567" y="9804"/>
                  </a:lnTo>
                  <a:lnTo>
                    <a:pt x="6262" y="7918"/>
                  </a:lnTo>
                  <a:cubicBezTo>
                    <a:pt x="6410" y="7593"/>
                    <a:pt x="6348" y="7624"/>
                    <a:pt x="6454" y="7863"/>
                  </a:cubicBezTo>
                  <a:lnTo>
                    <a:pt x="6898" y="9351"/>
                  </a:lnTo>
                  <a:lnTo>
                    <a:pt x="7500" y="9314"/>
                  </a:lnTo>
                  <a:cubicBezTo>
                    <a:pt x="7729" y="9156"/>
                    <a:pt x="8013" y="8720"/>
                    <a:pt x="8269" y="8424"/>
                  </a:cubicBezTo>
                  <a:lnTo>
                    <a:pt x="8846" y="7095"/>
                  </a:lnTo>
                  <a:lnTo>
                    <a:pt x="9038" y="4654"/>
                  </a:lnTo>
                  <a:lnTo>
                    <a:pt x="9615" y="4213"/>
                  </a:lnTo>
                  <a:lnTo>
                    <a:pt x="10000" y="3992"/>
                  </a:lnTo>
                  <a:lnTo>
                    <a:pt x="9615" y="2882"/>
                  </a:lnTo>
                  <a:lnTo>
                    <a:pt x="9038" y="887"/>
                  </a:lnTo>
                  <a:lnTo>
                    <a:pt x="8462" y="0"/>
                  </a:lnTo>
                  <a:lnTo>
                    <a:pt x="8077" y="443"/>
                  </a:lnTo>
                  <a:lnTo>
                    <a:pt x="7115" y="1107"/>
                  </a:ln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164" name="CI"/>
            <p:cNvSpPr>
              <a:spLocks/>
            </p:cNvSpPr>
            <p:nvPr/>
          </p:nvSpPr>
          <p:spPr bwMode="auto">
            <a:xfrm>
              <a:off x="4071079" y="4163127"/>
              <a:ext cx="149223" cy="147635"/>
            </a:xfrm>
            <a:custGeom>
              <a:avLst/>
              <a:gdLst>
                <a:gd name="T0" fmla="*/ 2147483647 w 19"/>
                <a:gd name="T1" fmla="*/ 2147483647 h 19"/>
                <a:gd name="T2" fmla="*/ 2147483647 w 19"/>
                <a:gd name="T3" fmla="*/ 2147483647 h 19"/>
                <a:gd name="T4" fmla="*/ 2147483647 w 19"/>
                <a:gd name="T5" fmla="*/ 2147483647 h 19"/>
                <a:gd name="T6" fmla="*/ 2147483647 w 19"/>
                <a:gd name="T7" fmla="*/ 2147483647 h 19"/>
                <a:gd name="T8" fmla="*/ 2147483647 w 19"/>
                <a:gd name="T9" fmla="*/ 2147483647 h 19"/>
                <a:gd name="T10" fmla="*/ 2147483647 w 19"/>
                <a:gd name="T11" fmla="*/ 2147483647 h 19"/>
                <a:gd name="T12" fmla="*/ 2147483647 w 19"/>
                <a:gd name="T13" fmla="*/ 0 h 19"/>
                <a:gd name="T14" fmla="*/ 2147483647 w 19"/>
                <a:gd name="T15" fmla="*/ 0 h 19"/>
                <a:gd name="T16" fmla="*/ 2147483647 w 19"/>
                <a:gd name="T17" fmla="*/ 0 h 19"/>
                <a:gd name="T18" fmla="*/ 2147483647 w 19"/>
                <a:gd name="T19" fmla="*/ 2147483647 h 19"/>
                <a:gd name="T20" fmla="*/ 2147483647 w 19"/>
                <a:gd name="T21" fmla="*/ 2147483647 h 19"/>
                <a:gd name="T22" fmla="*/ 2147483647 w 19"/>
                <a:gd name="T23" fmla="*/ 2147483647 h 19"/>
                <a:gd name="T24" fmla="*/ 2147483647 w 19"/>
                <a:gd name="T25" fmla="*/ 2147483647 h 19"/>
                <a:gd name="T26" fmla="*/ 0 w 19"/>
                <a:gd name="T27" fmla="*/ 2147483647 h 19"/>
                <a:gd name="T28" fmla="*/ 2147483647 w 19"/>
                <a:gd name="T29" fmla="*/ 2147483647 h 19"/>
                <a:gd name="T30" fmla="*/ 2147483647 w 19"/>
                <a:gd name="T31" fmla="*/ 2147483647 h 19"/>
                <a:gd name="T32" fmla="*/ 2147483647 w 19"/>
                <a:gd name="T33" fmla="*/ 2147483647 h 19"/>
                <a:gd name="T34" fmla="*/ 2147483647 w 19"/>
                <a:gd name="T35" fmla="*/ 2147483647 h 19"/>
                <a:gd name="T36" fmla="*/ 2147483647 w 19"/>
                <a:gd name="T37" fmla="*/ 2147483647 h 19"/>
                <a:gd name="T38" fmla="*/ 2147483647 w 19"/>
                <a:gd name="T39" fmla="*/ 2147483647 h 19"/>
                <a:gd name="T40" fmla="*/ 2147483647 w 19"/>
                <a:gd name="T41" fmla="*/ 2147483647 h 19"/>
                <a:gd name="T42" fmla="*/ 2147483647 w 19"/>
                <a:gd name="T43" fmla="*/ 2147483647 h 19"/>
                <a:gd name="T44" fmla="*/ 2147483647 w 19"/>
                <a:gd name="T45" fmla="*/ 2147483647 h 1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9" h="19">
                  <a:moveTo>
                    <a:pt x="17" y="10"/>
                  </a:moveTo>
                  <a:cubicBezTo>
                    <a:pt x="19" y="6"/>
                    <a:pt x="19" y="6"/>
                    <a:pt x="19" y="6"/>
                  </a:cubicBezTo>
                  <a:cubicBezTo>
                    <a:pt x="17" y="2"/>
                    <a:pt x="17" y="2"/>
                    <a:pt x="17" y="2"/>
                  </a:cubicBezTo>
                  <a:cubicBezTo>
                    <a:pt x="12" y="3"/>
                    <a:pt x="12" y="3"/>
                    <a:pt x="12" y="3"/>
                  </a:cubicBezTo>
                  <a:cubicBezTo>
                    <a:pt x="10" y="1"/>
                    <a:pt x="10" y="1"/>
                    <a:pt x="10" y="1"/>
                  </a:cubicBezTo>
                  <a:cubicBezTo>
                    <a:pt x="8" y="1"/>
                    <a:pt x="8" y="1"/>
                    <a:pt x="8" y="1"/>
                  </a:cubicBezTo>
                  <a:cubicBezTo>
                    <a:pt x="6" y="0"/>
                    <a:pt x="6" y="0"/>
                    <a:pt x="6" y="0"/>
                  </a:cubicBezTo>
                  <a:cubicBezTo>
                    <a:pt x="5" y="0"/>
                    <a:pt x="5" y="0"/>
                    <a:pt x="5" y="0"/>
                  </a:cubicBezTo>
                  <a:cubicBezTo>
                    <a:pt x="3" y="0"/>
                    <a:pt x="3" y="0"/>
                    <a:pt x="3" y="0"/>
                  </a:cubicBezTo>
                  <a:cubicBezTo>
                    <a:pt x="1" y="1"/>
                    <a:pt x="1" y="1"/>
                    <a:pt x="1" y="1"/>
                  </a:cubicBezTo>
                  <a:cubicBezTo>
                    <a:pt x="2" y="1"/>
                    <a:pt x="2" y="1"/>
                    <a:pt x="2" y="1"/>
                  </a:cubicBezTo>
                  <a:cubicBezTo>
                    <a:pt x="2" y="5"/>
                    <a:pt x="2" y="5"/>
                    <a:pt x="2" y="5"/>
                  </a:cubicBezTo>
                  <a:cubicBezTo>
                    <a:pt x="2" y="9"/>
                    <a:pt x="2" y="9"/>
                    <a:pt x="2" y="9"/>
                  </a:cubicBezTo>
                  <a:cubicBezTo>
                    <a:pt x="2" y="9"/>
                    <a:pt x="1" y="10"/>
                    <a:pt x="0" y="10"/>
                  </a:cubicBezTo>
                  <a:cubicBezTo>
                    <a:pt x="1" y="11"/>
                    <a:pt x="1" y="11"/>
                    <a:pt x="1" y="11"/>
                  </a:cubicBezTo>
                  <a:cubicBezTo>
                    <a:pt x="1" y="11"/>
                    <a:pt x="0" y="14"/>
                    <a:pt x="1" y="14"/>
                  </a:cubicBezTo>
                  <a:cubicBezTo>
                    <a:pt x="1" y="14"/>
                    <a:pt x="4" y="16"/>
                    <a:pt x="4" y="16"/>
                  </a:cubicBezTo>
                  <a:cubicBezTo>
                    <a:pt x="4" y="19"/>
                    <a:pt x="4" y="19"/>
                    <a:pt x="4" y="19"/>
                  </a:cubicBezTo>
                  <a:cubicBezTo>
                    <a:pt x="8" y="19"/>
                    <a:pt x="8" y="19"/>
                    <a:pt x="8" y="19"/>
                  </a:cubicBezTo>
                  <a:cubicBezTo>
                    <a:pt x="15" y="16"/>
                    <a:pt x="15" y="16"/>
                    <a:pt x="15" y="16"/>
                  </a:cubicBezTo>
                  <a:cubicBezTo>
                    <a:pt x="18" y="16"/>
                    <a:pt x="18" y="16"/>
                    <a:pt x="18" y="16"/>
                  </a:cubicBezTo>
                  <a:cubicBezTo>
                    <a:pt x="17" y="13"/>
                    <a:pt x="17" y="13"/>
                    <a:pt x="17" y="13"/>
                  </a:cubicBezTo>
                  <a:lnTo>
                    <a:pt x="17" y="10"/>
                  </a:ln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165" name="LR"/>
            <p:cNvSpPr>
              <a:spLocks/>
            </p:cNvSpPr>
            <p:nvPr/>
          </p:nvSpPr>
          <p:spPr bwMode="auto">
            <a:xfrm>
              <a:off x="3994880" y="4218689"/>
              <a:ext cx="106363" cy="92075"/>
            </a:xfrm>
            <a:custGeom>
              <a:avLst/>
              <a:gdLst>
                <a:gd name="T0" fmla="*/ 2147483647 w 14"/>
                <a:gd name="T1" fmla="*/ 2147483647 h 12"/>
                <a:gd name="T2" fmla="*/ 2147483647 w 14"/>
                <a:gd name="T3" fmla="*/ 2147483647 h 12"/>
                <a:gd name="T4" fmla="*/ 2147483647 w 14"/>
                <a:gd name="T5" fmla="*/ 2147483647 h 12"/>
                <a:gd name="T6" fmla="*/ 2147483647 w 14"/>
                <a:gd name="T7" fmla="*/ 2147483647 h 12"/>
                <a:gd name="T8" fmla="*/ 2147483647 w 14"/>
                <a:gd name="T9" fmla="*/ 2147483647 h 12"/>
                <a:gd name="T10" fmla="*/ 2147483647 w 14"/>
                <a:gd name="T11" fmla="*/ 0 h 12"/>
                <a:gd name="T12" fmla="*/ 2147483647 w 14"/>
                <a:gd name="T13" fmla="*/ 2147483647 h 12"/>
                <a:gd name="T14" fmla="*/ 2147483647 w 14"/>
                <a:gd name="T15" fmla="*/ 2147483647 h 12"/>
                <a:gd name="T16" fmla="*/ 0 w 14"/>
                <a:gd name="T17" fmla="*/ 2147483647 h 12"/>
                <a:gd name="T18" fmla="*/ 2147483647 w 14"/>
                <a:gd name="T19" fmla="*/ 2147483647 h 12"/>
                <a:gd name="T20" fmla="*/ 2147483647 w 14"/>
                <a:gd name="T21" fmla="*/ 2147483647 h 12"/>
                <a:gd name="T22" fmla="*/ 2147483647 w 14"/>
                <a:gd name="T23" fmla="*/ 2147483647 h 12"/>
                <a:gd name="T24" fmla="*/ 2147483647 w 14"/>
                <a:gd name="T25" fmla="*/ 2147483647 h 12"/>
                <a:gd name="T26" fmla="*/ 2147483647 w 14"/>
                <a:gd name="T27" fmla="*/ 2147483647 h 1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4" h="12">
                  <a:moveTo>
                    <a:pt x="11" y="7"/>
                  </a:moveTo>
                  <a:cubicBezTo>
                    <a:pt x="10" y="7"/>
                    <a:pt x="11" y="4"/>
                    <a:pt x="11" y="4"/>
                  </a:cubicBezTo>
                  <a:cubicBezTo>
                    <a:pt x="10" y="3"/>
                    <a:pt x="10" y="3"/>
                    <a:pt x="10" y="3"/>
                  </a:cubicBezTo>
                  <a:cubicBezTo>
                    <a:pt x="9" y="3"/>
                    <a:pt x="8" y="4"/>
                    <a:pt x="8" y="4"/>
                  </a:cubicBezTo>
                  <a:cubicBezTo>
                    <a:pt x="7" y="4"/>
                    <a:pt x="6" y="1"/>
                    <a:pt x="6" y="1"/>
                  </a:cubicBezTo>
                  <a:cubicBezTo>
                    <a:pt x="4" y="0"/>
                    <a:pt x="4" y="0"/>
                    <a:pt x="4" y="0"/>
                  </a:cubicBezTo>
                  <a:cubicBezTo>
                    <a:pt x="3" y="2"/>
                    <a:pt x="3" y="2"/>
                    <a:pt x="3" y="2"/>
                  </a:cubicBezTo>
                  <a:cubicBezTo>
                    <a:pt x="1" y="3"/>
                    <a:pt x="1" y="3"/>
                    <a:pt x="1" y="3"/>
                  </a:cubicBezTo>
                  <a:cubicBezTo>
                    <a:pt x="0" y="5"/>
                    <a:pt x="0" y="5"/>
                    <a:pt x="0" y="5"/>
                  </a:cubicBezTo>
                  <a:cubicBezTo>
                    <a:pt x="1" y="6"/>
                    <a:pt x="1" y="6"/>
                    <a:pt x="1" y="6"/>
                  </a:cubicBezTo>
                  <a:cubicBezTo>
                    <a:pt x="10" y="12"/>
                    <a:pt x="10" y="12"/>
                    <a:pt x="10" y="12"/>
                  </a:cubicBezTo>
                  <a:cubicBezTo>
                    <a:pt x="14" y="12"/>
                    <a:pt x="14" y="12"/>
                    <a:pt x="14" y="12"/>
                  </a:cubicBezTo>
                  <a:cubicBezTo>
                    <a:pt x="14" y="9"/>
                    <a:pt x="14" y="9"/>
                    <a:pt x="14" y="9"/>
                  </a:cubicBezTo>
                  <a:cubicBezTo>
                    <a:pt x="14" y="9"/>
                    <a:pt x="11" y="7"/>
                    <a:pt x="11" y="7"/>
                  </a:cubicBez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166" name="SL"/>
            <p:cNvSpPr>
              <a:spLocks/>
            </p:cNvSpPr>
            <p:nvPr/>
          </p:nvSpPr>
          <p:spPr bwMode="auto">
            <a:xfrm>
              <a:off x="3945668" y="4186938"/>
              <a:ext cx="79375" cy="69849"/>
            </a:xfrm>
            <a:custGeom>
              <a:avLst/>
              <a:gdLst>
                <a:gd name="T0" fmla="*/ 2147483647 w 60"/>
                <a:gd name="T1" fmla="*/ 2147483647 h 54"/>
                <a:gd name="T2" fmla="*/ 2147483647 w 60"/>
                <a:gd name="T3" fmla="*/ 2147483647 h 54"/>
                <a:gd name="T4" fmla="*/ 2147483647 w 60"/>
                <a:gd name="T5" fmla="*/ 2147483647 h 54"/>
                <a:gd name="T6" fmla="*/ 2147483647 w 60"/>
                <a:gd name="T7" fmla="*/ 0 h 54"/>
                <a:gd name="T8" fmla="*/ 2147483647 w 60"/>
                <a:gd name="T9" fmla="*/ 0 h 54"/>
                <a:gd name="T10" fmla="*/ 2147483647 w 60"/>
                <a:gd name="T11" fmla="*/ 2147483647 h 54"/>
                <a:gd name="T12" fmla="*/ 0 w 60"/>
                <a:gd name="T13" fmla="*/ 2147483647 h 54"/>
                <a:gd name="T14" fmla="*/ 2147483647 w 60"/>
                <a:gd name="T15" fmla="*/ 2147483647 h 54"/>
                <a:gd name="T16" fmla="*/ 2147483647 w 60"/>
                <a:gd name="T17" fmla="*/ 2147483647 h 54"/>
                <a:gd name="T18" fmla="*/ 2147483647 w 60"/>
                <a:gd name="T19" fmla="*/ 2147483647 h 54"/>
                <a:gd name="T20" fmla="*/ 2147483647 w 60"/>
                <a:gd name="T21" fmla="*/ 2147483647 h 5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60" h="54">
                  <a:moveTo>
                    <a:pt x="54" y="36"/>
                  </a:moveTo>
                  <a:lnTo>
                    <a:pt x="60" y="24"/>
                  </a:lnTo>
                  <a:lnTo>
                    <a:pt x="54" y="18"/>
                  </a:lnTo>
                  <a:lnTo>
                    <a:pt x="42" y="0"/>
                  </a:lnTo>
                  <a:lnTo>
                    <a:pt x="18" y="0"/>
                  </a:lnTo>
                  <a:lnTo>
                    <a:pt x="12" y="12"/>
                  </a:lnTo>
                  <a:lnTo>
                    <a:pt x="0" y="18"/>
                  </a:lnTo>
                  <a:lnTo>
                    <a:pt x="12" y="30"/>
                  </a:lnTo>
                  <a:lnTo>
                    <a:pt x="36" y="54"/>
                  </a:lnTo>
                  <a:lnTo>
                    <a:pt x="42" y="42"/>
                  </a:lnTo>
                  <a:lnTo>
                    <a:pt x="54" y="36"/>
                  </a:ln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167" name="Rectangle 166"/>
            <p:cNvSpPr>
              <a:spLocks noChangeArrowheads="1"/>
            </p:cNvSpPr>
            <p:nvPr/>
          </p:nvSpPr>
          <p:spPr bwMode="auto">
            <a:xfrm>
              <a:off x="4061554" y="3715495"/>
              <a:ext cx="9525" cy="23813"/>
            </a:xfrm>
            <a:prstGeom prst="rect">
              <a:avLst/>
            </a:prstGeom>
            <a:solidFill>
              <a:srgbClr val="00B9E4"/>
            </a:solidFill>
            <a:ln w="9525">
              <a:solidFill>
                <a:schemeClr val="bg1"/>
              </a:solidFill>
              <a:miter lim="800000"/>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sz="1286"/>
            </a:p>
          </p:txBody>
        </p:sp>
        <p:sp>
          <p:nvSpPr>
            <p:cNvPr id="168" name="DZ"/>
            <p:cNvSpPr>
              <a:spLocks/>
            </p:cNvSpPr>
            <p:nvPr/>
          </p:nvSpPr>
          <p:spPr bwMode="auto">
            <a:xfrm>
              <a:off x="4061554" y="3444849"/>
              <a:ext cx="505554" cy="500017"/>
            </a:xfrm>
            <a:custGeom>
              <a:avLst/>
              <a:gdLst>
                <a:gd name="T0" fmla="*/ 2147483647 w 390"/>
                <a:gd name="T1" fmla="*/ 2147483647 h 390"/>
                <a:gd name="T2" fmla="*/ 2147483647 w 390"/>
                <a:gd name="T3" fmla="*/ 2147483647 h 390"/>
                <a:gd name="T4" fmla="*/ 2147483647 w 390"/>
                <a:gd name="T5" fmla="*/ 2147483647 h 390"/>
                <a:gd name="T6" fmla="*/ 2147483647 w 390"/>
                <a:gd name="T7" fmla="*/ 2147483647 h 390"/>
                <a:gd name="T8" fmla="*/ 2147483647 w 390"/>
                <a:gd name="T9" fmla="*/ 2147483647 h 390"/>
                <a:gd name="T10" fmla="*/ 2147483647 w 390"/>
                <a:gd name="T11" fmla="*/ 2147483647 h 390"/>
                <a:gd name="T12" fmla="*/ 2147483647 w 390"/>
                <a:gd name="T13" fmla="*/ 2147483647 h 390"/>
                <a:gd name="T14" fmla="*/ 2147483647 w 390"/>
                <a:gd name="T15" fmla="*/ 2147483647 h 390"/>
                <a:gd name="T16" fmla="*/ 2147483647 w 390"/>
                <a:gd name="T17" fmla="*/ 2147483647 h 390"/>
                <a:gd name="T18" fmla="*/ 2147483647 w 390"/>
                <a:gd name="T19" fmla="*/ 2147483647 h 390"/>
                <a:gd name="T20" fmla="*/ 2147483647 w 390"/>
                <a:gd name="T21" fmla="*/ 2147483647 h 390"/>
                <a:gd name="T22" fmla="*/ 2147483647 w 390"/>
                <a:gd name="T23" fmla="*/ 2147483647 h 390"/>
                <a:gd name="T24" fmla="*/ 2147483647 w 390"/>
                <a:gd name="T25" fmla="*/ 2147483647 h 390"/>
                <a:gd name="T26" fmla="*/ 2147483647 w 390"/>
                <a:gd name="T27" fmla="*/ 2147483647 h 390"/>
                <a:gd name="T28" fmla="*/ 2147483647 w 390"/>
                <a:gd name="T29" fmla="*/ 2147483647 h 390"/>
                <a:gd name="T30" fmla="*/ 2147483647 w 390"/>
                <a:gd name="T31" fmla="*/ 2147483647 h 390"/>
                <a:gd name="T32" fmla="*/ 2147483647 w 390"/>
                <a:gd name="T33" fmla="*/ 2147483647 h 390"/>
                <a:gd name="T34" fmla="*/ 2147483647 w 390"/>
                <a:gd name="T35" fmla="*/ 2147483647 h 390"/>
                <a:gd name="T36" fmla="*/ 2147483647 w 390"/>
                <a:gd name="T37" fmla="*/ 2147483647 h 390"/>
                <a:gd name="T38" fmla="*/ 2147483647 w 390"/>
                <a:gd name="T39" fmla="*/ 2147483647 h 390"/>
                <a:gd name="T40" fmla="*/ 2147483647 w 390"/>
                <a:gd name="T41" fmla="*/ 2147483647 h 390"/>
                <a:gd name="T42" fmla="*/ 2147483647 w 390"/>
                <a:gd name="T43" fmla="*/ 2147483647 h 390"/>
                <a:gd name="T44" fmla="*/ 2147483647 w 390"/>
                <a:gd name="T45" fmla="*/ 2147483647 h 390"/>
                <a:gd name="T46" fmla="*/ 2147483647 w 390"/>
                <a:gd name="T47" fmla="*/ 2147483647 h 390"/>
                <a:gd name="T48" fmla="*/ 2147483647 w 390"/>
                <a:gd name="T49" fmla="*/ 0 h 390"/>
                <a:gd name="T50" fmla="*/ 2147483647 w 390"/>
                <a:gd name="T51" fmla="*/ 2147483647 h 390"/>
                <a:gd name="T52" fmla="*/ 2147483647 w 390"/>
                <a:gd name="T53" fmla="*/ 2147483647 h 390"/>
                <a:gd name="T54" fmla="*/ 2147483647 w 390"/>
                <a:gd name="T55" fmla="*/ 2147483647 h 390"/>
                <a:gd name="T56" fmla="*/ 2147483647 w 390"/>
                <a:gd name="T57" fmla="*/ 2147483647 h 390"/>
                <a:gd name="T58" fmla="*/ 2147483647 w 390"/>
                <a:gd name="T59" fmla="*/ 2147483647 h 390"/>
                <a:gd name="T60" fmla="*/ 2147483647 w 390"/>
                <a:gd name="T61" fmla="*/ 2147483647 h 390"/>
                <a:gd name="T62" fmla="*/ 2147483647 w 390"/>
                <a:gd name="T63" fmla="*/ 2147483647 h 390"/>
                <a:gd name="T64" fmla="*/ 2147483647 w 390"/>
                <a:gd name="T65" fmla="*/ 2147483647 h 390"/>
                <a:gd name="T66" fmla="*/ 2147483647 w 390"/>
                <a:gd name="T67" fmla="*/ 2147483647 h 390"/>
                <a:gd name="T68" fmla="*/ 2147483647 w 390"/>
                <a:gd name="T69" fmla="*/ 2147483647 h 390"/>
                <a:gd name="T70" fmla="*/ 2147483647 w 390"/>
                <a:gd name="T71" fmla="*/ 2147483647 h 390"/>
                <a:gd name="T72" fmla="*/ 2147483647 w 390"/>
                <a:gd name="T73" fmla="*/ 2147483647 h 390"/>
                <a:gd name="T74" fmla="*/ 2147483647 w 390"/>
                <a:gd name="T75" fmla="*/ 2147483647 h 390"/>
                <a:gd name="T76" fmla="*/ 2147483647 w 390"/>
                <a:gd name="T77" fmla="*/ 2147483647 h 390"/>
                <a:gd name="T78" fmla="*/ 0 w 390"/>
                <a:gd name="T79" fmla="*/ 2147483647 h 390"/>
                <a:gd name="T80" fmla="*/ 2147483647 w 390"/>
                <a:gd name="T81" fmla="*/ 2147483647 h 390"/>
                <a:gd name="T82" fmla="*/ 2147483647 w 390"/>
                <a:gd name="T83" fmla="*/ 2147483647 h 390"/>
                <a:gd name="T84" fmla="*/ 2147483647 w 390"/>
                <a:gd name="T85" fmla="*/ 2147483647 h 39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390" h="390">
                  <a:moveTo>
                    <a:pt x="60" y="270"/>
                  </a:moveTo>
                  <a:lnTo>
                    <a:pt x="216" y="378"/>
                  </a:lnTo>
                  <a:lnTo>
                    <a:pt x="228" y="390"/>
                  </a:lnTo>
                  <a:lnTo>
                    <a:pt x="246" y="390"/>
                  </a:lnTo>
                  <a:lnTo>
                    <a:pt x="282" y="372"/>
                  </a:lnTo>
                  <a:lnTo>
                    <a:pt x="390" y="300"/>
                  </a:lnTo>
                  <a:lnTo>
                    <a:pt x="384" y="300"/>
                  </a:lnTo>
                  <a:lnTo>
                    <a:pt x="366" y="276"/>
                  </a:lnTo>
                  <a:lnTo>
                    <a:pt x="354" y="270"/>
                  </a:lnTo>
                  <a:lnTo>
                    <a:pt x="342" y="246"/>
                  </a:lnTo>
                  <a:lnTo>
                    <a:pt x="348" y="234"/>
                  </a:lnTo>
                  <a:lnTo>
                    <a:pt x="348" y="174"/>
                  </a:lnTo>
                  <a:lnTo>
                    <a:pt x="342" y="162"/>
                  </a:lnTo>
                  <a:lnTo>
                    <a:pt x="348" y="150"/>
                  </a:lnTo>
                  <a:lnTo>
                    <a:pt x="342" y="144"/>
                  </a:lnTo>
                  <a:lnTo>
                    <a:pt x="342" y="120"/>
                  </a:lnTo>
                  <a:lnTo>
                    <a:pt x="324" y="108"/>
                  </a:lnTo>
                  <a:lnTo>
                    <a:pt x="318" y="102"/>
                  </a:lnTo>
                  <a:lnTo>
                    <a:pt x="306" y="90"/>
                  </a:lnTo>
                  <a:lnTo>
                    <a:pt x="306" y="78"/>
                  </a:lnTo>
                  <a:lnTo>
                    <a:pt x="324" y="54"/>
                  </a:lnTo>
                  <a:lnTo>
                    <a:pt x="324" y="30"/>
                  </a:lnTo>
                  <a:lnTo>
                    <a:pt x="324" y="12"/>
                  </a:lnTo>
                  <a:lnTo>
                    <a:pt x="330" y="6"/>
                  </a:lnTo>
                  <a:lnTo>
                    <a:pt x="330" y="0"/>
                  </a:lnTo>
                  <a:lnTo>
                    <a:pt x="318" y="6"/>
                  </a:lnTo>
                  <a:lnTo>
                    <a:pt x="288" y="12"/>
                  </a:lnTo>
                  <a:lnTo>
                    <a:pt x="222" y="12"/>
                  </a:lnTo>
                  <a:lnTo>
                    <a:pt x="162" y="30"/>
                  </a:lnTo>
                  <a:lnTo>
                    <a:pt x="132" y="48"/>
                  </a:lnTo>
                  <a:lnTo>
                    <a:pt x="138" y="78"/>
                  </a:lnTo>
                  <a:lnTo>
                    <a:pt x="144" y="108"/>
                  </a:lnTo>
                  <a:lnTo>
                    <a:pt x="132" y="114"/>
                  </a:lnTo>
                  <a:lnTo>
                    <a:pt x="108" y="120"/>
                  </a:lnTo>
                  <a:lnTo>
                    <a:pt x="102" y="132"/>
                  </a:lnTo>
                  <a:lnTo>
                    <a:pt x="96" y="144"/>
                  </a:lnTo>
                  <a:lnTo>
                    <a:pt x="60" y="156"/>
                  </a:lnTo>
                  <a:lnTo>
                    <a:pt x="30" y="174"/>
                  </a:lnTo>
                  <a:lnTo>
                    <a:pt x="6" y="192"/>
                  </a:lnTo>
                  <a:lnTo>
                    <a:pt x="0" y="210"/>
                  </a:lnTo>
                  <a:lnTo>
                    <a:pt x="6" y="210"/>
                  </a:lnTo>
                  <a:lnTo>
                    <a:pt x="6" y="228"/>
                  </a:lnTo>
                  <a:lnTo>
                    <a:pt x="60" y="270"/>
                  </a:ln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169" name="Freeform 168"/>
            <p:cNvSpPr>
              <a:spLocks/>
            </p:cNvSpPr>
            <p:nvPr/>
          </p:nvSpPr>
          <p:spPr bwMode="auto">
            <a:xfrm>
              <a:off x="5507633" y="3435324"/>
              <a:ext cx="25400" cy="17463"/>
            </a:xfrm>
            <a:custGeom>
              <a:avLst/>
              <a:gdLst>
                <a:gd name="T0" fmla="*/ 0 w 18"/>
                <a:gd name="T1" fmla="*/ 0 h 12"/>
                <a:gd name="T2" fmla="*/ 2147483647 w 18"/>
                <a:gd name="T3" fmla="*/ 2147483647 h 12"/>
                <a:gd name="T4" fmla="*/ 2147483647 w 18"/>
                <a:gd name="T5" fmla="*/ 2147483647 h 12"/>
                <a:gd name="T6" fmla="*/ 2147483647 w 18"/>
                <a:gd name="T7" fmla="*/ 0 h 12"/>
                <a:gd name="T8" fmla="*/ 0 w 18"/>
                <a:gd name="T9" fmla="*/ 0 h 1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8" h="12">
                  <a:moveTo>
                    <a:pt x="0" y="0"/>
                  </a:moveTo>
                  <a:lnTo>
                    <a:pt x="18" y="12"/>
                  </a:lnTo>
                  <a:lnTo>
                    <a:pt x="6" y="0"/>
                  </a:lnTo>
                  <a:lnTo>
                    <a:pt x="0" y="0"/>
                  </a:ln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170" name="Freeform 169"/>
            <p:cNvSpPr>
              <a:spLocks/>
            </p:cNvSpPr>
            <p:nvPr/>
          </p:nvSpPr>
          <p:spPr bwMode="auto">
            <a:xfrm>
              <a:off x="5471122" y="3397224"/>
              <a:ext cx="14287" cy="23813"/>
            </a:xfrm>
            <a:custGeom>
              <a:avLst/>
              <a:gdLst>
                <a:gd name="T0" fmla="*/ 0 w 12"/>
                <a:gd name="T1" fmla="*/ 0 h 18"/>
                <a:gd name="T2" fmla="*/ 2147483647 w 12"/>
                <a:gd name="T3" fmla="*/ 2147483647 h 18"/>
                <a:gd name="T4" fmla="*/ 2147483647 w 12"/>
                <a:gd name="T5" fmla="*/ 2147483647 h 18"/>
                <a:gd name="T6" fmla="*/ 0 w 12"/>
                <a:gd name="T7" fmla="*/ 0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 h="18">
                  <a:moveTo>
                    <a:pt x="0" y="0"/>
                  </a:moveTo>
                  <a:lnTo>
                    <a:pt x="12" y="18"/>
                  </a:lnTo>
                  <a:lnTo>
                    <a:pt x="12" y="12"/>
                  </a:lnTo>
                  <a:lnTo>
                    <a:pt x="0" y="0"/>
                  </a:ln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171" name="FI"/>
            <p:cNvSpPr>
              <a:spLocks/>
            </p:cNvSpPr>
            <p:nvPr/>
          </p:nvSpPr>
          <p:spPr bwMode="auto">
            <a:xfrm>
              <a:off x="4784593" y="1991563"/>
              <a:ext cx="259494" cy="583383"/>
            </a:xfrm>
            <a:custGeom>
              <a:avLst/>
              <a:gdLst>
                <a:gd name="T0" fmla="*/ 2147483647 w 34"/>
                <a:gd name="T1" fmla="*/ 2147483647 h 75"/>
                <a:gd name="T2" fmla="*/ 2147483647 w 34"/>
                <a:gd name="T3" fmla="*/ 2147483647 h 75"/>
                <a:gd name="T4" fmla="*/ 2147483647 w 34"/>
                <a:gd name="T5" fmla="*/ 2147483647 h 75"/>
                <a:gd name="T6" fmla="*/ 2147483647 w 34"/>
                <a:gd name="T7" fmla="*/ 2147483647 h 75"/>
                <a:gd name="T8" fmla="*/ 2147483647 w 34"/>
                <a:gd name="T9" fmla="*/ 2147483647 h 75"/>
                <a:gd name="T10" fmla="*/ 2147483647 w 34"/>
                <a:gd name="T11" fmla="*/ 2147483647 h 75"/>
                <a:gd name="T12" fmla="*/ 2147483647 w 34"/>
                <a:gd name="T13" fmla="*/ 2147483647 h 75"/>
                <a:gd name="T14" fmla="*/ 2147483647 w 34"/>
                <a:gd name="T15" fmla="*/ 2147483647 h 75"/>
                <a:gd name="T16" fmla="*/ 2147483647 w 34"/>
                <a:gd name="T17" fmla="*/ 2147483647 h 75"/>
                <a:gd name="T18" fmla="*/ 2147483647 w 34"/>
                <a:gd name="T19" fmla="*/ 2147483647 h 75"/>
                <a:gd name="T20" fmla="*/ 2147483647 w 34"/>
                <a:gd name="T21" fmla="*/ 2147483647 h 75"/>
                <a:gd name="T22" fmla="*/ 2147483647 w 34"/>
                <a:gd name="T23" fmla="*/ 2147483647 h 75"/>
                <a:gd name="T24" fmla="*/ 2147483647 w 34"/>
                <a:gd name="T25" fmla="*/ 2147483647 h 75"/>
                <a:gd name="T26" fmla="*/ 2147483647 w 34"/>
                <a:gd name="T27" fmla="*/ 2147483647 h 75"/>
                <a:gd name="T28" fmla="*/ 2147483647 w 34"/>
                <a:gd name="T29" fmla="*/ 2147483647 h 75"/>
                <a:gd name="T30" fmla="*/ 2147483647 w 34"/>
                <a:gd name="T31" fmla="*/ 2147483647 h 75"/>
                <a:gd name="T32" fmla="*/ 2147483647 w 34"/>
                <a:gd name="T33" fmla="*/ 2147483647 h 75"/>
                <a:gd name="T34" fmla="*/ 2147483647 w 34"/>
                <a:gd name="T35" fmla="*/ 2147483647 h 75"/>
                <a:gd name="T36" fmla="*/ 2147483647 w 34"/>
                <a:gd name="T37" fmla="*/ 2147483647 h 75"/>
                <a:gd name="T38" fmla="*/ 2147483647 w 34"/>
                <a:gd name="T39" fmla="*/ 2147483647 h 75"/>
                <a:gd name="T40" fmla="*/ 2147483647 w 34"/>
                <a:gd name="T41" fmla="*/ 2147483647 h 75"/>
                <a:gd name="T42" fmla="*/ 2147483647 w 34"/>
                <a:gd name="T43" fmla="*/ 0 h 75"/>
                <a:gd name="T44" fmla="*/ 2147483647 w 34"/>
                <a:gd name="T45" fmla="*/ 2147483647 h 75"/>
                <a:gd name="T46" fmla="*/ 2147483647 w 34"/>
                <a:gd name="T47" fmla="*/ 2147483647 h 75"/>
                <a:gd name="T48" fmla="*/ 2147483647 w 34"/>
                <a:gd name="T49" fmla="*/ 2147483647 h 75"/>
                <a:gd name="T50" fmla="*/ 2147483647 w 34"/>
                <a:gd name="T51" fmla="*/ 2147483647 h 75"/>
                <a:gd name="T52" fmla="*/ 2147483647 w 34"/>
                <a:gd name="T53" fmla="*/ 2147483647 h 75"/>
                <a:gd name="T54" fmla="*/ 2147483647 w 34"/>
                <a:gd name="T55" fmla="*/ 2147483647 h 75"/>
                <a:gd name="T56" fmla="*/ 2147483647 w 34"/>
                <a:gd name="T57" fmla="*/ 2147483647 h 75"/>
                <a:gd name="T58" fmla="*/ 2147483647 w 34"/>
                <a:gd name="T59" fmla="*/ 2147483647 h 75"/>
                <a:gd name="T60" fmla="*/ 2147483647 w 34"/>
                <a:gd name="T61" fmla="*/ 2147483647 h 75"/>
                <a:gd name="T62" fmla="*/ 2147483647 w 34"/>
                <a:gd name="T63" fmla="*/ 2147483647 h 75"/>
                <a:gd name="T64" fmla="*/ 0 w 34"/>
                <a:gd name="T65" fmla="*/ 2147483647 h 75"/>
                <a:gd name="T66" fmla="*/ 2147483647 w 34"/>
                <a:gd name="T67" fmla="*/ 2147483647 h 75"/>
                <a:gd name="T68" fmla="*/ 2147483647 w 34"/>
                <a:gd name="T69" fmla="*/ 2147483647 h 75"/>
                <a:gd name="T70" fmla="*/ 2147483647 w 34"/>
                <a:gd name="T71" fmla="*/ 2147483647 h 75"/>
                <a:gd name="T72" fmla="*/ 2147483647 w 34"/>
                <a:gd name="T73" fmla="*/ 2147483647 h 75"/>
                <a:gd name="T74" fmla="*/ 2147483647 w 34"/>
                <a:gd name="T75" fmla="*/ 2147483647 h 75"/>
                <a:gd name="T76" fmla="*/ 2147483647 w 34"/>
                <a:gd name="T77" fmla="*/ 2147483647 h 75"/>
                <a:gd name="T78" fmla="*/ 2147483647 w 34"/>
                <a:gd name="T79" fmla="*/ 2147483647 h 75"/>
                <a:gd name="T80" fmla="*/ 2147483647 w 34"/>
                <a:gd name="T81" fmla="*/ 2147483647 h 75"/>
                <a:gd name="T82" fmla="*/ 2147483647 w 34"/>
                <a:gd name="T83" fmla="*/ 2147483647 h 75"/>
                <a:gd name="T84" fmla="*/ 2147483647 w 34"/>
                <a:gd name="T85" fmla="*/ 2147483647 h 75"/>
                <a:gd name="T86" fmla="*/ 2147483647 w 34"/>
                <a:gd name="T87" fmla="*/ 2147483647 h 75"/>
                <a:gd name="T88" fmla="*/ 2147483647 w 34"/>
                <a:gd name="T89" fmla="*/ 2147483647 h 75"/>
                <a:gd name="T90" fmla="*/ 2147483647 w 34"/>
                <a:gd name="T91" fmla="*/ 2147483647 h 75"/>
                <a:gd name="T92" fmla="*/ 2147483647 w 34"/>
                <a:gd name="T93" fmla="*/ 2147483647 h 75"/>
                <a:gd name="T94" fmla="*/ 2147483647 w 34"/>
                <a:gd name="T95" fmla="*/ 2147483647 h 75"/>
                <a:gd name="T96" fmla="*/ 2147483647 w 34"/>
                <a:gd name="T97" fmla="*/ 2147483647 h 75"/>
                <a:gd name="T98" fmla="*/ 2147483647 w 34"/>
                <a:gd name="T99" fmla="*/ 2147483647 h 75"/>
                <a:gd name="T100" fmla="*/ 2147483647 w 34"/>
                <a:gd name="T101" fmla="*/ 2147483647 h 75"/>
                <a:gd name="T102" fmla="*/ 2147483647 w 34"/>
                <a:gd name="T103" fmla="*/ 2147483647 h 75"/>
                <a:gd name="T104" fmla="*/ 2147483647 w 34"/>
                <a:gd name="T105" fmla="*/ 2147483647 h 75"/>
                <a:gd name="T106" fmla="*/ 2147483647 w 34"/>
                <a:gd name="T107" fmla="*/ 2147483647 h 75"/>
                <a:gd name="T108" fmla="*/ 2147483647 w 34"/>
                <a:gd name="T109" fmla="*/ 2147483647 h 75"/>
                <a:gd name="T110" fmla="*/ 2147483647 w 34"/>
                <a:gd name="T111" fmla="*/ 2147483647 h 75"/>
                <a:gd name="T112" fmla="*/ 2147483647 w 34"/>
                <a:gd name="T113" fmla="*/ 2147483647 h 75"/>
                <a:gd name="T114" fmla="*/ 2147483647 w 34"/>
                <a:gd name="T115" fmla="*/ 2147483647 h 75"/>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34" h="75">
                  <a:moveTo>
                    <a:pt x="34" y="55"/>
                  </a:moveTo>
                  <a:cubicBezTo>
                    <a:pt x="32" y="54"/>
                    <a:pt x="32" y="54"/>
                    <a:pt x="32" y="54"/>
                  </a:cubicBezTo>
                  <a:cubicBezTo>
                    <a:pt x="30" y="52"/>
                    <a:pt x="30" y="52"/>
                    <a:pt x="30" y="52"/>
                  </a:cubicBezTo>
                  <a:cubicBezTo>
                    <a:pt x="31" y="47"/>
                    <a:pt x="31" y="47"/>
                    <a:pt x="31" y="47"/>
                  </a:cubicBezTo>
                  <a:cubicBezTo>
                    <a:pt x="31" y="47"/>
                    <a:pt x="30" y="46"/>
                    <a:pt x="30" y="45"/>
                  </a:cubicBezTo>
                  <a:cubicBezTo>
                    <a:pt x="29" y="45"/>
                    <a:pt x="30" y="43"/>
                    <a:pt x="30" y="43"/>
                  </a:cubicBezTo>
                  <a:cubicBezTo>
                    <a:pt x="29" y="42"/>
                    <a:pt x="29" y="42"/>
                    <a:pt x="29" y="42"/>
                  </a:cubicBezTo>
                  <a:cubicBezTo>
                    <a:pt x="29" y="40"/>
                    <a:pt x="29" y="40"/>
                    <a:pt x="29" y="40"/>
                  </a:cubicBezTo>
                  <a:cubicBezTo>
                    <a:pt x="28" y="38"/>
                    <a:pt x="28" y="38"/>
                    <a:pt x="28" y="38"/>
                  </a:cubicBezTo>
                  <a:cubicBezTo>
                    <a:pt x="30" y="36"/>
                    <a:pt x="30" y="36"/>
                    <a:pt x="30" y="36"/>
                  </a:cubicBezTo>
                  <a:cubicBezTo>
                    <a:pt x="27" y="27"/>
                    <a:pt x="27" y="27"/>
                    <a:pt x="27" y="27"/>
                  </a:cubicBezTo>
                  <a:cubicBezTo>
                    <a:pt x="30" y="21"/>
                    <a:pt x="30" y="21"/>
                    <a:pt x="30" y="21"/>
                  </a:cubicBezTo>
                  <a:cubicBezTo>
                    <a:pt x="28" y="17"/>
                    <a:pt x="28" y="17"/>
                    <a:pt x="28" y="17"/>
                  </a:cubicBezTo>
                  <a:cubicBezTo>
                    <a:pt x="25" y="15"/>
                    <a:pt x="25" y="15"/>
                    <a:pt x="25" y="15"/>
                  </a:cubicBezTo>
                  <a:cubicBezTo>
                    <a:pt x="25" y="14"/>
                    <a:pt x="25" y="14"/>
                    <a:pt x="25" y="14"/>
                  </a:cubicBezTo>
                  <a:cubicBezTo>
                    <a:pt x="25" y="10"/>
                    <a:pt x="25" y="10"/>
                    <a:pt x="25" y="10"/>
                  </a:cubicBezTo>
                  <a:cubicBezTo>
                    <a:pt x="25" y="10"/>
                    <a:pt x="25" y="10"/>
                    <a:pt x="25" y="10"/>
                  </a:cubicBezTo>
                  <a:cubicBezTo>
                    <a:pt x="26" y="9"/>
                    <a:pt x="26" y="9"/>
                    <a:pt x="26" y="9"/>
                  </a:cubicBezTo>
                  <a:cubicBezTo>
                    <a:pt x="26" y="8"/>
                    <a:pt x="26" y="8"/>
                    <a:pt x="26" y="8"/>
                  </a:cubicBezTo>
                  <a:cubicBezTo>
                    <a:pt x="27" y="6"/>
                    <a:pt x="27" y="6"/>
                    <a:pt x="27" y="6"/>
                  </a:cubicBezTo>
                  <a:cubicBezTo>
                    <a:pt x="27" y="3"/>
                    <a:pt x="27" y="3"/>
                    <a:pt x="27" y="3"/>
                  </a:cubicBezTo>
                  <a:cubicBezTo>
                    <a:pt x="24" y="0"/>
                    <a:pt x="24" y="0"/>
                    <a:pt x="24" y="0"/>
                  </a:cubicBezTo>
                  <a:cubicBezTo>
                    <a:pt x="19" y="1"/>
                    <a:pt x="19" y="1"/>
                    <a:pt x="19" y="1"/>
                  </a:cubicBezTo>
                  <a:cubicBezTo>
                    <a:pt x="17" y="3"/>
                    <a:pt x="17" y="3"/>
                    <a:pt x="17" y="3"/>
                  </a:cubicBezTo>
                  <a:cubicBezTo>
                    <a:pt x="15" y="8"/>
                    <a:pt x="15" y="8"/>
                    <a:pt x="15" y="8"/>
                  </a:cubicBezTo>
                  <a:cubicBezTo>
                    <a:pt x="12" y="11"/>
                    <a:pt x="12" y="11"/>
                    <a:pt x="12" y="11"/>
                  </a:cubicBezTo>
                  <a:cubicBezTo>
                    <a:pt x="11" y="10"/>
                    <a:pt x="11" y="10"/>
                    <a:pt x="11" y="10"/>
                  </a:cubicBezTo>
                  <a:cubicBezTo>
                    <a:pt x="8" y="11"/>
                    <a:pt x="8" y="11"/>
                    <a:pt x="8" y="11"/>
                  </a:cubicBezTo>
                  <a:cubicBezTo>
                    <a:pt x="5" y="10"/>
                    <a:pt x="5" y="10"/>
                    <a:pt x="5" y="10"/>
                  </a:cubicBezTo>
                  <a:cubicBezTo>
                    <a:pt x="3" y="8"/>
                    <a:pt x="3" y="8"/>
                    <a:pt x="3" y="8"/>
                  </a:cubicBezTo>
                  <a:cubicBezTo>
                    <a:pt x="2" y="6"/>
                    <a:pt x="2" y="6"/>
                    <a:pt x="2" y="6"/>
                  </a:cubicBezTo>
                  <a:cubicBezTo>
                    <a:pt x="1" y="8"/>
                    <a:pt x="1" y="8"/>
                    <a:pt x="1" y="8"/>
                  </a:cubicBezTo>
                  <a:cubicBezTo>
                    <a:pt x="0" y="8"/>
                    <a:pt x="0" y="8"/>
                    <a:pt x="0" y="8"/>
                  </a:cubicBezTo>
                  <a:cubicBezTo>
                    <a:pt x="1" y="10"/>
                    <a:pt x="1" y="10"/>
                    <a:pt x="1" y="10"/>
                  </a:cubicBezTo>
                  <a:cubicBezTo>
                    <a:pt x="4" y="13"/>
                    <a:pt x="4" y="13"/>
                    <a:pt x="4" y="13"/>
                  </a:cubicBezTo>
                  <a:cubicBezTo>
                    <a:pt x="6" y="14"/>
                    <a:pt x="6" y="14"/>
                    <a:pt x="6" y="14"/>
                  </a:cubicBezTo>
                  <a:cubicBezTo>
                    <a:pt x="7" y="14"/>
                    <a:pt x="7" y="14"/>
                    <a:pt x="7" y="14"/>
                  </a:cubicBezTo>
                  <a:cubicBezTo>
                    <a:pt x="9" y="19"/>
                    <a:pt x="9" y="19"/>
                    <a:pt x="9" y="19"/>
                  </a:cubicBezTo>
                  <a:cubicBezTo>
                    <a:pt x="9" y="23"/>
                    <a:pt x="9" y="23"/>
                    <a:pt x="9" y="23"/>
                  </a:cubicBezTo>
                  <a:cubicBezTo>
                    <a:pt x="9" y="26"/>
                    <a:pt x="9" y="26"/>
                    <a:pt x="9" y="26"/>
                  </a:cubicBezTo>
                  <a:cubicBezTo>
                    <a:pt x="10" y="29"/>
                    <a:pt x="10" y="29"/>
                    <a:pt x="10" y="29"/>
                  </a:cubicBezTo>
                  <a:cubicBezTo>
                    <a:pt x="10" y="30"/>
                    <a:pt x="10" y="30"/>
                    <a:pt x="10" y="30"/>
                  </a:cubicBezTo>
                  <a:cubicBezTo>
                    <a:pt x="10" y="35"/>
                    <a:pt x="10" y="35"/>
                    <a:pt x="10" y="35"/>
                  </a:cubicBezTo>
                  <a:cubicBezTo>
                    <a:pt x="10" y="36"/>
                    <a:pt x="10" y="36"/>
                    <a:pt x="10" y="36"/>
                  </a:cubicBezTo>
                  <a:cubicBezTo>
                    <a:pt x="12" y="36"/>
                    <a:pt x="12" y="36"/>
                    <a:pt x="12" y="36"/>
                  </a:cubicBezTo>
                  <a:cubicBezTo>
                    <a:pt x="14" y="40"/>
                    <a:pt x="14" y="40"/>
                    <a:pt x="14" y="40"/>
                  </a:cubicBezTo>
                  <a:cubicBezTo>
                    <a:pt x="9" y="49"/>
                    <a:pt x="9" y="49"/>
                    <a:pt x="9" y="49"/>
                  </a:cubicBezTo>
                  <a:cubicBezTo>
                    <a:pt x="4" y="53"/>
                    <a:pt x="4" y="53"/>
                    <a:pt x="4" y="53"/>
                  </a:cubicBezTo>
                  <a:cubicBezTo>
                    <a:pt x="1" y="58"/>
                    <a:pt x="1" y="58"/>
                    <a:pt x="1" y="58"/>
                  </a:cubicBezTo>
                  <a:cubicBezTo>
                    <a:pt x="2" y="66"/>
                    <a:pt x="2" y="66"/>
                    <a:pt x="2" y="66"/>
                  </a:cubicBezTo>
                  <a:cubicBezTo>
                    <a:pt x="3" y="71"/>
                    <a:pt x="3" y="71"/>
                    <a:pt x="3" y="71"/>
                  </a:cubicBezTo>
                  <a:cubicBezTo>
                    <a:pt x="5" y="73"/>
                    <a:pt x="5" y="73"/>
                    <a:pt x="5" y="73"/>
                  </a:cubicBezTo>
                  <a:cubicBezTo>
                    <a:pt x="7" y="75"/>
                    <a:pt x="7" y="75"/>
                    <a:pt x="7" y="75"/>
                  </a:cubicBezTo>
                  <a:cubicBezTo>
                    <a:pt x="12" y="75"/>
                    <a:pt x="12" y="75"/>
                    <a:pt x="12" y="75"/>
                  </a:cubicBezTo>
                  <a:cubicBezTo>
                    <a:pt x="20" y="72"/>
                    <a:pt x="20" y="72"/>
                    <a:pt x="20" y="72"/>
                  </a:cubicBezTo>
                  <a:cubicBezTo>
                    <a:pt x="22" y="72"/>
                    <a:pt x="22" y="72"/>
                    <a:pt x="22" y="72"/>
                  </a:cubicBezTo>
                  <a:cubicBezTo>
                    <a:pt x="34" y="58"/>
                    <a:pt x="34" y="58"/>
                    <a:pt x="34" y="58"/>
                  </a:cubicBezTo>
                  <a:lnTo>
                    <a:pt x="34" y="55"/>
                  </a:ln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172" name="Freeform 171"/>
            <p:cNvSpPr>
              <a:spLocks/>
            </p:cNvSpPr>
            <p:nvPr/>
          </p:nvSpPr>
          <p:spPr bwMode="auto">
            <a:xfrm>
              <a:off x="5052026" y="2915442"/>
              <a:ext cx="15875" cy="7936"/>
            </a:xfrm>
            <a:custGeom>
              <a:avLst/>
              <a:gdLst>
                <a:gd name="T0" fmla="*/ 2147483647 w 12"/>
                <a:gd name="T1" fmla="*/ 2147483647 h 6"/>
                <a:gd name="T2" fmla="*/ 0 w 12"/>
                <a:gd name="T3" fmla="*/ 0 h 6"/>
                <a:gd name="T4" fmla="*/ 0 w 12"/>
                <a:gd name="T5" fmla="*/ 2147483647 h 6"/>
                <a:gd name="T6" fmla="*/ 2147483647 w 12"/>
                <a:gd name="T7" fmla="*/ 2147483647 h 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 h="6">
                  <a:moveTo>
                    <a:pt x="12" y="6"/>
                  </a:moveTo>
                  <a:lnTo>
                    <a:pt x="0" y="0"/>
                  </a:lnTo>
                  <a:lnTo>
                    <a:pt x="0" y="6"/>
                  </a:lnTo>
                  <a:lnTo>
                    <a:pt x="12" y="6"/>
                  </a:ln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173" name="Freeform 172"/>
            <p:cNvSpPr>
              <a:spLocks/>
            </p:cNvSpPr>
            <p:nvPr/>
          </p:nvSpPr>
          <p:spPr bwMode="auto">
            <a:xfrm>
              <a:off x="5533033" y="3444849"/>
              <a:ext cx="71437" cy="7938"/>
            </a:xfrm>
            <a:custGeom>
              <a:avLst/>
              <a:gdLst>
                <a:gd name="T0" fmla="*/ 2147483647 w 54"/>
                <a:gd name="T1" fmla="*/ 2147483647 h 6"/>
                <a:gd name="T2" fmla="*/ 2147483647 w 54"/>
                <a:gd name="T3" fmla="*/ 2147483647 h 6"/>
                <a:gd name="T4" fmla="*/ 2147483647 w 54"/>
                <a:gd name="T5" fmla="*/ 0 h 6"/>
                <a:gd name="T6" fmla="*/ 0 w 54"/>
                <a:gd name="T7" fmla="*/ 2147483647 h 6"/>
                <a:gd name="T8" fmla="*/ 2147483647 w 54"/>
                <a:gd name="T9" fmla="*/ 2147483647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4" h="6">
                  <a:moveTo>
                    <a:pt x="6" y="6"/>
                  </a:moveTo>
                  <a:lnTo>
                    <a:pt x="30" y="6"/>
                  </a:lnTo>
                  <a:lnTo>
                    <a:pt x="54" y="0"/>
                  </a:lnTo>
                  <a:lnTo>
                    <a:pt x="0" y="6"/>
                  </a:lnTo>
                  <a:lnTo>
                    <a:pt x="6" y="6"/>
                  </a:ln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174" name="KZ"/>
            <p:cNvSpPr>
              <a:spLocks/>
            </p:cNvSpPr>
            <p:nvPr/>
          </p:nvSpPr>
          <p:spPr bwMode="auto">
            <a:xfrm>
              <a:off x="5423496" y="2790030"/>
              <a:ext cx="996820" cy="707207"/>
            </a:xfrm>
            <a:custGeom>
              <a:avLst/>
              <a:gdLst>
                <a:gd name="T0" fmla="*/ 2147483647 w 129"/>
                <a:gd name="T1" fmla="*/ 2147483647 h 91"/>
                <a:gd name="T2" fmla="*/ 2147483647 w 129"/>
                <a:gd name="T3" fmla="*/ 2147483647 h 91"/>
                <a:gd name="T4" fmla="*/ 2147483647 w 129"/>
                <a:gd name="T5" fmla="*/ 2147483647 h 91"/>
                <a:gd name="T6" fmla="*/ 2147483647 w 129"/>
                <a:gd name="T7" fmla="*/ 2147483647 h 91"/>
                <a:gd name="T8" fmla="*/ 2147483647 w 129"/>
                <a:gd name="T9" fmla="*/ 2147483647 h 91"/>
                <a:gd name="T10" fmla="*/ 2147483647 w 129"/>
                <a:gd name="T11" fmla="*/ 2147483647 h 91"/>
                <a:gd name="T12" fmla="*/ 2147483647 w 129"/>
                <a:gd name="T13" fmla="*/ 2147483647 h 91"/>
                <a:gd name="T14" fmla="*/ 2147483647 w 129"/>
                <a:gd name="T15" fmla="*/ 2147483647 h 91"/>
                <a:gd name="T16" fmla="*/ 2147483647 w 129"/>
                <a:gd name="T17" fmla="*/ 2147483647 h 91"/>
                <a:gd name="T18" fmla="*/ 2147483647 w 129"/>
                <a:gd name="T19" fmla="*/ 2147483647 h 91"/>
                <a:gd name="T20" fmla="*/ 2147483647 w 129"/>
                <a:gd name="T21" fmla="*/ 2147483647 h 91"/>
                <a:gd name="T22" fmla="*/ 2147483647 w 129"/>
                <a:gd name="T23" fmla="*/ 2147483647 h 91"/>
                <a:gd name="T24" fmla="*/ 2147483647 w 129"/>
                <a:gd name="T25" fmla="*/ 2147483647 h 91"/>
                <a:gd name="T26" fmla="*/ 2147483647 w 129"/>
                <a:gd name="T27" fmla="*/ 2147483647 h 91"/>
                <a:gd name="T28" fmla="*/ 2147483647 w 129"/>
                <a:gd name="T29" fmla="*/ 2147483647 h 91"/>
                <a:gd name="T30" fmla="*/ 0 w 129"/>
                <a:gd name="T31" fmla="*/ 2147483647 h 91"/>
                <a:gd name="T32" fmla="*/ 2147483647 w 129"/>
                <a:gd name="T33" fmla="*/ 2147483647 h 91"/>
                <a:gd name="T34" fmla="*/ 2147483647 w 129"/>
                <a:gd name="T35" fmla="*/ 2147483647 h 91"/>
                <a:gd name="T36" fmla="*/ 2147483647 w 129"/>
                <a:gd name="T37" fmla="*/ 2147483647 h 91"/>
                <a:gd name="T38" fmla="*/ 2147483647 w 129"/>
                <a:gd name="T39" fmla="*/ 2147483647 h 91"/>
                <a:gd name="T40" fmla="*/ 2147483647 w 129"/>
                <a:gd name="T41" fmla="*/ 2147483647 h 91"/>
                <a:gd name="T42" fmla="*/ 2147483647 w 129"/>
                <a:gd name="T43" fmla="*/ 2147483647 h 91"/>
                <a:gd name="T44" fmla="*/ 2147483647 w 129"/>
                <a:gd name="T45" fmla="*/ 2147483647 h 91"/>
                <a:gd name="T46" fmla="*/ 2147483647 w 129"/>
                <a:gd name="T47" fmla="*/ 2147483647 h 91"/>
                <a:gd name="T48" fmla="*/ 2147483647 w 129"/>
                <a:gd name="T49" fmla="*/ 2147483647 h 91"/>
                <a:gd name="T50" fmla="*/ 2147483647 w 129"/>
                <a:gd name="T51" fmla="*/ 2147483647 h 91"/>
                <a:gd name="T52" fmla="*/ 2147483647 w 129"/>
                <a:gd name="T53" fmla="*/ 2147483647 h 91"/>
                <a:gd name="T54" fmla="*/ 2147483647 w 129"/>
                <a:gd name="T55" fmla="*/ 2147483647 h 91"/>
                <a:gd name="T56" fmla="*/ 2147483647 w 129"/>
                <a:gd name="T57" fmla="*/ 2147483647 h 91"/>
                <a:gd name="T58" fmla="*/ 2147483647 w 129"/>
                <a:gd name="T59" fmla="*/ 2147483647 h 91"/>
                <a:gd name="T60" fmla="*/ 2147483647 w 129"/>
                <a:gd name="T61" fmla="*/ 2147483647 h 91"/>
                <a:gd name="T62" fmla="*/ 2147483647 w 129"/>
                <a:gd name="T63" fmla="*/ 2147483647 h 91"/>
                <a:gd name="T64" fmla="*/ 2147483647 w 129"/>
                <a:gd name="T65" fmla="*/ 2147483647 h 91"/>
                <a:gd name="T66" fmla="*/ 2147483647 w 129"/>
                <a:gd name="T67" fmla="*/ 2147483647 h 91"/>
                <a:gd name="T68" fmla="*/ 2147483647 w 129"/>
                <a:gd name="T69" fmla="*/ 2147483647 h 91"/>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29" h="91">
                  <a:moveTo>
                    <a:pt x="89" y="79"/>
                  </a:moveTo>
                  <a:cubicBezTo>
                    <a:pt x="87" y="77"/>
                    <a:pt x="87" y="77"/>
                    <a:pt x="87" y="77"/>
                  </a:cubicBezTo>
                  <a:cubicBezTo>
                    <a:pt x="88" y="73"/>
                    <a:pt x="88" y="73"/>
                    <a:pt x="88" y="73"/>
                  </a:cubicBezTo>
                  <a:cubicBezTo>
                    <a:pt x="96" y="71"/>
                    <a:pt x="96" y="71"/>
                    <a:pt x="96" y="71"/>
                  </a:cubicBezTo>
                  <a:cubicBezTo>
                    <a:pt x="101" y="67"/>
                    <a:pt x="101" y="67"/>
                    <a:pt x="101" y="67"/>
                  </a:cubicBezTo>
                  <a:cubicBezTo>
                    <a:pt x="105" y="63"/>
                    <a:pt x="105" y="63"/>
                    <a:pt x="105" y="63"/>
                  </a:cubicBezTo>
                  <a:cubicBezTo>
                    <a:pt x="107" y="51"/>
                    <a:pt x="107" y="51"/>
                    <a:pt x="107" y="51"/>
                  </a:cubicBezTo>
                  <a:cubicBezTo>
                    <a:pt x="114" y="50"/>
                    <a:pt x="114" y="50"/>
                    <a:pt x="114" y="50"/>
                  </a:cubicBezTo>
                  <a:cubicBezTo>
                    <a:pt x="116" y="40"/>
                    <a:pt x="116" y="40"/>
                    <a:pt x="116" y="40"/>
                  </a:cubicBezTo>
                  <a:cubicBezTo>
                    <a:pt x="124" y="41"/>
                    <a:pt x="124" y="41"/>
                    <a:pt x="124" y="41"/>
                  </a:cubicBezTo>
                  <a:cubicBezTo>
                    <a:pt x="126" y="35"/>
                    <a:pt x="126" y="35"/>
                    <a:pt x="126" y="35"/>
                  </a:cubicBezTo>
                  <a:cubicBezTo>
                    <a:pt x="129" y="34"/>
                    <a:pt x="129" y="34"/>
                    <a:pt x="129" y="34"/>
                  </a:cubicBezTo>
                  <a:cubicBezTo>
                    <a:pt x="129" y="29"/>
                    <a:pt x="129" y="29"/>
                    <a:pt x="129" y="29"/>
                  </a:cubicBezTo>
                  <a:cubicBezTo>
                    <a:pt x="122" y="27"/>
                    <a:pt x="122" y="27"/>
                    <a:pt x="122" y="27"/>
                  </a:cubicBezTo>
                  <a:cubicBezTo>
                    <a:pt x="114" y="23"/>
                    <a:pt x="114" y="23"/>
                    <a:pt x="114" y="23"/>
                  </a:cubicBezTo>
                  <a:cubicBezTo>
                    <a:pt x="104" y="23"/>
                    <a:pt x="104" y="23"/>
                    <a:pt x="104" y="23"/>
                  </a:cubicBezTo>
                  <a:cubicBezTo>
                    <a:pt x="100" y="14"/>
                    <a:pt x="100" y="14"/>
                    <a:pt x="100" y="14"/>
                  </a:cubicBezTo>
                  <a:cubicBezTo>
                    <a:pt x="96" y="6"/>
                    <a:pt x="96" y="6"/>
                    <a:pt x="96" y="6"/>
                  </a:cubicBezTo>
                  <a:cubicBezTo>
                    <a:pt x="91" y="6"/>
                    <a:pt x="91" y="6"/>
                    <a:pt x="91" y="6"/>
                  </a:cubicBezTo>
                  <a:cubicBezTo>
                    <a:pt x="82" y="9"/>
                    <a:pt x="82" y="9"/>
                    <a:pt x="82" y="9"/>
                  </a:cubicBezTo>
                  <a:cubicBezTo>
                    <a:pt x="74" y="0"/>
                    <a:pt x="74" y="0"/>
                    <a:pt x="74" y="0"/>
                  </a:cubicBezTo>
                  <a:cubicBezTo>
                    <a:pt x="62" y="3"/>
                    <a:pt x="62" y="3"/>
                    <a:pt x="62" y="3"/>
                  </a:cubicBezTo>
                  <a:cubicBezTo>
                    <a:pt x="49" y="7"/>
                    <a:pt x="49" y="7"/>
                    <a:pt x="49" y="7"/>
                  </a:cubicBezTo>
                  <a:cubicBezTo>
                    <a:pt x="45" y="16"/>
                    <a:pt x="45" y="16"/>
                    <a:pt x="45" y="16"/>
                  </a:cubicBezTo>
                  <a:cubicBezTo>
                    <a:pt x="47" y="23"/>
                    <a:pt x="47" y="23"/>
                    <a:pt x="47" y="23"/>
                  </a:cubicBezTo>
                  <a:cubicBezTo>
                    <a:pt x="40" y="24"/>
                    <a:pt x="40" y="24"/>
                    <a:pt x="40" y="24"/>
                  </a:cubicBezTo>
                  <a:cubicBezTo>
                    <a:pt x="33" y="23"/>
                    <a:pt x="33" y="23"/>
                    <a:pt x="33" y="23"/>
                  </a:cubicBezTo>
                  <a:cubicBezTo>
                    <a:pt x="27" y="24"/>
                    <a:pt x="27" y="24"/>
                    <a:pt x="27" y="24"/>
                  </a:cubicBezTo>
                  <a:cubicBezTo>
                    <a:pt x="22" y="20"/>
                    <a:pt x="22" y="20"/>
                    <a:pt x="22" y="20"/>
                  </a:cubicBezTo>
                  <a:cubicBezTo>
                    <a:pt x="13" y="21"/>
                    <a:pt x="13" y="21"/>
                    <a:pt x="13" y="21"/>
                  </a:cubicBezTo>
                  <a:cubicBezTo>
                    <a:pt x="3" y="26"/>
                    <a:pt x="3" y="26"/>
                    <a:pt x="3" y="26"/>
                  </a:cubicBezTo>
                  <a:cubicBezTo>
                    <a:pt x="0" y="33"/>
                    <a:pt x="0" y="33"/>
                    <a:pt x="0" y="33"/>
                  </a:cubicBezTo>
                  <a:cubicBezTo>
                    <a:pt x="4" y="37"/>
                    <a:pt x="4" y="37"/>
                    <a:pt x="4" y="37"/>
                  </a:cubicBezTo>
                  <a:cubicBezTo>
                    <a:pt x="6" y="42"/>
                    <a:pt x="6" y="42"/>
                    <a:pt x="6" y="42"/>
                  </a:cubicBezTo>
                  <a:cubicBezTo>
                    <a:pt x="13" y="41"/>
                    <a:pt x="13" y="41"/>
                    <a:pt x="13" y="41"/>
                  </a:cubicBezTo>
                  <a:cubicBezTo>
                    <a:pt x="19" y="41"/>
                    <a:pt x="19" y="41"/>
                    <a:pt x="19" y="41"/>
                  </a:cubicBezTo>
                  <a:cubicBezTo>
                    <a:pt x="26" y="49"/>
                    <a:pt x="26" y="49"/>
                    <a:pt x="26" y="49"/>
                  </a:cubicBezTo>
                  <a:cubicBezTo>
                    <a:pt x="20" y="50"/>
                    <a:pt x="20" y="50"/>
                    <a:pt x="20" y="50"/>
                  </a:cubicBezTo>
                  <a:cubicBezTo>
                    <a:pt x="16" y="50"/>
                    <a:pt x="16" y="50"/>
                    <a:pt x="16" y="50"/>
                  </a:cubicBezTo>
                  <a:cubicBezTo>
                    <a:pt x="13" y="52"/>
                    <a:pt x="13" y="52"/>
                    <a:pt x="13" y="52"/>
                  </a:cubicBezTo>
                  <a:cubicBezTo>
                    <a:pt x="16" y="59"/>
                    <a:pt x="16" y="59"/>
                    <a:pt x="16" y="59"/>
                  </a:cubicBezTo>
                  <a:cubicBezTo>
                    <a:pt x="16" y="59"/>
                    <a:pt x="20" y="62"/>
                    <a:pt x="20" y="63"/>
                  </a:cubicBezTo>
                  <a:cubicBezTo>
                    <a:pt x="20" y="64"/>
                    <a:pt x="20" y="72"/>
                    <a:pt x="20" y="72"/>
                  </a:cubicBezTo>
                  <a:cubicBezTo>
                    <a:pt x="24" y="76"/>
                    <a:pt x="24" y="76"/>
                    <a:pt x="24" y="76"/>
                  </a:cubicBezTo>
                  <a:cubicBezTo>
                    <a:pt x="23" y="84"/>
                    <a:pt x="23" y="84"/>
                    <a:pt x="23" y="84"/>
                  </a:cubicBezTo>
                  <a:cubicBezTo>
                    <a:pt x="24" y="82"/>
                    <a:pt x="24" y="82"/>
                    <a:pt x="24" y="82"/>
                  </a:cubicBezTo>
                  <a:cubicBezTo>
                    <a:pt x="29" y="80"/>
                    <a:pt x="29" y="80"/>
                    <a:pt x="29" y="80"/>
                  </a:cubicBezTo>
                  <a:cubicBezTo>
                    <a:pt x="33" y="79"/>
                    <a:pt x="33" y="79"/>
                    <a:pt x="33" y="79"/>
                  </a:cubicBezTo>
                  <a:cubicBezTo>
                    <a:pt x="38" y="82"/>
                    <a:pt x="38" y="82"/>
                    <a:pt x="38" y="82"/>
                  </a:cubicBezTo>
                  <a:cubicBezTo>
                    <a:pt x="42" y="85"/>
                    <a:pt x="42" y="85"/>
                    <a:pt x="42" y="85"/>
                  </a:cubicBezTo>
                  <a:cubicBezTo>
                    <a:pt x="46" y="86"/>
                    <a:pt x="46" y="86"/>
                    <a:pt x="46" y="86"/>
                  </a:cubicBezTo>
                  <a:cubicBezTo>
                    <a:pt x="46" y="89"/>
                    <a:pt x="46" y="89"/>
                    <a:pt x="46" y="89"/>
                  </a:cubicBezTo>
                  <a:cubicBezTo>
                    <a:pt x="48" y="90"/>
                    <a:pt x="48" y="90"/>
                    <a:pt x="48" y="90"/>
                  </a:cubicBezTo>
                  <a:cubicBezTo>
                    <a:pt x="51" y="91"/>
                    <a:pt x="51" y="91"/>
                    <a:pt x="51" y="91"/>
                  </a:cubicBezTo>
                  <a:cubicBezTo>
                    <a:pt x="53" y="89"/>
                    <a:pt x="53" y="89"/>
                    <a:pt x="53" y="89"/>
                  </a:cubicBezTo>
                  <a:cubicBezTo>
                    <a:pt x="58" y="87"/>
                    <a:pt x="58" y="87"/>
                    <a:pt x="58" y="87"/>
                  </a:cubicBezTo>
                  <a:cubicBezTo>
                    <a:pt x="59" y="82"/>
                    <a:pt x="59" y="82"/>
                    <a:pt x="59" y="82"/>
                  </a:cubicBezTo>
                  <a:cubicBezTo>
                    <a:pt x="63" y="83"/>
                    <a:pt x="63" y="83"/>
                    <a:pt x="63" y="83"/>
                  </a:cubicBezTo>
                  <a:cubicBezTo>
                    <a:pt x="66" y="83"/>
                    <a:pt x="66" y="83"/>
                    <a:pt x="66" y="83"/>
                  </a:cubicBezTo>
                  <a:cubicBezTo>
                    <a:pt x="68" y="85"/>
                    <a:pt x="68" y="85"/>
                    <a:pt x="68" y="85"/>
                  </a:cubicBezTo>
                  <a:cubicBezTo>
                    <a:pt x="72" y="84"/>
                    <a:pt x="72" y="84"/>
                    <a:pt x="72" y="84"/>
                  </a:cubicBezTo>
                  <a:cubicBezTo>
                    <a:pt x="74" y="82"/>
                    <a:pt x="74" y="82"/>
                    <a:pt x="74" y="82"/>
                  </a:cubicBezTo>
                  <a:cubicBezTo>
                    <a:pt x="77" y="79"/>
                    <a:pt x="77" y="79"/>
                    <a:pt x="77" y="79"/>
                  </a:cubicBezTo>
                  <a:cubicBezTo>
                    <a:pt x="78" y="80"/>
                    <a:pt x="78" y="80"/>
                    <a:pt x="78" y="80"/>
                  </a:cubicBezTo>
                  <a:cubicBezTo>
                    <a:pt x="79" y="83"/>
                    <a:pt x="79" y="83"/>
                    <a:pt x="79" y="83"/>
                  </a:cubicBezTo>
                  <a:cubicBezTo>
                    <a:pt x="82" y="83"/>
                    <a:pt x="82" y="83"/>
                    <a:pt x="82" y="83"/>
                  </a:cubicBezTo>
                  <a:cubicBezTo>
                    <a:pt x="86" y="82"/>
                    <a:pt x="86" y="82"/>
                    <a:pt x="86" y="82"/>
                  </a:cubicBezTo>
                  <a:cubicBezTo>
                    <a:pt x="88" y="82"/>
                    <a:pt x="88" y="82"/>
                    <a:pt x="88" y="82"/>
                  </a:cubicBezTo>
                  <a:cubicBezTo>
                    <a:pt x="88" y="83"/>
                    <a:pt x="88" y="83"/>
                    <a:pt x="88" y="83"/>
                  </a:cubicBezTo>
                  <a:cubicBezTo>
                    <a:pt x="90" y="82"/>
                    <a:pt x="90" y="82"/>
                    <a:pt x="90" y="82"/>
                  </a:cubicBezTo>
                  <a:lnTo>
                    <a:pt x="89" y="79"/>
                  </a:ln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175" name="Freeform 174"/>
            <p:cNvSpPr>
              <a:spLocks/>
            </p:cNvSpPr>
            <p:nvPr/>
          </p:nvSpPr>
          <p:spPr bwMode="auto">
            <a:xfrm>
              <a:off x="5485409" y="3421037"/>
              <a:ext cx="22224" cy="14287"/>
            </a:xfrm>
            <a:custGeom>
              <a:avLst/>
              <a:gdLst>
                <a:gd name="T0" fmla="*/ 0 w 18"/>
                <a:gd name="T1" fmla="*/ 0 h 12"/>
                <a:gd name="T2" fmla="*/ 0 w 18"/>
                <a:gd name="T3" fmla="*/ 2147483647 h 12"/>
                <a:gd name="T4" fmla="*/ 2147483647 w 18"/>
                <a:gd name="T5" fmla="*/ 2147483647 h 12"/>
                <a:gd name="T6" fmla="*/ 2147483647 w 18"/>
                <a:gd name="T7" fmla="*/ 2147483647 h 12"/>
                <a:gd name="T8" fmla="*/ 0 w 18"/>
                <a:gd name="T9" fmla="*/ 0 h 1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8" h="12">
                  <a:moveTo>
                    <a:pt x="0" y="0"/>
                  </a:moveTo>
                  <a:lnTo>
                    <a:pt x="0" y="12"/>
                  </a:lnTo>
                  <a:lnTo>
                    <a:pt x="18" y="12"/>
                  </a:lnTo>
                  <a:lnTo>
                    <a:pt x="12" y="12"/>
                  </a:lnTo>
                  <a:lnTo>
                    <a:pt x="0" y="0"/>
                  </a:ln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176" name="Rectangle 175"/>
            <p:cNvSpPr>
              <a:spLocks noChangeArrowheads="1"/>
            </p:cNvSpPr>
            <p:nvPr/>
          </p:nvSpPr>
          <p:spPr bwMode="auto">
            <a:xfrm>
              <a:off x="4675058" y="3055141"/>
              <a:ext cx="9525" cy="1587"/>
            </a:xfrm>
            <a:prstGeom prst="rect">
              <a:avLst/>
            </a:prstGeom>
            <a:solidFill>
              <a:srgbClr val="00B9E4"/>
            </a:solidFill>
            <a:ln w="9525">
              <a:solidFill>
                <a:schemeClr val="bg1"/>
              </a:solidFill>
              <a:miter lim="800000"/>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sz="1286"/>
            </a:p>
          </p:txBody>
        </p:sp>
        <p:sp>
          <p:nvSpPr>
            <p:cNvPr id="177" name="NO"/>
            <p:cNvSpPr>
              <a:spLocks/>
            </p:cNvSpPr>
            <p:nvPr/>
          </p:nvSpPr>
          <p:spPr bwMode="auto">
            <a:xfrm>
              <a:off x="4394926" y="1904252"/>
              <a:ext cx="634875" cy="761954"/>
            </a:xfrm>
            <a:custGeom>
              <a:avLst/>
              <a:gdLst>
                <a:gd name="T0" fmla="*/ 2147483647 w 83"/>
                <a:gd name="T1" fmla="*/ 2147483647 h 98"/>
                <a:gd name="T2" fmla="*/ 2147483647 w 83"/>
                <a:gd name="T3" fmla="*/ 2147483647 h 98"/>
                <a:gd name="T4" fmla="*/ 2147483647 w 83"/>
                <a:gd name="T5" fmla="*/ 2147483647 h 98"/>
                <a:gd name="T6" fmla="*/ 2147483647 w 83"/>
                <a:gd name="T7" fmla="*/ 2147483647 h 98"/>
                <a:gd name="T8" fmla="*/ 2147483647 w 83"/>
                <a:gd name="T9" fmla="*/ 2147483647 h 98"/>
                <a:gd name="T10" fmla="*/ 2147483647 w 83"/>
                <a:gd name="T11" fmla="*/ 2147483647 h 98"/>
                <a:gd name="T12" fmla="*/ 2147483647 w 83"/>
                <a:gd name="T13" fmla="*/ 2147483647 h 98"/>
                <a:gd name="T14" fmla="*/ 2147483647 w 83"/>
                <a:gd name="T15" fmla="*/ 2147483647 h 98"/>
                <a:gd name="T16" fmla="*/ 2147483647 w 83"/>
                <a:gd name="T17" fmla="*/ 2147483647 h 98"/>
                <a:gd name="T18" fmla="*/ 2147483647 w 83"/>
                <a:gd name="T19" fmla="*/ 2147483647 h 98"/>
                <a:gd name="T20" fmla="*/ 2147483647 w 83"/>
                <a:gd name="T21" fmla="*/ 2147483647 h 98"/>
                <a:gd name="T22" fmla="*/ 2147483647 w 83"/>
                <a:gd name="T23" fmla="*/ 2147483647 h 98"/>
                <a:gd name="T24" fmla="*/ 2147483647 w 83"/>
                <a:gd name="T25" fmla="*/ 2147483647 h 98"/>
                <a:gd name="T26" fmla="*/ 2147483647 w 83"/>
                <a:gd name="T27" fmla="*/ 2147483647 h 98"/>
                <a:gd name="T28" fmla="*/ 2147483647 w 83"/>
                <a:gd name="T29" fmla="*/ 2147483647 h 98"/>
                <a:gd name="T30" fmla="*/ 2147483647 w 83"/>
                <a:gd name="T31" fmla="*/ 2147483647 h 98"/>
                <a:gd name="T32" fmla="*/ 2147483647 w 83"/>
                <a:gd name="T33" fmla="*/ 2147483647 h 98"/>
                <a:gd name="T34" fmla="*/ 2147483647 w 83"/>
                <a:gd name="T35" fmla="*/ 2147483647 h 98"/>
                <a:gd name="T36" fmla="*/ 2147483647 w 83"/>
                <a:gd name="T37" fmla="*/ 2147483647 h 98"/>
                <a:gd name="T38" fmla="*/ 2147483647 w 83"/>
                <a:gd name="T39" fmla="*/ 2147483647 h 98"/>
                <a:gd name="T40" fmla="*/ 2147483647 w 83"/>
                <a:gd name="T41" fmla="*/ 2147483647 h 98"/>
                <a:gd name="T42" fmla="*/ 2147483647 w 83"/>
                <a:gd name="T43" fmla="*/ 2147483647 h 98"/>
                <a:gd name="T44" fmla="*/ 2147483647 w 83"/>
                <a:gd name="T45" fmla="*/ 2147483647 h 98"/>
                <a:gd name="T46" fmla="*/ 2147483647 w 83"/>
                <a:gd name="T47" fmla="*/ 2147483647 h 98"/>
                <a:gd name="T48" fmla="*/ 2147483647 w 83"/>
                <a:gd name="T49" fmla="*/ 2147483647 h 98"/>
                <a:gd name="T50" fmla="*/ 2147483647 w 83"/>
                <a:gd name="T51" fmla="*/ 0 h 98"/>
                <a:gd name="T52" fmla="*/ 2147483647 w 83"/>
                <a:gd name="T53" fmla="*/ 2147483647 h 98"/>
                <a:gd name="T54" fmla="*/ 2147483647 w 83"/>
                <a:gd name="T55" fmla="*/ 2147483647 h 98"/>
                <a:gd name="T56" fmla="*/ 2147483647 w 83"/>
                <a:gd name="T57" fmla="*/ 2147483647 h 98"/>
                <a:gd name="T58" fmla="*/ 2147483647 w 83"/>
                <a:gd name="T59" fmla="*/ 2147483647 h 98"/>
                <a:gd name="T60" fmla="*/ 2147483647 w 83"/>
                <a:gd name="T61" fmla="*/ 2147483647 h 98"/>
                <a:gd name="T62" fmla="*/ 2147483647 w 83"/>
                <a:gd name="T63" fmla="*/ 2147483647 h 98"/>
                <a:gd name="T64" fmla="*/ 2147483647 w 83"/>
                <a:gd name="T65" fmla="*/ 2147483647 h 98"/>
                <a:gd name="T66" fmla="*/ 2147483647 w 83"/>
                <a:gd name="T67" fmla="*/ 2147483647 h 98"/>
                <a:gd name="T68" fmla="*/ 2147483647 w 83"/>
                <a:gd name="T69" fmla="*/ 2147483647 h 98"/>
                <a:gd name="T70" fmla="*/ 2147483647 w 83"/>
                <a:gd name="T71" fmla="*/ 2147483647 h 98"/>
                <a:gd name="T72" fmla="*/ 2147483647 w 83"/>
                <a:gd name="T73" fmla="*/ 2147483647 h 98"/>
                <a:gd name="T74" fmla="*/ 2147483647 w 83"/>
                <a:gd name="T75" fmla="*/ 2147483647 h 98"/>
                <a:gd name="T76" fmla="*/ 2147483647 w 83"/>
                <a:gd name="T77" fmla="*/ 2147483647 h 98"/>
                <a:gd name="T78" fmla="*/ 2147483647 w 83"/>
                <a:gd name="T79" fmla="*/ 2147483647 h 98"/>
                <a:gd name="T80" fmla="*/ 2147483647 w 83"/>
                <a:gd name="T81" fmla="*/ 2147483647 h 98"/>
                <a:gd name="T82" fmla="*/ 2147483647 w 83"/>
                <a:gd name="T83" fmla="*/ 2147483647 h 98"/>
                <a:gd name="T84" fmla="*/ 2147483647 w 83"/>
                <a:gd name="T85" fmla="*/ 2147483647 h 98"/>
                <a:gd name="T86" fmla="*/ 2147483647 w 83"/>
                <a:gd name="T87" fmla="*/ 2147483647 h 98"/>
                <a:gd name="T88" fmla="*/ 2147483647 w 83"/>
                <a:gd name="T89" fmla="*/ 2147483647 h 98"/>
                <a:gd name="T90" fmla="*/ 2147483647 w 83"/>
                <a:gd name="T91" fmla="*/ 2147483647 h 9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83" h="98">
                  <a:moveTo>
                    <a:pt x="23" y="87"/>
                  </a:moveTo>
                  <a:cubicBezTo>
                    <a:pt x="23" y="87"/>
                    <a:pt x="24" y="87"/>
                    <a:pt x="24" y="86"/>
                  </a:cubicBezTo>
                  <a:cubicBezTo>
                    <a:pt x="24" y="86"/>
                    <a:pt x="24" y="82"/>
                    <a:pt x="24" y="82"/>
                  </a:cubicBezTo>
                  <a:cubicBezTo>
                    <a:pt x="24" y="80"/>
                    <a:pt x="24" y="80"/>
                    <a:pt x="24" y="80"/>
                  </a:cubicBezTo>
                  <a:cubicBezTo>
                    <a:pt x="26" y="78"/>
                    <a:pt x="26" y="78"/>
                    <a:pt x="26" y="78"/>
                  </a:cubicBezTo>
                  <a:cubicBezTo>
                    <a:pt x="24" y="75"/>
                    <a:pt x="24" y="75"/>
                    <a:pt x="24" y="75"/>
                  </a:cubicBezTo>
                  <a:cubicBezTo>
                    <a:pt x="24" y="75"/>
                    <a:pt x="23" y="70"/>
                    <a:pt x="23" y="70"/>
                  </a:cubicBezTo>
                  <a:cubicBezTo>
                    <a:pt x="23" y="69"/>
                    <a:pt x="24" y="65"/>
                    <a:pt x="24" y="65"/>
                  </a:cubicBezTo>
                  <a:cubicBezTo>
                    <a:pt x="24" y="65"/>
                    <a:pt x="24" y="62"/>
                    <a:pt x="24" y="62"/>
                  </a:cubicBezTo>
                  <a:cubicBezTo>
                    <a:pt x="26" y="60"/>
                    <a:pt x="26" y="60"/>
                    <a:pt x="26" y="60"/>
                  </a:cubicBezTo>
                  <a:cubicBezTo>
                    <a:pt x="30" y="59"/>
                    <a:pt x="30" y="59"/>
                    <a:pt x="30" y="59"/>
                  </a:cubicBezTo>
                  <a:cubicBezTo>
                    <a:pt x="30" y="56"/>
                    <a:pt x="30" y="56"/>
                    <a:pt x="30" y="56"/>
                  </a:cubicBezTo>
                  <a:cubicBezTo>
                    <a:pt x="29" y="54"/>
                    <a:pt x="29" y="54"/>
                    <a:pt x="29" y="54"/>
                  </a:cubicBezTo>
                  <a:cubicBezTo>
                    <a:pt x="31" y="50"/>
                    <a:pt x="31" y="50"/>
                    <a:pt x="31" y="50"/>
                  </a:cubicBezTo>
                  <a:cubicBezTo>
                    <a:pt x="32" y="44"/>
                    <a:pt x="32" y="44"/>
                    <a:pt x="32" y="44"/>
                  </a:cubicBezTo>
                  <a:cubicBezTo>
                    <a:pt x="34" y="43"/>
                    <a:pt x="34" y="43"/>
                    <a:pt x="34" y="43"/>
                  </a:cubicBezTo>
                  <a:cubicBezTo>
                    <a:pt x="36" y="38"/>
                    <a:pt x="36" y="38"/>
                    <a:pt x="36" y="38"/>
                  </a:cubicBezTo>
                  <a:cubicBezTo>
                    <a:pt x="38" y="35"/>
                    <a:pt x="38" y="35"/>
                    <a:pt x="38" y="35"/>
                  </a:cubicBezTo>
                  <a:cubicBezTo>
                    <a:pt x="37" y="32"/>
                    <a:pt x="37" y="32"/>
                    <a:pt x="37" y="32"/>
                  </a:cubicBezTo>
                  <a:cubicBezTo>
                    <a:pt x="38" y="30"/>
                    <a:pt x="38" y="30"/>
                    <a:pt x="38" y="30"/>
                  </a:cubicBezTo>
                  <a:cubicBezTo>
                    <a:pt x="41" y="28"/>
                    <a:pt x="41" y="28"/>
                    <a:pt x="41" y="28"/>
                  </a:cubicBezTo>
                  <a:cubicBezTo>
                    <a:pt x="42" y="28"/>
                    <a:pt x="42" y="28"/>
                    <a:pt x="42" y="28"/>
                  </a:cubicBezTo>
                  <a:cubicBezTo>
                    <a:pt x="44" y="24"/>
                    <a:pt x="44" y="24"/>
                    <a:pt x="44" y="24"/>
                  </a:cubicBezTo>
                  <a:cubicBezTo>
                    <a:pt x="47" y="24"/>
                    <a:pt x="47" y="24"/>
                    <a:pt x="47" y="24"/>
                  </a:cubicBezTo>
                  <a:cubicBezTo>
                    <a:pt x="49" y="24"/>
                    <a:pt x="49" y="24"/>
                    <a:pt x="49" y="24"/>
                  </a:cubicBezTo>
                  <a:cubicBezTo>
                    <a:pt x="49" y="22"/>
                    <a:pt x="49" y="22"/>
                    <a:pt x="49" y="22"/>
                  </a:cubicBezTo>
                  <a:cubicBezTo>
                    <a:pt x="50" y="19"/>
                    <a:pt x="50" y="19"/>
                    <a:pt x="50" y="19"/>
                  </a:cubicBezTo>
                  <a:cubicBezTo>
                    <a:pt x="51" y="19"/>
                    <a:pt x="51" y="19"/>
                    <a:pt x="51" y="19"/>
                  </a:cubicBezTo>
                  <a:cubicBezTo>
                    <a:pt x="52" y="19"/>
                    <a:pt x="52" y="19"/>
                    <a:pt x="52" y="19"/>
                  </a:cubicBezTo>
                  <a:cubicBezTo>
                    <a:pt x="53" y="17"/>
                    <a:pt x="53" y="17"/>
                    <a:pt x="53" y="17"/>
                  </a:cubicBezTo>
                  <a:cubicBezTo>
                    <a:pt x="54" y="19"/>
                    <a:pt x="54" y="19"/>
                    <a:pt x="54" y="19"/>
                  </a:cubicBezTo>
                  <a:cubicBezTo>
                    <a:pt x="56" y="21"/>
                    <a:pt x="56" y="21"/>
                    <a:pt x="56" y="21"/>
                  </a:cubicBezTo>
                  <a:cubicBezTo>
                    <a:pt x="59" y="22"/>
                    <a:pt x="59" y="22"/>
                    <a:pt x="59" y="22"/>
                  </a:cubicBezTo>
                  <a:cubicBezTo>
                    <a:pt x="62" y="21"/>
                    <a:pt x="62" y="21"/>
                    <a:pt x="62" y="21"/>
                  </a:cubicBezTo>
                  <a:cubicBezTo>
                    <a:pt x="63" y="22"/>
                    <a:pt x="63" y="22"/>
                    <a:pt x="63" y="22"/>
                  </a:cubicBezTo>
                  <a:cubicBezTo>
                    <a:pt x="66" y="19"/>
                    <a:pt x="66" y="19"/>
                    <a:pt x="66" y="19"/>
                  </a:cubicBezTo>
                  <a:cubicBezTo>
                    <a:pt x="68" y="14"/>
                    <a:pt x="68" y="14"/>
                    <a:pt x="68" y="14"/>
                  </a:cubicBezTo>
                  <a:cubicBezTo>
                    <a:pt x="70" y="12"/>
                    <a:pt x="70" y="12"/>
                    <a:pt x="70" y="12"/>
                  </a:cubicBezTo>
                  <a:cubicBezTo>
                    <a:pt x="75" y="11"/>
                    <a:pt x="75" y="11"/>
                    <a:pt x="75" y="11"/>
                  </a:cubicBezTo>
                  <a:cubicBezTo>
                    <a:pt x="78" y="14"/>
                    <a:pt x="78" y="14"/>
                    <a:pt x="78" y="14"/>
                  </a:cubicBezTo>
                  <a:cubicBezTo>
                    <a:pt x="78" y="17"/>
                    <a:pt x="78" y="17"/>
                    <a:pt x="78" y="17"/>
                  </a:cubicBezTo>
                  <a:cubicBezTo>
                    <a:pt x="77" y="19"/>
                    <a:pt x="77" y="19"/>
                    <a:pt x="77" y="19"/>
                  </a:cubicBezTo>
                  <a:cubicBezTo>
                    <a:pt x="78" y="18"/>
                    <a:pt x="78" y="18"/>
                    <a:pt x="78" y="18"/>
                  </a:cubicBezTo>
                  <a:cubicBezTo>
                    <a:pt x="77" y="19"/>
                    <a:pt x="77" y="19"/>
                    <a:pt x="77" y="19"/>
                  </a:cubicBezTo>
                  <a:cubicBezTo>
                    <a:pt x="77" y="19"/>
                    <a:pt x="77" y="19"/>
                    <a:pt x="77" y="19"/>
                  </a:cubicBezTo>
                  <a:cubicBezTo>
                    <a:pt x="81" y="15"/>
                    <a:pt x="81" y="15"/>
                    <a:pt x="81" y="15"/>
                  </a:cubicBezTo>
                  <a:cubicBezTo>
                    <a:pt x="82" y="13"/>
                    <a:pt x="82" y="13"/>
                    <a:pt x="82" y="13"/>
                  </a:cubicBezTo>
                  <a:cubicBezTo>
                    <a:pt x="81" y="12"/>
                    <a:pt x="81" y="12"/>
                    <a:pt x="81" y="12"/>
                  </a:cubicBezTo>
                  <a:cubicBezTo>
                    <a:pt x="80" y="9"/>
                    <a:pt x="80" y="9"/>
                    <a:pt x="80" y="9"/>
                  </a:cubicBezTo>
                  <a:cubicBezTo>
                    <a:pt x="83" y="6"/>
                    <a:pt x="83" y="6"/>
                    <a:pt x="83" y="6"/>
                  </a:cubicBezTo>
                  <a:cubicBezTo>
                    <a:pt x="80" y="4"/>
                    <a:pt x="80" y="4"/>
                    <a:pt x="80" y="4"/>
                  </a:cubicBezTo>
                  <a:cubicBezTo>
                    <a:pt x="76" y="0"/>
                    <a:pt x="76" y="0"/>
                    <a:pt x="76" y="0"/>
                  </a:cubicBezTo>
                  <a:cubicBezTo>
                    <a:pt x="72" y="4"/>
                    <a:pt x="72" y="4"/>
                    <a:pt x="72" y="4"/>
                  </a:cubicBezTo>
                  <a:cubicBezTo>
                    <a:pt x="69" y="2"/>
                    <a:pt x="69" y="2"/>
                    <a:pt x="69" y="2"/>
                  </a:cubicBezTo>
                  <a:cubicBezTo>
                    <a:pt x="69" y="1"/>
                    <a:pt x="69" y="1"/>
                    <a:pt x="69" y="1"/>
                  </a:cubicBezTo>
                  <a:cubicBezTo>
                    <a:pt x="66" y="1"/>
                    <a:pt x="66" y="1"/>
                    <a:pt x="66" y="1"/>
                  </a:cubicBezTo>
                  <a:cubicBezTo>
                    <a:pt x="62" y="1"/>
                    <a:pt x="62" y="1"/>
                    <a:pt x="62" y="1"/>
                  </a:cubicBezTo>
                  <a:cubicBezTo>
                    <a:pt x="59" y="5"/>
                    <a:pt x="59" y="5"/>
                    <a:pt x="59" y="5"/>
                  </a:cubicBezTo>
                  <a:cubicBezTo>
                    <a:pt x="56" y="6"/>
                    <a:pt x="56" y="6"/>
                    <a:pt x="56" y="6"/>
                  </a:cubicBezTo>
                  <a:cubicBezTo>
                    <a:pt x="55" y="6"/>
                    <a:pt x="55" y="6"/>
                    <a:pt x="55" y="6"/>
                  </a:cubicBezTo>
                  <a:cubicBezTo>
                    <a:pt x="53" y="8"/>
                    <a:pt x="53" y="8"/>
                    <a:pt x="53" y="8"/>
                  </a:cubicBezTo>
                  <a:cubicBezTo>
                    <a:pt x="50" y="8"/>
                    <a:pt x="50" y="8"/>
                    <a:pt x="50" y="8"/>
                  </a:cubicBezTo>
                  <a:cubicBezTo>
                    <a:pt x="48" y="13"/>
                    <a:pt x="48" y="13"/>
                    <a:pt x="48" y="13"/>
                  </a:cubicBezTo>
                  <a:cubicBezTo>
                    <a:pt x="43" y="14"/>
                    <a:pt x="43" y="14"/>
                    <a:pt x="43" y="14"/>
                  </a:cubicBezTo>
                  <a:cubicBezTo>
                    <a:pt x="41" y="19"/>
                    <a:pt x="41" y="19"/>
                    <a:pt x="41" y="19"/>
                  </a:cubicBezTo>
                  <a:cubicBezTo>
                    <a:pt x="40" y="22"/>
                    <a:pt x="40" y="22"/>
                    <a:pt x="40" y="22"/>
                  </a:cubicBezTo>
                  <a:cubicBezTo>
                    <a:pt x="37" y="22"/>
                    <a:pt x="37" y="22"/>
                    <a:pt x="37" y="22"/>
                  </a:cubicBezTo>
                  <a:cubicBezTo>
                    <a:pt x="32" y="28"/>
                    <a:pt x="32" y="28"/>
                    <a:pt x="32" y="28"/>
                  </a:cubicBezTo>
                  <a:cubicBezTo>
                    <a:pt x="32" y="31"/>
                    <a:pt x="32" y="31"/>
                    <a:pt x="32" y="31"/>
                  </a:cubicBezTo>
                  <a:cubicBezTo>
                    <a:pt x="28" y="38"/>
                    <a:pt x="28" y="38"/>
                    <a:pt x="28" y="38"/>
                  </a:cubicBezTo>
                  <a:cubicBezTo>
                    <a:pt x="26" y="41"/>
                    <a:pt x="26" y="41"/>
                    <a:pt x="26" y="41"/>
                  </a:cubicBezTo>
                  <a:cubicBezTo>
                    <a:pt x="25" y="46"/>
                    <a:pt x="25" y="46"/>
                    <a:pt x="25" y="46"/>
                  </a:cubicBezTo>
                  <a:cubicBezTo>
                    <a:pt x="23" y="49"/>
                    <a:pt x="23" y="49"/>
                    <a:pt x="23" y="49"/>
                  </a:cubicBezTo>
                  <a:cubicBezTo>
                    <a:pt x="17" y="60"/>
                    <a:pt x="17" y="60"/>
                    <a:pt x="17" y="60"/>
                  </a:cubicBezTo>
                  <a:cubicBezTo>
                    <a:pt x="13" y="63"/>
                    <a:pt x="13" y="63"/>
                    <a:pt x="13" y="63"/>
                  </a:cubicBezTo>
                  <a:cubicBezTo>
                    <a:pt x="8" y="65"/>
                    <a:pt x="8" y="65"/>
                    <a:pt x="8" y="65"/>
                  </a:cubicBezTo>
                  <a:cubicBezTo>
                    <a:pt x="6" y="69"/>
                    <a:pt x="6" y="69"/>
                    <a:pt x="6" y="69"/>
                  </a:cubicBezTo>
                  <a:cubicBezTo>
                    <a:pt x="4" y="71"/>
                    <a:pt x="4" y="71"/>
                    <a:pt x="4" y="71"/>
                  </a:cubicBezTo>
                  <a:cubicBezTo>
                    <a:pt x="3" y="73"/>
                    <a:pt x="3" y="73"/>
                    <a:pt x="3" y="73"/>
                  </a:cubicBezTo>
                  <a:cubicBezTo>
                    <a:pt x="2" y="76"/>
                    <a:pt x="2" y="76"/>
                    <a:pt x="2" y="76"/>
                  </a:cubicBezTo>
                  <a:cubicBezTo>
                    <a:pt x="0" y="79"/>
                    <a:pt x="0" y="79"/>
                    <a:pt x="0" y="79"/>
                  </a:cubicBezTo>
                  <a:cubicBezTo>
                    <a:pt x="1" y="84"/>
                    <a:pt x="1" y="84"/>
                    <a:pt x="1" y="84"/>
                  </a:cubicBezTo>
                  <a:cubicBezTo>
                    <a:pt x="2" y="87"/>
                    <a:pt x="2" y="87"/>
                    <a:pt x="2" y="87"/>
                  </a:cubicBezTo>
                  <a:cubicBezTo>
                    <a:pt x="3" y="91"/>
                    <a:pt x="3" y="91"/>
                    <a:pt x="3" y="91"/>
                  </a:cubicBezTo>
                  <a:cubicBezTo>
                    <a:pt x="3" y="95"/>
                    <a:pt x="3" y="95"/>
                    <a:pt x="3" y="95"/>
                  </a:cubicBezTo>
                  <a:cubicBezTo>
                    <a:pt x="7" y="98"/>
                    <a:pt x="7" y="98"/>
                    <a:pt x="7" y="98"/>
                  </a:cubicBezTo>
                  <a:cubicBezTo>
                    <a:pt x="11" y="97"/>
                    <a:pt x="11" y="97"/>
                    <a:pt x="11" y="97"/>
                  </a:cubicBezTo>
                  <a:cubicBezTo>
                    <a:pt x="16" y="93"/>
                    <a:pt x="16" y="93"/>
                    <a:pt x="16" y="93"/>
                  </a:cubicBezTo>
                  <a:cubicBezTo>
                    <a:pt x="19" y="91"/>
                    <a:pt x="19" y="91"/>
                    <a:pt x="19" y="91"/>
                  </a:cubicBezTo>
                  <a:cubicBezTo>
                    <a:pt x="20" y="92"/>
                    <a:pt x="20" y="92"/>
                    <a:pt x="20" y="92"/>
                  </a:cubicBezTo>
                  <a:cubicBezTo>
                    <a:pt x="20" y="93"/>
                    <a:pt x="20" y="93"/>
                    <a:pt x="20" y="93"/>
                  </a:cubicBezTo>
                  <a:cubicBezTo>
                    <a:pt x="21" y="92"/>
                    <a:pt x="21" y="92"/>
                    <a:pt x="21" y="92"/>
                  </a:cubicBezTo>
                  <a:lnTo>
                    <a:pt x="23" y="87"/>
                  </a:ln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178" name="SE"/>
            <p:cNvSpPr>
              <a:spLocks/>
            </p:cNvSpPr>
            <p:nvPr/>
          </p:nvSpPr>
          <p:spPr bwMode="auto">
            <a:xfrm>
              <a:off x="4543295" y="2053475"/>
              <a:ext cx="320672" cy="728617"/>
            </a:xfrm>
            <a:custGeom>
              <a:avLst/>
              <a:gdLst>
                <a:gd name="T0" fmla="*/ 320675 w 10000"/>
                <a:gd name="T1" fmla="*/ 163881 h 9895"/>
                <a:gd name="T2" fmla="*/ 312851 w 10000"/>
                <a:gd name="T3" fmla="*/ 117037 h 9895"/>
                <a:gd name="T4" fmla="*/ 297202 w 10000"/>
                <a:gd name="T5" fmla="*/ 46844 h 9895"/>
                <a:gd name="T6" fmla="*/ 273760 w 10000"/>
                <a:gd name="T7" fmla="*/ 38988 h 9895"/>
                <a:gd name="T8" fmla="*/ 242462 w 10000"/>
                <a:gd name="T9" fmla="*/ 0 h 9895"/>
                <a:gd name="T10" fmla="*/ 226813 w 10000"/>
                <a:gd name="T11" fmla="*/ 23422 h 9895"/>
                <a:gd name="T12" fmla="*/ 211164 w 10000"/>
                <a:gd name="T13" fmla="*/ 38988 h 9895"/>
                <a:gd name="T14" fmla="*/ 172074 w 10000"/>
                <a:gd name="T15" fmla="*/ 70192 h 9895"/>
                <a:gd name="T16" fmla="*/ 140776 w 10000"/>
                <a:gd name="T17" fmla="*/ 85832 h 9895"/>
                <a:gd name="T18" fmla="*/ 140776 w 10000"/>
                <a:gd name="T19" fmla="*/ 124819 h 9895"/>
                <a:gd name="T20" fmla="*/ 109511 w 10000"/>
                <a:gd name="T21" fmla="*/ 187229 h 9895"/>
                <a:gd name="T22" fmla="*/ 86037 w 10000"/>
                <a:gd name="T23" fmla="*/ 241856 h 9895"/>
                <a:gd name="T24" fmla="*/ 78213 w 10000"/>
                <a:gd name="T25" fmla="*/ 288700 h 9895"/>
                <a:gd name="T26" fmla="*/ 46915 w 10000"/>
                <a:gd name="T27" fmla="*/ 319905 h 9895"/>
                <a:gd name="T28" fmla="*/ 31298 w 10000"/>
                <a:gd name="T29" fmla="*/ 358893 h 9895"/>
                <a:gd name="T30" fmla="*/ 31298 w 10000"/>
                <a:gd name="T31" fmla="*/ 436942 h 9895"/>
                <a:gd name="T32" fmla="*/ 31298 w 10000"/>
                <a:gd name="T33" fmla="*/ 475929 h 9895"/>
                <a:gd name="T34" fmla="*/ 31298 w 10000"/>
                <a:gd name="T35" fmla="*/ 522774 h 9895"/>
                <a:gd name="T36" fmla="*/ 7824 w 10000"/>
                <a:gd name="T37" fmla="*/ 569544 h 9895"/>
                <a:gd name="T38" fmla="*/ 15649 w 10000"/>
                <a:gd name="T39" fmla="*/ 616388 h 9895"/>
                <a:gd name="T40" fmla="*/ 55797 w 10000"/>
                <a:gd name="T41" fmla="*/ 669904 h 9895"/>
                <a:gd name="T42" fmla="*/ 61217 w 10000"/>
                <a:gd name="T43" fmla="*/ 718453 h 9895"/>
                <a:gd name="T44" fmla="*/ 78213 w 10000"/>
                <a:gd name="T45" fmla="*/ 733425 h 9895"/>
                <a:gd name="T46" fmla="*/ 101686 w 10000"/>
                <a:gd name="T47" fmla="*/ 702220 h 9895"/>
                <a:gd name="T48" fmla="*/ 140776 w 10000"/>
                <a:gd name="T49" fmla="*/ 671015 h 9895"/>
                <a:gd name="T50" fmla="*/ 148601 w 10000"/>
                <a:gd name="T51" fmla="*/ 585183 h 9895"/>
                <a:gd name="T52" fmla="*/ 187723 w 10000"/>
                <a:gd name="T53" fmla="*/ 569544 h 9895"/>
                <a:gd name="T54" fmla="*/ 179899 w 10000"/>
                <a:gd name="T55" fmla="*/ 507134 h 9895"/>
                <a:gd name="T56" fmla="*/ 164250 w 10000"/>
                <a:gd name="T57" fmla="*/ 436942 h 9895"/>
                <a:gd name="T58" fmla="*/ 187723 w 10000"/>
                <a:gd name="T59" fmla="*/ 358893 h 9895"/>
                <a:gd name="T60" fmla="*/ 258111 w 10000"/>
                <a:gd name="T61" fmla="*/ 312123 h 9895"/>
                <a:gd name="T62" fmla="*/ 258111 w 10000"/>
                <a:gd name="T63" fmla="*/ 265278 h 9895"/>
                <a:gd name="T64" fmla="*/ 297202 w 10000"/>
                <a:gd name="T65" fmla="*/ 210651 h 9895"/>
                <a:gd name="T66" fmla="*/ 320675 w 10000"/>
                <a:gd name="T67" fmla="*/ 210651 h 989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0000" h="9895">
                  <a:moveTo>
                    <a:pt x="10000" y="2316"/>
                  </a:moveTo>
                  <a:lnTo>
                    <a:pt x="10000" y="2211"/>
                  </a:lnTo>
                  <a:lnTo>
                    <a:pt x="9756" y="1895"/>
                  </a:lnTo>
                  <a:lnTo>
                    <a:pt x="9756" y="1579"/>
                  </a:lnTo>
                  <a:lnTo>
                    <a:pt x="9756" y="1158"/>
                  </a:lnTo>
                  <a:lnTo>
                    <a:pt x="9268" y="632"/>
                  </a:lnTo>
                  <a:lnTo>
                    <a:pt x="9024" y="632"/>
                  </a:lnTo>
                  <a:lnTo>
                    <a:pt x="8537" y="526"/>
                  </a:lnTo>
                  <a:lnTo>
                    <a:pt x="7805" y="211"/>
                  </a:lnTo>
                  <a:lnTo>
                    <a:pt x="7561" y="0"/>
                  </a:lnTo>
                  <a:lnTo>
                    <a:pt x="7317" y="0"/>
                  </a:lnTo>
                  <a:lnTo>
                    <a:pt x="7073" y="316"/>
                  </a:lnTo>
                  <a:lnTo>
                    <a:pt x="7073" y="526"/>
                  </a:lnTo>
                  <a:lnTo>
                    <a:pt x="6585" y="526"/>
                  </a:lnTo>
                  <a:lnTo>
                    <a:pt x="5854" y="526"/>
                  </a:lnTo>
                  <a:lnTo>
                    <a:pt x="5366" y="947"/>
                  </a:lnTo>
                  <a:lnTo>
                    <a:pt x="5122" y="947"/>
                  </a:lnTo>
                  <a:lnTo>
                    <a:pt x="4390" y="1158"/>
                  </a:lnTo>
                  <a:lnTo>
                    <a:pt x="4146" y="1368"/>
                  </a:lnTo>
                  <a:lnTo>
                    <a:pt x="4390" y="1684"/>
                  </a:lnTo>
                  <a:lnTo>
                    <a:pt x="3902" y="2000"/>
                  </a:lnTo>
                  <a:lnTo>
                    <a:pt x="3415" y="2526"/>
                  </a:lnTo>
                  <a:lnTo>
                    <a:pt x="2927" y="2632"/>
                  </a:lnTo>
                  <a:lnTo>
                    <a:pt x="2683" y="3263"/>
                  </a:lnTo>
                  <a:lnTo>
                    <a:pt x="2195" y="3684"/>
                  </a:lnTo>
                  <a:lnTo>
                    <a:pt x="2439" y="3895"/>
                  </a:lnTo>
                  <a:lnTo>
                    <a:pt x="2439" y="4211"/>
                  </a:lnTo>
                  <a:lnTo>
                    <a:pt x="1463" y="4316"/>
                  </a:lnTo>
                  <a:lnTo>
                    <a:pt x="976" y="4526"/>
                  </a:lnTo>
                  <a:lnTo>
                    <a:pt x="976" y="4842"/>
                  </a:lnTo>
                  <a:cubicBezTo>
                    <a:pt x="976" y="4842"/>
                    <a:pt x="732" y="5263"/>
                    <a:pt x="732" y="5368"/>
                  </a:cubicBezTo>
                  <a:cubicBezTo>
                    <a:pt x="813" y="5544"/>
                    <a:pt x="895" y="5719"/>
                    <a:pt x="976" y="5895"/>
                  </a:cubicBezTo>
                  <a:lnTo>
                    <a:pt x="1463" y="6211"/>
                  </a:lnTo>
                  <a:lnTo>
                    <a:pt x="976" y="6421"/>
                  </a:lnTo>
                  <a:lnTo>
                    <a:pt x="976" y="6632"/>
                  </a:lnTo>
                  <a:lnTo>
                    <a:pt x="976" y="7053"/>
                  </a:lnTo>
                  <a:cubicBezTo>
                    <a:pt x="976" y="7158"/>
                    <a:pt x="732" y="7158"/>
                    <a:pt x="732" y="7158"/>
                  </a:cubicBezTo>
                  <a:lnTo>
                    <a:pt x="244" y="7684"/>
                  </a:lnTo>
                  <a:lnTo>
                    <a:pt x="0" y="7789"/>
                  </a:lnTo>
                  <a:cubicBezTo>
                    <a:pt x="488" y="8316"/>
                    <a:pt x="329" y="8217"/>
                    <a:pt x="488" y="8316"/>
                  </a:cubicBezTo>
                  <a:cubicBezTo>
                    <a:pt x="647" y="8415"/>
                    <a:pt x="746" y="8264"/>
                    <a:pt x="955" y="8384"/>
                  </a:cubicBezTo>
                  <a:cubicBezTo>
                    <a:pt x="1164" y="8504"/>
                    <a:pt x="1597" y="8867"/>
                    <a:pt x="1740" y="9038"/>
                  </a:cubicBezTo>
                  <a:cubicBezTo>
                    <a:pt x="1883" y="9209"/>
                    <a:pt x="1786" y="9301"/>
                    <a:pt x="1814" y="9410"/>
                  </a:cubicBezTo>
                  <a:cubicBezTo>
                    <a:pt x="1842" y="9519"/>
                    <a:pt x="1865" y="9637"/>
                    <a:pt x="1909" y="9693"/>
                  </a:cubicBezTo>
                  <a:cubicBezTo>
                    <a:pt x="1953" y="9749"/>
                    <a:pt x="1990" y="9709"/>
                    <a:pt x="2078" y="9743"/>
                  </a:cubicBezTo>
                  <a:cubicBezTo>
                    <a:pt x="2166" y="9777"/>
                    <a:pt x="2338" y="9905"/>
                    <a:pt x="2439" y="9895"/>
                  </a:cubicBezTo>
                  <a:cubicBezTo>
                    <a:pt x="2540" y="9885"/>
                    <a:pt x="2602" y="9754"/>
                    <a:pt x="2683" y="9684"/>
                  </a:cubicBezTo>
                  <a:lnTo>
                    <a:pt x="3171" y="9474"/>
                  </a:lnTo>
                  <a:lnTo>
                    <a:pt x="3902" y="9474"/>
                  </a:lnTo>
                  <a:lnTo>
                    <a:pt x="4390" y="9053"/>
                  </a:lnTo>
                  <a:cubicBezTo>
                    <a:pt x="4471" y="8807"/>
                    <a:pt x="4553" y="8562"/>
                    <a:pt x="4634" y="8316"/>
                  </a:cubicBezTo>
                  <a:lnTo>
                    <a:pt x="4634" y="7895"/>
                  </a:lnTo>
                  <a:lnTo>
                    <a:pt x="5122" y="7789"/>
                  </a:lnTo>
                  <a:lnTo>
                    <a:pt x="5854" y="7684"/>
                  </a:lnTo>
                  <a:lnTo>
                    <a:pt x="5854" y="7158"/>
                  </a:lnTo>
                  <a:lnTo>
                    <a:pt x="5610" y="6842"/>
                  </a:lnTo>
                  <a:lnTo>
                    <a:pt x="4878" y="6632"/>
                  </a:lnTo>
                  <a:cubicBezTo>
                    <a:pt x="4959" y="6386"/>
                    <a:pt x="5041" y="6141"/>
                    <a:pt x="5122" y="5895"/>
                  </a:cubicBezTo>
                  <a:lnTo>
                    <a:pt x="5122" y="5368"/>
                  </a:lnTo>
                  <a:lnTo>
                    <a:pt x="5854" y="4842"/>
                  </a:lnTo>
                  <a:lnTo>
                    <a:pt x="6585" y="4632"/>
                  </a:lnTo>
                  <a:lnTo>
                    <a:pt x="8049" y="4211"/>
                  </a:lnTo>
                  <a:lnTo>
                    <a:pt x="8293" y="3895"/>
                  </a:lnTo>
                  <a:lnTo>
                    <a:pt x="8049" y="3579"/>
                  </a:lnTo>
                  <a:lnTo>
                    <a:pt x="8537" y="3263"/>
                  </a:lnTo>
                  <a:lnTo>
                    <a:pt x="9268" y="2842"/>
                  </a:lnTo>
                  <a:lnTo>
                    <a:pt x="10000" y="2947"/>
                  </a:lnTo>
                  <a:lnTo>
                    <a:pt x="10000" y="2842"/>
                  </a:lnTo>
                  <a:lnTo>
                    <a:pt x="10000" y="2316"/>
                  </a:ln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179" name="UA"/>
            <p:cNvSpPr>
              <a:spLocks/>
            </p:cNvSpPr>
            <p:nvPr/>
          </p:nvSpPr>
          <p:spPr bwMode="auto">
            <a:xfrm>
              <a:off x="4817930" y="2915442"/>
              <a:ext cx="438879" cy="287334"/>
            </a:xfrm>
            <a:custGeom>
              <a:avLst/>
              <a:gdLst>
                <a:gd name="T0" fmla="*/ 2147483647 w 57"/>
                <a:gd name="T1" fmla="*/ 2147483647 h 37"/>
                <a:gd name="T2" fmla="*/ 2147483647 w 57"/>
                <a:gd name="T3" fmla="*/ 2147483647 h 37"/>
                <a:gd name="T4" fmla="*/ 2147483647 w 57"/>
                <a:gd name="T5" fmla="*/ 2147483647 h 37"/>
                <a:gd name="T6" fmla="*/ 2147483647 w 57"/>
                <a:gd name="T7" fmla="*/ 2147483647 h 37"/>
                <a:gd name="T8" fmla="*/ 2147483647 w 57"/>
                <a:gd name="T9" fmla="*/ 2147483647 h 37"/>
                <a:gd name="T10" fmla="*/ 2147483647 w 57"/>
                <a:gd name="T11" fmla="*/ 2147483647 h 37"/>
                <a:gd name="T12" fmla="*/ 2147483647 w 57"/>
                <a:gd name="T13" fmla="*/ 2147483647 h 37"/>
                <a:gd name="T14" fmla="*/ 2147483647 w 57"/>
                <a:gd name="T15" fmla="*/ 2147483647 h 37"/>
                <a:gd name="T16" fmla="*/ 2147483647 w 57"/>
                <a:gd name="T17" fmla="*/ 2147483647 h 37"/>
                <a:gd name="T18" fmla="*/ 2147483647 w 57"/>
                <a:gd name="T19" fmla="*/ 2147483647 h 37"/>
                <a:gd name="T20" fmla="*/ 2147483647 w 57"/>
                <a:gd name="T21" fmla="*/ 2147483647 h 37"/>
                <a:gd name="T22" fmla="*/ 2147483647 w 57"/>
                <a:gd name="T23" fmla="*/ 0 h 37"/>
                <a:gd name="T24" fmla="*/ 2147483647 w 57"/>
                <a:gd name="T25" fmla="*/ 0 h 37"/>
                <a:gd name="T26" fmla="*/ 2147483647 w 57"/>
                <a:gd name="T27" fmla="*/ 2147483647 h 37"/>
                <a:gd name="T28" fmla="*/ 2147483647 w 57"/>
                <a:gd name="T29" fmla="*/ 2147483647 h 37"/>
                <a:gd name="T30" fmla="*/ 2147483647 w 57"/>
                <a:gd name="T31" fmla="*/ 2147483647 h 37"/>
                <a:gd name="T32" fmla="*/ 2147483647 w 57"/>
                <a:gd name="T33" fmla="*/ 2147483647 h 37"/>
                <a:gd name="T34" fmla="*/ 2147483647 w 57"/>
                <a:gd name="T35" fmla="*/ 2147483647 h 37"/>
                <a:gd name="T36" fmla="*/ 2147483647 w 57"/>
                <a:gd name="T37" fmla="*/ 2147483647 h 37"/>
                <a:gd name="T38" fmla="*/ 2147483647 w 57"/>
                <a:gd name="T39" fmla="*/ 2147483647 h 37"/>
                <a:gd name="T40" fmla="*/ 2147483647 w 57"/>
                <a:gd name="T41" fmla="*/ 2147483647 h 37"/>
                <a:gd name="T42" fmla="*/ 2147483647 w 57"/>
                <a:gd name="T43" fmla="*/ 2147483647 h 37"/>
                <a:gd name="T44" fmla="*/ 0 w 57"/>
                <a:gd name="T45" fmla="*/ 2147483647 h 37"/>
                <a:gd name="T46" fmla="*/ 0 w 57"/>
                <a:gd name="T47" fmla="*/ 2147483647 h 37"/>
                <a:gd name="T48" fmla="*/ 2147483647 w 57"/>
                <a:gd name="T49" fmla="*/ 2147483647 h 37"/>
                <a:gd name="T50" fmla="*/ 2147483647 w 57"/>
                <a:gd name="T51" fmla="*/ 2147483647 h 37"/>
                <a:gd name="T52" fmla="*/ 2147483647 w 57"/>
                <a:gd name="T53" fmla="*/ 2147483647 h 37"/>
                <a:gd name="T54" fmla="*/ 2147483647 w 57"/>
                <a:gd name="T55" fmla="*/ 2147483647 h 37"/>
                <a:gd name="T56" fmla="*/ 2147483647 w 57"/>
                <a:gd name="T57" fmla="*/ 2147483647 h 37"/>
                <a:gd name="T58" fmla="*/ 2147483647 w 57"/>
                <a:gd name="T59" fmla="*/ 2147483647 h 37"/>
                <a:gd name="T60" fmla="*/ 2147483647 w 57"/>
                <a:gd name="T61" fmla="*/ 2147483647 h 37"/>
                <a:gd name="T62" fmla="*/ 2147483647 w 57"/>
                <a:gd name="T63" fmla="*/ 2147483647 h 37"/>
                <a:gd name="T64" fmla="*/ 2147483647 w 57"/>
                <a:gd name="T65" fmla="*/ 2147483647 h 37"/>
                <a:gd name="T66" fmla="*/ 2147483647 w 57"/>
                <a:gd name="T67" fmla="*/ 2147483647 h 37"/>
                <a:gd name="T68" fmla="*/ 2147483647 w 57"/>
                <a:gd name="T69" fmla="*/ 2147483647 h 37"/>
                <a:gd name="T70" fmla="*/ 2147483647 w 57"/>
                <a:gd name="T71" fmla="*/ 2147483647 h 37"/>
                <a:gd name="T72" fmla="*/ 2147483647 w 57"/>
                <a:gd name="T73" fmla="*/ 2147483647 h 37"/>
                <a:gd name="T74" fmla="*/ 2147483647 w 57"/>
                <a:gd name="T75" fmla="*/ 2147483647 h 37"/>
                <a:gd name="T76" fmla="*/ 2147483647 w 57"/>
                <a:gd name="T77" fmla="*/ 2147483647 h 37"/>
                <a:gd name="T78" fmla="*/ 2147483647 w 57"/>
                <a:gd name="T79" fmla="*/ 2147483647 h 37"/>
                <a:gd name="T80" fmla="*/ 2147483647 w 57"/>
                <a:gd name="T81" fmla="*/ 2147483647 h 37"/>
                <a:gd name="T82" fmla="*/ 2147483647 w 57"/>
                <a:gd name="T83" fmla="*/ 2147483647 h 37"/>
                <a:gd name="T84" fmla="*/ 2147483647 w 57"/>
                <a:gd name="T85" fmla="*/ 2147483647 h 37"/>
                <a:gd name="T86" fmla="*/ 2147483647 w 57"/>
                <a:gd name="T87" fmla="*/ 2147483647 h 37"/>
                <a:gd name="T88" fmla="*/ 2147483647 w 57"/>
                <a:gd name="T89" fmla="*/ 2147483647 h 37"/>
                <a:gd name="T90" fmla="*/ 2147483647 w 57"/>
                <a:gd name="T91" fmla="*/ 2147483647 h 37"/>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57" h="37">
                  <a:moveTo>
                    <a:pt x="54" y="22"/>
                  </a:moveTo>
                  <a:cubicBezTo>
                    <a:pt x="56" y="21"/>
                    <a:pt x="56" y="21"/>
                    <a:pt x="56" y="21"/>
                  </a:cubicBezTo>
                  <a:cubicBezTo>
                    <a:pt x="57" y="16"/>
                    <a:pt x="57" y="16"/>
                    <a:pt x="57" y="16"/>
                  </a:cubicBezTo>
                  <a:cubicBezTo>
                    <a:pt x="57" y="14"/>
                    <a:pt x="57" y="14"/>
                    <a:pt x="57" y="14"/>
                  </a:cubicBezTo>
                  <a:cubicBezTo>
                    <a:pt x="52" y="12"/>
                    <a:pt x="52" y="12"/>
                    <a:pt x="52" y="12"/>
                  </a:cubicBezTo>
                  <a:cubicBezTo>
                    <a:pt x="47" y="9"/>
                    <a:pt x="47" y="9"/>
                    <a:pt x="47" y="9"/>
                  </a:cubicBezTo>
                  <a:cubicBezTo>
                    <a:pt x="45" y="9"/>
                    <a:pt x="45" y="9"/>
                    <a:pt x="45" y="9"/>
                  </a:cubicBezTo>
                  <a:cubicBezTo>
                    <a:pt x="42" y="7"/>
                    <a:pt x="42" y="7"/>
                    <a:pt x="42" y="7"/>
                  </a:cubicBezTo>
                  <a:cubicBezTo>
                    <a:pt x="40" y="4"/>
                    <a:pt x="40" y="4"/>
                    <a:pt x="40" y="4"/>
                  </a:cubicBezTo>
                  <a:cubicBezTo>
                    <a:pt x="33" y="1"/>
                    <a:pt x="33" y="1"/>
                    <a:pt x="33" y="1"/>
                  </a:cubicBezTo>
                  <a:cubicBezTo>
                    <a:pt x="31" y="1"/>
                    <a:pt x="31" y="1"/>
                    <a:pt x="31" y="1"/>
                  </a:cubicBezTo>
                  <a:cubicBezTo>
                    <a:pt x="31" y="0"/>
                    <a:pt x="31" y="0"/>
                    <a:pt x="31" y="0"/>
                  </a:cubicBezTo>
                  <a:cubicBezTo>
                    <a:pt x="30" y="0"/>
                    <a:pt x="30" y="0"/>
                    <a:pt x="30" y="0"/>
                  </a:cubicBezTo>
                  <a:cubicBezTo>
                    <a:pt x="28" y="6"/>
                    <a:pt x="28" y="6"/>
                    <a:pt x="28" y="6"/>
                  </a:cubicBezTo>
                  <a:cubicBezTo>
                    <a:pt x="24" y="5"/>
                    <a:pt x="24" y="5"/>
                    <a:pt x="24" y="5"/>
                  </a:cubicBezTo>
                  <a:cubicBezTo>
                    <a:pt x="17" y="5"/>
                    <a:pt x="17" y="5"/>
                    <a:pt x="17" y="5"/>
                  </a:cubicBezTo>
                  <a:cubicBezTo>
                    <a:pt x="11" y="3"/>
                    <a:pt x="11" y="3"/>
                    <a:pt x="11" y="3"/>
                  </a:cubicBezTo>
                  <a:cubicBezTo>
                    <a:pt x="7" y="3"/>
                    <a:pt x="7" y="3"/>
                    <a:pt x="7" y="3"/>
                  </a:cubicBezTo>
                  <a:cubicBezTo>
                    <a:pt x="5" y="4"/>
                    <a:pt x="5" y="4"/>
                    <a:pt x="5" y="4"/>
                  </a:cubicBezTo>
                  <a:cubicBezTo>
                    <a:pt x="6" y="8"/>
                    <a:pt x="6" y="8"/>
                    <a:pt x="6" y="8"/>
                  </a:cubicBezTo>
                  <a:cubicBezTo>
                    <a:pt x="4" y="10"/>
                    <a:pt x="4" y="10"/>
                    <a:pt x="4" y="10"/>
                  </a:cubicBezTo>
                  <a:cubicBezTo>
                    <a:pt x="2" y="15"/>
                    <a:pt x="2" y="15"/>
                    <a:pt x="2" y="15"/>
                  </a:cubicBezTo>
                  <a:cubicBezTo>
                    <a:pt x="0" y="15"/>
                    <a:pt x="0" y="15"/>
                    <a:pt x="0" y="15"/>
                  </a:cubicBezTo>
                  <a:cubicBezTo>
                    <a:pt x="0" y="18"/>
                    <a:pt x="0" y="18"/>
                    <a:pt x="0" y="18"/>
                  </a:cubicBezTo>
                  <a:cubicBezTo>
                    <a:pt x="1" y="19"/>
                    <a:pt x="1" y="19"/>
                    <a:pt x="1" y="19"/>
                  </a:cubicBezTo>
                  <a:cubicBezTo>
                    <a:pt x="2" y="20"/>
                    <a:pt x="2" y="20"/>
                    <a:pt x="2" y="20"/>
                  </a:cubicBezTo>
                  <a:cubicBezTo>
                    <a:pt x="3" y="21"/>
                    <a:pt x="3" y="21"/>
                    <a:pt x="3" y="21"/>
                  </a:cubicBezTo>
                  <a:cubicBezTo>
                    <a:pt x="12" y="20"/>
                    <a:pt x="12" y="20"/>
                    <a:pt x="12" y="20"/>
                  </a:cubicBezTo>
                  <a:cubicBezTo>
                    <a:pt x="18" y="20"/>
                    <a:pt x="18" y="20"/>
                    <a:pt x="18" y="20"/>
                  </a:cubicBezTo>
                  <a:cubicBezTo>
                    <a:pt x="24" y="24"/>
                    <a:pt x="24" y="24"/>
                    <a:pt x="24" y="24"/>
                  </a:cubicBezTo>
                  <a:cubicBezTo>
                    <a:pt x="24" y="24"/>
                    <a:pt x="26" y="26"/>
                    <a:pt x="25" y="28"/>
                  </a:cubicBezTo>
                  <a:cubicBezTo>
                    <a:pt x="25" y="29"/>
                    <a:pt x="22" y="30"/>
                    <a:pt x="22" y="30"/>
                  </a:cubicBezTo>
                  <a:cubicBezTo>
                    <a:pt x="21" y="33"/>
                    <a:pt x="21" y="33"/>
                    <a:pt x="21" y="33"/>
                  </a:cubicBezTo>
                  <a:cubicBezTo>
                    <a:pt x="24" y="34"/>
                    <a:pt x="24" y="34"/>
                    <a:pt x="24" y="34"/>
                  </a:cubicBezTo>
                  <a:cubicBezTo>
                    <a:pt x="25" y="32"/>
                    <a:pt x="25" y="32"/>
                    <a:pt x="25" y="32"/>
                  </a:cubicBezTo>
                  <a:cubicBezTo>
                    <a:pt x="30" y="29"/>
                    <a:pt x="30" y="29"/>
                    <a:pt x="30" y="29"/>
                  </a:cubicBezTo>
                  <a:cubicBezTo>
                    <a:pt x="33" y="29"/>
                    <a:pt x="33" y="29"/>
                    <a:pt x="33" y="29"/>
                  </a:cubicBezTo>
                  <a:cubicBezTo>
                    <a:pt x="36" y="32"/>
                    <a:pt x="36" y="32"/>
                    <a:pt x="36" y="32"/>
                  </a:cubicBezTo>
                  <a:cubicBezTo>
                    <a:pt x="34" y="34"/>
                    <a:pt x="34" y="34"/>
                    <a:pt x="34" y="34"/>
                  </a:cubicBezTo>
                  <a:cubicBezTo>
                    <a:pt x="37" y="37"/>
                    <a:pt x="37" y="37"/>
                    <a:pt x="37" y="37"/>
                  </a:cubicBezTo>
                  <a:cubicBezTo>
                    <a:pt x="45" y="34"/>
                    <a:pt x="45" y="34"/>
                    <a:pt x="45" y="34"/>
                  </a:cubicBezTo>
                  <a:cubicBezTo>
                    <a:pt x="41" y="31"/>
                    <a:pt x="41" y="31"/>
                    <a:pt x="41" y="31"/>
                  </a:cubicBezTo>
                  <a:cubicBezTo>
                    <a:pt x="43" y="28"/>
                    <a:pt x="43" y="28"/>
                    <a:pt x="43" y="28"/>
                  </a:cubicBezTo>
                  <a:cubicBezTo>
                    <a:pt x="50" y="27"/>
                    <a:pt x="50" y="27"/>
                    <a:pt x="50" y="27"/>
                  </a:cubicBezTo>
                  <a:cubicBezTo>
                    <a:pt x="51" y="25"/>
                    <a:pt x="51" y="25"/>
                    <a:pt x="51" y="25"/>
                  </a:cubicBezTo>
                  <a:lnTo>
                    <a:pt x="54" y="22"/>
                  </a:ln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180" name="PL"/>
            <p:cNvSpPr>
              <a:spLocks/>
            </p:cNvSpPr>
            <p:nvPr/>
          </p:nvSpPr>
          <p:spPr bwMode="auto">
            <a:xfrm>
              <a:off x="4621083" y="2813843"/>
              <a:ext cx="242885" cy="217485"/>
            </a:xfrm>
            <a:custGeom>
              <a:avLst/>
              <a:gdLst>
                <a:gd name="T0" fmla="*/ 2147483647 w 31"/>
                <a:gd name="T1" fmla="*/ 2147483647 h 28"/>
                <a:gd name="T2" fmla="*/ 2147483647 w 31"/>
                <a:gd name="T3" fmla="*/ 2147483647 h 28"/>
                <a:gd name="T4" fmla="*/ 2147483647 w 31"/>
                <a:gd name="T5" fmla="*/ 2147483647 h 28"/>
                <a:gd name="T6" fmla="*/ 2147483647 w 31"/>
                <a:gd name="T7" fmla="*/ 2147483647 h 28"/>
                <a:gd name="T8" fmla="*/ 2147483647 w 31"/>
                <a:gd name="T9" fmla="*/ 2147483647 h 28"/>
                <a:gd name="T10" fmla="*/ 2147483647 w 31"/>
                <a:gd name="T11" fmla="*/ 2147483647 h 28"/>
                <a:gd name="T12" fmla="*/ 2147483647 w 31"/>
                <a:gd name="T13" fmla="*/ 2147483647 h 28"/>
                <a:gd name="T14" fmla="*/ 2147483647 w 31"/>
                <a:gd name="T15" fmla="*/ 2147483647 h 28"/>
                <a:gd name="T16" fmla="*/ 2147483647 w 31"/>
                <a:gd name="T17" fmla="*/ 2147483647 h 28"/>
                <a:gd name="T18" fmla="*/ 2147483647 w 31"/>
                <a:gd name="T19" fmla="*/ 2147483647 h 28"/>
                <a:gd name="T20" fmla="*/ 2147483647 w 31"/>
                <a:gd name="T21" fmla="*/ 2147483647 h 28"/>
                <a:gd name="T22" fmla="*/ 2147483647 w 31"/>
                <a:gd name="T23" fmla="*/ 2147483647 h 28"/>
                <a:gd name="T24" fmla="*/ 2147483647 w 31"/>
                <a:gd name="T25" fmla="*/ 2147483647 h 28"/>
                <a:gd name="T26" fmla="*/ 2147483647 w 31"/>
                <a:gd name="T27" fmla="*/ 2147483647 h 28"/>
                <a:gd name="T28" fmla="*/ 2147483647 w 31"/>
                <a:gd name="T29" fmla="*/ 2147483647 h 28"/>
                <a:gd name="T30" fmla="*/ 2147483647 w 31"/>
                <a:gd name="T31" fmla="*/ 2147483647 h 28"/>
                <a:gd name="T32" fmla="*/ 2147483647 w 31"/>
                <a:gd name="T33" fmla="*/ 2147483647 h 28"/>
                <a:gd name="T34" fmla="*/ 2147483647 w 31"/>
                <a:gd name="T35" fmla="*/ 2147483647 h 28"/>
                <a:gd name="T36" fmla="*/ 2147483647 w 31"/>
                <a:gd name="T37" fmla="*/ 2147483647 h 28"/>
                <a:gd name="T38" fmla="*/ 2147483647 w 31"/>
                <a:gd name="T39" fmla="*/ 2147483647 h 28"/>
                <a:gd name="T40" fmla="*/ 2147483647 w 31"/>
                <a:gd name="T41" fmla="*/ 2147483647 h 28"/>
                <a:gd name="T42" fmla="*/ 2147483647 w 31"/>
                <a:gd name="T43" fmla="*/ 2147483647 h 28"/>
                <a:gd name="T44" fmla="*/ 2147483647 w 31"/>
                <a:gd name="T45" fmla="*/ 2147483647 h 28"/>
                <a:gd name="T46" fmla="*/ 2147483647 w 31"/>
                <a:gd name="T47" fmla="*/ 0 h 28"/>
                <a:gd name="T48" fmla="*/ 2147483647 w 31"/>
                <a:gd name="T49" fmla="*/ 2147483647 h 28"/>
                <a:gd name="T50" fmla="*/ 2147483647 w 31"/>
                <a:gd name="T51" fmla="*/ 2147483647 h 28"/>
                <a:gd name="T52" fmla="*/ 2147483647 w 31"/>
                <a:gd name="T53" fmla="*/ 0 h 28"/>
                <a:gd name="T54" fmla="*/ 2147483647 w 31"/>
                <a:gd name="T55" fmla="*/ 0 h 28"/>
                <a:gd name="T56" fmla="*/ 2147483647 w 31"/>
                <a:gd name="T57" fmla="*/ 2147483647 h 28"/>
                <a:gd name="T58" fmla="*/ 2147483647 w 31"/>
                <a:gd name="T59" fmla="*/ 2147483647 h 28"/>
                <a:gd name="T60" fmla="*/ 0 w 31"/>
                <a:gd name="T61" fmla="*/ 2147483647 h 28"/>
                <a:gd name="T62" fmla="*/ 0 w 31"/>
                <a:gd name="T63" fmla="*/ 2147483647 h 28"/>
                <a:gd name="T64" fmla="*/ 2147483647 w 31"/>
                <a:gd name="T65" fmla="*/ 2147483647 h 2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31" h="28">
                  <a:moveTo>
                    <a:pt x="1" y="9"/>
                  </a:moveTo>
                  <a:cubicBezTo>
                    <a:pt x="1" y="10"/>
                    <a:pt x="1" y="10"/>
                    <a:pt x="1" y="10"/>
                  </a:cubicBezTo>
                  <a:cubicBezTo>
                    <a:pt x="1" y="13"/>
                    <a:pt x="1" y="13"/>
                    <a:pt x="1" y="13"/>
                  </a:cubicBezTo>
                  <a:cubicBezTo>
                    <a:pt x="1" y="13"/>
                    <a:pt x="1" y="17"/>
                    <a:pt x="2" y="17"/>
                  </a:cubicBezTo>
                  <a:cubicBezTo>
                    <a:pt x="2" y="17"/>
                    <a:pt x="2" y="19"/>
                    <a:pt x="2" y="20"/>
                  </a:cubicBezTo>
                  <a:cubicBezTo>
                    <a:pt x="6" y="22"/>
                    <a:pt x="6" y="22"/>
                    <a:pt x="6" y="22"/>
                  </a:cubicBezTo>
                  <a:cubicBezTo>
                    <a:pt x="10" y="24"/>
                    <a:pt x="10" y="24"/>
                    <a:pt x="10" y="24"/>
                  </a:cubicBezTo>
                  <a:cubicBezTo>
                    <a:pt x="15" y="26"/>
                    <a:pt x="15" y="26"/>
                    <a:pt x="15" y="26"/>
                  </a:cubicBezTo>
                  <a:cubicBezTo>
                    <a:pt x="15" y="26"/>
                    <a:pt x="15" y="26"/>
                    <a:pt x="15" y="26"/>
                  </a:cubicBezTo>
                  <a:cubicBezTo>
                    <a:pt x="19" y="28"/>
                    <a:pt x="19" y="28"/>
                    <a:pt x="19" y="28"/>
                  </a:cubicBezTo>
                  <a:cubicBezTo>
                    <a:pt x="23" y="28"/>
                    <a:pt x="23" y="28"/>
                    <a:pt x="23" y="28"/>
                  </a:cubicBezTo>
                  <a:cubicBezTo>
                    <a:pt x="25" y="28"/>
                    <a:pt x="25" y="28"/>
                    <a:pt x="25" y="28"/>
                  </a:cubicBezTo>
                  <a:cubicBezTo>
                    <a:pt x="27" y="28"/>
                    <a:pt x="27" y="28"/>
                    <a:pt x="27" y="28"/>
                  </a:cubicBezTo>
                  <a:cubicBezTo>
                    <a:pt x="29" y="23"/>
                    <a:pt x="29" y="23"/>
                    <a:pt x="29" y="23"/>
                  </a:cubicBezTo>
                  <a:cubicBezTo>
                    <a:pt x="31" y="21"/>
                    <a:pt x="31" y="21"/>
                    <a:pt x="31" y="21"/>
                  </a:cubicBezTo>
                  <a:cubicBezTo>
                    <a:pt x="30" y="17"/>
                    <a:pt x="30" y="17"/>
                    <a:pt x="30" y="17"/>
                  </a:cubicBezTo>
                  <a:cubicBezTo>
                    <a:pt x="30" y="15"/>
                    <a:pt x="30" y="15"/>
                    <a:pt x="30" y="15"/>
                  </a:cubicBezTo>
                  <a:cubicBezTo>
                    <a:pt x="29" y="12"/>
                    <a:pt x="29" y="12"/>
                    <a:pt x="29" y="12"/>
                  </a:cubicBezTo>
                  <a:cubicBezTo>
                    <a:pt x="31" y="10"/>
                    <a:pt x="31" y="10"/>
                    <a:pt x="31" y="10"/>
                  </a:cubicBezTo>
                  <a:cubicBezTo>
                    <a:pt x="30" y="6"/>
                    <a:pt x="30" y="6"/>
                    <a:pt x="30" y="6"/>
                  </a:cubicBezTo>
                  <a:cubicBezTo>
                    <a:pt x="28" y="3"/>
                    <a:pt x="28" y="3"/>
                    <a:pt x="28" y="3"/>
                  </a:cubicBezTo>
                  <a:cubicBezTo>
                    <a:pt x="27" y="3"/>
                    <a:pt x="27" y="3"/>
                    <a:pt x="27" y="3"/>
                  </a:cubicBezTo>
                  <a:cubicBezTo>
                    <a:pt x="20" y="2"/>
                    <a:pt x="20" y="2"/>
                    <a:pt x="20" y="2"/>
                  </a:cubicBezTo>
                  <a:cubicBezTo>
                    <a:pt x="18" y="0"/>
                    <a:pt x="18" y="0"/>
                    <a:pt x="18" y="0"/>
                  </a:cubicBezTo>
                  <a:cubicBezTo>
                    <a:pt x="18" y="1"/>
                    <a:pt x="18" y="1"/>
                    <a:pt x="18" y="1"/>
                  </a:cubicBezTo>
                  <a:cubicBezTo>
                    <a:pt x="18" y="1"/>
                    <a:pt x="15" y="1"/>
                    <a:pt x="15" y="1"/>
                  </a:cubicBezTo>
                  <a:cubicBezTo>
                    <a:pt x="14" y="1"/>
                    <a:pt x="14" y="0"/>
                    <a:pt x="14" y="0"/>
                  </a:cubicBezTo>
                  <a:cubicBezTo>
                    <a:pt x="13" y="0"/>
                    <a:pt x="13" y="0"/>
                    <a:pt x="13" y="0"/>
                  </a:cubicBezTo>
                  <a:cubicBezTo>
                    <a:pt x="5" y="3"/>
                    <a:pt x="5" y="3"/>
                    <a:pt x="5" y="3"/>
                  </a:cubicBezTo>
                  <a:cubicBezTo>
                    <a:pt x="1" y="5"/>
                    <a:pt x="1" y="5"/>
                    <a:pt x="1" y="5"/>
                  </a:cubicBezTo>
                  <a:cubicBezTo>
                    <a:pt x="0" y="4"/>
                    <a:pt x="0" y="4"/>
                    <a:pt x="0" y="4"/>
                  </a:cubicBezTo>
                  <a:cubicBezTo>
                    <a:pt x="0" y="6"/>
                    <a:pt x="0" y="6"/>
                    <a:pt x="0" y="6"/>
                  </a:cubicBezTo>
                  <a:lnTo>
                    <a:pt x="1" y="9"/>
                  </a:ln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181" name="NE"/>
            <p:cNvSpPr>
              <a:spLocks/>
            </p:cNvSpPr>
            <p:nvPr/>
          </p:nvSpPr>
          <p:spPr bwMode="auto">
            <a:xfrm>
              <a:off x="4282214" y="3828980"/>
              <a:ext cx="386493" cy="288108"/>
            </a:xfrm>
            <a:custGeom>
              <a:avLst/>
              <a:gdLst>
                <a:gd name="T0" fmla="*/ 2147483647 w 300"/>
                <a:gd name="T1" fmla="*/ 2147483647 h 223"/>
                <a:gd name="T2" fmla="*/ 2147483647 w 300"/>
                <a:gd name="T3" fmla="*/ 2147483647 h 223"/>
                <a:gd name="T4" fmla="*/ 2147483647 w 300"/>
                <a:gd name="T5" fmla="*/ 2147483647 h 223"/>
                <a:gd name="T6" fmla="*/ 2147483647 w 300"/>
                <a:gd name="T7" fmla="*/ 2147483647 h 223"/>
                <a:gd name="T8" fmla="*/ 2147483647 w 300"/>
                <a:gd name="T9" fmla="*/ 2147483647 h 223"/>
                <a:gd name="T10" fmla="*/ 2147483647 w 300"/>
                <a:gd name="T11" fmla="*/ 2147483647 h 223"/>
                <a:gd name="T12" fmla="*/ 2147483647 w 300"/>
                <a:gd name="T13" fmla="*/ 2147483647 h 223"/>
                <a:gd name="T14" fmla="*/ 2147483647 w 300"/>
                <a:gd name="T15" fmla="*/ 2147483647 h 223"/>
                <a:gd name="T16" fmla="*/ 2147483647 w 300"/>
                <a:gd name="T17" fmla="*/ 2147483647 h 223"/>
                <a:gd name="T18" fmla="*/ 2147483647 w 300"/>
                <a:gd name="T19" fmla="*/ 2147483647 h 223"/>
                <a:gd name="T20" fmla="*/ 2147483647 w 300"/>
                <a:gd name="T21" fmla="*/ 2147483647 h 223"/>
                <a:gd name="T22" fmla="*/ 2147483647 w 300"/>
                <a:gd name="T23" fmla="*/ 2147483647 h 223"/>
                <a:gd name="T24" fmla="*/ 2147483647 w 300"/>
                <a:gd name="T25" fmla="*/ 2147483647 h 223"/>
                <a:gd name="T26" fmla="*/ 2147483647 w 300"/>
                <a:gd name="T27" fmla="*/ 2147483647 h 223"/>
                <a:gd name="T28" fmla="*/ 2147483647 w 300"/>
                <a:gd name="T29" fmla="*/ 2147483647 h 223"/>
                <a:gd name="T30" fmla="*/ 2147483647 w 300"/>
                <a:gd name="T31" fmla="*/ 0 h 223"/>
                <a:gd name="T32" fmla="*/ 2147483647 w 300"/>
                <a:gd name="T33" fmla="*/ 2147483647 h 223"/>
                <a:gd name="T34" fmla="*/ 2147483647 w 300"/>
                <a:gd name="T35" fmla="*/ 2147483647 h 223"/>
                <a:gd name="T36" fmla="*/ 2147483647 w 300"/>
                <a:gd name="T37" fmla="*/ 2147483647 h 223"/>
                <a:gd name="T38" fmla="*/ 2147483647 w 300"/>
                <a:gd name="T39" fmla="*/ 2147483647 h 223"/>
                <a:gd name="T40" fmla="*/ 2147483647 w 300"/>
                <a:gd name="T41" fmla="*/ 2147483647 h 223"/>
                <a:gd name="T42" fmla="*/ 2147483647 w 300"/>
                <a:gd name="T43" fmla="*/ 2147483647 h 223"/>
                <a:gd name="T44" fmla="*/ 0 w 300"/>
                <a:gd name="T45" fmla="*/ 2147483647 h 223"/>
                <a:gd name="T46" fmla="*/ 2147483647 w 300"/>
                <a:gd name="T47" fmla="*/ 2147483647 h 223"/>
                <a:gd name="T48" fmla="*/ 2147483647 w 300"/>
                <a:gd name="T49" fmla="*/ 2147483647 h 223"/>
                <a:gd name="T50" fmla="*/ 2147483647 w 300"/>
                <a:gd name="T51" fmla="*/ 2147483647 h 223"/>
                <a:gd name="T52" fmla="*/ 2147483647 w 300"/>
                <a:gd name="T53" fmla="*/ 2147483647 h 223"/>
                <a:gd name="T54" fmla="*/ 2147483647 w 300"/>
                <a:gd name="T55" fmla="*/ 2147483647 h 223"/>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300" h="223">
                  <a:moveTo>
                    <a:pt x="66" y="223"/>
                  </a:moveTo>
                  <a:lnTo>
                    <a:pt x="78" y="205"/>
                  </a:lnTo>
                  <a:lnTo>
                    <a:pt x="102" y="205"/>
                  </a:lnTo>
                  <a:lnTo>
                    <a:pt x="138" y="217"/>
                  </a:lnTo>
                  <a:lnTo>
                    <a:pt x="162" y="205"/>
                  </a:lnTo>
                  <a:lnTo>
                    <a:pt x="198" y="205"/>
                  </a:lnTo>
                  <a:lnTo>
                    <a:pt x="228" y="199"/>
                  </a:lnTo>
                  <a:lnTo>
                    <a:pt x="258" y="174"/>
                  </a:lnTo>
                  <a:lnTo>
                    <a:pt x="288" y="138"/>
                  </a:lnTo>
                  <a:lnTo>
                    <a:pt x="300" y="66"/>
                  </a:lnTo>
                  <a:lnTo>
                    <a:pt x="288" y="54"/>
                  </a:lnTo>
                  <a:lnTo>
                    <a:pt x="282" y="24"/>
                  </a:lnTo>
                  <a:lnTo>
                    <a:pt x="282" y="18"/>
                  </a:lnTo>
                  <a:lnTo>
                    <a:pt x="270" y="6"/>
                  </a:lnTo>
                  <a:lnTo>
                    <a:pt x="222" y="0"/>
                  </a:lnTo>
                  <a:lnTo>
                    <a:pt x="114" y="72"/>
                  </a:lnTo>
                  <a:lnTo>
                    <a:pt x="78" y="90"/>
                  </a:lnTo>
                  <a:lnTo>
                    <a:pt x="78" y="144"/>
                  </a:lnTo>
                  <a:lnTo>
                    <a:pt x="66" y="162"/>
                  </a:lnTo>
                  <a:lnTo>
                    <a:pt x="24" y="168"/>
                  </a:lnTo>
                  <a:lnTo>
                    <a:pt x="0" y="168"/>
                  </a:lnTo>
                  <a:lnTo>
                    <a:pt x="12" y="193"/>
                  </a:lnTo>
                  <a:lnTo>
                    <a:pt x="36" y="217"/>
                  </a:lnTo>
                  <a:lnTo>
                    <a:pt x="48" y="217"/>
                  </a:lnTo>
                  <a:lnTo>
                    <a:pt x="60" y="223"/>
                  </a:lnTo>
                  <a:lnTo>
                    <a:pt x="66" y="223"/>
                  </a:ln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182" name="ML"/>
            <p:cNvSpPr>
              <a:spLocks/>
            </p:cNvSpPr>
            <p:nvPr/>
          </p:nvSpPr>
          <p:spPr bwMode="auto">
            <a:xfrm>
              <a:off x="3977417" y="3789293"/>
              <a:ext cx="407983" cy="381771"/>
            </a:xfrm>
            <a:custGeom>
              <a:avLst/>
              <a:gdLst>
                <a:gd name="T0" fmla="*/ 2147483647 w 52"/>
                <a:gd name="T1" fmla="*/ 2147483647 h 49"/>
                <a:gd name="T2" fmla="*/ 2147483647 w 52"/>
                <a:gd name="T3" fmla="*/ 2147483647 h 49"/>
                <a:gd name="T4" fmla="*/ 2147483647 w 52"/>
                <a:gd name="T5" fmla="*/ 2147483647 h 49"/>
                <a:gd name="T6" fmla="*/ 2147483647 w 52"/>
                <a:gd name="T7" fmla="*/ 2147483647 h 49"/>
                <a:gd name="T8" fmla="*/ 2147483647 w 52"/>
                <a:gd name="T9" fmla="*/ 2147483647 h 49"/>
                <a:gd name="T10" fmla="*/ 2147483647 w 52"/>
                <a:gd name="T11" fmla="*/ 2147483647 h 49"/>
                <a:gd name="T12" fmla="*/ 2147483647 w 52"/>
                <a:gd name="T13" fmla="*/ 2147483647 h 49"/>
                <a:gd name="T14" fmla="*/ 2147483647 w 52"/>
                <a:gd name="T15" fmla="*/ 2147483647 h 49"/>
                <a:gd name="T16" fmla="*/ 2147483647 w 52"/>
                <a:gd name="T17" fmla="*/ 2147483647 h 49"/>
                <a:gd name="T18" fmla="*/ 2147483647 w 52"/>
                <a:gd name="T19" fmla="*/ 2147483647 h 49"/>
                <a:gd name="T20" fmla="*/ 2147483647 w 52"/>
                <a:gd name="T21" fmla="*/ 2147483647 h 49"/>
                <a:gd name="T22" fmla="*/ 2147483647 w 52"/>
                <a:gd name="T23" fmla="*/ 0 h 49"/>
                <a:gd name="T24" fmla="*/ 2147483647 w 52"/>
                <a:gd name="T25" fmla="*/ 0 h 49"/>
                <a:gd name="T26" fmla="*/ 2147483647 w 52"/>
                <a:gd name="T27" fmla="*/ 2147483647 h 49"/>
                <a:gd name="T28" fmla="*/ 2147483647 w 52"/>
                <a:gd name="T29" fmla="*/ 2147483647 h 49"/>
                <a:gd name="T30" fmla="*/ 2147483647 w 52"/>
                <a:gd name="T31" fmla="*/ 2147483647 h 49"/>
                <a:gd name="T32" fmla="*/ 2147483647 w 52"/>
                <a:gd name="T33" fmla="*/ 2147483647 h 49"/>
                <a:gd name="T34" fmla="*/ 2147483647 w 52"/>
                <a:gd name="T35" fmla="*/ 2147483647 h 49"/>
                <a:gd name="T36" fmla="*/ 2147483647 w 52"/>
                <a:gd name="T37" fmla="*/ 2147483647 h 49"/>
                <a:gd name="T38" fmla="*/ 0 w 52"/>
                <a:gd name="T39" fmla="*/ 2147483647 h 49"/>
                <a:gd name="T40" fmla="*/ 0 w 52"/>
                <a:gd name="T41" fmla="*/ 2147483647 h 49"/>
                <a:gd name="T42" fmla="*/ 2147483647 w 52"/>
                <a:gd name="T43" fmla="*/ 2147483647 h 49"/>
                <a:gd name="T44" fmla="*/ 2147483647 w 52"/>
                <a:gd name="T45" fmla="*/ 2147483647 h 49"/>
                <a:gd name="T46" fmla="*/ 2147483647 w 52"/>
                <a:gd name="T47" fmla="*/ 2147483647 h 49"/>
                <a:gd name="T48" fmla="*/ 2147483647 w 52"/>
                <a:gd name="T49" fmla="*/ 2147483647 h 49"/>
                <a:gd name="T50" fmla="*/ 2147483647 w 52"/>
                <a:gd name="T51" fmla="*/ 2147483647 h 49"/>
                <a:gd name="T52" fmla="*/ 2147483647 w 52"/>
                <a:gd name="T53" fmla="*/ 2147483647 h 49"/>
                <a:gd name="T54" fmla="*/ 2147483647 w 52"/>
                <a:gd name="T55" fmla="*/ 2147483647 h 49"/>
                <a:gd name="T56" fmla="*/ 2147483647 w 52"/>
                <a:gd name="T57" fmla="*/ 2147483647 h 49"/>
                <a:gd name="T58" fmla="*/ 2147483647 w 52"/>
                <a:gd name="T59" fmla="*/ 2147483647 h 49"/>
                <a:gd name="T60" fmla="*/ 2147483647 w 52"/>
                <a:gd name="T61" fmla="*/ 2147483647 h 49"/>
                <a:gd name="T62" fmla="*/ 2147483647 w 52"/>
                <a:gd name="T63" fmla="*/ 2147483647 h 49"/>
                <a:gd name="T64" fmla="*/ 2147483647 w 52"/>
                <a:gd name="T65" fmla="*/ 2147483647 h 49"/>
                <a:gd name="T66" fmla="*/ 2147483647 w 52"/>
                <a:gd name="T67" fmla="*/ 2147483647 h 49"/>
                <a:gd name="T68" fmla="*/ 2147483647 w 52"/>
                <a:gd name="T69" fmla="*/ 2147483647 h 49"/>
                <a:gd name="T70" fmla="*/ 2147483647 w 52"/>
                <a:gd name="T71" fmla="*/ 2147483647 h 49"/>
                <a:gd name="T72" fmla="*/ 2147483647 w 52"/>
                <a:gd name="T73" fmla="*/ 2147483647 h 4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52" h="49">
                  <a:moveTo>
                    <a:pt x="24" y="44"/>
                  </a:moveTo>
                  <a:cubicBezTo>
                    <a:pt x="27" y="40"/>
                    <a:pt x="27" y="40"/>
                    <a:pt x="27" y="40"/>
                  </a:cubicBezTo>
                  <a:cubicBezTo>
                    <a:pt x="32" y="36"/>
                    <a:pt x="32" y="36"/>
                    <a:pt x="32" y="36"/>
                  </a:cubicBezTo>
                  <a:cubicBezTo>
                    <a:pt x="38" y="33"/>
                    <a:pt x="38" y="33"/>
                    <a:pt x="38" y="33"/>
                  </a:cubicBezTo>
                  <a:cubicBezTo>
                    <a:pt x="39" y="33"/>
                    <a:pt x="39" y="33"/>
                    <a:pt x="39" y="33"/>
                  </a:cubicBezTo>
                  <a:cubicBezTo>
                    <a:pt x="43" y="33"/>
                    <a:pt x="43" y="33"/>
                    <a:pt x="43" y="33"/>
                  </a:cubicBezTo>
                  <a:cubicBezTo>
                    <a:pt x="50" y="32"/>
                    <a:pt x="50" y="32"/>
                    <a:pt x="50" y="32"/>
                  </a:cubicBezTo>
                  <a:cubicBezTo>
                    <a:pt x="51" y="29"/>
                    <a:pt x="51" y="29"/>
                    <a:pt x="51" y="29"/>
                  </a:cubicBezTo>
                  <a:cubicBezTo>
                    <a:pt x="52" y="20"/>
                    <a:pt x="52" y="20"/>
                    <a:pt x="52" y="20"/>
                  </a:cubicBezTo>
                  <a:cubicBezTo>
                    <a:pt x="49" y="20"/>
                    <a:pt x="49" y="20"/>
                    <a:pt x="49" y="20"/>
                  </a:cubicBezTo>
                  <a:cubicBezTo>
                    <a:pt x="47" y="18"/>
                    <a:pt x="47" y="18"/>
                    <a:pt x="47" y="18"/>
                  </a:cubicBezTo>
                  <a:cubicBezTo>
                    <a:pt x="21" y="0"/>
                    <a:pt x="21" y="0"/>
                    <a:pt x="21" y="0"/>
                  </a:cubicBezTo>
                  <a:cubicBezTo>
                    <a:pt x="18" y="0"/>
                    <a:pt x="18" y="0"/>
                    <a:pt x="18" y="0"/>
                  </a:cubicBezTo>
                  <a:cubicBezTo>
                    <a:pt x="21" y="29"/>
                    <a:pt x="21" y="29"/>
                    <a:pt x="21" y="29"/>
                  </a:cubicBezTo>
                  <a:cubicBezTo>
                    <a:pt x="23" y="30"/>
                    <a:pt x="23" y="30"/>
                    <a:pt x="23" y="30"/>
                  </a:cubicBezTo>
                  <a:cubicBezTo>
                    <a:pt x="20" y="32"/>
                    <a:pt x="20" y="32"/>
                    <a:pt x="20" y="32"/>
                  </a:cubicBezTo>
                  <a:cubicBezTo>
                    <a:pt x="6" y="32"/>
                    <a:pt x="6" y="32"/>
                    <a:pt x="6" y="32"/>
                  </a:cubicBezTo>
                  <a:cubicBezTo>
                    <a:pt x="5" y="33"/>
                    <a:pt x="5" y="33"/>
                    <a:pt x="5" y="33"/>
                  </a:cubicBezTo>
                  <a:cubicBezTo>
                    <a:pt x="3" y="31"/>
                    <a:pt x="3" y="31"/>
                    <a:pt x="3" y="31"/>
                  </a:cubicBezTo>
                  <a:cubicBezTo>
                    <a:pt x="0" y="34"/>
                    <a:pt x="0" y="34"/>
                    <a:pt x="0" y="34"/>
                  </a:cubicBezTo>
                  <a:cubicBezTo>
                    <a:pt x="0" y="35"/>
                    <a:pt x="0" y="35"/>
                    <a:pt x="0" y="35"/>
                  </a:cubicBezTo>
                  <a:cubicBezTo>
                    <a:pt x="1" y="38"/>
                    <a:pt x="1" y="38"/>
                    <a:pt x="1" y="38"/>
                  </a:cubicBezTo>
                  <a:cubicBezTo>
                    <a:pt x="3" y="42"/>
                    <a:pt x="3" y="42"/>
                    <a:pt x="3" y="42"/>
                  </a:cubicBezTo>
                  <a:cubicBezTo>
                    <a:pt x="2" y="42"/>
                    <a:pt x="2" y="42"/>
                    <a:pt x="2" y="42"/>
                  </a:cubicBezTo>
                  <a:cubicBezTo>
                    <a:pt x="2" y="43"/>
                    <a:pt x="2" y="43"/>
                    <a:pt x="2" y="43"/>
                  </a:cubicBezTo>
                  <a:cubicBezTo>
                    <a:pt x="6" y="43"/>
                    <a:pt x="6" y="43"/>
                    <a:pt x="6" y="43"/>
                  </a:cubicBezTo>
                  <a:cubicBezTo>
                    <a:pt x="6" y="43"/>
                    <a:pt x="10" y="42"/>
                    <a:pt x="10" y="42"/>
                  </a:cubicBezTo>
                  <a:cubicBezTo>
                    <a:pt x="11" y="42"/>
                    <a:pt x="11" y="44"/>
                    <a:pt x="11" y="44"/>
                  </a:cubicBezTo>
                  <a:cubicBezTo>
                    <a:pt x="13" y="49"/>
                    <a:pt x="13" y="49"/>
                    <a:pt x="13" y="49"/>
                  </a:cubicBezTo>
                  <a:cubicBezTo>
                    <a:pt x="15" y="48"/>
                    <a:pt x="15" y="48"/>
                    <a:pt x="15" y="48"/>
                  </a:cubicBezTo>
                  <a:cubicBezTo>
                    <a:pt x="17" y="48"/>
                    <a:pt x="17" y="48"/>
                    <a:pt x="17" y="48"/>
                  </a:cubicBezTo>
                  <a:cubicBezTo>
                    <a:pt x="18" y="48"/>
                    <a:pt x="18" y="48"/>
                    <a:pt x="18" y="48"/>
                  </a:cubicBezTo>
                  <a:cubicBezTo>
                    <a:pt x="20" y="49"/>
                    <a:pt x="20" y="49"/>
                    <a:pt x="20" y="49"/>
                  </a:cubicBezTo>
                  <a:cubicBezTo>
                    <a:pt x="22" y="49"/>
                    <a:pt x="22" y="49"/>
                    <a:pt x="22" y="49"/>
                  </a:cubicBezTo>
                  <a:cubicBezTo>
                    <a:pt x="23" y="49"/>
                    <a:pt x="23" y="49"/>
                    <a:pt x="23" y="49"/>
                  </a:cubicBezTo>
                  <a:cubicBezTo>
                    <a:pt x="23" y="47"/>
                    <a:pt x="23" y="47"/>
                    <a:pt x="23" y="47"/>
                  </a:cubicBezTo>
                  <a:lnTo>
                    <a:pt x="24" y="44"/>
                  </a:ln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183" name="SO"/>
            <p:cNvSpPr>
              <a:spLocks/>
            </p:cNvSpPr>
            <p:nvPr/>
          </p:nvSpPr>
          <p:spPr bwMode="auto">
            <a:xfrm>
              <a:off x="5290148" y="4140902"/>
              <a:ext cx="234947" cy="317498"/>
            </a:xfrm>
            <a:custGeom>
              <a:avLst/>
              <a:gdLst>
                <a:gd name="T0" fmla="*/ 2147483647 w 180"/>
                <a:gd name="T1" fmla="*/ 2147483647 h 246"/>
                <a:gd name="T2" fmla="*/ 2147483647 w 180"/>
                <a:gd name="T3" fmla="*/ 2147483647 h 246"/>
                <a:gd name="T4" fmla="*/ 2147483647 w 180"/>
                <a:gd name="T5" fmla="*/ 2147483647 h 246"/>
                <a:gd name="T6" fmla="*/ 2147483647 w 180"/>
                <a:gd name="T7" fmla="*/ 2147483647 h 246"/>
                <a:gd name="T8" fmla="*/ 2147483647 w 180"/>
                <a:gd name="T9" fmla="*/ 2147483647 h 246"/>
                <a:gd name="T10" fmla="*/ 2147483647 w 180"/>
                <a:gd name="T11" fmla="*/ 2147483647 h 246"/>
                <a:gd name="T12" fmla="*/ 2147483647 w 180"/>
                <a:gd name="T13" fmla="*/ 2147483647 h 246"/>
                <a:gd name="T14" fmla="*/ 2147483647 w 180"/>
                <a:gd name="T15" fmla="*/ 2147483647 h 246"/>
                <a:gd name="T16" fmla="*/ 2147483647 w 180"/>
                <a:gd name="T17" fmla="*/ 2147483647 h 246"/>
                <a:gd name="T18" fmla="*/ 2147483647 w 180"/>
                <a:gd name="T19" fmla="*/ 2147483647 h 246"/>
                <a:gd name="T20" fmla="*/ 2147483647 w 180"/>
                <a:gd name="T21" fmla="*/ 2147483647 h 246"/>
                <a:gd name="T22" fmla="*/ 2147483647 w 180"/>
                <a:gd name="T23" fmla="*/ 2147483647 h 246"/>
                <a:gd name="T24" fmla="*/ 2147483647 w 180"/>
                <a:gd name="T25" fmla="*/ 2147483647 h 246"/>
                <a:gd name="T26" fmla="*/ 0 w 180"/>
                <a:gd name="T27" fmla="*/ 2147483647 h 246"/>
                <a:gd name="T28" fmla="*/ 0 w 180"/>
                <a:gd name="T29" fmla="*/ 2147483647 h 246"/>
                <a:gd name="T30" fmla="*/ 2147483647 w 180"/>
                <a:gd name="T31" fmla="*/ 2147483647 h 246"/>
                <a:gd name="T32" fmla="*/ 2147483647 w 180"/>
                <a:gd name="T33" fmla="*/ 2147483647 h 246"/>
                <a:gd name="T34" fmla="*/ 2147483647 w 180"/>
                <a:gd name="T35" fmla="*/ 2147483647 h 246"/>
                <a:gd name="T36" fmla="*/ 2147483647 w 180"/>
                <a:gd name="T37" fmla="*/ 2147483647 h 246"/>
                <a:gd name="T38" fmla="*/ 2147483647 w 180"/>
                <a:gd name="T39" fmla="*/ 2147483647 h 246"/>
                <a:gd name="T40" fmla="*/ 2147483647 w 180"/>
                <a:gd name="T41" fmla="*/ 0 h 246"/>
                <a:gd name="T42" fmla="*/ 2147483647 w 180"/>
                <a:gd name="T43" fmla="*/ 2147483647 h 24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80" h="246">
                  <a:moveTo>
                    <a:pt x="72" y="18"/>
                  </a:moveTo>
                  <a:lnTo>
                    <a:pt x="48" y="12"/>
                  </a:lnTo>
                  <a:lnTo>
                    <a:pt x="48" y="6"/>
                  </a:lnTo>
                  <a:lnTo>
                    <a:pt x="30" y="18"/>
                  </a:lnTo>
                  <a:lnTo>
                    <a:pt x="42" y="36"/>
                  </a:lnTo>
                  <a:lnTo>
                    <a:pt x="84" y="60"/>
                  </a:lnTo>
                  <a:lnTo>
                    <a:pt x="126" y="66"/>
                  </a:lnTo>
                  <a:lnTo>
                    <a:pt x="78" y="120"/>
                  </a:lnTo>
                  <a:lnTo>
                    <a:pt x="36" y="132"/>
                  </a:lnTo>
                  <a:lnTo>
                    <a:pt x="18" y="144"/>
                  </a:lnTo>
                  <a:lnTo>
                    <a:pt x="24" y="150"/>
                  </a:lnTo>
                  <a:lnTo>
                    <a:pt x="18" y="144"/>
                  </a:lnTo>
                  <a:lnTo>
                    <a:pt x="18" y="150"/>
                  </a:lnTo>
                  <a:lnTo>
                    <a:pt x="0" y="168"/>
                  </a:lnTo>
                  <a:lnTo>
                    <a:pt x="0" y="228"/>
                  </a:lnTo>
                  <a:lnTo>
                    <a:pt x="12" y="246"/>
                  </a:lnTo>
                  <a:lnTo>
                    <a:pt x="42" y="204"/>
                  </a:lnTo>
                  <a:lnTo>
                    <a:pt x="90" y="180"/>
                  </a:lnTo>
                  <a:lnTo>
                    <a:pt x="132" y="132"/>
                  </a:lnTo>
                  <a:lnTo>
                    <a:pt x="168" y="48"/>
                  </a:lnTo>
                  <a:lnTo>
                    <a:pt x="180" y="0"/>
                  </a:lnTo>
                  <a:lnTo>
                    <a:pt x="72" y="18"/>
                  </a:ln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184" name="Freeform 183"/>
            <p:cNvSpPr>
              <a:spLocks/>
            </p:cNvSpPr>
            <p:nvPr/>
          </p:nvSpPr>
          <p:spPr bwMode="auto">
            <a:xfrm>
              <a:off x="4621083" y="4117090"/>
              <a:ext cx="31749" cy="123824"/>
            </a:xfrm>
            <a:custGeom>
              <a:avLst/>
              <a:gdLst>
                <a:gd name="T0" fmla="*/ 2147483647 w 24"/>
                <a:gd name="T1" fmla="*/ 0 h 96"/>
                <a:gd name="T2" fmla="*/ 2147483647 w 24"/>
                <a:gd name="T3" fmla="*/ 0 h 96"/>
                <a:gd name="T4" fmla="*/ 2147483647 w 24"/>
                <a:gd name="T5" fmla="*/ 2147483647 h 96"/>
                <a:gd name="T6" fmla="*/ 0 w 24"/>
                <a:gd name="T7" fmla="*/ 2147483647 h 96"/>
                <a:gd name="T8" fmla="*/ 0 w 24"/>
                <a:gd name="T9" fmla="*/ 2147483647 h 96"/>
                <a:gd name="T10" fmla="*/ 2147483647 w 24"/>
                <a:gd name="T11" fmla="*/ 2147483647 h 96"/>
                <a:gd name="T12" fmla="*/ 2147483647 w 24"/>
                <a:gd name="T13" fmla="*/ 2147483647 h 96"/>
                <a:gd name="T14" fmla="*/ 2147483647 w 24"/>
                <a:gd name="T15" fmla="*/ 0 h 96"/>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4" h="96">
                  <a:moveTo>
                    <a:pt x="12" y="0"/>
                  </a:moveTo>
                  <a:lnTo>
                    <a:pt x="12" y="0"/>
                  </a:lnTo>
                  <a:lnTo>
                    <a:pt x="24" y="42"/>
                  </a:lnTo>
                  <a:lnTo>
                    <a:pt x="0" y="48"/>
                  </a:lnTo>
                  <a:lnTo>
                    <a:pt x="0" y="66"/>
                  </a:lnTo>
                  <a:lnTo>
                    <a:pt x="18" y="96"/>
                  </a:lnTo>
                  <a:lnTo>
                    <a:pt x="24" y="96"/>
                  </a:lnTo>
                  <a:lnTo>
                    <a:pt x="12" y="0"/>
                  </a:ln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185" name="Freeform 184"/>
            <p:cNvSpPr>
              <a:spLocks/>
            </p:cNvSpPr>
            <p:nvPr/>
          </p:nvSpPr>
          <p:spPr bwMode="auto">
            <a:xfrm>
              <a:off x="4773481" y="4269488"/>
              <a:ext cx="31749" cy="123824"/>
            </a:xfrm>
            <a:custGeom>
              <a:avLst/>
              <a:gdLst>
                <a:gd name="T0" fmla="*/ 2147483647 w 24"/>
                <a:gd name="T1" fmla="*/ 0 h 96"/>
                <a:gd name="T2" fmla="*/ 2147483647 w 24"/>
                <a:gd name="T3" fmla="*/ 0 h 96"/>
                <a:gd name="T4" fmla="*/ 2147483647 w 24"/>
                <a:gd name="T5" fmla="*/ 2147483647 h 96"/>
                <a:gd name="T6" fmla="*/ 0 w 24"/>
                <a:gd name="T7" fmla="*/ 2147483647 h 96"/>
                <a:gd name="T8" fmla="*/ 0 w 24"/>
                <a:gd name="T9" fmla="*/ 2147483647 h 96"/>
                <a:gd name="T10" fmla="*/ 2147483647 w 24"/>
                <a:gd name="T11" fmla="*/ 2147483647 h 96"/>
                <a:gd name="T12" fmla="*/ 2147483647 w 24"/>
                <a:gd name="T13" fmla="*/ 2147483647 h 9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4" h="96">
                  <a:moveTo>
                    <a:pt x="12" y="0"/>
                  </a:moveTo>
                  <a:lnTo>
                    <a:pt x="12" y="0"/>
                  </a:lnTo>
                  <a:lnTo>
                    <a:pt x="24" y="42"/>
                  </a:lnTo>
                  <a:lnTo>
                    <a:pt x="0" y="48"/>
                  </a:lnTo>
                  <a:lnTo>
                    <a:pt x="0" y="66"/>
                  </a:lnTo>
                  <a:lnTo>
                    <a:pt x="18" y="96"/>
                  </a:lnTo>
                  <a:lnTo>
                    <a:pt x="24" y="96"/>
                  </a:lnTo>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186" name="TD"/>
            <p:cNvSpPr>
              <a:spLocks/>
            </p:cNvSpPr>
            <p:nvPr/>
          </p:nvSpPr>
          <p:spPr bwMode="auto">
            <a:xfrm>
              <a:off x="4605208" y="3838506"/>
              <a:ext cx="258760" cy="402408"/>
            </a:xfrm>
            <a:custGeom>
              <a:avLst/>
              <a:gdLst>
                <a:gd name="T0" fmla="*/ 2147483647 w 198"/>
                <a:gd name="T1" fmla="*/ 2147483647 h 313"/>
                <a:gd name="T2" fmla="*/ 2147483647 w 198"/>
                <a:gd name="T3" fmla="*/ 2147483647 h 313"/>
                <a:gd name="T4" fmla="*/ 2147483647 w 198"/>
                <a:gd name="T5" fmla="*/ 2147483647 h 313"/>
                <a:gd name="T6" fmla="*/ 2147483647 w 198"/>
                <a:gd name="T7" fmla="*/ 2147483647 h 313"/>
                <a:gd name="T8" fmla="*/ 2147483647 w 198"/>
                <a:gd name="T9" fmla="*/ 2147483647 h 313"/>
                <a:gd name="T10" fmla="*/ 2147483647 w 198"/>
                <a:gd name="T11" fmla="*/ 2147483647 h 313"/>
                <a:gd name="T12" fmla="*/ 2147483647 w 198"/>
                <a:gd name="T13" fmla="*/ 2147483647 h 313"/>
                <a:gd name="T14" fmla="*/ 2147483647 w 198"/>
                <a:gd name="T15" fmla="*/ 2147483647 h 313"/>
                <a:gd name="T16" fmla="*/ 2147483647 w 198"/>
                <a:gd name="T17" fmla="*/ 2147483647 h 313"/>
                <a:gd name="T18" fmla="*/ 2147483647 w 198"/>
                <a:gd name="T19" fmla="*/ 2147483647 h 313"/>
                <a:gd name="T20" fmla="*/ 2147483647 w 198"/>
                <a:gd name="T21" fmla="*/ 2147483647 h 313"/>
                <a:gd name="T22" fmla="*/ 2147483647 w 198"/>
                <a:gd name="T23" fmla="*/ 2147483647 h 313"/>
                <a:gd name="T24" fmla="*/ 2147483647 w 198"/>
                <a:gd name="T25" fmla="*/ 0 h 313"/>
                <a:gd name="T26" fmla="*/ 2147483647 w 198"/>
                <a:gd name="T27" fmla="*/ 2147483647 h 313"/>
                <a:gd name="T28" fmla="*/ 2147483647 w 198"/>
                <a:gd name="T29" fmla="*/ 2147483647 h 313"/>
                <a:gd name="T30" fmla="*/ 2147483647 w 198"/>
                <a:gd name="T31" fmla="*/ 2147483647 h 313"/>
                <a:gd name="T32" fmla="*/ 2147483647 w 198"/>
                <a:gd name="T33" fmla="*/ 2147483647 h 313"/>
                <a:gd name="T34" fmla="*/ 2147483647 w 198"/>
                <a:gd name="T35" fmla="*/ 2147483647 h 313"/>
                <a:gd name="T36" fmla="*/ 2147483647 w 198"/>
                <a:gd name="T37" fmla="*/ 2147483647 h 313"/>
                <a:gd name="T38" fmla="*/ 2147483647 w 198"/>
                <a:gd name="T39" fmla="*/ 2147483647 h 313"/>
                <a:gd name="T40" fmla="*/ 2147483647 w 198"/>
                <a:gd name="T41" fmla="*/ 2147483647 h 313"/>
                <a:gd name="T42" fmla="*/ 0 w 198"/>
                <a:gd name="T43" fmla="*/ 2147483647 h 313"/>
                <a:gd name="T44" fmla="*/ 2147483647 w 198"/>
                <a:gd name="T45" fmla="*/ 2147483647 h 313"/>
                <a:gd name="T46" fmla="*/ 2147483647 w 198"/>
                <a:gd name="T47" fmla="*/ 2147483647 h 313"/>
                <a:gd name="T48" fmla="*/ 2147483647 w 198"/>
                <a:gd name="T49" fmla="*/ 2147483647 h 313"/>
                <a:gd name="T50" fmla="*/ 2147483647 w 198"/>
                <a:gd name="T51" fmla="*/ 2147483647 h 313"/>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connsiteX0" fmla="*/ 1818 w 10000"/>
                <a:gd name="connsiteY0" fmla="*/ 10000 h 10000"/>
                <a:gd name="connsiteX1" fmla="*/ 3030 w 10000"/>
                <a:gd name="connsiteY1" fmla="*/ 9808 h 10000"/>
                <a:gd name="connsiteX2" fmla="*/ 4848 w 10000"/>
                <a:gd name="connsiteY2" fmla="*/ 9425 h 10000"/>
                <a:gd name="connsiteX3" fmla="*/ 5152 w 10000"/>
                <a:gd name="connsiteY3" fmla="*/ 9042 h 10000"/>
                <a:gd name="connsiteX4" fmla="*/ 6667 w 10000"/>
                <a:gd name="connsiteY4" fmla="*/ 8850 h 10000"/>
                <a:gd name="connsiteX5" fmla="*/ 9091 w 10000"/>
                <a:gd name="connsiteY5" fmla="*/ 7891 h 10000"/>
                <a:gd name="connsiteX6" fmla="*/ 8182 w 10000"/>
                <a:gd name="connsiteY6" fmla="*/ 6741 h 10000"/>
                <a:gd name="connsiteX7" fmla="*/ 8485 w 10000"/>
                <a:gd name="connsiteY7" fmla="*/ 6166 h 10000"/>
                <a:gd name="connsiteX8" fmla="*/ 8788 w 10000"/>
                <a:gd name="connsiteY8" fmla="*/ 5176 h 10000"/>
                <a:gd name="connsiteX9" fmla="*/ 9697 w 10000"/>
                <a:gd name="connsiteY9" fmla="*/ 4792 h 10000"/>
                <a:gd name="connsiteX10" fmla="*/ 10000 w 10000"/>
                <a:gd name="connsiteY10" fmla="*/ 2492 h 10000"/>
                <a:gd name="connsiteX11" fmla="*/ 2727 w 10000"/>
                <a:gd name="connsiteY11" fmla="*/ 0 h 10000"/>
                <a:gd name="connsiteX12" fmla="*/ 1515 w 10000"/>
                <a:gd name="connsiteY12" fmla="*/ 383 h 10000"/>
                <a:gd name="connsiteX13" fmla="*/ 1515 w 10000"/>
                <a:gd name="connsiteY13" fmla="*/ 575 h 10000"/>
                <a:gd name="connsiteX14" fmla="*/ 1818 w 10000"/>
                <a:gd name="connsiteY14" fmla="*/ 1534 h 10000"/>
                <a:gd name="connsiteX15" fmla="*/ 2424 w 10000"/>
                <a:gd name="connsiteY15" fmla="*/ 1917 h 10000"/>
                <a:gd name="connsiteX16" fmla="*/ 1818 w 10000"/>
                <a:gd name="connsiteY16" fmla="*/ 4217 h 10000"/>
                <a:gd name="connsiteX17" fmla="*/ 303 w 10000"/>
                <a:gd name="connsiteY17" fmla="*/ 5367 h 10000"/>
                <a:gd name="connsiteX18" fmla="*/ 303 w 10000"/>
                <a:gd name="connsiteY18" fmla="*/ 5367 h 10000"/>
                <a:gd name="connsiteX19" fmla="*/ 0 w 10000"/>
                <a:gd name="connsiteY19" fmla="*/ 5591 h 10000"/>
                <a:gd name="connsiteX20" fmla="*/ 606 w 10000"/>
                <a:gd name="connsiteY20" fmla="*/ 6166 h 10000"/>
                <a:gd name="connsiteX21" fmla="*/ 1515 w 10000"/>
                <a:gd name="connsiteY21" fmla="*/ 6358 h 10000"/>
                <a:gd name="connsiteX22" fmla="*/ 1212 w 10000"/>
                <a:gd name="connsiteY22" fmla="*/ 6933 h 10000"/>
                <a:gd name="connsiteX23" fmla="*/ 1818 w 10000"/>
                <a:gd name="connsiteY23" fmla="*/ 10000 h 10000"/>
                <a:gd name="connsiteX0" fmla="*/ 1818 w 10000"/>
                <a:gd name="connsiteY0" fmla="*/ 10000 h 10000"/>
                <a:gd name="connsiteX1" fmla="*/ 3030 w 10000"/>
                <a:gd name="connsiteY1" fmla="*/ 9808 h 10000"/>
                <a:gd name="connsiteX2" fmla="*/ 4848 w 10000"/>
                <a:gd name="connsiteY2" fmla="*/ 9425 h 10000"/>
                <a:gd name="connsiteX3" fmla="*/ 5152 w 10000"/>
                <a:gd name="connsiteY3" fmla="*/ 9042 h 10000"/>
                <a:gd name="connsiteX4" fmla="*/ 6667 w 10000"/>
                <a:gd name="connsiteY4" fmla="*/ 8850 h 10000"/>
                <a:gd name="connsiteX5" fmla="*/ 9091 w 10000"/>
                <a:gd name="connsiteY5" fmla="*/ 7891 h 10000"/>
                <a:gd name="connsiteX6" fmla="*/ 8182 w 10000"/>
                <a:gd name="connsiteY6" fmla="*/ 6741 h 10000"/>
                <a:gd name="connsiteX7" fmla="*/ 8485 w 10000"/>
                <a:gd name="connsiteY7" fmla="*/ 6166 h 10000"/>
                <a:gd name="connsiteX8" fmla="*/ 8788 w 10000"/>
                <a:gd name="connsiteY8" fmla="*/ 5176 h 10000"/>
                <a:gd name="connsiteX9" fmla="*/ 9697 w 10000"/>
                <a:gd name="connsiteY9" fmla="*/ 4792 h 10000"/>
                <a:gd name="connsiteX10" fmla="*/ 10000 w 10000"/>
                <a:gd name="connsiteY10" fmla="*/ 2492 h 10000"/>
                <a:gd name="connsiteX11" fmla="*/ 2727 w 10000"/>
                <a:gd name="connsiteY11" fmla="*/ 0 h 10000"/>
                <a:gd name="connsiteX12" fmla="*/ 1515 w 10000"/>
                <a:gd name="connsiteY12" fmla="*/ 383 h 10000"/>
                <a:gd name="connsiteX13" fmla="*/ 1515 w 10000"/>
                <a:gd name="connsiteY13" fmla="*/ 575 h 10000"/>
                <a:gd name="connsiteX14" fmla="*/ 1818 w 10000"/>
                <a:gd name="connsiteY14" fmla="*/ 1534 h 10000"/>
                <a:gd name="connsiteX15" fmla="*/ 2424 w 10000"/>
                <a:gd name="connsiteY15" fmla="*/ 1917 h 10000"/>
                <a:gd name="connsiteX16" fmla="*/ 1818 w 10000"/>
                <a:gd name="connsiteY16" fmla="*/ 4217 h 10000"/>
                <a:gd name="connsiteX17" fmla="*/ 303 w 10000"/>
                <a:gd name="connsiteY17" fmla="*/ 5367 h 10000"/>
                <a:gd name="connsiteX18" fmla="*/ 303 w 10000"/>
                <a:gd name="connsiteY18" fmla="*/ 5367 h 10000"/>
                <a:gd name="connsiteX19" fmla="*/ 0 w 10000"/>
                <a:gd name="connsiteY19" fmla="*/ 5591 h 10000"/>
                <a:gd name="connsiteX20" fmla="*/ 606 w 10000"/>
                <a:gd name="connsiteY20" fmla="*/ 6166 h 10000"/>
                <a:gd name="connsiteX21" fmla="*/ 1515 w 10000"/>
                <a:gd name="connsiteY21" fmla="*/ 6358 h 10000"/>
                <a:gd name="connsiteX22" fmla="*/ 292 w 10000"/>
                <a:gd name="connsiteY22" fmla="*/ 8953 h 10000"/>
                <a:gd name="connsiteX23" fmla="*/ 1818 w 10000"/>
                <a:gd name="connsiteY23"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0000" h="10000">
                  <a:moveTo>
                    <a:pt x="1818" y="10000"/>
                  </a:moveTo>
                  <a:lnTo>
                    <a:pt x="3030" y="9808"/>
                  </a:lnTo>
                  <a:lnTo>
                    <a:pt x="4848" y="9425"/>
                  </a:lnTo>
                  <a:lnTo>
                    <a:pt x="5152" y="9042"/>
                  </a:lnTo>
                  <a:lnTo>
                    <a:pt x="6667" y="8850"/>
                  </a:lnTo>
                  <a:lnTo>
                    <a:pt x="9091" y="7891"/>
                  </a:lnTo>
                  <a:lnTo>
                    <a:pt x="8182" y="6741"/>
                  </a:lnTo>
                  <a:lnTo>
                    <a:pt x="8485" y="6166"/>
                  </a:lnTo>
                  <a:lnTo>
                    <a:pt x="8788" y="5176"/>
                  </a:lnTo>
                  <a:lnTo>
                    <a:pt x="9697" y="4792"/>
                  </a:lnTo>
                  <a:lnTo>
                    <a:pt x="10000" y="2492"/>
                  </a:lnTo>
                  <a:lnTo>
                    <a:pt x="2727" y="0"/>
                  </a:lnTo>
                  <a:lnTo>
                    <a:pt x="1515" y="383"/>
                  </a:lnTo>
                  <a:lnTo>
                    <a:pt x="1515" y="575"/>
                  </a:lnTo>
                  <a:lnTo>
                    <a:pt x="1818" y="1534"/>
                  </a:lnTo>
                  <a:lnTo>
                    <a:pt x="2424" y="1917"/>
                  </a:lnTo>
                  <a:lnTo>
                    <a:pt x="1818" y="4217"/>
                  </a:lnTo>
                  <a:lnTo>
                    <a:pt x="303" y="5367"/>
                  </a:lnTo>
                  <a:lnTo>
                    <a:pt x="303" y="5367"/>
                  </a:lnTo>
                  <a:lnTo>
                    <a:pt x="0" y="5591"/>
                  </a:lnTo>
                  <a:lnTo>
                    <a:pt x="606" y="6166"/>
                  </a:lnTo>
                  <a:lnTo>
                    <a:pt x="1515" y="6358"/>
                  </a:lnTo>
                  <a:lnTo>
                    <a:pt x="292" y="8953"/>
                  </a:lnTo>
                  <a:lnTo>
                    <a:pt x="1818" y="10000"/>
                  </a:ln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187" name="ZA"/>
            <p:cNvSpPr>
              <a:spLocks/>
            </p:cNvSpPr>
            <p:nvPr/>
          </p:nvSpPr>
          <p:spPr bwMode="auto">
            <a:xfrm>
              <a:off x="4684582" y="4982270"/>
              <a:ext cx="391255" cy="354009"/>
            </a:xfrm>
            <a:custGeom>
              <a:avLst/>
              <a:gdLst>
                <a:gd name="T0" fmla="*/ 2147483647 w 51"/>
                <a:gd name="T1" fmla="*/ 2147483647 h 45"/>
                <a:gd name="T2" fmla="*/ 2147483647 w 51"/>
                <a:gd name="T3" fmla="*/ 2147483647 h 45"/>
                <a:gd name="T4" fmla="*/ 2147483647 w 51"/>
                <a:gd name="T5" fmla="*/ 2147483647 h 45"/>
                <a:gd name="T6" fmla="*/ 2147483647 w 51"/>
                <a:gd name="T7" fmla="*/ 2147483647 h 45"/>
                <a:gd name="T8" fmla="*/ 2147483647 w 51"/>
                <a:gd name="T9" fmla="*/ 0 h 45"/>
                <a:gd name="T10" fmla="*/ 2147483647 w 51"/>
                <a:gd name="T11" fmla="*/ 2147483647 h 45"/>
                <a:gd name="T12" fmla="*/ 2147483647 w 51"/>
                <a:gd name="T13" fmla="*/ 2147483647 h 45"/>
                <a:gd name="T14" fmla="*/ 2147483647 w 51"/>
                <a:gd name="T15" fmla="*/ 2147483647 h 45"/>
                <a:gd name="T16" fmla="*/ 2147483647 w 51"/>
                <a:gd name="T17" fmla="*/ 2147483647 h 45"/>
                <a:gd name="T18" fmla="*/ 2147483647 w 51"/>
                <a:gd name="T19" fmla="*/ 2147483647 h 45"/>
                <a:gd name="T20" fmla="*/ 2147483647 w 51"/>
                <a:gd name="T21" fmla="*/ 2147483647 h 45"/>
                <a:gd name="T22" fmla="*/ 2147483647 w 51"/>
                <a:gd name="T23" fmla="*/ 2147483647 h 45"/>
                <a:gd name="T24" fmla="*/ 2147483647 w 51"/>
                <a:gd name="T25" fmla="*/ 2147483647 h 45"/>
                <a:gd name="T26" fmla="*/ 2147483647 w 51"/>
                <a:gd name="T27" fmla="*/ 2147483647 h 45"/>
                <a:gd name="T28" fmla="*/ 2147483647 w 51"/>
                <a:gd name="T29" fmla="*/ 2147483647 h 45"/>
                <a:gd name="T30" fmla="*/ 2147483647 w 51"/>
                <a:gd name="T31" fmla="*/ 2147483647 h 45"/>
                <a:gd name="T32" fmla="*/ 2147483647 w 51"/>
                <a:gd name="T33" fmla="*/ 2147483647 h 45"/>
                <a:gd name="T34" fmla="*/ 0 w 51"/>
                <a:gd name="T35" fmla="*/ 2147483647 h 45"/>
                <a:gd name="T36" fmla="*/ 2147483647 w 51"/>
                <a:gd name="T37" fmla="*/ 2147483647 h 45"/>
                <a:gd name="T38" fmla="*/ 2147483647 w 51"/>
                <a:gd name="T39" fmla="*/ 2147483647 h 45"/>
                <a:gd name="T40" fmla="*/ 2147483647 w 51"/>
                <a:gd name="T41" fmla="*/ 2147483647 h 45"/>
                <a:gd name="T42" fmla="*/ 2147483647 w 51"/>
                <a:gd name="T43" fmla="*/ 2147483647 h 45"/>
                <a:gd name="T44" fmla="*/ 2147483647 w 51"/>
                <a:gd name="T45" fmla="*/ 2147483647 h 45"/>
                <a:gd name="T46" fmla="*/ 2147483647 w 51"/>
                <a:gd name="T47" fmla="*/ 2147483647 h 45"/>
                <a:gd name="T48" fmla="*/ 2147483647 w 51"/>
                <a:gd name="T49" fmla="*/ 2147483647 h 45"/>
                <a:gd name="T50" fmla="*/ 2147483647 w 51"/>
                <a:gd name="T51" fmla="*/ 2147483647 h 45"/>
                <a:gd name="T52" fmla="*/ 2147483647 w 51"/>
                <a:gd name="T53" fmla="*/ 2147483647 h 45"/>
                <a:gd name="T54" fmla="*/ 2147483647 w 51"/>
                <a:gd name="T55" fmla="*/ 2147483647 h 45"/>
                <a:gd name="T56" fmla="*/ 2147483647 w 51"/>
                <a:gd name="T57" fmla="*/ 2147483647 h 45"/>
                <a:gd name="T58" fmla="*/ 2147483647 w 51"/>
                <a:gd name="T59" fmla="*/ 2147483647 h 45"/>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51" h="45">
                  <a:moveTo>
                    <a:pt x="48" y="1"/>
                  </a:moveTo>
                  <a:cubicBezTo>
                    <a:pt x="47" y="1"/>
                    <a:pt x="47" y="1"/>
                    <a:pt x="47" y="1"/>
                  </a:cubicBezTo>
                  <a:cubicBezTo>
                    <a:pt x="46" y="2"/>
                    <a:pt x="46" y="2"/>
                    <a:pt x="46" y="2"/>
                  </a:cubicBezTo>
                  <a:cubicBezTo>
                    <a:pt x="47" y="1"/>
                    <a:pt x="47" y="1"/>
                    <a:pt x="47" y="1"/>
                  </a:cubicBezTo>
                  <a:cubicBezTo>
                    <a:pt x="41" y="0"/>
                    <a:pt x="41" y="0"/>
                    <a:pt x="41" y="0"/>
                  </a:cubicBezTo>
                  <a:cubicBezTo>
                    <a:pt x="34" y="5"/>
                    <a:pt x="34" y="5"/>
                    <a:pt x="34" y="5"/>
                  </a:cubicBezTo>
                  <a:cubicBezTo>
                    <a:pt x="26" y="12"/>
                    <a:pt x="26" y="12"/>
                    <a:pt x="26" y="12"/>
                  </a:cubicBezTo>
                  <a:cubicBezTo>
                    <a:pt x="22" y="12"/>
                    <a:pt x="22" y="12"/>
                    <a:pt x="22" y="12"/>
                  </a:cubicBezTo>
                  <a:cubicBezTo>
                    <a:pt x="17" y="15"/>
                    <a:pt x="17" y="15"/>
                    <a:pt x="17" y="15"/>
                  </a:cubicBezTo>
                  <a:cubicBezTo>
                    <a:pt x="14" y="15"/>
                    <a:pt x="14" y="15"/>
                    <a:pt x="14" y="15"/>
                  </a:cubicBezTo>
                  <a:cubicBezTo>
                    <a:pt x="13" y="13"/>
                    <a:pt x="13" y="13"/>
                    <a:pt x="13" y="13"/>
                  </a:cubicBezTo>
                  <a:cubicBezTo>
                    <a:pt x="11" y="9"/>
                    <a:pt x="11" y="9"/>
                    <a:pt x="11" y="9"/>
                  </a:cubicBezTo>
                  <a:cubicBezTo>
                    <a:pt x="11" y="11"/>
                    <a:pt x="11" y="11"/>
                    <a:pt x="11" y="11"/>
                  </a:cubicBezTo>
                  <a:cubicBezTo>
                    <a:pt x="11" y="9"/>
                    <a:pt x="11" y="9"/>
                    <a:pt x="11" y="9"/>
                  </a:cubicBezTo>
                  <a:cubicBezTo>
                    <a:pt x="9" y="23"/>
                    <a:pt x="9" y="23"/>
                    <a:pt x="9" y="23"/>
                  </a:cubicBezTo>
                  <a:cubicBezTo>
                    <a:pt x="6" y="24"/>
                    <a:pt x="6" y="24"/>
                    <a:pt x="6" y="24"/>
                  </a:cubicBezTo>
                  <a:cubicBezTo>
                    <a:pt x="1" y="22"/>
                    <a:pt x="1" y="22"/>
                    <a:pt x="1" y="22"/>
                  </a:cubicBezTo>
                  <a:cubicBezTo>
                    <a:pt x="0" y="24"/>
                    <a:pt x="0" y="24"/>
                    <a:pt x="0" y="24"/>
                  </a:cubicBezTo>
                  <a:cubicBezTo>
                    <a:pt x="2" y="27"/>
                    <a:pt x="2" y="27"/>
                    <a:pt x="2" y="27"/>
                  </a:cubicBezTo>
                  <a:cubicBezTo>
                    <a:pt x="5" y="35"/>
                    <a:pt x="5" y="35"/>
                    <a:pt x="5" y="35"/>
                  </a:cubicBezTo>
                  <a:cubicBezTo>
                    <a:pt x="5" y="39"/>
                    <a:pt x="5" y="39"/>
                    <a:pt x="5" y="39"/>
                  </a:cubicBezTo>
                  <a:cubicBezTo>
                    <a:pt x="9" y="45"/>
                    <a:pt x="9" y="45"/>
                    <a:pt x="9" y="45"/>
                  </a:cubicBezTo>
                  <a:cubicBezTo>
                    <a:pt x="17" y="43"/>
                    <a:pt x="17" y="43"/>
                    <a:pt x="17" y="43"/>
                  </a:cubicBezTo>
                  <a:cubicBezTo>
                    <a:pt x="25" y="42"/>
                    <a:pt x="25" y="42"/>
                    <a:pt x="25" y="42"/>
                  </a:cubicBezTo>
                  <a:cubicBezTo>
                    <a:pt x="32" y="41"/>
                    <a:pt x="32" y="41"/>
                    <a:pt x="32" y="41"/>
                  </a:cubicBezTo>
                  <a:cubicBezTo>
                    <a:pt x="47" y="25"/>
                    <a:pt x="47" y="25"/>
                    <a:pt x="47" y="25"/>
                  </a:cubicBezTo>
                  <a:cubicBezTo>
                    <a:pt x="47" y="25"/>
                    <a:pt x="50" y="19"/>
                    <a:pt x="51" y="16"/>
                  </a:cubicBezTo>
                  <a:cubicBezTo>
                    <a:pt x="51" y="16"/>
                    <a:pt x="51" y="16"/>
                    <a:pt x="51" y="16"/>
                  </a:cubicBezTo>
                  <a:cubicBezTo>
                    <a:pt x="49" y="16"/>
                    <a:pt x="49" y="16"/>
                    <a:pt x="49" y="16"/>
                  </a:cubicBezTo>
                  <a:lnTo>
                    <a:pt x="48" y="1"/>
                  </a:ln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188" name="BW"/>
            <p:cNvSpPr>
              <a:spLocks/>
            </p:cNvSpPr>
            <p:nvPr/>
          </p:nvSpPr>
          <p:spPr bwMode="auto">
            <a:xfrm>
              <a:off x="4770306" y="4866384"/>
              <a:ext cx="236534" cy="234948"/>
            </a:xfrm>
            <a:custGeom>
              <a:avLst/>
              <a:gdLst>
                <a:gd name="T0" fmla="*/ 2147483647 w 180"/>
                <a:gd name="T1" fmla="*/ 2147483647 h 180"/>
                <a:gd name="T2" fmla="*/ 2147483647 w 180"/>
                <a:gd name="T3" fmla="*/ 2147483647 h 180"/>
                <a:gd name="T4" fmla="*/ 2147483647 w 180"/>
                <a:gd name="T5" fmla="*/ 2147483647 h 180"/>
                <a:gd name="T6" fmla="*/ 2147483647 w 180"/>
                <a:gd name="T7" fmla="*/ 2147483647 h 180"/>
                <a:gd name="T8" fmla="*/ 2147483647 w 180"/>
                <a:gd name="T9" fmla="*/ 2147483647 h 180"/>
                <a:gd name="T10" fmla="*/ 2147483647 w 180"/>
                <a:gd name="T11" fmla="*/ 2147483647 h 180"/>
                <a:gd name="T12" fmla="*/ 2147483647 w 180"/>
                <a:gd name="T13" fmla="*/ 2147483647 h 180"/>
                <a:gd name="T14" fmla="*/ 2147483647 w 180"/>
                <a:gd name="T15" fmla="*/ 0 h 180"/>
                <a:gd name="T16" fmla="*/ 2147483647 w 180"/>
                <a:gd name="T17" fmla="*/ 2147483647 h 180"/>
                <a:gd name="T18" fmla="*/ 2147483647 w 180"/>
                <a:gd name="T19" fmla="*/ 2147483647 h 180"/>
                <a:gd name="T20" fmla="*/ 2147483647 w 180"/>
                <a:gd name="T21" fmla="*/ 2147483647 h 180"/>
                <a:gd name="T22" fmla="*/ 0 w 180"/>
                <a:gd name="T23" fmla="*/ 2147483647 h 180"/>
                <a:gd name="T24" fmla="*/ 0 w 180"/>
                <a:gd name="T25" fmla="*/ 2147483647 h 180"/>
                <a:gd name="T26" fmla="*/ 2147483647 w 180"/>
                <a:gd name="T27" fmla="*/ 2147483647 h 180"/>
                <a:gd name="T28" fmla="*/ 2147483647 w 180"/>
                <a:gd name="T29" fmla="*/ 2147483647 h 180"/>
                <a:gd name="T30" fmla="*/ 2147483647 w 180"/>
                <a:gd name="T31" fmla="*/ 2147483647 h 180"/>
                <a:gd name="T32" fmla="*/ 2147483647 w 180"/>
                <a:gd name="T33" fmla="*/ 2147483647 h 180"/>
                <a:gd name="T34" fmla="*/ 2147483647 w 180"/>
                <a:gd name="T35" fmla="*/ 2147483647 h 180"/>
                <a:gd name="T36" fmla="*/ 2147483647 w 180"/>
                <a:gd name="T37" fmla="*/ 2147483647 h 180"/>
                <a:gd name="T38" fmla="*/ 2147483647 w 180"/>
                <a:gd name="T39" fmla="*/ 2147483647 h 180"/>
                <a:gd name="T40" fmla="*/ 2147483647 w 180"/>
                <a:gd name="T41" fmla="*/ 2147483647 h 180"/>
                <a:gd name="T42" fmla="*/ 2147483647 w 180"/>
                <a:gd name="T43" fmla="*/ 2147483647 h 18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80" h="180">
                  <a:moveTo>
                    <a:pt x="144" y="54"/>
                  </a:moveTo>
                  <a:lnTo>
                    <a:pt x="132" y="54"/>
                  </a:lnTo>
                  <a:lnTo>
                    <a:pt x="114" y="30"/>
                  </a:lnTo>
                  <a:lnTo>
                    <a:pt x="102" y="6"/>
                  </a:lnTo>
                  <a:lnTo>
                    <a:pt x="96" y="6"/>
                  </a:lnTo>
                  <a:lnTo>
                    <a:pt x="84" y="12"/>
                  </a:lnTo>
                  <a:lnTo>
                    <a:pt x="96" y="6"/>
                  </a:lnTo>
                  <a:lnTo>
                    <a:pt x="84" y="0"/>
                  </a:lnTo>
                  <a:lnTo>
                    <a:pt x="66" y="6"/>
                  </a:lnTo>
                  <a:lnTo>
                    <a:pt x="18" y="18"/>
                  </a:lnTo>
                  <a:lnTo>
                    <a:pt x="12" y="84"/>
                  </a:lnTo>
                  <a:lnTo>
                    <a:pt x="0" y="90"/>
                  </a:lnTo>
                  <a:lnTo>
                    <a:pt x="0" y="144"/>
                  </a:lnTo>
                  <a:lnTo>
                    <a:pt x="12" y="168"/>
                  </a:lnTo>
                  <a:lnTo>
                    <a:pt x="18" y="180"/>
                  </a:lnTo>
                  <a:lnTo>
                    <a:pt x="36" y="180"/>
                  </a:lnTo>
                  <a:lnTo>
                    <a:pt x="66" y="162"/>
                  </a:lnTo>
                  <a:lnTo>
                    <a:pt x="90" y="162"/>
                  </a:lnTo>
                  <a:lnTo>
                    <a:pt x="138" y="120"/>
                  </a:lnTo>
                  <a:lnTo>
                    <a:pt x="180" y="90"/>
                  </a:lnTo>
                  <a:lnTo>
                    <a:pt x="150" y="78"/>
                  </a:lnTo>
                  <a:lnTo>
                    <a:pt x="144" y="54"/>
                  </a:ln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189" name="MZ"/>
            <p:cNvSpPr>
              <a:spLocks/>
            </p:cNvSpPr>
            <p:nvPr/>
          </p:nvSpPr>
          <p:spPr bwMode="auto">
            <a:xfrm>
              <a:off x="5013191" y="4685410"/>
              <a:ext cx="261082" cy="422272"/>
            </a:xfrm>
            <a:custGeom>
              <a:avLst/>
              <a:gdLst>
                <a:gd name="T0" fmla="*/ 2147483647 w 34"/>
                <a:gd name="T1" fmla="*/ 2147483647 h 54"/>
                <a:gd name="T2" fmla="*/ 2147483647 w 34"/>
                <a:gd name="T3" fmla="*/ 2147483647 h 54"/>
                <a:gd name="T4" fmla="*/ 2147483647 w 34"/>
                <a:gd name="T5" fmla="*/ 2147483647 h 54"/>
                <a:gd name="T6" fmla="*/ 2147483647 w 34"/>
                <a:gd name="T7" fmla="*/ 2147483647 h 54"/>
                <a:gd name="T8" fmla="*/ 2147483647 w 34"/>
                <a:gd name="T9" fmla="*/ 2147483647 h 54"/>
                <a:gd name="T10" fmla="*/ 2147483647 w 34"/>
                <a:gd name="T11" fmla="*/ 2147483647 h 54"/>
                <a:gd name="T12" fmla="*/ 2147483647 w 34"/>
                <a:gd name="T13" fmla="*/ 2147483647 h 54"/>
                <a:gd name="T14" fmla="*/ 2147483647 w 34"/>
                <a:gd name="T15" fmla="*/ 2147483647 h 54"/>
                <a:gd name="T16" fmla="*/ 2147483647 w 34"/>
                <a:gd name="T17" fmla="*/ 2147483647 h 54"/>
                <a:gd name="T18" fmla="*/ 2147483647 w 34"/>
                <a:gd name="T19" fmla="*/ 2147483647 h 54"/>
                <a:gd name="T20" fmla="*/ 2147483647 w 34"/>
                <a:gd name="T21" fmla="*/ 2147483647 h 54"/>
                <a:gd name="T22" fmla="*/ 2147483647 w 34"/>
                <a:gd name="T23" fmla="*/ 2147483647 h 54"/>
                <a:gd name="T24" fmla="*/ 0 w 34"/>
                <a:gd name="T25" fmla="*/ 2147483647 h 54"/>
                <a:gd name="T26" fmla="*/ 0 w 34"/>
                <a:gd name="T27" fmla="*/ 2147483647 h 54"/>
                <a:gd name="T28" fmla="*/ 2147483647 w 34"/>
                <a:gd name="T29" fmla="*/ 2147483647 h 54"/>
                <a:gd name="T30" fmla="*/ 2147483647 w 34"/>
                <a:gd name="T31" fmla="*/ 2147483647 h 54"/>
                <a:gd name="T32" fmla="*/ 2147483647 w 34"/>
                <a:gd name="T33" fmla="*/ 2147483647 h 54"/>
                <a:gd name="T34" fmla="*/ 2147483647 w 34"/>
                <a:gd name="T35" fmla="*/ 2147483647 h 54"/>
                <a:gd name="T36" fmla="*/ 2147483647 w 34"/>
                <a:gd name="T37" fmla="*/ 2147483647 h 54"/>
                <a:gd name="T38" fmla="*/ 2147483647 w 34"/>
                <a:gd name="T39" fmla="*/ 2147483647 h 54"/>
                <a:gd name="T40" fmla="*/ 2147483647 w 34"/>
                <a:gd name="T41" fmla="*/ 2147483647 h 54"/>
                <a:gd name="T42" fmla="*/ 2147483647 w 34"/>
                <a:gd name="T43" fmla="*/ 2147483647 h 54"/>
                <a:gd name="T44" fmla="*/ 2147483647 w 34"/>
                <a:gd name="T45" fmla="*/ 2147483647 h 54"/>
                <a:gd name="T46" fmla="*/ 2147483647 w 34"/>
                <a:gd name="T47" fmla="*/ 2147483647 h 54"/>
                <a:gd name="T48" fmla="*/ 2147483647 w 34"/>
                <a:gd name="T49" fmla="*/ 2147483647 h 54"/>
                <a:gd name="T50" fmla="*/ 2147483647 w 34"/>
                <a:gd name="T51" fmla="*/ 2147483647 h 54"/>
                <a:gd name="T52" fmla="*/ 2147483647 w 34"/>
                <a:gd name="T53" fmla="*/ 2147483647 h 54"/>
                <a:gd name="T54" fmla="*/ 2147483647 w 34"/>
                <a:gd name="T55" fmla="*/ 2147483647 h 54"/>
                <a:gd name="T56" fmla="*/ 2147483647 w 34"/>
                <a:gd name="T57" fmla="*/ 2147483647 h 54"/>
                <a:gd name="T58" fmla="*/ 2147483647 w 34"/>
                <a:gd name="T59" fmla="*/ 2147483647 h 54"/>
                <a:gd name="T60" fmla="*/ 2147483647 w 34"/>
                <a:gd name="T61" fmla="*/ 2147483647 h 54"/>
                <a:gd name="T62" fmla="*/ 2147483647 w 34"/>
                <a:gd name="T63" fmla="*/ 2147483647 h 54"/>
                <a:gd name="T64" fmla="*/ 2147483647 w 34"/>
                <a:gd name="T65" fmla="*/ 2147483647 h 54"/>
                <a:gd name="T66" fmla="*/ 2147483647 w 34"/>
                <a:gd name="T67" fmla="*/ 2147483647 h 54"/>
                <a:gd name="T68" fmla="*/ 2147483647 w 34"/>
                <a:gd name="T69" fmla="*/ 0 h 54"/>
                <a:gd name="T70" fmla="*/ 2147483647 w 34"/>
                <a:gd name="T71" fmla="*/ 0 h 54"/>
                <a:gd name="T72" fmla="*/ 2147483647 w 34"/>
                <a:gd name="T73" fmla="*/ 2147483647 h 54"/>
                <a:gd name="T74" fmla="*/ 2147483647 w 34"/>
                <a:gd name="T75" fmla="*/ 2147483647 h 5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4" h="54">
                  <a:moveTo>
                    <a:pt x="22" y="2"/>
                  </a:moveTo>
                  <a:cubicBezTo>
                    <a:pt x="17" y="3"/>
                    <a:pt x="17" y="3"/>
                    <a:pt x="17" y="3"/>
                  </a:cubicBezTo>
                  <a:cubicBezTo>
                    <a:pt x="17" y="4"/>
                    <a:pt x="17" y="4"/>
                    <a:pt x="17" y="4"/>
                  </a:cubicBezTo>
                  <a:cubicBezTo>
                    <a:pt x="17" y="3"/>
                    <a:pt x="17" y="3"/>
                    <a:pt x="17" y="3"/>
                  </a:cubicBezTo>
                  <a:cubicBezTo>
                    <a:pt x="16" y="3"/>
                    <a:pt x="16" y="3"/>
                    <a:pt x="16" y="3"/>
                  </a:cubicBezTo>
                  <a:cubicBezTo>
                    <a:pt x="16" y="8"/>
                    <a:pt x="16" y="8"/>
                    <a:pt x="16" y="8"/>
                  </a:cubicBezTo>
                  <a:cubicBezTo>
                    <a:pt x="19" y="13"/>
                    <a:pt x="19" y="13"/>
                    <a:pt x="19" y="13"/>
                  </a:cubicBezTo>
                  <a:cubicBezTo>
                    <a:pt x="19" y="16"/>
                    <a:pt x="19" y="16"/>
                    <a:pt x="19" y="16"/>
                  </a:cubicBezTo>
                  <a:cubicBezTo>
                    <a:pt x="16" y="18"/>
                    <a:pt x="16" y="18"/>
                    <a:pt x="16" y="18"/>
                  </a:cubicBezTo>
                  <a:cubicBezTo>
                    <a:pt x="15" y="16"/>
                    <a:pt x="15" y="16"/>
                    <a:pt x="15" y="16"/>
                  </a:cubicBezTo>
                  <a:cubicBezTo>
                    <a:pt x="13" y="13"/>
                    <a:pt x="13" y="13"/>
                    <a:pt x="13" y="13"/>
                  </a:cubicBezTo>
                  <a:cubicBezTo>
                    <a:pt x="9" y="11"/>
                    <a:pt x="9" y="11"/>
                    <a:pt x="9" y="11"/>
                  </a:cubicBezTo>
                  <a:cubicBezTo>
                    <a:pt x="0" y="15"/>
                    <a:pt x="0" y="15"/>
                    <a:pt x="0" y="15"/>
                  </a:cubicBezTo>
                  <a:cubicBezTo>
                    <a:pt x="0" y="16"/>
                    <a:pt x="0" y="16"/>
                    <a:pt x="0" y="16"/>
                  </a:cubicBezTo>
                  <a:cubicBezTo>
                    <a:pt x="1" y="16"/>
                    <a:pt x="1" y="16"/>
                    <a:pt x="1" y="16"/>
                  </a:cubicBezTo>
                  <a:cubicBezTo>
                    <a:pt x="2" y="15"/>
                    <a:pt x="2" y="15"/>
                    <a:pt x="2" y="15"/>
                  </a:cubicBezTo>
                  <a:cubicBezTo>
                    <a:pt x="1" y="16"/>
                    <a:pt x="1" y="16"/>
                    <a:pt x="1" y="16"/>
                  </a:cubicBezTo>
                  <a:cubicBezTo>
                    <a:pt x="9" y="19"/>
                    <a:pt x="9" y="19"/>
                    <a:pt x="9" y="19"/>
                  </a:cubicBezTo>
                  <a:cubicBezTo>
                    <a:pt x="9" y="23"/>
                    <a:pt x="9" y="23"/>
                    <a:pt x="9" y="23"/>
                  </a:cubicBezTo>
                  <a:cubicBezTo>
                    <a:pt x="9" y="28"/>
                    <a:pt x="9" y="28"/>
                    <a:pt x="9" y="28"/>
                  </a:cubicBezTo>
                  <a:cubicBezTo>
                    <a:pt x="7" y="36"/>
                    <a:pt x="7" y="36"/>
                    <a:pt x="7" y="36"/>
                  </a:cubicBezTo>
                  <a:cubicBezTo>
                    <a:pt x="5" y="39"/>
                    <a:pt x="5" y="39"/>
                    <a:pt x="5" y="39"/>
                  </a:cubicBezTo>
                  <a:cubicBezTo>
                    <a:pt x="6" y="39"/>
                    <a:pt x="6" y="39"/>
                    <a:pt x="6" y="39"/>
                  </a:cubicBezTo>
                  <a:cubicBezTo>
                    <a:pt x="7" y="54"/>
                    <a:pt x="7" y="54"/>
                    <a:pt x="7" y="54"/>
                  </a:cubicBezTo>
                  <a:cubicBezTo>
                    <a:pt x="9" y="54"/>
                    <a:pt x="9" y="54"/>
                    <a:pt x="9" y="54"/>
                  </a:cubicBezTo>
                  <a:cubicBezTo>
                    <a:pt x="10" y="51"/>
                    <a:pt x="9" y="51"/>
                    <a:pt x="9" y="51"/>
                  </a:cubicBezTo>
                  <a:cubicBezTo>
                    <a:pt x="16" y="45"/>
                    <a:pt x="16" y="45"/>
                    <a:pt x="16" y="45"/>
                  </a:cubicBezTo>
                  <a:cubicBezTo>
                    <a:pt x="18" y="40"/>
                    <a:pt x="18" y="40"/>
                    <a:pt x="18" y="40"/>
                  </a:cubicBezTo>
                  <a:cubicBezTo>
                    <a:pt x="16" y="31"/>
                    <a:pt x="16" y="31"/>
                    <a:pt x="16" y="31"/>
                  </a:cubicBezTo>
                  <a:cubicBezTo>
                    <a:pt x="21" y="25"/>
                    <a:pt x="21" y="25"/>
                    <a:pt x="21" y="25"/>
                  </a:cubicBezTo>
                  <a:cubicBezTo>
                    <a:pt x="30" y="20"/>
                    <a:pt x="30" y="20"/>
                    <a:pt x="30" y="20"/>
                  </a:cubicBezTo>
                  <a:cubicBezTo>
                    <a:pt x="33" y="16"/>
                    <a:pt x="33" y="16"/>
                    <a:pt x="33" y="16"/>
                  </a:cubicBezTo>
                  <a:cubicBezTo>
                    <a:pt x="34" y="11"/>
                    <a:pt x="34" y="11"/>
                    <a:pt x="34" y="11"/>
                  </a:cubicBezTo>
                  <a:cubicBezTo>
                    <a:pt x="33" y="4"/>
                    <a:pt x="33" y="4"/>
                    <a:pt x="33" y="4"/>
                  </a:cubicBezTo>
                  <a:cubicBezTo>
                    <a:pt x="33" y="0"/>
                    <a:pt x="33" y="0"/>
                    <a:pt x="33" y="0"/>
                  </a:cubicBezTo>
                  <a:cubicBezTo>
                    <a:pt x="33" y="0"/>
                    <a:pt x="33" y="0"/>
                    <a:pt x="33" y="0"/>
                  </a:cubicBezTo>
                  <a:cubicBezTo>
                    <a:pt x="30" y="1"/>
                    <a:pt x="30" y="1"/>
                    <a:pt x="30" y="1"/>
                  </a:cubicBezTo>
                  <a:lnTo>
                    <a:pt x="22" y="2"/>
                  </a:ln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190" name="TZ"/>
            <p:cNvSpPr>
              <a:spLocks/>
            </p:cNvSpPr>
            <p:nvPr/>
          </p:nvSpPr>
          <p:spPr bwMode="auto">
            <a:xfrm>
              <a:off x="5013191" y="4444112"/>
              <a:ext cx="253145" cy="265111"/>
            </a:xfrm>
            <a:custGeom>
              <a:avLst/>
              <a:gdLst>
                <a:gd name="T0" fmla="*/ 2147483647 w 33"/>
                <a:gd name="T1" fmla="*/ 2147483647 h 34"/>
                <a:gd name="T2" fmla="*/ 2147483647 w 33"/>
                <a:gd name="T3" fmla="*/ 2147483647 h 34"/>
                <a:gd name="T4" fmla="*/ 2147483647 w 33"/>
                <a:gd name="T5" fmla="*/ 2147483647 h 34"/>
                <a:gd name="T6" fmla="*/ 2147483647 w 33"/>
                <a:gd name="T7" fmla="*/ 2147483647 h 34"/>
                <a:gd name="T8" fmla="*/ 2147483647 w 33"/>
                <a:gd name="T9" fmla="*/ 0 h 34"/>
                <a:gd name="T10" fmla="*/ 2147483647 w 33"/>
                <a:gd name="T11" fmla="*/ 2147483647 h 34"/>
                <a:gd name="T12" fmla="*/ 2147483647 w 33"/>
                <a:gd name="T13" fmla="*/ 2147483647 h 34"/>
                <a:gd name="T14" fmla="*/ 2147483647 w 33"/>
                <a:gd name="T15" fmla="*/ 2147483647 h 34"/>
                <a:gd name="T16" fmla="*/ 2147483647 w 33"/>
                <a:gd name="T17" fmla="*/ 2147483647 h 34"/>
                <a:gd name="T18" fmla="*/ 2147483647 w 33"/>
                <a:gd name="T19" fmla="*/ 2147483647 h 34"/>
                <a:gd name="T20" fmla="*/ 2147483647 w 33"/>
                <a:gd name="T21" fmla="*/ 2147483647 h 34"/>
                <a:gd name="T22" fmla="*/ 0 w 33"/>
                <a:gd name="T23" fmla="*/ 2147483647 h 34"/>
                <a:gd name="T24" fmla="*/ 2147483647 w 33"/>
                <a:gd name="T25" fmla="*/ 2147483647 h 34"/>
                <a:gd name="T26" fmla="*/ 2147483647 w 33"/>
                <a:gd name="T27" fmla="*/ 2147483647 h 34"/>
                <a:gd name="T28" fmla="*/ 2147483647 w 33"/>
                <a:gd name="T29" fmla="*/ 2147483647 h 34"/>
                <a:gd name="T30" fmla="*/ 2147483647 w 33"/>
                <a:gd name="T31" fmla="*/ 2147483647 h 34"/>
                <a:gd name="T32" fmla="*/ 2147483647 w 33"/>
                <a:gd name="T33" fmla="*/ 2147483647 h 34"/>
                <a:gd name="T34" fmla="*/ 2147483647 w 33"/>
                <a:gd name="T35" fmla="*/ 2147483647 h 34"/>
                <a:gd name="T36" fmla="*/ 2147483647 w 33"/>
                <a:gd name="T37" fmla="*/ 2147483647 h 34"/>
                <a:gd name="T38" fmla="*/ 2147483647 w 33"/>
                <a:gd name="T39" fmla="*/ 2147483647 h 34"/>
                <a:gd name="T40" fmla="*/ 2147483647 w 33"/>
                <a:gd name="T41" fmla="*/ 2147483647 h 34"/>
                <a:gd name="T42" fmla="*/ 2147483647 w 33"/>
                <a:gd name="T43" fmla="*/ 2147483647 h 34"/>
                <a:gd name="T44" fmla="*/ 2147483647 w 33"/>
                <a:gd name="T45" fmla="*/ 2147483647 h 34"/>
                <a:gd name="T46" fmla="*/ 2147483647 w 33"/>
                <a:gd name="T47" fmla="*/ 2147483647 h 34"/>
                <a:gd name="T48" fmla="*/ 2147483647 w 33"/>
                <a:gd name="T49" fmla="*/ 2147483647 h 34"/>
                <a:gd name="T50" fmla="*/ 2147483647 w 33"/>
                <a:gd name="T51" fmla="*/ 2147483647 h 34"/>
                <a:gd name="T52" fmla="*/ 2147483647 w 33"/>
                <a:gd name="T53" fmla="*/ 2147483647 h 3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33" h="34">
                  <a:moveTo>
                    <a:pt x="25" y="6"/>
                  </a:moveTo>
                  <a:cubicBezTo>
                    <a:pt x="14" y="1"/>
                    <a:pt x="14" y="1"/>
                    <a:pt x="14" y="1"/>
                  </a:cubicBezTo>
                  <a:cubicBezTo>
                    <a:pt x="14" y="1"/>
                    <a:pt x="14" y="1"/>
                    <a:pt x="14" y="1"/>
                  </a:cubicBezTo>
                  <a:cubicBezTo>
                    <a:pt x="14" y="1"/>
                    <a:pt x="14" y="1"/>
                    <a:pt x="14" y="1"/>
                  </a:cubicBezTo>
                  <a:cubicBezTo>
                    <a:pt x="13" y="0"/>
                    <a:pt x="13" y="0"/>
                    <a:pt x="13" y="0"/>
                  </a:cubicBezTo>
                  <a:cubicBezTo>
                    <a:pt x="12" y="2"/>
                    <a:pt x="12" y="2"/>
                    <a:pt x="12" y="2"/>
                  </a:cubicBezTo>
                  <a:cubicBezTo>
                    <a:pt x="12" y="5"/>
                    <a:pt x="12" y="5"/>
                    <a:pt x="12" y="5"/>
                  </a:cubicBezTo>
                  <a:cubicBezTo>
                    <a:pt x="8" y="5"/>
                    <a:pt x="8" y="5"/>
                    <a:pt x="8" y="5"/>
                  </a:cubicBezTo>
                  <a:cubicBezTo>
                    <a:pt x="6" y="1"/>
                    <a:pt x="6" y="1"/>
                    <a:pt x="6" y="1"/>
                  </a:cubicBezTo>
                  <a:cubicBezTo>
                    <a:pt x="1" y="1"/>
                    <a:pt x="1" y="1"/>
                    <a:pt x="1" y="1"/>
                  </a:cubicBezTo>
                  <a:cubicBezTo>
                    <a:pt x="2" y="8"/>
                    <a:pt x="2" y="8"/>
                    <a:pt x="2" y="8"/>
                  </a:cubicBezTo>
                  <a:cubicBezTo>
                    <a:pt x="0" y="11"/>
                    <a:pt x="0" y="11"/>
                    <a:pt x="0" y="11"/>
                  </a:cubicBezTo>
                  <a:cubicBezTo>
                    <a:pt x="2" y="19"/>
                    <a:pt x="2" y="19"/>
                    <a:pt x="2" y="19"/>
                  </a:cubicBezTo>
                  <a:cubicBezTo>
                    <a:pt x="4" y="24"/>
                    <a:pt x="4" y="24"/>
                    <a:pt x="4" y="24"/>
                  </a:cubicBezTo>
                  <a:cubicBezTo>
                    <a:pt x="4" y="24"/>
                    <a:pt x="8" y="26"/>
                    <a:pt x="9" y="26"/>
                  </a:cubicBezTo>
                  <a:cubicBezTo>
                    <a:pt x="9" y="26"/>
                    <a:pt x="14" y="27"/>
                    <a:pt x="14" y="27"/>
                  </a:cubicBezTo>
                  <a:cubicBezTo>
                    <a:pt x="15" y="29"/>
                    <a:pt x="15" y="29"/>
                    <a:pt x="15" y="29"/>
                  </a:cubicBezTo>
                  <a:cubicBezTo>
                    <a:pt x="17" y="34"/>
                    <a:pt x="17" y="34"/>
                    <a:pt x="17" y="34"/>
                  </a:cubicBezTo>
                  <a:cubicBezTo>
                    <a:pt x="22" y="33"/>
                    <a:pt x="22" y="33"/>
                    <a:pt x="22" y="33"/>
                  </a:cubicBezTo>
                  <a:cubicBezTo>
                    <a:pt x="30" y="32"/>
                    <a:pt x="30" y="32"/>
                    <a:pt x="30" y="32"/>
                  </a:cubicBezTo>
                  <a:cubicBezTo>
                    <a:pt x="33" y="31"/>
                    <a:pt x="33" y="31"/>
                    <a:pt x="33" y="31"/>
                  </a:cubicBezTo>
                  <a:cubicBezTo>
                    <a:pt x="31" y="28"/>
                    <a:pt x="31" y="28"/>
                    <a:pt x="31" y="28"/>
                  </a:cubicBezTo>
                  <a:cubicBezTo>
                    <a:pt x="30" y="19"/>
                    <a:pt x="30" y="19"/>
                    <a:pt x="30" y="19"/>
                  </a:cubicBezTo>
                  <a:cubicBezTo>
                    <a:pt x="30" y="19"/>
                    <a:pt x="28" y="15"/>
                    <a:pt x="28" y="14"/>
                  </a:cubicBezTo>
                  <a:cubicBezTo>
                    <a:pt x="28" y="13"/>
                    <a:pt x="29" y="12"/>
                    <a:pt x="30" y="12"/>
                  </a:cubicBezTo>
                  <a:cubicBezTo>
                    <a:pt x="25" y="9"/>
                    <a:pt x="25" y="9"/>
                    <a:pt x="25" y="9"/>
                  </a:cubicBezTo>
                  <a:lnTo>
                    <a:pt x="25" y="6"/>
                  </a:ln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191" name="AO"/>
            <p:cNvSpPr>
              <a:spLocks/>
            </p:cNvSpPr>
            <p:nvPr/>
          </p:nvSpPr>
          <p:spPr bwMode="auto">
            <a:xfrm>
              <a:off x="4573459" y="4567936"/>
              <a:ext cx="298447" cy="298447"/>
            </a:xfrm>
            <a:custGeom>
              <a:avLst/>
              <a:gdLst>
                <a:gd name="T0" fmla="*/ 2147483647 w 38"/>
                <a:gd name="T1" fmla="*/ 2147483647 h 38"/>
                <a:gd name="T2" fmla="*/ 2147483647 w 38"/>
                <a:gd name="T3" fmla="*/ 2147483647 h 38"/>
                <a:gd name="T4" fmla="*/ 2147483647 w 38"/>
                <a:gd name="T5" fmla="*/ 2147483647 h 38"/>
                <a:gd name="T6" fmla="*/ 2147483647 w 38"/>
                <a:gd name="T7" fmla="*/ 2147483647 h 38"/>
                <a:gd name="T8" fmla="*/ 2147483647 w 38"/>
                <a:gd name="T9" fmla="*/ 2147483647 h 38"/>
                <a:gd name="T10" fmla="*/ 2147483647 w 38"/>
                <a:gd name="T11" fmla="*/ 2147483647 h 38"/>
                <a:gd name="T12" fmla="*/ 2147483647 w 38"/>
                <a:gd name="T13" fmla="*/ 2147483647 h 38"/>
                <a:gd name="T14" fmla="*/ 2147483647 w 38"/>
                <a:gd name="T15" fmla="*/ 2147483647 h 38"/>
                <a:gd name="T16" fmla="*/ 2147483647 w 38"/>
                <a:gd name="T17" fmla="*/ 2147483647 h 38"/>
                <a:gd name="T18" fmla="*/ 2147483647 w 38"/>
                <a:gd name="T19" fmla="*/ 2147483647 h 38"/>
                <a:gd name="T20" fmla="*/ 2147483647 w 38"/>
                <a:gd name="T21" fmla="*/ 2147483647 h 38"/>
                <a:gd name="T22" fmla="*/ 2147483647 w 38"/>
                <a:gd name="T23" fmla="*/ 2147483647 h 38"/>
                <a:gd name="T24" fmla="*/ 2147483647 w 38"/>
                <a:gd name="T25" fmla="*/ 2147483647 h 38"/>
                <a:gd name="T26" fmla="*/ 2147483647 w 38"/>
                <a:gd name="T27" fmla="*/ 2147483647 h 38"/>
                <a:gd name="T28" fmla="*/ 2147483647 w 38"/>
                <a:gd name="T29" fmla="*/ 2147483647 h 38"/>
                <a:gd name="T30" fmla="*/ 2147483647 w 38"/>
                <a:gd name="T31" fmla="*/ 2147483647 h 38"/>
                <a:gd name="T32" fmla="*/ 2147483647 w 38"/>
                <a:gd name="T33" fmla="*/ 0 h 38"/>
                <a:gd name="T34" fmla="*/ 2147483647 w 38"/>
                <a:gd name="T35" fmla="*/ 0 h 38"/>
                <a:gd name="T36" fmla="*/ 2147483647 w 38"/>
                <a:gd name="T37" fmla="*/ 2147483647 h 38"/>
                <a:gd name="T38" fmla="*/ 2147483647 w 38"/>
                <a:gd name="T39" fmla="*/ 2147483647 h 38"/>
                <a:gd name="T40" fmla="*/ 2147483647 w 38"/>
                <a:gd name="T41" fmla="*/ 2147483647 h 38"/>
                <a:gd name="T42" fmla="*/ 0 w 38"/>
                <a:gd name="T43" fmla="*/ 2147483647 h 38"/>
                <a:gd name="T44" fmla="*/ 0 w 38"/>
                <a:gd name="T45" fmla="*/ 2147483647 h 38"/>
                <a:gd name="T46" fmla="*/ 2147483647 w 38"/>
                <a:gd name="T47" fmla="*/ 2147483647 h 38"/>
                <a:gd name="T48" fmla="*/ 2147483647 w 38"/>
                <a:gd name="T49" fmla="*/ 2147483647 h 3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38" h="38">
                  <a:moveTo>
                    <a:pt x="4" y="37"/>
                  </a:moveTo>
                  <a:cubicBezTo>
                    <a:pt x="18" y="37"/>
                    <a:pt x="18" y="37"/>
                    <a:pt x="18" y="37"/>
                  </a:cubicBezTo>
                  <a:cubicBezTo>
                    <a:pt x="20" y="38"/>
                    <a:pt x="20" y="38"/>
                    <a:pt x="20" y="38"/>
                  </a:cubicBezTo>
                  <a:cubicBezTo>
                    <a:pt x="28" y="38"/>
                    <a:pt x="28" y="38"/>
                    <a:pt x="28" y="38"/>
                  </a:cubicBezTo>
                  <a:cubicBezTo>
                    <a:pt x="34" y="37"/>
                    <a:pt x="34" y="37"/>
                    <a:pt x="34" y="37"/>
                  </a:cubicBezTo>
                  <a:cubicBezTo>
                    <a:pt x="32" y="33"/>
                    <a:pt x="32" y="33"/>
                    <a:pt x="32" y="33"/>
                  </a:cubicBezTo>
                  <a:cubicBezTo>
                    <a:pt x="32" y="22"/>
                    <a:pt x="32" y="22"/>
                    <a:pt x="32" y="22"/>
                  </a:cubicBezTo>
                  <a:cubicBezTo>
                    <a:pt x="38" y="21"/>
                    <a:pt x="38" y="21"/>
                    <a:pt x="38" y="21"/>
                  </a:cubicBezTo>
                  <a:cubicBezTo>
                    <a:pt x="38" y="17"/>
                    <a:pt x="38" y="17"/>
                    <a:pt x="38" y="17"/>
                  </a:cubicBezTo>
                  <a:cubicBezTo>
                    <a:pt x="37" y="17"/>
                    <a:pt x="37" y="17"/>
                    <a:pt x="37" y="17"/>
                  </a:cubicBezTo>
                  <a:cubicBezTo>
                    <a:pt x="38" y="17"/>
                    <a:pt x="38" y="17"/>
                    <a:pt x="38" y="17"/>
                  </a:cubicBezTo>
                  <a:cubicBezTo>
                    <a:pt x="32" y="16"/>
                    <a:pt x="32" y="16"/>
                    <a:pt x="32" y="16"/>
                  </a:cubicBezTo>
                  <a:cubicBezTo>
                    <a:pt x="30" y="4"/>
                    <a:pt x="30" y="4"/>
                    <a:pt x="30" y="4"/>
                  </a:cubicBezTo>
                  <a:cubicBezTo>
                    <a:pt x="30" y="4"/>
                    <a:pt x="25" y="4"/>
                    <a:pt x="24" y="4"/>
                  </a:cubicBezTo>
                  <a:cubicBezTo>
                    <a:pt x="24" y="4"/>
                    <a:pt x="22" y="6"/>
                    <a:pt x="21" y="6"/>
                  </a:cubicBezTo>
                  <a:cubicBezTo>
                    <a:pt x="20" y="7"/>
                    <a:pt x="19" y="6"/>
                    <a:pt x="18" y="6"/>
                  </a:cubicBezTo>
                  <a:cubicBezTo>
                    <a:pt x="17" y="6"/>
                    <a:pt x="13" y="0"/>
                    <a:pt x="12" y="0"/>
                  </a:cubicBezTo>
                  <a:cubicBezTo>
                    <a:pt x="11" y="0"/>
                    <a:pt x="4" y="0"/>
                    <a:pt x="4" y="0"/>
                  </a:cubicBezTo>
                  <a:cubicBezTo>
                    <a:pt x="1" y="2"/>
                    <a:pt x="1" y="2"/>
                    <a:pt x="1" y="2"/>
                  </a:cubicBezTo>
                  <a:cubicBezTo>
                    <a:pt x="3" y="15"/>
                    <a:pt x="3" y="15"/>
                    <a:pt x="3" y="15"/>
                  </a:cubicBezTo>
                  <a:cubicBezTo>
                    <a:pt x="4" y="21"/>
                    <a:pt x="4" y="21"/>
                    <a:pt x="4" y="21"/>
                  </a:cubicBezTo>
                  <a:cubicBezTo>
                    <a:pt x="0" y="28"/>
                    <a:pt x="0" y="28"/>
                    <a:pt x="0" y="28"/>
                  </a:cubicBezTo>
                  <a:cubicBezTo>
                    <a:pt x="0" y="36"/>
                    <a:pt x="0" y="36"/>
                    <a:pt x="0" y="36"/>
                  </a:cubicBezTo>
                  <a:cubicBezTo>
                    <a:pt x="2" y="35"/>
                    <a:pt x="2" y="35"/>
                    <a:pt x="2" y="35"/>
                  </a:cubicBezTo>
                  <a:lnTo>
                    <a:pt x="4" y="37"/>
                  </a:ln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192" name="CD"/>
            <p:cNvSpPr>
              <a:spLocks/>
            </p:cNvSpPr>
            <p:nvPr/>
          </p:nvSpPr>
          <p:spPr bwMode="auto">
            <a:xfrm>
              <a:off x="4573459" y="4286951"/>
              <a:ext cx="456343" cy="460372"/>
            </a:xfrm>
            <a:custGeom>
              <a:avLst/>
              <a:gdLst>
                <a:gd name="T0" fmla="*/ 2147483647 w 59"/>
                <a:gd name="T1" fmla="*/ 2147483647 h 59"/>
                <a:gd name="T2" fmla="*/ 2147483647 w 59"/>
                <a:gd name="T3" fmla="*/ 2147483647 h 59"/>
                <a:gd name="T4" fmla="*/ 2147483647 w 59"/>
                <a:gd name="T5" fmla="*/ 2147483647 h 59"/>
                <a:gd name="T6" fmla="*/ 2147483647 w 59"/>
                <a:gd name="T7" fmla="*/ 2147483647 h 59"/>
                <a:gd name="T8" fmla="*/ 2147483647 w 59"/>
                <a:gd name="T9" fmla="*/ 2147483647 h 59"/>
                <a:gd name="T10" fmla="*/ 2147483647 w 59"/>
                <a:gd name="T11" fmla="*/ 2147483647 h 59"/>
                <a:gd name="T12" fmla="*/ 0 w 59"/>
                <a:gd name="T13" fmla="*/ 2147483647 h 59"/>
                <a:gd name="T14" fmla="*/ 2147483647 w 59"/>
                <a:gd name="T15" fmla="*/ 2147483647 h 59"/>
                <a:gd name="T16" fmla="*/ 2147483647 w 59"/>
                <a:gd name="T17" fmla="*/ 2147483647 h 59"/>
                <a:gd name="T18" fmla="*/ 2147483647 w 59"/>
                <a:gd name="T19" fmla="*/ 2147483647 h 59"/>
                <a:gd name="T20" fmla="*/ 2147483647 w 59"/>
                <a:gd name="T21" fmla="*/ 2147483647 h 59"/>
                <a:gd name="T22" fmla="*/ 2147483647 w 59"/>
                <a:gd name="T23" fmla="*/ 2147483647 h 59"/>
                <a:gd name="T24" fmla="*/ 2147483647 w 59"/>
                <a:gd name="T25" fmla="*/ 2147483647 h 59"/>
                <a:gd name="T26" fmla="*/ 2147483647 w 59"/>
                <a:gd name="T27" fmla="*/ 2147483647 h 59"/>
                <a:gd name="T28" fmla="*/ 2147483647 w 59"/>
                <a:gd name="T29" fmla="*/ 2147483647 h 59"/>
                <a:gd name="T30" fmla="*/ 2147483647 w 59"/>
                <a:gd name="T31" fmla="*/ 2147483647 h 59"/>
                <a:gd name="T32" fmla="*/ 2147483647 w 59"/>
                <a:gd name="T33" fmla="*/ 2147483647 h 59"/>
                <a:gd name="T34" fmla="*/ 2147483647 w 59"/>
                <a:gd name="T35" fmla="*/ 2147483647 h 59"/>
                <a:gd name="T36" fmla="*/ 2147483647 w 59"/>
                <a:gd name="T37" fmla="*/ 2147483647 h 59"/>
                <a:gd name="T38" fmla="*/ 2147483647 w 59"/>
                <a:gd name="T39" fmla="*/ 2147483647 h 59"/>
                <a:gd name="T40" fmla="*/ 2147483647 w 59"/>
                <a:gd name="T41" fmla="*/ 2147483647 h 59"/>
                <a:gd name="T42" fmla="*/ 2147483647 w 59"/>
                <a:gd name="T43" fmla="*/ 2147483647 h 59"/>
                <a:gd name="T44" fmla="*/ 2147483647 w 59"/>
                <a:gd name="T45" fmla="*/ 2147483647 h 59"/>
                <a:gd name="T46" fmla="*/ 2147483647 w 59"/>
                <a:gd name="T47" fmla="*/ 2147483647 h 59"/>
                <a:gd name="T48" fmla="*/ 2147483647 w 59"/>
                <a:gd name="T49" fmla="*/ 2147483647 h 59"/>
                <a:gd name="T50" fmla="*/ 2147483647 w 59"/>
                <a:gd name="T51" fmla="*/ 2147483647 h 59"/>
                <a:gd name="T52" fmla="*/ 2147483647 w 59"/>
                <a:gd name="T53" fmla="*/ 2147483647 h 59"/>
                <a:gd name="T54" fmla="*/ 2147483647 w 59"/>
                <a:gd name="T55" fmla="*/ 2147483647 h 59"/>
                <a:gd name="T56" fmla="*/ 2147483647 w 59"/>
                <a:gd name="T57" fmla="*/ 2147483647 h 59"/>
                <a:gd name="T58" fmla="*/ 2147483647 w 59"/>
                <a:gd name="T59" fmla="*/ 2147483647 h 59"/>
                <a:gd name="T60" fmla="*/ 2147483647 w 59"/>
                <a:gd name="T61" fmla="*/ 2147483647 h 59"/>
                <a:gd name="T62" fmla="*/ 2147483647 w 59"/>
                <a:gd name="T63" fmla="*/ 2147483647 h 59"/>
                <a:gd name="T64" fmla="*/ 2147483647 w 59"/>
                <a:gd name="T65" fmla="*/ 2147483647 h 59"/>
                <a:gd name="T66" fmla="*/ 2147483647 w 59"/>
                <a:gd name="T67" fmla="*/ 2147483647 h 59"/>
                <a:gd name="T68" fmla="*/ 2147483647 w 59"/>
                <a:gd name="T69" fmla="*/ 0 h 59"/>
                <a:gd name="T70" fmla="*/ 2147483647 w 59"/>
                <a:gd name="T71" fmla="*/ 2147483647 h 59"/>
                <a:gd name="T72" fmla="*/ 2147483647 w 59"/>
                <a:gd name="T73" fmla="*/ 2147483647 h 59"/>
                <a:gd name="T74" fmla="*/ 2147483647 w 59"/>
                <a:gd name="T75" fmla="*/ 2147483647 h 59"/>
                <a:gd name="T76" fmla="*/ 2147483647 w 59"/>
                <a:gd name="T77" fmla="*/ 2147483647 h 59"/>
                <a:gd name="T78" fmla="*/ 2147483647 w 59"/>
                <a:gd name="T79" fmla="*/ 2147483647 h 5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59" h="59">
                  <a:moveTo>
                    <a:pt x="21" y="6"/>
                  </a:moveTo>
                  <a:cubicBezTo>
                    <a:pt x="18" y="18"/>
                    <a:pt x="18" y="18"/>
                    <a:pt x="18" y="18"/>
                  </a:cubicBezTo>
                  <a:cubicBezTo>
                    <a:pt x="15" y="21"/>
                    <a:pt x="15" y="21"/>
                    <a:pt x="15" y="21"/>
                  </a:cubicBezTo>
                  <a:cubicBezTo>
                    <a:pt x="11" y="29"/>
                    <a:pt x="11" y="29"/>
                    <a:pt x="11" y="29"/>
                  </a:cubicBezTo>
                  <a:cubicBezTo>
                    <a:pt x="7" y="32"/>
                    <a:pt x="7" y="32"/>
                    <a:pt x="7" y="32"/>
                  </a:cubicBezTo>
                  <a:cubicBezTo>
                    <a:pt x="3" y="32"/>
                    <a:pt x="3" y="32"/>
                    <a:pt x="3" y="32"/>
                  </a:cubicBezTo>
                  <a:cubicBezTo>
                    <a:pt x="0" y="35"/>
                    <a:pt x="0" y="35"/>
                    <a:pt x="0" y="35"/>
                  </a:cubicBezTo>
                  <a:cubicBezTo>
                    <a:pt x="1" y="38"/>
                    <a:pt x="1" y="38"/>
                    <a:pt x="1" y="38"/>
                  </a:cubicBezTo>
                  <a:cubicBezTo>
                    <a:pt x="1" y="38"/>
                    <a:pt x="1" y="38"/>
                    <a:pt x="1" y="38"/>
                  </a:cubicBezTo>
                  <a:cubicBezTo>
                    <a:pt x="4" y="36"/>
                    <a:pt x="4" y="36"/>
                    <a:pt x="4" y="36"/>
                  </a:cubicBezTo>
                  <a:cubicBezTo>
                    <a:pt x="4" y="36"/>
                    <a:pt x="11" y="36"/>
                    <a:pt x="12" y="36"/>
                  </a:cubicBezTo>
                  <a:cubicBezTo>
                    <a:pt x="13" y="36"/>
                    <a:pt x="17" y="42"/>
                    <a:pt x="18" y="42"/>
                  </a:cubicBezTo>
                  <a:cubicBezTo>
                    <a:pt x="19" y="42"/>
                    <a:pt x="20" y="43"/>
                    <a:pt x="21" y="42"/>
                  </a:cubicBezTo>
                  <a:cubicBezTo>
                    <a:pt x="22" y="42"/>
                    <a:pt x="24" y="40"/>
                    <a:pt x="24" y="40"/>
                  </a:cubicBezTo>
                  <a:cubicBezTo>
                    <a:pt x="25" y="40"/>
                    <a:pt x="30" y="40"/>
                    <a:pt x="30" y="40"/>
                  </a:cubicBezTo>
                  <a:cubicBezTo>
                    <a:pt x="32" y="52"/>
                    <a:pt x="32" y="52"/>
                    <a:pt x="32" y="52"/>
                  </a:cubicBezTo>
                  <a:cubicBezTo>
                    <a:pt x="38" y="53"/>
                    <a:pt x="38" y="53"/>
                    <a:pt x="38" y="53"/>
                  </a:cubicBezTo>
                  <a:cubicBezTo>
                    <a:pt x="43" y="53"/>
                    <a:pt x="43" y="53"/>
                    <a:pt x="43" y="53"/>
                  </a:cubicBezTo>
                  <a:cubicBezTo>
                    <a:pt x="49" y="56"/>
                    <a:pt x="49" y="56"/>
                    <a:pt x="49" y="56"/>
                  </a:cubicBezTo>
                  <a:cubicBezTo>
                    <a:pt x="55" y="59"/>
                    <a:pt x="55" y="59"/>
                    <a:pt x="55" y="59"/>
                  </a:cubicBezTo>
                  <a:cubicBezTo>
                    <a:pt x="55" y="57"/>
                    <a:pt x="55" y="57"/>
                    <a:pt x="55" y="57"/>
                  </a:cubicBezTo>
                  <a:cubicBezTo>
                    <a:pt x="52" y="53"/>
                    <a:pt x="52" y="53"/>
                    <a:pt x="52" y="53"/>
                  </a:cubicBezTo>
                  <a:cubicBezTo>
                    <a:pt x="53" y="50"/>
                    <a:pt x="53" y="50"/>
                    <a:pt x="53" y="50"/>
                  </a:cubicBezTo>
                  <a:cubicBezTo>
                    <a:pt x="54" y="44"/>
                    <a:pt x="54" y="44"/>
                    <a:pt x="54" y="44"/>
                  </a:cubicBezTo>
                  <a:cubicBezTo>
                    <a:pt x="57" y="43"/>
                    <a:pt x="57" y="43"/>
                    <a:pt x="57" y="43"/>
                  </a:cubicBezTo>
                  <a:cubicBezTo>
                    <a:pt x="55" y="37"/>
                    <a:pt x="55" y="37"/>
                    <a:pt x="55" y="37"/>
                  </a:cubicBezTo>
                  <a:cubicBezTo>
                    <a:pt x="54" y="31"/>
                    <a:pt x="54" y="31"/>
                    <a:pt x="54" y="31"/>
                  </a:cubicBezTo>
                  <a:cubicBezTo>
                    <a:pt x="53" y="25"/>
                    <a:pt x="53" y="25"/>
                    <a:pt x="53" y="25"/>
                  </a:cubicBezTo>
                  <a:cubicBezTo>
                    <a:pt x="55" y="18"/>
                    <a:pt x="55" y="18"/>
                    <a:pt x="55" y="18"/>
                  </a:cubicBezTo>
                  <a:cubicBezTo>
                    <a:pt x="59" y="11"/>
                    <a:pt x="59" y="11"/>
                    <a:pt x="59" y="11"/>
                  </a:cubicBezTo>
                  <a:cubicBezTo>
                    <a:pt x="59" y="10"/>
                    <a:pt x="59" y="10"/>
                    <a:pt x="59" y="10"/>
                  </a:cubicBezTo>
                  <a:cubicBezTo>
                    <a:pt x="59" y="5"/>
                    <a:pt x="59" y="5"/>
                    <a:pt x="59" y="5"/>
                  </a:cubicBezTo>
                  <a:cubicBezTo>
                    <a:pt x="56" y="3"/>
                    <a:pt x="56" y="3"/>
                    <a:pt x="56" y="3"/>
                  </a:cubicBezTo>
                  <a:cubicBezTo>
                    <a:pt x="51" y="3"/>
                    <a:pt x="51" y="3"/>
                    <a:pt x="51" y="3"/>
                  </a:cubicBezTo>
                  <a:cubicBezTo>
                    <a:pt x="49" y="0"/>
                    <a:pt x="49" y="0"/>
                    <a:pt x="49" y="0"/>
                  </a:cubicBezTo>
                  <a:cubicBezTo>
                    <a:pt x="41" y="1"/>
                    <a:pt x="41" y="1"/>
                    <a:pt x="41" y="1"/>
                  </a:cubicBezTo>
                  <a:cubicBezTo>
                    <a:pt x="32" y="3"/>
                    <a:pt x="32" y="3"/>
                    <a:pt x="32" y="3"/>
                  </a:cubicBezTo>
                  <a:cubicBezTo>
                    <a:pt x="27" y="1"/>
                    <a:pt x="27" y="1"/>
                    <a:pt x="27" y="1"/>
                  </a:cubicBezTo>
                  <a:cubicBezTo>
                    <a:pt x="21" y="2"/>
                    <a:pt x="21" y="2"/>
                    <a:pt x="21" y="2"/>
                  </a:cubicBezTo>
                  <a:cubicBezTo>
                    <a:pt x="21" y="6"/>
                    <a:pt x="21" y="6"/>
                    <a:pt x="21" y="6"/>
                  </a:cubicBezTo>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193" name="ET"/>
            <p:cNvSpPr>
              <a:spLocks/>
            </p:cNvSpPr>
            <p:nvPr/>
          </p:nvSpPr>
          <p:spPr bwMode="auto">
            <a:xfrm>
              <a:off x="5083775" y="3974215"/>
              <a:ext cx="369883" cy="354010"/>
            </a:xfrm>
            <a:custGeom>
              <a:avLst/>
              <a:gdLst>
                <a:gd name="T0" fmla="*/ 2147483647 w 47"/>
                <a:gd name="T1" fmla="*/ 2147483647 h 45"/>
                <a:gd name="T2" fmla="*/ 2147483647 w 47"/>
                <a:gd name="T3" fmla="*/ 2147483647 h 45"/>
                <a:gd name="T4" fmla="*/ 2147483647 w 47"/>
                <a:gd name="T5" fmla="*/ 2147483647 h 45"/>
                <a:gd name="T6" fmla="*/ 2147483647 w 47"/>
                <a:gd name="T7" fmla="*/ 2147483647 h 45"/>
                <a:gd name="T8" fmla="*/ 2147483647 w 47"/>
                <a:gd name="T9" fmla="*/ 2147483647 h 45"/>
                <a:gd name="T10" fmla="*/ 2147483647 w 47"/>
                <a:gd name="T11" fmla="*/ 2147483647 h 45"/>
                <a:gd name="T12" fmla="*/ 2147483647 w 47"/>
                <a:gd name="T13" fmla="*/ 2147483647 h 45"/>
                <a:gd name="T14" fmla="*/ 2147483647 w 47"/>
                <a:gd name="T15" fmla="*/ 2147483647 h 45"/>
                <a:gd name="T16" fmla="*/ 2147483647 w 47"/>
                <a:gd name="T17" fmla="*/ 2147483647 h 45"/>
                <a:gd name="T18" fmla="*/ 2147483647 w 47"/>
                <a:gd name="T19" fmla="*/ 2147483647 h 45"/>
                <a:gd name="T20" fmla="*/ 2147483647 w 47"/>
                <a:gd name="T21" fmla="*/ 2147483647 h 45"/>
                <a:gd name="T22" fmla="*/ 2147483647 w 47"/>
                <a:gd name="T23" fmla="*/ 2147483647 h 45"/>
                <a:gd name="T24" fmla="*/ 2147483647 w 47"/>
                <a:gd name="T25" fmla="*/ 2147483647 h 45"/>
                <a:gd name="T26" fmla="*/ 2147483647 w 47"/>
                <a:gd name="T27" fmla="*/ 2147483647 h 45"/>
                <a:gd name="T28" fmla="*/ 2147483647 w 47"/>
                <a:gd name="T29" fmla="*/ 0 h 45"/>
                <a:gd name="T30" fmla="*/ 2147483647 w 47"/>
                <a:gd name="T31" fmla="*/ 0 h 45"/>
                <a:gd name="T32" fmla="*/ 2147483647 w 47"/>
                <a:gd name="T33" fmla="*/ 2147483647 h 45"/>
                <a:gd name="T34" fmla="*/ 2147483647 w 47"/>
                <a:gd name="T35" fmla="*/ 2147483647 h 45"/>
                <a:gd name="T36" fmla="*/ 2147483647 w 47"/>
                <a:gd name="T37" fmla="*/ 2147483647 h 45"/>
                <a:gd name="T38" fmla="*/ 2147483647 w 47"/>
                <a:gd name="T39" fmla="*/ 2147483647 h 45"/>
                <a:gd name="T40" fmla="*/ 2147483647 w 47"/>
                <a:gd name="T41" fmla="*/ 2147483647 h 45"/>
                <a:gd name="T42" fmla="*/ 2147483647 w 47"/>
                <a:gd name="T43" fmla="*/ 2147483647 h 45"/>
                <a:gd name="T44" fmla="*/ 2147483647 w 47"/>
                <a:gd name="T45" fmla="*/ 2147483647 h 45"/>
                <a:gd name="T46" fmla="*/ 0 w 47"/>
                <a:gd name="T47" fmla="*/ 2147483647 h 45"/>
                <a:gd name="T48" fmla="*/ 2147483647 w 47"/>
                <a:gd name="T49" fmla="*/ 2147483647 h 45"/>
                <a:gd name="T50" fmla="*/ 2147483647 w 47"/>
                <a:gd name="T51" fmla="*/ 2147483647 h 45"/>
                <a:gd name="T52" fmla="*/ 2147483647 w 47"/>
                <a:gd name="T53" fmla="*/ 2147483647 h 45"/>
                <a:gd name="T54" fmla="*/ 2147483647 w 47"/>
                <a:gd name="T55" fmla="*/ 2147483647 h 45"/>
                <a:gd name="T56" fmla="*/ 2147483647 w 47"/>
                <a:gd name="T57" fmla="*/ 2147483647 h 45"/>
                <a:gd name="T58" fmla="*/ 2147483647 w 47"/>
                <a:gd name="T59" fmla="*/ 2147483647 h 45"/>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7" h="45">
                  <a:moveTo>
                    <a:pt x="22" y="45"/>
                  </a:moveTo>
                  <a:cubicBezTo>
                    <a:pt x="23" y="45"/>
                    <a:pt x="24" y="44"/>
                    <a:pt x="24" y="44"/>
                  </a:cubicBezTo>
                  <a:cubicBezTo>
                    <a:pt x="27" y="45"/>
                    <a:pt x="27" y="45"/>
                    <a:pt x="27" y="45"/>
                  </a:cubicBezTo>
                  <a:cubicBezTo>
                    <a:pt x="29" y="45"/>
                    <a:pt x="29" y="45"/>
                    <a:pt x="29" y="45"/>
                  </a:cubicBezTo>
                  <a:cubicBezTo>
                    <a:pt x="32" y="43"/>
                    <a:pt x="32" y="43"/>
                    <a:pt x="32" y="43"/>
                  </a:cubicBezTo>
                  <a:cubicBezTo>
                    <a:pt x="39" y="41"/>
                    <a:pt x="39" y="41"/>
                    <a:pt x="39" y="41"/>
                  </a:cubicBezTo>
                  <a:cubicBezTo>
                    <a:pt x="47" y="32"/>
                    <a:pt x="47" y="32"/>
                    <a:pt x="47" y="32"/>
                  </a:cubicBezTo>
                  <a:cubicBezTo>
                    <a:pt x="40" y="31"/>
                    <a:pt x="40" y="31"/>
                    <a:pt x="40" y="31"/>
                  </a:cubicBezTo>
                  <a:cubicBezTo>
                    <a:pt x="33" y="27"/>
                    <a:pt x="33" y="27"/>
                    <a:pt x="33" y="27"/>
                  </a:cubicBezTo>
                  <a:cubicBezTo>
                    <a:pt x="31" y="24"/>
                    <a:pt x="31" y="24"/>
                    <a:pt x="31" y="24"/>
                  </a:cubicBezTo>
                  <a:cubicBezTo>
                    <a:pt x="34" y="22"/>
                    <a:pt x="34" y="22"/>
                    <a:pt x="34" y="22"/>
                  </a:cubicBezTo>
                  <a:cubicBezTo>
                    <a:pt x="33" y="20"/>
                    <a:pt x="33" y="20"/>
                    <a:pt x="33" y="20"/>
                  </a:cubicBezTo>
                  <a:cubicBezTo>
                    <a:pt x="25" y="8"/>
                    <a:pt x="25" y="8"/>
                    <a:pt x="25" y="8"/>
                  </a:cubicBezTo>
                  <a:cubicBezTo>
                    <a:pt x="20" y="6"/>
                    <a:pt x="20" y="6"/>
                    <a:pt x="20" y="6"/>
                  </a:cubicBezTo>
                  <a:cubicBezTo>
                    <a:pt x="17" y="0"/>
                    <a:pt x="17" y="0"/>
                    <a:pt x="17" y="0"/>
                  </a:cubicBezTo>
                  <a:cubicBezTo>
                    <a:pt x="17" y="0"/>
                    <a:pt x="17" y="0"/>
                    <a:pt x="17" y="0"/>
                  </a:cubicBezTo>
                  <a:cubicBezTo>
                    <a:pt x="15" y="1"/>
                    <a:pt x="15" y="1"/>
                    <a:pt x="15" y="1"/>
                  </a:cubicBezTo>
                  <a:cubicBezTo>
                    <a:pt x="12" y="3"/>
                    <a:pt x="12" y="3"/>
                    <a:pt x="12" y="3"/>
                  </a:cubicBezTo>
                  <a:cubicBezTo>
                    <a:pt x="11" y="14"/>
                    <a:pt x="11" y="14"/>
                    <a:pt x="11" y="14"/>
                  </a:cubicBezTo>
                  <a:cubicBezTo>
                    <a:pt x="8" y="20"/>
                    <a:pt x="8" y="20"/>
                    <a:pt x="8" y="20"/>
                  </a:cubicBezTo>
                  <a:cubicBezTo>
                    <a:pt x="4" y="24"/>
                    <a:pt x="4" y="24"/>
                    <a:pt x="4" y="24"/>
                  </a:cubicBezTo>
                  <a:cubicBezTo>
                    <a:pt x="3" y="30"/>
                    <a:pt x="3" y="30"/>
                    <a:pt x="3" y="30"/>
                  </a:cubicBezTo>
                  <a:cubicBezTo>
                    <a:pt x="1" y="30"/>
                    <a:pt x="1" y="30"/>
                    <a:pt x="1" y="30"/>
                  </a:cubicBezTo>
                  <a:cubicBezTo>
                    <a:pt x="0" y="33"/>
                    <a:pt x="0" y="33"/>
                    <a:pt x="0" y="33"/>
                  </a:cubicBezTo>
                  <a:cubicBezTo>
                    <a:pt x="4" y="36"/>
                    <a:pt x="4" y="36"/>
                    <a:pt x="4" y="36"/>
                  </a:cubicBezTo>
                  <a:cubicBezTo>
                    <a:pt x="7" y="39"/>
                    <a:pt x="7" y="39"/>
                    <a:pt x="7" y="39"/>
                  </a:cubicBezTo>
                  <a:cubicBezTo>
                    <a:pt x="9" y="41"/>
                    <a:pt x="9" y="41"/>
                    <a:pt x="9" y="41"/>
                  </a:cubicBezTo>
                  <a:cubicBezTo>
                    <a:pt x="9" y="42"/>
                    <a:pt x="9" y="42"/>
                    <a:pt x="9" y="42"/>
                  </a:cubicBezTo>
                  <a:cubicBezTo>
                    <a:pt x="12" y="43"/>
                    <a:pt x="12" y="43"/>
                    <a:pt x="12" y="43"/>
                  </a:cubicBezTo>
                  <a:cubicBezTo>
                    <a:pt x="12" y="43"/>
                    <a:pt x="21" y="45"/>
                    <a:pt x="22" y="45"/>
                  </a:cubicBez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194" name="KE"/>
            <p:cNvSpPr>
              <a:spLocks/>
            </p:cNvSpPr>
            <p:nvPr/>
          </p:nvSpPr>
          <p:spPr bwMode="auto">
            <a:xfrm>
              <a:off x="5107586" y="4302826"/>
              <a:ext cx="204786" cy="234948"/>
            </a:xfrm>
            <a:custGeom>
              <a:avLst/>
              <a:gdLst>
                <a:gd name="T0" fmla="*/ 2147483647 w 26"/>
                <a:gd name="T1" fmla="*/ 2147483647 h 30"/>
                <a:gd name="T2" fmla="*/ 2147483647 w 26"/>
                <a:gd name="T3" fmla="*/ 2147483647 h 30"/>
                <a:gd name="T4" fmla="*/ 2147483647 w 26"/>
                <a:gd name="T5" fmla="*/ 2147483647 h 30"/>
                <a:gd name="T6" fmla="*/ 2147483647 w 26"/>
                <a:gd name="T7" fmla="*/ 2147483647 h 30"/>
                <a:gd name="T8" fmla="*/ 2147483647 w 26"/>
                <a:gd name="T9" fmla="*/ 2147483647 h 30"/>
                <a:gd name="T10" fmla="*/ 2147483647 w 26"/>
                <a:gd name="T11" fmla="*/ 2147483647 h 30"/>
                <a:gd name="T12" fmla="*/ 2147483647 w 26"/>
                <a:gd name="T13" fmla="*/ 2147483647 h 30"/>
                <a:gd name="T14" fmla="*/ 2147483647 w 26"/>
                <a:gd name="T15" fmla="*/ 0 h 30"/>
                <a:gd name="T16" fmla="*/ 2147483647 w 26"/>
                <a:gd name="T17" fmla="*/ 2147483647 h 30"/>
                <a:gd name="T18" fmla="*/ 2147483647 w 26"/>
                <a:gd name="T19" fmla="*/ 2147483647 h 30"/>
                <a:gd name="T20" fmla="*/ 0 w 26"/>
                <a:gd name="T21" fmla="*/ 2147483647 h 30"/>
                <a:gd name="T22" fmla="*/ 2147483647 w 26"/>
                <a:gd name="T23" fmla="*/ 2147483647 h 30"/>
                <a:gd name="T24" fmla="*/ 2147483647 w 26"/>
                <a:gd name="T25" fmla="*/ 2147483647 h 30"/>
                <a:gd name="T26" fmla="*/ 0 w 26"/>
                <a:gd name="T27" fmla="*/ 2147483647 h 30"/>
                <a:gd name="T28" fmla="*/ 2147483647 w 26"/>
                <a:gd name="T29" fmla="*/ 2147483647 h 30"/>
                <a:gd name="T30" fmla="*/ 2147483647 w 26"/>
                <a:gd name="T31" fmla="*/ 2147483647 h 30"/>
                <a:gd name="T32" fmla="*/ 2147483647 w 26"/>
                <a:gd name="T33" fmla="*/ 2147483647 h 30"/>
                <a:gd name="T34" fmla="*/ 2147483647 w 26"/>
                <a:gd name="T35" fmla="*/ 2147483647 h 30"/>
                <a:gd name="T36" fmla="*/ 2147483647 w 26"/>
                <a:gd name="T37" fmla="*/ 2147483647 h 30"/>
                <a:gd name="T38" fmla="*/ 2147483647 w 26"/>
                <a:gd name="T39" fmla="*/ 2147483647 h 30"/>
                <a:gd name="T40" fmla="*/ 2147483647 w 26"/>
                <a:gd name="T41" fmla="*/ 2147483647 h 30"/>
                <a:gd name="T42" fmla="*/ 2147483647 w 26"/>
                <a:gd name="T43" fmla="*/ 2147483647 h 30"/>
                <a:gd name="T44" fmla="*/ 2147483647 w 26"/>
                <a:gd name="T45" fmla="*/ 2147483647 h 3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6" h="30">
                  <a:moveTo>
                    <a:pt x="23" y="7"/>
                  </a:moveTo>
                  <a:cubicBezTo>
                    <a:pt x="26" y="4"/>
                    <a:pt x="26" y="4"/>
                    <a:pt x="26" y="4"/>
                  </a:cubicBezTo>
                  <a:cubicBezTo>
                    <a:pt x="26" y="3"/>
                    <a:pt x="26" y="3"/>
                    <a:pt x="26" y="3"/>
                  </a:cubicBezTo>
                  <a:cubicBezTo>
                    <a:pt x="24" y="3"/>
                    <a:pt x="24" y="3"/>
                    <a:pt x="24" y="3"/>
                  </a:cubicBezTo>
                  <a:cubicBezTo>
                    <a:pt x="21" y="2"/>
                    <a:pt x="21" y="2"/>
                    <a:pt x="21" y="2"/>
                  </a:cubicBezTo>
                  <a:cubicBezTo>
                    <a:pt x="21" y="2"/>
                    <a:pt x="20" y="3"/>
                    <a:pt x="19" y="3"/>
                  </a:cubicBezTo>
                  <a:cubicBezTo>
                    <a:pt x="18" y="3"/>
                    <a:pt x="9" y="1"/>
                    <a:pt x="9" y="1"/>
                  </a:cubicBezTo>
                  <a:cubicBezTo>
                    <a:pt x="6" y="0"/>
                    <a:pt x="6" y="0"/>
                    <a:pt x="6" y="0"/>
                  </a:cubicBezTo>
                  <a:cubicBezTo>
                    <a:pt x="6" y="1"/>
                    <a:pt x="6" y="1"/>
                    <a:pt x="6" y="1"/>
                  </a:cubicBezTo>
                  <a:cubicBezTo>
                    <a:pt x="3" y="1"/>
                    <a:pt x="3" y="1"/>
                    <a:pt x="3" y="1"/>
                  </a:cubicBezTo>
                  <a:cubicBezTo>
                    <a:pt x="0" y="3"/>
                    <a:pt x="0" y="3"/>
                    <a:pt x="0" y="3"/>
                  </a:cubicBezTo>
                  <a:cubicBezTo>
                    <a:pt x="2" y="5"/>
                    <a:pt x="2" y="5"/>
                    <a:pt x="2" y="5"/>
                  </a:cubicBezTo>
                  <a:cubicBezTo>
                    <a:pt x="2" y="9"/>
                    <a:pt x="2" y="9"/>
                    <a:pt x="2" y="9"/>
                  </a:cubicBezTo>
                  <a:cubicBezTo>
                    <a:pt x="0" y="13"/>
                    <a:pt x="0" y="13"/>
                    <a:pt x="0" y="13"/>
                  </a:cubicBezTo>
                  <a:cubicBezTo>
                    <a:pt x="1" y="19"/>
                    <a:pt x="1" y="19"/>
                    <a:pt x="1" y="19"/>
                  </a:cubicBezTo>
                  <a:cubicBezTo>
                    <a:pt x="12" y="24"/>
                    <a:pt x="12" y="24"/>
                    <a:pt x="12" y="24"/>
                  </a:cubicBezTo>
                  <a:cubicBezTo>
                    <a:pt x="12" y="27"/>
                    <a:pt x="12" y="27"/>
                    <a:pt x="12" y="27"/>
                  </a:cubicBezTo>
                  <a:cubicBezTo>
                    <a:pt x="17" y="30"/>
                    <a:pt x="17" y="30"/>
                    <a:pt x="17" y="30"/>
                  </a:cubicBezTo>
                  <a:cubicBezTo>
                    <a:pt x="17" y="29"/>
                    <a:pt x="18" y="29"/>
                    <a:pt x="18" y="29"/>
                  </a:cubicBezTo>
                  <a:cubicBezTo>
                    <a:pt x="22" y="23"/>
                    <a:pt x="22" y="23"/>
                    <a:pt x="22" y="23"/>
                  </a:cubicBezTo>
                  <a:cubicBezTo>
                    <a:pt x="25" y="20"/>
                    <a:pt x="25" y="20"/>
                    <a:pt x="25" y="20"/>
                  </a:cubicBezTo>
                  <a:cubicBezTo>
                    <a:pt x="23" y="17"/>
                    <a:pt x="23" y="17"/>
                    <a:pt x="23" y="17"/>
                  </a:cubicBezTo>
                  <a:lnTo>
                    <a:pt x="23" y="7"/>
                  </a:ln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195" name="ZW"/>
            <p:cNvSpPr>
              <a:spLocks/>
            </p:cNvSpPr>
            <p:nvPr/>
          </p:nvSpPr>
          <p:spPr bwMode="auto">
            <a:xfrm>
              <a:off x="4894130" y="4810822"/>
              <a:ext cx="181708" cy="179386"/>
            </a:xfrm>
            <a:custGeom>
              <a:avLst/>
              <a:gdLst>
                <a:gd name="T0" fmla="*/ 2147483647 w 24"/>
                <a:gd name="T1" fmla="*/ 2147483647 h 23"/>
                <a:gd name="T2" fmla="*/ 2147483647 w 24"/>
                <a:gd name="T3" fmla="*/ 2147483647 h 23"/>
                <a:gd name="T4" fmla="*/ 2147483647 w 24"/>
                <a:gd name="T5" fmla="*/ 2147483647 h 23"/>
                <a:gd name="T6" fmla="*/ 0 w 24"/>
                <a:gd name="T7" fmla="*/ 2147483647 h 23"/>
                <a:gd name="T8" fmla="*/ 2147483647 w 24"/>
                <a:gd name="T9" fmla="*/ 2147483647 h 23"/>
                <a:gd name="T10" fmla="*/ 2147483647 w 24"/>
                <a:gd name="T11" fmla="*/ 2147483647 h 23"/>
                <a:gd name="T12" fmla="*/ 2147483647 w 24"/>
                <a:gd name="T13" fmla="*/ 2147483647 h 23"/>
                <a:gd name="T14" fmla="*/ 2147483647 w 24"/>
                <a:gd name="T15" fmla="*/ 2147483647 h 23"/>
                <a:gd name="T16" fmla="*/ 2147483647 w 24"/>
                <a:gd name="T17" fmla="*/ 2147483647 h 23"/>
                <a:gd name="T18" fmla="*/ 2147483647 w 24"/>
                <a:gd name="T19" fmla="*/ 2147483647 h 23"/>
                <a:gd name="T20" fmla="*/ 2147483647 w 24"/>
                <a:gd name="T21" fmla="*/ 2147483647 h 23"/>
                <a:gd name="T22" fmla="*/ 2147483647 w 24"/>
                <a:gd name="T23" fmla="*/ 2147483647 h 23"/>
                <a:gd name="T24" fmla="*/ 2147483647 w 24"/>
                <a:gd name="T25" fmla="*/ 2147483647 h 23"/>
                <a:gd name="T26" fmla="*/ 2147483647 w 24"/>
                <a:gd name="T27" fmla="*/ 2147483647 h 23"/>
                <a:gd name="T28" fmla="*/ 2147483647 w 24"/>
                <a:gd name="T29" fmla="*/ 2147483647 h 23"/>
                <a:gd name="T30" fmla="*/ 2147483647 w 24"/>
                <a:gd name="T31" fmla="*/ 0 h 23"/>
                <a:gd name="T32" fmla="*/ 2147483647 w 24"/>
                <a:gd name="T33" fmla="*/ 2147483647 h 23"/>
                <a:gd name="T34" fmla="*/ 2147483647 w 24"/>
                <a:gd name="T35" fmla="*/ 2147483647 h 2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4" h="23">
                  <a:moveTo>
                    <a:pt x="9" y="5"/>
                  </a:moveTo>
                  <a:cubicBezTo>
                    <a:pt x="9" y="5"/>
                    <a:pt x="6" y="8"/>
                    <a:pt x="6" y="8"/>
                  </a:cubicBezTo>
                  <a:cubicBezTo>
                    <a:pt x="5" y="8"/>
                    <a:pt x="2" y="7"/>
                    <a:pt x="2" y="7"/>
                  </a:cubicBezTo>
                  <a:cubicBezTo>
                    <a:pt x="0" y="8"/>
                    <a:pt x="0" y="8"/>
                    <a:pt x="0" y="8"/>
                  </a:cubicBezTo>
                  <a:cubicBezTo>
                    <a:pt x="1" y="8"/>
                    <a:pt x="1" y="8"/>
                    <a:pt x="1" y="8"/>
                  </a:cubicBezTo>
                  <a:cubicBezTo>
                    <a:pt x="3" y="12"/>
                    <a:pt x="3" y="12"/>
                    <a:pt x="3" y="12"/>
                  </a:cubicBezTo>
                  <a:cubicBezTo>
                    <a:pt x="6" y="16"/>
                    <a:pt x="6" y="16"/>
                    <a:pt x="6" y="16"/>
                  </a:cubicBezTo>
                  <a:cubicBezTo>
                    <a:pt x="8" y="16"/>
                    <a:pt x="8" y="16"/>
                    <a:pt x="8" y="16"/>
                  </a:cubicBezTo>
                  <a:cubicBezTo>
                    <a:pt x="9" y="20"/>
                    <a:pt x="9" y="20"/>
                    <a:pt x="9" y="20"/>
                  </a:cubicBezTo>
                  <a:cubicBezTo>
                    <a:pt x="14" y="22"/>
                    <a:pt x="14" y="22"/>
                    <a:pt x="14" y="22"/>
                  </a:cubicBezTo>
                  <a:cubicBezTo>
                    <a:pt x="20" y="23"/>
                    <a:pt x="20" y="23"/>
                    <a:pt x="20" y="23"/>
                  </a:cubicBezTo>
                  <a:cubicBezTo>
                    <a:pt x="22" y="20"/>
                    <a:pt x="22" y="20"/>
                    <a:pt x="22" y="20"/>
                  </a:cubicBezTo>
                  <a:cubicBezTo>
                    <a:pt x="24" y="12"/>
                    <a:pt x="24" y="12"/>
                    <a:pt x="24" y="12"/>
                  </a:cubicBezTo>
                  <a:cubicBezTo>
                    <a:pt x="24" y="7"/>
                    <a:pt x="24" y="7"/>
                    <a:pt x="24" y="7"/>
                  </a:cubicBezTo>
                  <a:cubicBezTo>
                    <a:pt x="24" y="3"/>
                    <a:pt x="24" y="3"/>
                    <a:pt x="24" y="3"/>
                  </a:cubicBezTo>
                  <a:cubicBezTo>
                    <a:pt x="16" y="0"/>
                    <a:pt x="16" y="0"/>
                    <a:pt x="16" y="0"/>
                  </a:cubicBezTo>
                  <a:cubicBezTo>
                    <a:pt x="13" y="1"/>
                    <a:pt x="13" y="1"/>
                    <a:pt x="13" y="1"/>
                  </a:cubicBezTo>
                  <a:lnTo>
                    <a:pt x="9" y="5"/>
                  </a:ln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196" name="UG"/>
            <p:cNvSpPr>
              <a:spLocks/>
            </p:cNvSpPr>
            <p:nvPr/>
          </p:nvSpPr>
          <p:spPr bwMode="auto">
            <a:xfrm>
              <a:off x="5003264" y="4328222"/>
              <a:ext cx="120736" cy="155618"/>
            </a:xfrm>
            <a:custGeom>
              <a:avLst/>
              <a:gdLst>
                <a:gd name="T0" fmla="*/ 2147483647 w 43"/>
                <a:gd name="T1" fmla="*/ 2147483647 h 70"/>
                <a:gd name="T2" fmla="*/ 2147483647 w 43"/>
                <a:gd name="T3" fmla="*/ 2147483647 h 70"/>
                <a:gd name="T4" fmla="*/ 2147483647 w 43"/>
                <a:gd name="T5" fmla="*/ 2147483647 h 70"/>
                <a:gd name="T6" fmla="*/ 2147483647 w 43"/>
                <a:gd name="T7" fmla="*/ 2147483647 h 70"/>
                <a:gd name="T8" fmla="*/ 2147483647 w 43"/>
                <a:gd name="T9" fmla="*/ 2147483647 h 70"/>
                <a:gd name="T10" fmla="*/ 2147483647 w 43"/>
                <a:gd name="T11" fmla="*/ 2147483647 h 70"/>
                <a:gd name="T12" fmla="*/ 2147483647 w 43"/>
                <a:gd name="T13" fmla="*/ 2147483647 h 70"/>
                <a:gd name="T14" fmla="*/ 2147483647 w 43"/>
                <a:gd name="T15" fmla="*/ 2147483647 h 70"/>
                <a:gd name="T16" fmla="*/ 2147483647 w 43"/>
                <a:gd name="T17" fmla="*/ 2147483647 h 70"/>
                <a:gd name="T18" fmla="*/ 2147483647 w 43"/>
                <a:gd name="T19" fmla="*/ 2147483647 h 70"/>
                <a:gd name="T20" fmla="*/ 2147483647 w 43"/>
                <a:gd name="T21" fmla="*/ 2147483647 h 70"/>
                <a:gd name="T22" fmla="*/ 2147483647 w 43"/>
                <a:gd name="T23" fmla="*/ 2147483647 h 70"/>
                <a:gd name="T24" fmla="*/ 2147483647 w 43"/>
                <a:gd name="T25" fmla="*/ 2147483647 h 70"/>
                <a:gd name="T26" fmla="*/ 2147483647 w 43"/>
                <a:gd name="T27" fmla="*/ 2147483647 h 70"/>
                <a:gd name="T28" fmla="*/ 2147483647 w 43"/>
                <a:gd name="T29" fmla="*/ 2147483647 h 70"/>
                <a:gd name="T30" fmla="*/ 0 w 43"/>
                <a:gd name="T31" fmla="*/ 2147483647 h 70"/>
                <a:gd name="T32" fmla="*/ 0 w 43"/>
                <a:gd name="T33" fmla="*/ 2147483647 h 70"/>
                <a:gd name="T34" fmla="*/ 2147483647 w 43"/>
                <a:gd name="T35" fmla="*/ 2147483647 h 70"/>
                <a:gd name="T36" fmla="*/ 2147483647 w 43"/>
                <a:gd name="T37" fmla="*/ 2147483647 h 70"/>
                <a:gd name="T38" fmla="*/ 2147483647 w 43"/>
                <a:gd name="T39" fmla="*/ 2147483647 h 70"/>
                <a:gd name="T40" fmla="*/ 2147483647 w 43"/>
                <a:gd name="T41" fmla="*/ 2147483647 h 70"/>
                <a:gd name="T42" fmla="*/ 2147483647 w 43"/>
                <a:gd name="T43" fmla="*/ 2147483647 h 70"/>
                <a:gd name="T44" fmla="*/ 2147483647 w 43"/>
                <a:gd name="T45" fmla="*/ 2147483647 h 70"/>
                <a:gd name="T46" fmla="*/ 2147483647 w 43"/>
                <a:gd name="T47" fmla="*/ 2147483647 h 70"/>
                <a:gd name="T48" fmla="*/ 2147483647 w 43"/>
                <a:gd name="T49" fmla="*/ 2147483647 h 70"/>
                <a:gd name="T50" fmla="*/ 2147483647 w 43"/>
                <a:gd name="T51" fmla="*/ 2147483647 h 70"/>
                <a:gd name="T52" fmla="*/ 2147483647 w 43"/>
                <a:gd name="T53" fmla="*/ 2147483647 h 70"/>
                <a:gd name="T54" fmla="*/ 2147483647 w 43"/>
                <a:gd name="T55" fmla="*/ 2147483647 h 70"/>
                <a:gd name="T56" fmla="*/ 2147483647 w 43"/>
                <a:gd name="T57" fmla="*/ 2147483647 h 70"/>
                <a:gd name="T58" fmla="*/ 2147483647 w 43"/>
                <a:gd name="T59" fmla="*/ 2147483647 h 70"/>
                <a:gd name="T60" fmla="*/ 2147483647 w 43"/>
                <a:gd name="T61" fmla="*/ 2147483647 h 70"/>
                <a:gd name="T62" fmla="*/ 2147483647 w 43"/>
                <a:gd name="T63" fmla="*/ 2147483647 h 70"/>
                <a:gd name="T64" fmla="*/ 2147483647 w 43"/>
                <a:gd name="T65" fmla="*/ 2147483647 h 70"/>
                <a:gd name="T66" fmla="*/ 2147483647 w 43"/>
                <a:gd name="T67" fmla="*/ 2147483647 h 70"/>
                <a:gd name="T68" fmla="*/ 2147483647 w 43"/>
                <a:gd name="T69" fmla="*/ 2147483647 h 70"/>
                <a:gd name="T70" fmla="*/ 2147483647 w 43"/>
                <a:gd name="T71" fmla="*/ 2147483647 h 70"/>
                <a:gd name="T72" fmla="*/ 2147483647 w 43"/>
                <a:gd name="T73" fmla="*/ 2147483647 h 70"/>
                <a:gd name="T74" fmla="*/ 2147483647 w 43"/>
                <a:gd name="T75" fmla="*/ 2147483647 h 70"/>
                <a:gd name="T76" fmla="*/ 2147483647 w 43"/>
                <a:gd name="T77" fmla="*/ 2147483647 h 70"/>
                <a:gd name="T78" fmla="*/ 2147483647 w 43"/>
                <a:gd name="T79" fmla="*/ 2147483647 h 70"/>
                <a:gd name="T80" fmla="*/ 2147483647 w 43"/>
                <a:gd name="T81" fmla="*/ 2147483647 h 70"/>
                <a:gd name="T82" fmla="*/ 2147483647 w 43"/>
                <a:gd name="T83" fmla="*/ 2147483647 h 70"/>
                <a:gd name="T84" fmla="*/ 2147483647 w 43"/>
                <a:gd name="T85" fmla="*/ 2147483647 h 70"/>
                <a:gd name="T86" fmla="*/ 2147483647 w 43"/>
                <a:gd name="T87" fmla="*/ 2147483647 h 70"/>
                <a:gd name="T88" fmla="*/ 2147483647 w 43"/>
                <a:gd name="T89" fmla="*/ 2147483647 h 70"/>
                <a:gd name="T90" fmla="*/ 2147483647 w 43"/>
                <a:gd name="T91" fmla="*/ 2147483647 h 70"/>
                <a:gd name="T92" fmla="*/ 2147483647 w 43"/>
                <a:gd name="T93" fmla="*/ 2147483647 h 70"/>
                <a:gd name="T94" fmla="*/ 2147483647 w 43"/>
                <a:gd name="T95" fmla="*/ 2147483647 h 70"/>
                <a:gd name="T96" fmla="*/ 2147483647 w 43"/>
                <a:gd name="T97" fmla="*/ 2147483647 h 70"/>
                <a:gd name="T98" fmla="*/ 2147483647 w 43"/>
                <a:gd name="T99" fmla="*/ 2147483647 h 70"/>
                <a:gd name="T100" fmla="*/ 2147483647 w 43"/>
                <a:gd name="T101" fmla="*/ 2147483647 h 70"/>
                <a:gd name="T102" fmla="*/ 2147483647 w 43"/>
                <a:gd name="T103" fmla="*/ 2147483647 h 70"/>
                <a:gd name="T104" fmla="*/ 2147483647 w 43"/>
                <a:gd name="T105" fmla="*/ 2147483647 h 70"/>
                <a:gd name="T106" fmla="*/ 2147483647 w 43"/>
                <a:gd name="T107" fmla="*/ 2147483647 h 70"/>
                <a:gd name="T108" fmla="*/ 2147483647 w 43"/>
                <a:gd name="T109" fmla="*/ 2147483647 h 70"/>
                <a:gd name="T110" fmla="*/ 2147483647 w 43"/>
                <a:gd name="T111" fmla="*/ 0 h 70"/>
                <a:gd name="T112" fmla="*/ 2147483647 w 43"/>
                <a:gd name="T113" fmla="*/ 0 h 70"/>
                <a:gd name="T114" fmla="*/ 2147483647 w 43"/>
                <a:gd name="T115" fmla="*/ 2147483647 h 70"/>
                <a:gd name="T116" fmla="*/ 2147483647 w 43"/>
                <a:gd name="T117" fmla="*/ 0 h 70"/>
                <a:gd name="T118" fmla="*/ 2147483647 w 43"/>
                <a:gd name="T119" fmla="*/ 2147483647 h 70"/>
                <a:gd name="T120" fmla="*/ 2147483647 w 43"/>
                <a:gd name="T121" fmla="*/ 2147483647 h 7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connsiteX0" fmla="*/ 6279 w 10000"/>
                <a:gd name="connsiteY0" fmla="*/ 857 h 10000"/>
                <a:gd name="connsiteX1" fmla="*/ 5349 w 10000"/>
                <a:gd name="connsiteY1" fmla="*/ 1857 h 10000"/>
                <a:gd name="connsiteX2" fmla="*/ 4884 w 10000"/>
                <a:gd name="connsiteY2" fmla="*/ 2857 h 10000"/>
                <a:gd name="connsiteX3" fmla="*/ 5116 w 10000"/>
                <a:gd name="connsiteY3" fmla="*/ 3714 h 10000"/>
                <a:gd name="connsiteX4" fmla="*/ 5814 w 10000"/>
                <a:gd name="connsiteY4" fmla="*/ 5429 h 10000"/>
                <a:gd name="connsiteX5" fmla="*/ 5116 w 10000"/>
                <a:gd name="connsiteY5" fmla="*/ 5571 h 10000"/>
                <a:gd name="connsiteX6" fmla="*/ 4884 w 10000"/>
                <a:gd name="connsiteY6" fmla="*/ 6429 h 10000"/>
                <a:gd name="connsiteX7" fmla="*/ 4651 w 10000"/>
                <a:gd name="connsiteY7" fmla="*/ 6857 h 10000"/>
                <a:gd name="connsiteX8" fmla="*/ 5349 w 10000"/>
                <a:gd name="connsiteY8" fmla="*/ 7429 h 10000"/>
                <a:gd name="connsiteX9" fmla="*/ 5349 w 10000"/>
                <a:gd name="connsiteY9" fmla="*/ 7714 h 10000"/>
                <a:gd name="connsiteX10" fmla="*/ 3953 w 10000"/>
                <a:gd name="connsiteY10" fmla="*/ 7286 h 10000"/>
                <a:gd name="connsiteX11" fmla="*/ 2558 w 10000"/>
                <a:gd name="connsiteY11" fmla="*/ 6857 h 10000"/>
                <a:gd name="connsiteX12" fmla="*/ 1395 w 10000"/>
                <a:gd name="connsiteY12" fmla="*/ 6857 h 10000"/>
                <a:gd name="connsiteX13" fmla="*/ 1395 w 10000"/>
                <a:gd name="connsiteY13" fmla="*/ 7429 h 10000"/>
                <a:gd name="connsiteX14" fmla="*/ 0 w 10000"/>
                <a:gd name="connsiteY14" fmla="*/ 7571 h 10000"/>
                <a:gd name="connsiteX15" fmla="*/ 0 w 10000"/>
                <a:gd name="connsiteY15" fmla="*/ 9143 h 10000"/>
                <a:gd name="connsiteX16" fmla="*/ 465 w 10000"/>
                <a:gd name="connsiteY16" fmla="*/ 9714 h 10000"/>
                <a:gd name="connsiteX17" fmla="*/ 1395 w 10000"/>
                <a:gd name="connsiteY17" fmla="*/ 9714 h 10000"/>
                <a:gd name="connsiteX18" fmla="*/ 1860 w 10000"/>
                <a:gd name="connsiteY18" fmla="*/ 9857 h 10000"/>
                <a:gd name="connsiteX19" fmla="*/ 1628 w 10000"/>
                <a:gd name="connsiteY19" fmla="*/ 9857 h 10000"/>
                <a:gd name="connsiteX20" fmla="*/ 2093 w 10000"/>
                <a:gd name="connsiteY20" fmla="*/ 10000 h 10000"/>
                <a:gd name="connsiteX21" fmla="*/ 2558 w 10000"/>
                <a:gd name="connsiteY21" fmla="*/ 9857 h 10000"/>
                <a:gd name="connsiteX22" fmla="*/ 3488 w 10000"/>
                <a:gd name="connsiteY22" fmla="*/ 10000 h 10000"/>
                <a:gd name="connsiteX23" fmla="*/ 4186 w 10000"/>
                <a:gd name="connsiteY23" fmla="*/ 9571 h 10000"/>
                <a:gd name="connsiteX24" fmla="*/ 5116 w 10000"/>
                <a:gd name="connsiteY24" fmla="*/ 9000 h 10000"/>
                <a:gd name="connsiteX25" fmla="*/ 5814 w 10000"/>
                <a:gd name="connsiteY25" fmla="*/ 8857 h 10000"/>
                <a:gd name="connsiteX26" fmla="*/ 5581 w 10000"/>
                <a:gd name="connsiteY26" fmla="*/ 8857 h 10000"/>
                <a:gd name="connsiteX27" fmla="*/ 5581 w 10000"/>
                <a:gd name="connsiteY27" fmla="*/ 8714 h 10000"/>
                <a:gd name="connsiteX28" fmla="*/ 7674 w 10000"/>
                <a:gd name="connsiteY28" fmla="*/ 8143 h 10000"/>
                <a:gd name="connsiteX29" fmla="*/ 8605 w 10000"/>
                <a:gd name="connsiteY29" fmla="*/ 8429 h 10000"/>
                <a:gd name="connsiteX30" fmla="*/ 9070 w 10000"/>
                <a:gd name="connsiteY30" fmla="*/ 8857 h 10000"/>
                <a:gd name="connsiteX31" fmla="*/ 9302 w 10000"/>
                <a:gd name="connsiteY31" fmla="*/ 9143 h 10000"/>
                <a:gd name="connsiteX32" fmla="*/ 10000 w 10000"/>
                <a:gd name="connsiteY32" fmla="*/ 8857 h 10000"/>
                <a:gd name="connsiteX33" fmla="*/ 10000 w 10000"/>
                <a:gd name="connsiteY33" fmla="*/ 8429 h 10000"/>
                <a:gd name="connsiteX34" fmla="*/ 9302 w 10000"/>
                <a:gd name="connsiteY34" fmla="*/ 7714 h 10000"/>
                <a:gd name="connsiteX35" fmla="*/ 9302 w 10000"/>
                <a:gd name="connsiteY35" fmla="*/ 7000 h 10000"/>
                <a:gd name="connsiteX36" fmla="*/ 9535 w 10000"/>
                <a:gd name="connsiteY36" fmla="*/ 7000 h 10000"/>
                <a:gd name="connsiteX37" fmla="*/ 9070 w 10000"/>
                <a:gd name="connsiteY37" fmla="*/ 6286 h 10000"/>
                <a:gd name="connsiteX38" fmla="*/ 8837 w 10000"/>
                <a:gd name="connsiteY38" fmla="*/ 6000 h 10000"/>
                <a:gd name="connsiteX39" fmla="*/ 7674 w 10000"/>
                <a:gd name="connsiteY39" fmla="*/ 5857 h 10000"/>
                <a:gd name="connsiteX40" fmla="*/ 6512 w 10000"/>
                <a:gd name="connsiteY40" fmla="*/ 5571 h 10000"/>
                <a:gd name="connsiteX41" fmla="*/ 6047 w 10000"/>
                <a:gd name="connsiteY41" fmla="*/ 4857 h 10000"/>
                <a:gd name="connsiteX42" fmla="*/ 5581 w 10000"/>
                <a:gd name="connsiteY42" fmla="*/ 3714 h 10000"/>
                <a:gd name="connsiteX43" fmla="*/ 6047 w 10000"/>
                <a:gd name="connsiteY43" fmla="*/ 3286 h 10000"/>
                <a:gd name="connsiteX44" fmla="*/ 5814 w 10000"/>
                <a:gd name="connsiteY44" fmla="*/ 2286 h 10000"/>
                <a:gd name="connsiteX45" fmla="*/ 6977 w 10000"/>
                <a:gd name="connsiteY45" fmla="*/ 2286 h 10000"/>
                <a:gd name="connsiteX46" fmla="*/ 7442 w 10000"/>
                <a:gd name="connsiteY46" fmla="*/ 2857 h 10000"/>
                <a:gd name="connsiteX47" fmla="*/ 8372 w 10000"/>
                <a:gd name="connsiteY47" fmla="*/ 2857 h 10000"/>
                <a:gd name="connsiteX48" fmla="*/ 8372 w 10000"/>
                <a:gd name="connsiteY48" fmla="*/ 2429 h 10000"/>
                <a:gd name="connsiteX49" fmla="*/ 8605 w 10000"/>
                <a:gd name="connsiteY49" fmla="*/ 2143 h 10000"/>
                <a:gd name="connsiteX50" fmla="*/ 8837 w 10000"/>
                <a:gd name="connsiteY50" fmla="*/ 2286 h 10000"/>
                <a:gd name="connsiteX51" fmla="*/ 8605 w 10000"/>
                <a:gd name="connsiteY51" fmla="*/ 1429 h 10000"/>
                <a:gd name="connsiteX52" fmla="*/ 9070 w 10000"/>
                <a:gd name="connsiteY52" fmla="*/ 857 h 10000"/>
                <a:gd name="connsiteX53" fmla="*/ 9070 w 10000"/>
                <a:gd name="connsiteY53" fmla="*/ 286 h 10000"/>
                <a:gd name="connsiteX54" fmla="*/ 8605 w 10000"/>
                <a:gd name="connsiteY54" fmla="*/ 0 h 10000"/>
                <a:gd name="connsiteX55" fmla="*/ 8140 w 10000"/>
                <a:gd name="connsiteY55" fmla="*/ 0 h 10000"/>
                <a:gd name="connsiteX56" fmla="*/ 6512 w 10000"/>
                <a:gd name="connsiteY56" fmla="*/ 143 h 10000"/>
                <a:gd name="connsiteX57" fmla="*/ 6279 w 10000"/>
                <a:gd name="connsiteY57" fmla="*/ 0 h 10000"/>
                <a:gd name="connsiteX58" fmla="*/ 6279 w 10000"/>
                <a:gd name="connsiteY58" fmla="*/ 714 h 10000"/>
                <a:gd name="connsiteX59" fmla="*/ 6279 w 10000"/>
                <a:gd name="connsiteY59" fmla="*/ 857 h 10000"/>
                <a:gd name="connsiteX0" fmla="*/ 6279 w 10000"/>
                <a:gd name="connsiteY0" fmla="*/ 857 h 10000"/>
                <a:gd name="connsiteX1" fmla="*/ 5349 w 10000"/>
                <a:gd name="connsiteY1" fmla="*/ 1857 h 10000"/>
                <a:gd name="connsiteX2" fmla="*/ 4884 w 10000"/>
                <a:gd name="connsiteY2" fmla="*/ 2857 h 10000"/>
                <a:gd name="connsiteX3" fmla="*/ 5116 w 10000"/>
                <a:gd name="connsiteY3" fmla="*/ 3714 h 10000"/>
                <a:gd name="connsiteX4" fmla="*/ 5116 w 10000"/>
                <a:gd name="connsiteY4" fmla="*/ 5571 h 10000"/>
                <a:gd name="connsiteX5" fmla="*/ 4884 w 10000"/>
                <a:gd name="connsiteY5" fmla="*/ 6429 h 10000"/>
                <a:gd name="connsiteX6" fmla="*/ 4651 w 10000"/>
                <a:gd name="connsiteY6" fmla="*/ 6857 h 10000"/>
                <a:gd name="connsiteX7" fmla="*/ 5349 w 10000"/>
                <a:gd name="connsiteY7" fmla="*/ 7429 h 10000"/>
                <a:gd name="connsiteX8" fmla="*/ 5349 w 10000"/>
                <a:gd name="connsiteY8" fmla="*/ 7714 h 10000"/>
                <a:gd name="connsiteX9" fmla="*/ 3953 w 10000"/>
                <a:gd name="connsiteY9" fmla="*/ 7286 h 10000"/>
                <a:gd name="connsiteX10" fmla="*/ 2558 w 10000"/>
                <a:gd name="connsiteY10" fmla="*/ 6857 h 10000"/>
                <a:gd name="connsiteX11" fmla="*/ 1395 w 10000"/>
                <a:gd name="connsiteY11" fmla="*/ 6857 h 10000"/>
                <a:gd name="connsiteX12" fmla="*/ 1395 w 10000"/>
                <a:gd name="connsiteY12" fmla="*/ 7429 h 10000"/>
                <a:gd name="connsiteX13" fmla="*/ 0 w 10000"/>
                <a:gd name="connsiteY13" fmla="*/ 7571 h 10000"/>
                <a:gd name="connsiteX14" fmla="*/ 0 w 10000"/>
                <a:gd name="connsiteY14" fmla="*/ 9143 h 10000"/>
                <a:gd name="connsiteX15" fmla="*/ 465 w 10000"/>
                <a:gd name="connsiteY15" fmla="*/ 9714 h 10000"/>
                <a:gd name="connsiteX16" fmla="*/ 1395 w 10000"/>
                <a:gd name="connsiteY16" fmla="*/ 9714 h 10000"/>
                <a:gd name="connsiteX17" fmla="*/ 1860 w 10000"/>
                <a:gd name="connsiteY17" fmla="*/ 9857 h 10000"/>
                <a:gd name="connsiteX18" fmla="*/ 1628 w 10000"/>
                <a:gd name="connsiteY18" fmla="*/ 9857 h 10000"/>
                <a:gd name="connsiteX19" fmla="*/ 2093 w 10000"/>
                <a:gd name="connsiteY19" fmla="*/ 10000 h 10000"/>
                <a:gd name="connsiteX20" fmla="*/ 2558 w 10000"/>
                <a:gd name="connsiteY20" fmla="*/ 9857 h 10000"/>
                <a:gd name="connsiteX21" fmla="*/ 3488 w 10000"/>
                <a:gd name="connsiteY21" fmla="*/ 10000 h 10000"/>
                <a:gd name="connsiteX22" fmla="*/ 4186 w 10000"/>
                <a:gd name="connsiteY22" fmla="*/ 9571 h 10000"/>
                <a:gd name="connsiteX23" fmla="*/ 5116 w 10000"/>
                <a:gd name="connsiteY23" fmla="*/ 9000 h 10000"/>
                <a:gd name="connsiteX24" fmla="*/ 5814 w 10000"/>
                <a:gd name="connsiteY24" fmla="*/ 8857 h 10000"/>
                <a:gd name="connsiteX25" fmla="*/ 5581 w 10000"/>
                <a:gd name="connsiteY25" fmla="*/ 8857 h 10000"/>
                <a:gd name="connsiteX26" fmla="*/ 5581 w 10000"/>
                <a:gd name="connsiteY26" fmla="*/ 8714 h 10000"/>
                <a:gd name="connsiteX27" fmla="*/ 7674 w 10000"/>
                <a:gd name="connsiteY27" fmla="*/ 8143 h 10000"/>
                <a:gd name="connsiteX28" fmla="*/ 8605 w 10000"/>
                <a:gd name="connsiteY28" fmla="*/ 8429 h 10000"/>
                <a:gd name="connsiteX29" fmla="*/ 9070 w 10000"/>
                <a:gd name="connsiteY29" fmla="*/ 8857 h 10000"/>
                <a:gd name="connsiteX30" fmla="*/ 9302 w 10000"/>
                <a:gd name="connsiteY30" fmla="*/ 9143 h 10000"/>
                <a:gd name="connsiteX31" fmla="*/ 10000 w 10000"/>
                <a:gd name="connsiteY31" fmla="*/ 8857 h 10000"/>
                <a:gd name="connsiteX32" fmla="*/ 10000 w 10000"/>
                <a:gd name="connsiteY32" fmla="*/ 8429 h 10000"/>
                <a:gd name="connsiteX33" fmla="*/ 9302 w 10000"/>
                <a:gd name="connsiteY33" fmla="*/ 7714 h 10000"/>
                <a:gd name="connsiteX34" fmla="*/ 9302 w 10000"/>
                <a:gd name="connsiteY34" fmla="*/ 7000 h 10000"/>
                <a:gd name="connsiteX35" fmla="*/ 9535 w 10000"/>
                <a:gd name="connsiteY35" fmla="*/ 7000 h 10000"/>
                <a:gd name="connsiteX36" fmla="*/ 9070 w 10000"/>
                <a:gd name="connsiteY36" fmla="*/ 6286 h 10000"/>
                <a:gd name="connsiteX37" fmla="*/ 8837 w 10000"/>
                <a:gd name="connsiteY37" fmla="*/ 6000 h 10000"/>
                <a:gd name="connsiteX38" fmla="*/ 7674 w 10000"/>
                <a:gd name="connsiteY38" fmla="*/ 5857 h 10000"/>
                <a:gd name="connsiteX39" fmla="*/ 6512 w 10000"/>
                <a:gd name="connsiteY39" fmla="*/ 5571 h 10000"/>
                <a:gd name="connsiteX40" fmla="*/ 6047 w 10000"/>
                <a:gd name="connsiteY40" fmla="*/ 4857 h 10000"/>
                <a:gd name="connsiteX41" fmla="*/ 5581 w 10000"/>
                <a:gd name="connsiteY41" fmla="*/ 3714 h 10000"/>
                <a:gd name="connsiteX42" fmla="*/ 6047 w 10000"/>
                <a:gd name="connsiteY42" fmla="*/ 3286 h 10000"/>
                <a:gd name="connsiteX43" fmla="*/ 5814 w 10000"/>
                <a:gd name="connsiteY43" fmla="*/ 2286 h 10000"/>
                <a:gd name="connsiteX44" fmla="*/ 6977 w 10000"/>
                <a:gd name="connsiteY44" fmla="*/ 2286 h 10000"/>
                <a:gd name="connsiteX45" fmla="*/ 7442 w 10000"/>
                <a:gd name="connsiteY45" fmla="*/ 2857 h 10000"/>
                <a:gd name="connsiteX46" fmla="*/ 8372 w 10000"/>
                <a:gd name="connsiteY46" fmla="*/ 2857 h 10000"/>
                <a:gd name="connsiteX47" fmla="*/ 8372 w 10000"/>
                <a:gd name="connsiteY47" fmla="*/ 2429 h 10000"/>
                <a:gd name="connsiteX48" fmla="*/ 8605 w 10000"/>
                <a:gd name="connsiteY48" fmla="*/ 2143 h 10000"/>
                <a:gd name="connsiteX49" fmla="*/ 8837 w 10000"/>
                <a:gd name="connsiteY49" fmla="*/ 2286 h 10000"/>
                <a:gd name="connsiteX50" fmla="*/ 8605 w 10000"/>
                <a:gd name="connsiteY50" fmla="*/ 1429 h 10000"/>
                <a:gd name="connsiteX51" fmla="*/ 9070 w 10000"/>
                <a:gd name="connsiteY51" fmla="*/ 857 h 10000"/>
                <a:gd name="connsiteX52" fmla="*/ 9070 w 10000"/>
                <a:gd name="connsiteY52" fmla="*/ 286 h 10000"/>
                <a:gd name="connsiteX53" fmla="*/ 8605 w 10000"/>
                <a:gd name="connsiteY53" fmla="*/ 0 h 10000"/>
                <a:gd name="connsiteX54" fmla="*/ 8140 w 10000"/>
                <a:gd name="connsiteY54" fmla="*/ 0 h 10000"/>
                <a:gd name="connsiteX55" fmla="*/ 6512 w 10000"/>
                <a:gd name="connsiteY55" fmla="*/ 143 h 10000"/>
                <a:gd name="connsiteX56" fmla="*/ 6279 w 10000"/>
                <a:gd name="connsiteY56" fmla="*/ 0 h 10000"/>
                <a:gd name="connsiteX57" fmla="*/ 6279 w 10000"/>
                <a:gd name="connsiteY57" fmla="*/ 714 h 10000"/>
                <a:gd name="connsiteX58" fmla="*/ 6279 w 10000"/>
                <a:gd name="connsiteY58" fmla="*/ 857 h 10000"/>
                <a:gd name="connsiteX0" fmla="*/ 6279 w 10000"/>
                <a:gd name="connsiteY0" fmla="*/ 857 h 10000"/>
                <a:gd name="connsiteX1" fmla="*/ 5349 w 10000"/>
                <a:gd name="connsiteY1" fmla="*/ 1857 h 10000"/>
                <a:gd name="connsiteX2" fmla="*/ 4884 w 10000"/>
                <a:gd name="connsiteY2" fmla="*/ 2857 h 10000"/>
                <a:gd name="connsiteX3" fmla="*/ 5116 w 10000"/>
                <a:gd name="connsiteY3" fmla="*/ 3714 h 10000"/>
                <a:gd name="connsiteX4" fmla="*/ 4884 w 10000"/>
                <a:gd name="connsiteY4" fmla="*/ 6429 h 10000"/>
                <a:gd name="connsiteX5" fmla="*/ 4651 w 10000"/>
                <a:gd name="connsiteY5" fmla="*/ 6857 h 10000"/>
                <a:gd name="connsiteX6" fmla="*/ 5349 w 10000"/>
                <a:gd name="connsiteY6" fmla="*/ 7429 h 10000"/>
                <a:gd name="connsiteX7" fmla="*/ 5349 w 10000"/>
                <a:gd name="connsiteY7" fmla="*/ 7714 h 10000"/>
                <a:gd name="connsiteX8" fmla="*/ 3953 w 10000"/>
                <a:gd name="connsiteY8" fmla="*/ 7286 h 10000"/>
                <a:gd name="connsiteX9" fmla="*/ 2558 w 10000"/>
                <a:gd name="connsiteY9" fmla="*/ 6857 h 10000"/>
                <a:gd name="connsiteX10" fmla="*/ 1395 w 10000"/>
                <a:gd name="connsiteY10" fmla="*/ 6857 h 10000"/>
                <a:gd name="connsiteX11" fmla="*/ 1395 w 10000"/>
                <a:gd name="connsiteY11" fmla="*/ 7429 h 10000"/>
                <a:gd name="connsiteX12" fmla="*/ 0 w 10000"/>
                <a:gd name="connsiteY12" fmla="*/ 7571 h 10000"/>
                <a:gd name="connsiteX13" fmla="*/ 0 w 10000"/>
                <a:gd name="connsiteY13" fmla="*/ 9143 h 10000"/>
                <a:gd name="connsiteX14" fmla="*/ 465 w 10000"/>
                <a:gd name="connsiteY14" fmla="*/ 9714 h 10000"/>
                <a:gd name="connsiteX15" fmla="*/ 1395 w 10000"/>
                <a:gd name="connsiteY15" fmla="*/ 9714 h 10000"/>
                <a:gd name="connsiteX16" fmla="*/ 1860 w 10000"/>
                <a:gd name="connsiteY16" fmla="*/ 9857 h 10000"/>
                <a:gd name="connsiteX17" fmla="*/ 1628 w 10000"/>
                <a:gd name="connsiteY17" fmla="*/ 9857 h 10000"/>
                <a:gd name="connsiteX18" fmla="*/ 2093 w 10000"/>
                <a:gd name="connsiteY18" fmla="*/ 10000 h 10000"/>
                <a:gd name="connsiteX19" fmla="*/ 2558 w 10000"/>
                <a:gd name="connsiteY19" fmla="*/ 9857 h 10000"/>
                <a:gd name="connsiteX20" fmla="*/ 3488 w 10000"/>
                <a:gd name="connsiteY20" fmla="*/ 10000 h 10000"/>
                <a:gd name="connsiteX21" fmla="*/ 4186 w 10000"/>
                <a:gd name="connsiteY21" fmla="*/ 9571 h 10000"/>
                <a:gd name="connsiteX22" fmla="*/ 5116 w 10000"/>
                <a:gd name="connsiteY22" fmla="*/ 9000 h 10000"/>
                <a:gd name="connsiteX23" fmla="*/ 5814 w 10000"/>
                <a:gd name="connsiteY23" fmla="*/ 8857 h 10000"/>
                <a:gd name="connsiteX24" fmla="*/ 5581 w 10000"/>
                <a:gd name="connsiteY24" fmla="*/ 8857 h 10000"/>
                <a:gd name="connsiteX25" fmla="*/ 5581 w 10000"/>
                <a:gd name="connsiteY25" fmla="*/ 8714 h 10000"/>
                <a:gd name="connsiteX26" fmla="*/ 7674 w 10000"/>
                <a:gd name="connsiteY26" fmla="*/ 8143 h 10000"/>
                <a:gd name="connsiteX27" fmla="*/ 8605 w 10000"/>
                <a:gd name="connsiteY27" fmla="*/ 8429 h 10000"/>
                <a:gd name="connsiteX28" fmla="*/ 9070 w 10000"/>
                <a:gd name="connsiteY28" fmla="*/ 8857 h 10000"/>
                <a:gd name="connsiteX29" fmla="*/ 9302 w 10000"/>
                <a:gd name="connsiteY29" fmla="*/ 9143 h 10000"/>
                <a:gd name="connsiteX30" fmla="*/ 10000 w 10000"/>
                <a:gd name="connsiteY30" fmla="*/ 8857 h 10000"/>
                <a:gd name="connsiteX31" fmla="*/ 10000 w 10000"/>
                <a:gd name="connsiteY31" fmla="*/ 8429 h 10000"/>
                <a:gd name="connsiteX32" fmla="*/ 9302 w 10000"/>
                <a:gd name="connsiteY32" fmla="*/ 7714 h 10000"/>
                <a:gd name="connsiteX33" fmla="*/ 9302 w 10000"/>
                <a:gd name="connsiteY33" fmla="*/ 7000 h 10000"/>
                <a:gd name="connsiteX34" fmla="*/ 9535 w 10000"/>
                <a:gd name="connsiteY34" fmla="*/ 7000 h 10000"/>
                <a:gd name="connsiteX35" fmla="*/ 9070 w 10000"/>
                <a:gd name="connsiteY35" fmla="*/ 6286 h 10000"/>
                <a:gd name="connsiteX36" fmla="*/ 8837 w 10000"/>
                <a:gd name="connsiteY36" fmla="*/ 6000 h 10000"/>
                <a:gd name="connsiteX37" fmla="*/ 7674 w 10000"/>
                <a:gd name="connsiteY37" fmla="*/ 5857 h 10000"/>
                <a:gd name="connsiteX38" fmla="*/ 6512 w 10000"/>
                <a:gd name="connsiteY38" fmla="*/ 5571 h 10000"/>
                <a:gd name="connsiteX39" fmla="*/ 6047 w 10000"/>
                <a:gd name="connsiteY39" fmla="*/ 4857 h 10000"/>
                <a:gd name="connsiteX40" fmla="*/ 5581 w 10000"/>
                <a:gd name="connsiteY40" fmla="*/ 3714 h 10000"/>
                <a:gd name="connsiteX41" fmla="*/ 6047 w 10000"/>
                <a:gd name="connsiteY41" fmla="*/ 3286 h 10000"/>
                <a:gd name="connsiteX42" fmla="*/ 5814 w 10000"/>
                <a:gd name="connsiteY42" fmla="*/ 2286 h 10000"/>
                <a:gd name="connsiteX43" fmla="*/ 6977 w 10000"/>
                <a:gd name="connsiteY43" fmla="*/ 2286 h 10000"/>
                <a:gd name="connsiteX44" fmla="*/ 7442 w 10000"/>
                <a:gd name="connsiteY44" fmla="*/ 2857 h 10000"/>
                <a:gd name="connsiteX45" fmla="*/ 8372 w 10000"/>
                <a:gd name="connsiteY45" fmla="*/ 2857 h 10000"/>
                <a:gd name="connsiteX46" fmla="*/ 8372 w 10000"/>
                <a:gd name="connsiteY46" fmla="*/ 2429 h 10000"/>
                <a:gd name="connsiteX47" fmla="*/ 8605 w 10000"/>
                <a:gd name="connsiteY47" fmla="*/ 2143 h 10000"/>
                <a:gd name="connsiteX48" fmla="*/ 8837 w 10000"/>
                <a:gd name="connsiteY48" fmla="*/ 2286 h 10000"/>
                <a:gd name="connsiteX49" fmla="*/ 8605 w 10000"/>
                <a:gd name="connsiteY49" fmla="*/ 1429 h 10000"/>
                <a:gd name="connsiteX50" fmla="*/ 9070 w 10000"/>
                <a:gd name="connsiteY50" fmla="*/ 857 h 10000"/>
                <a:gd name="connsiteX51" fmla="*/ 9070 w 10000"/>
                <a:gd name="connsiteY51" fmla="*/ 286 h 10000"/>
                <a:gd name="connsiteX52" fmla="*/ 8605 w 10000"/>
                <a:gd name="connsiteY52" fmla="*/ 0 h 10000"/>
                <a:gd name="connsiteX53" fmla="*/ 8140 w 10000"/>
                <a:gd name="connsiteY53" fmla="*/ 0 h 10000"/>
                <a:gd name="connsiteX54" fmla="*/ 6512 w 10000"/>
                <a:gd name="connsiteY54" fmla="*/ 143 h 10000"/>
                <a:gd name="connsiteX55" fmla="*/ 6279 w 10000"/>
                <a:gd name="connsiteY55" fmla="*/ 0 h 10000"/>
                <a:gd name="connsiteX56" fmla="*/ 6279 w 10000"/>
                <a:gd name="connsiteY56" fmla="*/ 714 h 10000"/>
                <a:gd name="connsiteX57" fmla="*/ 6279 w 10000"/>
                <a:gd name="connsiteY57" fmla="*/ 857 h 10000"/>
                <a:gd name="connsiteX0" fmla="*/ 6279 w 10000"/>
                <a:gd name="connsiteY0" fmla="*/ 857 h 10000"/>
                <a:gd name="connsiteX1" fmla="*/ 5349 w 10000"/>
                <a:gd name="connsiteY1" fmla="*/ 1857 h 10000"/>
                <a:gd name="connsiteX2" fmla="*/ 4884 w 10000"/>
                <a:gd name="connsiteY2" fmla="*/ 2857 h 10000"/>
                <a:gd name="connsiteX3" fmla="*/ 5116 w 10000"/>
                <a:gd name="connsiteY3" fmla="*/ 3714 h 10000"/>
                <a:gd name="connsiteX4" fmla="*/ 4651 w 10000"/>
                <a:gd name="connsiteY4" fmla="*/ 6857 h 10000"/>
                <a:gd name="connsiteX5" fmla="*/ 5349 w 10000"/>
                <a:gd name="connsiteY5" fmla="*/ 7429 h 10000"/>
                <a:gd name="connsiteX6" fmla="*/ 5349 w 10000"/>
                <a:gd name="connsiteY6" fmla="*/ 7714 h 10000"/>
                <a:gd name="connsiteX7" fmla="*/ 3953 w 10000"/>
                <a:gd name="connsiteY7" fmla="*/ 7286 h 10000"/>
                <a:gd name="connsiteX8" fmla="*/ 2558 w 10000"/>
                <a:gd name="connsiteY8" fmla="*/ 6857 h 10000"/>
                <a:gd name="connsiteX9" fmla="*/ 1395 w 10000"/>
                <a:gd name="connsiteY9" fmla="*/ 6857 h 10000"/>
                <a:gd name="connsiteX10" fmla="*/ 1395 w 10000"/>
                <a:gd name="connsiteY10" fmla="*/ 7429 h 10000"/>
                <a:gd name="connsiteX11" fmla="*/ 0 w 10000"/>
                <a:gd name="connsiteY11" fmla="*/ 7571 h 10000"/>
                <a:gd name="connsiteX12" fmla="*/ 0 w 10000"/>
                <a:gd name="connsiteY12" fmla="*/ 9143 h 10000"/>
                <a:gd name="connsiteX13" fmla="*/ 465 w 10000"/>
                <a:gd name="connsiteY13" fmla="*/ 9714 h 10000"/>
                <a:gd name="connsiteX14" fmla="*/ 1395 w 10000"/>
                <a:gd name="connsiteY14" fmla="*/ 9714 h 10000"/>
                <a:gd name="connsiteX15" fmla="*/ 1860 w 10000"/>
                <a:gd name="connsiteY15" fmla="*/ 9857 h 10000"/>
                <a:gd name="connsiteX16" fmla="*/ 1628 w 10000"/>
                <a:gd name="connsiteY16" fmla="*/ 9857 h 10000"/>
                <a:gd name="connsiteX17" fmla="*/ 2093 w 10000"/>
                <a:gd name="connsiteY17" fmla="*/ 10000 h 10000"/>
                <a:gd name="connsiteX18" fmla="*/ 2558 w 10000"/>
                <a:gd name="connsiteY18" fmla="*/ 9857 h 10000"/>
                <a:gd name="connsiteX19" fmla="*/ 3488 w 10000"/>
                <a:gd name="connsiteY19" fmla="*/ 10000 h 10000"/>
                <a:gd name="connsiteX20" fmla="*/ 4186 w 10000"/>
                <a:gd name="connsiteY20" fmla="*/ 9571 h 10000"/>
                <a:gd name="connsiteX21" fmla="*/ 5116 w 10000"/>
                <a:gd name="connsiteY21" fmla="*/ 9000 h 10000"/>
                <a:gd name="connsiteX22" fmla="*/ 5814 w 10000"/>
                <a:gd name="connsiteY22" fmla="*/ 8857 h 10000"/>
                <a:gd name="connsiteX23" fmla="*/ 5581 w 10000"/>
                <a:gd name="connsiteY23" fmla="*/ 8857 h 10000"/>
                <a:gd name="connsiteX24" fmla="*/ 5581 w 10000"/>
                <a:gd name="connsiteY24" fmla="*/ 8714 h 10000"/>
                <a:gd name="connsiteX25" fmla="*/ 7674 w 10000"/>
                <a:gd name="connsiteY25" fmla="*/ 8143 h 10000"/>
                <a:gd name="connsiteX26" fmla="*/ 8605 w 10000"/>
                <a:gd name="connsiteY26" fmla="*/ 8429 h 10000"/>
                <a:gd name="connsiteX27" fmla="*/ 9070 w 10000"/>
                <a:gd name="connsiteY27" fmla="*/ 8857 h 10000"/>
                <a:gd name="connsiteX28" fmla="*/ 9302 w 10000"/>
                <a:gd name="connsiteY28" fmla="*/ 9143 h 10000"/>
                <a:gd name="connsiteX29" fmla="*/ 10000 w 10000"/>
                <a:gd name="connsiteY29" fmla="*/ 8857 h 10000"/>
                <a:gd name="connsiteX30" fmla="*/ 10000 w 10000"/>
                <a:gd name="connsiteY30" fmla="*/ 8429 h 10000"/>
                <a:gd name="connsiteX31" fmla="*/ 9302 w 10000"/>
                <a:gd name="connsiteY31" fmla="*/ 7714 h 10000"/>
                <a:gd name="connsiteX32" fmla="*/ 9302 w 10000"/>
                <a:gd name="connsiteY32" fmla="*/ 7000 h 10000"/>
                <a:gd name="connsiteX33" fmla="*/ 9535 w 10000"/>
                <a:gd name="connsiteY33" fmla="*/ 7000 h 10000"/>
                <a:gd name="connsiteX34" fmla="*/ 9070 w 10000"/>
                <a:gd name="connsiteY34" fmla="*/ 6286 h 10000"/>
                <a:gd name="connsiteX35" fmla="*/ 8837 w 10000"/>
                <a:gd name="connsiteY35" fmla="*/ 6000 h 10000"/>
                <a:gd name="connsiteX36" fmla="*/ 7674 w 10000"/>
                <a:gd name="connsiteY36" fmla="*/ 5857 h 10000"/>
                <a:gd name="connsiteX37" fmla="*/ 6512 w 10000"/>
                <a:gd name="connsiteY37" fmla="*/ 5571 h 10000"/>
                <a:gd name="connsiteX38" fmla="*/ 6047 w 10000"/>
                <a:gd name="connsiteY38" fmla="*/ 4857 h 10000"/>
                <a:gd name="connsiteX39" fmla="*/ 5581 w 10000"/>
                <a:gd name="connsiteY39" fmla="*/ 3714 h 10000"/>
                <a:gd name="connsiteX40" fmla="*/ 6047 w 10000"/>
                <a:gd name="connsiteY40" fmla="*/ 3286 h 10000"/>
                <a:gd name="connsiteX41" fmla="*/ 5814 w 10000"/>
                <a:gd name="connsiteY41" fmla="*/ 2286 h 10000"/>
                <a:gd name="connsiteX42" fmla="*/ 6977 w 10000"/>
                <a:gd name="connsiteY42" fmla="*/ 2286 h 10000"/>
                <a:gd name="connsiteX43" fmla="*/ 7442 w 10000"/>
                <a:gd name="connsiteY43" fmla="*/ 2857 h 10000"/>
                <a:gd name="connsiteX44" fmla="*/ 8372 w 10000"/>
                <a:gd name="connsiteY44" fmla="*/ 2857 h 10000"/>
                <a:gd name="connsiteX45" fmla="*/ 8372 w 10000"/>
                <a:gd name="connsiteY45" fmla="*/ 2429 h 10000"/>
                <a:gd name="connsiteX46" fmla="*/ 8605 w 10000"/>
                <a:gd name="connsiteY46" fmla="*/ 2143 h 10000"/>
                <a:gd name="connsiteX47" fmla="*/ 8837 w 10000"/>
                <a:gd name="connsiteY47" fmla="*/ 2286 h 10000"/>
                <a:gd name="connsiteX48" fmla="*/ 8605 w 10000"/>
                <a:gd name="connsiteY48" fmla="*/ 1429 h 10000"/>
                <a:gd name="connsiteX49" fmla="*/ 9070 w 10000"/>
                <a:gd name="connsiteY49" fmla="*/ 857 h 10000"/>
                <a:gd name="connsiteX50" fmla="*/ 9070 w 10000"/>
                <a:gd name="connsiteY50" fmla="*/ 286 h 10000"/>
                <a:gd name="connsiteX51" fmla="*/ 8605 w 10000"/>
                <a:gd name="connsiteY51" fmla="*/ 0 h 10000"/>
                <a:gd name="connsiteX52" fmla="*/ 8140 w 10000"/>
                <a:gd name="connsiteY52" fmla="*/ 0 h 10000"/>
                <a:gd name="connsiteX53" fmla="*/ 6512 w 10000"/>
                <a:gd name="connsiteY53" fmla="*/ 143 h 10000"/>
                <a:gd name="connsiteX54" fmla="*/ 6279 w 10000"/>
                <a:gd name="connsiteY54" fmla="*/ 0 h 10000"/>
                <a:gd name="connsiteX55" fmla="*/ 6279 w 10000"/>
                <a:gd name="connsiteY55" fmla="*/ 714 h 10000"/>
                <a:gd name="connsiteX56" fmla="*/ 6279 w 10000"/>
                <a:gd name="connsiteY56" fmla="*/ 857 h 10000"/>
                <a:gd name="connsiteX0" fmla="*/ 6279 w 10000"/>
                <a:gd name="connsiteY0" fmla="*/ 857 h 10000"/>
                <a:gd name="connsiteX1" fmla="*/ 5349 w 10000"/>
                <a:gd name="connsiteY1" fmla="*/ 1857 h 10000"/>
                <a:gd name="connsiteX2" fmla="*/ 4884 w 10000"/>
                <a:gd name="connsiteY2" fmla="*/ 2857 h 10000"/>
                <a:gd name="connsiteX3" fmla="*/ 5116 w 10000"/>
                <a:gd name="connsiteY3" fmla="*/ 3714 h 10000"/>
                <a:gd name="connsiteX4" fmla="*/ 5349 w 10000"/>
                <a:gd name="connsiteY4" fmla="*/ 7429 h 10000"/>
                <a:gd name="connsiteX5" fmla="*/ 5349 w 10000"/>
                <a:gd name="connsiteY5" fmla="*/ 7714 h 10000"/>
                <a:gd name="connsiteX6" fmla="*/ 3953 w 10000"/>
                <a:gd name="connsiteY6" fmla="*/ 7286 h 10000"/>
                <a:gd name="connsiteX7" fmla="*/ 2558 w 10000"/>
                <a:gd name="connsiteY7" fmla="*/ 6857 h 10000"/>
                <a:gd name="connsiteX8" fmla="*/ 1395 w 10000"/>
                <a:gd name="connsiteY8" fmla="*/ 6857 h 10000"/>
                <a:gd name="connsiteX9" fmla="*/ 1395 w 10000"/>
                <a:gd name="connsiteY9" fmla="*/ 7429 h 10000"/>
                <a:gd name="connsiteX10" fmla="*/ 0 w 10000"/>
                <a:gd name="connsiteY10" fmla="*/ 7571 h 10000"/>
                <a:gd name="connsiteX11" fmla="*/ 0 w 10000"/>
                <a:gd name="connsiteY11" fmla="*/ 9143 h 10000"/>
                <a:gd name="connsiteX12" fmla="*/ 465 w 10000"/>
                <a:gd name="connsiteY12" fmla="*/ 9714 h 10000"/>
                <a:gd name="connsiteX13" fmla="*/ 1395 w 10000"/>
                <a:gd name="connsiteY13" fmla="*/ 9714 h 10000"/>
                <a:gd name="connsiteX14" fmla="*/ 1860 w 10000"/>
                <a:gd name="connsiteY14" fmla="*/ 9857 h 10000"/>
                <a:gd name="connsiteX15" fmla="*/ 1628 w 10000"/>
                <a:gd name="connsiteY15" fmla="*/ 9857 h 10000"/>
                <a:gd name="connsiteX16" fmla="*/ 2093 w 10000"/>
                <a:gd name="connsiteY16" fmla="*/ 10000 h 10000"/>
                <a:gd name="connsiteX17" fmla="*/ 2558 w 10000"/>
                <a:gd name="connsiteY17" fmla="*/ 9857 h 10000"/>
                <a:gd name="connsiteX18" fmla="*/ 3488 w 10000"/>
                <a:gd name="connsiteY18" fmla="*/ 10000 h 10000"/>
                <a:gd name="connsiteX19" fmla="*/ 4186 w 10000"/>
                <a:gd name="connsiteY19" fmla="*/ 9571 h 10000"/>
                <a:gd name="connsiteX20" fmla="*/ 5116 w 10000"/>
                <a:gd name="connsiteY20" fmla="*/ 9000 h 10000"/>
                <a:gd name="connsiteX21" fmla="*/ 5814 w 10000"/>
                <a:gd name="connsiteY21" fmla="*/ 8857 h 10000"/>
                <a:gd name="connsiteX22" fmla="*/ 5581 w 10000"/>
                <a:gd name="connsiteY22" fmla="*/ 8857 h 10000"/>
                <a:gd name="connsiteX23" fmla="*/ 5581 w 10000"/>
                <a:gd name="connsiteY23" fmla="*/ 8714 h 10000"/>
                <a:gd name="connsiteX24" fmla="*/ 7674 w 10000"/>
                <a:gd name="connsiteY24" fmla="*/ 8143 h 10000"/>
                <a:gd name="connsiteX25" fmla="*/ 8605 w 10000"/>
                <a:gd name="connsiteY25" fmla="*/ 8429 h 10000"/>
                <a:gd name="connsiteX26" fmla="*/ 9070 w 10000"/>
                <a:gd name="connsiteY26" fmla="*/ 8857 h 10000"/>
                <a:gd name="connsiteX27" fmla="*/ 9302 w 10000"/>
                <a:gd name="connsiteY27" fmla="*/ 9143 h 10000"/>
                <a:gd name="connsiteX28" fmla="*/ 10000 w 10000"/>
                <a:gd name="connsiteY28" fmla="*/ 8857 h 10000"/>
                <a:gd name="connsiteX29" fmla="*/ 10000 w 10000"/>
                <a:gd name="connsiteY29" fmla="*/ 8429 h 10000"/>
                <a:gd name="connsiteX30" fmla="*/ 9302 w 10000"/>
                <a:gd name="connsiteY30" fmla="*/ 7714 h 10000"/>
                <a:gd name="connsiteX31" fmla="*/ 9302 w 10000"/>
                <a:gd name="connsiteY31" fmla="*/ 7000 h 10000"/>
                <a:gd name="connsiteX32" fmla="*/ 9535 w 10000"/>
                <a:gd name="connsiteY32" fmla="*/ 7000 h 10000"/>
                <a:gd name="connsiteX33" fmla="*/ 9070 w 10000"/>
                <a:gd name="connsiteY33" fmla="*/ 6286 h 10000"/>
                <a:gd name="connsiteX34" fmla="*/ 8837 w 10000"/>
                <a:gd name="connsiteY34" fmla="*/ 6000 h 10000"/>
                <a:gd name="connsiteX35" fmla="*/ 7674 w 10000"/>
                <a:gd name="connsiteY35" fmla="*/ 5857 h 10000"/>
                <a:gd name="connsiteX36" fmla="*/ 6512 w 10000"/>
                <a:gd name="connsiteY36" fmla="*/ 5571 h 10000"/>
                <a:gd name="connsiteX37" fmla="*/ 6047 w 10000"/>
                <a:gd name="connsiteY37" fmla="*/ 4857 h 10000"/>
                <a:gd name="connsiteX38" fmla="*/ 5581 w 10000"/>
                <a:gd name="connsiteY38" fmla="*/ 3714 h 10000"/>
                <a:gd name="connsiteX39" fmla="*/ 6047 w 10000"/>
                <a:gd name="connsiteY39" fmla="*/ 3286 h 10000"/>
                <a:gd name="connsiteX40" fmla="*/ 5814 w 10000"/>
                <a:gd name="connsiteY40" fmla="*/ 2286 h 10000"/>
                <a:gd name="connsiteX41" fmla="*/ 6977 w 10000"/>
                <a:gd name="connsiteY41" fmla="*/ 2286 h 10000"/>
                <a:gd name="connsiteX42" fmla="*/ 7442 w 10000"/>
                <a:gd name="connsiteY42" fmla="*/ 2857 h 10000"/>
                <a:gd name="connsiteX43" fmla="*/ 8372 w 10000"/>
                <a:gd name="connsiteY43" fmla="*/ 2857 h 10000"/>
                <a:gd name="connsiteX44" fmla="*/ 8372 w 10000"/>
                <a:gd name="connsiteY44" fmla="*/ 2429 h 10000"/>
                <a:gd name="connsiteX45" fmla="*/ 8605 w 10000"/>
                <a:gd name="connsiteY45" fmla="*/ 2143 h 10000"/>
                <a:gd name="connsiteX46" fmla="*/ 8837 w 10000"/>
                <a:gd name="connsiteY46" fmla="*/ 2286 h 10000"/>
                <a:gd name="connsiteX47" fmla="*/ 8605 w 10000"/>
                <a:gd name="connsiteY47" fmla="*/ 1429 h 10000"/>
                <a:gd name="connsiteX48" fmla="*/ 9070 w 10000"/>
                <a:gd name="connsiteY48" fmla="*/ 857 h 10000"/>
                <a:gd name="connsiteX49" fmla="*/ 9070 w 10000"/>
                <a:gd name="connsiteY49" fmla="*/ 286 h 10000"/>
                <a:gd name="connsiteX50" fmla="*/ 8605 w 10000"/>
                <a:gd name="connsiteY50" fmla="*/ 0 h 10000"/>
                <a:gd name="connsiteX51" fmla="*/ 8140 w 10000"/>
                <a:gd name="connsiteY51" fmla="*/ 0 h 10000"/>
                <a:gd name="connsiteX52" fmla="*/ 6512 w 10000"/>
                <a:gd name="connsiteY52" fmla="*/ 143 h 10000"/>
                <a:gd name="connsiteX53" fmla="*/ 6279 w 10000"/>
                <a:gd name="connsiteY53" fmla="*/ 0 h 10000"/>
                <a:gd name="connsiteX54" fmla="*/ 6279 w 10000"/>
                <a:gd name="connsiteY54" fmla="*/ 714 h 10000"/>
                <a:gd name="connsiteX55" fmla="*/ 6279 w 10000"/>
                <a:gd name="connsiteY55" fmla="*/ 857 h 10000"/>
                <a:gd name="connsiteX0" fmla="*/ 6279 w 10000"/>
                <a:gd name="connsiteY0" fmla="*/ 857 h 10000"/>
                <a:gd name="connsiteX1" fmla="*/ 5349 w 10000"/>
                <a:gd name="connsiteY1" fmla="*/ 1857 h 10000"/>
                <a:gd name="connsiteX2" fmla="*/ 4884 w 10000"/>
                <a:gd name="connsiteY2" fmla="*/ 2857 h 10000"/>
                <a:gd name="connsiteX3" fmla="*/ 5116 w 10000"/>
                <a:gd name="connsiteY3" fmla="*/ 3714 h 10000"/>
                <a:gd name="connsiteX4" fmla="*/ 5349 w 10000"/>
                <a:gd name="connsiteY4" fmla="*/ 7714 h 10000"/>
                <a:gd name="connsiteX5" fmla="*/ 3953 w 10000"/>
                <a:gd name="connsiteY5" fmla="*/ 7286 h 10000"/>
                <a:gd name="connsiteX6" fmla="*/ 2558 w 10000"/>
                <a:gd name="connsiteY6" fmla="*/ 6857 h 10000"/>
                <a:gd name="connsiteX7" fmla="*/ 1395 w 10000"/>
                <a:gd name="connsiteY7" fmla="*/ 6857 h 10000"/>
                <a:gd name="connsiteX8" fmla="*/ 1395 w 10000"/>
                <a:gd name="connsiteY8" fmla="*/ 7429 h 10000"/>
                <a:gd name="connsiteX9" fmla="*/ 0 w 10000"/>
                <a:gd name="connsiteY9" fmla="*/ 7571 h 10000"/>
                <a:gd name="connsiteX10" fmla="*/ 0 w 10000"/>
                <a:gd name="connsiteY10" fmla="*/ 9143 h 10000"/>
                <a:gd name="connsiteX11" fmla="*/ 465 w 10000"/>
                <a:gd name="connsiteY11" fmla="*/ 9714 h 10000"/>
                <a:gd name="connsiteX12" fmla="*/ 1395 w 10000"/>
                <a:gd name="connsiteY12" fmla="*/ 9714 h 10000"/>
                <a:gd name="connsiteX13" fmla="*/ 1860 w 10000"/>
                <a:gd name="connsiteY13" fmla="*/ 9857 h 10000"/>
                <a:gd name="connsiteX14" fmla="*/ 1628 w 10000"/>
                <a:gd name="connsiteY14" fmla="*/ 9857 h 10000"/>
                <a:gd name="connsiteX15" fmla="*/ 2093 w 10000"/>
                <a:gd name="connsiteY15" fmla="*/ 10000 h 10000"/>
                <a:gd name="connsiteX16" fmla="*/ 2558 w 10000"/>
                <a:gd name="connsiteY16" fmla="*/ 9857 h 10000"/>
                <a:gd name="connsiteX17" fmla="*/ 3488 w 10000"/>
                <a:gd name="connsiteY17" fmla="*/ 10000 h 10000"/>
                <a:gd name="connsiteX18" fmla="*/ 4186 w 10000"/>
                <a:gd name="connsiteY18" fmla="*/ 9571 h 10000"/>
                <a:gd name="connsiteX19" fmla="*/ 5116 w 10000"/>
                <a:gd name="connsiteY19" fmla="*/ 9000 h 10000"/>
                <a:gd name="connsiteX20" fmla="*/ 5814 w 10000"/>
                <a:gd name="connsiteY20" fmla="*/ 8857 h 10000"/>
                <a:gd name="connsiteX21" fmla="*/ 5581 w 10000"/>
                <a:gd name="connsiteY21" fmla="*/ 8857 h 10000"/>
                <a:gd name="connsiteX22" fmla="*/ 5581 w 10000"/>
                <a:gd name="connsiteY22" fmla="*/ 8714 h 10000"/>
                <a:gd name="connsiteX23" fmla="*/ 7674 w 10000"/>
                <a:gd name="connsiteY23" fmla="*/ 8143 h 10000"/>
                <a:gd name="connsiteX24" fmla="*/ 8605 w 10000"/>
                <a:gd name="connsiteY24" fmla="*/ 8429 h 10000"/>
                <a:gd name="connsiteX25" fmla="*/ 9070 w 10000"/>
                <a:gd name="connsiteY25" fmla="*/ 8857 h 10000"/>
                <a:gd name="connsiteX26" fmla="*/ 9302 w 10000"/>
                <a:gd name="connsiteY26" fmla="*/ 9143 h 10000"/>
                <a:gd name="connsiteX27" fmla="*/ 10000 w 10000"/>
                <a:gd name="connsiteY27" fmla="*/ 8857 h 10000"/>
                <a:gd name="connsiteX28" fmla="*/ 10000 w 10000"/>
                <a:gd name="connsiteY28" fmla="*/ 8429 h 10000"/>
                <a:gd name="connsiteX29" fmla="*/ 9302 w 10000"/>
                <a:gd name="connsiteY29" fmla="*/ 7714 h 10000"/>
                <a:gd name="connsiteX30" fmla="*/ 9302 w 10000"/>
                <a:gd name="connsiteY30" fmla="*/ 7000 h 10000"/>
                <a:gd name="connsiteX31" fmla="*/ 9535 w 10000"/>
                <a:gd name="connsiteY31" fmla="*/ 7000 h 10000"/>
                <a:gd name="connsiteX32" fmla="*/ 9070 w 10000"/>
                <a:gd name="connsiteY32" fmla="*/ 6286 h 10000"/>
                <a:gd name="connsiteX33" fmla="*/ 8837 w 10000"/>
                <a:gd name="connsiteY33" fmla="*/ 6000 h 10000"/>
                <a:gd name="connsiteX34" fmla="*/ 7674 w 10000"/>
                <a:gd name="connsiteY34" fmla="*/ 5857 h 10000"/>
                <a:gd name="connsiteX35" fmla="*/ 6512 w 10000"/>
                <a:gd name="connsiteY35" fmla="*/ 5571 h 10000"/>
                <a:gd name="connsiteX36" fmla="*/ 6047 w 10000"/>
                <a:gd name="connsiteY36" fmla="*/ 4857 h 10000"/>
                <a:gd name="connsiteX37" fmla="*/ 5581 w 10000"/>
                <a:gd name="connsiteY37" fmla="*/ 3714 h 10000"/>
                <a:gd name="connsiteX38" fmla="*/ 6047 w 10000"/>
                <a:gd name="connsiteY38" fmla="*/ 3286 h 10000"/>
                <a:gd name="connsiteX39" fmla="*/ 5814 w 10000"/>
                <a:gd name="connsiteY39" fmla="*/ 2286 h 10000"/>
                <a:gd name="connsiteX40" fmla="*/ 6977 w 10000"/>
                <a:gd name="connsiteY40" fmla="*/ 2286 h 10000"/>
                <a:gd name="connsiteX41" fmla="*/ 7442 w 10000"/>
                <a:gd name="connsiteY41" fmla="*/ 2857 h 10000"/>
                <a:gd name="connsiteX42" fmla="*/ 8372 w 10000"/>
                <a:gd name="connsiteY42" fmla="*/ 2857 h 10000"/>
                <a:gd name="connsiteX43" fmla="*/ 8372 w 10000"/>
                <a:gd name="connsiteY43" fmla="*/ 2429 h 10000"/>
                <a:gd name="connsiteX44" fmla="*/ 8605 w 10000"/>
                <a:gd name="connsiteY44" fmla="*/ 2143 h 10000"/>
                <a:gd name="connsiteX45" fmla="*/ 8837 w 10000"/>
                <a:gd name="connsiteY45" fmla="*/ 2286 h 10000"/>
                <a:gd name="connsiteX46" fmla="*/ 8605 w 10000"/>
                <a:gd name="connsiteY46" fmla="*/ 1429 h 10000"/>
                <a:gd name="connsiteX47" fmla="*/ 9070 w 10000"/>
                <a:gd name="connsiteY47" fmla="*/ 857 h 10000"/>
                <a:gd name="connsiteX48" fmla="*/ 9070 w 10000"/>
                <a:gd name="connsiteY48" fmla="*/ 286 h 10000"/>
                <a:gd name="connsiteX49" fmla="*/ 8605 w 10000"/>
                <a:gd name="connsiteY49" fmla="*/ 0 h 10000"/>
                <a:gd name="connsiteX50" fmla="*/ 8140 w 10000"/>
                <a:gd name="connsiteY50" fmla="*/ 0 h 10000"/>
                <a:gd name="connsiteX51" fmla="*/ 6512 w 10000"/>
                <a:gd name="connsiteY51" fmla="*/ 143 h 10000"/>
                <a:gd name="connsiteX52" fmla="*/ 6279 w 10000"/>
                <a:gd name="connsiteY52" fmla="*/ 0 h 10000"/>
                <a:gd name="connsiteX53" fmla="*/ 6279 w 10000"/>
                <a:gd name="connsiteY53" fmla="*/ 714 h 10000"/>
                <a:gd name="connsiteX54" fmla="*/ 6279 w 10000"/>
                <a:gd name="connsiteY54" fmla="*/ 857 h 10000"/>
                <a:gd name="connsiteX0" fmla="*/ 6279 w 10000"/>
                <a:gd name="connsiteY0" fmla="*/ 857 h 10000"/>
                <a:gd name="connsiteX1" fmla="*/ 5349 w 10000"/>
                <a:gd name="connsiteY1" fmla="*/ 1857 h 10000"/>
                <a:gd name="connsiteX2" fmla="*/ 4884 w 10000"/>
                <a:gd name="connsiteY2" fmla="*/ 2857 h 10000"/>
                <a:gd name="connsiteX3" fmla="*/ 5116 w 10000"/>
                <a:gd name="connsiteY3" fmla="*/ 3714 h 10000"/>
                <a:gd name="connsiteX4" fmla="*/ 3953 w 10000"/>
                <a:gd name="connsiteY4" fmla="*/ 7286 h 10000"/>
                <a:gd name="connsiteX5" fmla="*/ 2558 w 10000"/>
                <a:gd name="connsiteY5" fmla="*/ 6857 h 10000"/>
                <a:gd name="connsiteX6" fmla="*/ 1395 w 10000"/>
                <a:gd name="connsiteY6" fmla="*/ 6857 h 10000"/>
                <a:gd name="connsiteX7" fmla="*/ 1395 w 10000"/>
                <a:gd name="connsiteY7" fmla="*/ 7429 h 10000"/>
                <a:gd name="connsiteX8" fmla="*/ 0 w 10000"/>
                <a:gd name="connsiteY8" fmla="*/ 7571 h 10000"/>
                <a:gd name="connsiteX9" fmla="*/ 0 w 10000"/>
                <a:gd name="connsiteY9" fmla="*/ 9143 h 10000"/>
                <a:gd name="connsiteX10" fmla="*/ 465 w 10000"/>
                <a:gd name="connsiteY10" fmla="*/ 9714 h 10000"/>
                <a:gd name="connsiteX11" fmla="*/ 1395 w 10000"/>
                <a:gd name="connsiteY11" fmla="*/ 9714 h 10000"/>
                <a:gd name="connsiteX12" fmla="*/ 1860 w 10000"/>
                <a:gd name="connsiteY12" fmla="*/ 9857 h 10000"/>
                <a:gd name="connsiteX13" fmla="*/ 1628 w 10000"/>
                <a:gd name="connsiteY13" fmla="*/ 9857 h 10000"/>
                <a:gd name="connsiteX14" fmla="*/ 2093 w 10000"/>
                <a:gd name="connsiteY14" fmla="*/ 10000 h 10000"/>
                <a:gd name="connsiteX15" fmla="*/ 2558 w 10000"/>
                <a:gd name="connsiteY15" fmla="*/ 9857 h 10000"/>
                <a:gd name="connsiteX16" fmla="*/ 3488 w 10000"/>
                <a:gd name="connsiteY16" fmla="*/ 10000 h 10000"/>
                <a:gd name="connsiteX17" fmla="*/ 4186 w 10000"/>
                <a:gd name="connsiteY17" fmla="*/ 9571 h 10000"/>
                <a:gd name="connsiteX18" fmla="*/ 5116 w 10000"/>
                <a:gd name="connsiteY18" fmla="*/ 9000 h 10000"/>
                <a:gd name="connsiteX19" fmla="*/ 5814 w 10000"/>
                <a:gd name="connsiteY19" fmla="*/ 8857 h 10000"/>
                <a:gd name="connsiteX20" fmla="*/ 5581 w 10000"/>
                <a:gd name="connsiteY20" fmla="*/ 8857 h 10000"/>
                <a:gd name="connsiteX21" fmla="*/ 5581 w 10000"/>
                <a:gd name="connsiteY21" fmla="*/ 8714 h 10000"/>
                <a:gd name="connsiteX22" fmla="*/ 7674 w 10000"/>
                <a:gd name="connsiteY22" fmla="*/ 8143 h 10000"/>
                <a:gd name="connsiteX23" fmla="*/ 8605 w 10000"/>
                <a:gd name="connsiteY23" fmla="*/ 8429 h 10000"/>
                <a:gd name="connsiteX24" fmla="*/ 9070 w 10000"/>
                <a:gd name="connsiteY24" fmla="*/ 8857 h 10000"/>
                <a:gd name="connsiteX25" fmla="*/ 9302 w 10000"/>
                <a:gd name="connsiteY25" fmla="*/ 9143 h 10000"/>
                <a:gd name="connsiteX26" fmla="*/ 10000 w 10000"/>
                <a:gd name="connsiteY26" fmla="*/ 8857 h 10000"/>
                <a:gd name="connsiteX27" fmla="*/ 10000 w 10000"/>
                <a:gd name="connsiteY27" fmla="*/ 8429 h 10000"/>
                <a:gd name="connsiteX28" fmla="*/ 9302 w 10000"/>
                <a:gd name="connsiteY28" fmla="*/ 7714 h 10000"/>
                <a:gd name="connsiteX29" fmla="*/ 9302 w 10000"/>
                <a:gd name="connsiteY29" fmla="*/ 7000 h 10000"/>
                <a:gd name="connsiteX30" fmla="*/ 9535 w 10000"/>
                <a:gd name="connsiteY30" fmla="*/ 7000 h 10000"/>
                <a:gd name="connsiteX31" fmla="*/ 9070 w 10000"/>
                <a:gd name="connsiteY31" fmla="*/ 6286 h 10000"/>
                <a:gd name="connsiteX32" fmla="*/ 8837 w 10000"/>
                <a:gd name="connsiteY32" fmla="*/ 6000 h 10000"/>
                <a:gd name="connsiteX33" fmla="*/ 7674 w 10000"/>
                <a:gd name="connsiteY33" fmla="*/ 5857 h 10000"/>
                <a:gd name="connsiteX34" fmla="*/ 6512 w 10000"/>
                <a:gd name="connsiteY34" fmla="*/ 5571 h 10000"/>
                <a:gd name="connsiteX35" fmla="*/ 6047 w 10000"/>
                <a:gd name="connsiteY35" fmla="*/ 4857 h 10000"/>
                <a:gd name="connsiteX36" fmla="*/ 5581 w 10000"/>
                <a:gd name="connsiteY36" fmla="*/ 3714 h 10000"/>
                <a:gd name="connsiteX37" fmla="*/ 6047 w 10000"/>
                <a:gd name="connsiteY37" fmla="*/ 3286 h 10000"/>
                <a:gd name="connsiteX38" fmla="*/ 5814 w 10000"/>
                <a:gd name="connsiteY38" fmla="*/ 2286 h 10000"/>
                <a:gd name="connsiteX39" fmla="*/ 6977 w 10000"/>
                <a:gd name="connsiteY39" fmla="*/ 2286 h 10000"/>
                <a:gd name="connsiteX40" fmla="*/ 7442 w 10000"/>
                <a:gd name="connsiteY40" fmla="*/ 2857 h 10000"/>
                <a:gd name="connsiteX41" fmla="*/ 8372 w 10000"/>
                <a:gd name="connsiteY41" fmla="*/ 2857 h 10000"/>
                <a:gd name="connsiteX42" fmla="*/ 8372 w 10000"/>
                <a:gd name="connsiteY42" fmla="*/ 2429 h 10000"/>
                <a:gd name="connsiteX43" fmla="*/ 8605 w 10000"/>
                <a:gd name="connsiteY43" fmla="*/ 2143 h 10000"/>
                <a:gd name="connsiteX44" fmla="*/ 8837 w 10000"/>
                <a:gd name="connsiteY44" fmla="*/ 2286 h 10000"/>
                <a:gd name="connsiteX45" fmla="*/ 8605 w 10000"/>
                <a:gd name="connsiteY45" fmla="*/ 1429 h 10000"/>
                <a:gd name="connsiteX46" fmla="*/ 9070 w 10000"/>
                <a:gd name="connsiteY46" fmla="*/ 857 h 10000"/>
                <a:gd name="connsiteX47" fmla="*/ 9070 w 10000"/>
                <a:gd name="connsiteY47" fmla="*/ 286 h 10000"/>
                <a:gd name="connsiteX48" fmla="*/ 8605 w 10000"/>
                <a:gd name="connsiteY48" fmla="*/ 0 h 10000"/>
                <a:gd name="connsiteX49" fmla="*/ 8140 w 10000"/>
                <a:gd name="connsiteY49" fmla="*/ 0 h 10000"/>
                <a:gd name="connsiteX50" fmla="*/ 6512 w 10000"/>
                <a:gd name="connsiteY50" fmla="*/ 143 h 10000"/>
                <a:gd name="connsiteX51" fmla="*/ 6279 w 10000"/>
                <a:gd name="connsiteY51" fmla="*/ 0 h 10000"/>
                <a:gd name="connsiteX52" fmla="*/ 6279 w 10000"/>
                <a:gd name="connsiteY52" fmla="*/ 714 h 10000"/>
                <a:gd name="connsiteX53" fmla="*/ 6279 w 10000"/>
                <a:gd name="connsiteY53" fmla="*/ 857 h 10000"/>
                <a:gd name="connsiteX0" fmla="*/ 6279 w 10000"/>
                <a:gd name="connsiteY0" fmla="*/ 857 h 10000"/>
                <a:gd name="connsiteX1" fmla="*/ 5349 w 10000"/>
                <a:gd name="connsiteY1" fmla="*/ 1857 h 10000"/>
                <a:gd name="connsiteX2" fmla="*/ 4884 w 10000"/>
                <a:gd name="connsiteY2" fmla="*/ 2857 h 10000"/>
                <a:gd name="connsiteX3" fmla="*/ 5116 w 10000"/>
                <a:gd name="connsiteY3" fmla="*/ 3714 h 10000"/>
                <a:gd name="connsiteX4" fmla="*/ 2558 w 10000"/>
                <a:gd name="connsiteY4" fmla="*/ 6857 h 10000"/>
                <a:gd name="connsiteX5" fmla="*/ 1395 w 10000"/>
                <a:gd name="connsiteY5" fmla="*/ 6857 h 10000"/>
                <a:gd name="connsiteX6" fmla="*/ 1395 w 10000"/>
                <a:gd name="connsiteY6" fmla="*/ 7429 h 10000"/>
                <a:gd name="connsiteX7" fmla="*/ 0 w 10000"/>
                <a:gd name="connsiteY7" fmla="*/ 7571 h 10000"/>
                <a:gd name="connsiteX8" fmla="*/ 0 w 10000"/>
                <a:gd name="connsiteY8" fmla="*/ 9143 h 10000"/>
                <a:gd name="connsiteX9" fmla="*/ 465 w 10000"/>
                <a:gd name="connsiteY9" fmla="*/ 9714 h 10000"/>
                <a:gd name="connsiteX10" fmla="*/ 1395 w 10000"/>
                <a:gd name="connsiteY10" fmla="*/ 9714 h 10000"/>
                <a:gd name="connsiteX11" fmla="*/ 1860 w 10000"/>
                <a:gd name="connsiteY11" fmla="*/ 9857 h 10000"/>
                <a:gd name="connsiteX12" fmla="*/ 1628 w 10000"/>
                <a:gd name="connsiteY12" fmla="*/ 9857 h 10000"/>
                <a:gd name="connsiteX13" fmla="*/ 2093 w 10000"/>
                <a:gd name="connsiteY13" fmla="*/ 10000 h 10000"/>
                <a:gd name="connsiteX14" fmla="*/ 2558 w 10000"/>
                <a:gd name="connsiteY14" fmla="*/ 9857 h 10000"/>
                <a:gd name="connsiteX15" fmla="*/ 3488 w 10000"/>
                <a:gd name="connsiteY15" fmla="*/ 10000 h 10000"/>
                <a:gd name="connsiteX16" fmla="*/ 4186 w 10000"/>
                <a:gd name="connsiteY16" fmla="*/ 9571 h 10000"/>
                <a:gd name="connsiteX17" fmla="*/ 5116 w 10000"/>
                <a:gd name="connsiteY17" fmla="*/ 9000 h 10000"/>
                <a:gd name="connsiteX18" fmla="*/ 5814 w 10000"/>
                <a:gd name="connsiteY18" fmla="*/ 8857 h 10000"/>
                <a:gd name="connsiteX19" fmla="*/ 5581 w 10000"/>
                <a:gd name="connsiteY19" fmla="*/ 8857 h 10000"/>
                <a:gd name="connsiteX20" fmla="*/ 5581 w 10000"/>
                <a:gd name="connsiteY20" fmla="*/ 8714 h 10000"/>
                <a:gd name="connsiteX21" fmla="*/ 7674 w 10000"/>
                <a:gd name="connsiteY21" fmla="*/ 8143 h 10000"/>
                <a:gd name="connsiteX22" fmla="*/ 8605 w 10000"/>
                <a:gd name="connsiteY22" fmla="*/ 8429 h 10000"/>
                <a:gd name="connsiteX23" fmla="*/ 9070 w 10000"/>
                <a:gd name="connsiteY23" fmla="*/ 8857 h 10000"/>
                <a:gd name="connsiteX24" fmla="*/ 9302 w 10000"/>
                <a:gd name="connsiteY24" fmla="*/ 9143 h 10000"/>
                <a:gd name="connsiteX25" fmla="*/ 10000 w 10000"/>
                <a:gd name="connsiteY25" fmla="*/ 8857 h 10000"/>
                <a:gd name="connsiteX26" fmla="*/ 10000 w 10000"/>
                <a:gd name="connsiteY26" fmla="*/ 8429 h 10000"/>
                <a:gd name="connsiteX27" fmla="*/ 9302 w 10000"/>
                <a:gd name="connsiteY27" fmla="*/ 7714 h 10000"/>
                <a:gd name="connsiteX28" fmla="*/ 9302 w 10000"/>
                <a:gd name="connsiteY28" fmla="*/ 7000 h 10000"/>
                <a:gd name="connsiteX29" fmla="*/ 9535 w 10000"/>
                <a:gd name="connsiteY29" fmla="*/ 7000 h 10000"/>
                <a:gd name="connsiteX30" fmla="*/ 9070 w 10000"/>
                <a:gd name="connsiteY30" fmla="*/ 6286 h 10000"/>
                <a:gd name="connsiteX31" fmla="*/ 8837 w 10000"/>
                <a:gd name="connsiteY31" fmla="*/ 6000 h 10000"/>
                <a:gd name="connsiteX32" fmla="*/ 7674 w 10000"/>
                <a:gd name="connsiteY32" fmla="*/ 5857 h 10000"/>
                <a:gd name="connsiteX33" fmla="*/ 6512 w 10000"/>
                <a:gd name="connsiteY33" fmla="*/ 5571 h 10000"/>
                <a:gd name="connsiteX34" fmla="*/ 6047 w 10000"/>
                <a:gd name="connsiteY34" fmla="*/ 4857 h 10000"/>
                <a:gd name="connsiteX35" fmla="*/ 5581 w 10000"/>
                <a:gd name="connsiteY35" fmla="*/ 3714 h 10000"/>
                <a:gd name="connsiteX36" fmla="*/ 6047 w 10000"/>
                <a:gd name="connsiteY36" fmla="*/ 3286 h 10000"/>
                <a:gd name="connsiteX37" fmla="*/ 5814 w 10000"/>
                <a:gd name="connsiteY37" fmla="*/ 2286 h 10000"/>
                <a:gd name="connsiteX38" fmla="*/ 6977 w 10000"/>
                <a:gd name="connsiteY38" fmla="*/ 2286 h 10000"/>
                <a:gd name="connsiteX39" fmla="*/ 7442 w 10000"/>
                <a:gd name="connsiteY39" fmla="*/ 2857 h 10000"/>
                <a:gd name="connsiteX40" fmla="*/ 8372 w 10000"/>
                <a:gd name="connsiteY40" fmla="*/ 2857 h 10000"/>
                <a:gd name="connsiteX41" fmla="*/ 8372 w 10000"/>
                <a:gd name="connsiteY41" fmla="*/ 2429 h 10000"/>
                <a:gd name="connsiteX42" fmla="*/ 8605 w 10000"/>
                <a:gd name="connsiteY42" fmla="*/ 2143 h 10000"/>
                <a:gd name="connsiteX43" fmla="*/ 8837 w 10000"/>
                <a:gd name="connsiteY43" fmla="*/ 2286 h 10000"/>
                <a:gd name="connsiteX44" fmla="*/ 8605 w 10000"/>
                <a:gd name="connsiteY44" fmla="*/ 1429 h 10000"/>
                <a:gd name="connsiteX45" fmla="*/ 9070 w 10000"/>
                <a:gd name="connsiteY45" fmla="*/ 857 h 10000"/>
                <a:gd name="connsiteX46" fmla="*/ 9070 w 10000"/>
                <a:gd name="connsiteY46" fmla="*/ 286 h 10000"/>
                <a:gd name="connsiteX47" fmla="*/ 8605 w 10000"/>
                <a:gd name="connsiteY47" fmla="*/ 0 h 10000"/>
                <a:gd name="connsiteX48" fmla="*/ 8140 w 10000"/>
                <a:gd name="connsiteY48" fmla="*/ 0 h 10000"/>
                <a:gd name="connsiteX49" fmla="*/ 6512 w 10000"/>
                <a:gd name="connsiteY49" fmla="*/ 143 h 10000"/>
                <a:gd name="connsiteX50" fmla="*/ 6279 w 10000"/>
                <a:gd name="connsiteY50" fmla="*/ 0 h 10000"/>
                <a:gd name="connsiteX51" fmla="*/ 6279 w 10000"/>
                <a:gd name="connsiteY51" fmla="*/ 714 h 10000"/>
                <a:gd name="connsiteX52" fmla="*/ 6279 w 10000"/>
                <a:gd name="connsiteY52" fmla="*/ 857 h 10000"/>
                <a:gd name="connsiteX0" fmla="*/ 6279 w 10000"/>
                <a:gd name="connsiteY0" fmla="*/ 857 h 10000"/>
                <a:gd name="connsiteX1" fmla="*/ 5349 w 10000"/>
                <a:gd name="connsiteY1" fmla="*/ 1857 h 10000"/>
                <a:gd name="connsiteX2" fmla="*/ 4884 w 10000"/>
                <a:gd name="connsiteY2" fmla="*/ 2857 h 10000"/>
                <a:gd name="connsiteX3" fmla="*/ 5116 w 10000"/>
                <a:gd name="connsiteY3" fmla="*/ 3714 h 10000"/>
                <a:gd name="connsiteX4" fmla="*/ 1395 w 10000"/>
                <a:gd name="connsiteY4" fmla="*/ 6857 h 10000"/>
                <a:gd name="connsiteX5" fmla="*/ 1395 w 10000"/>
                <a:gd name="connsiteY5" fmla="*/ 7429 h 10000"/>
                <a:gd name="connsiteX6" fmla="*/ 0 w 10000"/>
                <a:gd name="connsiteY6" fmla="*/ 7571 h 10000"/>
                <a:gd name="connsiteX7" fmla="*/ 0 w 10000"/>
                <a:gd name="connsiteY7" fmla="*/ 9143 h 10000"/>
                <a:gd name="connsiteX8" fmla="*/ 465 w 10000"/>
                <a:gd name="connsiteY8" fmla="*/ 9714 h 10000"/>
                <a:gd name="connsiteX9" fmla="*/ 1395 w 10000"/>
                <a:gd name="connsiteY9" fmla="*/ 9714 h 10000"/>
                <a:gd name="connsiteX10" fmla="*/ 1860 w 10000"/>
                <a:gd name="connsiteY10" fmla="*/ 9857 h 10000"/>
                <a:gd name="connsiteX11" fmla="*/ 1628 w 10000"/>
                <a:gd name="connsiteY11" fmla="*/ 9857 h 10000"/>
                <a:gd name="connsiteX12" fmla="*/ 2093 w 10000"/>
                <a:gd name="connsiteY12" fmla="*/ 10000 h 10000"/>
                <a:gd name="connsiteX13" fmla="*/ 2558 w 10000"/>
                <a:gd name="connsiteY13" fmla="*/ 9857 h 10000"/>
                <a:gd name="connsiteX14" fmla="*/ 3488 w 10000"/>
                <a:gd name="connsiteY14" fmla="*/ 10000 h 10000"/>
                <a:gd name="connsiteX15" fmla="*/ 4186 w 10000"/>
                <a:gd name="connsiteY15" fmla="*/ 9571 h 10000"/>
                <a:gd name="connsiteX16" fmla="*/ 5116 w 10000"/>
                <a:gd name="connsiteY16" fmla="*/ 9000 h 10000"/>
                <a:gd name="connsiteX17" fmla="*/ 5814 w 10000"/>
                <a:gd name="connsiteY17" fmla="*/ 8857 h 10000"/>
                <a:gd name="connsiteX18" fmla="*/ 5581 w 10000"/>
                <a:gd name="connsiteY18" fmla="*/ 8857 h 10000"/>
                <a:gd name="connsiteX19" fmla="*/ 5581 w 10000"/>
                <a:gd name="connsiteY19" fmla="*/ 8714 h 10000"/>
                <a:gd name="connsiteX20" fmla="*/ 7674 w 10000"/>
                <a:gd name="connsiteY20" fmla="*/ 8143 h 10000"/>
                <a:gd name="connsiteX21" fmla="*/ 8605 w 10000"/>
                <a:gd name="connsiteY21" fmla="*/ 8429 h 10000"/>
                <a:gd name="connsiteX22" fmla="*/ 9070 w 10000"/>
                <a:gd name="connsiteY22" fmla="*/ 8857 h 10000"/>
                <a:gd name="connsiteX23" fmla="*/ 9302 w 10000"/>
                <a:gd name="connsiteY23" fmla="*/ 9143 h 10000"/>
                <a:gd name="connsiteX24" fmla="*/ 10000 w 10000"/>
                <a:gd name="connsiteY24" fmla="*/ 8857 h 10000"/>
                <a:gd name="connsiteX25" fmla="*/ 10000 w 10000"/>
                <a:gd name="connsiteY25" fmla="*/ 8429 h 10000"/>
                <a:gd name="connsiteX26" fmla="*/ 9302 w 10000"/>
                <a:gd name="connsiteY26" fmla="*/ 7714 h 10000"/>
                <a:gd name="connsiteX27" fmla="*/ 9302 w 10000"/>
                <a:gd name="connsiteY27" fmla="*/ 7000 h 10000"/>
                <a:gd name="connsiteX28" fmla="*/ 9535 w 10000"/>
                <a:gd name="connsiteY28" fmla="*/ 7000 h 10000"/>
                <a:gd name="connsiteX29" fmla="*/ 9070 w 10000"/>
                <a:gd name="connsiteY29" fmla="*/ 6286 h 10000"/>
                <a:gd name="connsiteX30" fmla="*/ 8837 w 10000"/>
                <a:gd name="connsiteY30" fmla="*/ 6000 h 10000"/>
                <a:gd name="connsiteX31" fmla="*/ 7674 w 10000"/>
                <a:gd name="connsiteY31" fmla="*/ 5857 h 10000"/>
                <a:gd name="connsiteX32" fmla="*/ 6512 w 10000"/>
                <a:gd name="connsiteY32" fmla="*/ 5571 h 10000"/>
                <a:gd name="connsiteX33" fmla="*/ 6047 w 10000"/>
                <a:gd name="connsiteY33" fmla="*/ 4857 h 10000"/>
                <a:gd name="connsiteX34" fmla="*/ 5581 w 10000"/>
                <a:gd name="connsiteY34" fmla="*/ 3714 h 10000"/>
                <a:gd name="connsiteX35" fmla="*/ 6047 w 10000"/>
                <a:gd name="connsiteY35" fmla="*/ 3286 h 10000"/>
                <a:gd name="connsiteX36" fmla="*/ 5814 w 10000"/>
                <a:gd name="connsiteY36" fmla="*/ 2286 h 10000"/>
                <a:gd name="connsiteX37" fmla="*/ 6977 w 10000"/>
                <a:gd name="connsiteY37" fmla="*/ 2286 h 10000"/>
                <a:gd name="connsiteX38" fmla="*/ 7442 w 10000"/>
                <a:gd name="connsiteY38" fmla="*/ 2857 h 10000"/>
                <a:gd name="connsiteX39" fmla="*/ 8372 w 10000"/>
                <a:gd name="connsiteY39" fmla="*/ 2857 h 10000"/>
                <a:gd name="connsiteX40" fmla="*/ 8372 w 10000"/>
                <a:gd name="connsiteY40" fmla="*/ 2429 h 10000"/>
                <a:gd name="connsiteX41" fmla="*/ 8605 w 10000"/>
                <a:gd name="connsiteY41" fmla="*/ 2143 h 10000"/>
                <a:gd name="connsiteX42" fmla="*/ 8837 w 10000"/>
                <a:gd name="connsiteY42" fmla="*/ 2286 h 10000"/>
                <a:gd name="connsiteX43" fmla="*/ 8605 w 10000"/>
                <a:gd name="connsiteY43" fmla="*/ 1429 h 10000"/>
                <a:gd name="connsiteX44" fmla="*/ 9070 w 10000"/>
                <a:gd name="connsiteY44" fmla="*/ 857 h 10000"/>
                <a:gd name="connsiteX45" fmla="*/ 9070 w 10000"/>
                <a:gd name="connsiteY45" fmla="*/ 286 h 10000"/>
                <a:gd name="connsiteX46" fmla="*/ 8605 w 10000"/>
                <a:gd name="connsiteY46" fmla="*/ 0 h 10000"/>
                <a:gd name="connsiteX47" fmla="*/ 8140 w 10000"/>
                <a:gd name="connsiteY47" fmla="*/ 0 h 10000"/>
                <a:gd name="connsiteX48" fmla="*/ 6512 w 10000"/>
                <a:gd name="connsiteY48" fmla="*/ 143 h 10000"/>
                <a:gd name="connsiteX49" fmla="*/ 6279 w 10000"/>
                <a:gd name="connsiteY49" fmla="*/ 0 h 10000"/>
                <a:gd name="connsiteX50" fmla="*/ 6279 w 10000"/>
                <a:gd name="connsiteY50" fmla="*/ 714 h 10000"/>
                <a:gd name="connsiteX51" fmla="*/ 6279 w 10000"/>
                <a:gd name="connsiteY51" fmla="*/ 857 h 10000"/>
                <a:gd name="connsiteX0" fmla="*/ 6279 w 10000"/>
                <a:gd name="connsiteY0" fmla="*/ 857 h 10000"/>
                <a:gd name="connsiteX1" fmla="*/ 5349 w 10000"/>
                <a:gd name="connsiteY1" fmla="*/ 1857 h 10000"/>
                <a:gd name="connsiteX2" fmla="*/ 4884 w 10000"/>
                <a:gd name="connsiteY2" fmla="*/ 2857 h 10000"/>
                <a:gd name="connsiteX3" fmla="*/ 5116 w 10000"/>
                <a:gd name="connsiteY3" fmla="*/ 3714 h 10000"/>
                <a:gd name="connsiteX4" fmla="*/ 1395 w 10000"/>
                <a:gd name="connsiteY4" fmla="*/ 7429 h 10000"/>
                <a:gd name="connsiteX5" fmla="*/ 0 w 10000"/>
                <a:gd name="connsiteY5" fmla="*/ 7571 h 10000"/>
                <a:gd name="connsiteX6" fmla="*/ 0 w 10000"/>
                <a:gd name="connsiteY6" fmla="*/ 9143 h 10000"/>
                <a:gd name="connsiteX7" fmla="*/ 465 w 10000"/>
                <a:gd name="connsiteY7" fmla="*/ 9714 h 10000"/>
                <a:gd name="connsiteX8" fmla="*/ 1395 w 10000"/>
                <a:gd name="connsiteY8" fmla="*/ 9714 h 10000"/>
                <a:gd name="connsiteX9" fmla="*/ 1860 w 10000"/>
                <a:gd name="connsiteY9" fmla="*/ 9857 h 10000"/>
                <a:gd name="connsiteX10" fmla="*/ 1628 w 10000"/>
                <a:gd name="connsiteY10" fmla="*/ 9857 h 10000"/>
                <a:gd name="connsiteX11" fmla="*/ 2093 w 10000"/>
                <a:gd name="connsiteY11" fmla="*/ 10000 h 10000"/>
                <a:gd name="connsiteX12" fmla="*/ 2558 w 10000"/>
                <a:gd name="connsiteY12" fmla="*/ 9857 h 10000"/>
                <a:gd name="connsiteX13" fmla="*/ 3488 w 10000"/>
                <a:gd name="connsiteY13" fmla="*/ 10000 h 10000"/>
                <a:gd name="connsiteX14" fmla="*/ 4186 w 10000"/>
                <a:gd name="connsiteY14" fmla="*/ 9571 h 10000"/>
                <a:gd name="connsiteX15" fmla="*/ 5116 w 10000"/>
                <a:gd name="connsiteY15" fmla="*/ 9000 h 10000"/>
                <a:gd name="connsiteX16" fmla="*/ 5814 w 10000"/>
                <a:gd name="connsiteY16" fmla="*/ 8857 h 10000"/>
                <a:gd name="connsiteX17" fmla="*/ 5581 w 10000"/>
                <a:gd name="connsiteY17" fmla="*/ 8857 h 10000"/>
                <a:gd name="connsiteX18" fmla="*/ 5581 w 10000"/>
                <a:gd name="connsiteY18" fmla="*/ 8714 h 10000"/>
                <a:gd name="connsiteX19" fmla="*/ 7674 w 10000"/>
                <a:gd name="connsiteY19" fmla="*/ 8143 h 10000"/>
                <a:gd name="connsiteX20" fmla="*/ 8605 w 10000"/>
                <a:gd name="connsiteY20" fmla="*/ 8429 h 10000"/>
                <a:gd name="connsiteX21" fmla="*/ 9070 w 10000"/>
                <a:gd name="connsiteY21" fmla="*/ 8857 h 10000"/>
                <a:gd name="connsiteX22" fmla="*/ 9302 w 10000"/>
                <a:gd name="connsiteY22" fmla="*/ 9143 h 10000"/>
                <a:gd name="connsiteX23" fmla="*/ 10000 w 10000"/>
                <a:gd name="connsiteY23" fmla="*/ 8857 h 10000"/>
                <a:gd name="connsiteX24" fmla="*/ 10000 w 10000"/>
                <a:gd name="connsiteY24" fmla="*/ 8429 h 10000"/>
                <a:gd name="connsiteX25" fmla="*/ 9302 w 10000"/>
                <a:gd name="connsiteY25" fmla="*/ 7714 h 10000"/>
                <a:gd name="connsiteX26" fmla="*/ 9302 w 10000"/>
                <a:gd name="connsiteY26" fmla="*/ 7000 h 10000"/>
                <a:gd name="connsiteX27" fmla="*/ 9535 w 10000"/>
                <a:gd name="connsiteY27" fmla="*/ 7000 h 10000"/>
                <a:gd name="connsiteX28" fmla="*/ 9070 w 10000"/>
                <a:gd name="connsiteY28" fmla="*/ 6286 h 10000"/>
                <a:gd name="connsiteX29" fmla="*/ 8837 w 10000"/>
                <a:gd name="connsiteY29" fmla="*/ 6000 h 10000"/>
                <a:gd name="connsiteX30" fmla="*/ 7674 w 10000"/>
                <a:gd name="connsiteY30" fmla="*/ 5857 h 10000"/>
                <a:gd name="connsiteX31" fmla="*/ 6512 w 10000"/>
                <a:gd name="connsiteY31" fmla="*/ 5571 h 10000"/>
                <a:gd name="connsiteX32" fmla="*/ 6047 w 10000"/>
                <a:gd name="connsiteY32" fmla="*/ 4857 h 10000"/>
                <a:gd name="connsiteX33" fmla="*/ 5581 w 10000"/>
                <a:gd name="connsiteY33" fmla="*/ 3714 h 10000"/>
                <a:gd name="connsiteX34" fmla="*/ 6047 w 10000"/>
                <a:gd name="connsiteY34" fmla="*/ 3286 h 10000"/>
                <a:gd name="connsiteX35" fmla="*/ 5814 w 10000"/>
                <a:gd name="connsiteY35" fmla="*/ 2286 h 10000"/>
                <a:gd name="connsiteX36" fmla="*/ 6977 w 10000"/>
                <a:gd name="connsiteY36" fmla="*/ 2286 h 10000"/>
                <a:gd name="connsiteX37" fmla="*/ 7442 w 10000"/>
                <a:gd name="connsiteY37" fmla="*/ 2857 h 10000"/>
                <a:gd name="connsiteX38" fmla="*/ 8372 w 10000"/>
                <a:gd name="connsiteY38" fmla="*/ 2857 h 10000"/>
                <a:gd name="connsiteX39" fmla="*/ 8372 w 10000"/>
                <a:gd name="connsiteY39" fmla="*/ 2429 h 10000"/>
                <a:gd name="connsiteX40" fmla="*/ 8605 w 10000"/>
                <a:gd name="connsiteY40" fmla="*/ 2143 h 10000"/>
                <a:gd name="connsiteX41" fmla="*/ 8837 w 10000"/>
                <a:gd name="connsiteY41" fmla="*/ 2286 h 10000"/>
                <a:gd name="connsiteX42" fmla="*/ 8605 w 10000"/>
                <a:gd name="connsiteY42" fmla="*/ 1429 h 10000"/>
                <a:gd name="connsiteX43" fmla="*/ 9070 w 10000"/>
                <a:gd name="connsiteY43" fmla="*/ 857 h 10000"/>
                <a:gd name="connsiteX44" fmla="*/ 9070 w 10000"/>
                <a:gd name="connsiteY44" fmla="*/ 286 h 10000"/>
                <a:gd name="connsiteX45" fmla="*/ 8605 w 10000"/>
                <a:gd name="connsiteY45" fmla="*/ 0 h 10000"/>
                <a:gd name="connsiteX46" fmla="*/ 8140 w 10000"/>
                <a:gd name="connsiteY46" fmla="*/ 0 h 10000"/>
                <a:gd name="connsiteX47" fmla="*/ 6512 w 10000"/>
                <a:gd name="connsiteY47" fmla="*/ 143 h 10000"/>
                <a:gd name="connsiteX48" fmla="*/ 6279 w 10000"/>
                <a:gd name="connsiteY48" fmla="*/ 0 h 10000"/>
                <a:gd name="connsiteX49" fmla="*/ 6279 w 10000"/>
                <a:gd name="connsiteY49" fmla="*/ 714 h 10000"/>
                <a:gd name="connsiteX50" fmla="*/ 6279 w 10000"/>
                <a:gd name="connsiteY50" fmla="*/ 857 h 10000"/>
                <a:gd name="connsiteX0" fmla="*/ 6658 w 10379"/>
                <a:gd name="connsiteY0" fmla="*/ 857 h 10000"/>
                <a:gd name="connsiteX1" fmla="*/ 5728 w 10379"/>
                <a:gd name="connsiteY1" fmla="*/ 1857 h 10000"/>
                <a:gd name="connsiteX2" fmla="*/ 5263 w 10379"/>
                <a:gd name="connsiteY2" fmla="*/ 2857 h 10000"/>
                <a:gd name="connsiteX3" fmla="*/ 5495 w 10379"/>
                <a:gd name="connsiteY3" fmla="*/ 3714 h 10000"/>
                <a:gd name="connsiteX4" fmla="*/ 379 w 10379"/>
                <a:gd name="connsiteY4" fmla="*/ 7571 h 10000"/>
                <a:gd name="connsiteX5" fmla="*/ 379 w 10379"/>
                <a:gd name="connsiteY5" fmla="*/ 9143 h 10000"/>
                <a:gd name="connsiteX6" fmla="*/ 844 w 10379"/>
                <a:gd name="connsiteY6" fmla="*/ 9714 h 10000"/>
                <a:gd name="connsiteX7" fmla="*/ 1774 w 10379"/>
                <a:gd name="connsiteY7" fmla="*/ 9714 h 10000"/>
                <a:gd name="connsiteX8" fmla="*/ 2239 w 10379"/>
                <a:gd name="connsiteY8" fmla="*/ 9857 h 10000"/>
                <a:gd name="connsiteX9" fmla="*/ 2007 w 10379"/>
                <a:gd name="connsiteY9" fmla="*/ 9857 h 10000"/>
                <a:gd name="connsiteX10" fmla="*/ 2472 w 10379"/>
                <a:gd name="connsiteY10" fmla="*/ 10000 h 10000"/>
                <a:gd name="connsiteX11" fmla="*/ 2937 w 10379"/>
                <a:gd name="connsiteY11" fmla="*/ 9857 h 10000"/>
                <a:gd name="connsiteX12" fmla="*/ 3867 w 10379"/>
                <a:gd name="connsiteY12" fmla="*/ 10000 h 10000"/>
                <a:gd name="connsiteX13" fmla="*/ 4565 w 10379"/>
                <a:gd name="connsiteY13" fmla="*/ 9571 h 10000"/>
                <a:gd name="connsiteX14" fmla="*/ 5495 w 10379"/>
                <a:gd name="connsiteY14" fmla="*/ 9000 h 10000"/>
                <a:gd name="connsiteX15" fmla="*/ 6193 w 10379"/>
                <a:gd name="connsiteY15" fmla="*/ 8857 h 10000"/>
                <a:gd name="connsiteX16" fmla="*/ 5960 w 10379"/>
                <a:gd name="connsiteY16" fmla="*/ 8857 h 10000"/>
                <a:gd name="connsiteX17" fmla="*/ 5960 w 10379"/>
                <a:gd name="connsiteY17" fmla="*/ 8714 h 10000"/>
                <a:gd name="connsiteX18" fmla="*/ 8053 w 10379"/>
                <a:gd name="connsiteY18" fmla="*/ 8143 h 10000"/>
                <a:gd name="connsiteX19" fmla="*/ 8984 w 10379"/>
                <a:gd name="connsiteY19" fmla="*/ 8429 h 10000"/>
                <a:gd name="connsiteX20" fmla="*/ 9449 w 10379"/>
                <a:gd name="connsiteY20" fmla="*/ 8857 h 10000"/>
                <a:gd name="connsiteX21" fmla="*/ 9681 w 10379"/>
                <a:gd name="connsiteY21" fmla="*/ 9143 h 10000"/>
                <a:gd name="connsiteX22" fmla="*/ 10379 w 10379"/>
                <a:gd name="connsiteY22" fmla="*/ 8857 h 10000"/>
                <a:gd name="connsiteX23" fmla="*/ 10379 w 10379"/>
                <a:gd name="connsiteY23" fmla="*/ 8429 h 10000"/>
                <a:gd name="connsiteX24" fmla="*/ 9681 w 10379"/>
                <a:gd name="connsiteY24" fmla="*/ 7714 h 10000"/>
                <a:gd name="connsiteX25" fmla="*/ 9681 w 10379"/>
                <a:gd name="connsiteY25" fmla="*/ 7000 h 10000"/>
                <a:gd name="connsiteX26" fmla="*/ 9914 w 10379"/>
                <a:gd name="connsiteY26" fmla="*/ 7000 h 10000"/>
                <a:gd name="connsiteX27" fmla="*/ 9449 w 10379"/>
                <a:gd name="connsiteY27" fmla="*/ 6286 h 10000"/>
                <a:gd name="connsiteX28" fmla="*/ 9216 w 10379"/>
                <a:gd name="connsiteY28" fmla="*/ 6000 h 10000"/>
                <a:gd name="connsiteX29" fmla="*/ 8053 w 10379"/>
                <a:gd name="connsiteY29" fmla="*/ 5857 h 10000"/>
                <a:gd name="connsiteX30" fmla="*/ 6891 w 10379"/>
                <a:gd name="connsiteY30" fmla="*/ 5571 h 10000"/>
                <a:gd name="connsiteX31" fmla="*/ 6426 w 10379"/>
                <a:gd name="connsiteY31" fmla="*/ 4857 h 10000"/>
                <a:gd name="connsiteX32" fmla="*/ 5960 w 10379"/>
                <a:gd name="connsiteY32" fmla="*/ 3714 h 10000"/>
                <a:gd name="connsiteX33" fmla="*/ 6426 w 10379"/>
                <a:gd name="connsiteY33" fmla="*/ 3286 h 10000"/>
                <a:gd name="connsiteX34" fmla="*/ 6193 w 10379"/>
                <a:gd name="connsiteY34" fmla="*/ 2286 h 10000"/>
                <a:gd name="connsiteX35" fmla="*/ 7356 w 10379"/>
                <a:gd name="connsiteY35" fmla="*/ 2286 h 10000"/>
                <a:gd name="connsiteX36" fmla="*/ 7821 w 10379"/>
                <a:gd name="connsiteY36" fmla="*/ 2857 h 10000"/>
                <a:gd name="connsiteX37" fmla="*/ 8751 w 10379"/>
                <a:gd name="connsiteY37" fmla="*/ 2857 h 10000"/>
                <a:gd name="connsiteX38" fmla="*/ 8751 w 10379"/>
                <a:gd name="connsiteY38" fmla="*/ 2429 h 10000"/>
                <a:gd name="connsiteX39" fmla="*/ 8984 w 10379"/>
                <a:gd name="connsiteY39" fmla="*/ 2143 h 10000"/>
                <a:gd name="connsiteX40" fmla="*/ 9216 w 10379"/>
                <a:gd name="connsiteY40" fmla="*/ 2286 h 10000"/>
                <a:gd name="connsiteX41" fmla="*/ 8984 w 10379"/>
                <a:gd name="connsiteY41" fmla="*/ 1429 h 10000"/>
                <a:gd name="connsiteX42" fmla="*/ 9449 w 10379"/>
                <a:gd name="connsiteY42" fmla="*/ 857 h 10000"/>
                <a:gd name="connsiteX43" fmla="*/ 9449 w 10379"/>
                <a:gd name="connsiteY43" fmla="*/ 286 h 10000"/>
                <a:gd name="connsiteX44" fmla="*/ 8984 w 10379"/>
                <a:gd name="connsiteY44" fmla="*/ 0 h 10000"/>
                <a:gd name="connsiteX45" fmla="*/ 8519 w 10379"/>
                <a:gd name="connsiteY45" fmla="*/ 0 h 10000"/>
                <a:gd name="connsiteX46" fmla="*/ 6891 w 10379"/>
                <a:gd name="connsiteY46" fmla="*/ 143 h 10000"/>
                <a:gd name="connsiteX47" fmla="*/ 6658 w 10379"/>
                <a:gd name="connsiteY47" fmla="*/ 0 h 10000"/>
                <a:gd name="connsiteX48" fmla="*/ 6658 w 10379"/>
                <a:gd name="connsiteY48" fmla="*/ 714 h 10000"/>
                <a:gd name="connsiteX49" fmla="*/ 6658 w 10379"/>
                <a:gd name="connsiteY49" fmla="*/ 857 h 10000"/>
                <a:gd name="connsiteX0" fmla="*/ 6556 w 10277"/>
                <a:gd name="connsiteY0" fmla="*/ 857 h 10000"/>
                <a:gd name="connsiteX1" fmla="*/ 5626 w 10277"/>
                <a:gd name="connsiteY1" fmla="*/ 1857 h 10000"/>
                <a:gd name="connsiteX2" fmla="*/ 5161 w 10277"/>
                <a:gd name="connsiteY2" fmla="*/ 2857 h 10000"/>
                <a:gd name="connsiteX3" fmla="*/ 5393 w 10277"/>
                <a:gd name="connsiteY3" fmla="*/ 3714 h 10000"/>
                <a:gd name="connsiteX4" fmla="*/ 277 w 10277"/>
                <a:gd name="connsiteY4" fmla="*/ 9143 h 10000"/>
                <a:gd name="connsiteX5" fmla="*/ 742 w 10277"/>
                <a:gd name="connsiteY5" fmla="*/ 9714 h 10000"/>
                <a:gd name="connsiteX6" fmla="*/ 1672 w 10277"/>
                <a:gd name="connsiteY6" fmla="*/ 9714 h 10000"/>
                <a:gd name="connsiteX7" fmla="*/ 2137 w 10277"/>
                <a:gd name="connsiteY7" fmla="*/ 9857 h 10000"/>
                <a:gd name="connsiteX8" fmla="*/ 1905 w 10277"/>
                <a:gd name="connsiteY8" fmla="*/ 9857 h 10000"/>
                <a:gd name="connsiteX9" fmla="*/ 2370 w 10277"/>
                <a:gd name="connsiteY9" fmla="*/ 10000 h 10000"/>
                <a:gd name="connsiteX10" fmla="*/ 2835 w 10277"/>
                <a:gd name="connsiteY10" fmla="*/ 9857 h 10000"/>
                <a:gd name="connsiteX11" fmla="*/ 3765 w 10277"/>
                <a:gd name="connsiteY11" fmla="*/ 10000 h 10000"/>
                <a:gd name="connsiteX12" fmla="*/ 4463 w 10277"/>
                <a:gd name="connsiteY12" fmla="*/ 9571 h 10000"/>
                <a:gd name="connsiteX13" fmla="*/ 5393 w 10277"/>
                <a:gd name="connsiteY13" fmla="*/ 9000 h 10000"/>
                <a:gd name="connsiteX14" fmla="*/ 6091 w 10277"/>
                <a:gd name="connsiteY14" fmla="*/ 8857 h 10000"/>
                <a:gd name="connsiteX15" fmla="*/ 5858 w 10277"/>
                <a:gd name="connsiteY15" fmla="*/ 8857 h 10000"/>
                <a:gd name="connsiteX16" fmla="*/ 5858 w 10277"/>
                <a:gd name="connsiteY16" fmla="*/ 8714 h 10000"/>
                <a:gd name="connsiteX17" fmla="*/ 7951 w 10277"/>
                <a:gd name="connsiteY17" fmla="*/ 8143 h 10000"/>
                <a:gd name="connsiteX18" fmla="*/ 8882 w 10277"/>
                <a:gd name="connsiteY18" fmla="*/ 8429 h 10000"/>
                <a:gd name="connsiteX19" fmla="*/ 9347 w 10277"/>
                <a:gd name="connsiteY19" fmla="*/ 8857 h 10000"/>
                <a:gd name="connsiteX20" fmla="*/ 9579 w 10277"/>
                <a:gd name="connsiteY20" fmla="*/ 9143 h 10000"/>
                <a:gd name="connsiteX21" fmla="*/ 10277 w 10277"/>
                <a:gd name="connsiteY21" fmla="*/ 8857 h 10000"/>
                <a:gd name="connsiteX22" fmla="*/ 10277 w 10277"/>
                <a:gd name="connsiteY22" fmla="*/ 8429 h 10000"/>
                <a:gd name="connsiteX23" fmla="*/ 9579 w 10277"/>
                <a:gd name="connsiteY23" fmla="*/ 7714 h 10000"/>
                <a:gd name="connsiteX24" fmla="*/ 9579 w 10277"/>
                <a:gd name="connsiteY24" fmla="*/ 7000 h 10000"/>
                <a:gd name="connsiteX25" fmla="*/ 9812 w 10277"/>
                <a:gd name="connsiteY25" fmla="*/ 7000 h 10000"/>
                <a:gd name="connsiteX26" fmla="*/ 9347 w 10277"/>
                <a:gd name="connsiteY26" fmla="*/ 6286 h 10000"/>
                <a:gd name="connsiteX27" fmla="*/ 9114 w 10277"/>
                <a:gd name="connsiteY27" fmla="*/ 6000 h 10000"/>
                <a:gd name="connsiteX28" fmla="*/ 7951 w 10277"/>
                <a:gd name="connsiteY28" fmla="*/ 5857 h 10000"/>
                <a:gd name="connsiteX29" fmla="*/ 6789 w 10277"/>
                <a:gd name="connsiteY29" fmla="*/ 5571 h 10000"/>
                <a:gd name="connsiteX30" fmla="*/ 6324 w 10277"/>
                <a:gd name="connsiteY30" fmla="*/ 4857 h 10000"/>
                <a:gd name="connsiteX31" fmla="*/ 5858 w 10277"/>
                <a:gd name="connsiteY31" fmla="*/ 3714 h 10000"/>
                <a:gd name="connsiteX32" fmla="*/ 6324 w 10277"/>
                <a:gd name="connsiteY32" fmla="*/ 3286 h 10000"/>
                <a:gd name="connsiteX33" fmla="*/ 6091 w 10277"/>
                <a:gd name="connsiteY33" fmla="*/ 2286 h 10000"/>
                <a:gd name="connsiteX34" fmla="*/ 7254 w 10277"/>
                <a:gd name="connsiteY34" fmla="*/ 2286 h 10000"/>
                <a:gd name="connsiteX35" fmla="*/ 7719 w 10277"/>
                <a:gd name="connsiteY35" fmla="*/ 2857 h 10000"/>
                <a:gd name="connsiteX36" fmla="*/ 8649 w 10277"/>
                <a:gd name="connsiteY36" fmla="*/ 2857 h 10000"/>
                <a:gd name="connsiteX37" fmla="*/ 8649 w 10277"/>
                <a:gd name="connsiteY37" fmla="*/ 2429 h 10000"/>
                <a:gd name="connsiteX38" fmla="*/ 8882 w 10277"/>
                <a:gd name="connsiteY38" fmla="*/ 2143 h 10000"/>
                <a:gd name="connsiteX39" fmla="*/ 9114 w 10277"/>
                <a:gd name="connsiteY39" fmla="*/ 2286 h 10000"/>
                <a:gd name="connsiteX40" fmla="*/ 8882 w 10277"/>
                <a:gd name="connsiteY40" fmla="*/ 1429 h 10000"/>
                <a:gd name="connsiteX41" fmla="*/ 9347 w 10277"/>
                <a:gd name="connsiteY41" fmla="*/ 857 h 10000"/>
                <a:gd name="connsiteX42" fmla="*/ 9347 w 10277"/>
                <a:gd name="connsiteY42" fmla="*/ 286 h 10000"/>
                <a:gd name="connsiteX43" fmla="*/ 8882 w 10277"/>
                <a:gd name="connsiteY43" fmla="*/ 0 h 10000"/>
                <a:gd name="connsiteX44" fmla="*/ 8417 w 10277"/>
                <a:gd name="connsiteY44" fmla="*/ 0 h 10000"/>
                <a:gd name="connsiteX45" fmla="*/ 6789 w 10277"/>
                <a:gd name="connsiteY45" fmla="*/ 143 h 10000"/>
                <a:gd name="connsiteX46" fmla="*/ 6556 w 10277"/>
                <a:gd name="connsiteY46" fmla="*/ 0 h 10000"/>
                <a:gd name="connsiteX47" fmla="*/ 6556 w 10277"/>
                <a:gd name="connsiteY47" fmla="*/ 714 h 10000"/>
                <a:gd name="connsiteX48" fmla="*/ 6556 w 10277"/>
                <a:gd name="connsiteY48" fmla="*/ 857 h 10000"/>
                <a:gd name="connsiteX0" fmla="*/ 5986 w 9707"/>
                <a:gd name="connsiteY0" fmla="*/ 857 h 10158"/>
                <a:gd name="connsiteX1" fmla="*/ 5056 w 9707"/>
                <a:gd name="connsiteY1" fmla="*/ 1857 h 10158"/>
                <a:gd name="connsiteX2" fmla="*/ 4591 w 9707"/>
                <a:gd name="connsiteY2" fmla="*/ 2857 h 10158"/>
                <a:gd name="connsiteX3" fmla="*/ 4823 w 9707"/>
                <a:gd name="connsiteY3" fmla="*/ 3714 h 10158"/>
                <a:gd name="connsiteX4" fmla="*/ 172 w 9707"/>
                <a:gd name="connsiteY4" fmla="*/ 9714 h 10158"/>
                <a:gd name="connsiteX5" fmla="*/ 1102 w 9707"/>
                <a:gd name="connsiteY5" fmla="*/ 9714 h 10158"/>
                <a:gd name="connsiteX6" fmla="*/ 1567 w 9707"/>
                <a:gd name="connsiteY6" fmla="*/ 9857 h 10158"/>
                <a:gd name="connsiteX7" fmla="*/ 1335 w 9707"/>
                <a:gd name="connsiteY7" fmla="*/ 9857 h 10158"/>
                <a:gd name="connsiteX8" fmla="*/ 1800 w 9707"/>
                <a:gd name="connsiteY8" fmla="*/ 10000 h 10158"/>
                <a:gd name="connsiteX9" fmla="*/ 2265 w 9707"/>
                <a:gd name="connsiteY9" fmla="*/ 9857 h 10158"/>
                <a:gd name="connsiteX10" fmla="*/ 3195 w 9707"/>
                <a:gd name="connsiteY10" fmla="*/ 10000 h 10158"/>
                <a:gd name="connsiteX11" fmla="*/ 3893 w 9707"/>
                <a:gd name="connsiteY11" fmla="*/ 9571 h 10158"/>
                <a:gd name="connsiteX12" fmla="*/ 4823 w 9707"/>
                <a:gd name="connsiteY12" fmla="*/ 9000 h 10158"/>
                <a:gd name="connsiteX13" fmla="*/ 5521 w 9707"/>
                <a:gd name="connsiteY13" fmla="*/ 8857 h 10158"/>
                <a:gd name="connsiteX14" fmla="*/ 5288 w 9707"/>
                <a:gd name="connsiteY14" fmla="*/ 8857 h 10158"/>
                <a:gd name="connsiteX15" fmla="*/ 5288 w 9707"/>
                <a:gd name="connsiteY15" fmla="*/ 8714 h 10158"/>
                <a:gd name="connsiteX16" fmla="*/ 7381 w 9707"/>
                <a:gd name="connsiteY16" fmla="*/ 8143 h 10158"/>
                <a:gd name="connsiteX17" fmla="*/ 8312 w 9707"/>
                <a:gd name="connsiteY17" fmla="*/ 8429 h 10158"/>
                <a:gd name="connsiteX18" fmla="*/ 8777 w 9707"/>
                <a:gd name="connsiteY18" fmla="*/ 8857 h 10158"/>
                <a:gd name="connsiteX19" fmla="*/ 9009 w 9707"/>
                <a:gd name="connsiteY19" fmla="*/ 9143 h 10158"/>
                <a:gd name="connsiteX20" fmla="*/ 9707 w 9707"/>
                <a:gd name="connsiteY20" fmla="*/ 8857 h 10158"/>
                <a:gd name="connsiteX21" fmla="*/ 9707 w 9707"/>
                <a:gd name="connsiteY21" fmla="*/ 8429 h 10158"/>
                <a:gd name="connsiteX22" fmla="*/ 9009 w 9707"/>
                <a:gd name="connsiteY22" fmla="*/ 7714 h 10158"/>
                <a:gd name="connsiteX23" fmla="*/ 9009 w 9707"/>
                <a:gd name="connsiteY23" fmla="*/ 7000 h 10158"/>
                <a:gd name="connsiteX24" fmla="*/ 9242 w 9707"/>
                <a:gd name="connsiteY24" fmla="*/ 7000 h 10158"/>
                <a:gd name="connsiteX25" fmla="*/ 8777 w 9707"/>
                <a:gd name="connsiteY25" fmla="*/ 6286 h 10158"/>
                <a:gd name="connsiteX26" fmla="*/ 8544 w 9707"/>
                <a:gd name="connsiteY26" fmla="*/ 6000 h 10158"/>
                <a:gd name="connsiteX27" fmla="*/ 7381 w 9707"/>
                <a:gd name="connsiteY27" fmla="*/ 5857 h 10158"/>
                <a:gd name="connsiteX28" fmla="*/ 6219 w 9707"/>
                <a:gd name="connsiteY28" fmla="*/ 5571 h 10158"/>
                <a:gd name="connsiteX29" fmla="*/ 5754 w 9707"/>
                <a:gd name="connsiteY29" fmla="*/ 4857 h 10158"/>
                <a:gd name="connsiteX30" fmla="*/ 5288 w 9707"/>
                <a:gd name="connsiteY30" fmla="*/ 3714 h 10158"/>
                <a:gd name="connsiteX31" fmla="*/ 5754 w 9707"/>
                <a:gd name="connsiteY31" fmla="*/ 3286 h 10158"/>
                <a:gd name="connsiteX32" fmla="*/ 5521 w 9707"/>
                <a:gd name="connsiteY32" fmla="*/ 2286 h 10158"/>
                <a:gd name="connsiteX33" fmla="*/ 6684 w 9707"/>
                <a:gd name="connsiteY33" fmla="*/ 2286 h 10158"/>
                <a:gd name="connsiteX34" fmla="*/ 7149 w 9707"/>
                <a:gd name="connsiteY34" fmla="*/ 2857 h 10158"/>
                <a:gd name="connsiteX35" fmla="*/ 8079 w 9707"/>
                <a:gd name="connsiteY35" fmla="*/ 2857 h 10158"/>
                <a:gd name="connsiteX36" fmla="*/ 8079 w 9707"/>
                <a:gd name="connsiteY36" fmla="*/ 2429 h 10158"/>
                <a:gd name="connsiteX37" fmla="*/ 8312 w 9707"/>
                <a:gd name="connsiteY37" fmla="*/ 2143 h 10158"/>
                <a:gd name="connsiteX38" fmla="*/ 8544 w 9707"/>
                <a:gd name="connsiteY38" fmla="*/ 2286 h 10158"/>
                <a:gd name="connsiteX39" fmla="*/ 8312 w 9707"/>
                <a:gd name="connsiteY39" fmla="*/ 1429 h 10158"/>
                <a:gd name="connsiteX40" fmla="*/ 8777 w 9707"/>
                <a:gd name="connsiteY40" fmla="*/ 857 h 10158"/>
                <a:gd name="connsiteX41" fmla="*/ 8777 w 9707"/>
                <a:gd name="connsiteY41" fmla="*/ 286 h 10158"/>
                <a:gd name="connsiteX42" fmla="*/ 8312 w 9707"/>
                <a:gd name="connsiteY42" fmla="*/ 0 h 10158"/>
                <a:gd name="connsiteX43" fmla="*/ 7847 w 9707"/>
                <a:gd name="connsiteY43" fmla="*/ 0 h 10158"/>
                <a:gd name="connsiteX44" fmla="*/ 6219 w 9707"/>
                <a:gd name="connsiteY44" fmla="*/ 143 h 10158"/>
                <a:gd name="connsiteX45" fmla="*/ 5986 w 9707"/>
                <a:gd name="connsiteY45" fmla="*/ 0 h 10158"/>
                <a:gd name="connsiteX46" fmla="*/ 5986 w 9707"/>
                <a:gd name="connsiteY46" fmla="*/ 714 h 10158"/>
                <a:gd name="connsiteX47" fmla="*/ 5986 w 9707"/>
                <a:gd name="connsiteY47" fmla="*/ 857 h 10158"/>
                <a:gd name="connsiteX0" fmla="*/ 5032 w 8865"/>
                <a:gd name="connsiteY0" fmla="*/ 844 h 9844"/>
                <a:gd name="connsiteX1" fmla="*/ 4074 w 8865"/>
                <a:gd name="connsiteY1" fmla="*/ 1828 h 9844"/>
                <a:gd name="connsiteX2" fmla="*/ 3595 w 8865"/>
                <a:gd name="connsiteY2" fmla="*/ 2813 h 9844"/>
                <a:gd name="connsiteX3" fmla="*/ 3834 w 8865"/>
                <a:gd name="connsiteY3" fmla="*/ 3656 h 9844"/>
                <a:gd name="connsiteX4" fmla="*/ 0 w 8865"/>
                <a:gd name="connsiteY4" fmla="*/ 9563 h 9844"/>
                <a:gd name="connsiteX5" fmla="*/ 479 w 8865"/>
                <a:gd name="connsiteY5" fmla="*/ 9704 h 9844"/>
                <a:gd name="connsiteX6" fmla="*/ 240 w 8865"/>
                <a:gd name="connsiteY6" fmla="*/ 9704 h 9844"/>
                <a:gd name="connsiteX7" fmla="*/ 719 w 8865"/>
                <a:gd name="connsiteY7" fmla="*/ 9844 h 9844"/>
                <a:gd name="connsiteX8" fmla="*/ 1198 w 8865"/>
                <a:gd name="connsiteY8" fmla="*/ 9704 h 9844"/>
                <a:gd name="connsiteX9" fmla="*/ 2156 w 8865"/>
                <a:gd name="connsiteY9" fmla="*/ 9844 h 9844"/>
                <a:gd name="connsiteX10" fmla="*/ 2876 w 8865"/>
                <a:gd name="connsiteY10" fmla="*/ 9422 h 9844"/>
                <a:gd name="connsiteX11" fmla="*/ 3834 w 8865"/>
                <a:gd name="connsiteY11" fmla="*/ 8860 h 9844"/>
                <a:gd name="connsiteX12" fmla="*/ 4553 w 8865"/>
                <a:gd name="connsiteY12" fmla="*/ 8719 h 9844"/>
                <a:gd name="connsiteX13" fmla="*/ 4313 w 8865"/>
                <a:gd name="connsiteY13" fmla="*/ 8719 h 9844"/>
                <a:gd name="connsiteX14" fmla="*/ 4313 w 8865"/>
                <a:gd name="connsiteY14" fmla="*/ 8578 h 9844"/>
                <a:gd name="connsiteX15" fmla="*/ 6469 w 8865"/>
                <a:gd name="connsiteY15" fmla="*/ 8016 h 9844"/>
                <a:gd name="connsiteX16" fmla="*/ 7428 w 8865"/>
                <a:gd name="connsiteY16" fmla="*/ 8298 h 9844"/>
                <a:gd name="connsiteX17" fmla="*/ 7907 w 8865"/>
                <a:gd name="connsiteY17" fmla="*/ 8719 h 9844"/>
                <a:gd name="connsiteX18" fmla="*/ 8146 w 8865"/>
                <a:gd name="connsiteY18" fmla="*/ 9001 h 9844"/>
                <a:gd name="connsiteX19" fmla="*/ 8865 w 8865"/>
                <a:gd name="connsiteY19" fmla="*/ 8719 h 9844"/>
                <a:gd name="connsiteX20" fmla="*/ 8865 w 8865"/>
                <a:gd name="connsiteY20" fmla="*/ 8298 h 9844"/>
                <a:gd name="connsiteX21" fmla="*/ 8146 w 8865"/>
                <a:gd name="connsiteY21" fmla="*/ 7594 h 9844"/>
                <a:gd name="connsiteX22" fmla="*/ 8146 w 8865"/>
                <a:gd name="connsiteY22" fmla="*/ 6891 h 9844"/>
                <a:gd name="connsiteX23" fmla="*/ 8386 w 8865"/>
                <a:gd name="connsiteY23" fmla="*/ 6891 h 9844"/>
                <a:gd name="connsiteX24" fmla="*/ 7907 w 8865"/>
                <a:gd name="connsiteY24" fmla="*/ 6188 h 9844"/>
                <a:gd name="connsiteX25" fmla="*/ 7667 w 8865"/>
                <a:gd name="connsiteY25" fmla="*/ 5907 h 9844"/>
                <a:gd name="connsiteX26" fmla="*/ 6469 w 8865"/>
                <a:gd name="connsiteY26" fmla="*/ 5766 h 9844"/>
                <a:gd name="connsiteX27" fmla="*/ 5272 w 8865"/>
                <a:gd name="connsiteY27" fmla="*/ 5484 h 9844"/>
                <a:gd name="connsiteX28" fmla="*/ 4793 w 8865"/>
                <a:gd name="connsiteY28" fmla="*/ 4781 h 9844"/>
                <a:gd name="connsiteX29" fmla="*/ 4313 w 8865"/>
                <a:gd name="connsiteY29" fmla="*/ 3656 h 9844"/>
                <a:gd name="connsiteX30" fmla="*/ 4793 w 8865"/>
                <a:gd name="connsiteY30" fmla="*/ 3235 h 9844"/>
                <a:gd name="connsiteX31" fmla="*/ 4553 w 8865"/>
                <a:gd name="connsiteY31" fmla="*/ 2250 h 9844"/>
                <a:gd name="connsiteX32" fmla="*/ 5751 w 8865"/>
                <a:gd name="connsiteY32" fmla="*/ 2250 h 9844"/>
                <a:gd name="connsiteX33" fmla="*/ 6230 w 8865"/>
                <a:gd name="connsiteY33" fmla="*/ 2813 h 9844"/>
                <a:gd name="connsiteX34" fmla="*/ 7188 w 8865"/>
                <a:gd name="connsiteY34" fmla="*/ 2813 h 9844"/>
                <a:gd name="connsiteX35" fmla="*/ 7188 w 8865"/>
                <a:gd name="connsiteY35" fmla="*/ 2391 h 9844"/>
                <a:gd name="connsiteX36" fmla="*/ 7428 w 8865"/>
                <a:gd name="connsiteY36" fmla="*/ 2110 h 9844"/>
                <a:gd name="connsiteX37" fmla="*/ 7667 w 8865"/>
                <a:gd name="connsiteY37" fmla="*/ 2250 h 9844"/>
                <a:gd name="connsiteX38" fmla="*/ 7428 w 8865"/>
                <a:gd name="connsiteY38" fmla="*/ 1407 h 9844"/>
                <a:gd name="connsiteX39" fmla="*/ 7907 w 8865"/>
                <a:gd name="connsiteY39" fmla="*/ 844 h 9844"/>
                <a:gd name="connsiteX40" fmla="*/ 7907 w 8865"/>
                <a:gd name="connsiteY40" fmla="*/ 282 h 9844"/>
                <a:gd name="connsiteX41" fmla="*/ 7428 w 8865"/>
                <a:gd name="connsiteY41" fmla="*/ 0 h 9844"/>
                <a:gd name="connsiteX42" fmla="*/ 6949 w 8865"/>
                <a:gd name="connsiteY42" fmla="*/ 0 h 9844"/>
                <a:gd name="connsiteX43" fmla="*/ 5272 w 8865"/>
                <a:gd name="connsiteY43" fmla="*/ 141 h 9844"/>
                <a:gd name="connsiteX44" fmla="*/ 5032 w 8865"/>
                <a:gd name="connsiteY44" fmla="*/ 0 h 9844"/>
                <a:gd name="connsiteX45" fmla="*/ 5032 w 8865"/>
                <a:gd name="connsiteY45" fmla="*/ 703 h 9844"/>
                <a:gd name="connsiteX46" fmla="*/ 5032 w 8865"/>
                <a:gd name="connsiteY46" fmla="*/ 844 h 9844"/>
                <a:gd name="connsiteX0" fmla="*/ 5405 w 9729"/>
                <a:gd name="connsiteY0" fmla="*/ 857 h 10000"/>
                <a:gd name="connsiteX1" fmla="*/ 4325 w 9729"/>
                <a:gd name="connsiteY1" fmla="*/ 1857 h 10000"/>
                <a:gd name="connsiteX2" fmla="*/ 3784 w 9729"/>
                <a:gd name="connsiteY2" fmla="*/ 2858 h 10000"/>
                <a:gd name="connsiteX3" fmla="*/ 4054 w 9729"/>
                <a:gd name="connsiteY3" fmla="*/ 3714 h 10000"/>
                <a:gd name="connsiteX4" fmla="*/ 269 w 9729"/>
                <a:gd name="connsiteY4" fmla="*/ 9858 h 10000"/>
                <a:gd name="connsiteX5" fmla="*/ 0 w 9729"/>
                <a:gd name="connsiteY5" fmla="*/ 9858 h 10000"/>
                <a:gd name="connsiteX6" fmla="*/ 540 w 9729"/>
                <a:gd name="connsiteY6" fmla="*/ 10000 h 10000"/>
                <a:gd name="connsiteX7" fmla="*/ 1080 w 9729"/>
                <a:gd name="connsiteY7" fmla="*/ 9858 h 10000"/>
                <a:gd name="connsiteX8" fmla="*/ 2161 w 9729"/>
                <a:gd name="connsiteY8" fmla="*/ 10000 h 10000"/>
                <a:gd name="connsiteX9" fmla="*/ 2973 w 9729"/>
                <a:gd name="connsiteY9" fmla="*/ 9571 h 10000"/>
                <a:gd name="connsiteX10" fmla="*/ 4054 w 9729"/>
                <a:gd name="connsiteY10" fmla="*/ 9000 h 10000"/>
                <a:gd name="connsiteX11" fmla="*/ 4865 w 9729"/>
                <a:gd name="connsiteY11" fmla="*/ 8857 h 10000"/>
                <a:gd name="connsiteX12" fmla="*/ 4594 w 9729"/>
                <a:gd name="connsiteY12" fmla="*/ 8857 h 10000"/>
                <a:gd name="connsiteX13" fmla="*/ 4594 w 9729"/>
                <a:gd name="connsiteY13" fmla="*/ 8714 h 10000"/>
                <a:gd name="connsiteX14" fmla="*/ 7026 w 9729"/>
                <a:gd name="connsiteY14" fmla="*/ 8143 h 10000"/>
                <a:gd name="connsiteX15" fmla="*/ 8108 w 9729"/>
                <a:gd name="connsiteY15" fmla="*/ 8430 h 10000"/>
                <a:gd name="connsiteX16" fmla="*/ 8648 w 9729"/>
                <a:gd name="connsiteY16" fmla="*/ 8857 h 10000"/>
                <a:gd name="connsiteX17" fmla="*/ 8918 w 9729"/>
                <a:gd name="connsiteY17" fmla="*/ 9144 h 10000"/>
                <a:gd name="connsiteX18" fmla="*/ 9729 w 9729"/>
                <a:gd name="connsiteY18" fmla="*/ 8857 h 10000"/>
                <a:gd name="connsiteX19" fmla="*/ 9729 w 9729"/>
                <a:gd name="connsiteY19" fmla="*/ 8430 h 10000"/>
                <a:gd name="connsiteX20" fmla="*/ 8918 w 9729"/>
                <a:gd name="connsiteY20" fmla="*/ 7714 h 10000"/>
                <a:gd name="connsiteX21" fmla="*/ 8918 w 9729"/>
                <a:gd name="connsiteY21" fmla="*/ 7000 h 10000"/>
                <a:gd name="connsiteX22" fmla="*/ 9189 w 9729"/>
                <a:gd name="connsiteY22" fmla="*/ 7000 h 10000"/>
                <a:gd name="connsiteX23" fmla="*/ 8648 w 9729"/>
                <a:gd name="connsiteY23" fmla="*/ 6286 h 10000"/>
                <a:gd name="connsiteX24" fmla="*/ 8378 w 9729"/>
                <a:gd name="connsiteY24" fmla="*/ 6001 h 10000"/>
                <a:gd name="connsiteX25" fmla="*/ 7026 w 9729"/>
                <a:gd name="connsiteY25" fmla="*/ 5857 h 10000"/>
                <a:gd name="connsiteX26" fmla="*/ 5676 w 9729"/>
                <a:gd name="connsiteY26" fmla="*/ 5571 h 10000"/>
                <a:gd name="connsiteX27" fmla="*/ 5136 w 9729"/>
                <a:gd name="connsiteY27" fmla="*/ 4857 h 10000"/>
                <a:gd name="connsiteX28" fmla="*/ 4594 w 9729"/>
                <a:gd name="connsiteY28" fmla="*/ 3714 h 10000"/>
                <a:gd name="connsiteX29" fmla="*/ 5136 w 9729"/>
                <a:gd name="connsiteY29" fmla="*/ 3286 h 10000"/>
                <a:gd name="connsiteX30" fmla="*/ 4865 w 9729"/>
                <a:gd name="connsiteY30" fmla="*/ 2286 h 10000"/>
                <a:gd name="connsiteX31" fmla="*/ 6216 w 9729"/>
                <a:gd name="connsiteY31" fmla="*/ 2286 h 10000"/>
                <a:gd name="connsiteX32" fmla="*/ 6757 w 9729"/>
                <a:gd name="connsiteY32" fmla="*/ 2858 h 10000"/>
                <a:gd name="connsiteX33" fmla="*/ 7837 w 9729"/>
                <a:gd name="connsiteY33" fmla="*/ 2858 h 10000"/>
                <a:gd name="connsiteX34" fmla="*/ 7837 w 9729"/>
                <a:gd name="connsiteY34" fmla="*/ 2429 h 10000"/>
                <a:gd name="connsiteX35" fmla="*/ 8108 w 9729"/>
                <a:gd name="connsiteY35" fmla="*/ 2143 h 10000"/>
                <a:gd name="connsiteX36" fmla="*/ 8378 w 9729"/>
                <a:gd name="connsiteY36" fmla="*/ 2286 h 10000"/>
                <a:gd name="connsiteX37" fmla="*/ 8108 w 9729"/>
                <a:gd name="connsiteY37" fmla="*/ 1429 h 10000"/>
                <a:gd name="connsiteX38" fmla="*/ 8648 w 9729"/>
                <a:gd name="connsiteY38" fmla="*/ 857 h 10000"/>
                <a:gd name="connsiteX39" fmla="*/ 8648 w 9729"/>
                <a:gd name="connsiteY39" fmla="*/ 286 h 10000"/>
                <a:gd name="connsiteX40" fmla="*/ 8108 w 9729"/>
                <a:gd name="connsiteY40" fmla="*/ 0 h 10000"/>
                <a:gd name="connsiteX41" fmla="*/ 7568 w 9729"/>
                <a:gd name="connsiteY41" fmla="*/ 0 h 10000"/>
                <a:gd name="connsiteX42" fmla="*/ 5676 w 9729"/>
                <a:gd name="connsiteY42" fmla="*/ 143 h 10000"/>
                <a:gd name="connsiteX43" fmla="*/ 5405 w 9729"/>
                <a:gd name="connsiteY43" fmla="*/ 0 h 10000"/>
                <a:gd name="connsiteX44" fmla="*/ 5405 w 9729"/>
                <a:gd name="connsiteY44" fmla="*/ 714 h 10000"/>
                <a:gd name="connsiteX45" fmla="*/ 5405 w 9729"/>
                <a:gd name="connsiteY45" fmla="*/ 857 h 10000"/>
                <a:gd name="connsiteX0" fmla="*/ 5280 w 9724"/>
                <a:gd name="connsiteY0" fmla="*/ 857 h 10000"/>
                <a:gd name="connsiteX1" fmla="*/ 4169 w 9724"/>
                <a:gd name="connsiteY1" fmla="*/ 1857 h 10000"/>
                <a:gd name="connsiteX2" fmla="*/ 3613 w 9724"/>
                <a:gd name="connsiteY2" fmla="*/ 2858 h 10000"/>
                <a:gd name="connsiteX3" fmla="*/ 3891 w 9724"/>
                <a:gd name="connsiteY3" fmla="*/ 3714 h 10000"/>
                <a:gd name="connsiteX4" fmla="*/ 0 w 9724"/>
                <a:gd name="connsiteY4" fmla="*/ 9858 h 10000"/>
                <a:gd name="connsiteX5" fmla="*/ 279 w 9724"/>
                <a:gd name="connsiteY5" fmla="*/ 10000 h 10000"/>
                <a:gd name="connsiteX6" fmla="*/ 834 w 9724"/>
                <a:gd name="connsiteY6" fmla="*/ 9858 h 10000"/>
                <a:gd name="connsiteX7" fmla="*/ 1945 w 9724"/>
                <a:gd name="connsiteY7" fmla="*/ 10000 h 10000"/>
                <a:gd name="connsiteX8" fmla="*/ 2780 w 9724"/>
                <a:gd name="connsiteY8" fmla="*/ 9571 h 10000"/>
                <a:gd name="connsiteX9" fmla="*/ 3891 w 9724"/>
                <a:gd name="connsiteY9" fmla="*/ 9000 h 10000"/>
                <a:gd name="connsiteX10" fmla="*/ 4725 w 9724"/>
                <a:gd name="connsiteY10" fmla="*/ 8857 h 10000"/>
                <a:gd name="connsiteX11" fmla="*/ 4446 w 9724"/>
                <a:gd name="connsiteY11" fmla="*/ 8857 h 10000"/>
                <a:gd name="connsiteX12" fmla="*/ 4446 w 9724"/>
                <a:gd name="connsiteY12" fmla="*/ 8714 h 10000"/>
                <a:gd name="connsiteX13" fmla="*/ 6946 w 9724"/>
                <a:gd name="connsiteY13" fmla="*/ 8143 h 10000"/>
                <a:gd name="connsiteX14" fmla="*/ 8058 w 9724"/>
                <a:gd name="connsiteY14" fmla="*/ 8430 h 10000"/>
                <a:gd name="connsiteX15" fmla="*/ 8613 w 9724"/>
                <a:gd name="connsiteY15" fmla="*/ 8857 h 10000"/>
                <a:gd name="connsiteX16" fmla="*/ 8890 w 9724"/>
                <a:gd name="connsiteY16" fmla="*/ 9144 h 10000"/>
                <a:gd name="connsiteX17" fmla="*/ 9724 w 9724"/>
                <a:gd name="connsiteY17" fmla="*/ 8857 h 10000"/>
                <a:gd name="connsiteX18" fmla="*/ 9724 w 9724"/>
                <a:gd name="connsiteY18" fmla="*/ 8430 h 10000"/>
                <a:gd name="connsiteX19" fmla="*/ 8890 w 9724"/>
                <a:gd name="connsiteY19" fmla="*/ 7714 h 10000"/>
                <a:gd name="connsiteX20" fmla="*/ 8890 w 9724"/>
                <a:gd name="connsiteY20" fmla="*/ 7000 h 10000"/>
                <a:gd name="connsiteX21" fmla="*/ 9169 w 9724"/>
                <a:gd name="connsiteY21" fmla="*/ 7000 h 10000"/>
                <a:gd name="connsiteX22" fmla="*/ 8613 w 9724"/>
                <a:gd name="connsiteY22" fmla="*/ 6286 h 10000"/>
                <a:gd name="connsiteX23" fmla="*/ 8335 w 9724"/>
                <a:gd name="connsiteY23" fmla="*/ 6001 h 10000"/>
                <a:gd name="connsiteX24" fmla="*/ 6946 w 9724"/>
                <a:gd name="connsiteY24" fmla="*/ 5857 h 10000"/>
                <a:gd name="connsiteX25" fmla="*/ 5558 w 9724"/>
                <a:gd name="connsiteY25" fmla="*/ 5571 h 10000"/>
                <a:gd name="connsiteX26" fmla="*/ 5003 w 9724"/>
                <a:gd name="connsiteY26" fmla="*/ 4857 h 10000"/>
                <a:gd name="connsiteX27" fmla="*/ 4446 w 9724"/>
                <a:gd name="connsiteY27" fmla="*/ 3714 h 10000"/>
                <a:gd name="connsiteX28" fmla="*/ 5003 w 9724"/>
                <a:gd name="connsiteY28" fmla="*/ 3286 h 10000"/>
                <a:gd name="connsiteX29" fmla="*/ 4725 w 9724"/>
                <a:gd name="connsiteY29" fmla="*/ 2286 h 10000"/>
                <a:gd name="connsiteX30" fmla="*/ 6113 w 9724"/>
                <a:gd name="connsiteY30" fmla="*/ 2286 h 10000"/>
                <a:gd name="connsiteX31" fmla="*/ 6669 w 9724"/>
                <a:gd name="connsiteY31" fmla="*/ 2858 h 10000"/>
                <a:gd name="connsiteX32" fmla="*/ 7779 w 9724"/>
                <a:gd name="connsiteY32" fmla="*/ 2858 h 10000"/>
                <a:gd name="connsiteX33" fmla="*/ 7779 w 9724"/>
                <a:gd name="connsiteY33" fmla="*/ 2429 h 10000"/>
                <a:gd name="connsiteX34" fmla="*/ 8058 w 9724"/>
                <a:gd name="connsiteY34" fmla="*/ 2143 h 10000"/>
                <a:gd name="connsiteX35" fmla="*/ 8335 w 9724"/>
                <a:gd name="connsiteY35" fmla="*/ 2286 h 10000"/>
                <a:gd name="connsiteX36" fmla="*/ 8058 w 9724"/>
                <a:gd name="connsiteY36" fmla="*/ 1429 h 10000"/>
                <a:gd name="connsiteX37" fmla="*/ 8613 w 9724"/>
                <a:gd name="connsiteY37" fmla="*/ 857 h 10000"/>
                <a:gd name="connsiteX38" fmla="*/ 8613 w 9724"/>
                <a:gd name="connsiteY38" fmla="*/ 286 h 10000"/>
                <a:gd name="connsiteX39" fmla="*/ 8058 w 9724"/>
                <a:gd name="connsiteY39" fmla="*/ 0 h 10000"/>
                <a:gd name="connsiteX40" fmla="*/ 7503 w 9724"/>
                <a:gd name="connsiteY40" fmla="*/ 0 h 10000"/>
                <a:gd name="connsiteX41" fmla="*/ 5558 w 9724"/>
                <a:gd name="connsiteY41" fmla="*/ 143 h 10000"/>
                <a:gd name="connsiteX42" fmla="*/ 5280 w 9724"/>
                <a:gd name="connsiteY42" fmla="*/ 0 h 10000"/>
                <a:gd name="connsiteX43" fmla="*/ 5280 w 9724"/>
                <a:gd name="connsiteY43" fmla="*/ 714 h 10000"/>
                <a:gd name="connsiteX44" fmla="*/ 5280 w 9724"/>
                <a:gd name="connsiteY44" fmla="*/ 857 h 10000"/>
                <a:gd name="connsiteX0" fmla="*/ 5430 w 10000"/>
                <a:gd name="connsiteY0" fmla="*/ 857 h 10000"/>
                <a:gd name="connsiteX1" fmla="*/ 4287 w 10000"/>
                <a:gd name="connsiteY1" fmla="*/ 1857 h 10000"/>
                <a:gd name="connsiteX2" fmla="*/ 3716 w 10000"/>
                <a:gd name="connsiteY2" fmla="*/ 2858 h 10000"/>
                <a:gd name="connsiteX3" fmla="*/ 4001 w 10000"/>
                <a:gd name="connsiteY3" fmla="*/ 3714 h 10000"/>
                <a:gd name="connsiteX4" fmla="*/ 0 w 10000"/>
                <a:gd name="connsiteY4" fmla="*/ 9858 h 10000"/>
                <a:gd name="connsiteX5" fmla="*/ 858 w 10000"/>
                <a:gd name="connsiteY5" fmla="*/ 9858 h 10000"/>
                <a:gd name="connsiteX6" fmla="*/ 2000 w 10000"/>
                <a:gd name="connsiteY6" fmla="*/ 10000 h 10000"/>
                <a:gd name="connsiteX7" fmla="*/ 2859 w 10000"/>
                <a:gd name="connsiteY7" fmla="*/ 9571 h 10000"/>
                <a:gd name="connsiteX8" fmla="*/ 4001 w 10000"/>
                <a:gd name="connsiteY8" fmla="*/ 9000 h 10000"/>
                <a:gd name="connsiteX9" fmla="*/ 4859 w 10000"/>
                <a:gd name="connsiteY9" fmla="*/ 8857 h 10000"/>
                <a:gd name="connsiteX10" fmla="*/ 4572 w 10000"/>
                <a:gd name="connsiteY10" fmla="*/ 8857 h 10000"/>
                <a:gd name="connsiteX11" fmla="*/ 4572 w 10000"/>
                <a:gd name="connsiteY11" fmla="*/ 8714 h 10000"/>
                <a:gd name="connsiteX12" fmla="*/ 7143 w 10000"/>
                <a:gd name="connsiteY12" fmla="*/ 8143 h 10000"/>
                <a:gd name="connsiteX13" fmla="*/ 8287 w 10000"/>
                <a:gd name="connsiteY13" fmla="*/ 8430 h 10000"/>
                <a:gd name="connsiteX14" fmla="*/ 8857 w 10000"/>
                <a:gd name="connsiteY14" fmla="*/ 8857 h 10000"/>
                <a:gd name="connsiteX15" fmla="*/ 9142 w 10000"/>
                <a:gd name="connsiteY15" fmla="*/ 9144 h 10000"/>
                <a:gd name="connsiteX16" fmla="*/ 10000 w 10000"/>
                <a:gd name="connsiteY16" fmla="*/ 8857 h 10000"/>
                <a:gd name="connsiteX17" fmla="*/ 10000 w 10000"/>
                <a:gd name="connsiteY17" fmla="*/ 8430 h 10000"/>
                <a:gd name="connsiteX18" fmla="*/ 9142 w 10000"/>
                <a:gd name="connsiteY18" fmla="*/ 7714 h 10000"/>
                <a:gd name="connsiteX19" fmla="*/ 9142 w 10000"/>
                <a:gd name="connsiteY19" fmla="*/ 7000 h 10000"/>
                <a:gd name="connsiteX20" fmla="*/ 9429 w 10000"/>
                <a:gd name="connsiteY20" fmla="*/ 7000 h 10000"/>
                <a:gd name="connsiteX21" fmla="*/ 8857 w 10000"/>
                <a:gd name="connsiteY21" fmla="*/ 6286 h 10000"/>
                <a:gd name="connsiteX22" fmla="*/ 8572 w 10000"/>
                <a:gd name="connsiteY22" fmla="*/ 6001 h 10000"/>
                <a:gd name="connsiteX23" fmla="*/ 7143 w 10000"/>
                <a:gd name="connsiteY23" fmla="*/ 5857 h 10000"/>
                <a:gd name="connsiteX24" fmla="*/ 5716 w 10000"/>
                <a:gd name="connsiteY24" fmla="*/ 5571 h 10000"/>
                <a:gd name="connsiteX25" fmla="*/ 5145 w 10000"/>
                <a:gd name="connsiteY25" fmla="*/ 4857 h 10000"/>
                <a:gd name="connsiteX26" fmla="*/ 4572 w 10000"/>
                <a:gd name="connsiteY26" fmla="*/ 3714 h 10000"/>
                <a:gd name="connsiteX27" fmla="*/ 5145 w 10000"/>
                <a:gd name="connsiteY27" fmla="*/ 3286 h 10000"/>
                <a:gd name="connsiteX28" fmla="*/ 4859 w 10000"/>
                <a:gd name="connsiteY28" fmla="*/ 2286 h 10000"/>
                <a:gd name="connsiteX29" fmla="*/ 6287 w 10000"/>
                <a:gd name="connsiteY29" fmla="*/ 2286 h 10000"/>
                <a:gd name="connsiteX30" fmla="*/ 6858 w 10000"/>
                <a:gd name="connsiteY30" fmla="*/ 2858 h 10000"/>
                <a:gd name="connsiteX31" fmla="*/ 8000 w 10000"/>
                <a:gd name="connsiteY31" fmla="*/ 2858 h 10000"/>
                <a:gd name="connsiteX32" fmla="*/ 8000 w 10000"/>
                <a:gd name="connsiteY32" fmla="*/ 2429 h 10000"/>
                <a:gd name="connsiteX33" fmla="*/ 8287 w 10000"/>
                <a:gd name="connsiteY33" fmla="*/ 2143 h 10000"/>
                <a:gd name="connsiteX34" fmla="*/ 8572 w 10000"/>
                <a:gd name="connsiteY34" fmla="*/ 2286 h 10000"/>
                <a:gd name="connsiteX35" fmla="*/ 8287 w 10000"/>
                <a:gd name="connsiteY35" fmla="*/ 1429 h 10000"/>
                <a:gd name="connsiteX36" fmla="*/ 8857 w 10000"/>
                <a:gd name="connsiteY36" fmla="*/ 857 h 10000"/>
                <a:gd name="connsiteX37" fmla="*/ 8857 w 10000"/>
                <a:gd name="connsiteY37" fmla="*/ 286 h 10000"/>
                <a:gd name="connsiteX38" fmla="*/ 8287 w 10000"/>
                <a:gd name="connsiteY38" fmla="*/ 0 h 10000"/>
                <a:gd name="connsiteX39" fmla="*/ 7716 w 10000"/>
                <a:gd name="connsiteY39" fmla="*/ 0 h 10000"/>
                <a:gd name="connsiteX40" fmla="*/ 5716 w 10000"/>
                <a:gd name="connsiteY40" fmla="*/ 143 h 10000"/>
                <a:gd name="connsiteX41" fmla="*/ 5430 w 10000"/>
                <a:gd name="connsiteY41" fmla="*/ 0 h 10000"/>
                <a:gd name="connsiteX42" fmla="*/ 5430 w 10000"/>
                <a:gd name="connsiteY42" fmla="*/ 714 h 10000"/>
                <a:gd name="connsiteX43" fmla="*/ 5430 w 10000"/>
                <a:gd name="connsiteY43" fmla="*/ 857 h 10000"/>
                <a:gd name="connsiteX0" fmla="*/ 5430 w 10000"/>
                <a:gd name="connsiteY0" fmla="*/ 857 h 10000"/>
                <a:gd name="connsiteX1" fmla="*/ 4287 w 10000"/>
                <a:gd name="connsiteY1" fmla="*/ 1857 h 10000"/>
                <a:gd name="connsiteX2" fmla="*/ 3716 w 10000"/>
                <a:gd name="connsiteY2" fmla="*/ 2858 h 10000"/>
                <a:gd name="connsiteX3" fmla="*/ 4001 w 10000"/>
                <a:gd name="connsiteY3" fmla="*/ 3714 h 10000"/>
                <a:gd name="connsiteX4" fmla="*/ 0 w 10000"/>
                <a:gd name="connsiteY4" fmla="*/ 9858 h 10000"/>
                <a:gd name="connsiteX5" fmla="*/ 2000 w 10000"/>
                <a:gd name="connsiteY5" fmla="*/ 10000 h 10000"/>
                <a:gd name="connsiteX6" fmla="*/ 2859 w 10000"/>
                <a:gd name="connsiteY6" fmla="*/ 9571 h 10000"/>
                <a:gd name="connsiteX7" fmla="*/ 4001 w 10000"/>
                <a:gd name="connsiteY7" fmla="*/ 9000 h 10000"/>
                <a:gd name="connsiteX8" fmla="*/ 4859 w 10000"/>
                <a:gd name="connsiteY8" fmla="*/ 8857 h 10000"/>
                <a:gd name="connsiteX9" fmla="*/ 4572 w 10000"/>
                <a:gd name="connsiteY9" fmla="*/ 8857 h 10000"/>
                <a:gd name="connsiteX10" fmla="*/ 4572 w 10000"/>
                <a:gd name="connsiteY10" fmla="*/ 8714 h 10000"/>
                <a:gd name="connsiteX11" fmla="*/ 7143 w 10000"/>
                <a:gd name="connsiteY11" fmla="*/ 8143 h 10000"/>
                <a:gd name="connsiteX12" fmla="*/ 8287 w 10000"/>
                <a:gd name="connsiteY12" fmla="*/ 8430 h 10000"/>
                <a:gd name="connsiteX13" fmla="*/ 8857 w 10000"/>
                <a:gd name="connsiteY13" fmla="*/ 8857 h 10000"/>
                <a:gd name="connsiteX14" fmla="*/ 9142 w 10000"/>
                <a:gd name="connsiteY14" fmla="*/ 9144 h 10000"/>
                <a:gd name="connsiteX15" fmla="*/ 10000 w 10000"/>
                <a:gd name="connsiteY15" fmla="*/ 8857 h 10000"/>
                <a:gd name="connsiteX16" fmla="*/ 10000 w 10000"/>
                <a:gd name="connsiteY16" fmla="*/ 8430 h 10000"/>
                <a:gd name="connsiteX17" fmla="*/ 9142 w 10000"/>
                <a:gd name="connsiteY17" fmla="*/ 7714 h 10000"/>
                <a:gd name="connsiteX18" fmla="*/ 9142 w 10000"/>
                <a:gd name="connsiteY18" fmla="*/ 7000 h 10000"/>
                <a:gd name="connsiteX19" fmla="*/ 9429 w 10000"/>
                <a:gd name="connsiteY19" fmla="*/ 7000 h 10000"/>
                <a:gd name="connsiteX20" fmla="*/ 8857 w 10000"/>
                <a:gd name="connsiteY20" fmla="*/ 6286 h 10000"/>
                <a:gd name="connsiteX21" fmla="*/ 8572 w 10000"/>
                <a:gd name="connsiteY21" fmla="*/ 6001 h 10000"/>
                <a:gd name="connsiteX22" fmla="*/ 7143 w 10000"/>
                <a:gd name="connsiteY22" fmla="*/ 5857 h 10000"/>
                <a:gd name="connsiteX23" fmla="*/ 5716 w 10000"/>
                <a:gd name="connsiteY23" fmla="*/ 5571 h 10000"/>
                <a:gd name="connsiteX24" fmla="*/ 5145 w 10000"/>
                <a:gd name="connsiteY24" fmla="*/ 4857 h 10000"/>
                <a:gd name="connsiteX25" fmla="*/ 4572 w 10000"/>
                <a:gd name="connsiteY25" fmla="*/ 3714 h 10000"/>
                <a:gd name="connsiteX26" fmla="*/ 5145 w 10000"/>
                <a:gd name="connsiteY26" fmla="*/ 3286 h 10000"/>
                <a:gd name="connsiteX27" fmla="*/ 4859 w 10000"/>
                <a:gd name="connsiteY27" fmla="*/ 2286 h 10000"/>
                <a:gd name="connsiteX28" fmla="*/ 6287 w 10000"/>
                <a:gd name="connsiteY28" fmla="*/ 2286 h 10000"/>
                <a:gd name="connsiteX29" fmla="*/ 6858 w 10000"/>
                <a:gd name="connsiteY29" fmla="*/ 2858 h 10000"/>
                <a:gd name="connsiteX30" fmla="*/ 8000 w 10000"/>
                <a:gd name="connsiteY30" fmla="*/ 2858 h 10000"/>
                <a:gd name="connsiteX31" fmla="*/ 8000 w 10000"/>
                <a:gd name="connsiteY31" fmla="*/ 2429 h 10000"/>
                <a:gd name="connsiteX32" fmla="*/ 8287 w 10000"/>
                <a:gd name="connsiteY32" fmla="*/ 2143 h 10000"/>
                <a:gd name="connsiteX33" fmla="*/ 8572 w 10000"/>
                <a:gd name="connsiteY33" fmla="*/ 2286 h 10000"/>
                <a:gd name="connsiteX34" fmla="*/ 8287 w 10000"/>
                <a:gd name="connsiteY34" fmla="*/ 1429 h 10000"/>
                <a:gd name="connsiteX35" fmla="*/ 8857 w 10000"/>
                <a:gd name="connsiteY35" fmla="*/ 857 h 10000"/>
                <a:gd name="connsiteX36" fmla="*/ 8857 w 10000"/>
                <a:gd name="connsiteY36" fmla="*/ 286 h 10000"/>
                <a:gd name="connsiteX37" fmla="*/ 8287 w 10000"/>
                <a:gd name="connsiteY37" fmla="*/ 0 h 10000"/>
                <a:gd name="connsiteX38" fmla="*/ 7716 w 10000"/>
                <a:gd name="connsiteY38" fmla="*/ 0 h 10000"/>
                <a:gd name="connsiteX39" fmla="*/ 5716 w 10000"/>
                <a:gd name="connsiteY39" fmla="*/ 143 h 10000"/>
                <a:gd name="connsiteX40" fmla="*/ 5430 w 10000"/>
                <a:gd name="connsiteY40" fmla="*/ 0 h 10000"/>
                <a:gd name="connsiteX41" fmla="*/ 5430 w 10000"/>
                <a:gd name="connsiteY41" fmla="*/ 714 h 10000"/>
                <a:gd name="connsiteX42" fmla="*/ 5430 w 10000"/>
                <a:gd name="connsiteY42" fmla="*/ 857 h 10000"/>
                <a:gd name="connsiteX0" fmla="*/ 3430 w 8000"/>
                <a:gd name="connsiteY0" fmla="*/ 857 h 10000"/>
                <a:gd name="connsiteX1" fmla="*/ 2287 w 8000"/>
                <a:gd name="connsiteY1" fmla="*/ 1857 h 10000"/>
                <a:gd name="connsiteX2" fmla="*/ 1716 w 8000"/>
                <a:gd name="connsiteY2" fmla="*/ 2858 h 10000"/>
                <a:gd name="connsiteX3" fmla="*/ 2001 w 8000"/>
                <a:gd name="connsiteY3" fmla="*/ 3714 h 10000"/>
                <a:gd name="connsiteX4" fmla="*/ 0 w 8000"/>
                <a:gd name="connsiteY4" fmla="*/ 10000 h 10000"/>
                <a:gd name="connsiteX5" fmla="*/ 859 w 8000"/>
                <a:gd name="connsiteY5" fmla="*/ 9571 h 10000"/>
                <a:gd name="connsiteX6" fmla="*/ 2001 w 8000"/>
                <a:gd name="connsiteY6" fmla="*/ 9000 h 10000"/>
                <a:gd name="connsiteX7" fmla="*/ 2859 w 8000"/>
                <a:gd name="connsiteY7" fmla="*/ 8857 h 10000"/>
                <a:gd name="connsiteX8" fmla="*/ 2572 w 8000"/>
                <a:gd name="connsiteY8" fmla="*/ 8857 h 10000"/>
                <a:gd name="connsiteX9" fmla="*/ 2572 w 8000"/>
                <a:gd name="connsiteY9" fmla="*/ 8714 h 10000"/>
                <a:gd name="connsiteX10" fmla="*/ 5143 w 8000"/>
                <a:gd name="connsiteY10" fmla="*/ 8143 h 10000"/>
                <a:gd name="connsiteX11" fmla="*/ 6287 w 8000"/>
                <a:gd name="connsiteY11" fmla="*/ 8430 h 10000"/>
                <a:gd name="connsiteX12" fmla="*/ 6857 w 8000"/>
                <a:gd name="connsiteY12" fmla="*/ 8857 h 10000"/>
                <a:gd name="connsiteX13" fmla="*/ 7142 w 8000"/>
                <a:gd name="connsiteY13" fmla="*/ 9144 h 10000"/>
                <a:gd name="connsiteX14" fmla="*/ 8000 w 8000"/>
                <a:gd name="connsiteY14" fmla="*/ 8857 h 10000"/>
                <a:gd name="connsiteX15" fmla="*/ 8000 w 8000"/>
                <a:gd name="connsiteY15" fmla="*/ 8430 h 10000"/>
                <a:gd name="connsiteX16" fmla="*/ 7142 w 8000"/>
                <a:gd name="connsiteY16" fmla="*/ 7714 h 10000"/>
                <a:gd name="connsiteX17" fmla="*/ 7142 w 8000"/>
                <a:gd name="connsiteY17" fmla="*/ 7000 h 10000"/>
                <a:gd name="connsiteX18" fmla="*/ 7429 w 8000"/>
                <a:gd name="connsiteY18" fmla="*/ 7000 h 10000"/>
                <a:gd name="connsiteX19" fmla="*/ 6857 w 8000"/>
                <a:gd name="connsiteY19" fmla="*/ 6286 h 10000"/>
                <a:gd name="connsiteX20" fmla="*/ 6572 w 8000"/>
                <a:gd name="connsiteY20" fmla="*/ 6001 h 10000"/>
                <a:gd name="connsiteX21" fmla="*/ 5143 w 8000"/>
                <a:gd name="connsiteY21" fmla="*/ 5857 h 10000"/>
                <a:gd name="connsiteX22" fmla="*/ 3716 w 8000"/>
                <a:gd name="connsiteY22" fmla="*/ 5571 h 10000"/>
                <a:gd name="connsiteX23" fmla="*/ 3145 w 8000"/>
                <a:gd name="connsiteY23" fmla="*/ 4857 h 10000"/>
                <a:gd name="connsiteX24" fmla="*/ 2572 w 8000"/>
                <a:gd name="connsiteY24" fmla="*/ 3714 h 10000"/>
                <a:gd name="connsiteX25" fmla="*/ 3145 w 8000"/>
                <a:gd name="connsiteY25" fmla="*/ 3286 h 10000"/>
                <a:gd name="connsiteX26" fmla="*/ 2859 w 8000"/>
                <a:gd name="connsiteY26" fmla="*/ 2286 h 10000"/>
                <a:gd name="connsiteX27" fmla="*/ 4287 w 8000"/>
                <a:gd name="connsiteY27" fmla="*/ 2286 h 10000"/>
                <a:gd name="connsiteX28" fmla="*/ 4858 w 8000"/>
                <a:gd name="connsiteY28" fmla="*/ 2858 h 10000"/>
                <a:gd name="connsiteX29" fmla="*/ 6000 w 8000"/>
                <a:gd name="connsiteY29" fmla="*/ 2858 h 10000"/>
                <a:gd name="connsiteX30" fmla="*/ 6000 w 8000"/>
                <a:gd name="connsiteY30" fmla="*/ 2429 h 10000"/>
                <a:gd name="connsiteX31" fmla="*/ 6287 w 8000"/>
                <a:gd name="connsiteY31" fmla="*/ 2143 h 10000"/>
                <a:gd name="connsiteX32" fmla="*/ 6572 w 8000"/>
                <a:gd name="connsiteY32" fmla="*/ 2286 h 10000"/>
                <a:gd name="connsiteX33" fmla="*/ 6287 w 8000"/>
                <a:gd name="connsiteY33" fmla="*/ 1429 h 10000"/>
                <a:gd name="connsiteX34" fmla="*/ 6857 w 8000"/>
                <a:gd name="connsiteY34" fmla="*/ 857 h 10000"/>
                <a:gd name="connsiteX35" fmla="*/ 6857 w 8000"/>
                <a:gd name="connsiteY35" fmla="*/ 286 h 10000"/>
                <a:gd name="connsiteX36" fmla="*/ 6287 w 8000"/>
                <a:gd name="connsiteY36" fmla="*/ 0 h 10000"/>
                <a:gd name="connsiteX37" fmla="*/ 5716 w 8000"/>
                <a:gd name="connsiteY37" fmla="*/ 0 h 10000"/>
                <a:gd name="connsiteX38" fmla="*/ 3716 w 8000"/>
                <a:gd name="connsiteY38" fmla="*/ 143 h 10000"/>
                <a:gd name="connsiteX39" fmla="*/ 3430 w 8000"/>
                <a:gd name="connsiteY39" fmla="*/ 0 h 10000"/>
                <a:gd name="connsiteX40" fmla="*/ 3430 w 8000"/>
                <a:gd name="connsiteY40" fmla="*/ 714 h 10000"/>
                <a:gd name="connsiteX41" fmla="*/ 3430 w 8000"/>
                <a:gd name="connsiteY41" fmla="*/ 857 h 10000"/>
                <a:gd name="connsiteX0" fmla="*/ 3214 w 8926"/>
                <a:gd name="connsiteY0" fmla="*/ 857 h 9880"/>
                <a:gd name="connsiteX1" fmla="*/ 1785 w 8926"/>
                <a:gd name="connsiteY1" fmla="*/ 1857 h 9880"/>
                <a:gd name="connsiteX2" fmla="*/ 1071 w 8926"/>
                <a:gd name="connsiteY2" fmla="*/ 2858 h 9880"/>
                <a:gd name="connsiteX3" fmla="*/ 1427 w 8926"/>
                <a:gd name="connsiteY3" fmla="*/ 3714 h 9880"/>
                <a:gd name="connsiteX4" fmla="*/ 0 w 8926"/>
                <a:gd name="connsiteY4" fmla="*/ 9571 h 9880"/>
                <a:gd name="connsiteX5" fmla="*/ 1427 w 8926"/>
                <a:gd name="connsiteY5" fmla="*/ 9000 h 9880"/>
                <a:gd name="connsiteX6" fmla="*/ 2500 w 8926"/>
                <a:gd name="connsiteY6" fmla="*/ 8857 h 9880"/>
                <a:gd name="connsiteX7" fmla="*/ 2141 w 8926"/>
                <a:gd name="connsiteY7" fmla="*/ 8857 h 9880"/>
                <a:gd name="connsiteX8" fmla="*/ 2141 w 8926"/>
                <a:gd name="connsiteY8" fmla="*/ 8714 h 9880"/>
                <a:gd name="connsiteX9" fmla="*/ 5355 w 8926"/>
                <a:gd name="connsiteY9" fmla="*/ 8143 h 9880"/>
                <a:gd name="connsiteX10" fmla="*/ 6785 w 8926"/>
                <a:gd name="connsiteY10" fmla="*/ 8430 h 9880"/>
                <a:gd name="connsiteX11" fmla="*/ 7497 w 8926"/>
                <a:gd name="connsiteY11" fmla="*/ 8857 h 9880"/>
                <a:gd name="connsiteX12" fmla="*/ 7854 w 8926"/>
                <a:gd name="connsiteY12" fmla="*/ 9144 h 9880"/>
                <a:gd name="connsiteX13" fmla="*/ 8926 w 8926"/>
                <a:gd name="connsiteY13" fmla="*/ 8857 h 9880"/>
                <a:gd name="connsiteX14" fmla="*/ 8926 w 8926"/>
                <a:gd name="connsiteY14" fmla="*/ 8430 h 9880"/>
                <a:gd name="connsiteX15" fmla="*/ 7854 w 8926"/>
                <a:gd name="connsiteY15" fmla="*/ 7714 h 9880"/>
                <a:gd name="connsiteX16" fmla="*/ 7854 w 8926"/>
                <a:gd name="connsiteY16" fmla="*/ 7000 h 9880"/>
                <a:gd name="connsiteX17" fmla="*/ 8212 w 8926"/>
                <a:gd name="connsiteY17" fmla="*/ 7000 h 9880"/>
                <a:gd name="connsiteX18" fmla="*/ 7497 w 8926"/>
                <a:gd name="connsiteY18" fmla="*/ 6286 h 9880"/>
                <a:gd name="connsiteX19" fmla="*/ 7141 w 8926"/>
                <a:gd name="connsiteY19" fmla="*/ 6001 h 9880"/>
                <a:gd name="connsiteX20" fmla="*/ 5355 w 8926"/>
                <a:gd name="connsiteY20" fmla="*/ 5857 h 9880"/>
                <a:gd name="connsiteX21" fmla="*/ 3571 w 8926"/>
                <a:gd name="connsiteY21" fmla="*/ 5571 h 9880"/>
                <a:gd name="connsiteX22" fmla="*/ 2857 w 8926"/>
                <a:gd name="connsiteY22" fmla="*/ 4857 h 9880"/>
                <a:gd name="connsiteX23" fmla="*/ 2141 w 8926"/>
                <a:gd name="connsiteY23" fmla="*/ 3714 h 9880"/>
                <a:gd name="connsiteX24" fmla="*/ 2857 w 8926"/>
                <a:gd name="connsiteY24" fmla="*/ 3286 h 9880"/>
                <a:gd name="connsiteX25" fmla="*/ 2500 w 8926"/>
                <a:gd name="connsiteY25" fmla="*/ 2286 h 9880"/>
                <a:gd name="connsiteX26" fmla="*/ 4285 w 8926"/>
                <a:gd name="connsiteY26" fmla="*/ 2286 h 9880"/>
                <a:gd name="connsiteX27" fmla="*/ 4999 w 8926"/>
                <a:gd name="connsiteY27" fmla="*/ 2858 h 9880"/>
                <a:gd name="connsiteX28" fmla="*/ 6426 w 8926"/>
                <a:gd name="connsiteY28" fmla="*/ 2858 h 9880"/>
                <a:gd name="connsiteX29" fmla="*/ 6426 w 8926"/>
                <a:gd name="connsiteY29" fmla="*/ 2429 h 9880"/>
                <a:gd name="connsiteX30" fmla="*/ 6785 w 8926"/>
                <a:gd name="connsiteY30" fmla="*/ 2143 h 9880"/>
                <a:gd name="connsiteX31" fmla="*/ 7141 w 8926"/>
                <a:gd name="connsiteY31" fmla="*/ 2286 h 9880"/>
                <a:gd name="connsiteX32" fmla="*/ 6785 w 8926"/>
                <a:gd name="connsiteY32" fmla="*/ 1429 h 9880"/>
                <a:gd name="connsiteX33" fmla="*/ 7497 w 8926"/>
                <a:gd name="connsiteY33" fmla="*/ 857 h 9880"/>
                <a:gd name="connsiteX34" fmla="*/ 7497 w 8926"/>
                <a:gd name="connsiteY34" fmla="*/ 286 h 9880"/>
                <a:gd name="connsiteX35" fmla="*/ 6785 w 8926"/>
                <a:gd name="connsiteY35" fmla="*/ 0 h 9880"/>
                <a:gd name="connsiteX36" fmla="*/ 6071 w 8926"/>
                <a:gd name="connsiteY36" fmla="*/ 0 h 9880"/>
                <a:gd name="connsiteX37" fmla="*/ 3571 w 8926"/>
                <a:gd name="connsiteY37" fmla="*/ 143 h 9880"/>
                <a:gd name="connsiteX38" fmla="*/ 3214 w 8926"/>
                <a:gd name="connsiteY38" fmla="*/ 0 h 9880"/>
                <a:gd name="connsiteX39" fmla="*/ 3214 w 8926"/>
                <a:gd name="connsiteY39" fmla="*/ 714 h 9880"/>
                <a:gd name="connsiteX40" fmla="*/ 3214 w 8926"/>
                <a:gd name="connsiteY40" fmla="*/ 857 h 9880"/>
                <a:gd name="connsiteX0" fmla="*/ 2401 w 8800"/>
                <a:gd name="connsiteY0" fmla="*/ 867 h 9255"/>
                <a:gd name="connsiteX1" fmla="*/ 800 w 8800"/>
                <a:gd name="connsiteY1" fmla="*/ 1880 h 9255"/>
                <a:gd name="connsiteX2" fmla="*/ 0 w 8800"/>
                <a:gd name="connsiteY2" fmla="*/ 2893 h 9255"/>
                <a:gd name="connsiteX3" fmla="*/ 399 w 8800"/>
                <a:gd name="connsiteY3" fmla="*/ 3759 h 9255"/>
                <a:gd name="connsiteX4" fmla="*/ 399 w 8800"/>
                <a:gd name="connsiteY4" fmla="*/ 9109 h 9255"/>
                <a:gd name="connsiteX5" fmla="*/ 1601 w 8800"/>
                <a:gd name="connsiteY5" fmla="*/ 8965 h 9255"/>
                <a:gd name="connsiteX6" fmla="*/ 1199 w 8800"/>
                <a:gd name="connsiteY6" fmla="*/ 8965 h 9255"/>
                <a:gd name="connsiteX7" fmla="*/ 1199 w 8800"/>
                <a:gd name="connsiteY7" fmla="*/ 8820 h 9255"/>
                <a:gd name="connsiteX8" fmla="*/ 4799 w 8800"/>
                <a:gd name="connsiteY8" fmla="*/ 8242 h 9255"/>
                <a:gd name="connsiteX9" fmla="*/ 6401 w 8800"/>
                <a:gd name="connsiteY9" fmla="*/ 8532 h 9255"/>
                <a:gd name="connsiteX10" fmla="*/ 7199 w 8800"/>
                <a:gd name="connsiteY10" fmla="*/ 8965 h 9255"/>
                <a:gd name="connsiteX11" fmla="*/ 7599 w 8800"/>
                <a:gd name="connsiteY11" fmla="*/ 9255 h 9255"/>
                <a:gd name="connsiteX12" fmla="*/ 8800 w 8800"/>
                <a:gd name="connsiteY12" fmla="*/ 8965 h 9255"/>
                <a:gd name="connsiteX13" fmla="*/ 8800 w 8800"/>
                <a:gd name="connsiteY13" fmla="*/ 8532 h 9255"/>
                <a:gd name="connsiteX14" fmla="*/ 7599 w 8800"/>
                <a:gd name="connsiteY14" fmla="*/ 7808 h 9255"/>
                <a:gd name="connsiteX15" fmla="*/ 7599 w 8800"/>
                <a:gd name="connsiteY15" fmla="*/ 7085 h 9255"/>
                <a:gd name="connsiteX16" fmla="*/ 8000 w 8800"/>
                <a:gd name="connsiteY16" fmla="*/ 7085 h 9255"/>
                <a:gd name="connsiteX17" fmla="*/ 7199 w 8800"/>
                <a:gd name="connsiteY17" fmla="*/ 6362 h 9255"/>
                <a:gd name="connsiteX18" fmla="*/ 6800 w 8800"/>
                <a:gd name="connsiteY18" fmla="*/ 6074 h 9255"/>
                <a:gd name="connsiteX19" fmla="*/ 4799 w 8800"/>
                <a:gd name="connsiteY19" fmla="*/ 5928 h 9255"/>
                <a:gd name="connsiteX20" fmla="*/ 2801 w 8800"/>
                <a:gd name="connsiteY20" fmla="*/ 5639 h 9255"/>
                <a:gd name="connsiteX21" fmla="*/ 2001 w 8800"/>
                <a:gd name="connsiteY21" fmla="*/ 4916 h 9255"/>
                <a:gd name="connsiteX22" fmla="*/ 1199 w 8800"/>
                <a:gd name="connsiteY22" fmla="*/ 3759 h 9255"/>
                <a:gd name="connsiteX23" fmla="*/ 2001 w 8800"/>
                <a:gd name="connsiteY23" fmla="*/ 3326 h 9255"/>
                <a:gd name="connsiteX24" fmla="*/ 1601 w 8800"/>
                <a:gd name="connsiteY24" fmla="*/ 2314 h 9255"/>
                <a:gd name="connsiteX25" fmla="*/ 3601 w 8800"/>
                <a:gd name="connsiteY25" fmla="*/ 2314 h 9255"/>
                <a:gd name="connsiteX26" fmla="*/ 4400 w 8800"/>
                <a:gd name="connsiteY26" fmla="*/ 2893 h 9255"/>
                <a:gd name="connsiteX27" fmla="*/ 5999 w 8800"/>
                <a:gd name="connsiteY27" fmla="*/ 2893 h 9255"/>
                <a:gd name="connsiteX28" fmla="*/ 5999 w 8800"/>
                <a:gd name="connsiteY28" fmla="*/ 2459 h 9255"/>
                <a:gd name="connsiteX29" fmla="*/ 6401 w 8800"/>
                <a:gd name="connsiteY29" fmla="*/ 2169 h 9255"/>
                <a:gd name="connsiteX30" fmla="*/ 6800 w 8800"/>
                <a:gd name="connsiteY30" fmla="*/ 2314 h 9255"/>
                <a:gd name="connsiteX31" fmla="*/ 6401 w 8800"/>
                <a:gd name="connsiteY31" fmla="*/ 1446 h 9255"/>
                <a:gd name="connsiteX32" fmla="*/ 7199 w 8800"/>
                <a:gd name="connsiteY32" fmla="*/ 867 h 9255"/>
                <a:gd name="connsiteX33" fmla="*/ 7199 w 8800"/>
                <a:gd name="connsiteY33" fmla="*/ 289 h 9255"/>
                <a:gd name="connsiteX34" fmla="*/ 6401 w 8800"/>
                <a:gd name="connsiteY34" fmla="*/ 0 h 9255"/>
                <a:gd name="connsiteX35" fmla="*/ 5601 w 8800"/>
                <a:gd name="connsiteY35" fmla="*/ 0 h 9255"/>
                <a:gd name="connsiteX36" fmla="*/ 2801 w 8800"/>
                <a:gd name="connsiteY36" fmla="*/ 145 h 9255"/>
                <a:gd name="connsiteX37" fmla="*/ 2401 w 8800"/>
                <a:gd name="connsiteY37" fmla="*/ 0 h 9255"/>
                <a:gd name="connsiteX38" fmla="*/ 2401 w 8800"/>
                <a:gd name="connsiteY38" fmla="*/ 723 h 9255"/>
                <a:gd name="connsiteX39" fmla="*/ 2401 w 8800"/>
                <a:gd name="connsiteY39" fmla="*/ 867 h 9255"/>
                <a:gd name="connsiteX0" fmla="*/ 2728 w 10000"/>
                <a:gd name="connsiteY0" fmla="*/ 937 h 10000"/>
                <a:gd name="connsiteX1" fmla="*/ 909 w 10000"/>
                <a:gd name="connsiteY1" fmla="*/ 2031 h 10000"/>
                <a:gd name="connsiteX2" fmla="*/ 0 w 10000"/>
                <a:gd name="connsiteY2" fmla="*/ 3126 h 10000"/>
                <a:gd name="connsiteX3" fmla="*/ 453 w 10000"/>
                <a:gd name="connsiteY3" fmla="*/ 4062 h 10000"/>
                <a:gd name="connsiteX4" fmla="*/ 1819 w 10000"/>
                <a:gd name="connsiteY4" fmla="*/ 9687 h 10000"/>
                <a:gd name="connsiteX5" fmla="*/ 1363 w 10000"/>
                <a:gd name="connsiteY5" fmla="*/ 9687 h 10000"/>
                <a:gd name="connsiteX6" fmla="*/ 1363 w 10000"/>
                <a:gd name="connsiteY6" fmla="*/ 9530 h 10000"/>
                <a:gd name="connsiteX7" fmla="*/ 5453 w 10000"/>
                <a:gd name="connsiteY7" fmla="*/ 8905 h 10000"/>
                <a:gd name="connsiteX8" fmla="*/ 7274 w 10000"/>
                <a:gd name="connsiteY8" fmla="*/ 9219 h 10000"/>
                <a:gd name="connsiteX9" fmla="*/ 8181 w 10000"/>
                <a:gd name="connsiteY9" fmla="*/ 9687 h 10000"/>
                <a:gd name="connsiteX10" fmla="*/ 8635 w 10000"/>
                <a:gd name="connsiteY10" fmla="*/ 10000 h 10000"/>
                <a:gd name="connsiteX11" fmla="*/ 10000 w 10000"/>
                <a:gd name="connsiteY11" fmla="*/ 9687 h 10000"/>
                <a:gd name="connsiteX12" fmla="*/ 10000 w 10000"/>
                <a:gd name="connsiteY12" fmla="*/ 9219 h 10000"/>
                <a:gd name="connsiteX13" fmla="*/ 8635 w 10000"/>
                <a:gd name="connsiteY13" fmla="*/ 8437 h 10000"/>
                <a:gd name="connsiteX14" fmla="*/ 8635 w 10000"/>
                <a:gd name="connsiteY14" fmla="*/ 7655 h 10000"/>
                <a:gd name="connsiteX15" fmla="*/ 9091 w 10000"/>
                <a:gd name="connsiteY15" fmla="*/ 7655 h 10000"/>
                <a:gd name="connsiteX16" fmla="*/ 8181 w 10000"/>
                <a:gd name="connsiteY16" fmla="*/ 6874 h 10000"/>
                <a:gd name="connsiteX17" fmla="*/ 7727 w 10000"/>
                <a:gd name="connsiteY17" fmla="*/ 6563 h 10000"/>
                <a:gd name="connsiteX18" fmla="*/ 5453 w 10000"/>
                <a:gd name="connsiteY18" fmla="*/ 6405 h 10000"/>
                <a:gd name="connsiteX19" fmla="*/ 3183 w 10000"/>
                <a:gd name="connsiteY19" fmla="*/ 6093 h 10000"/>
                <a:gd name="connsiteX20" fmla="*/ 2274 w 10000"/>
                <a:gd name="connsiteY20" fmla="*/ 5312 h 10000"/>
                <a:gd name="connsiteX21" fmla="*/ 1363 w 10000"/>
                <a:gd name="connsiteY21" fmla="*/ 4062 h 10000"/>
                <a:gd name="connsiteX22" fmla="*/ 2274 w 10000"/>
                <a:gd name="connsiteY22" fmla="*/ 3594 h 10000"/>
                <a:gd name="connsiteX23" fmla="*/ 1819 w 10000"/>
                <a:gd name="connsiteY23" fmla="*/ 2500 h 10000"/>
                <a:gd name="connsiteX24" fmla="*/ 4092 w 10000"/>
                <a:gd name="connsiteY24" fmla="*/ 2500 h 10000"/>
                <a:gd name="connsiteX25" fmla="*/ 5000 w 10000"/>
                <a:gd name="connsiteY25" fmla="*/ 3126 h 10000"/>
                <a:gd name="connsiteX26" fmla="*/ 6817 w 10000"/>
                <a:gd name="connsiteY26" fmla="*/ 3126 h 10000"/>
                <a:gd name="connsiteX27" fmla="*/ 6817 w 10000"/>
                <a:gd name="connsiteY27" fmla="*/ 2657 h 10000"/>
                <a:gd name="connsiteX28" fmla="*/ 7274 w 10000"/>
                <a:gd name="connsiteY28" fmla="*/ 2344 h 10000"/>
                <a:gd name="connsiteX29" fmla="*/ 7727 w 10000"/>
                <a:gd name="connsiteY29" fmla="*/ 2500 h 10000"/>
                <a:gd name="connsiteX30" fmla="*/ 7274 w 10000"/>
                <a:gd name="connsiteY30" fmla="*/ 1562 h 10000"/>
                <a:gd name="connsiteX31" fmla="*/ 8181 w 10000"/>
                <a:gd name="connsiteY31" fmla="*/ 937 h 10000"/>
                <a:gd name="connsiteX32" fmla="*/ 8181 w 10000"/>
                <a:gd name="connsiteY32" fmla="*/ 312 h 10000"/>
                <a:gd name="connsiteX33" fmla="*/ 7274 w 10000"/>
                <a:gd name="connsiteY33" fmla="*/ 0 h 10000"/>
                <a:gd name="connsiteX34" fmla="*/ 6365 w 10000"/>
                <a:gd name="connsiteY34" fmla="*/ 0 h 10000"/>
                <a:gd name="connsiteX35" fmla="*/ 3183 w 10000"/>
                <a:gd name="connsiteY35" fmla="*/ 157 h 10000"/>
                <a:gd name="connsiteX36" fmla="*/ 2728 w 10000"/>
                <a:gd name="connsiteY36" fmla="*/ 0 h 10000"/>
                <a:gd name="connsiteX37" fmla="*/ 2728 w 10000"/>
                <a:gd name="connsiteY37" fmla="*/ 781 h 10000"/>
                <a:gd name="connsiteX38" fmla="*/ 2728 w 10000"/>
                <a:gd name="connsiteY38" fmla="*/ 937 h 10000"/>
                <a:gd name="connsiteX0" fmla="*/ 2728 w 10000"/>
                <a:gd name="connsiteY0" fmla="*/ 937 h 10000"/>
                <a:gd name="connsiteX1" fmla="*/ 909 w 10000"/>
                <a:gd name="connsiteY1" fmla="*/ 2031 h 10000"/>
                <a:gd name="connsiteX2" fmla="*/ 0 w 10000"/>
                <a:gd name="connsiteY2" fmla="*/ 3126 h 10000"/>
                <a:gd name="connsiteX3" fmla="*/ 453 w 10000"/>
                <a:gd name="connsiteY3" fmla="*/ 4062 h 10000"/>
                <a:gd name="connsiteX4" fmla="*/ 1819 w 10000"/>
                <a:gd name="connsiteY4" fmla="*/ 9687 h 10000"/>
                <a:gd name="connsiteX5" fmla="*/ 1363 w 10000"/>
                <a:gd name="connsiteY5" fmla="*/ 9530 h 10000"/>
                <a:gd name="connsiteX6" fmla="*/ 5453 w 10000"/>
                <a:gd name="connsiteY6" fmla="*/ 8905 h 10000"/>
                <a:gd name="connsiteX7" fmla="*/ 7274 w 10000"/>
                <a:gd name="connsiteY7" fmla="*/ 9219 h 10000"/>
                <a:gd name="connsiteX8" fmla="*/ 8181 w 10000"/>
                <a:gd name="connsiteY8" fmla="*/ 9687 h 10000"/>
                <a:gd name="connsiteX9" fmla="*/ 8635 w 10000"/>
                <a:gd name="connsiteY9" fmla="*/ 10000 h 10000"/>
                <a:gd name="connsiteX10" fmla="*/ 10000 w 10000"/>
                <a:gd name="connsiteY10" fmla="*/ 9687 h 10000"/>
                <a:gd name="connsiteX11" fmla="*/ 10000 w 10000"/>
                <a:gd name="connsiteY11" fmla="*/ 9219 h 10000"/>
                <a:gd name="connsiteX12" fmla="*/ 8635 w 10000"/>
                <a:gd name="connsiteY12" fmla="*/ 8437 h 10000"/>
                <a:gd name="connsiteX13" fmla="*/ 8635 w 10000"/>
                <a:gd name="connsiteY13" fmla="*/ 7655 h 10000"/>
                <a:gd name="connsiteX14" fmla="*/ 9091 w 10000"/>
                <a:gd name="connsiteY14" fmla="*/ 7655 h 10000"/>
                <a:gd name="connsiteX15" fmla="*/ 8181 w 10000"/>
                <a:gd name="connsiteY15" fmla="*/ 6874 h 10000"/>
                <a:gd name="connsiteX16" fmla="*/ 7727 w 10000"/>
                <a:gd name="connsiteY16" fmla="*/ 6563 h 10000"/>
                <a:gd name="connsiteX17" fmla="*/ 5453 w 10000"/>
                <a:gd name="connsiteY17" fmla="*/ 6405 h 10000"/>
                <a:gd name="connsiteX18" fmla="*/ 3183 w 10000"/>
                <a:gd name="connsiteY18" fmla="*/ 6093 h 10000"/>
                <a:gd name="connsiteX19" fmla="*/ 2274 w 10000"/>
                <a:gd name="connsiteY19" fmla="*/ 5312 h 10000"/>
                <a:gd name="connsiteX20" fmla="*/ 1363 w 10000"/>
                <a:gd name="connsiteY20" fmla="*/ 4062 h 10000"/>
                <a:gd name="connsiteX21" fmla="*/ 2274 w 10000"/>
                <a:gd name="connsiteY21" fmla="*/ 3594 h 10000"/>
                <a:gd name="connsiteX22" fmla="*/ 1819 w 10000"/>
                <a:gd name="connsiteY22" fmla="*/ 2500 h 10000"/>
                <a:gd name="connsiteX23" fmla="*/ 4092 w 10000"/>
                <a:gd name="connsiteY23" fmla="*/ 2500 h 10000"/>
                <a:gd name="connsiteX24" fmla="*/ 5000 w 10000"/>
                <a:gd name="connsiteY24" fmla="*/ 3126 h 10000"/>
                <a:gd name="connsiteX25" fmla="*/ 6817 w 10000"/>
                <a:gd name="connsiteY25" fmla="*/ 3126 h 10000"/>
                <a:gd name="connsiteX26" fmla="*/ 6817 w 10000"/>
                <a:gd name="connsiteY26" fmla="*/ 2657 h 10000"/>
                <a:gd name="connsiteX27" fmla="*/ 7274 w 10000"/>
                <a:gd name="connsiteY27" fmla="*/ 2344 h 10000"/>
                <a:gd name="connsiteX28" fmla="*/ 7727 w 10000"/>
                <a:gd name="connsiteY28" fmla="*/ 2500 h 10000"/>
                <a:gd name="connsiteX29" fmla="*/ 7274 w 10000"/>
                <a:gd name="connsiteY29" fmla="*/ 1562 h 10000"/>
                <a:gd name="connsiteX30" fmla="*/ 8181 w 10000"/>
                <a:gd name="connsiteY30" fmla="*/ 937 h 10000"/>
                <a:gd name="connsiteX31" fmla="*/ 8181 w 10000"/>
                <a:gd name="connsiteY31" fmla="*/ 312 h 10000"/>
                <a:gd name="connsiteX32" fmla="*/ 7274 w 10000"/>
                <a:gd name="connsiteY32" fmla="*/ 0 h 10000"/>
                <a:gd name="connsiteX33" fmla="*/ 6365 w 10000"/>
                <a:gd name="connsiteY33" fmla="*/ 0 h 10000"/>
                <a:gd name="connsiteX34" fmla="*/ 3183 w 10000"/>
                <a:gd name="connsiteY34" fmla="*/ 157 h 10000"/>
                <a:gd name="connsiteX35" fmla="*/ 2728 w 10000"/>
                <a:gd name="connsiteY35" fmla="*/ 0 h 10000"/>
                <a:gd name="connsiteX36" fmla="*/ 2728 w 10000"/>
                <a:gd name="connsiteY36" fmla="*/ 781 h 10000"/>
                <a:gd name="connsiteX37" fmla="*/ 2728 w 10000"/>
                <a:gd name="connsiteY37" fmla="*/ 937 h 10000"/>
                <a:gd name="connsiteX0" fmla="*/ 2728 w 10000"/>
                <a:gd name="connsiteY0" fmla="*/ 937 h 10000"/>
                <a:gd name="connsiteX1" fmla="*/ 909 w 10000"/>
                <a:gd name="connsiteY1" fmla="*/ 2031 h 10000"/>
                <a:gd name="connsiteX2" fmla="*/ 0 w 10000"/>
                <a:gd name="connsiteY2" fmla="*/ 3126 h 10000"/>
                <a:gd name="connsiteX3" fmla="*/ 453 w 10000"/>
                <a:gd name="connsiteY3" fmla="*/ 4062 h 10000"/>
                <a:gd name="connsiteX4" fmla="*/ 1819 w 10000"/>
                <a:gd name="connsiteY4" fmla="*/ 9687 h 10000"/>
                <a:gd name="connsiteX5" fmla="*/ 5453 w 10000"/>
                <a:gd name="connsiteY5" fmla="*/ 8905 h 10000"/>
                <a:gd name="connsiteX6" fmla="*/ 7274 w 10000"/>
                <a:gd name="connsiteY6" fmla="*/ 9219 h 10000"/>
                <a:gd name="connsiteX7" fmla="*/ 8181 w 10000"/>
                <a:gd name="connsiteY7" fmla="*/ 9687 h 10000"/>
                <a:gd name="connsiteX8" fmla="*/ 8635 w 10000"/>
                <a:gd name="connsiteY8" fmla="*/ 10000 h 10000"/>
                <a:gd name="connsiteX9" fmla="*/ 10000 w 10000"/>
                <a:gd name="connsiteY9" fmla="*/ 9687 h 10000"/>
                <a:gd name="connsiteX10" fmla="*/ 10000 w 10000"/>
                <a:gd name="connsiteY10" fmla="*/ 9219 h 10000"/>
                <a:gd name="connsiteX11" fmla="*/ 8635 w 10000"/>
                <a:gd name="connsiteY11" fmla="*/ 8437 h 10000"/>
                <a:gd name="connsiteX12" fmla="*/ 8635 w 10000"/>
                <a:gd name="connsiteY12" fmla="*/ 7655 h 10000"/>
                <a:gd name="connsiteX13" fmla="*/ 9091 w 10000"/>
                <a:gd name="connsiteY13" fmla="*/ 7655 h 10000"/>
                <a:gd name="connsiteX14" fmla="*/ 8181 w 10000"/>
                <a:gd name="connsiteY14" fmla="*/ 6874 h 10000"/>
                <a:gd name="connsiteX15" fmla="*/ 7727 w 10000"/>
                <a:gd name="connsiteY15" fmla="*/ 6563 h 10000"/>
                <a:gd name="connsiteX16" fmla="*/ 5453 w 10000"/>
                <a:gd name="connsiteY16" fmla="*/ 6405 h 10000"/>
                <a:gd name="connsiteX17" fmla="*/ 3183 w 10000"/>
                <a:gd name="connsiteY17" fmla="*/ 6093 h 10000"/>
                <a:gd name="connsiteX18" fmla="*/ 2274 w 10000"/>
                <a:gd name="connsiteY18" fmla="*/ 5312 h 10000"/>
                <a:gd name="connsiteX19" fmla="*/ 1363 w 10000"/>
                <a:gd name="connsiteY19" fmla="*/ 4062 h 10000"/>
                <a:gd name="connsiteX20" fmla="*/ 2274 w 10000"/>
                <a:gd name="connsiteY20" fmla="*/ 3594 h 10000"/>
                <a:gd name="connsiteX21" fmla="*/ 1819 w 10000"/>
                <a:gd name="connsiteY21" fmla="*/ 2500 h 10000"/>
                <a:gd name="connsiteX22" fmla="*/ 4092 w 10000"/>
                <a:gd name="connsiteY22" fmla="*/ 2500 h 10000"/>
                <a:gd name="connsiteX23" fmla="*/ 5000 w 10000"/>
                <a:gd name="connsiteY23" fmla="*/ 3126 h 10000"/>
                <a:gd name="connsiteX24" fmla="*/ 6817 w 10000"/>
                <a:gd name="connsiteY24" fmla="*/ 3126 h 10000"/>
                <a:gd name="connsiteX25" fmla="*/ 6817 w 10000"/>
                <a:gd name="connsiteY25" fmla="*/ 2657 h 10000"/>
                <a:gd name="connsiteX26" fmla="*/ 7274 w 10000"/>
                <a:gd name="connsiteY26" fmla="*/ 2344 h 10000"/>
                <a:gd name="connsiteX27" fmla="*/ 7727 w 10000"/>
                <a:gd name="connsiteY27" fmla="*/ 2500 h 10000"/>
                <a:gd name="connsiteX28" fmla="*/ 7274 w 10000"/>
                <a:gd name="connsiteY28" fmla="*/ 1562 h 10000"/>
                <a:gd name="connsiteX29" fmla="*/ 8181 w 10000"/>
                <a:gd name="connsiteY29" fmla="*/ 937 h 10000"/>
                <a:gd name="connsiteX30" fmla="*/ 8181 w 10000"/>
                <a:gd name="connsiteY30" fmla="*/ 312 h 10000"/>
                <a:gd name="connsiteX31" fmla="*/ 7274 w 10000"/>
                <a:gd name="connsiteY31" fmla="*/ 0 h 10000"/>
                <a:gd name="connsiteX32" fmla="*/ 6365 w 10000"/>
                <a:gd name="connsiteY32" fmla="*/ 0 h 10000"/>
                <a:gd name="connsiteX33" fmla="*/ 3183 w 10000"/>
                <a:gd name="connsiteY33" fmla="*/ 157 h 10000"/>
                <a:gd name="connsiteX34" fmla="*/ 2728 w 10000"/>
                <a:gd name="connsiteY34" fmla="*/ 0 h 10000"/>
                <a:gd name="connsiteX35" fmla="*/ 2728 w 10000"/>
                <a:gd name="connsiteY35" fmla="*/ 781 h 10000"/>
                <a:gd name="connsiteX36" fmla="*/ 2728 w 10000"/>
                <a:gd name="connsiteY36" fmla="*/ 937 h 10000"/>
                <a:gd name="connsiteX0" fmla="*/ 2788 w 10060"/>
                <a:gd name="connsiteY0" fmla="*/ 937 h 10000"/>
                <a:gd name="connsiteX1" fmla="*/ 969 w 10060"/>
                <a:gd name="connsiteY1" fmla="*/ 2031 h 10000"/>
                <a:gd name="connsiteX2" fmla="*/ 60 w 10060"/>
                <a:gd name="connsiteY2" fmla="*/ 3126 h 10000"/>
                <a:gd name="connsiteX3" fmla="*/ 513 w 10060"/>
                <a:gd name="connsiteY3" fmla="*/ 4062 h 10000"/>
                <a:gd name="connsiteX4" fmla="*/ 5513 w 10060"/>
                <a:gd name="connsiteY4" fmla="*/ 8905 h 10000"/>
                <a:gd name="connsiteX5" fmla="*/ 7334 w 10060"/>
                <a:gd name="connsiteY5" fmla="*/ 9219 h 10000"/>
                <a:gd name="connsiteX6" fmla="*/ 8241 w 10060"/>
                <a:gd name="connsiteY6" fmla="*/ 9687 h 10000"/>
                <a:gd name="connsiteX7" fmla="*/ 8695 w 10060"/>
                <a:gd name="connsiteY7" fmla="*/ 10000 h 10000"/>
                <a:gd name="connsiteX8" fmla="*/ 10060 w 10060"/>
                <a:gd name="connsiteY8" fmla="*/ 9687 h 10000"/>
                <a:gd name="connsiteX9" fmla="*/ 10060 w 10060"/>
                <a:gd name="connsiteY9" fmla="*/ 9219 h 10000"/>
                <a:gd name="connsiteX10" fmla="*/ 8695 w 10060"/>
                <a:gd name="connsiteY10" fmla="*/ 8437 h 10000"/>
                <a:gd name="connsiteX11" fmla="*/ 8695 w 10060"/>
                <a:gd name="connsiteY11" fmla="*/ 7655 h 10000"/>
                <a:gd name="connsiteX12" fmla="*/ 9151 w 10060"/>
                <a:gd name="connsiteY12" fmla="*/ 7655 h 10000"/>
                <a:gd name="connsiteX13" fmla="*/ 8241 w 10060"/>
                <a:gd name="connsiteY13" fmla="*/ 6874 h 10000"/>
                <a:gd name="connsiteX14" fmla="*/ 7787 w 10060"/>
                <a:gd name="connsiteY14" fmla="*/ 6563 h 10000"/>
                <a:gd name="connsiteX15" fmla="*/ 5513 w 10060"/>
                <a:gd name="connsiteY15" fmla="*/ 6405 h 10000"/>
                <a:gd name="connsiteX16" fmla="*/ 3243 w 10060"/>
                <a:gd name="connsiteY16" fmla="*/ 6093 h 10000"/>
                <a:gd name="connsiteX17" fmla="*/ 2334 w 10060"/>
                <a:gd name="connsiteY17" fmla="*/ 5312 h 10000"/>
                <a:gd name="connsiteX18" fmla="*/ 1423 w 10060"/>
                <a:gd name="connsiteY18" fmla="*/ 4062 h 10000"/>
                <a:gd name="connsiteX19" fmla="*/ 2334 w 10060"/>
                <a:gd name="connsiteY19" fmla="*/ 3594 h 10000"/>
                <a:gd name="connsiteX20" fmla="*/ 1879 w 10060"/>
                <a:gd name="connsiteY20" fmla="*/ 2500 h 10000"/>
                <a:gd name="connsiteX21" fmla="*/ 4152 w 10060"/>
                <a:gd name="connsiteY21" fmla="*/ 2500 h 10000"/>
                <a:gd name="connsiteX22" fmla="*/ 5060 w 10060"/>
                <a:gd name="connsiteY22" fmla="*/ 3126 h 10000"/>
                <a:gd name="connsiteX23" fmla="*/ 6877 w 10060"/>
                <a:gd name="connsiteY23" fmla="*/ 3126 h 10000"/>
                <a:gd name="connsiteX24" fmla="*/ 6877 w 10060"/>
                <a:gd name="connsiteY24" fmla="*/ 2657 h 10000"/>
                <a:gd name="connsiteX25" fmla="*/ 7334 w 10060"/>
                <a:gd name="connsiteY25" fmla="*/ 2344 h 10000"/>
                <a:gd name="connsiteX26" fmla="*/ 7787 w 10060"/>
                <a:gd name="connsiteY26" fmla="*/ 2500 h 10000"/>
                <a:gd name="connsiteX27" fmla="*/ 7334 w 10060"/>
                <a:gd name="connsiteY27" fmla="*/ 1562 h 10000"/>
                <a:gd name="connsiteX28" fmla="*/ 8241 w 10060"/>
                <a:gd name="connsiteY28" fmla="*/ 937 h 10000"/>
                <a:gd name="connsiteX29" fmla="*/ 8241 w 10060"/>
                <a:gd name="connsiteY29" fmla="*/ 312 h 10000"/>
                <a:gd name="connsiteX30" fmla="*/ 7334 w 10060"/>
                <a:gd name="connsiteY30" fmla="*/ 0 h 10000"/>
                <a:gd name="connsiteX31" fmla="*/ 6425 w 10060"/>
                <a:gd name="connsiteY31" fmla="*/ 0 h 10000"/>
                <a:gd name="connsiteX32" fmla="*/ 3243 w 10060"/>
                <a:gd name="connsiteY32" fmla="*/ 157 h 10000"/>
                <a:gd name="connsiteX33" fmla="*/ 2788 w 10060"/>
                <a:gd name="connsiteY33" fmla="*/ 0 h 10000"/>
                <a:gd name="connsiteX34" fmla="*/ 2788 w 10060"/>
                <a:gd name="connsiteY34" fmla="*/ 781 h 10000"/>
                <a:gd name="connsiteX35" fmla="*/ 2788 w 10060"/>
                <a:gd name="connsiteY35" fmla="*/ 937 h 10000"/>
                <a:gd name="connsiteX0" fmla="*/ 2915 w 10187"/>
                <a:gd name="connsiteY0" fmla="*/ 937 h 10000"/>
                <a:gd name="connsiteX1" fmla="*/ 1096 w 10187"/>
                <a:gd name="connsiteY1" fmla="*/ 2031 h 10000"/>
                <a:gd name="connsiteX2" fmla="*/ 187 w 10187"/>
                <a:gd name="connsiteY2" fmla="*/ 3126 h 10000"/>
                <a:gd name="connsiteX3" fmla="*/ 640 w 10187"/>
                <a:gd name="connsiteY3" fmla="*/ 4062 h 10000"/>
                <a:gd name="connsiteX4" fmla="*/ 7461 w 10187"/>
                <a:gd name="connsiteY4" fmla="*/ 9219 h 10000"/>
                <a:gd name="connsiteX5" fmla="*/ 8368 w 10187"/>
                <a:gd name="connsiteY5" fmla="*/ 9687 h 10000"/>
                <a:gd name="connsiteX6" fmla="*/ 8822 w 10187"/>
                <a:gd name="connsiteY6" fmla="*/ 10000 h 10000"/>
                <a:gd name="connsiteX7" fmla="*/ 10187 w 10187"/>
                <a:gd name="connsiteY7" fmla="*/ 9687 h 10000"/>
                <a:gd name="connsiteX8" fmla="*/ 10187 w 10187"/>
                <a:gd name="connsiteY8" fmla="*/ 9219 h 10000"/>
                <a:gd name="connsiteX9" fmla="*/ 8822 w 10187"/>
                <a:gd name="connsiteY9" fmla="*/ 8437 h 10000"/>
                <a:gd name="connsiteX10" fmla="*/ 8822 w 10187"/>
                <a:gd name="connsiteY10" fmla="*/ 7655 h 10000"/>
                <a:gd name="connsiteX11" fmla="*/ 9278 w 10187"/>
                <a:gd name="connsiteY11" fmla="*/ 7655 h 10000"/>
                <a:gd name="connsiteX12" fmla="*/ 8368 w 10187"/>
                <a:gd name="connsiteY12" fmla="*/ 6874 h 10000"/>
                <a:gd name="connsiteX13" fmla="*/ 7914 w 10187"/>
                <a:gd name="connsiteY13" fmla="*/ 6563 h 10000"/>
                <a:gd name="connsiteX14" fmla="*/ 5640 w 10187"/>
                <a:gd name="connsiteY14" fmla="*/ 6405 h 10000"/>
                <a:gd name="connsiteX15" fmla="*/ 3370 w 10187"/>
                <a:gd name="connsiteY15" fmla="*/ 6093 h 10000"/>
                <a:gd name="connsiteX16" fmla="*/ 2461 w 10187"/>
                <a:gd name="connsiteY16" fmla="*/ 5312 h 10000"/>
                <a:gd name="connsiteX17" fmla="*/ 1550 w 10187"/>
                <a:gd name="connsiteY17" fmla="*/ 4062 h 10000"/>
                <a:gd name="connsiteX18" fmla="*/ 2461 w 10187"/>
                <a:gd name="connsiteY18" fmla="*/ 3594 h 10000"/>
                <a:gd name="connsiteX19" fmla="*/ 2006 w 10187"/>
                <a:gd name="connsiteY19" fmla="*/ 2500 h 10000"/>
                <a:gd name="connsiteX20" fmla="*/ 4279 w 10187"/>
                <a:gd name="connsiteY20" fmla="*/ 2500 h 10000"/>
                <a:gd name="connsiteX21" fmla="*/ 5187 w 10187"/>
                <a:gd name="connsiteY21" fmla="*/ 3126 h 10000"/>
                <a:gd name="connsiteX22" fmla="*/ 7004 w 10187"/>
                <a:gd name="connsiteY22" fmla="*/ 3126 h 10000"/>
                <a:gd name="connsiteX23" fmla="*/ 7004 w 10187"/>
                <a:gd name="connsiteY23" fmla="*/ 2657 h 10000"/>
                <a:gd name="connsiteX24" fmla="*/ 7461 w 10187"/>
                <a:gd name="connsiteY24" fmla="*/ 2344 h 10000"/>
                <a:gd name="connsiteX25" fmla="*/ 7914 w 10187"/>
                <a:gd name="connsiteY25" fmla="*/ 2500 h 10000"/>
                <a:gd name="connsiteX26" fmla="*/ 7461 w 10187"/>
                <a:gd name="connsiteY26" fmla="*/ 1562 h 10000"/>
                <a:gd name="connsiteX27" fmla="*/ 8368 w 10187"/>
                <a:gd name="connsiteY27" fmla="*/ 937 h 10000"/>
                <a:gd name="connsiteX28" fmla="*/ 8368 w 10187"/>
                <a:gd name="connsiteY28" fmla="*/ 312 h 10000"/>
                <a:gd name="connsiteX29" fmla="*/ 7461 w 10187"/>
                <a:gd name="connsiteY29" fmla="*/ 0 h 10000"/>
                <a:gd name="connsiteX30" fmla="*/ 6552 w 10187"/>
                <a:gd name="connsiteY30" fmla="*/ 0 h 10000"/>
                <a:gd name="connsiteX31" fmla="*/ 3370 w 10187"/>
                <a:gd name="connsiteY31" fmla="*/ 157 h 10000"/>
                <a:gd name="connsiteX32" fmla="*/ 2915 w 10187"/>
                <a:gd name="connsiteY32" fmla="*/ 0 h 10000"/>
                <a:gd name="connsiteX33" fmla="*/ 2915 w 10187"/>
                <a:gd name="connsiteY33" fmla="*/ 781 h 10000"/>
                <a:gd name="connsiteX34" fmla="*/ 2915 w 10187"/>
                <a:gd name="connsiteY34" fmla="*/ 937 h 10000"/>
                <a:gd name="connsiteX0" fmla="*/ 2980 w 10252"/>
                <a:gd name="connsiteY0" fmla="*/ 937 h 10000"/>
                <a:gd name="connsiteX1" fmla="*/ 1161 w 10252"/>
                <a:gd name="connsiteY1" fmla="*/ 2031 h 10000"/>
                <a:gd name="connsiteX2" fmla="*/ 252 w 10252"/>
                <a:gd name="connsiteY2" fmla="*/ 3126 h 10000"/>
                <a:gd name="connsiteX3" fmla="*/ 705 w 10252"/>
                <a:gd name="connsiteY3" fmla="*/ 4062 h 10000"/>
                <a:gd name="connsiteX4" fmla="*/ 8433 w 10252"/>
                <a:gd name="connsiteY4" fmla="*/ 9687 h 10000"/>
                <a:gd name="connsiteX5" fmla="*/ 8887 w 10252"/>
                <a:gd name="connsiteY5" fmla="*/ 10000 h 10000"/>
                <a:gd name="connsiteX6" fmla="*/ 10252 w 10252"/>
                <a:gd name="connsiteY6" fmla="*/ 9687 h 10000"/>
                <a:gd name="connsiteX7" fmla="*/ 10252 w 10252"/>
                <a:gd name="connsiteY7" fmla="*/ 9219 h 10000"/>
                <a:gd name="connsiteX8" fmla="*/ 8887 w 10252"/>
                <a:gd name="connsiteY8" fmla="*/ 8437 h 10000"/>
                <a:gd name="connsiteX9" fmla="*/ 8887 w 10252"/>
                <a:gd name="connsiteY9" fmla="*/ 7655 h 10000"/>
                <a:gd name="connsiteX10" fmla="*/ 9343 w 10252"/>
                <a:gd name="connsiteY10" fmla="*/ 7655 h 10000"/>
                <a:gd name="connsiteX11" fmla="*/ 8433 w 10252"/>
                <a:gd name="connsiteY11" fmla="*/ 6874 h 10000"/>
                <a:gd name="connsiteX12" fmla="*/ 7979 w 10252"/>
                <a:gd name="connsiteY12" fmla="*/ 6563 h 10000"/>
                <a:gd name="connsiteX13" fmla="*/ 5705 w 10252"/>
                <a:gd name="connsiteY13" fmla="*/ 6405 h 10000"/>
                <a:gd name="connsiteX14" fmla="*/ 3435 w 10252"/>
                <a:gd name="connsiteY14" fmla="*/ 6093 h 10000"/>
                <a:gd name="connsiteX15" fmla="*/ 2526 w 10252"/>
                <a:gd name="connsiteY15" fmla="*/ 5312 h 10000"/>
                <a:gd name="connsiteX16" fmla="*/ 1615 w 10252"/>
                <a:gd name="connsiteY16" fmla="*/ 4062 h 10000"/>
                <a:gd name="connsiteX17" fmla="*/ 2526 w 10252"/>
                <a:gd name="connsiteY17" fmla="*/ 3594 h 10000"/>
                <a:gd name="connsiteX18" fmla="*/ 2071 w 10252"/>
                <a:gd name="connsiteY18" fmla="*/ 2500 h 10000"/>
                <a:gd name="connsiteX19" fmla="*/ 4344 w 10252"/>
                <a:gd name="connsiteY19" fmla="*/ 2500 h 10000"/>
                <a:gd name="connsiteX20" fmla="*/ 5252 w 10252"/>
                <a:gd name="connsiteY20" fmla="*/ 3126 h 10000"/>
                <a:gd name="connsiteX21" fmla="*/ 7069 w 10252"/>
                <a:gd name="connsiteY21" fmla="*/ 3126 h 10000"/>
                <a:gd name="connsiteX22" fmla="*/ 7069 w 10252"/>
                <a:gd name="connsiteY22" fmla="*/ 2657 h 10000"/>
                <a:gd name="connsiteX23" fmla="*/ 7526 w 10252"/>
                <a:gd name="connsiteY23" fmla="*/ 2344 h 10000"/>
                <a:gd name="connsiteX24" fmla="*/ 7979 w 10252"/>
                <a:gd name="connsiteY24" fmla="*/ 2500 h 10000"/>
                <a:gd name="connsiteX25" fmla="*/ 7526 w 10252"/>
                <a:gd name="connsiteY25" fmla="*/ 1562 h 10000"/>
                <a:gd name="connsiteX26" fmla="*/ 8433 w 10252"/>
                <a:gd name="connsiteY26" fmla="*/ 937 h 10000"/>
                <a:gd name="connsiteX27" fmla="*/ 8433 w 10252"/>
                <a:gd name="connsiteY27" fmla="*/ 312 h 10000"/>
                <a:gd name="connsiteX28" fmla="*/ 7526 w 10252"/>
                <a:gd name="connsiteY28" fmla="*/ 0 h 10000"/>
                <a:gd name="connsiteX29" fmla="*/ 6617 w 10252"/>
                <a:gd name="connsiteY29" fmla="*/ 0 h 10000"/>
                <a:gd name="connsiteX30" fmla="*/ 3435 w 10252"/>
                <a:gd name="connsiteY30" fmla="*/ 157 h 10000"/>
                <a:gd name="connsiteX31" fmla="*/ 2980 w 10252"/>
                <a:gd name="connsiteY31" fmla="*/ 0 h 10000"/>
                <a:gd name="connsiteX32" fmla="*/ 2980 w 10252"/>
                <a:gd name="connsiteY32" fmla="*/ 781 h 10000"/>
                <a:gd name="connsiteX33" fmla="*/ 2980 w 10252"/>
                <a:gd name="connsiteY33" fmla="*/ 937 h 10000"/>
                <a:gd name="connsiteX0" fmla="*/ 3012 w 10284"/>
                <a:gd name="connsiteY0" fmla="*/ 937 h 10000"/>
                <a:gd name="connsiteX1" fmla="*/ 1193 w 10284"/>
                <a:gd name="connsiteY1" fmla="*/ 2031 h 10000"/>
                <a:gd name="connsiteX2" fmla="*/ 284 w 10284"/>
                <a:gd name="connsiteY2" fmla="*/ 3126 h 10000"/>
                <a:gd name="connsiteX3" fmla="*/ 737 w 10284"/>
                <a:gd name="connsiteY3" fmla="*/ 4062 h 10000"/>
                <a:gd name="connsiteX4" fmla="*/ 8919 w 10284"/>
                <a:gd name="connsiteY4" fmla="*/ 10000 h 10000"/>
                <a:gd name="connsiteX5" fmla="*/ 10284 w 10284"/>
                <a:gd name="connsiteY5" fmla="*/ 9687 h 10000"/>
                <a:gd name="connsiteX6" fmla="*/ 10284 w 10284"/>
                <a:gd name="connsiteY6" fmla="*/ 9219 h 10000"/>
                <a:gd name="connsiteX7" fmla="*/ 8919 w 10284"/>
                <a:gd name="connsiteY7" fmla="*/ 8437 h 10000"/>
                <a:gd name="connsiteX8" fmla="*/ 8919 w 10284"/>
                <a:gd name="connsiteY8" fmla="*/ 7655 h 10000"/>
                <a:gd name="connsiteX9" fmla="*/ 9375 w 10284"/>
                <a:gd name="connsiteY9" fmla="*/ 7655 h 10000"/>
                <a:gd name="connsiteX10" fmla="*/ 8465 w 10284"/>
                <a:gd name="connsiteY10" fmla="*/ 6874 h 10000"/>
                <a:gd name="connsiteX11" fmla="*/ 8011 w 10284"/>
                <a:gd name="connsiteY11" fmla="*/ 6563 h 10000"/>
                <a:gd name="connsiteX12" fmla="*/ 5737 w 10284"/>
                <a:gd name="connsiteY12" fmla="*/ 6405 h 10000"/>
                <a:gd name="connsiteX13" fmla="*/ 3467 w 10284"/>
                <a:gd name="connsiteY13" fmla="*/ 6093 h 10000"/>
                <a:gd name="connsiteX14" fmla="*/ 2558 w 10284"/>
                <a:gd name="connsiteY14" fmla="*/ 5312 h 10000"/>
                <a:gd name="connsiteX15" fmla="*/ 1647 w 10284"/>
                <a:gd name="connsiteY15" fmla="*/ 4062 h 10000"/>
                <a:gd name="connsiteX16" fmla="*/ 2558 w 10284"/>
                <a:gd name="connsiteY16" fmla="*/ 3594 h 10000"/>
                <a:gd name="connsiteX17" fmla="*/ 2103 w 10284"/>
                <a:gd name="connsiteY17" fmla="*/ 2500 h 10000"/>
                <a:gd name="connsiteX18" fmla="*/ 4376 w 10284"/>
                <a:gd name="connsiteY18" fmla="*/ 2500 h 10000"/>
                <a:gd name="connsiteX19" fmla="*/ 5284 w 10284"/>
                <a:gd name="connsiteY19" fmla="*/ 3126 h 10000"/>
                <a:gd name="connsiteX20" fmla="*/ 7101 w 10284"/>
                <a:gd name="connsiteY20" fmla="*/ 3126 h 10000"/>
                <a:gd name="connsiteX21" fmla="*/ 7101 w 10284"/>
                <a:gd name="connsiteY21" fmla="*/ 2657 h 10000"/>
                <a:gd name="connsiteX22" fmla="*/ 7558 w 10284"/>
                <a:gd name="connsiteY22" fmla="*/ 2344 h 10000"/>
                <a:gd name="connsiteX23" fmla="*/ 8011 w 10284"/>
                <a:gd name="connsiteY23" fmla="*/ 2500 h 10000"/>
                <a:gd name="connsiteX24" fmla="*/ 7558 w 10284"/>
                <a:gd name="connsiteY24" fmla="*/ 1562 h 10000"/>
                <a:gd name="connsiteX25" fmla="*/ 8465 w 10284"/>
                <a:gd name="connsiteY25" fmla="*/ 937 h 10000"/>
                <a:gd name="connsiteX26" fmla="*/ 8465 w 10284"/>
                <a:gd name="connsiteY26" fmla="*/ 312 h 10000"/>
                <a:gd name="connsiteX27" fmla="*/ 7558 w 10284"/>
                <a:gd name="connsiteY27" fmla="*/ 0 h 10000"/>
                <a:gd name="connsiteX28" fmla="*/ 6649 w 10284"/>
                <a:gd name="connsiteY28" fmla="*/ 0 h 10000"/>
                <a:gd name="connsiteX29" fmla="*/ 3467 w 10284"/>
                <a:gd name="connsiteY29" fmla="*/ 157 h 10000"/>
                <a:gd name="connsiteX30" fmla="*/ 3012 w 10284"/>
                <a:gd name="connsiteY30" fmla="*/ 0 h 10000"/>
                <a:gd name="connsiteX31" fmla="*/ 3012 w 10284"/>
                <a:gd name="connsiteY31" fmla="*/ 781 h 10000"/>
                <a:gd name="connsiteX32" fmla="*/ 3012 w 10284"/>
                <a:gd name="connsiteY32" fmla="*/ 937 h 10000"/>
                <a:gd name="connsiteX0" fmla="*/ 3111 w 10383"/>
                <a:gd name="connsiteY0" fmla="*/ 937 h 9687"/>
                <a:gd name="connsiteX1" fmla="*/ 1292 w 10383"/>
                <a:gd name="connsiteY1" fmla="*/ 2031 h 9687"/>
                <a:gd name="connsiteX2" fmla="*/ 383 w 10383"/>
                <a:gd name="connsiteY2" fmla="*/ 3126 h 9687"/>
                <a:gd name="connsiteX3" fmla="*/ 836 w 10383"/>
                <a:gd name="connsiteY3" fmla="*/ 4062 h 9687"/>
                <a:gd name="connsiteX4" fmla="*/ 10383 w 10383"/>
                <a:gd name="connsiteY4" fmla="*/ 9687 h 9687"/>
                <a:gd name="connsiteX5" fmla="*/ 10383 w 10383"/>
                <a:gd name="connsiteY5" fmla="*/ 9219 h 9687"/>
                <a:gd name="connsiteX6" fmla="*/ 9018 w 10383"/>
                <a:gd name="connsiteY6" fmla="*/ 8437 h 9687"/>
                <a:gd name="connsiteX7" fmla="*/ 9018 w 10383"/>
                <a:gd name="connsiteY7" fmla="*/ 7655 h 9687"/>
                <a:gd name="connsiteX8" fmla="*/ 9474 w 10383"/>
                <a:gd name="connsiteY8" fmla="*/ 7655 h 9687"/>
                <a:gd name="connsiteX9" fmla="*/ 8564 w 10383"/>
                <a:gd name="connsiteY9" fmla="*/ 6874 h 9687"/>
                <a:gd name="connsiteX10" fmla="*/ 8110 w 10383"/>
                <a:gd name="connsiteY10" fmla="*/ 6563 h 9687"/>
                <a:gd name="connsiteX11" fmla="*/ 5836 w 10383"/>
                <a:gd name="connsiteY11" fmla="*/ 6405 h 9687"/>
                <a:gd name="connsiteX12" fmla="*/ 3566 w 10383"/>
                <a:gd name="connsiteY12" fmla="*/ 6093 h 9687"/>
                <a:gd name="connsiteX13" fmla="*/ 2657 w 10383"/>
                <a:gd name="connsiteY13" fmla="*/ 5312 h 9687"/>
                <a:gd name="connsiteX14" fmla="*/ 1746 w 10383"/>
                <a:gd name="connsiteY14" fmla="*/ 4062 h 9687"/>
                <a:gd name="connsiteX15" fmla="*/ 2657 w 10383"/>
                <a:gd name="connsiteY15" fmla="*/ 3594 h 9687"/>
                <a:gd name="connsiteX16" fmla="*/ 2202 w 10383"/>
                <a:gd name="connsiteY16" fmla="*/ 2500 h 9687"/>
                <a:gd name="connsiteX17" fmla="*/ 4475 w 10383"/>
                <a:gd name="connsiteY17" fmla="*/ 2500 h 9687"/>
                <a:gd name="connsiteX18" fmla="*/ 5383 w 10383"/>
                <a:gd name="connsiteY18" fmla="*/ 3126 h 9687"/>
                <a:gd name="connsiteX19" fmla="*/ 7200 w 10383"/>
                <a:gd name="connsiteY19" fmla="*/ 3126 h 9687"/>
                <a:gd name="connsiteX20" fmla="*/ 7200 w 10383"/>
                <a:gd name="connsiteY20" fmla="*/ 2657 h 9687"/>
                <a:gd name="connsiteX21" fmla="*/ 7657 w 10383"/>
                <a:gd name="connsiteY21" fmla="*/ 2344 h 9687"/>
                <a:gd name="connsiteX22" fmla="*/ 8110 w 10383"/>
                <a:gd name="connsiteY22" fmla="*/ 2500 h 9687"/>
                <a:gd name="connsiteX23" fmla="*/ 7657 w 10383"/>
                <a:gd name="connsiteY23" fmla="*/ 1562 h 9687"/>
                <a:gd name="connsiteX24" fmla="*/ 8564 w 10383"/>
                <a:gd name="connsiteY24" fmla="*/ 937 h 9687"/>
                <a:gd name="connsiteX25" fmla="*/ 8564 w 10383"/>
                <a:gd name="connsiteY25" fmla="*/ 312 h 9687"/>
                <a:gd name="connsiteX26" fmla="*/ 7657 w 10383"/>
                <a:gd name="connsiteY26" fmla="*/ 0 h 9687"/>
                <a:gd name="connsiteX27" fmla="*/ 6748 w 10383"/>
                <a:gd name="connsiteY27" fmla="*/ 0 h 9687"/>
                <a:gd name="connsiteX28" fmla="*/ 3566 w 10383"/>
                <a:gd name="connsiteY28" fmla="*/ 157 h 9687"/>
                <a:gd name="connsiteX29" fmla="*/ 3111 w 10383"/>
                <a:gd name="connsiteY29" fmla="*/ 0 h 9687"/>
                <a:gd name="connsiteX30" fmla="*/ 3111 w 10383"/>
                <a:gd name="connsiteY30" fmla="*/ 781 h 9687"/>
                <a:gd name="connsiteX31" fmla="*/ 3111 w 10383"/>
                <a:gd name="connsiteY31" fmla="*/ 937 h 9687"/>
                <a:gd name="connsiteX0" fmla="*/ 2996 w 10414"/>
                <a:gd name="connsiteY0" fmla="*/ 967 h 9749"/>
                <a:gd name="connsiteX1" fmla="*/ 1244 w 10414"/>
                <a:gd name="connsiteY1" fmla="*/ 2097 h 9749"/>
                <a:gd name="connsiteX2" fmla="*/ 369 w 10414"/>
                <a:gd name="connsiteY2" fmla="*/ 3227 h 9749"/>
                <a:gd name="connsiteX3" fmla="*/ 805 w 10414"/>
                <a:gd name="connsiteY3" fmla="*/ 4193 h 9749"/>
                <a:gd name="connsiteX4" fmla="*/ 10000 w 10414"/>
                <a:gd name="connsiteY4" fmla="*/ 9517 h 9749"/>
                <a:gd name="connsiteX5" fmla="*/ 8685 w 10414"/>
                <a:gd name="connsiteY5" fmla="*/ 8710 h 9749"/>
                <a:gd name="connsiteX6" fmla="*/ 8685 w 10414"/>
                <a:gd name="connsiteY6" fmla="*/ 7902 h 9749"/>
                <a:gd name="connsiteX7" fmla="*/ 9125 w 10414"/>
                <a:gd name="connsiteY7" fmla="*/ 7902 h 9749"/>
                <a:gd name="connsiteX8" fmla="*/ 8248 w 10414"/>
                <a:gd name="connsiteY8" fmla="*/ 7096 h 9749"/>
                <a:gd name="connsiteX9" fmla="*/ 7811 w 10414"/>
                <a:gd name="connsiteY9" fmla="*/ 6775 h 9749"/>
                <a:gd name="connsiteX10" fmla="*/ 5621 w 10414"/>
                <a:gd name="connsiteY10" fmla="*/ 6612 h 9749"/>
                <a:gd name="connsiteX11" fmla="*/ 3434 w 10414"/>
                <a:gd name="connsiteY11" fmla="*/ 6290 h 9749"/>
                <a:gd name="connsiteX12" fmla="*/ 2559 w 10414"/>
                <a:gd name="connsiteY12" fmla="*/ 5484 h 9749"/>
                <a:gd name="connsiteX13" fmla="*/ 1682 w 10414"/>
                <a:gd name="connsiteY13" fmla="*/ 4193 h 9749"/>
                <a:gd name="connsiteX14" fmla="*/ 2559 w 10414"/>
                <a:gd name="connsiteY14" fmla="*/ 3710 h 9749"/>
                <a:gd name="connsiteX15" fmla="*/ 2121 w 10414"/>
                <a:gd name="connsiteY15" fmla="*/ 2581 h 9749"/>
                <a:gd name="connsiteX16" fmla="*/ 4310 w 10414"/>
                <a:gd name="connsiteY16" fmla="*/ 2581 h 9749"/>
                <a:gd name="connsiteX17" fmla="*/ 5184 w 10414"/>
                <a:gd name="connsiteY17" fmla="*/ 3227 h 9749"/>
                <a:gd name="connsiteX18" fmla="*/ 6934 w 10414"/>
                <a:gd name="connsiteY18" fmla="*/ 3227 h 9749"/>
                <a:gd name="connsiteX19" fmla="*/ 6934 w 10414"/>
                <a:gd name="connsiteY19" fmla="*/ 2743 h 9749"/>
                <a:gd name="connsiteX20" fmla="*/ 7375 w 10414"/>
                <a:gd name="connsiteY20" fmla="*/ 2420 h 9749"/>
                <a:gd name="connsiteX21" fmla="*/ 7811 w 10414"/>
                <a:gd name="connsiteY21" fmla="*/ 2581 h 9749"/>
                <a:gd name="connsiteX22" fmla="*/ 7375 w 10414"/>
                <a:gd name="connsiteY22" fmla="*/ 1612 h 9749"/>
                <a:gd name="connsiteX23" fmla="*/ 8248 w 10414"/>
                <a:gd name="connsiteY23" fmla="*/ 967 h 9749"/>
                <a:gd name="connsiteX24" fmla="*/ 8248 w 10414"/>
                <a:gd name="connsiteY24" fmla="*/ 322 h 9749"/>
                <a:gd name="connsiteX25" fmla="*/ 7375 w 10414"/>
                <a:gd name="connsiteY25" fmla="*/ 0 h 9749"/>
                <a:gd name="connsiteX26" fmla="*/ 6499 w 10414"/>
                <a:gd name="connsiteY26" fmla="*/ 0 h 9749"/>
                <a:gd name="connsiteX27" fmla="*/ 3434 w 10414"/>
                <a:gd name="connsiteY27" fmla="*/ 162 h 9749"/>
                <a:gd name="connsiteX28" fmla="*/ 2996 w 10414"/>
                <a:gd name="connsiteY28" fmla="*/ 0 h 9749"/>
                <a:gd name="connsiteX29" fmla="*/ 2996 w 10414"/>
                <a:gd name="connsiteY29" fmla="*/ 806 h 9749"/>
                <a:gd name="connsiteX30" fmla="*/ 2996 w 10414"/>
                <a:gd name="connsiteY30" fmla="*/ 967 h 9749"/>
                <a:gd name="connsiteX0" fmla="*/ 2787 w 8810"/>
                <a:gd name="connsiteY0" fmla="*/ 992 h 9117"/>
                <a:gd name="connsiteX1" fmla="*/ 1105 w 8810"/>
                <a:gd name="connsiteY1" fmla="*/ 2151 h 9117"/>
                <a:gd name="connsiteX2" fmla="*/ 264 w 8810"/>
                <a:gd name="connsiteY2" fmla="*/ 3310 h 9117"/>
                <a:gd name="connsiteX3" fmla="*/ 683 w 8810"/>
                <a:gd name="connsiteY3" fmla="*/ 4301 h 9117"/>
                <a:gd name="connsiteX4" fmla="*/ 8250 w 8810"/>
                <a:gd name="connsiteY4" fmla="*/ 8934 h 9117"/>
                <a:gd name="connsiteX5" fmla="*/ 8250 w 8810"/>
                <a:gd name="connsiteY5" fmla="*/ 8105 h 9117"/>
                <a:gd name="connsiteX6" fmla="*/ 8672 w 8810"/>
                <a:gd name="connsiteY6" fmla="*/ 8105 h 9117"/>
                <a:gd name="connsiteX7" fmla="*/ 7830 w 8810"/>
                <a:gd name="connsiteY7" fmla="*/ 7279 h 9117"/>
                <a:gd name="connsiteX8" fmla="*/ 7410 w 8810"/>
                <a:gd name="connsiteY8" fmla="*/ 6949 h 9117"/>
                <a:gd name="connsiteX9" fmla="*/ 5308 w 8810"/>
                <a:gd name="connsiteY9" fmla="*/ 6782 h 9117"/>
                <a:gd name="connsiteX10" fmla="*/ 3207 w 8810"/>
                <a:gd name="connsiteY10" fmla="*/ 6452 h 9117"/>
                <a:gd name="connsiteX11" fmla="*/ 2367 w 8810"/>
                <a:gd name="connsiteY11" fmla="*/ 5625 h 9117"/>
                <a:gd name="connsiteX12" fmla="*/ 1525 w 8810"/>
                <a:gd name="connsiteY12" fmla="*/ 4301 h 9117"/>
                <a:gd name="connsiteX13" fmla="*/ 2367 w 8810"/>
                <a:gd name="connsiteY13" fmla="*/ 3806 h 9117"/>
                <a:gd name="connsiteX14" fmla="*/ 1947 w 8810"/>
                <a:gd name="connsiteY14" fmla="*/ 2647 h 9117"/>
                <a:gd name="connsiteX15" fmla="*/ 4049 w 8810"/>
                <a:gd name="connsiteY15" fmla="*/ 2647 h 9117"/>
                <a:gd name="connsiteX16" fmla="*/ 4888 w 8810"/>
                <a:gd name="connsiteY16" fmla="*/ 3310 h 9117"/>
                <a:gd name="connsiteX17" fmla="*/ 6568 w 8810"/>
                <a:gd name="connsiteY17" fmla="*/ 3310 h 9117"/>
                <a:gd name="connsiteX18" fmla="*/ 6568 w 8810"/>
                <a:gd name="connsiteY18" fmla="*/ 2814 h 9117"/>
                <a:gd name="connsiteX19" fmla="*/ 6992 w 8810"/>
                <a:gd name="connsiteY19" fmla="*/ 2482 h 9117"/>
                <a:gd name="connsiteX20" fmla="*/ 7410 w 8810"/>
                <a:gd name="connsiteY20" fmla="*/ 2647 h 9117"/>
                <a:gd name="connsiteX21" fmla="*/ 6992 w 8810"/>
                <a:gd name="connsiteY21" fmla="*/ 1654 h 9117"/>
                <a:gd name="connsiteX22" fmla="*/ 7830 w 8810"/>
                <a:gd name="connsiteY22" fmla="*/ 992 h 9117"/>
                <a:gd name="connsiteX23" fmla="*/ 7830 w 8810"/>
                <a:gd name="connsiteY23" fmla="*/ 330 h 9117"/>
                <a:gd name="connsiteX24" fmla="*/ 6992 w 8810"/>
                <a:gd name="connsiteY24" fmla="*/ 0 h 9117"/>
                <a:gd name="connsiteX25" fmla="*/ 6151 w 8810"/>
                <a:gd name="connsiteY25" fmla="*/ 0 h 9117"/>
                <a:gd name="connsiteX26" fmla="*/ 3207 w 8810"/>
                <a:gd name="connsiteY26" fmla="*/ 166 h 9117"/>
                <a:gd name="connsiteX27" fmla="*/ 2787 w 8810"/>
                <a:gd name="connsiteY27" fmla="*/ 0 h 9117"/>
                <a:gd name="connsiteX28" fmla="*/ 2787 w 8810"/>
                <a:gd name="connsiteY28" fmla="*/ 827 h 9117"/>
                <a:gd name="connsiteX29" fmla="*/ 2787 w 8810"/>
                <a:gd name="connsiteY29" fmla="*/ 992 h 9117"/>
                <a:gd name="connsiteX0" fmla="*/ 3163 w 9843"/>
                <a:gd name="connsiteY0" fmla="*/ 1088 h 8890"/>
                <a:gd name="connsiteX1" fmla="*/ 1254 w 9843"/>
                <a:gd name="connsiteY1" fmla="*/ 2359 h 8890"/>
                <a:gd name="connsiteX2" fmla="*/ 300 w 9843"/>
                <a:gd name="connsiteY2" fmla="*/ 3631 h 8890"/>
                <a:gd name="connsiteX3" fmla="*/ 775 w 9843"/>
                <a:gd name="connsiteY3" fmla="*/ 4718 h 8890"/>
                <a:gd name="connsiteX4" fmla="*/ 9364 w 9843"/>
                <a:gd name="connsiteY4" fmla="*/ 8890 h 8890"/>
                <a:gd name="connsiteX5" fmla="*/ 9843 w 9843"/>
                <a:gd name="connsiteY5" fmla="*/ 8890 h 8890"/>
                <a:gd name="connsiteX6" fmla="*/ 8888 w 9843"/>
                <a:gd name="connsiteY6" fmla="*/ 7984 h 8890"/>
                <a:gd name="connsiteX7" fmla="*/ 8411 w 9843"/>
                <a:gd name="connsiteY7" fmla="*/ 7622 h 8890"/>
                <a:gd name="connsiteX8" fmla="*/ 6025 w 9843"/>
                <a:gd name="connsiteY8" fmla="*/ 7439 h 8890"/>
                <a:gd name="connsiteX9" fmla="*/ 3640 w 9843"/>
                <a:gd name="connsiteY9" fmla="*/ 7077 h 8890"/>
                <a:gd name="connsiteX10" fmla="*/ 2687 w 9843"/>
                <a:gd name="connsiteY10" fmla="*/ 6170 h 8890"/>
                <a:gd name="connsiteX11" fmla="*/ 1731 w 9843"/>
                <a:gd name="connsiteY11" fmla="*/ 4718 h 8890"/>
                <a:gd name="connsiteX12" fmla="*/ 2687 w 9843"/>
                <a:gd name="connsiteY12" fmla="*/ 4175 h 8890"/>
                <a:gd name="connsiteX13" fmla="*/ 2210 w 9843"/>
                <a:gd name="connsiteY13" fmla="*/ 2903 h 8890"/>
                <a:gd name="connsiteX14" fmla="*/ 4596 w 9843"/>
                <a:gd name="connsiteY14" fmla="*/ 2903 h 8890"/>
                <a:gd name="connsiteX15" fmla="*/ 5548 w 9843"/>
                <a:gd name="connsiteY15" fmla="*/ 3631 h 8890"/>
                <a:gd name="connsiteX16" fmla="*/ 7455 w 9843"/>
                <a:gd name="connsiteY16" fmla="*/ 3631 h 8890"/>
                <a:gd name="connsiteX17" fmla="*/ 7455 w 9843"/>
                <a:gd name="connsiteY17" fmla="*/ 3087 h 8890"/>
                <a:gd name="connsiteX18" fmla="*/ 7936 w 9843"/>
                <a:gd name="connsiteY18" fmla="*/ 2722 h 8890"/>
                <a:gd name="connsiteX19" fmla="*/ 8411 w 9843"/>
                <a:gd name="connsiteY19" fmla="*/ 2903 h 8890"/>
                <a:gd name="connsiteX20" fmla="*/ 7936 w 9843"/>
                <a:gd name="connsiteY20" fmla="*/ 1814 h 8890"/>
                <a:gd name="connsiteX21" fmla="*/ 8888 w 9843"/>
                <a:gd name="connsiteY21" fmla="*/ 1088 h 8890"/>
                <a:gd name="connsiteX22" fmla="*/ 8888 w 9843"/>
                <a:gd name="connsiteY22" fmla="*/ 362 h 8890"/>
                <a:gd name="connsiteX23" fmla="*/ 7936 w 9843"/>
                <a:gd name="connsiteY23" fmla="*/ 0 h 8890"/>
                <a:gd name="connsiteX24" fmla="*/ 6982 w 9843"/>
                <a:gd name="connsiteY24" fmla="*/ 0 h 8890"/>
                <a:gd name="connsiteX25" fmla="*/ 3640 w 9843"/>
                <a:gd name="connsiteY25" fmla="*/ 182 h 8890"/>
                <a:gd name="connsiteX26" fmla="*/ 3163 w 9843"/>
                <a:gd name="connsiteY26" fmla="*/ 0 h 8890"/>
                <a:gd name="connsiteX27" fmla="*/ 3163 w 9843"/>
                <a:gd name="connsiteY27" fmla="*/ 907 h 8890"/>
                <a:gd name="connsiteX28" fmla="*/ 3163 w 9843"/>
                <a:gd name="connsiteY28" fmla="*/ 1088 h 8890"/>
                <a:gd name="connsiteX0" fmla="*/ 3213 w 9513"/>
                <a:gd name="connsiteY0" fmla="*/ 1224 h 10000"/>
                <a:gd name="connsiteX1" fmla="*/ 1274 w 9513"/>
                <a:gd name="connsiteY1" fmla="*/ 2654 h 10000"/>
                <a:gd name="connsiteX2" fmla="*/ 305 w 9513"/>
                <a:gd name="connsiteY2" fmla="*/ 4084 h 10000"/>
                <a:gd name="connsiteX3" fmla="*/ 787 w 9513"/>
                <a:gd name="connsiteY3" fmla="*/ 5307 h 10000"/>
                <a:gd name="connsiteX4" fmla="*/ 9513 w 9513"/>
                <a:gd name="connsiteY4" fmla="*/ 10000 h 10000"/>
                <a:gd name="connsiteX5" fmla="*/ 9030 w 9513"/>
                <a:gd name="connsiteY5" fmla="*/ 8981 h 10000"/>
                <a:gd name="connsiteX6" fmla="*/ 8545 w 9513"/>
                <a:gd name="connsiteY6" fmla="*/ 8574 h 10000"/>
                <a:gd name="connsiteX7" fmla="*/ 6121 w 9513"/>
                <a:gd name="connsiteY7" fmla="*/ 8368 h 10000"/>
                <a:gd name="connsiteX8" fmla="*/ 3698 w 9513"/>
                <a:gd name="connsiteY8" fmla="*/ 7961 h 10000"/>
                <a:gd name="connsiteX9" fmla="*/ 2730 w 9513"/>
                <a:gd name="connsiteY9" fmla="*/ 6940 h 10000"/>
                <a:gd name="connsiteX10" fmla="*/ 1759 w 9513"/>
                <a:gd name="connsiteY10" fmla="*/ 5307 h 10000"/>
                <a:gd name="connsiteX11" fmla="*/ 2730 w 9513"/>
                <a:gd name="connsiteY11" fmla="*/ 4696 h 10000"/>
                <a:gd name="connsiteX12" fmla="*/ 2245 w 9513"/>
                <a:gd name="connsiteY12" fmla="*/ 3265 h 10000"/>
                <a:gd name="connsiteX13" fmla="*/ 4669 w 9513"/>
                <a:gd name="connsiteY13" fmla="*/ 3265 h 10000"/>
                <a:gd name="connsiteX14" fmla="*/ 5636 w 9513"/>
                <a:gd name="connsiteY14" fmla="*/ 4084 h 10000"/>
                <a:gd name="connsiteX15" fmla="*/ 7574 w 9513"/>
                <a:gd name="connsiteY15" fmla="*/ 4084 h 10000"/>
                <a:gd name="connsiteX16" fmla="*/ 7574 w 9513"/>
                <a:gd name="connsiteY16" fmla="*/ 3472 h 10000"/>
                <a:gd name="connsiteX17" fmla="*/ 8063 w 9513"/>
                <a:gd name="connsiteY17" fmla="*/ 3062 h 10000"/>
                <a:gd name="connsiteX18" fmla="*/ 8545 w 9513"/>
                <a:gd name="connsiteY18" fmla="*/ 3265 h 10000"/>
                <a:gd name="connsiteX19" fmla="*/ 8063 w 9513"/>
                <a:gd name="connsiteY19" fmla="*/ 2040 h 10000"/>
                <a:gd name="connsiteX20" fmla="*/ 9030 w 9513"/>
                <a:gd name="connsiteY20" fmla="*/ 1224 h 10000"/>
                <a:gd name="connsiteX21" fmla="*/ 9030 w 9513"/>
                <a:gd name="connsiteY21" fmla="*/ 407 h 10000"/>
                <a:gd name="connsiteX22" fmla="*/ 8063 w 9513"/>
                <a:gd name="connsiteY22" fmla="*/ 0 h 10000"/>
                <a:gd name="connsiteX23" fmla="*/ 7093 w 9513"/>
                <a:gd name="connsiteY23" fmla="*/ 0 h 10000"/>
                <a:gd name="connsiteX24" fmla="*/ 3698 w 9513"/>
                <a:gd name="connsiteY24" fmla="*/ 205 h 10000"/>
                <a:gd name="connsiteX25" fmla="*/ 3213 w 9513"/>
                <a:gd name="connsiteY25" fmla="*/ 0 h 10000"/>
                <a:gd name="connsiteX26" fmla="*/ 3213 w 9513"/>
                <a:gd name="connsiteY26" fmla="*/ 1020 h 10000"/>
                <a:gd name="connsiteX27" fmla="*/ 3213 w 9513"/>
                <a:gd name="connsiteY27" fmla="*/ 1224 h 10000"/>
                <a:gd name="connsiteX0" fmla="*/ 3377 w 10000"/>
                <a:gd name="connsiteY0" fmla="*/ 1224 h 10000"/>
                <a:gd name="connsiteX1" fmla="*/ 1339 w 10000"/>
                <a:gd name="connsiteY1" fmla="*/ 2654 h 10000"/>
                <a:gd name="connsiteX2" fmla="*/ 321 w 10000"/>
                <a:gd name="connsiteY2" fmla="*/ 4084 h 10000"/>
                <a:gd name="connsiteX3" fmla="*/ 827 w 10000"/>
                <a:gd name="connsiteY3" fmla="*/ 5307 h 10000"/>
                <a:gd name="connsiteX4" fmla="*/ 10000 w 10000"/>
                <a:gd name="connsiteY4" fmla="*/ 10000 h 10000"/>
                <a:gd name="connsiteX5" fmla="*/ 8982 w 10000"/>
                <a:gd name="connsiteY5" fmla="*/ 8574 h 10000"/>
                <a:gd name="connsiteX6" fmla="*/ 6434 w 10000"/>
                <a:gd name="connsiteY6" fmla="*/ 8368 h 10000"/>
                <a:gd name="connsiteX7" fmla="*/ 3887 w 10000"/>
                <a:gd name="connsiteY7" fmla="*/ 7961 h 10000"/>
                <a:gd name="connsiteX8" fmla="*/ 2870 w 10000"/>
                <a:gd name="connsiteY8" fmla="*/ 6940 h 10000"/>
                <a:gd name="connsiteX9" fmla="*/ 1849 w 10000"/>
                <a:gd name="connsiteY9" fmla="*/ 5307 h 10000"/>
                <a:gd name="connsiteX10" fmla="*/ 2870 w 10000"/>
                <a:gd name="connsiteY10" fmla="*/ 4696 h 10000"/>
                <a:gd name="connsiteX11" fmla="*/ 2360 w 10000"/>
                <a:gd name="connsiteY11" fmla="*/ 3265 h 10000"/>
                <a:gd name="connsiteX12" fmla="*/ 4908 w 10000"/>
                <a:gd name="connsiteY12" fmla="*/ 3265 h 10000"/>
                <a:gd name="connsiteX13" fmla="*/ 5925 w 10000"/>
                <a:gd name="connsiteY13" fmla="*/ 4084 h 10000"/>
                <a:gd name="connsiteX14" fmla="*/ 7962 w 10000"/>
                <a:gd name="connsiteY14" fmla="*/ 4084 h 10000"/>
                <a:gd name="connsiteX15" fmla="*/ 7962 w 10000"/>
                <a:gd name="connsiteY15" fmla="*/ 3472 h 10000"/>
                <a:gd name="connsiteX16" fmla="*/ 8476 w 10000"/>
                <a:gd name="connsiteY16" fmla="*/ 3062 h 10000"/>
                <a:gd name="connsiteX17" fmla="*/ 8982 w 10000"/>
                <a:gd name="connsiteY17" fmla="*/ 3265 h 10000"/>
                <a:gd name="connsiteX18" fmla="*/ 8476 w 10000"/>
                <a:gd name="connsiteY18" fmla="*/ 2040 h 10000"/>
                <a:gd name="connsiteX19" fmla="*/ 9492 w 10000"/>
                <a:gd name="connsiteY19" fmla="*/ 1224 h 10000"/>
                <a:gd name="connsiteX20" fmla="*/ 9492 w 10000"/>
                <a:gd name="connsiteY20" fmla="*/ 407 h 10000"/>
                <a:gd name="connsiteX21" fmla="*/ 8476 w 10000"/>
                <a:gd name="connsiteY21" fmla="*/ 0 h 10000"/>
                <a:gd name="connsiteX22" fmla="*/ 7456 w 10000"/>
                <a:gd name="connsiteY22" fmla="*/ 0 h 10000"/>
                <a:gd name="connsiteX23" fmla="*/ 3887 w 10000"/>
                <a:gd name="connsiteY23" fmla="*/ 205 h 10000"/>
                <a:gd name="connsiteX24" fmla="*/ 3377 w 10000"/>
                <a:gd name="connsiteY24" fmla="*/ 0 h 10000"/>
                <a:gd name="connsiteX25" fmla="*/ 3377 w 10000"/>
                <a:gd name="connsiteY25" fmla="*/ 1020 h 10000"/>
                <a:gd name="connsiteX26" fmla="*/ 3377 w 10000"/>
                <a:gd name="connsiteY26" fmla="*/ 1224 h 10000"/>
                <a:gd name="connsiteX0" fmla="*/ 3377 w 10000"/>
                <a:gd name="connsiteY0" fmla="*/ 1224 h 10000"/>
                <a:gd name="connsiteX1" fmla="*/ 1339 w 10000"/>
                <a:gd name="connsiteY1" fmla="*/ 2654 h 10000"/>
                <a:gd name="connsiteX2" fmla="*/ 321 w 10000"/>
                <a:gd name="connsiteY2" fmla="*/ 4084 h 10000"/>
                <a:gd name="connsiteX3" fmla="*/ 827 w 10000"/>
                <a:gd name="connsiteY3" fmla="*/ 5307 h 10000"/>
                <a:gd name="connsiteX4" fmla="*/ 10000 w 10000"/>
                <a:gd name="connsiteY4" fmla="*/ 10000 h 10000"/>
                <a:gd name="connsiteX5" fmla="*/ 6434 w 10000"/>
                <a:gd name="connsiteY5" fmla="*/ 8368 h 10000"/>
                <a:gd name="connsiteX6" fmla="*/ 3887 w 10000"/>
                <a:gd name="connsiteY6" fmla="*/ 7961 h 10000"/>
                <a:gd name="connsiteX7" fmla="*/ 2870 w 10000"/>
                <a:gd name="connsiteY7" fmla="*/ 6940 h 10000"/>
                <a:gd name="connsiteX8" fmla="*/ 1849 w 10000"/>
                <a:gd name="connsiteY8" fmla="*/ 5307 h 10000"/>
                <a:gd name="connsiteX9" fmla="*/ 2870 w 10000"/>
                <a:gd name="connsiteY9" fmla="*/ 4696 h 10000"/>
                <a:gd name="connsiteX10" fmla="*/ 2360 w 10000"/>
                <a:gd name="connsiteY10" fmla="*/ 3265 h 10000"/>
                <a:gd name="connsiteX11" fmla="*/ 4908 w 10000"/>
                <a:gd name="connsiteY11" fmla="*/ 3265 h 10000"/>
                <a:gd name="connsiteX12" fmla="*/ 5925 w 10000"/>
                <a:gd name="connsiteY12" fmla="*/ 4084 h 10000"/>
                <a:gd name="connsiteX13" fmla="*/ 7962 w 10000"/>
                <a:gd name="connsiteY13" fmla="*/ 4084 h 10000"/>
                <a:gd name="connsiteX14" fmla="*/ 7962 w 10000"/>
                <a:gd name="connsiteY14" fmla="*/ 3472 h 10000"/>
                <a:gd name="connsiteX15" fmla="*/ 8476 w 10000"/>
                <a:gd name="connsiteY15" fmla="*/ 3062 h 10000"/>
                <a:gd name="connsiteX16" fmla="*/ 8982 w 10000"/>
                <a:gd name="connsiteY16" fmla="*/ 3265 h 10000"/>
                <a:gd name="connsiteX17" fmla="*/ 8476 w 10000"/>
                <a:gd name="connsiteY17" fmla="*/ 2040 h 10000"/>
                <a:gd name="connsiteX18" fmla="*/ 9492 w 10000"/>
                <a:gd name="connsiteY18" fmla="*/ 1224 h 10000"/>
                <a:gd name="connsiteX19" fmla="*/ 9492 w 10000"/>
                <a:gd name="connsiteY19" fmla="*/ 407 h 10000"/>
                <a:gd name="connsiteX20" fmla="*/ 8476 w 10000"/>
                <a:gd name="connsiteY20" fmla="*/ 0 h 10000"/>
                <a:gd name="connsiteX21" fmla="*/ 7456 w 10000"/>
                <a:gd name="connsiteY21" fmla="*/ 0 h 10000"/>
                <a:gd name="connsiteX22" fmla="*/ 3887 w 10000"/>
                <a:gd name="connsiteY22" fmla="*/ 205 h 10000"/>
                <a:gd name="connsiteX23" fmla="*/ 3377 w 10000"/>
                <a:gd name="connsiteY23" fmla="*/ 0 h 10000"/>
                <a:gd name="connsiteX24" fmla="*/ 3377 w 10000"/>
                <a:gd name="connsiteY24" fmla="*/ 1020 h 10000"/>
                <a:gd name="connsiteX25" fmla="*/ 3377 w 10000"/>
                <a:gd name="connsiteY25" fmla="*/ 1224 h 10000"/>
                <a:gd name="connsiteX0" fmla="*/ 3377 w 10000"/>
                <a:gd name="connsiteY0" fmla="*/ 1224 h 10000"/>
                <a:gd name="connsiteX1" fmla="*/ 1339 w 10000"/>
                <a:gd name="connsiteY1" fmla="*/ 2654 h 10000"/>
                <a:gd name="connsiteX2" fmla="*/ 321 w 10000"/>
                <a:gd name="connsiteY2" fmla="*/ 4084 h 10000"/>
                <a:gd name="connsiteX3" fmla="*/ 827 w 10000"/>
                <a:gd name="connsiteY3" fmla="*/ 5307 h 10000"/>
                <a:gd name="connsiteX4" fmla="*/ 10000 w 10000"/>
                <a:gd name="connsiteY4" fmla="*/ 10000 h 10000"/>
                <a:gd name="connsiteX5" fmla="*/ 3887 w 10000"/>
                <a:gd name="connsiteY5" fmla="*/ 7961 h 10000"/>
                <a:gd name="connsiteX6" fmla="*/ 2870 w 10000"/>
                <a:gd name="connsiteY6" fmla="*/ 6940 h 10000"/>
                <a:gd name="connsiteX7" fmla="*/ 1849 w 10000"/>
                <a:gd name="connsiteY7" fmla="*/ 5307 h 10000"/>
                <a:gd name="connsiteX8" fmla="*/ 2870 w 10000"/>
                <a:gd name="connsiteY8" fmla="*/ 4696 h 10000"/>
                <a:gd name="connsiteX9" fmla="*/ 2360 w 10000"/>
                <a:gd name="connsiteY9" fmla="*/ 3265 h 10000"/>
                <a:gd name="connsiteX10" fmla="*/ 4908 w 10000"/>
                <a:gd name="connsiteY10" fmla="*/ 3265 h 10000"/>
                <a:gd name="connsiteX11" fmla="*/ 5925 w 10000"/>
                <a:gd name="connsiteY11" fmla="*/ 4084 h 10000"/>
                <a:gd name="connsiteX12" fmla="*/ 7962 w 10000"/>
                <a:gd name="connsiteY12" fmla="*/ 4084 h 10000"/>
                <a:gd name="connsiteX13" fmla="*/ 7962 w 10000"/>
                <a:gd name="connsiteY13" fmla="*/ 3472 h 10000"/>
                <a:gd name="connsiteX14" fmla="*/ 8476 w 10000"/>
                <a:gd name="connsiteY14" fmla="*/ 3062 h 10000"/>
                <a:gd name="connsiteX15" fmla="*/ 8982 w 10000"/>
                <a:gd name="connsiteY15" fmla="*/ 3265 h 10000"/>
                <a:gd name="connsiteX16" fmla="*/ 8476 w 10000"/>
                <a:gd name="connsiteY16" fmla="*/ 2040 h 10000"/>
                <a:gd name="connsiteX17" fmla="*/ 9492 w 10000"/>
                <a:gd name="connsiteY17" fmla="*/ 1224 h 10000"/>
                <a:gd name="connsiteX18" fmla="*/ 9492 w 10000"/>
                <a:gd name="connsiteY18" fmla="*/ 407 h 10000"/>
                <a:gd name="connsiteX19" fmla="*/ 8476 w 10000"/>
                <a:gd name="connsiteY19" fmla="*/ 0 h 10000"/>
                <a:gd name="connsiteX20" fmla="*/ 7456 w 10000"/>
                <a:gd name="connsiteY20" fmla="*/ 0 h 10000"/>
                <a:gd name="connsiteX21" fmla="*/ 3887 w 10000"/>
                <a:gd name="connsiteY21" fmla="*/ 205 h 10000"/>
                <a:gd name="connsiteX22" fmla="*/ 3377 w 10000"/>
                <a:gd name="connsiteY22" fmla="*/ 0 h 10000"/>
                <a:gd name="connsiteX23" fmla="*/ 3377 w 10000"/>
                <a:gd name="connsiteY23" fmla="*/ 1020 h 10000"/>
                <a:gd name="connsiteX24" fmla="*/ 3377 w 10000"/>
                <a:gd name="connsiteY24" fmla="*/ 1224 h 10000"/>
                <a:gd name="connsiteX0" fmla="*/ 3377 w 10000"/>
                <a:gd name="connsiteY0" fmla="*/ 1224 h 10000"/>
                <a:gd name="connsiteX1" fmla="*/ 1339 w 10000"/>
                <a:gd name="connsiteY1" fmla="*/ 2654 h 10000"/>
                <a:gd name="connsiteX2" fmla="*/ 321 w 10000"/>
                <a:gd name="connsiteY2" fmla="*/ 4084 h 10000"/>
                <a:gd name="connsiteX3" fmla="*/ 827 w 10000"/>
                <a:gd name="connsiteY3" fmla="*/ 5307 h 10000"/>
                <a:gd name="connsiteX4" fmla="*/ 10000 w 10000"/>
                <a:gd name="connsiteY4" fmla="*/ 10000 h 10000"/>
                <a:gd name="connsiteX5" fmla="*/ 3887 w 10000"/>
                <a:gd name="connsiteY5" fmla="*/ 7961 h 10000"/>
                <a:gd name="connsiteX6" fmla="*/ 1849 w 10000"/>
                <a:gd name="connsiteY6" fmla="*/ 5307 h 10000"/>
                <a:gd name="connsiteX7" fmla="*/ 2870 w 10000"/>
                <a:gd name="connsiteY7" fmla="*/ 4696 h 10000"/>
                <a:gd name="connsiteX8" fmla="*/ 2360 w 10000"/>
                <a:gd name="connsiteY8" fmla="*/ 3265 h 10000"/>
                <a:gd name="connsiteX9" fmla="*/ 4908 w 10000"/>
                <a:gd name="connsiteY9" fmla="*/ 3265 h 10000"/>
                <a:gd name="connsiteX10" fmla="*/ 5925 w 10000"/>
                <a:gd name="connsiteY10" fmla="*/ 4084 h 10000"/>
                <a:gd name="connsiteX11" fmla="*/ 7962 w 10000"/>
                <a:gd name="connsiteY11" fmla="*/ 4084 h 10000"/>
                <a:gd name="connsiteX12" fmla="*/ 7962 w 10000"/>
                <a:gd name="connsiteY12" fmla="*/ 3472 h 10000"/>
                <a:gd name="connsiteX13" fmla="*/ 8476 w 10000"/>
                <a:gd name="connsiteY13" fmla="*/ 3062 h 10000"/>
                <a:gd name="connsiteX14" fmla="*/ 8982 w 10000"/>
                <a:gd name="connsiteY14" fmla="*/ 3265 h 10000"/>
                <a:gd name="connsiteX15" fmla="*/ 8476 w 10000"/>
                <a:gd name="connsiteY15" fmla="*/ 2040 h 10000"/>
                <a:gd name="connsiteX16" fmla="*/ 9492 w 10000"/>
                <a:gd name="connsiteY16" fmla="*/ 1224 h 10000"/>
                <a:gd name="connsiteX17" fmla="*/ 9492 w 10000"/>
                <a:gd name="connsiteY17" fmla="*/ 407 h 10000"/>
                <a:gd name="connsiteX18" fmla="*/ 8476 w 10000"/>
                <a:gd name="connsiteY18" fmla="*/ 0 h 10000"/>
                <a:gd name="connsiteX19" fmla="*/ 7456 w 10000"/>
                <a:gd name="connsiteY19" fmla="*/ 0 h 10000"/>
                <a:gd name="connsiteX20" fmla="*/ 3887 w 10000"/>
                <a:gd name="connsiteY20" fmla="*/ 205 h 10000"/>
                <a:gd name="connsiteX21" fmla="*/ 3377 w 10000"/>
                <a:gd name="connsiteY21" fmla="*/ 0 h 10000"/>
                <a:gd name="connsiteX22" fmla="*/ 3377 w 10000"/>
                <a:gd name="connsiteY22" fmla="*/ 1020 h 10000"/>
                <a:gd name="connsiteX23" fmla="*/ 3377 w 10000"/>
                <a:gd name="connsiteY23" fmla="*/ 1224 h 10000"/>
                <a:gd name="connsiteX0" fmla="*/ 3377 w 10000"/>
                <a:gd name="connsiteY0" fmla="*/ 1224 h 10000"/>
                <a:gd name="connsiteX1" fmla="*/ 1339 w 10000"/>
                <a:gd name="connsiteY1" fmla="*/ 2654 h 10000"/>
                <a:gd name="connsiteX2" fmla="*/ 321 w 10000"/>
                <a:gd name="connsiteY2" fmla="*/ 4084 h 10000"/>
                <a:gd name="connsiteX3" fmla="*/ 827 w 10000"/>
                <a:gd name="connsiteY3" fmla="*/ 5307 h 10000"/>
                <a:gd name="connsiteX4" fmla="*/ 10000 w 10000"/>
                <a:gd name="connsiteY4" fmla="*/ 10000 h 10000"/>
                <a:gd name="connsiteX5" fmla="*/ 1849 w 10000"/>
                <a:gd name="connsiteY5" fmla="*/ 5307 h 10000"/>
                <a:gd name="connsiteX6" fmla="*/ 2870 w 10000"/>
                <a:gd name="connsiteY6" fmla="*/ 4696 h 10000"/>
                <a:gd name="connsiteX7" fmla="*/ 2360 w 10000"/>
                <a:gd name="connsiteY7" fmla="*/ 3265 h 10000"/>
                <a:gd name="connsiteX8" fmla="*/ 4908 w 10000"/>
                <a:gd name="connsiteY8" fmla="*/ 3265 h 10000"/>
                <a:gd name="connsiteX9" fmla="*/ 5925 w 10000"/>
                <a:gd name="connsiteY9" fmla="*/ 4084 h 10000"/>
                <a:gd name="connsiteX10" fmla="*/ 7962 w 10000"/>
                <a:gd name="connsiteY10" fmla="*/ 4084 h 10000"/>
                <a:gd name="connsiteX11" fmla="*/ 7962 w 10000"/>
                <a:gd name="connsiteY11" fmla="*/ 3472 h 10000"/>
                <a:gd name="connsiteX12" fmla="*/ 8476 w 10000"/>
                <a:gd name="connsiteY12" fmla="*/ 3062 h 10000"/>
                <a:gd name="connsiteX13" fmla="*/ 8982 w 10000"/>
                <a:gd name="connsiteY13" fmla="*/ 3265 h 10000"/>
                <a:gd name="connsiteX14" fmla="*/ 8476 w 10000"/>
                <a:gd name="connsiteY14" fmla="*/ 2040 h 10000"/>
                <a:gd name="connsiteX15" fmla="*/ 9492 w 10000"/>
                <a:gd name="connsiteY15" fmla="*/ 1224 h 10000"/>
                <a:gd name="connsiteX16" fmla="*/ 9492 w 10000"/>
                <a:gd name="connsiteY16" fmla="*/ 407 h 10000"/>
                <a:gd name="connsiteX17" fmla="*/ 8476 w 10000"/>
                <a:gd name="connsiteY17" fmla="*/ 0 h 10000"/>
                <a:gd name="connsiteX18" fmla="*/ 7456 w 10000"/>
                <a:gd name="connsiteY18" fmla="*/ 0 h 10000"/>
                <a:gd name="connsiteX19" fmla="*/ 3887 w 10000"/>
                <a:gd name="connsiteY19" fmla="*/ 205 h 10000"/>
                <a:gd name="connsiteX20" fmla="*/ 3377 w 10000"/>
                <a:gd name="connsiteY20" fmla="*/ 0 h 10000"/>
                <a:gd name="connsiteX21" fmla="*/ 3377 w 10000"/>
                <a:gd name="connsiteY21" fmla="*/ 1020 h 10000"/>
                <a:gd name="connsiteX22" fmla="*/ 3377 w 10000"/>
                <a:gd name="connsiteY22" fmla="*/ 1224 h 10000"/>
                <a:gd name="connsiteX0" fmla="*/ 3056 w 9171"/>
                <a:gd name="connsiteY0" fmla="*/ 1224 h 5424"/>
                <a:gd name="connsiteX1" fmla="*/ 1018 w 9171"/>
                <a:gd name="connsiteY1" fmla="*/ 2654 h 5424"/>
                <a:gd name="connsiteX2" fmla="*/ 0 w 9171"/>
                <a:gd name="connsiteY2" fmla="*/ 4084 h 5424"/>
                <a:gd name="connsiteX3" fmla="*/ 506 w 9171"/>
                <a:gd name="connsiteY3" fmla="*/ 5307 h 5424"/>
                <a:gd name="connsiteX4" fmla="*/ 1528 w 9171"/>
                <a:gd name="connsiteY4" fmla="*/ 5307 h 5424"/>
                <a:gd name="connsiteX5" fmla="*/ 2549 w 9171"/>
                <a:gd name="connsiteY5" fmla="*/ 4696 h 5424"/>
                <a:gd name="connsiteX6" fmla="*/ 2039 w 9171"/>
                <a:gd name="connsiteY6" fmla="*/ 3265 h 5424"/>
                <a:gd name="connsiteX7" fmla="*/ 4587 w 9171"/>
                <a:gd name="connsiteY7" fmla="*/ 3265 h 5424"/>
                <a:gd name="connsiteX8" fmla="*/ 5604 w 9171"/>
                <a:gd name="connsiteY8" fmla="*/ 4084 h 5424"/>
                <a:gd name="connsiteX9" fmla="*/ 7641 w 9171"/>
                <a:gd name="connsiteY9" fmla="*/ 4084 h 5424"/>
                <a:gd name="connsiteX10" fmla="*/ 7641 w 9171"/>
                <a:gd name="connsiteY10" fmla="*/ 3472 h 5424"/>
                <a:gd name="connsiteX11" fmla="*/ 8155 w 9171"/>
                <a:gd name="connsiteY11" fmla="*/ 3062 h 5424"/>
                <a:gd name="connsiteX12" fmla="*/ 8661 w 9171"/>
                <a:gd name="connsiteY12" fmla="*/ 3265 h 5424"/>
                <a:gd name="connsiteX13" fmla="*/ 8155 w 9171"/>
                <a:gd name="connsiteY13" fmla="*/ 2040 h 5424"/>
                <a:gd name="connsiteX14" fmla="*/ 9171 w 9171"/>
                <a:gd name="connsiteY14" fmla="*/ 1224 h 5424"/>
                <a:gd name="connsiteX15" fmla="*/ 9171 w 9171"/>
                <a:gd name="connsiteY15" fmla="*/ 407 h 5424"/>
                <a:gd name="connsiteX16" fmla="*/ 8155 w 9171"/>
                <a:gd name="connsiteY16" fmla="*/ 0 h 5424"/>
                <a:gd name="connsiteX17" fmla="*/ 7135 w 9171"/>
                <a:gd name="connsiteY17" fmla="*/ 0 h 5424"/>
                <a:gd name="connsiteX18" fmla="*/ 3566 w 9171"/>
                <a:gd name="connsiteY18" fmla="*/ 205 h 5424"/>
                <a:gd name="connsiteX19" fmla="*/ 3056 w 9171"/>
                <a:gd name="connsiteY19" fmla="*/ 0 h 5424"/>
                <a:gd name="connsiteX20" fmla="*/ 3056 w 9171"/>
                <a:gd name="connsiteY20" fmla="*/ 1020 h 5424"/>
                <a:gd name="connsiteX21" fmla="*/ 3056 w 9171"/>
                <a:gd name="connsiteY21" fmla="*/ 1224 h 5424"/>
                <a:gd name="connsiteX0" fmla="*/ 2780 w 9448"/>
                <a:gd name="connsiteY0" fmla="*/ 2257 h 10001"/>
                <a:gd name="connsiteX1" fmla="*/ 558 w 9448"/>
                <a:gd name="connsiteY1" fmla="*/ 4893 h 10001"/>
                <a:gd name="connsiteX2" fmla="*/ 0 w 9448"/>
                <a:gd name="connsiteY2" fmla="*/ 9784 h 10001"/>
                <a:gd name="connsiteX3" fmla="*/ 1114 w 9448"/>
                <a:gd name="connsiteY3" fmla="*/ 9784 h 10001"/>
                <a:gd name="connsiteX4" fmla="*/ 2227 w 9448"/>
                <a:gd name="connsiteY4" fmla="*/ 8658 h 10001"/>
                <a:gd name="connsiteX5" fmla="*/ 1671 w 9448"/>
                <a:gd name="connsiteY5" fmla="*/ 6020 h 10001"/>
                <a:gd name="connsiteX6" fmla="*/ 4450 w 9448"/>
                <a:gd name="connsiteY6" fmla="*/ 6020 h 10001"/>
                <a:gd name="connsiteX7" fmla="*/ 5559 w 9448"/>
                <a:gd name="connsiteY7" fmla="*/ 7529 h 10001"/>
                <a:gd name="connsiteX8" fmla="*/ 7780 w 9448"/>
                <a:gd name="connsiteY8" fmla="*/ 7529 h 10001"/>
                <a:gd name="connsiteX9" fmla="*/ 7780 w 9448"/>
                <a:gd name="connsiteY9" fmla="*/ 6401 h 10001"/>
                <a:gd name="connsiteX10" fmla="*/ 8340 w 9448"/>
                <a:gd name="connsiteY10" fmla="*/ 5645 h 10001"/>
                <a:gd name="connsiteX11" fmla="*/ 8892 w 9448"/>
                <a:gd name="connsiteY11" fmla="*/ 6020 h 10001"/>
                <a:gd name="connsiteX12" fmla="*/ 8340 w 9448"/>
                <a:gd name="connsiteY12" fmla="*/ 3761 h 10001"/>
                <a:gd name="connsiteX13" fmla="*/ 9448 w 9448"/>
                <a:gd name="connsiteY13" fmla="*/ 2257 h 10001"/>
                <a:gd name="connsiteX14" fmla="*/ 9448 w 9448"/>
                <a:gd name="connsiteY14" fmla="*/ 750 h 10001"/>
                <a:gd name="connsiteX15" fmla="*/ 8340 w 9448"/>
                <a:gd name="connsiteY15" fmla="*/ 0 h 10001"/>
                <a:gd name="connsiteX16" fmla="*/ 7228 w 9448"/>
                <a:gd name="connsiteY16" fmla="*/ 0 h 10001"/>
                <a:gd name="connsiteX17" fmla="*/ 3336 w 9448"/>
                <a:gd name="connsiteY17" fmla="*/ 378 h 10001"/>
                <a:gd name="connsiteX18" fmla="*/ 2780 w 9448"/>
                <a:gd name="connsiteY18" fmla="*/ 0 h 10001"/>
                <a:gd name="connsiteX19" fmla="*/ 2780 w 9448"/>
                <a:gd name="connsiteY19" fmla="*/ 1881 h 10001"/>
                <a:gd name="connsiteX20" fmla="*/ 2780 w 9448"/>
                <a:gd name="connsiteY20" fmla="*/ 2257 h 10001"/>
                <a:gd name="connsiteX0" fmla="*/ 2351 w 9409"/>
                <a:gd name="connsiteY0" fmla="*/ 2257 h 9783"/>
                <a:gd name="connsiteX1" fmla="*/ 0 w 9409"/>
                <a:gd name="connsiteY1" fmla="*/ 4893 h 9783"/>
                <a:gd name="connsiteX2" fmla="*/ 588 w 9409"/>
                <a:gd name="connsiteY2" fmla="*/ 9783 h 9783"/>
                <a:gd name="connsiteX3" fmla="*/ 1766 w 9409"/>
                <a:gd name="connsiteY3" fmla="*/ 8657 h 9783"/>
                <a:gd name="connsiteX4" fmla="*/ 1178 w 9409"/>
                <a:gd name="connsiteY4" fmla="*/ 6019 h 9783"/>
                <a:gd name="connsiteX5" fmla="*/ 4119 w 9409"/>
                <a:gd name="connsiteY5" fmla="*/ 6019 h 9783"/>
                <a:gd name="connsiteX6" fmla="*/ 5293 w 9409"/>
                <a:gd name="connsiteY6" fmla="*/ 7528 h 9783"/>
                <a:gd name="connsiteX7" fmla="*/ 7644 w 9409"/>
                <a:gd name="connsiteY7" fmla="*/ 7528 h 9783"/>
                <a:gd name="connsiteX8" fmla="*/ 7644 w 9409"/>
                <a:gd name="connsiteY8" fmla="*/ 6400 h 9783"/>
                <a:gd name="connsiteX9" fmla="*/ 8236 w 9409"/>
                <a:gd name="connsiteY9" fmla="*/ 5644 h 9783"/>
                <a:gd name="connsiteX10" fmla="*/ 8821 w 9409"/>
                <a:gd name="connsiteY10" fmla="*/ 6019 h 9783"/>
                <a:gd name="connsiteX11" fmla="*/ 8236 w 9409"/>
                <a:gd name="connsiteY11" fmla="*/ 3761 h 9783"/>
                <a:gd name="connsiteX12" fmla="*/ 9409 w 9409"/>
                <a:gd name="connsiteY12" fmla="*/ 2257 h 9783"/>
                <a:gd name="connsiteX13" fmla="*/ 9409 w 9409"/>
                <a:gd name="connsiteY13" fmla="*/ 750 h 9783"/>
                <a:gd name="connsiteX14" fmla="*/ 8236 w 9409"/>
                <a:gd name="connsiteY14" fmla="*/ 0 h 9783"/>
                <a:gd name="connsiteX15" fmla="*/ 7059 w 9409"/>
                <a:gd name="connsiteY15" fmla="*/ 0 h 9783"/>
                <a:gd name="connsiteX16" fmla="*/ 2940 w 9409"/>
                <a:gd name="connsiteY16" fmla="*/ 378 h 9783"/>
                <a:gd name="connsiteX17" fmla="*/ 2351 w 9409"/>
                <a:gd name="connsiteY17" fmla="*/ 0 h 9783"/>
                <a:gd name="connsiteX18" fmla="*/ 2351 w 9409"/>
                <a:gd name="connsiteY18" fmla="*/ 1881 h 9783"/>
                <a:gd name="connsiteX19" fmla="*/ 2351 w 9409"/>
                <a:gd name="connsiteY19" fmla="*/ 2257 h 9783"/>
                <a:gd name="connsiteX0" fmla="*/ 2503 w 10004"/>
                <a:gd name="connsiteY0" fmla="*/ 2307 h 8861"/>
                <a:gd name="connsiteX1" fmla="*/ 4 w 10004"/>
                <a:gd name="connsiteY1" fmla="*/ 5002 h 8861"/>
                <a:gd name="connsiteX2" fmla="*/ 1881 w 10004"/>
                <a:gd name="connsiteY2" fmla="*/ 8849 h 8861"/>
                <a:gd name="connsiteX3" fmla="*/ 1256 w 10004"/>
                <a:gd name="connsiteY3" fmla="*/ 6153 h 8861"/>
                <a:gd name="connsiteX4" fmla="*/ 4382 w 10004"/>
                <a:gd name="connsiteY4" fmla="*/ 6153 h 8861"/>
                <a:gd name="connsiteX5" fmla="*/ 5629 w 10004"/>
                <a:gd name="connsiteY5" fmla="*/ 7695 h 8861"/>
                <a:gd name="connsiteX6" fmla="*/ 8128 w 10004"/>
                <a:gd name="connsiteY6" fmla="*/ 7695 h 8861"/>
                <a:gd name="connsiteX7" fmla="*/ 8128 w 10004"/>
                <a:gd name="connsiteY7" fmla="*/ 6542 h 8861"/>
                <a:gd name="connsiteX8" fmla="*/ 8757 w 10004"/>
                <a:gd name="connsiteY8" fmla="*/ 5769 h 8861"/>
                <a:gd name="connsiteX9" fmla="*/ 9379 w 10004"/>
                <a:gd name="connsiteY9" fmla="*/ 6153 h 8861"/>
                <a:gd name="connsiteX10" fmla="*/ 8757 w 10004"/>
                <a:gd name="connsiteY10" fmla="*/ 3844 h 8861"/>
                <a:gd name="connsiteX11" fmla="*/ 10004 w 10004"/>
                <a:gd name="connsiteY11" fmla="*/ 2307 h 8861"/>
                <a:gd name="connsiteX12" fmla="*/ 10004 w 10004"/>
                <a:gd name="connsiteY12" fmla="*/ 767 h 8861"/>
                <a:gd name="connsiteX13" fmla="*/ 8757 w 10004"/>
                <a:gd name="connsiteY13" fmla="*/ 0 h 8861"/>
                <a:gd name="connsiteX14" fmla="*/ 7506 w 10004"/>
                <a:gd name="connsiteY14" fmla="*/ 0 h 8861"/>
                <a:gd name="connsiteX15" fmla="*/ 3129 w 10004"/>
                <a:gd name="connsiteY15" fmla="*/ 386 h 8861"/>
                <a:gd name="connsiteX16" fmla="*/ 2503 w 10004"/>
                <a:gd name="connsiteY16" fmla="*/ 0 h 8861"/>
                <a:gd name="connsiteX17" fmla="*/ 2503 w 10004"/>
                <a:gd name="connsiteY17" fmla="*/ 1923 h 8861"/>
                <a:gd name="connsiteX18" fmla="*/ 2503 w 10004"/>
                <a:gd name="connsiteY18" fmla="*/ 2307 h 8861"/>
                <a:gd name="connsiteX0" fmla="*/ 2533 w 10031"/>
                <a:gd name="connsiteY0" fmla="*/ 2604 h 8684"/>
                <a:gd name="connsiteX1" fmla="*/ 35 w 10031"/>
                <a:gd name="connsiteY1" fmla="*/ 5645 h 8684"/>
                <a:gd name="connsiteX2" fmla="*/ 1286 w 10031"/>
                <a:gd name="connsiteY2" fmla="*/ 6944 h 8684"/>
                <a:gd name="connsiteX3" fmla="*/ 4411 w 10031"/>
                <a:gd name="connsiteY3" fmla="*/ 6944 h 8684"/>
                <a:gd name="connsiteX4" fmla="*/ 5658 w 10031"/>
                <a:gd name="connsiteY4" fmla="*/ 8684 h 8684"/>
                <a:gd name="connsiteX5" fmla="*/ 8156 w 10031"/>
                <a:gd name="connsiteY5" fmla="*/ 8684 h 8684"/>
                <a:gd name="connsiteX6" fmla="*/ 8156 w 10031"/>
                <a:gd name="connsiteY6" fmla="*/ 7383 h 8684"/>
                <a:gd name="connsiteX7" fmla="*/ 8784 w 10031"/>
                <a:gd name="connsiteY7" fmla="*/ 6511 h 8684"/>
                <a:gd name="connsiteX8" fmla="*/ 9406 w 10031"/>
                <a:gd name="connsiteY8" fmla="*/ 6944 h 8684"/>
                <a:gd name="connsiteX9" fmla="*/ 8784 w 10031"/>
                <a:gd name="connsiteY9" fmla="*/ 4338 h 8684"/>
                <a:gd name="connsiteX10" fmla="*/ 10031 w 10031"/>
                <a:gd name="connsiteY10" fmla="*/ 2604 h 8684"/>
                <a:gd name="connsiteX11" fmla="*/ 10031 w 10031"/>
                <a:gd name="connsiteY11" fmla="*/ 866 h 8684"/>
                <a:gd name="connsiteX12" fmla="*/ 8784 w 10031"/>
                <a:gd name="connsiteY12" fmla="*/ 0 h 8684"/>
                <a:gd name="connsiteX13" fmla="*/ 7534 w 10031"/>
                <a:gd name="connsiteY13" fmla="*/ 0 h 8684"/>
                <a:gd name="connsiteX14" fmla="*/ 3159 w 10031"/>
                <a:gd name="connsiteY14" fmla="*/ 436 h 8684"/>
                <a:gd name="connsiteX15" fmla="*/ 2533 w 10031"/>
                <a:gd name="connsiteY15" fmla="*/ 0 h 8684"/>
                <a:gd name="connsiteX16" fmla="*/ 2533 w 10031"/>
                <a:gd name="connsiteY16" fmla="*/ 2170 h 8684"/>
                <a:gd name="connsiteX17" fmla="*/ 2533 w 10031"/>
                <a:gd name="connsiteY17" fmla="*/ 2604 h 8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031" h="8684">
                  <a:moveTo>
                    <a:pt x="2533" y="2604"/>
                  </a:moveTo>
                  <a:cubicBezTo>
                    <a:pt x="1700" y="3617"/>
                    <a:pt x="243" y="4922"/>
                    <a:pt x="35" y="5645"/>
                  </a:cubicBezTo>
                  <a:cubicBezTo>
                    <a:pt x="-173" y="6368"/>
                    <a:pt x="557" y="6728"/>
                    <a:pt x="1286" y="6944"/>
                  </a:cubicBezTo>
                  <a:cubicBezTo>
                    <a:pt x="2015" y="7160"/>
                    <a:pt x="3369" y="6944"/>
                    <a:pt x="4411" y="6944"/>
                  </a:cubicBezTo>
                  <a:lnTo>
                    <a:pt x="5658" y="8684"/>
                  </a:lnTo>
                  <a:lnTo>
                    <a:pt x="8156" y="8684"/>
                  </a:lnTo>
                  <a:lnTo>
                    <a:pt x="8156" y="7383"/>
                  </a:lnTo>
                  <a:lnTo>
                    <a:pt x="8784" y="6511"/>
                  </a:lnTo>
                  <a:lnTo>
                    <a:pt x="9406" y="6944"/>
                  </a:lnTo>
                  <a:cubicBezTo>
                    <a:pt x="9201" y="6075"/>
                    <a:pt x="8987" y="5213"/>
                    <a:pt x="8784" y="4338"/>
                  </a:cubicBezTo>
                  <a:lnTo>
                    <a:pt x="10031" y="2604"/>
                  </a:lnTo>
                  <a:lnTo>
                    <a:pt x="10031" y="866"/>
                  </a:lnTo>
                  <a:lnTo>
                    <a:pt x="8784" y="0"/>
                  </a:lnTo>
                  <a:lnTo>
                    <a:pt x="7534" y="0"/>
                  </a:lnTo>
                  <a:lnTo>
                    <a:pt x="3159" y="436"/>
                  </a:lnTo>
                  <a:lnTo>
                    <a:pt x="2533" y="0"/>
                  </a:lnTo>
                  <a:lnTo>
                    <a:pt x="2533" y="2170"/>
                  </a:lnTo>
                  <a:lnTo>
                    <a:pt x="2533" y="2604"/>
                  </a:ln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197" name="BF"/>
            <p:cNvSpPr>
              <a:spLocks/>
            </p:cNvSpPr>
            <p:nvPr/>
          </p:nvSpPr>
          <p:spPr bwMode="auto">
            <a:xfrm>
              <a:off x="4158391" y="4045652"/>
              <a:ext cx="187323" cy="141286"/>
            </a:xfrm>
            <a:custGeom>
              <a:avLst/>
              <a:gdLst>
                <a:gd name="T0" fmla="*/ 2147483647 w 144"/>
                <a:gd name="T1" fmla="*/ 2147483647 h 109"/>
                <a:gd name="T2" fmla="*/ 2147483647 w 144"/>
                <a:gd name="T3" fmla="*/ 2147483647 h 109"/>
                <a:gd name="T4" fmla="*/ 2147483647 w 144"/>
                <a:gd name="T5" fmla="*/ 2147483647 h 109"/>
                <a:gd name="T6" fmla="*/ 2147483647 w 144"/>
                <a:gd name="T7" fmla="*/ 2147483647 h 109"/>
                <a:gd name="T8" fmla="*/ 2147483647 w 144"/>
                <a:gd name="T9" fmla="*/ 2147483647 h 109"/>
                <a:gd name="T10" fmla="*/ 2147483647 w 144"/>
                <a:gd name="T11" fmla="*/ 2147483647 h 109"/>
                <a:gd name="T12" fmla="*/ 2147483647 w 144"/>
                <a:gd name="T13" fmla="*/ 0 h 109"/>
                <a:gd name="T14" fmla="*/ 2147483647 w 144"/>
                <a:gd name="T15" fmla="*/ 0 h 109"/>
                <a:gd name="T16" fmla="*/ 2147483647 w 144"/>
                <a:gd name="T17" fmla="*/ 2147483647 h 109"/>
                <a:gd name="T18" fmla="*/ 2147483647 w 144"/>
                <a:gd name="T19" fmla="*/ 2147483647 h 109"/>
                <a:gd name="T20" fmla="*/ 2147483647 w 144"/>
                <a:gd name="T21" fmla="*/ 2147483647 h 109"/>
                <a:gd name="T22" fmla="*/ 0 w 144"/>
                <a:gd name="T23" fmla="*/ 2147483647 h 109"/>
                <a:gd name="T24" fmla="*/ 0 w 144"/>
                <a:gd name="T25" fmla="*/ 2147483647 h 109"/>
                <a:gd name="T26" fmla="*/ 2147483647 w 144"/>
                <a:gd name="T27" fmla="*/ 2147483647 h 109"/>
                <a:gd name="T28" fmla="*/ 2147483647 w 144"/>
                <a:gd name="T29" fmla="*/ 2147483647 h 109"/>
                <a:gd name="T30" fmla="*/ 2147483647 w 144"/>
                <a:gd name="T31" fmla="*/ 2147483647 h 109"/>
                <a:gd name="T32" fmla="*/ 2147483647 w 144"/>
                <a:gd name="T33" fmla="*/ 2147483647 h 109"/>
                <a:gd name="T34" fmla="*/ 2147483647 w 144"/>
                <a:gd name="T35" fmla="*/ 2147483647 h 109"/>
                <a:gd name="T36" fmla="*/ 2147483647 w 144"/>
                <a:gd name="T37" fmla="*/ 2147483647 h 109"/>
                <a:gd name="T38" fmla="*/ 2147483647 w 144"/>
                <a:gd name="T39" fmla="*/ 2147483647 h 10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44" h="109">
                  <a:moveTo>
                    <a:pt x="114" y="79"/>
                  </a:moveTo>
                  <a:lnTo>
                    <a:pt x="120" y="79"/>
                  </a:lnTo>
                  <a:lnTo>
                    <a:pt x="138" y="55"/>
                  </a:lnTo>
                  <a:lnTo>
                    <a:pt x="144" y="49"/>
                  </a:lnTo>
                  <a:lnTo>
                    <a:pt x="132" y="49"/>
                  </a:lnTo>
                  <a:lnTo>
                    <a:pt x="108" y="25"/>
                  </a:lnTo>
                  <a:lnTo>
                    <a:pt x="96" y="0"/>
                  </a:lnTo>
                  <a:lnTo>
                    <a:pt x="90" y="0"/>
                  </a:lnTo>
                  <a:lnTo>
                    <a:pt x="54" y="19"/>
                  </a:lnTo>
                  <a:lnTo>
                    <a:pt x="24" y="43"/>
                  </a:lnTo>
                  <a:lnTo>
                    <a:pt x="6" y="67"/>
                  </a:lnTo>
                  <a:lnTo>
                    <a:pt x="0" y="85"/>
                  </a:lnTo>
                  <a:lnTo>
                    <a:pt x="0" y="97"/>
                  </a:lnTo>
                  <a:lnTo>
                    <a:pt x="6" y="109"/>
                  </a:lnTo>
                  <a:lnTo>
                    <a:pt x="36" y="103"/>
                  </a:lnTo>
                  <a:lnTo>
                    <a:pt x="36" y="109"/>
                  </a:lnTo>
                  <a:lnTo>
                    <a:pt x="42" y="85"/>
                  </a:lnTo>
                  <a:lnTo>
                    <a:pt x="72" y="85"/>
                  </a:lnTo>
                  <a:lnTo>
                    <a:pt x="96" y="85"/>
                  </a:lnTo>
                  <a:lnTo>
                    <a:pt x="114" y="79"/>
                  </a:ln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198" name="Freeform 197"/>
            <p:cNvSpPr>
              <a:spLocks/>
            </p:cNvSpPr>
            <p:nvPr/>
          </p:nvSpPr>
          <p:spPr bwMode="auto">
            <a:xfrm>
              <a:off x="4282214" y="4148839"/>
              <a:ext cx="23812" cy="6349"/>
            </a:xfrm>
            <a:custGeom>
              <a:avLst/>
              <a:gdLst>
                <a:gd name="T0" fmla="*/ 0 w 18"/>
                <a:gd name="T1" fmla="*/ 2147483647 h 6"/>
                <a:gd name="T2" fmla="*/ 2147483647 w 18"/>
                <a:gd name="T3" fmla="*/ 2147483647 h 6"/>
                <a:gd name="T4" fmla="*/ 2147483647 w 18"/>
                <a:gd name="T5" fmla="*/ 0 h 6"/>
                <a:gd name="T6" fmla="*/ 0 w 18"/>
                <a:gd name="T7" fmla="*/ 2147483647 h 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8" h="6">
                  <a:moveTo>
                    <a:pt x="0" y="6"/>
                  </a:moveTo>
                  <a:lnTo>
                    <a:pt x="6" y="6"/>
                  </a:lnTo>
                  <a:lnTo>
                    <a:pt x="18" y="0"/>
                  </a:lnTo>
                  <a:lnTo>
                    <a:pt x="0" y="6"/>
                  </a:ln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199" name="GH"/>
            <p:cNvSpPr>
              <a:spLocks/>
            </p:cNvSpPr>
            <p:nvPr/>
          </p:nvSpPr>
          <p:spPr bwMode="auto">
            <a:xfrm>
              <a:off x="4204428" y="4155189"/>
              <a:ext cx="101599" cy="131763"/>
            </a:xfrm>
            <a:custGeom>
              <a:avLst/>
              <a:gdLst>
                <a:gd name="T0" fmla="*/ 2147483647 w 78"/>
                <a:gd name="T1" fmla="*/ 2147483647 h 102"/>
                <a:gd name="T2" fmla="*/ 2147483647 w 78"/>
                <a:gd name="T3" fmla="*/ 0 h 102"/>
                <a:gd name="T4" fmla="*/ 2147483647 w 78"/>
                <a:gd name="T5" fmla="*/ 0 h 102"/>
                <a:gd name="T6" fmla="*/ 2147483647 w 78"/>
                <a:gd name="T7" fmla="*/ 0 h 102"/>
                <a:gd name="T8" fmla="*/ 0 w 78"/>
                <a:gd name="T9" fmla="*/ 2147483647 h 102"/>
                <a:gd name="T10" fmla="*/ 2147483647 w 78"/>
                <a:gd name="T11" fmla="*/ 2147483647 h 102"/>
                <a:gd name="T12" fmla="*/ 0 w 78"/>
                <a:gd name="T13" fmla="*/ 2147483647 h 102"/>
                <a:gd name="T14" fmla="*/ 0 w 78"/>
                <a:gd name="T15" fmla="*/ 2147483647 h 102"/>
                <a:gd name="T16" fmla="*/ 2147483647 w 78"/>
                <a:gd name="T17" fmla="*/ 2147483647 h 102"/>
                <a:gd name="T18" fmla="*/ 2147483647 w 78"/>
                <a:gd name="T19" fmla="*/ 2147483647 h 102"/>
                <a:gd name="T20" fmla="*/ 2147483647 w 78"/>
                <a:gd name="T21" fmla="*/ 2147483647 h 102"/>
                <a:gd name="T22" fmla="*/ 2147483647 w 78"/>
                <a:gd name="T23" fmla="*/ 2147483647 h 102"/>
                <a:gd name="T24" fmla="*/ 2147483647 w 78"/>
                <a:gd name="T25" fmla="*/ 2147483647 h 10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78" h="102">
                  <a:moveTo>
                    <a:pt x="60" y="6"/>
                  </a:moveTo>
                  <a:lnTo>
                    <a:pt x="60" y="0"/>
                  </a:lnTo>
                  <a:lnTo>
                    <a:pt x="36" y="0"/>
                  </a:lnTo>
                  <a:lnTo>
                    <a:pt x="6" y="0"/>
                  </a:lnTo>
                  <a:lnTo>
                    <a:pt x="0" y="24"/>
                  </a:lnTo>
                  <a:lnTo>
                    <a:pt x="12" y="42"/>
                  </a:lnTo>
                  <a:lnTo>
                    <a:pt x="0" y="66"/>
                  </a:lnTo>
                  <a:lnTo>
                    <a:pt x="0" y="84"/>
                  </a:lnTo>
                  <a:lnTo>
                    <a:pt x="6" y="102"/>
                  </a:lnTo>
                  <a:lnTo>
                    <a:pt x="36" y="102"/>
                  </a:lnTo>
                  <a:lnTo>
                    <a:pt x="78" y="90"/>
                  </a:lnTo>
                  <a:lnTo>
                    <a:pt x="60" y="36"/>
                  </a:lnTo>
                  <a:lnTo>
                    <a:pt x="60" y="6"/>
                  </a:ln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200" name="CF"/>
            <p:cNvSpPr>
              <a:spLocks/>
            </p:cNvSpPr>
            <p:nvPr/>
          </p:nvSpPr>
          <p:spPr bwMode="auto">
            <a:xfrm>
              <a:off x="4636958" y="4155189"/>
              <a:ext cx="320672" cy="187323"/>
            </a:xfrm>
            <a:custGeom>
              <a:avLst/>
              <a:gdLst>
                <a:gd name="T0" fmla="*/ 2147483647 w 246"/>
                <a:gd name="T1" fmla="*/ 2147483647 h 144"/>
                <a:gd name="T2" fmla="*/ 2147483647 w 246"/>
                <a:gd name="T3" fmla="*/ 2147483647 h 144"/>
                <a:gd name="T4" fmla="*/ 2147483647 w 246"/>
                <a:gd name="T5" fmla="*/ 2147483647 h 144"/>
                <a:gd name="T6" fmla="*/ 2147483647 w 246"/>
                <a:gd name="T7" fmla="*/ 2147483647 h 144"/>
                <a:gd name="T8" fmla="*/ 0 w 246"/>
                <a:gd name="T9" fmla="*/ 2147483647 h 144"/>
                <a:gd name="T10" fmla="*/ 2147483647 w 246"/>
                <a:gd name="T11" fmla="*/ 2147483647 h 144"/>
                <a:gd name="T12" fmla="*/ 2147483647 w 246"/>
                <a:gd name="T13" fmla="*/ 2147483647 h 144"/>
                <a:gd name="T14" fmla="*/ 2147483647 w 246"/>
                <a:gd name="T15" fmla="*/ 2147483647 h 144"/>
                <a:gd name="T16" fmla="*/ 2147483647 w 246"/>
                <a:gd name="T17" fmla="*/ 2147483647 h 144"/>
                <a:gd name="T18" fmla="*/ 2147483647 w 246"/>
                <a:gd name="T19" fmla="*/ 2147483647 h 144"/>
                <a:gd name="T20" fmla="*/ 2147483647 w 246"/>
                <a:gd name="T21" fmla="*/ 2147483647 h 144"/>
                <a:gd name="T22" fmla="*/ 2147483647 w 246"/>
                <a:gd name="T23" fmla="*/ 2147483647 h 144"/>
                <a:gd name="T24" fmla="*/ 2147483647 w 246"/>
                <a:gd name="T25" fmla="*/ 2147483647 h 144"/>
                <a:gd name="T26" fmla="*/ 2147483647 w 246"/>
                <a:gd name="T27" fmla="*/ 2147483647 h 144"/>
                <a:gd name="T28" fmla="*/ 2147483647 w 246"/>
                <a:gd name="T29" fmla="*/ 2147483647 h 144"/>
                <a:gd name="T30" fmla="*/ 2147483647 w 246"/>
                <a:gd name="T31" fmla="*/ 2147483647 h 144"/>
                <a:gd name="T32" fmla="*/ 2147483647 w 246"/>
                <a:gd name="T33" fmla="*/ 2147483647 h 144"/>
                <a:gd name="T34" fmla="*/ 2147483647 w 246"/>
                <a:gd name="T35" fmla="*/ 2147483647 h 144"/>
                <a:gd name="T36" fmla="*/ 2147483647 w 246"/>
                <a:gd name="T37" fmla="*/ 2147483647 h 144"/>
                <a:gd name="T38" fmla="*/ 2147483647 w 246"/>
                <a:gd name="T39" fmla="*/ 0 h 144"/>
                <a:gd name="T40" fmla="*/ 2147483647 w 246"/>
                <a:gd name="T41" fmla="*/ 2147483647 h 144"/>
                <a:gd name="T42" fmla="*/ 2147483647 w 246"/>
                <a:gd name="T43" fmla="*/ 2147483647 h 14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246" h="144">
                  <a:moveTo>
                    <a:pt x="78" y="36"/>
                  </a:moveTo>
                  <a:lnTo>
                    <a:pt x="72" y="48"/>
                  </a:lnTo>
                  <a:lnTo>
                    <a:pt x="36" y="60"/>
                  </a:lnTo>
                  <a:lnTo>
                    <a:pt x="12" y="66"/>
                  </a:lnTo>
                  <a:lnTo>
                    <a:pt x="0" y="102"/>
                  </a:lnTo>
                  <a:lnTo>
                    <a:pt x="12" y="132"/>
                  </a:lnTo>
                  <a:lnTo>
                    <a:pt x="18" y="144"/>
                  </a:lnTo>
                  <a:lnTo>
                    <a:pt x="42" y="132"/>
                  </a:lnTo>
                  <a:lnTo>
                    <a:pt x="66" y="132"/>
                  </a:lnTo>
                  <a:lnTo>
                    <a:pt x="78" y="138"/>
                  </a:lnTo>
                  <a:lnTo>
                    <a:pt x="78" y="114"/>
                  </a:lnTo>
                  <a:lnTo>
                    <a:pt x="114" y="108"/>
                  </a:lnTo>
                  <a:lnTo>
                    <a:pt x="144" y="120"/>
                  </a:lnTo>
                  <a:lnTo>
                    <a:pt x="198" y="108"/>
                  </a:lnTo>
                  <a:lnTo>
                    <a:pt x="246" y="102"/>
                  </a:lnTo>
                  <a:lnTo>
                    <a:pt x="210" y="66"/>
                  </a:lnTo>
                  <a:lnTo>
                    <a:pt x="186" y="54"/>
                  </a:lnTo>
                  <a:lnTo>
                    <a:pt x="168" y="24"/>
                  </a:lnTo>
                  <a:lnTo>
                    <a:pt x="156" y="0"/>
                  </a:lnTo>
                  <a:lnTo>
                    <a:pt x="108" y="30"/>
                  </a:lnTo>
                  <a:lnTo>
                    <a:pt x="78" y="36"/>
                  </a:ln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201" name="CG"/>
            <p:cNvSpPr>
              <a:spLocks/>
            </p:cNvSpPr>
            <p:nvPr/>
          </p:nvSpPr>
          <p:spPr bwMode="auto">
            <a:xfrm>
              <a:off x="4543295" y="4328226"/>
              <a:ext cx="195262" cy="233361"/>
            </a:xfrm>
            <a:custGeom>
              <a:avLst/>
              <a:gdLst>
                <a:gd name="T0" fmla="*/ 2147483647 w 150"/>
                <a:gd name="T1" fmla="*/ 2147483647 h 180"/>
                <a:gd name="T2" fmla="*/ 2147483647 w 150"/>
                <a:gd name="T3" fmla="*/ 2147483647 h 180"/>
                <a:gd name="T4" fmla="*/ 2147483647 w 150"/>
                <a:gd name="T5" fmla="*/ 2147483647 h 180"/>
                <a:gd name="T6" fmla="*/ 2147483647 w 150"/>
                <a:gd name="T7" fmla="*/ 2147483647 h 180"/>
                <a:gd name="T8" fmla="*/ 2147483647 w 150"/>
                <a:gd name="T9" fmla="*/ 2147483647 h 180"/>
                <a:gd name="T10" fmla="*/ 2147483647 w 150"/>
                <a:gd name="T11" fmla="*/ 0 h 180"/>
                <a:gd name="T12" fmla="*/ 2147483647 w 150"/>
                <a:gd name="T13" fmla="*/ 0 h 180"/>
                <a:gd name="T14" fmla="*/ 2147483647 w 150"/>
                <a:gd name="T15" fmla="*/ 2147483647 h 180"/>
                <a:gd name="T16" fmla="*/ 2147483647 w 150"/>
                <a:gd name="T17" fmla="*/ 2147483647 h 180"/>
                <a:gd name="T18" fmla="*/ 2147483647 w 150"/>
                <a:gd name="T19" fmla="*/ 2147483647 h 180"/>
                <a:gd name="T20" fmla="*/ 2147483647 w 150"/>
                <a:gd name="T21" fmla="*/ 2147483647 h 180"/>
                <a:gd name="T22" fmla="*/ 2147483647 w 150"/>
                <a:gd name="T23" fmla="*/ 2147483647 h 180"/>
                <a:gd name="T24" fmla="*/ 2147483647 w 150"/>
                <a:gd name="T25" fmla="*/ 2147483647 h 180"/>
                <a:gd name="T26" fmla="*/ 2147483647 w 150"/>
                <a:gd name="T27" fmla="*/ 2147483647 h 180"/>
                <a:gd name="T28" fmla="*/ 2147483647 w 150"/>
                <a:gd name="T29" fmla="*/ 2147483647 h 180"/>
                <a:gd name="T30" fmla="*/ 2147483647 w 150"/>
                <a:gd name="T31" fmla="*/ 2147483647 h 180"/>
                <a:gd name="T32" fmla="*/ 2147483647 w 150"/>
                <a:gd name="T33" fmla="*/ 2147483647 h 180"/>
                <a:gd name="T34" fmla="*/ 0 w 150"/>
                <a:gd name="T35" fmla="*/ 2147483647 h 180"/>
                <a:gd name="T36" fmla="*/ 2147483647 w 150"/>
                <a:gd name="T37" fmla="*/ 2147483647 h 180"/>
                <a:gd name="T38" fmla="*/ 2147483647 w 150"/>
                <a:gd name="T39" fmla="*/ 2147483647 h 180"/>
                <a:gd name="T40" fmla="*/ 2147483647 w 150"/>
                <a:gd name="T41" fmla="*/ 2147483647 h 180"/>
                <a:gd name="T42" fmla="*/ 2147483647 w 150"/>
                <a:gd name="T43" fmla="*/ 2147483647 h 18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50" h="180">
                  <a:moveTo>
                    <a:pt x="66" y="162"/>
                  </a:moveTo>
                  <a:lnTo>
                    <a:pt x="90" y="144"/>
                  </a:lnTo>
                  <a:lnTo>
                    <a:pt x="114" y="96"/>
                  </a:lnTo>
                  <a:lnTo>
                    <a:pt x="132" y="78"/>
                  </a:lnTo>
                  <a:lnTo>
                    <a:pt x="150" y="6"/>
                  </a:lnTo>
                  <a:lnTo>
                    <a:pt x="138" y="0"/>
                  </a:lnTo>
                  <a:lnTo>
                    <a:pt x="114" y="0"/>
                  </a:lnTo>
                  <a:lnTo>
                    <a:pt x="90" y="12"/>
                  </a:lnTo>
                  <a:lnTo>
                    <a:pt x="72" y="18"/>
                  </a:lnTo>
                  <a:lnTo>
                    <a:pt x="60" y="30"/>
                  </a:lnTo>
                  <a:lnTo>
                    <a:pt x="48" y="36"/>
                  </a:lnTo>
                  <a:lnTo>
                    <a:pt x="48" y="48"/>
                  </a:lnTo>
                  <a:lnTo>
                    <a:pt x="60" y="54"/>
                  </a:lnTo>
                  <a:lnTo>
                    <a:pt x="54" y="84"/>
                  </a:lnTo>
                  <a:lnTo>
                    <a:pt x="48" y="114"/>
                  </a:lnTo>
                  <a:lnTo>
                    <a:pt x="30" y="114"/>
                  </a:lnTo>
                  <a:lnTo>
                    <a:pt x="12" y="126"/>
                  </a:lnTo>
                  <a:lnTo>
                    <a:pt x="0" y="138"/>
                  </a:lnTo>
                  <a:lnTo>
                    <a:pt x="18" y="156"/>
                  </a:lnTo>
                  <a:lnTo>
                    <a:pt x="24" y="180"/>
                  </a:lnTo>
                  <a:lnTo>
                    <a:pt x="42" y="162"/>
                  </a:lnTo>
                  <a:lnTo>
                    <a:pt x="66" y="162"/>
                  </a:ln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202" name="GA"/>
            <p:cNvSpPr>
              <a:spLocks/>
            </p:cNvSpPr>
            <p:nvPr/>
          </p:nvSpPr>
          <p:spPr bwMode="auto">
            <a:xfrm>
              <a:off x="4503609" y="4375850"/>
              <a:ext cx="117474" cy="130174"/>
            </a:xfrm>
            <a:custGeom>
              <a:avLst/>
              <a:gdLst>
                <a:gd name="T0" fmla="*/ 2147483647 w 90"/>
                <a:gd name="T1" fmla="*/ 2147483647 h 102"/>
                <a:gd name="T2" fmla="*/ 2147483647 w 90"/>
                <a:gd name="T3" fmla="*/ 2147483647 h 102"/>
                <a:gd name="T4" fmla="*/ 2147483647 w 90"/>
                <a:gd name="T5" fmla="*/ 2147483647 h 102"/>
                <a:gd name="T6" fmla="*/ 2147483647 w 90"/>
                <a:gd name="T7" fmla="*/ 2147483647 h 102"/>
                <a:gd name="T8" fmla="*/ 2147483647 w 90"/>
                <a:gd name="T9" fmla="*/ 2147483647 h 102"/>
                <a:gd name="T10" fmla="*/ 2147483647 w 90"/>
                <a:gd name="T11" fmla="*/ 0 h 102"/>
                <a:gd name="T12" fmla="*/ 2147483647 w 90"/>
                <a:gd name="T13" fmla="*/ 0 h 102"/>
                <a:gd name="T14" fmla="*/ 0 w 90"/>
                <a:gd name="T15" fmla="*/ 0 h 102"/>
                <a:gd name="T16" fmla="*/ 0 w 90"/>
                <a:gd name="T17" fmla="*/ 2147483647 h 102"/>
                <a:gd name="T18" fmla="*/ 0 w 90"/>
                <a:gd name="T19" fmla="*/ 2147483647 h 102"/>
                <a:gd name="T20" fmla="*/ 2147483647 w 90"/>
                <a:gd name="T21" fmla="*/ 2147483647 h 102"/>
                <a:gd name="T22" fmla="*/ 2147483647 w 90"/>
                <a:gd name="T23" fmla="*/ 2147483647 h 102"/>
                <a:gd name="T24" fmla="*/ 2147483647 w 90"/>
                <a:gd name="T25" fmla="*/ 2147483647 h 10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0" h="102">
                  <a:moveTo>
                    <a:pt x="60" y="78"/>
                  </a:moveTo>
                  <a:lnTo>
                    <a:pt x="78" y="78"/>
                  </a:lnTo>
                  <a:lnTo>
                    <a:pt x="84" y="48"/>
                  </a:lnTo>
                  <a:lnTo>
                    <a:pt x="90" y="18"/>
                  </a:lnTo>
                  <a:lnTo>
                    <a:pt x="78" y="12"/>
                  </a:lnTo>
                  <a:lnTo>
                    <a:pt x="78" y="0"/>
                  </a:lnTo>
                  <a:lnTo>
                    <a:pt x="48" y="0"/>
                  </a:lnTo>
                  <a:lnTo>
                    <a:pt x="0" y="0"/>
                  </a:lnTo>
                  <a:lnTo>
                    <a:pt x="0" y="18"/>
                  </a:lnTo>
                  <a:lnTo>
                    <a:pt x="0" y="54"/>
                  </a:lnTo>
                  <a:lnTo>
                    <a:pt x="30" y="102"/>
                  </a:lnTo>
                  <a:lnTo>
                    <a:pt x="42" y="90"/>
                  </a:lnTo>
                  <a:lnTo>
                    <a:pt x="60" y="78"/>
                  </a:ln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203" name="CM"/>
            <p:cNvSpPr>
              <a:spLocks/>
            </p:cNvSpPr>
            <p:nvPr/>
          </p:nvSpPr>
          <p:spPr bwMode="auto">
            <a:xfrm>
              <a:off x="4471860" y="4117090"/>
              <a:ext cx="187323" cy="258762"/>
            </a:xfrm>
            <a:custGeom>
              <a:avLst/>
              <a:gdLst>
                <a:gd name="T0" fmla="*/ 2147483647 w 144"/>
                <a:gd name="T1" fmla="*/ 2147483647 h 198"/>
                <a:gd name="T2" fmla="*/ 2147483647 w 144"/>
                <a:gd name="T3" fmla="*/ 2147483647 h 198"/>
                <a:gd name="T4" fmla="*/ 2147483647 w 144"/>
                <a:gd name="T5" fmla="*/ 2147483647 h 198"/>
                <a:gd name="T6" fmla="*/ 2147483647 w 144"/>
                <a:gd name="T7" fmla="*/ 2147483647 h 198"/>
                <a:gd name="T8" fmla="*/ 2147483647 w 144"/>
                <a:gd name="T9" fmla="*/ 2147483647 h 198"/>
                <a:gd name="T10" fmla="*/ 2147483647 w 144"/>
                <a:gd name="T11" fmla="*/ 2147483647 h 198"/>
                <a:gd name="T12" fmla="*/ 2147483647 w 144"/>
                <a:gd name="T13" fmla="*/ 2147483647 h 198"/>
                <a:gd name="T14" fmla="*/ 2147483647 w 144"/>
                <a:gd name="T15" fmla="*/ 2147483647 h 198"/>
                <a:gd name="T16" fmla="*/ 2147483647 w 144"/>
                <a:gd name="T17" fmla="*/ 0 h 198"/>
                <a:gd name="T18" fmla="*/ 2147483647 w 144"/>
                <a:gd name="T19" fmla="*/ 0 h 198"/>
                <a:gd name="T20" fmla="*/ 2147483647 w 144"/>
                <a:gd name="T21" fmla="*/ 2147483647 h 198"/>
                <a:gd name="T22" fmla="*/ 2147483647 w 144"/>
                <a:gd name="T23" fmla="*/ 2147483647 h 198"/>
                <a:gd name="T24" fmla="*/ 2147483647 w 144"/>
                <a:gd name="T25" fmla="*/ 2147483647 h 198"/>
                <a:gd name="T26" fmla="*/ 2147483647 w 144"/>
                <a:gd name="T27" fmla="*/ 2147483647 h 198"/>
                <a:gd name="T28" fmla="*/ 2147483647 w 144"/>
                <a:gd name="T29" fmla="*/ 2147483647 h 198"/>
                <a:gd name="T30" fmla="*/ 2147483647 w 144"/>
                <a:gd name="T31" fmla="*/ 2147483647 h 198"/>
                <a:gd name="T32" fmla="*/ 0 w 144"/>
                <a:gd name="T33" fmla="*/ 2147483647 h 198"/>
                <a:gd name="T34" fmla="*/ 2147483647 w 144"/>
                <a:gd name="T35" fmla="*/ 2147483647 h 198"/>
                <a:gd name="T36" fmla="*/ 2147483647 w 144"/>
                <a:gd name="T37" fmla="*/ 2147483647 h 198"/>
                <a:gd name="T38" fmla="*/ 2147483647 w 144"/>
                <a:gd name="T39" fmla="*/ 2147483647 h 198"/>
                <a:gd name="T40" fmla="*/ 2147483647 w 144"/>
                <a:gd name="T41" fmla="*/ 2147483647 h 198"/>
                <a:gd name="T42" fmla="*/ 2147483647 w 144"/>
                <a:gd name="T43" fmla="*/ 2147483647 h 19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44" h="198">
                  <a:moveTo>
                    <a:pt x="144" y="174"/>
                  </a:moveTo>
                  <a:lnTo>
                    <a:pt x="138" y="162"/>
                  </a:lnTo>
                  <a:lnTo>
                    <a:pt x="126" y="132"/>
                  </a:lnTo>
                  <a:lnTo>
                    <a:pt x="138" y="96"/>
                  </a:lnTo>
                  <a:lnTo>
                    <a:pt x="132" y="96"/>
                  </a:lnTo>
                  <a:lnTo>
                    <a:pt x="114" y="66"/>
                  </a:lnTo>
                  <a:lnTo>
                    <a:pt x="114" y="48"/>
                  </a:lnTo>
                  <a:lnTo>
                    <a:pt x="138" y="42"/>
                  </a:lnTo>
                  <a:lnTo>
                    <a:pt x="126" y="0"/>
                  </a:lnTo>
                  <a:lnTo>
                    <a:pt x="108" y="6"/>
                  </a:lnTo>
                  <a:lnTo>
                    <a:pt x="102" y="24"/>
                  </a:lnTo>
                  <a:lnTo>
                    <a:pt x="84" y="72"/>
                  </a:lnTo>
                  <a:lnTo>
                    <a:pt x="54" y="114"/>
                  </a:lnTo>
                  <a:lnTo>
                    <a:pt x="24" y="102"/>
                  </a:lnTo>
                  <a:lnTo>
                    <a:pt x="6" y="126"/>
                  </a:lnTo>
                  <a:lnTo>
                    <a:pt x="0" y="156"/>
                  </a:lnTo>
                  <a:lnTo>
                    <a:pt x="18" y="156"/>
                  </a:lnTo>
                  <a:lnTo>
                    <a:pt x="24" y="198"/>
                  </a:lnTo>
                  <a:lnTo>
                    <a:pt x="72" y="198"/>
                  </a:lnTo>
                  <a:lnTo>
                    <a:pt x="102" y="198"/>
                  </a:lnTo>
                  <a:lnTo>
                    <a:pt x="144" y="174"/>
                  </a:ln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204" name="BJ"/>
            <p:cNvSpPr>
              <a:spLocks/>
            </p:cNvSpPr>
            <p:nvPr/>
          </p:nvSpPr>
          <p:spPr bwMode="auto">
            <a:xfrm>
              <a:off x="4306027" y="4107564"/>
              <a:ext cx="63499" cy="157162"/>
            </a:xfrm>
            <a:custGeom>
              <a:avLst/>
              <a:gdLst>
                <a:gd name="T0" fmla="*/ 2147483647 w 48"/>
                <a:gd name="T1" fmla="*/ 2147483647 h 120"/>
                <a:gd name="T2" fmla="*/ 2147483647 w 48"/>
                <a:gd name="T3" fmla="*/ 2147483647 h 120"/>
                <a:gd name="T4" fmla="*/ 2147483647 w 48"/>
                <a:gd name="T5" fmla="*/ 2147483647 h 120"/>
                <a:gd name="T6" fmla="*/ 2147483647 w 48"/>
                <a:gd name="T7" fmla="*/ 2147483647 h 120"/>
                <a:gd name="T8" fmla="*/ 2147483647 w 48"/>
                <a:gd name="T9" fmla="*/ 0 h 120"/>
                <a:gd name="T10" fmla="*/ 2147483647 w 48"/>
                <a:gd name="T11" fmla="*/ 2147483647 h 120"/>
                <a:gd name="T12" fmla="*/ 2147483647 w 48"/>
                <a:gd name="T13" fmla="*/ 2147483647 h 120"/>
                <a:gd name="T14" fmla="*/ 0 w 48"/>
                <a:gd name="T15" fmla="*/ 2147483647 h 120"/>
                <a:gd name="T16" fmla="*/ 0 w 48"/>
                <a:gd name="T17" fmla="*/ 2147483647 h 120"/>
                <a:gd name="T18" fmla="*/ 2147483647 w 48"/>
                <a:gd name="T19" fmla="*/ 2147483647 h 120"/>
                <a:gd name="T20" fmla="*/ 2147483647 w 48"/>
                <a:gd name="T21" fmla="*/ 2147483647 h 120"/>
                <a:gd name="T22" fmla="*/ 2147483647 w 48"/>
                <a:gd name="T23" fmla="*/ 2147483647 h 120"/>
                <a:gd name="T24" fmla="*/ 2147483647 w 48"/>
                <a:gd name="T25" fmla="*/ 2147483647 h 120"/>
                <a:gd name="T26" fmla="*/ 2147483647 w 48"/>
                <a:gd name="T27" fmla="*/ 2147483647 h 120"/>
                <a:gd name="T28" fmla="*/ 2147483647 w 48"/>
                <a:gd name="T29" fmla="*/ 2147483647 h 12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8" h="120">
                  <a:moveTo>
                    <a:pt x="48" y="48"/>
                  </a:moveTo>
                  <a:lnTo>
                    <a:pt x="48" y="24"/>
                  </a:lnTo>
                  <a:lnTo>
                    <a:pt x="48" y="6"/>
                  </a:lnTo>
                  <a:lnTo>
                    <a:pt x="42" y="6"/>
                  </a:lnTo>
                  <a:lnTo>
                    <a:pt x="30" y="0"/>
                  </a:lnTo>
                  <a:lnTo>
                    <a:pt x="24" y="6"/>
                  </a:lnTo>
                  <a:lnTo>
                    <a:pt x="6" y="30"/>
                  </a:lnTo>
                  <a:lnTo>
                    <a:pt x="0" y="30"/>
                  </a:lnTo>
                  <a:lnTo>
                    <a:pt x="0" y="48"/>
                  </a:lnTo>
                  <a:lnTo>
                    <a:pt x="6" y="90"/>
                  </a:lnTo>
                  <a:lnTo>
                    <a:pt x="24" y="120"/>
                  </a:lnTo>
                  <a:lnTo>
                    <a:pt x="36" y="120"/>
                  </a:lnTo>
                  <a:lnTo>
                    <a:pt x="36" y="90"/>
                  </a:lnTo>
                  <a:lnTo>
                    <a:pt x="48" y="48"/>
                  </a:ln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205" name="TG"/>
            <p:cNvSpPr>
              <a:spLocks/>
            </p:cNvSpPr>
            <p:nvPr/>
          </p:nvSpPr>
          <p:spPr bwMode="auto">
            <a:xfrm>
              <a:off x="4282214" y="4148839"/>
              <a:ext cx="55562" cy="123824"/>
            </a:xfrm>
            <a:custGeom>
              <a:avLst/>
              <a:gdLst>
                <a:gd name="T0" fmla="*/ 2147483647 w 42"/>
                <a:gd name="T1" fmla="*/ 2147483647 h 96"/>
                <a:gd name="T2" fmla="*/ 2147483647 w 42"/>
                <a:gd name="T3" fmla="*/ 0 h 96"/>
                <a:gd name="T4" fmla="*/ 2147483647 w 42"/>
                <a:gd name="T5" fmla="*/ 2147483647 h 96"/>
                <a:gd name="T6" fmla="*/ 0 w 42"/>
                <a:gd name="T7" fmla="*/ 2147483647 h 96"/>
                <a:gd name="T8" fmla="*/ 0 w 42"/>
                <a:gd name="T9" fmla="*/ 2147483647 h 96"/>
                <a:gd name="T10" fmla="*/ 0 w 42"/>
                <a:gd name="T11" fmla="*/ 2147483647 h 96"/>
                <a:gd name="T12" fmla="*/ 2147483647 w 42"/>
                <a:gd name="T13" fmla="*/ 2147483647 h 96"/>
                <a:gd name="T14" fmla="*/ 2147483647 w 42"/>
                <a:gd name="T15" fmla="*/ 2147483647 h 96"/>
                <a:gd name="T16" fmla="*/ 2147483647 w 42"/>
                <a:gd name="T17" fmla="*/ 2147483647 h 96"/>
                <a:gd name="T18" fmla="*/ 2147483647 w 42"/>
                <a:gd name="T19" fmla="*/ 2147483647 h 9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2" h="96">
                  <a:moveTo>
                    <a:pt x="18" y="18"/>
                  </a:moveTo>
                  <a:lnTo>
                    <a:pt x="18" y="0"/>
                  </a:lnTo>
                  <a:lnTo>
                    <a:pt x="6" y="6"/>
                  </a:lnTo>
                  <a:lnTo>
                    <a:pt x="0" y="6"/>
                  </a:lnTo>
                  <a:lnTo>
                    <a:pt x="0" y="12"/>
                  </a:lnTo>
                  <a:lnTo>
                    <a:pt x="0" y="42"/>
                  </a:lnTo>
                  <a:lnTo>
                    <a:pt x="18" y="96"/>
                  </a:lnTo>
                  <a:lnTo>
                    <a:pt x="42" y="90"/>
                  </a:lnTo>
                  <a:lnTo>
                    <a:pt x="24" y="60"/>
                  </a:lnTo>
                  <a:lnTo>
                    <a:pt x="18" y="18"/>
                  </a:ln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206" name="NA"/>
            <p:cNvSpPr>
              <a:spLocks/>
            </p:cNvSpPr>
            <p:nvPr/>
          </p:nvSpPr>
          <p:spPr bwMode="auto">
            <a:xfrm>
              <a:off x="4567108" y="4844158"/>
              <a:ext cx="320672" cy="325435"/>
            </a:xfrm>
            <a:custGeom>
              <a:avLst/>
              <a:gdLst>
                <a:gd name="T0" fmla="*/ 2147483647 w 246"/>
                <a:gd name="T1" fmla="*/ 2147483647 h 252"/>
                <a:gd name="T2" fmla="*/ 2147483647 w 246"/>
                <a:gd name="T3" fmla="*/ 2147483647 h 252"/>
                <a:gd name="T4" fmla="*/ 2147483647 w 246"/>
                <a:gd name="T5" fmla="*/ 2147483647 h 252"/>
                <a:gd name="T6" fmla="*/ 2147483647 w 246"/>
                <a:gd name="T7" fmla="*/ 2147483647 h 252"/>
                <a:gd name="T8" fmla="*/ 2147483647 w 246"/>
                <a:gd name="T9" fmla="*/ 2147483647 h 252"/>
                <a:gd name="T10" fmla="*/ 2147483647 w 246"/>
                <a:gd name="T11" fmla="*/ 2147483647 h 252"/>
                <a:gd name="T12" fmla="*/ 2147483647 w 246"/>
                <a:gd name="T13" fmla="*/ 2147483647 h 252"/>
                <a:gd name="T14" fmla="*/ 2147483647 w 246"/>
                <a:gd name="T15" fmla="*/ 2147483647 h 252"/>
                <a:gd name="T16" fmla="*/ 2147483647 w 246"/>
                <a:gd name="T17" fmla="*/ 2147483647 h 252"/>
                <a:gd name="T18" fmla="*/ 2147483647 w 246"/>
                <a:gd name="T19" fmla="*/ 2147483647 h 252"/>
                <a:gd name="T20" fmla="*/ 2147483647 w 246"/>
                <a:gd name="T21" fmla="*/ 2147483647 h 252"/>
                <a:gd name="T22" fmla="*/ 2147483647 w 246"/>
                <a:gd name="T23" fmla="*/ 2147483647 h 252"/>
                <a:gd name="T24" fmla="*/ 2147483647 w 246"/>
                <a:gd name="T25" fmla="*/ 2147483647 h 252"/>
                <a:gd name="T26" fmla="*/ 2147483647 w 246"/>
                <a:gd name="T27" fmla="*/ 2147483647 h 252"/>
                <a:gd name="T28" fmla="*/ 2147483647 w 246"/>
                <a:gd name="T29" fmla="*/ 2147483647 h 252"/>
                <a:gd name="T30" fmla="*/ 2147483647 w 246"/>
                <a:gd name="T31" fmla="*/ 2147483647 h 252"/>
                <a:gd name="T32" fmla="*/ 2147483647 w 246"/>
                <a:gd name="T33" fmla="*/ 2147483647 h 252"/>
                <a:gd name="T34" fmla="*/ 2147483647 w 246"/>
                <a:gd name="T35" fmla="*/ 2147483647 h 252"/>
                <a:gd name="T36" fmla="*/ 2147483647 w 246"/>
                <a:gd name="T37" fmla="*/ 2147483647 h 252"/>
                <a:gd name="T38" fmla="*/ 2147483647 w 246"/>
                <a:gd name="T39" fmla="*/ 0 h 252"/>
                <a:gd name="T40" fmla="*/ 2147483647 w 246"/>
                <a:gd name="T41" fmla="*/ 2147483647 h 252"/>
                <a:gd name="T42" fmla="*/ 0 w 246"/>
                <a:gd name="T43" fmla="*/ 2147483647 h 252"/>
                <a:gd name="T44" fmla="*/ 2147483647 w 246"/>
                <a:gd name="T45" fmla="*/ 2147483647 h 252"/>
                <a:gd name="T46" fmla="*/ 2147483647 w 246"/>
                <a:gd name="T47" fmla="*/ 2147483647 h 252"/>
                <a:gd name="T48" fmla="*/ 2147483647 w 246"/>
                <a:gd name="T49" fmla="*/ 2147483647 h 252"/>
                <a:gd name="T50" fmla="*/ 2147483647 w 246"/>
                <a:gd name="T51" fmla="*/ 2147483647 h 252"/>
                <a:gd name="T52" fmla="*/ 2147483647 w 246"/>
                <a:gd name="T53" fmla="*/ 2147483647 h 252"/>
                <a:gd name="T54" fmla="*/ 2147483647 w 246"/>
                <a:gd name="T55" fmla="*/ 2147483647 h 25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246" h="252">
                  <a:moveTo>
                    <a:pt x="126" y="252"/>
                  </a:moveTo>
                  <a:lnTo>
                    <a:pt x="144" y="246"/>
                  </a:lnTo>
                  <a:lnTo>
                    <a:pt x="156" y="162"/>
                  </a:lnTo>
                  <a:lnTo>
                    <a:pt x="156" y="108"/>
                  </a:lnTo>
                  <a:lnTo>
                    <a:pt x="168" y="102"/>
                  </a:lnTo>
                  <a:lnTo>
                    <a:pt x="174" y="36"/>
                  </a:lnTo>
                  <a:lnTo>
                    <a:pt x="222" y="24"/>
                  </a:lnTo>
                  <a:lnTo>
                    <a:pt x="240" y="18"/>
                  </a:lnTo>
                  <a:lnTo>
                    <a:pt x="246" y="18"/>
                  </a:lnTo>
                  <a:lnTo>
                    <a:pt x="234" y="12"/>
                  </a:lnTo>
                  <a:lnTo>
                    <a:pt x="210" y="12"/>
                  </a:lnTo>
                  <a:lnTo>
                    <a:pt x="216" y="18"/>
                  </a:lnTo>
                  <a:lnTo>
                    <a:pt x="210" y="12"/>
                  </a:lnTo>
                  <a:lnTo>
                    <a:pt x="174" y="18"/>
                  </a:lnTo>
                  <a:lnTo>
                    <a:pt x="126" y="18"/>
                  </a:lnTo>
                  <a:lnTo>
                    <a:pt x="114" y="12"/>
                  </a:lnTo>
                  <a:lnTo>
                    <a:pt x="30" y="12"/>
                  </a:lnTo>
                  <a:lnTo>
                    <a:pt x="18" y="0"/>
                  </a:lnTo>
                  <a:lnTo>
                    <a:pt x="6" y="6"/>
                  </a:lnTo>
                  <a:lnTo>
                    <a:pt x="0" y="42"/>
                  </a:lnTo>
                  <a:lnTo>
                    <a:pt x="42" y="126"/>
                  </a:lnTo>
                  <a:lnTo>
                    <a:pt x="48" y="144"/>
                  </a:lnTo>
                  <a:lnTo>
                    <a:pt x="60" y="222"/>
                  </a:lnTo>
                  <a:lnTo>
                    <a:pt x="90" y="252"/>
                  </a:lnTo>
                  <a:lnTo>
                    <a:pt x="96" y="240"/>
                  </a:lnTo>
                  <a:lnTo>
                    <a:pt x="126" y="252"/>
                  </a:lnTo>
                  <a:close/>
                </a:path>
              </a:pathLst>
            </a:custGeom>
            <a:solidFill>
              <a:schemeClr val="accent1"/>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207" name="Freeform 206"/>
            <p:cNvSpPr>
              <a:spLocks/>
            </p:cNvSpPr>
            <p:nvPr/>
          </p:nvSpPr>
          <p:spPr bwMode="auto">
            <a:xfrm>
              <a:off x="4306027" y="3954392"/>
              <a:ext cx="79375" cy="91262"/>
            </a:xfrm>
            <a:custGeom>
              <a:avLst/>
              <a:gdLst>
                <a:gd name="T0" fmla="*/ 0 w 10"/>
                <a:gd name="T1" fmla="*/ 2147483647 h 12"/>
                <a:gd name="T2" fmla="*/ 2147483647 w 10"/>
                <a:gd name="T3" fmla="*/ 2147483647 h 12"/>
                <a:gd name="T4" fmla="*/ 2147483647 w 10"/>
                <a:gd name="T5" fmla="*/ 2147483647 h 12"/>
                <a:gd name="T6" fmla="*/ 2147483647 w 10"/>
                <a:gd name="T7" fmla="*/ 2147483647 h 12"/>
                <a:gd name="T8" fmla="*/ 2147483647 w 10"/>
                <a:gd name="T9" fmla="*/ 0 h 1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 h="12">
                  <a:moveTo>
                    <a:pt x="0" y="12"/>
                  </a:moveTo>
                  <a:cubicBezTo>
                    <a:pt x="4" y="11"/>
                    <a:pt x="4" y="11"/>
                    <a:pt x="4" y="11"/>
                  </a:cubicBezTo>
                  <a:cubicBezTo>
                    <a:pt x="9" y="10"/>
                    <a:pt x="9" y="10"/>
                    <a:pt x="9" y="10"/>
                  </a:cubicBezTo>
                  <a:cubicBezTo>
                    <a:pt x="9" y="10"/>
                    <a:pt x="10" y="8"/>
                    <a:pt x="10" y="8"/>
                  </a:cubicBezTo>
                  <a:cubicBezTo>
                    <a:pt x="10" y="7"/>
                    <a:pt x="10" y="0"/>
                    <a:pt x="10" y="0"/>
                  </a:cubicBezTo>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grpSp>
          <p:nvGrpSpPr>
            <p:cNvPr id="208" name="US"/>
            <p:cNvGrpSpPr/>
            <p:nvPr/>
          </p:nvGrpSpPr>
          <p:grpSpPr>
            <a:xfrm>
              <a:off x="48807" y="1893139"/>
              <a:ext cx="2483387" cy="1900918"/>
              <a:chOff x="0" y="558800"/>
              <a:chExt cx="2496771" cy="1881537"/>
            </a:xfrm>
          </p:grpSpPr>
          <p:sp>
            <p:nvSpPr>
              <p:cNvPr id="299" name="ALASKA"/>
              <p:cNvSpPr>
                <a:spLocks/>
              </p:cNvSpPr>
              <p:nvPr/>
            </p:nvSpPr>
            <p:spPr bwMode="auto">
              <a:xfrm>
                <a:off x="0" y="558800"/>
                <a:ext cx="667901" cy="909778"/>
              </a:xfrm>
              <a:custGeom>
                <a:avLst/>
                <a:gdLst>
                  <a:gd name="T0" fmla="*/ 2147483647 w 516"/>
                  <a:gd name="T1" fmla="*/ 2147483647 h 709"/>
                  <a:gd name="T2" fmla="*/ 2147483647 w 516"/>
                  <a:gd name="T3" fmla="*/ 2147483647 h 709"/>
                  <a:gd name="T4" fmla="*/ 2147483647 w 516"/>
                  <a:gd name="T5" fmla="*/ 2147483647 h 709"/>
                  <a:gd name="T6" fmla="*/ 2147483647 w 516"/>
                  <a:gd name="T7" fmla="*/ 2147483647 h 709"/>
                  <a:gd name="T8" fmla="*/ 2147483647 w 516"/>
                  <a:gd name="T9" fmla="*/ 2147483647 h 709"/>
                  <a:gd name="T10" fmla="*/ 2147483647 w 516"/>
                  <a:gd name="T11" fmla="*/ 2147483647 h 709"/>
                  <a:gd name="T12" fmla="*/ 2147483647 w 516"/>
                  <a:gd name="T13" fmla="*/ 2147483647 h 709"/>
                  <a:gd name="T14" fmla="*/ 2147483647 w 516"/>
                  <a:gd name="T15" fmla="*/ 0 h 709"/>
                  <a:gd name="T16" fmla="*/ 2147483647 w 516"/>
                  <a:gd name="T17" fmla="*/ 2147483647 h 709"/>
                  <a:gd name="T18" fmla="*/ 2147483647 w 516"/>
                  <a:gd name="T19" fmla="*/ 2147483647 h 709"/>
                  <a:gd name="T20" fmla="*/ 2147483647 w 516"/>
                  <a:gd name="T21" fmla="*/ 2147483647 h 709"/>
                  <a:gd name="T22" fmla="*/ 2147483647 w 516"/>
                  <a:gd name="T23" fmla="*/ 2147483647 h 709"/>
                  <a:gd name="T24" fmla="*/ 2147483647 w 516"/>
                  <a:gd name="T25" fmla="*/ 2147483647 h 709"/>
                  <a:gd name="T26" fmla="*/ 2147483647 w 516"/>
                  <a:gd name="T27" fmla="*/ 2147483647 h 709"/>
                  <a:gd name="T28" fmla="*/ 2147483647 w 516"/>
                  <a:gd name="T29" fmla="*/ 2147483647 h 709"/>
                  <a:gd name="T30" fmla="*/ 2147483647 w 516"/>
                  <a:gd name="T31" fmla="*/ 2147483647 h 709"/>
                  <a:gd name="T32" fmla="*/ 2147483647 w 516"/>
                  <a:gd name="T33" fmla="*/ 2147483647 h 709"/>
                  <a:gd name="T34" fmla="*/ 2147483647 w 516"/>
                  <a:gd name="T35" fmla="*/ 2147483647 h 709"/>
                  <a:gd name="T36" fmla="*/ 2147483647 w 516"/>
                  <a:gd name="T37" fmla="*/ 2147483647 h 709"/>
                  <a:gd name="T38" fmla="*/ 0 w 516"/>
                  <a:gd name="T39" fmla="*/ 2147483647 h 709"/>
                  <a:gd name="T40" fmla="*/ 2147483647 w 516"/>
                  <a:gd name="T41" fmla="*/ 2147483647 h 709"/>
                  <a:gd name="T42" fmla="*/ 2147483647 w 516"/>
                  <a:gd name="T43" fmla="*/ 2147483647 h 709"/>
                  <a:gd name="T44" fmla="*/ 2147483647 w 516"/>
                  <a:gd name="T45" fmla="*/ 2147483647 h 709"/>
                  <a:gd name="T46" fmla="*/ 2147483647 w 516"/>
                  <a:gd name="T47" fmla="*/ 2147483647 h 709"/>
                  <a:gd name="T48" fmla="*/ 2147483647 w 516"/>
                  <a:gd name="T49" fmla="*/ 2147483647 h 709"/>
                  <a:gd name="T50" fmla="*/ 2147483647 w 516"/>
                  <a:gd name="T51" fmla="*/ 2147483647 h 709"/>
                  <a:gd name="T52" fmla="*/ 2147483647 w 516"/>
                  <a:gd name="T53" fmla="*/ 2147483647 h 709"/>
                  <a:gd name="T54" fmla="*/ 2147483647 w 516"/>
                  <a:gd name="T55" fmla="*/ 2147483647 h 709"/>
                  <a:gd name="T56" fmla="*/ 2147483647 w 516"/>
                  <a:gd name="T57" fmla="*/ 2147483647 h 709"/>
                  <a:gd name="T58" fmla="*/ 2147483647 w 516"/>
                  <a:gd name="T59" fmla="*/ 2147483647 h 709"/>
                  <a:gd name="T60" fmla="*/ 2147483647 w 516"/>
                  <a:gd name="T61" fmla="*/ 2147483647 h 709"/>
                  <a:gd name="T62" fmla="*/ 2147483647 w 516"/>
                  <a:gd name="T63" fmla="*/ 2147483647 h 709"/>
                  <a:gd name="T64" fmla="*/ 2147483647 w 516"/>
                  <a:gd name="T65" fmla="*/ 2147483647 h 709"/>
                  <a:gd name="T66" fmla="*/ 2147483647 w 516"/>
                  <a:gd name="T67" fmla="*/ 2147483647 h 709"/>
                  <a:gd name="T68" fmla="*/ 2147483647 w 516"/>
                  <a:gd name="T69" fmla="*/ 2147483647 h 709"/>
                  <a:gd name="T70" fmla="*/ 2147483647 w 516"/>
                  <a:gd name="T71" fmla="*/ 2147483647 h 709"/>
                  <a:gd name="T72" fmla="*/ 2147483647 w 516"/>
                  <a:gd name="T73" fmla="*/ 2147483647 h 709"/>
                  <a:gd name="T74" fmla="*/ 2147483647 w 516"/>
                  <a:gd name="T75" fmla="*/ 2147483647 h 709"/>
                  <a:gd name="T76" fmla="*/ 2147483647 w 516"/>
                  <a:gd name="T77" fmla="*/ 2147483647 h 709"/>
                  <a:gd name="T78" fmla="*/ 2147483647 w 516"/>
                  <a:gd name="T79" fmla="*/ 2147483647 h 709"/>
                  <a:gd name="T80" fmla="*/ 2147483647 w 516"/>
                  <a:gd name="T81" fmla="*/ 2147483647 h 709"/>
                  <a:gd name="T82" fmla="*/ 2147483647 w 516"/>
                  <a:gd name="T83" fmla="*/ 2147483647 h 709"/>
                  <a:gd name="T84" fmla="*/ 2147483647 w 516"/>
                  <a:gd name="T85" fmla="*/ 2147483647 h 709"/>
                  <a:gd name="T86" fmla="*/ 2147483647 w 516"/>
                  <a:gd name="T87" fmla="*/ 2147483647 h 709"/>
                  <a:gd name="T88" fmla="*/ 2147483647 w 516"/>
                  <a:gd name="T89" fmla="*/ 2147483647 h 709"/>
                  <a:gd name="T90" fmla="*/ 2147483647 w 516"/>
                  <a:gd name="T91" fmla="*/ 2147483647 h 709"/>
                  <a:gd name="T92" fmla="*/ 2147483647 w 516"/>
                  <a:gd name="T93" fmla="*/ 2147483647 h 709"/>
                  <a:gd name="T94" fmla="*/ 2147483647 w 516"/>
                  <a:gd name="T95" fmla="*/ 2147483647 h 70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516" h="709">
                    <a:moveTo>
                      <a:pt x="504" y="96"/>
                    </a:moveTo>
                    <a:lnTo>
                      <a:pt x="486" y="78"/>
                    </a:lnTo>
                    <a:lnTo>
                      <a:pt x="432" y="84"/>
                    </a:lnTo>
                    <a:lnTo>
                      <a:pt x="354" y="48"/>
                    </a:lnTo>
                    <a:lnTo>
                      <a:pt x="318" y="54"/>
                    </a:lnTo>
                    <a:lnTo>
                      <a:pt x="288" y="36"/>
                    </a:lnTo>
                    <a:lnTo>
                      <a:pt x="282" y="18"/>
                    </a:lnTo>
                    <a:lnTo>
                      <a:pt x="228" y="0"/>
                    </a:lnTo>
                    <a:lnTo>
                      <a:pt x="198" y="24"/>
                    </a:lnTo>
                    <a:lnTo>
                      <a:pt x="150" y="42"/>
                    </a:lnTo>
                    <a:lnTo>
                      <a:pt x="114" y="66"/>
                    </a:lnTo>
                    <a:lnTo>
                      <a:pt x="90" y="126"/>
                    </a:lnTo>
                    <a:lnTo>
                      <a:pt x="42" y="138"/>
                    </a:lnTo>
                    <a:lnTo>
                      <a:pt x="42" y="174"/>
                    </a:lnTo>
                    <a:lnTo>
                      <a:pt x="78" y="222"/>
                    </a:lnTo>
                    <a:lnTo>
                      <a:pt x="114" y="240"/>
                    </a:lnTo>
                    <a:lnTo>
                      <a:pt x="114" y="264"/>
                    </a:lnTo>
                    <a:lnTo>
                      <a:pt x="90" y="276"/>
                    </a:lnTo>
                    <a:lnTo>
                      <a:pt x="60" y="264"/>
                    </a:lnTo>
                    <a:lnTo>
                      <a:pt x="0" y="306"/>
                    </a:lnTo>
                    <a:lnTo>
                      <a:pt x="18" y="324"/>
                    </a:lnTo>
                    <a:lnTo>
                      <a:pt x="42" y="348"/>
                    </a:lnTo>
                    <a:lnTo>
                      <a:pt x="96" y="348"/>
                    </a:lnTo>
                    <a:lnTo>
                      <a:pt x="138" y="354"/>
                    </a:lnTo>
                    <a:lnTo>
                      <a:pt x="120" y="396"/>
                    </a:lnTo>
                    <a:lnTo>
                      <a:pt x="72" y="414"/>
                    </a:lnTo>
                    <a:lnTo>
                      <a:pt x="36" y="438"/>
                    </a:lnTo>
                    <a:lnTo>
                      <a:pt x="30" y="468"/>
                    </a:lnTo>
                    <a:lnTo>
                      <a:pt x="72" y="498"/>
                    </a:lnTo>
                    <a:lnTo>
                      <a:pt x="78" y="529"/>
                    </a:lnTo>
                    <a:lnTo>
                      <a:pt x="108" y="541"/>
                    </a:lnTo>
                    <a:lnTo>
                      <a:pt x="114" y="583"/>
                    </a:lnTo>
                    <a:lnTo>
                      <a:pt x="156" y="577"/>
                    </a:lnTo>
                    <a:lnTo>
                      <a:pt x="210" y="577"/>
                    </a:lnTo>
                    <a:lnTo>
                      <a:pt x="180" y="631"/>
                    </a:lnTo>
                    <a:lnTo>
                      <a:pt x="90" y="709"/>
                    </a:lnTo>
                    <a:lnTo>
                      <a:pt x="192" y="655"/>
                    </a:lnTo>
                    <a:lnTo>
                      <a:pt x="270" y="571"/>
                    </a:lnTo>
                    <a:lnTo>
                      <a:pt x="264" y="553"/>
                    </a:lnTo>
                    <a:lnTo>
                      <a:pt x="312" y="492"/>
                    </a:lnTo>
                    <a:lnTo>
                      <a:pt x="324" y="517"/>
                    </a:lnTo>
                    <a:lnTo>
                      <a:pt x="330" y="547"/>
                    </a:lnTo>
                    <a:lnTo>
                      <a:pt x="366" y="517"/>
                    </a:lnTo>
                    <a:lnTo>
                      <a:pt x="408" y="492"/>
                    </a:lnTo>
                    <a:lnTo>
                      <a:pt x="426" y="505"/>
                    </a:lnTo>
                    <a:lnTo>
                      <a:pt x="516" y="523"/>
                    </a:lnTo>
                    <a:lnTo>
                      <a:pt x="516" y="96"/>
                    </a:lnTo>
                    <a:lnTo>
                      <a:pt x="504" y="96"/>
                    </a:ln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300" name="US_main"/>
              <p:cNvSpPr>
                <a:spLocks/>
              </p:cNvSpPr>
              <p:nvPr/>
            </p:nvSpPr>
            <p:spPr bwMode="auto">
              <a:xfrm>
                <a:off x="1067951" y="1717815"/>
                <a:ext cx="1428820" cy="722522"/>
              </a:xfrm>
              <a:custGeom>
                <a:avLst/>
                <a:gdLst>
                  <a:gd name="T0" fmla="*/ 2147483647 w 1099"/>
                  <a:gd name="T1" fmla="*/ 2147483647 h 571"/>
                  <a:gd name="T2" fmla="*/ 2147483647 w 1099"/>
                  <a:gd name="T3" fmla="*/ 2147483647 h 571"/>
                  <a:gd name="T4" fmla="*/ 2147483647 w 1099"/>
                  <a:gd name="T5" fmla="*/ 2147483647 h 571"/>
                  <a:gd name="T6" fmla="*/ 2147483647 w 1099"/>
                  <a:gd name="T7" fmla="*/ 2147483647 h 571"/>
                  <a:gd name="T8" fmla="*/ 2147483647 w 1099"/>
                  <a:gd name="T9" fmla="*/ 2147483647 h 571"/>
                  <a:gd name="T10" fmla="*/ 2147483647 w 1099"/>
                  <a:gd name="T11" fmla="*/ 2147483647 h 571"/>
                  <a:gd name="T12" fmla="*/ 2147483647 w 1099"/>
                  <a:gd name="T13" fmla="*/ 2147483647 h 571"/>
                  <a:gd name="T14" fmla="*/ 2147483647 w 1099"/>
                  <a:gd name="T15" fmla="*/ 2147483647 h 571"/>
                  <a:gd name="T16" fmla="*/ 2147483647 w 1099"/>
                  <a:gd name="T17" fmla="*/ 2147483647 h 571"/>
                  <a:gd name="T18" fmla="*/ 2147483647 w 1099"/>
                  <a:gd name="T19" fmla="*/ 2147483647 h 571"/>
                  <a:gd name="T20" fmla="*/ 2147483647 w 1099"/>
                  <a:gd name="T21" fmla="*/ 2147483647 h 571"/>
                  <a:gd name="T22" fmla="*/ 2147483647 w 1099"/>
                  <a:gd name="T23" fmla="*/ 2147483647 h 571"/>
                  <a:gd name="T24" fmla="*/ 2147483647 w 1099"/>
                  <a:gd name="T25" fmla="*/ 2147483647 h 571"/>
                  <a:gd name="T26" fmla="*/ 2147483647 w 1099"/>
                  <a:gd name="T27" fmla="*/ 2147483647 h 571"/>
                  <a:gd name="T28" fmla="*/ 2147483647 w 1099"/>
                  <a:gd name="T29" fmla="*/ 2147483647 h 571"/>
                  <a:gd name="T30" fmla="*/ 2147483647 w 1099"/>
                  <a:gd name="T31" fmla="*/ 2147483647 h 571"/>
                  <a:gd name="T32" fmla="*/ 2147483647 w 1099"/>
                  <a:gd name="T33" fmla="*/ 2147483647 h 571"/>
                  <a:gd name="T34" fmla="*/ 2147483647 w 1099"/>
                  <a:gd name="T35" fmla="*/ 2147483647 h 571"/>
                  <a:gd name="T36" fmla="*/ 2147483647 w 1099"/>
                  <a:gd name="T37" fmla="*/ 2147483647 h 571"/>
                  <a:gd name="T38" fmla="*/ 2147483647 w 1099"/>
                  <a:gd name="T39" fmla="*/ 2147483647 h 571"/>
                  <a:gd name="T40" fmla="*/ 2147483647 w 1099"/>
                  <a:gd name="T41" fmla="*/ 2147483647 h 571"/>
                  <a:gd name="T42" fmla="*/ 2147483647 w 1099"/>
                  <a:gd name="T43" fmla="*/ 2147483647 h 571"/>
                  <a:gd name="T44" fmla="*/ 2147483647 w 1099"/>
                  <a:gd name="T45" fmla="*/ 2147483647 h 571"/>
                  <a:gd name="T46" fmla="*/ 2147483647 w 1099"/>
                  <a:gd name="T47" fmla="*/ 2147483647 h 571"/>
                  <a:gd name="T48" fmla="*/ 2147483647 w 1099"/>
                  <a:gd name="T49" fmla="*/ 2147483647 h 571"/>
                  <a:gd name="T50" fmla="*/ 2147483647 w 1099"/>
                  <a:gd name="T51" fmla="*/ 0 h 571"/>
                  <a:gd name="T52" fmla="*/ 2147483647 w 1099"/>
                  <a:gd name="T53" fmla="*/ 2147483647 h 571"/>
                  <a:gd name="T54" fmla="*/ 2147483647 w 1099"/>
                  <a:gd name="T55" fmla="*/ 2147483647 h 571"/>
                  <a:gd name="T56" fmla="*/ 2147483647 w 1099"/>
                  <a:gd name="T57" fmla="*/ 2147483647 h 571"/>
                  <a:gd name="T58" fmla="*/ 0 w 1099"/>
                  <a:gd name="T59" fmla="*/ 2147483647 h 571"/>
                  <a:gd name="T60" fmla="*/ 2147483647 w 1099"/>
                  <a:gd name="T61" fmla="*/ 2147483647 h 571"/>
                  <a:gd name="T62" fmla="*/ 2147483647 w 1099"/>
                  <a:gd name="T63" fmla="*/ 2147483647 h 571"/>
                  <a:gd name="T64" fmla="*/ 2147483647 w 1099"/>
                  <a:gd name="T65" fmla="*/ 2147483647 h 571"/>
                  <a:gd name="T66" fmla="*/ 2147483647 w 1099"/>
                  <a:gd name="T67" fmla="*/ 2147483647 h 57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099" h="571">
                    <a:moveTo>
                      <a:pt x="252" y="439"/>
                    </a:moveTo>
                    <a:lnTo>
                      <a:pt x="300" y="439"/>
                    </a:lnTo>
                    <a:lnTo>
                      <a:pt x="318" y="427"/>
                    </a:lnTo>
                    <a:lnTo>
                      <a:pt x="348" y="433"/>
                    </a:lnTo>
                    <a:lnTo>
                      <a:pt x="396" y="487"/>
                    </a:lnTo>
                    <a:lnTo>
                      <a:pt x="432" y="475"/>
                    </a:lnTo>
                    <a:lnTo>
                      <a:pt x="456" y="493"/>
                    </a:lnTo>
                    <a:lnTo>
                      <a:pt x="474" y="523"/>
                    </a:lnTo>
                    <a:lnTo>
                      <a:pt x="498" y="547"/>
                    </a:lnTo>
                    <a:lnTo>
                      <a:pt x="528" y="553"/>
                    </a:lnTo>
                    <a:lnTo>
                      <a:pt x="528" y="511"/>
                    </a:lnTo>
                    <a:lnTo>
                      <a:pt x="552" y="487"/>
                    </a:lnTo>
                    <a:lnTo>
                      <a:pt x="570" y="469"/>
                    </a:lnTo>
                    <a:lnTo>
                      <a:pt x="630" y="475"/>
                    </a:lnTo>
                    <a:lnTo>
                      <a:pt x="666" y="475"/>
                    </a:lnTo>
                    <a:lnTo>
                      <a:pt x="714" y="463"/>
                    </a:lnTo>
                    <a:lnTo>
                      <a:pt x="744" y="463"/>
                    </a:lnTo>
                    <a:lnTo>
                      <a:pt x="774" y="457"/>
                    </a:lnTo>
                    <a:lnTo>
                      <a:pt x="780" y="487"/>
                    </a:lnTo>
                    <a:lnTo>
                      <a:pt x="792" y="529"/>
                    </a:lnTo>
                    <a:lnTo>
                      <a:pt x="829" y="565"/>
                    </a:lnTo>
                    <a:lnTo>
                      <a:pt x="847" y="571"/>
                    </a:lnTo>
                    <a:lnTo>
                      <a:pt x="841" y="511"/>
                    </a:lnTo>
                    <a:lnTo>
                      <a:pt x="817" y="445"/>
                    </a:lnTo>
                    <a:lnTo>
                      <a:pt x="847" y="409"/>
                    </a:lnTo>
                    <a:lnTo>
                      <a:pt x="877" y="397"/>
                    </a:lnTo>
                    <a:lnTo>
                      <a:pt x="931" y="343"/>
                    </a:lnTo>
                    <a:lnTo>
                      <a:pt x="925" y="307"/>
                    </a:lnTo>
                    <a:lnTo>
                      <a:pt x="919" y="271"/>
                    </a:lnTo>
                    <a:lnTo>
                      <a:pt x="937" y="283"/>
                    </a:lnTo>
                    <a:lnTo>
                      <a:pt x="943" y="277"/>
                    </a:lnTo>
                    <a:lnTo>
                      <a:pt x="937" y="253"/>
                    </a:lnTo>
                    <a:lnTo>
                      <a:pt x="949" y="253"/>
                    </a:lnTo>
                    <a:lnTo>
                      <a:pt x="967" y="247"/>
                    </a:lnTo>
                    <a:lnTo>
                      <a:pt x="979" y="217"/>
                    </a:lnTo>
                    <a:lnTo>
                      <a:pt x="1003" y="211"/>
                    </a:lnTo>
                    <a:lnTo>
                      <a:pt x="1039" y="193"/>
                    </a:lnTo>
                    <a:lnTo>
                      <a:pt x="1039" y="144"/>
                    </a:lnTo>
                    <a:lnTo>
                      <a:pt x="1099" y="114"/>
                    </a:lnTo>
                    <a:lnTo>
                      <a:pt x="1087" y="54"/>
                    </a:lnTo>
                    <a:lnTo>
                      <a:pt x="1063" y="48"/>
                    </a:lnTo>
                    <a:lnTo>
                      <a:pt x="1015" y="108"/>
                    </a:lnTo>
                    <a:lnTo>
                      <a:pt x="955" y="120"/>
                    </a:lnTo>
                    <a:lnTo>
                      <a:pt x="925" y="126"/>
                    </a:lnTo>
                    <a:lnTo>
                      <a:pt x="883" y="162"/>
                    </a:lnTo>
                    <a:lnTo>
                      <a:pt x="804" y="186"/>
                    </a:lnTo>
                    <a:lnTo>
                      <a:pt x="804" y="150"/>
                    </a:lnTo>
                    <a:lnTo>
                      <a:pt x="768" y="72"/>
                    </a:lnTo>
                    <a:lnTo>
                      <a:pt x="666" y="24"/>
                    </a:lnTo>
                    <a:lnTo>
                      <a:pt x="624" y="12"/>
                    </a:lnTo>
                    <a:lnTo>
                      <a:pt x="564" y="0"/>
                    </a:lnTo>
                    <a:lnTo>
                      <a:pt x="42" y="0"/>
                    </a:lnTo>
                    <a:lnTo>
                      <a:pt x="48" y="36"/>
                    </a:lnTo>
                    <a:lnTo>
                      <a:pt x="30" y="48"/>
                    </a:lnTo>
                    <a:lnTo>
                      <a:pt x="36" y="24"/>
                    </a:lnTo>
                    <a:lnTo>
                      <a:pt x="0" y="12"/>
                    </a:lnTo>
                    <a:lnTo>
                      <a:pt x="18" y="78"/>
                    </a:lnTo>
                    <a:lnTo>
                      <a:pt x="12" y="126"/>
                    </a:lnTo>
                    <a:lnTo>
                      <a:pt x="0" y="174"/>
                    </a:lnTo>
                    <a:lnTo>
                      <a:pt x="12" y="211"/>
                    </a:lnTo>
                    <a:lnTo>
                      <a:pt x="12" y="235"/>
                    </a:lnTo>
                    <a:lnTo>
                      <a:pt x="42" y="295"/>
                    </a:lnTo>
                    <a:lnTo>
                      <a:pt x="66" y="337"/>
                    </a:lnTo>
                    <a:lnTo>
                      <a:pt x="84" y="367"/>
                    </a:lnTo>
                    <a:lnTo>
                      <a:pt x="138" y="403"/>
                    </a:lnTo>
                    <a:lnTo>
                      <a:pt x="144" y="415"/>
                    </a:lnTo>
                    <a:lnTo>
                      <a:pt x="192" y="409"/>
                    </a:lnTo>
                    <a:lnTo>
                      <a:pt x="252" y="439"/>
                    </a:ln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grpSp>
        <p:sp>
          <p:nvSpPr>
            <p:cNvPr id="209" name="NI"/>
            <p:cNvSpPr>
              <a:spLocks/>
            </p:cNvSpPr>
            <p:nvPr/>
          </p:nvSpPr>
          <p:spPr bwMode="auto">
            <a:xfrm>
              <a:off x="2013084" y="4056764"/>
              <a:ext cx="111124" cy="112712"/>
            </a:xfrm>
            <a:custGeom>
              <a:avLst/>
              <a:gdLst>
                <a:gd name="T0" fmla="*/ 2147483647 w 14"/>
                <a:gd name="T1" fmla="*/ 2147483647 h 14"/>
                <a:gd name="T2" fmla="*/ 2147483647 w 14"/>
                <a:gd name="T3" fmla="*/ 2147483647 h 14"/>
                <a:gd name="T4" fmla="*/ 2147483647 w 14"/>
                <a:gd name="T5" fmla="*/ 0 h 14"/>
                <a:gd name="T6" fmla="*/ 2147483647 w 14"/>
                <a:gd name="T7" fmla="*/ 2147483647 h 14"/>
                <a:gd name="T8" fmla="*/ 0 w 14"/>
                <a:gd name="T9" fmla="*/ 2147483647 h 14"/>
                <a:gd name="T10" fmla="*/ 2147483647 w 14"/>
                <a:gd name="T11" fmla="*/ 2147483647 h 14"/>
                <a:gd name="T12" fmla="*/ 2147483647 w 14"/>
                <a:gd name="T13" fmla="*/ 2147483647 h 14"/>
                <a:gd name="T14" fmla="*/ 2147483647 w 14"/>
                <a:gd name="T15" fmla="*/ 2147483647 h 1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4" h="14">
                  <a:moveTo>
                    <a:pt x="14" y="14"/>
                  </a:moveTo>
                  <a:cubicBezTo>
                    <a:pt x="14" y="12"/>
                    <a:pt x="13" y="11"/>
                    <a:pt x="13" y="11"/>
                  </a:cubicBezTo>
                  <a:cubicBezTo>
                    <a:pt x="14" y="0"/>
                    <a:pt x="14" y="0"/>
                    <a:pt x="14" y="0"/>
                  </a:cubicBezTo>
                  <a:cubicBezTo>
                    <a:pt x="7" y="3"/>
                    <a:pt x="7" y="3"/>
                    <a:pt x="7" y="3"/>
                  </a:cubicBezTo>
                  <a:cubicBezTo>
                    <a:pt x="0" y="6"/>
                    <a:pt x="0" y="6"/>
                    <a:pt x="0" y="6"/>
                  </a:cubicBezTo>
                  <a:cubicBezTo>
                    <a:pt x="5" y="14"/>
                    <a:pt x="5" y="14"/>
                    <a:pt x="5" y="14"/>
                  </a:cubicBezTo>
                  <a:cubicBezTo>
                    <a:pt x="9" y="13"/>
                    <a:pt x="9" y="13"/>
                    <a:pt x="9" y="13"/>
                  </a:cubicBezTo>
                  <a:lnTo>
                    <a:pt x="14" y="14"/>
                  </a:ln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210" name="CR"/>
            <p:cNvSpPr>
              <a:spLocks/>
            </p:cNvSpPr>
            <p:nvPr/>
          </p:nvSpPr>
          <p:spPr bwMode="auto">
            <a:xfrm>
              <a:off x="2052772" y="4159952"/>
              <a:ext cx="95248" cy="69849"/>
            </a:xfrm>
            <a:custGeom>
              <a:avLst/>
              <a:gdLst>
                <a:gd name="T0" fmla="*/ 2147483647 w 12"/>
                <a:gd name="T1" fmla="*/ 2147483647 h 9"/>
                <a:gd name="T2" fmla="*/ 2147483647 w 12"/>
                <a:gd name="T3" fmla="*/ 0 h 9"/>
                <a:gd name="T4" fmla="*/ 0 w 12"/>
                <a:gd name="T5" fmla="*/ 2147483647 h 9"/>
                <a:gd name="T6" fmla="*/ 2147483647 w 12"/>
                <a:gd name="T7" fmla="*/ 2147483647 h 9"/>
                <a:gd name="T8" fmla="*/ 2147483647 w 12"/>
                <a:gd name="T9" fmla="*/ 2147483647 h 9"/>
                <a:gd name="T10" fmla="*/ 2147483647 w 12"/>
                <a:gd name="T11" fmla="*/ 2147483647 h 9"/>
                <a:gd name="T12" fmla="*/ 2147483647 w 12"/>
                <a:gd name="T13" fmla="*/ 2147483647 h 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2" h="9">
                  <a:moveTo>
                    <a:pt x="9" y="1"/>
                  </a:moveTo>
                  <a:cubicBezTo>
                    <a:pt x="4" y="0"/>
                    <a:pt x="4" y="0"/>
                    <a:pt x="4" y="0"/>
                  </a:cubicBezTo>
                  <a:cubicBezTo>
                    <a:pt x="0" y="1"/>
                    <a:pt x="0" y="1"/>
                    <a:pt x="0" y="1"/>
                  </a:cubicBezTo>
                  <a:cubicBezTo>
                    <a:pt x="2" y="3"/>
                    <a:pt x="2" y="3"/>
                    <a:pt x="2" y="3"/>
                  </a:cubicBezTo>
                  <a:cubicBezTo>
                    <a:pt x="11" y="9"/>
                    <a:pt x="11" y="9"/>
                    <a:pt x="11" y="9"/>
                  </a:cubicBezTo>
                  <a:cubicBezTo>
                    <a:pt x="12" y="5"/>
                    <a:pt x="12" y="5"/>
                    <a:pt x="12" y="5"/>
                  </a:cubicBezTo>
                  <a:cubicBezTo>
                    <a:pt x="11" y="4"/>
                    <a:pt x="10" y="2"/>
                    <a:pt x="9" y="1"/>
                  </a:cubicBez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211" name="PA"/>
            <p:cNvSpPr>
              <a:spLocks/>
            </p:cNvSpPr>
            <p:nvPr/>
          </p:nvSpPr>
          <p:spPr bwMode="auto">
            <a:xfrm>
              <a:off x="2140083" y="4199638"/>
              <a:ext cx="141287" cy="60324"/>
            </a:xfrm>
            <a:custGeom>
              <a:avLst/>
              <a:gdLst>
                <a:gd name="T0" fmla="*/ 2147483647 w 18"/>
                <a:gd name="T1" fmla="*/ 2147483647 h 8"/>
                <a:gd name="T2" fmla="*/ 2147483647 w 18"/>
                <a:gd name="T3" fmla="*/ 2147483647 h 8"/>
                <a:gd name="T4" fmla="*/ 2147483647 w 18"/>
                <a:gd name="T5" fmla="*/ 2147483647 h 8"/>
                <a:gd name="T6" fmla="*/ 2147483647 w 18"/>
                <a:gd name="T7" fmla="*/ 0 h 8"/>
                <a:gd name="T8" fmla="*/ 0 w 18"/>
                <a:gd name="T9" fmla="*/ 2147483647 h 8"/>
                <a:gd name="T10" fmla="*/ 2147483647 w 18"/>
                <a:gd name="T11" fmla="*/ 2147483647 h 8"/>
                <a:gd name="T12" fmla="*/ 2147483647 w 18"/>
                <a:gd name="T13" fmla="*/ 2147483647 h 8"/>
                <a:gd name="T14" fmla="*/ 2147483647 w 18"/>
                <a:gd name="T15" fmla="*/ 2147483647 h 8"/>
                <a:gd name="T16" fmla="*/ 2147483647 w 18"/>
                <a:gd name="T17" fmla="*/ 2147483647 h 8"/>
                <a:gd name="T18" fmla="*/ 2147483647 w 18"/>
                <a:gd name="T19" fmla="*/ 2147483647 h 8"/>
                <a:gd name="T20" fmla="*/ 2147483647 w 18"/>
                <a:gd name="T21" fmla="*/ 2147483647 h 8"/>
                <a:gd name="T22" fmla="*/ 2147483647 w 18"/>
                <a:gd name="T23" fmla="*/ 2147483647 h 8"/>
                <a:gd name="T24" fmla="*/ 2147483647 w 18"/>
                <a:gd name="T25" fmla="*/ 2147483647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8" h="8">
                  <a:moveTo>
                    <a:pt x="14" y="1"/>
                  </a:moveTo>
                  <a:cubicBezTo>
                    <a:pt x="9" y="1"/>
                    <a:pt x="9" y="1"/>
                    <a:pt x="9" y="1"/>
                  </a:cubicBezTo>
                  <a:cubicBezTo>
                    <a:pt x="9" y="1"/>
                    <a:pt x="3" y="2"/>
                    <a:pt x="2" y="1"/>
                  </a:cubicBezTo>
                  <a:cubicBezTo>
                    <a:pt x="1" y="1"/>
                    <a:pt x="1" y="1"/>
                    <a:pt x="1" y="0"/>
                  </a:cubicBezTo>
                  <a:cubicBezTo>
                    <a:pt x="0" y="4"/>
                    <a:pt x="0" y="4"/>
                    <a:pt x="0" y="4"/>
                  </a:cubicBezTo>
                  <a:cubicBezTo>
                    <a:pt x="0" y="4"/>
                    <a:pt x="3" y="7"/>
                    <a:pt x="4" y="8"/>
                  </a:cubicBezTo>
                  <a:cubicBezTo>
                    <a:pt x="5" y="8"/>
                    <a:pt x="6" y="8"/>
                    <a:pt x="6" y="8"/>
                  </a:cubicBezTo>
                  <a:cubicBezTo>
                    <a:pt x="7" y="6"/>
                    <a:pt x="7" y="6"/>
                    <a:pt x="7" y="6"/>
                  </a:cubicBezTo>
                  <a:cubicBezTo>
                    <a:pt x="10" y="3"/>
                    <a:pt x="10" y="3"/>
                    <a:pt x="10" y="3"/>
                  </a:cubicBezTo>
                  <a:cubicBezTo>
                    <a:pt x="14" y="4"/>
                    <a:pt x="14" y="4"/>
                    <a:pt x="14" y="4"/>
                  </a:cubicBezTo>
                  <a:cubicBezTo>
                    <a:pt x="15" y="7"/>
                    <a:pt x="15" y="7"/>
                    <a:pt x="15" y="7"/>
                  </a:cubicBezTo>
                  <a:cubicBezTo>
                    <a:pt x="18" y="4"/>
                    <a:pt x="18" y="4"/>
                    <a:pt x="18" y="4"/>
                  </a:cubicBezTo>
                  <a:lnTo>
                    <a:pt x="14" y="1"/>
                  </a:ln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212" name="HN"/>
            <p:cNvSpPr>
              <a:spLocks/>
            </p:cNvSpPr>
            <p:nvPr/>
          </p:nvSpPr>
          <p:spPr bwMode="auto">
            <a:xfrm>
              <a:off x="1980602" y="4034540"/>
              <a:ext cx="143607" cy="69849"/>
            </a:xfrm>
            <a:custGeom>
              <a:avLst/>
              <a:gdLst>
                <a:gd name="T0" fmla="*/ 2147483647 w 19"/>
                <a:gd name="T1" fmla="*/ 2147483647 h 9"/>
                <a:gd name="T2" fmla="*/ 2147483647 w 19"/>
                <a:gd name="T3" fmla="*/ 2147483647 h 9"/>
                <a:gd name="T4" fmla="*/ 2147483647 w 19"/>
                <a:gd name="T5" fmla="*/ 0 h 9"/>
                <a:gd name="T6" fmla="*/ 2147483647 w 19"/>
                <a:gd name="T7" fmla="*/ 2147483647 h 9"/>
                <a:gd name="T8" fmla="*/ 0 w 19"/>
                <a:gd name="T9" fmla="*/ 2147483647 h 9"/>
                <a:gd name="T10" fmla="*/ 0 w 19"/>
                <a:gd name="T11" fmla="*/ 2147483647 h 9"/>
                <a:gd name="T12" fmla="*/ 2147483647 w 19"/>
                <a:gd name="T13" fmla="*/ 2147483647 h 9"/>
                <a:gd name="T14" fmla="*/ 2147483647 w 19"/>
                <a:gd name="T15" fmla="*/ 2147483647 h 9"/>
                <a:gd name="T16" fmla="*/ 2147483647 w 19"/>
                <a:gd name="T17" fmla="*/ 2147483647 h 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9" h="9">
                  <a:moveTo>
                    <a:pt x="19" y="3"/>
                  </a:moveTo>
                  <a:cubicBezTo>
                    <a:pt x="19" y="3"/>
                    <a:pt x="10" y="1"/>
                    <a:pt x="8" y="1"/>
                  </a:cubicBezTo>
                  <a:cubicBezTo>
                    <a:pt x="7" y="1"/>
                    <a:pt x="6" y="0"/>
                    <a:pt x="5" y="0"/>
                  </a:cubicBezTo>
                  <a:cubicBezTo>
                    <a:pt x="1" y="3"/>
                    <a:pt x="1" y="3"/>
                    <a:pt x="1" y="3"/>
                  </a:cubicBezTo>
                  <a:cubicBezTo>
                    <a:pt x="0" y="6"/>
                    <a:pt x="0" y="6"/>
                    <a:pt x="0" y="6"/>
                  </a:cubicBezTo>
                  <a:cubicBezTo>
                    <a:pt x="0" y="6"/>
                    <a:pt x="0" y="6"/>
                    <a:pt x="0" y="6"/>
                  </a:cubicBezTo>
                  <a:cubicBezTo>
                    <a:pt x="5" y="9"/>
                    <a:pt x="5" y="9"/>
                    <a:pt x="5" y="9"/>
                  </a:cubicBezTo>
                  <a:cubicBezTo>
                    <a:pt x="12" y="6"/>
                    <a:pt x="12" y="6"/>
                    <a:pt x="12" y="6"/>
                  </a:cubicBezTo>
                  <a:lnTo>
                    <a:pt x="19" y="3"/>
                  </a:ln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213" name="GT"/>
            <p:cNvSpPr>
              <a:spLocks/>
            </p:cNvSpPr>
            <p:nvPr/>
          </p:nvSpPr>
          <p:spPr bwMode="auto">
            <a:xfrm>
              <a:off x="1901228" y="3993265"/>
              <a:ext cx="111857" cy="98424"/>
            </a:xfrm>
            <a:custGeom>
              <a:avLst/>
              <a:gdLst>
                <a:gd name="T0" fmla="*/ 2147483647 w 15"/>
                <a:gd name="T1" fmla="*/ 2147483647 h 12"/>
                <a:gd name="T2" fmla="*/ 2147483647 w 15"/>
                <a:gd name="T3" fmla="*/ 2147483647 h 12"/>
                <a:gd name="T4" fmla="*/ 2147483647 w 15"/>
                <a:gd name="T5" fmla="*/ 0 h 12"/>
                <a:gd name="T6" fmla="*/ 2147483647 w 15"/>
                <a:gd name="T7" fmla="*/ 0 h 12"/>
                <a:gd name="T8" fmla="*/ 2147483647 w 15"/>
                <a:gd name="T9" fmla="*/ 2147483647 h 12"/>
                <a:gd name="T10" fmla="*/ 2147483647 w 15"/>
                <a:gd name="T11" fmla="*/ 2147483647 h 12"/>
                <a:gd name="T12" fmla="*/ 2147483647 w 15"/>
                <a:gd name="T13" fmla="*/ 2147483647 h 12"/>
                <a:gd name="T14" fmla="*/ 2147483647 w 15"/>
                <a:gd name="T15" fmla="*/ 2147483647 h 12"/>
                <a:gd name="T16" fmla="*/ 0 w 15"/>
                <a:gd name="T17" fmla="*/ 2147483647 h 12"/>
                <a:gd name="T18" fmla="*/ 2147483647 w 15"/>
                <a:gd name="T19" fmla="*/ 2147483647 h 12"/>
                <a:gd name="T20" fmla="*/ 2147483647 w 15"/>
                <a:gd name="T21" fmla="*/ 2147483647 h 12"/>
                <a:gd name="T22" fmla="*/ 2147483647 w 15"/>
                <a:gd name="T23" fmla="*/ 2147483647 h 12"/>
                <a:gd name="T24" fmla="*/ 2147483647 w 15"/>
                <a:gd name="T25" fmla="*/ 2147483647 h 12"/>
                <a:gd name="T26" fmla="*/ 2147483647 w 15"/>
                <a:gd name="T27" fmla="*/ 2147483647 h 1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5" h="12">
                  <a:moveTo>
                    <a:pt x="15" y="5"/>
                  </a:moveTo>
                  <a:cubicBezTo>
                    <a:pt x="13" y="5"/>
                    <a:pt x="11" y="4"/>
                    <a:pt x="11" y="4"/>
                  </a:cubicBezTo>
                  <a:cubicBezTo>
                    <a:pt x="11" y="0"/>
                    <a:pt x="11" y="0"/>
                    <a:pt x="11" y="0"/>
                  </a:cubicBezTo>
                  <a:cubicBezTo>
                    <a:pt x="6" y="0"/>
                    <a:pt x="6" y="0"/>
                    <a:pt x="6" y="0"/>
                  </a:cubicBezTo>
                  <a:cubicBezTo>
                    <a:pt x="4" y="1"/>
                    <a:pt x="4" y="1"/>
                    <a:pt x="4" y="1"/>
                  </a:cubicBezTo>
                  <a:cubicBezTo>
                    <a:pt x="6" y="5"/>
                    <a:pt x="6" y="5"/>
                    <a:pt x="6" y="5"/>
                  </a:cubicBezTo>
                  <a:cubicBezTo>
                    <a:pt x="3" y="5"/>
                    <a:pt x="3" y="5"/>
                    <a:pt x="3" y="5"/>
                  </a:cubicBezTo>
                  <a:cubicBezTo>
                    <a:pt x="1" y="8"/>
                    <a:pt x="1" y="8"/>
                    <a:pt x="1" y="8"/>
                  </a:cubicBezTo>
                  <a:cubicBezTo>
                    <a:pt x="0" y="10"/>
                    <a:pt x="0" y="10"/>
                    <a:pt x="0" y="10"/>
                  </a:cubicBezTo>
                  <a:cubicBezTo>
                    <a:pt x="1" y="11"/>
                    <a:pt x="1" y="11"/>
                    <a:pt x="1" y="11"/>
                  </a:cubicBezTo>
                  <a:cubicBezTo>
                    <a:pt x="7" y="12"/>
                    <a:pt x="7" y="12"/>
                    <a:pt x="7" y="12"/>
                  </a:cubicBezTo>
                  <a:cubicBezTo>
                    <a:pt x="10" y="11"/>
                    <a:pt x="10" y="11"/>
                    <a:pt x="10" y="11"/>
                  </a:cubicBezTo>
                  <a:cubicBezTo>
                    <a:pt x="11" y="8"/>
                    <a:pt x="11" y="8"/>
                    <a:pt x="11" y="8"/>
                  </a:cubicBezTo>
                  <a:lnTo>
                    <a:pt x="15" y="5"/>
                  </a:ln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214" name="MX"/>
            <p:cNvSpPr>
              <a:spLocks/>
            </p:cNvSpPr>
            <p:nvPr/>
          </p:nvSpPr>
          <p:spPr bwMode="auto">
            <a:xfrm>
              <a:off x="1298037" y="3585322"/>
              <a:ext cx="740448" cy="488906"/>
            </a:xfrm>
            <a:custGeom>
              <a:avLst/>
              <a:gdLst>
                <a:gd name="T0" fmla="*/ 2147483647 w 576"/>
                <a:gd name="T1" fmla="*/ 2147483647 h 379"/>
                <a:gd name="T2" fmla="*/ 2147483647 w 576"/>
                <a:gd name="T3" fmla="*/ 2147483647 h 379"/>
                <a:gd name="T4" fmla="*/ 2147483647 w 576"/>
                <a:gd name="T5" fmla="*/ 2147483647 h 379"/>
                <a:gd name="T6" fmla="*/ 2147483647 w 576"/>
                <a:gd name="T7" fmla="*/ 2147483647 h 379"/>
                <a:gd name="T8" fmla="*/ 2147483647 w 576"/>
                <a:gd name="T9" fmla="*/ 2147483647 h 379"/>
                <a:gd name="T10" fmla="*/ 2147483647 w 576"/>
                <a:gd name="T11" fmla="*/ 2147483647 h 379"/>
                <a:gd name="T12" fmla="*/ 2147483647 w 576"/>
                <a:gd name="T13" fmla="*/ 2147483647 h 379"/>
                <a:gd name="T14" fmla="*/ 2147483647 w 576"/>
                <a:gd name="T15" fmla="*/ 2147483647 h 379"/>
                <a:gd name="T16" fmla="*/ 2147483647 w 576"/>
                <a:gd name="T17" fmla="*/ 2147483647 h 379"/>
                <a:gd name="T18" fmla="*/ 2147483647 w 576"/>
                <a:gd name="T19" fmla="*/ 2147483647 h 379"/>
                <a:gd name="T20" fmla="*/ 2147483647 w 576"/>
                <a:gd name="T21" fmla="*/ 2147483647 h 379"/>
                <a:gd name="T22" fmla="*/ 2147483647 w 576"/>
                <a:gd name="T23" fmla="*/ 2147483647 h 379"/>
                <a:gd name="T24" fmla="*/ 2147483647 w 576"/>
                <a:gd name="T25" fmla="*/ 2147483647 h 379"/>
                <a:gd name="T26" fmla="*/ 2147483647 w 576"/>
                <a:gd name="T27" fmla="*/ 2147483647 h 379"/>
                <a:gd name="T28" fmla="*/ 2147483647 w 576"/>
                <a:gd name="T29" fmla="*/ 2147483647 h 379"/>
                <a:gd name="T30" fmla="*/ 2147483647 w 576"/>
                <a:gd name="T31" fmla="*/ 2147483647 h 379"/>
                <a:gd name="T32" fmla="*/ 2147483647 w 576"/>
                <a:gd name="T33" fmla="*/ 2147483647 h 379"/>
                <a:gd name="T34" fmla="*/ 2147483647 w 576"/>
                <a:gd name="T35" fmla="*/ 2147483647 h 379"/>
                <a:gd name="T36" fmla="*/ 2147483647 w 576"/>
                <a:gd name="T37" fmla="*/ 2147483647 h 379"/>
                <a:gd name="T38" fmla="*/ 2147483647 w 576"/>
                <a:gd name="T39" fmla="*/ 2147483647 h 379"/>
                <a:gd name="T40" fmla="*/ 2147483647 w 576"/>
                <a:gd name="T41" fmla="*/ 2147483647 h 379"/>
                <a:gd name="T42" fmla="*/ 2147483647 w 576"/>
                <a:gd name="T43" fmla="*/ 2147483647 h 379"/>
                <a:gd name="T44" fmla="*/ 2147483647 w 576"/>
                <a:gd name="T45" fmla="*/ 2147483647 h 379"/>
                <a:gd name="T46" fmla="*/ 2147483647 w 576"/>
                <a:gd name="T47" fmla="*/ 2147483647 h 379"/>
                <a:gd name="T48" fmla="*/ 2147483647 w 576"/>
                <a:gd name="T49" fmla="*/ 0 h 379"/>
                <a:gd name="T50" fmla="*/ 0 w 576"/>
                <a:gd name="T51" fmla="*/ 2147483647 h 379"/>
                <a:gd name="T52" fmla="*/ 2147483647 w 576"/>
                <a:gd name="T53" fmla="*/ 2147483647 h 379"/>
                <a:gd name="T54" fmla="*/ 2147483647 w 576"/>
                <a:gd name="T55" fmla="*/ 2147483647 h 379"/>
                <a:gd name="T56" fmla="*/ 2147483647 w 576"/>
                <a:gd name="T57" fmla="*/ 2147483647 h 379"/>
                <a:gd name="T58" fmla="*/ 2147483647 w 576"/>
                <a:gd name="T59" fmla="*/ 2147483647 h 379"/>
                <a:gd name="T60" fmla="*/ 2147483647 w 576"/>
                <a:gd name="T61" fmla="*/ 2147483647 h 379"/>
                <a:gd name="T62" fmla="*/ 2147483647 w 576"/>
                <a:gd name="T63" fmla="*/ 2147483647 h 379"/>
                <a:gd name="T64" fmla="*/ 2147483647 w 576"/>
                <a:gd name="T65" fmla="*/ 2147483647 h 379"/>
                <a:gd name="T66" fmla="*/ 2147483647 w 576"/>
                <a:gd name="T67" fmla="*/ 2147483647 h 379"/>
                <a:gd name="T68" fmla="*/ 2147483647 w 576"/>
                <a:gd name="T69" fmla="*/ 2147483647 h 379"/>
                <a:gd name="T70" fmla="*/ 2147483647 w 576"/>
                <a:gd name="T71" fmla="*/ 2147483647 h 379"/>
                <a:gd name="T72" fmla="*/ 2147483647 w 576"/>
                <a:gd name="T73" fmla="*/ 2147483647 h 379"/>
                <a:gd name="T74" fmla="*/ 2147483647 w 576"/>
                <a:gd name="T75" fmla="*/ 2147483647 h 379"/>
                <a:gd name="T76" fmla="*/ 2147483647 w 576"/>
                <a:gd name="T77" fmla="*/ 2147483647 h 379"/>
                <a:gd name="T78" fmla="*/ 2147483647 w 576"/>
                <a:gd name="T79" fmla="*/ 2147483647 h 379"/>
                <a:gd name="T80" fmla="*/ 2147483647 w 576"/>
                <a:gd name="T81" fmla="*/ 2147483647 h 379"/>
                <a:gd name="T82" fmla="*/ 2147483647 w 576"/>
                <a:gd name="T83" fmla="*/ 2147483647 h 379"/>
                <a:gd name="T84" fmla="*/ 2147483647 w 576"/>
                <a:gd name="T85" fmla="*/ 2147483647 h 379"/>
                <a:gd name="T86" fmla="*/ 2147483647 w 576"/>
                <a:gd name="T87" fmla="*/ 2147483647 h 379"/>
                <a:gd name="T88" fmla="*/ 2147483647 w 576"/>
                <a:gd name="T89" fmla="*/ 2147483647 h 379"/>
                <a:gd name="T90" fmla="*/ 2147483647 w 576"/>
                <a:gd name="T91" fmla="*/ 2147483647 h 379"/>
                <a:gd name="T92" fmla="*/ 2147483647 w 576"/>
                <a:gd name="T93" fmla="*/ 2147483647 h 379"/>
                <a:gd name="T94" fmla="*/ 2147483647 w 576"/>
                <a:gd name="T95" fmla="*/ 2147483647 h 379"/>
                <a:gd name="T96" fmla="*/ 2147483647 w 576"/>
                <a:gd name="T97" fmla="*/ 2147483647 h 379"/>
                <a:gd name="T98" fmla="*/ 2147483647 w 576"/>
                <a:gd name="T99" fmla="*/ 2147483647 h 379"/>
                <a:gd name="T100" fmla="*/ 2147483647 w 576"/>
                <a:gd name="T101" fmla="*/ 2147483647 h 379"/>
                <a:gd name="T102" fmla="*/ 2147483647 w 576"/>
                <a:gd name="T103" fmla="*/ 2147483647 h 379"/>
                <a:gd name="T104" fmla="*/ 2147483647 w 576"/>
                <a:gd name="T105" fmla="*/ 2147483647 h 379"/>
                <a:gd name="T106" fmla="*/ 2147483647 w 576"/>
                <a:gd name="T107" fmla="*/ 2147483647 h 379"/>
                <a:gd name="T108" fmla="*/ 2147483647 w 576"/>
                <a:gd name="T109" fmla="*/ 2147483647 h 379"/>
                <a:gd name="T110" fmla="*/ 2147483647 w 576"/>
                <a:gd name="T111" fmla="*/ 2147483647 h 379"/>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576" h="379">
                  <a:moveTo>
                    <a:pt x="486" y="348"/>
                  </a:moveTo>
                  <a:lnTo>
                    <a:pt x="504" y="348"/>
                  </a:lnTo>
                  <a:lnTo>
                    <a:pt x="492" y="324"/>
                  </a:lnTo>
                  <a:lnTo>
                    <a:pt x="504" y="318"/>
                  </a:lnTo>
                  <a:lnTo>
                    <a:pt x="534" y="318"/>
                  </a:lnTo>
                  <a:lnTo>
                    <a:pt x="528" y="312"/>
                  </a:lnTo>
                  <a:lnTo>
                    <a:pt x="546" y="300"/>
                  </a:lnTo>
                  <a:lnTo>
                    <a:pt x="564" y="288"/>
                  </a:lnTo>
                  <a:lnTo>
                    <a:pt x="576" y="240"/>
                  </a:lnTo>
                  <a:lnTo>
                    <a:pt x="504" y="252"/>
                  </a:lnTo>
                  <a:lnTo>
                    <a:pt x="474" y="294"/>
                  </a:lnTo>
                  <a:lnTo>
                    <a:pt x="426" y="300"/>
                  </a:lnTo>
                  <a:lnTo>
                    <a:pt x="378" y="240"/>
                  </a:lnTo>
                  <a:lnTo>
                    <a:pt x="372" y="162"/>
                  </a:lnTo>
                  <a:lnTo>
                    <a:pt x="384" y="144"/>
                  </a:lnTo>
                  <a:lnTo>
                    <a:pt x="354" y="138"/>
                  </a:lnTo>
                  <a:lnTo>
                    <a:pt x="330" y="114"/>
                  </a:lnTo>
                  <a:lnTo>
                    <a:pt x="312" y="84"/>
                  </a:lnTo>
                  <a:lnTo>
                    <a:pt x="288" y="66"/>
                  </a:lnTo>
                  <a:lnTo>
                    <a:pt x="252" y="78"/>
                  </a:lnTo>
                  <a:lnTo>
                    <a:pt x="204" y="24"/>
                  </a:lnTo>
                  <a:lnTo>
                    <a:pt x="174" y="18"/>
                  </a:lnTo>
                  <a:lnTo>
                    <a:pt x="156" y="30"/>
                  </a:lnTo>
                  <a:lnTo>
                    <a:pt x="108" y="30"/>
                  </a:lnTo>
                  <a:lnTo>
                    <a:pt x="48" y="0"/>
                  </a:lnTo>
                  <a:lnTo>
                    <a:pt x="0" y="6"/>
                  </a:lnTo>
                  <a:lnTo>
                    <a:pt x="36" y="72"/>
                  </a:lnTo>
                  <a:lnTo>
                    <a:pt x="60" y="108"/>
                  </a:lnTo>
                  <a:lnTo>
                    <a:pt x="54" y="120"/>
                  </a:lnTo>
                  <a:lnTo>
                    <a:pt x="96" y="150"/>
                  </a:lnTo>
                  <a:lnTo>
                    <a:pt x="102" y="180"/>
                  </a:lnTo>
                  <a:lnTo>
                    <a:pt x="120" y="192"/>
                  </a:lnTo>
                  <a:lnTo>
                    <a:pt x="144" y="216"/>
                  </a:lnTo>
                  <a:lnTo>
                    <a:pt x="150" y="198"/>
                  </a:lnTo>
                  <a:lnTo>
                    <a:pt x="126" y="180"/>
                  </a:lnTo>
                  <a:lnTo>
                    <a:pt x="102" y="126"/>
                  </a:lnTo>
                  <a:lnTo>
                    <a:pt x="60" y="66"/>
                  </a:lnTo>
                  <a:lnTo>
                    <a:pt x="48" y="30"/>
                  </a:lnTo>
                  <a:lnTo>
                    <a:pt x="78" y="42"/>
                  </a:lnTo>
                  <a:lnTo>
                    <a:pt x="108" y="102"/>
                  </a:lnTo>
                  <a:lnTo>
                    <a:pt x="120" y="120"/>
                  </a:lnTo>
                  <a:lnTo>
                    <a:pt x="150" y="138"/>
                  </a:lnTo>
                  <a:lnTo>
                    <a:pt x="150" y="156"/>
                  </a:lnTo>
                  <a:lnTo>
                    <a:pt x="174" y="168"/>
                  </a:lnTo>
                  <a:lnTo>
                    <a:pt x="186" y="186"/>
                  </a:lnTo>
                  <a:lnTo>
                    <a:pt x="216" y="216"/>
                  </a:lnTo>
                  <a:lnTo>
                    <a:pt x="222" y="258"/>
                  </a:lnTo>
                  <a:lnTo>
                    <a:pt x="222" y="276"/>
                  </a:lnTo>
                  <a:lnTo>
                    <a:pt x="300" y="324"/>
                  </a:lnTo>
                  <a:lnTo>
                    <a:pt x="336" y="342"/>
                  </a:lnTo>
                  <a:lnTo>
                    <a:pt x="402" y="360"/>
                  </a:lnTo>
                  <a:lnTo>
                    <a:pt x="420" y="354"/>
                  </a:lnTo>
                  <a:lnTo>
                    <a:pt x="438" y="354"/>
                  </a:lnTo>
                  <a:lnTo>
                    <a:pt x="468" y="379"/>
                  </a:lnTo>
                  <a:lnTo>
                    <a:pt x="474" y="366"/>
                  </a:lnTo>
                  <a:lnTo>
                    <a:pt x="486" y="348"/>
                  </a:lnTo>
                  <a:close/>
                </a:path>
              </a:pathLst>
            </a:custGeom>
            <a:solidFill>
              <a:schemeClr val="accent1"/>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215" name="GL"/>
            <p:cNvSpPr>
              <a:spLocks/>
            </p:cNvSpPr>
            <p:nvPr/>
          </p:nvSpPr>
          <p:spPr bwMode="auto">
            <a:xfrm rot="20747712">
              <a:off x="2517905" y="1616916"/>
              <a:ext cx="798385" cy="894530"/>
            </a:xfrm>
            <a:custGeom>
              <a:avLst/>
              <a:gdLst>
                <a:gd name="T0" fmla="*/ 2147483647 w 1125"/>
                <a:gd name="T1" fmla="*/ 2147483647 h 2047"/>
                <a:gd name="T2" fmla="*/ 2147483647 w 1125"/>
                <a:gd name="T3" fmla="*/ 2147483647 h 2047"/>
                <a:gd name="T4" fmla="*/ 2147483647 w 1125"/>
                <a:gd name="T5" fmla="*/ 2147483647 h 2047"/>
                <a:gd name="T6" fmla="*/ 2147483647 w 1125"/>
                <a:gd name="T7" fmla="*/ 2147483647 h 2047"/>
                <a:gd name="T8" fmla="*/ 2147483647 w 1125"/>
                <a:gd name="T9" fmla="*/ 2147483647 h 2047"/>
                <a:gd name="T10" fmla="*/ 2147483647 w 1125"/>
                <a:gd name="T11" fmla="*/ 2147483647 h 2047"/>
                <a:gd name="T12" fmla="*/ 2147483647 w 1125"/>
                <a:gd name="T13" fmla="*/ 2147483647 h 2047"/>
                <a:gd name="T14" fmla="*/ 2147483647 w 1125"/>
                <a:gd name="T15" fmla="*/ 2147483647 h 2047"/>
                <a:gd name="T16" fmla="*/ 2147483647 w 1125"/>
                <a:gd name="T17" fmla="*/ 2147483647 h 2047"/>
                <a:gd name="T18" fmla="*/ 2147483647 w 1125"/>
                <a:gd name="T19" fmla="*/ 2147483647 h 2047"/>
                <a:gd name="T20" fmla="*/ 2147483647 w 1125"/>
                <a:gd name="T21" fmla="*/ 2147483647 h 2047"/>
                <a:gd name="T22" fmla="*/ 2147483647 w 1125"/>
                <a:gd name="T23" fmla="*/ 2147483647 h 2047"/>
                <a:gd name="T24" fmla="*/ 2147483647 w 1125"/>
                <a:gd name="T25" fmla="*/ 2147483647 h 2047"/>
                <a:gd name="T26" fmla="*/ 2147483647 w 1125"/>
                <a:gd name="T27" fmla="*/ 2147483647 h 2047"/>
                <a:gd name="T28" fmla="*/ 2147483647 w 1125"/>
                <a:gd name="T29" fmla="*/ 2147483647 h 2047"/>
                <a:gd name="T30" fmla="*/ 2147483647 w 1125"/>
                <a:gd name="T31" fmla="*/ 2147483647 h 2047"/>
                <a:gd name="T32" fmla="*/ 2147483647 w 1125"/>
                <a:gd name="T33" fmla="*/ 2147483647 h 2047"/>
                <a:gd name="T34" fmla="*/ 2147483647 w 1125"/>
                <a:gd name="T35" fmla="*/ 2147483647 h 2047"/>
                <a:gd name="T36" fmla="*/ 2147483647 w 1125"/>
                <a:gd name="T37" fmla="*/ 2147483647 h 2047"/>
                <a:gd name="T38" fmla="*/ 2147483647 w 1125"/>
                <a:gd name="T39" fmla="*/ 2147483647 h 2047"/>
                <a:gd name="T40" fmla="*/ 2147483647 w 1125"/>
                <a:gd name="T41" fmla="*/ 2147483647 h 2047"/>
                <a:gd name="T42" fmla="*/ 2147483647 w 1125"/>
                <a:gd name="T43" fmla="*/ 2147483647 h 2047"/>
                <a:gd name="T44" fmla="*/ 2147483647 w 1125"/>
                <a:gd name="T45" fmla="*/ 2147483647 h 2047"/>
                <a:gd name="T46" fmla="*/ 2147483647 w 1125"/>
                <a:gd name="T47" fmla="*/ 2147483647 h 2047"/>
                <a:gd name="T48" fmla="*/ 2147483647 w 1125"/>
                <a:gd name="T49" fmla="*/ 2147483647 h 2047"/>
                <a:gd name="T50" fmla="*/ 2147483647 w 1125"/>
                <a:gd name="T51" fmla="*/ 2147483647 h 2047"/>
                <a:gd name="T52" fmla="*/ 2147483647 w 1125"/>
                <a:gd name="T53" fmla="*/ 2147483647 h 2047"/>
                <a:gd name="T54" fmla="*/ 2147483647 w 1125"/>
                <a:gd name="T55" fmla="*/ 2147483647 h 2047"/>
                <a:gd name="T56" fmla="*/ 2147483647 w 1125"/>
                <a:gd name="T57" fmla="*/ 2147483647 h 2047"/>
                <a:gd name="T58" fmla="*/ 2147483647 w 1125"/>
                <a:gd name="T59" fmla="*/ 2147483647 h 2047"/>
                <a:gd name="T60" fmla="*/ 2147483647 w 1125"/>
                <a:gd name="T61" fmla="*/ 2147483647 h 2047"/>
                <a:gd name="T62" fmla="*/ 2147483647 w 1125"/>
                <a:gd name="T63" fmla="*/ 2147483647 h 2047"/>
                <a:gd name="T64" fmla="*/ 2147483647 w 1125"/>
                <a:gd name="T65" fmla="*/ 2147483647 h 2047"/>
                <a:gd name="T66" fmla="*/ 2147483647 w 1125"/>
                <a:gd name="T67" fmla="*/ 2147483647 h 2047"/>
                <a:gd name="T68" fmla="*/ 2147483647 w 1125"/>
                <a:gd name="T69" fmla="*/ 2147483647 h 2047"/>
                <a:gd name="T70" fmla="*/ 2147483647 w 1125"/>
                <a:gd name="T71" fmla="*/ 2147483647 h 2047"/>
                <a:gd name="T72" fmla="*/ 2147483647 w 1125"/>
                <a:gd name="T73" fmla="*/ 2147483647 h 2047"/>
                <a:gd name="T74" fmla="*/ 2147483647 w 1125"/>
                <a:gd name="T75" fmla="*/ 2147483647 h 2047"/>
                <a:gd name="T76" fmla="*/ 2147483647 w 1125"/>
                <a:gd name="T77" fmla="*/ 2147483647 h 2047"/>
                <a:gd name="T78" fmla="*/ 2147483647 w 1125"/>
                <a:gd name="T79" fmla="*/ 2147483647 h 2047"/>
                <a:gd name="T80" fmla="*/ 2147483647 w 1125"/>
                <a:gd name="T81" fmla="*/ 2147483647 h 2047"/>
                <a:gd name="T82" fmla="*/ 2147483647 w 1125"/>
                <a:gd name="T83" fmla="*/ 2147483647 h 2047"/>
                <a:gd name="T84" fmla="*/ 2147483647 w 1125"/>
                <a:gd name="T85" fmla="*/ 2147483647 h 2047"/>
                <a:gd name="T86" fmla="*/ 2147483647 w 1125"/>
                <a:gd name="T87" fmla="*/ 2147483647 h 2047"/>
                <a:gd name="T88" fmla="*/ 2147483647 w 1125"/>
                <a:gd name="T89" fmla="*/ 2147483647 h 2047"/>
                <a:gd name="T90" fmla="*/ 2147483647 w 1125"/>
                <a:gd name="T91" fmla="*/ 2147483647 h 2047"/>
                <a:gd name="T92" fmla="*/ 2147483647 w 1125"/>
                <a:gd name="T93" fmla="*/ 2147483647 h 2047"/>
                <a:gd name="T94" fmla="*/ 2147483647 w 1125"/>
                <a:gd name="T95" fmla="*/ 2147483647 h 2047"/>
                <a:gd name="T96" fmla="*/ 2147483647 w 1125"/>
                <a:gd name="T97" fmla="*/ 2147483647 h 2047"/>
                <a:gd name="T98" fmla="*/ 2147483647 w 1125"/>
                <a:gd name="T99" fmla="*/ 2147483647 h 2047"/>
                <a:gd name="T100" fmla="*/ 2147483647 w 1125"/>
                <a:gd name="T101" fmla="*/ 2147483647 h 2047"/>
                <a:gd name="T102" fmla="*/ 2147483647 w 1125"/>
                <a:gd name="T103" fmla="*/ 2147483647 h 2047"/>
                <a:gd name="T104" fmla="*/ 2147483647 w 1125"/>
                <a:gd name="T105" fmla="*/ 2147483647 h 2047"/>
                <a:gd name="T106" fmla="*/ 2147483647 w 1125"/>
                <a:gd name="T107" fmla="*/ 2147483647 h 2047"/>
                <a:gd name="T108" fmla="*/ 2147483647 w 1125"/>
                <a:gd name="T109" fmla="*/ 2147483647 h 2047"/>
                <a:gd name="T110" fmla="*/ 2147483647 w 1125"/>
                <a:gd name="T111" fmla="*/ 2147483647 h 2047"/>
                <a:gd name="T112" fmla="*/ 2147483647 w 1125"/>
                <a:gd name="T113" fmla="*/ 2147483647 h 2047"/>
                <a:gd name="T114" fmla="*/ 2147483647 w 1125"/>
                <a:gd name="T115" fmla="*/ 2147483647 h 2047"/>
                <a:gd name="T116" fmla="*/ 2147483647 w 1125"/>
                <a:gd name="T117" fmla="*/ 2147483647 h 2047"/>
                <a:gd name="T118" fmla="*/ 2147483647 w 1125"/>
                <a:gd name="T119" fmla="*/ 2147483647 h 2047"/>
                <a:gd name="T120" fmla="*/ 2147483647 w 1125"/>
                <a:gd name="T121" fmla="*/ 2147483647 h 2047"/>
                <a:gd name="T122" fmla="*/ 2147483647 w 1125"/>
                <a:gd name="T123" fmla="*/ 2147483647 h 2047"/>
                <a:gd name="T124" fmla="*/ 2147483647 w 1125"/>
                <a:gd name="T125" fmla="*/ 2147483647 h 2047"/>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125" h="2047">
                  <a:moveTo>
                    <a:pt x="718" y="105"/>
                  </a:moveTo>
                  <a:lnTo>
                    <a:pt x="722" y="102"/>
                  </a:lnTo>
                  <a:lnTo>
                    <a:pt x="730" y="95"/>
                  </a:lnTo>
                  <a:lnTo>
                    <a:pt x="740" y="83"/>
                  </a:lnTo>
                  <a:lnTo>
                    <a:pt x="751" y="70"/>
                  </a:lnTo>
                  <a:lnTo>
                    <a:pt x="760" y="58"/>
                  </a:lnTo>
                  <a:lnTo>
                    <a:pt x="764" y="46"/>
                  </a:lnTo>
                  <a:lnTo>
                    <a:pt x="761" y="37"/>
                  </a:lnTo>
                  <a:lnTo>
                    <a:pt x="748" y="32"/>
                  </a:lnTo>
                  <a:lnTo>
                    <a:pt x="735" y="30"/>
                  </a:lnTo>
                  <a:lnTo>
                    <a:pt x="725" y="27"/>
                  </a:lnTo>
                  <a:lnTo>
                    <a:pt x="716" y="22"/>
                  </a:lnTo>
                  <a:lnTo>
                    <a:pt x="708" y="17"/>
                  </a:lnTo>
                  <a:lnTo>
                    <a:pt x="700" y="13"/>
                  </a:lnTo>
                  <a:lnTo>
                    <a:pt x="693" y="8"/>
                  </a:lnTo>
                  <a:lnTo>
                    <a:pt x="686" y="4"/>
                  </a:lnTo>
                  <a:lnTo>
                    <a:pt x="678" y="1"/>
                  </a:lnTo>
                  <a:lnTo>
                    <a:pt x="672" y="0"/>
                  </a:lnTo>
                  <a:lnTo>
                    <a:pt x="665" y="0"/>
                  </a:lnTo>
                  <a:lnTo>
                    <a:pt x="658" y="0"/>
                  </a:lnTo>
                  <a:lnTo>
                    <a:pt x="651" y="2"/>
                  </a:lnTo>
                  <a:lnTo>
                    <a:pt x="633" y="7"/>
                  </a:lnTo>
                  <a:lnTo>
                    <a:pt x="610" y="13"/>
                  </a:lnTo>
                  <a:lnTo>
                    <a:pt x="583" y="19"/>
                  </a:lnTo>
                  <a:lnTo>
                    <a:pt x="558" y="25"/>
                  </a:lnTo>
                  <a:lnTo>
                    <a:pt x="534" y="34"/>
                  </a:lnTo>
                  <a:lnTo>
                    <a:pt x="512" y="42"/>
                  </a:lnTo>
                  <a:lnTo>
                    <a:pt x="496" y="52"/>
                  </a:lnTo>
                  <a:lnTo>
                    <a:pt x="487" y="62"/>
                  </a:lnTo>
                  <a:lnTo>
                    <a:pt x="483" y="74"/>
                  </a:lnTo>
                  <a:lnTo>
                    <a:pt x="478" y="84"/>
                  </a:lnTo>
                  <a:lnTo>
                    <a:pt x="474" y="93"/>
                  </a:lnTo>
                  <a:lnTo>
                    <a:pt x="468" y="102"/>
                  </a:lnTo>
                  <a:lnTo>
                    <a:pt x="461" y="107"/>
                  </a:lnTo>
                  <a:lnTo>
                    <a:pt x="452" y="110"/>
                  </a:lnTo>
                  <a:lnTo>
                    <a:pt x="440" y="110"/>
                  </a:lnTo>
                  <a:lnTo>
                    <a:pt x="426" y="105"/>
                  </a:lnTo>
                  <a:lnTo>
                    <a:pt x="409" y="100"/>
                  </a:lnTo>
                  <a:lnTo>
                    <a:pt x="391" y="98"/>
                  </a:lnTo>
                  <a:lnTo>
                    <a:pt x="371" y="100"/>
                  </a:lnTo>
                  <a:lnTo>
                    <a:pt x="351" y="105"/>
                  </a:lnTo>
                  <a:lnTo>
                    <a:pt x="334" y="112"/>
                  </a:lnTo>
                  <a:lnTo>
                    <a:pt x="319" y="120"/>
                  </a:lnTo>
                  <a:lnTo>
                    <a:pt x="306" y="130"/>
                  </a:lnTo>
                  <a:lnTo>
                    <a:pt x="300" y="141"/>
                  </a:lnTo>
                  <a:lnTo>
                    <a:pt x="291" y="151"/>
                  </a:lnTo>
                  <a:lnTo>
                    <a:pt x="278" y="161"/>
                  </a:lnTo>
                  <a:lnTo>
                    <a:pt x="260" y="172"/>
                  </a:lnTo>
                  <a:lnTo>
                    <a:pt x="241" y="182"/>
                  </a:lnTo>
                  <a:lnTo>
                    <a:pt x="221" y="194"/>
                  </a:lnTo>
                  <a:lnTo>
                    <a:pt x="204" y="208"/>
                  </a:lnTo>
                  <a:lnTo>
                    <a:pt x="191" y="224"/>
                  </a:lnTo>
                  <a:lnTo>
                    <a:pt x="184" y="242"/>
                  </a:lnTo>
                  <a:lnTo>
                    <a:pt x="180" y="261"/>
                  </a:lnTo>
                  <a:lnTo>
                    <a:pt x="172" y="277"/>
                  </a:lnTo>
                  <a:lnTo>
                    <a:pt x="160" y="289"/>
                  </a:lnTo>
                  <a:lnTo>
                    <a:pt x="146" y="299"/>
                  </a:lnTo>
                  <a:lnTo>
                    <a:pt x="130" y="305"/>
                  </a:lnTo>
                  <a:lnTo>
                    <a:pt x="113" y="311"/>
                  </a:lnTo>
                  <a:lnTo>
                    <a:pt x="94" y="314"/>
                  </a:lnTo>
                  <a:lnTo>
                    <a:pt x="76" y="315"/>
                  </a:lnTo>
                  <a:lnTo>
                    <a:pt x="59" y="316"/>
                  </a:lnTo>
                  <a:lnTo>
                    <a:pt x="44" y="319"/>
                  </a:lnTo>
                  <a:lnTo>
                    <a:pt x="31" y="325"/>
                  </a:lnTo>
                  <a:lnTo>
                    <a:pt x="22" y="332"/>
                  </a:lnTo>
                  <a:lnTo>
                    <a:pt x="16" y="342"/>
                  </a:lnTo>
                  <a:lnTo>
                    <a:pt x="13" y="355"/>
                  </a:lnTo>
                  <a:lnTo>
                    <a:pt x="11" y="369"/>
                  </a:lnTo>
                  <a:lnTo>
                    <a:pt x="15" y="386"/>
                  </a:lnTo>
                  <a:lnTo>
                    <a:pt x="17" y="402"/>
                  </a:lnTo>
                  <a:lnTo>
                    <a:pt x="16" y="415"/>
                  </a:lnTo>
                  <a:lnTo>
                    <a:pt x="13" y="425"/>
                  </a:lnTo>
                  <a:lnTo>
                    <a:pt x="9" y="434"/>
                  </a:lnTo>
                  <a:lnTo>
                    <a:pt x="4" y="444"/>
                  </a:lnTo>
                  <a:lnTo>
                    <a:pt x="1" y="454"/>
                  </a:lnTo>
                  <a:lnTo>
                    <a:pt x="0" y="466"/>
                  </a:lnTo>
                  <a:lnTo>
                    <a:pt x="2" y="482"/>
                  </a:lnTo>
                  <a:lnTo>
                    <a:pt x="7" y="499"/>
                  </a:lnTo>
                  <a:lnTo>
                    <a:pt x="13" y="515"/>
                  </a:lnTo>
                  <a:lnTo>
                    <a:pt x="18" y="530"/>
                  </a:lnTo>
                  <a:lnTo>
                    <a:pt x="25" y="543"/>
                  </a:lnTo>
                  <a:lnTo>
                    <a:pt x="34" y="553"/>
                  </a:lnTo>
                  <a:lnTo>
                    <a:pt x="45" y="562"/>
                  </a:lnTo>
                  <a:lnTo>
                    <a:pt x="59" y="568"/>
                  </a:lnTo>
                  <a:lnTo>
                    <a:pt x="76" y="572"/>
                  </a:lnTo>
                  <a:lnTo>
                    <a:pt x="94" y="575"/>
                  </a:lnTo>
                  <a:lnTo>
                    <a:pt x="113" y="579"/>
                  </a:lnTo>
                  <a:lnTo>
                    <a:pt x="130" y="584"/>
                  </a:lnTo>
                  <a:lnTo>
                    <a:pt x="145" y="593"/>
                  </a:lnTo>
                  <a:lnTo>
                    <a:pt x="159" y="605"/>
                  </a:lnTo>
                  <a:lnTo>
                    <a:pt x="169" y="621"/>
                  </a:lnTo>
                  <a:lnTo>
                    <a:pt x="176" y="642"/>
                  </a:lnTo>
                  <a:lnTo>
                    <a:pt x="179" y="668"/>
                  </a:lnTo>
                  <a:lnTo>
                    <a:pt x="181" y="695"/>
                  </a:lnTo>
                  <a:lnTo>
                    <a:pt x="185" y="718"/>
                  </a:lnTo>
                  <a:lnTo>
                    <a:pt x="191" y="740"/>
                  </a:lnTo>
                  <a:lnTo>
                    <a:pt x="198" y="762"/>
                  </a:lnTo>
                  <a:lnTo>
                    <a:pt x="203" y="785"/>
                  </a:lnTo>
                  <a:lnTo>
                    <a:pt x="206" y="810"/>
                  </a:lnTo>
                  <a:lnTo>
                    <a:pt x="207" y="841"/>
                  </a:lnTo>
                  <a:lnTo>
                    <a:pt x="203" y="878"/>
                  </a:lnTo>
                  <a:lnTo>
                    <a:pt x="196" y="915"/>
                  </a:lnTo>
                  <a:lnTo>
                    <a:pt x="190" y="945"/>
                  </a:lnTo>
                  <a:lnTo>
                    <a:pt x="184" y="968"/>
                  </a:lnTo>
                  <a:lnTo>
                    <a:pt x="181" y="986"/>
                  </a:lnTo>
                  <a:lnTo>
                    <a:pt x="180" y="999"/>
                  </a:lnTo>
                  <a:lnTo>
                    <a:pt x="180" y="1009"/>
                  </a:lnTo>
                  <a:lnTo>
                    <a:pt x="184" y="1016"/>
                  </a:lnTo>
                  <a:lnTo>
                    <a:pt x="191" y="1022"/>
                  </a:lnTo>
                  <a:lnTo>
                    <a:pt x="200" y="1028"/>
                  </a:lnTo>
                  <a:lnTo>
                    <a:pt x="210" y="1034"/>
                  </a:lnTo>
                  <a:lnTo>
                    <a:pt x="218" y="1042"/>
                  </a:lnTo>
                  <a:lnTo>
                    <a:pt x="225" y="1050"/>
                  </a:lnTo>
                  <a:lnTo>
                    <a:pt x="227" y="1057"/>
                  </a:lnTo>
                  <a:lnTo>
                    <a:pt x="225" y="1062"/>
                  </a:lnTo>
                  <a:lnTo>
                    <a:pt x="217" y="1067"/>
                  </a:lnTo>
                  <a:lnTo>
                    <a:pt x="203" y="1068"/>
                  </a:lnTo>
                  <a:lnTo>
                    <a:pt x="189" y="1070"/>
                  </a:lnTo>
                  <a:lnTo>
                    <a:pt x="183" y="1075"/>
                  </a:lnTo>
                  <a:lnTo>
                    <a:pt x="183" y="1082"/>
                  </a:lnTo>
                  <a:lnTo>
                    <a:pt x="188" y="1089"/>
                  </a:lnTo>
                  <a:lnTo>
                    <a:pt x="194" y="1097"/>
                  </a:lnTo>
                  <a:lnTo>
                    <a:pt x="200" y="1104"/>
                  </a:lnTo>
                  <a:lnTo>
                    <a:pt x="206" y="1108"/>
                  </a:lnTo>
                  <a:lnTo>
                    <a:pt x="208" y="1111"/>
                  </a:lnTo>
                  <a:lnTo>
                    <a:pt x="206" y="1111"/>
                  </a:lnTo>
                  <a:lnTo>
                    <a:pt x="200" y="1110"/>
                  </a:lnTo>
                  <a:lnTo>
                    <a:pt x="191" y="1108"/>
                  </a:lnTo>
                  <a:lnTo>
                    <a:pt x="182" y="1108"/>
                  </a:lnTo>
                  <a:lnTo>
                    <a:pt x="172" y="1111"/>
                  </a:lnTo>
                  <a:lnTo>
                    <a:pt x="162" y="1115"/>
                  </a:lnTo>
                  <a:lnTo>
                    <a:pt x="157" y="1123"/>
                  </a:lnTo>
                  <a:lnTo>
                    <a:pt x="154" y="1135"/>
                  </a:lnTo>
                  <a:lnTo>
                    <a:pt x="157" y="1149"/>
                  </a:lnTo>
                  <a:lnTo>
                    <a:pt x="164" y="1163"/>
                  </a:lnTo>
                  <a:lnTo>
                    <a:pt x="173" y="1176"/>
                  </a:lnTo>
                  <a:lnTo>
                    <a:pt x="184" y="1187"/>
                  </a:lnTo>
                  <a:lnTo>
                    <a:pt x="196" y="1196"/>
                  </a:lnTo>
                  <a:lnTo>
                    <a:pt x="207" y="1201"/>
                  </a:lnTo>
                  <a:lnTo>
                    <a:pt x="219" y="1201"/>
                  </a:lnTo>
                  <a:lnTo>
                    <a:pt x="227" y="1195"/>
                  </a:lnTo>
                  <a:lnTo>
                    <a:pt x="234" y="1186"/>
                  </a:lnTo>
                  <a:lnTo>
                    <a:pt x="238" y="1178"/>
                  </a:lnTo>
                  <a:lnTo>
                    <a:pt x="244" y="1171"/>
                  </a:lnTo>
                  <a:lnTo>
                    <a:pt x="249" y="1165"/>
                  </a:lnTo>
                  <a:lnTo>
                    <a:pt x="252" y="1161"/>
                  </a:lnTo>
                  <a:lnTo>
                    <a:pt x="258" y="1158"/>
                  </a:lnTo>
                  <a:lnTo>
                    <a:pt x="263" y="1158"/>
                  </a:lnTo>
                  <a:lnTo>
                    <a:pt x="270" y="1159"/>
                  </a:lnTo>
                  <a:lnTo>
                    <a:pt x="278" y="1174"/>
                  </a:lnTo>
                  <a:lnTo>
                    <a:pt x="275" y="1202"/>
                  </a:lnTo>
                  <a:lnTo>
                    <a:pt x="267" y="1233"/>
                  </a:lnTo>
                  <a:lnTo>
                    <a:pt x="258" y="1255"/>
                  </a:lnTo>
                  <a:lnTo>
                    <a:pt x="252" y="1261"/>
                  </a:lnTo>
                  <a:lnTo>
                    <a:pt x="244" y="1265"/>
                  </a:lnTo>
                  <a:lnTo>
                    <a:pt x="234" y="1270"/>
                  </a:lnTo>
                  <a:lnTo>
                    <a:pt x="223" y="1273"/>
                  </a:lnTo>
                  <a:lnTo>
                    <a:pt x="212" y="1279"/>
                  </a:lnTo>
                  <a:lnTo>
                    <a:pt x="202" y="1285"/>
                  </a:lnTo>
                  <a:lnTo>
                    <a:pt x="192" y="1292"/>
                  </a:lnTo>
                  <a:lnTo>
                    <a:pt x="184" y="1302"/>
                  </a:lnTo>
                  <a:lnTo>
                    <a:pt x="177" y="1318"/>
                  </a:lnTo>
                  <a:lnTo>
                    <a:pt x="169" y="1340"/>
                  </a:lnTo>
                  <a:lnTo>
                    <a:pt x="161" y="1369"/>
                  </a:lnTo>
                  <a:lnTo>
                    <a:pt x="154" y="1399"/>
                  </a:lnTo>
                  <a:lnTo>
                    <a:pt x="149" y="1430"/>
                  </a:lnTo>
                  <a:lnTo>
                    <a:pt x="144" y="1459"/>
                  </a:lnTo>
                  <a:lnTo>
                    <a:pt x="142" y="1483"/>
                  </a:lnTo>
                  <a:lnTo>
                    <a:pt x="143" y="1500"/>
                  </a:lnTo>
                  <a:lnTo>
                    <a:pt x="146" y="1514"/>
                  </a:lnTo>
                  <a:lnTo>
                    <a:pt x="153" y="1530"/>
                  </a:lnTo>
                  <a:lnTo>
                    <a:pt x="160" y="1547"/>
                  </a:lnTo>
                  <a:lnTo>
                    <a:pt x="168" y="1566"/>
                  </a:lnTo>
                  <a:lnTo>
                    <a:pt x="174" y="1585"/>
                  </a:lnTo>
                  <a:lnTo>
                    <a:pt x="180" y="1606"/>
                  </a:lnTo>
                  <a:lnTo>
                    <a:pt x="181" y="1628"/>
                  </a:lnTo>
                  <a:lnTo>
                    <a:pt x="179" y="1650"/>
                  </a:lnTo>
                  <a:lnTo>
                    <a:pt x="176" y="1672"/>
                  </a:lnTo>
                  <a:lnTo>
                    <a:pt x="179" y="1694"/>
                  </a:lnTo>
                  <a:lnTo>
                    <a:pt x="184" y="1714"/>
                  </a:lnTo>
                  <a:lnTo>
                    <a:pt x="191" y="1735"/>
                  </a:lnTo>
                  <a:lnTo>
                    <a:pt x="200" y="1754"/>
                  </a:lnTo>
                  <a:lnTo>
                    <a:pt x="210" y="1772"/>
                  </a:lnTo>
                  <a:lnTo>
                    <a:pt x="219" y="1791"/>
                  </a:lnTo>
                  <a:lnTo>
                    <a:pt x="227" y="1807"/>
                  </a:lnTo>
                  <a:lnTo>
                    <a:pt x="235" y="1825"/>
                  </a:lnTo>
                  <a:lnTo>
                    <a:pt x="245" y="1847"/>
                  </a:lnTo>
                  <a:lnTo>
                    <a:pt x="257" y="1872"/>
                  </a:lnTo>
                  <a:lnTo>
                    <a:pt x="270" y="1897"/>
                  </a:lnTo>
                  <a:lnTo>
                    <a:pt x="283" y="1918"/>
                  </a:lnTo>
                  <a:lnTo>
                    <a:pt x="300" y="1937"/>
                  </a:lnTo>
                  <a:lnTo>
                    <a:pt x="315" y="1948"/>
                  </a:lnTo>
                  <a:lnTo>
                    <a:pt x="331" y="1951"/>
                  </a:lnTo>
                  <a:lnTo>
                    <a:pt x="346" y="1950"/>
                  </a:lnTo>
                  <a:lnTo>
                    <a:pt x="358" y="1953"/>
                  </a:lnTo>
                  <a:lnTo>
                    <a:pt x="370" y="1959"/>
                  </a:lnTo>
                  <a:lnTo>
                    <a:pt x="379" y="1967"/>
                  </a:lnTo>
                  <a:lnTo>
                    <a:pt x="386" y="1977"/>
                  </a:lnTo>
                  <a:lnTo>
                    <a:pt x="392" y="1988"/>
                  </a:lnTo>
                  <a:lnTo>
                    <a:pt x="395" y="1999"/>
                  </a:lnTo>
                  <a:lnTo>
                    <a:pt x="396" y="2011"/>
                  </a:lnTo>
                  <a:lnTo>
                    <a:pt x="398" y="2016"/>
                  </a:lnTo>
                  <a:lnTo>
                    <a:pt x="401" y="2022"/>
                  </a:lnTo>
                  <a:lnTo>
                    <a:pt x="406" y="2028"/>
                  </a:lnTo>
                  <a:lnTo>
                    <a:pt x="413" y="2032"/>
                  </a:lnTo>
                  <a:lnTo>
                    <a:pt x="421" y="2037"/>
                  </a:lnTo>
                  <a:lnTo>
                    <a:pt x="430" y="2042"/>
                  </a:lnTo>
                  <a:lnTo>
                    <a:pt x="439" y="2044"/>
                  </a:lnTo>
                  <a:lnTo>
                    <a:pt x="449" y="2046"/>
                  </a:lnTo>
                  <a:lnTo>
                    <a:pt x="460" y="2047"/>
                  </a:lnTo>
                  <a:lnTo>
                    <a:pt x="470" y="2046"/>
                  </a:lnTo>
                  <a:lnTo>
                    <a:pt x="479" y="2044"/>
                  </a:lnTo>
                  <a:lnTo>
                    <a:pt x="489" y="2039"/>
                  </a:lnTo>
                  <a:lnTo>
                    <a:pt x="497" y="2034"/>
                  </a:lnTo>
                  <a:lnTo>
                    <a:pt x="504" y="2024"/>
                  </a:lnTo>
                  <a:lnTo>
                    <a:pt x="508" y="2013"/>
                  </a:lnTo>
                  <a:lnTo>
                    <a:pt x="512" y="1998"/>
                  </a:lnTo>
                  <a:lnTo>
                    <a:pt x="515" y="1969"/>
                  </a:lnTo>
                  <a:lnTo>
                    <a:pt x="519" y="1947"/>
                  </a:lnTo>
                  <a:lnTo>
                    <a:pt x="522" y="1930"/>
                  </a:lnTo>
                  <a:lnTo>
                    <a:pt x="524" y="1916"/>
                  </a:lnTo>
                  <a:lnTo>
                    <a:pt x="529" y="1906"/>
                  </a:lnTo>
                  <a:lnTo>
                    <a:pt x="534" y="1898"/>
                  </a:lnTo>
                  <a:lnTo>
                    <a:pt x="539" y="1891"/>
                  </a:lnTo>
                  <a:lnTo>
                    <a:pt x="547" y="1884"/>
                  </a:lnTo>
                  <a:lnTo>
                    <a:pt x="557" y="1865"/>
                  </a:lnTo>
                  <a:lnTo>
                    <a:pt x="555" y="1840"/>
                  </a:lnTo>
                  <a:lnTo>
                    <a:pt x="551" y="1816"/>
                  </a:lnTo>
                  <a:lnTo>
                    <a:pt x="554" y="1800"/>
                  </a:lnTo>
                  <a:lnTo>
                    <a:pt x="561" y="1792"/>
                  </a:lnTo>
                  <a:lnTo>
                    <a:pt x="570" y="1779"/>
                  </a:lnTo>
                  <a:lnTo>
                    <a:pt x="582" y="1762"/>
                  </a:lnTo>
                  <a:lnTo>
                    <a:pt x="595" y="1741"/>
                  </a:lnTo>
                  <a:lnTo>
                    <a:pt x="605" y="1718"/>
                  </a:lnTo>
                  <a:lnTo>
                    <a:pt x="614" y="1695"/>
                  </a:lnTo>
                  <a:lnTo>
                    <a:pt x="620" y="1672"/>
                  </a:lnTo>
                  <a:lnTo>
                    <a:pt x="621" y="1650"/>
                  </a:lnTo>
                  <a:lnTo>
                    <a:pt x="622" y="1629"/>
                  </a:lnTo>
                  <a:lnTo>
                    <a:pt x="630" y="1607"/>
                  </a:lnTo>
                  <a:lnTo>
                    <a:pt x="642" y="1587"/>
                  </a:lnTo>
                  <a:lnTo>
                    <a:pt x="658" y="1567"/>
                  </a:lnTo>
                  <a:lnTo>
                    <a:pt x="675" y="1550"/>
                  </a:lnTo>
                  <a:lnTo>
                    <a:pt x="692" y="1536"/>
                  </a:lnTo>
                  <a:lnTo>
                    <a:pt x="707" y="1528"/>
                  </a:lnTo>
                  <a:lnTo>
                    <a:pt x="718" y="1524"/>
                  </a:lnTo>
                  <a:lnTo>
                    <a:pt x="728" y="1523"/>
                  </a:lnTo>
                  <a:lnTo>
                    <a:pt x="743" y="1519"/>
                  </a:lnTo>
                  <a:lnTo>
                    <a:pt x="760" y="1511"/>
                  </a:lnTo>
                  <a:lnTo>
                    <a:pt x="777" y="1498"/>
                  </a:lnTo>
                  <a:lnTo>
                    <a:pt x="795" y="1482"/>
                  </a:lnTo>
                  <a:lnTo>
                    <a:pt x="814" y="1461"/>
                  </a:lnTo>
                  <a:lnTo>
                    <a:pt x="831" y="1436"/>
                  </a:lnTo>
                  <a:lnTo>
                    <a:pt x="846" y="1405"/>
                  </a:lnTo>
                  <a:lnTo>
                    <a:pt x="858" y="1375"/>
                  </a:lnTo>
                  <a:lnTo>
                    <a:pt x="867" y="1354"/>
                  </a:lnTo>
                  <a:lnTo>
                    <a:pt x="875" y="1338"/>
                  </a:lnTo>
                  <a:lnTo>
                    <a:pt x="881" y="1327"/>
                  </a:lnTo>
                  <a:lnTo>
                    <a:pt x="888" y="1320"/>
                  </a:lnTo>
                  <a:lnTo>
                    <a:pt x="893" y="1316"/>
                  </a:lnTo>
                  <a:lnTo>
                    <a:pt x="901" y="1312"/>
                  </a:lnTo>
                  <a:lnTo>
                    <a:pt x="912" y="1309"/>
                  </a:lnTo>
                  <a:lnTo>
                    <a:pt x="919" y="1305"/>
                  </a:lnTo>
                  <a:lnTo>
                    <a:pt x="929" y="1299"/>
                  </a:lnTo>
                  <a:lnTo>
                    <a:pt x="943" y="1289"/>
                  </a:lnTo>
                  <a:lnTo>
                    <a:pt x="958" y="1279"/>
                  </a:lnTo>
                  <a:lnTo>
                    <a:pt x="974" y="1265"/>
                  </a:lnTo>
                  <a:lnTo>
                    <a:pt x="991" y="1251"/>
                  </a:lnTo>
                  <a:lnTo>
                    <a:pt x="1009" y="1236"/>
                  </a:lnTo>
                  <a:lnTo>
                    <a:pt x="1027" y="1220"/>
                  </a:lnTo>
                  <a:lnTo>
                    <a:pt x="1045" y="1204"/>
                  </a:lnTo>
                  <a:lnTo>
                    <a:pt x="1062" y="1188"/>
                  </a:lnTo>
                  <a:lnTo>
                    <a:pt x="1078" y="1173"/>
                  </a:lnTo>
                  <a:lnTo>
                    <a:pt x="1092" y="1158"/>
                  </a:lnTo>
                  <a:lnTo>
                    <a:pt x="1103" y="1143"/>
                  </a:lnTo>
                  <a:lnTo>
                    <a:pt x="1111" y="1130"/>
                  </a:lnTo>
                  <a:lnTo>
                    <a:pt x="1117" y="1120"/>
                  </a:lnTo>
                  <a:lnTo>
                    <a:pt x="1119" y="1111"/>
                  </a:lnTo>
                  <a:lnTo>
                    <a:pt x="1116" y="1097"/>
                  </a:lnTo>
                  <a:lnTo>
                    <a:pt x="1104" y="1087"/>
                  </a:lnTo>
                  <a:lnTo>
                    <a:pt x="1088" y="1080"/>
                  </a:lnTo>
                  <a:lnTo>
                    <a:pt x="1070" y="1077"/>
                  </a:lnTo>
                  <a:lnTo>
                    <a:pt x="1048" y="1077"/>
                  </a:lnTo>
                  <a:lnTo>
                    <a:pt x="1027" y="1082"/>
                  </a:lnTo>
                  <a:lnTo>
                    <a:pt x="1007" y="1088"/>
                  </a:lnTo>
                  <a:lnTo>
                    <a:pt x="991" y="1098"/>
                  </a:lnTo>
                  <a:lnTo>
                    <a:pt x="983" y="1105"/>
                  </a:lnTo>
                  <a:lnTo>
                    <a:pt x="983" y="1102"/>
                  </a:lnTo>
                  <a:lnTo>
                    <a:pt x="988" y="1093"/>
                  </a:lnTo>
                  <a:lnTo>
                    <a:pt x="995" y="1081"/>
                  </a:lnTo>
                  <a:lnTo>
                    <a:pt x="999" y="1066"/>
                  </a:lnTo>
                  <a:lnTo>
                    <a:pt x="998" y="1053"/>
                  </a:lnTo>
                  <a:lnTo>
                    <a:pt x="989" y="1043"/>
                  </a:lnTo>
                  <a:lnTo>
                    <a:pt x="967" y="1039"/>
                  </a:lnTo>
                  <a:lnTo>
                    <a:pt x="958" y="1038"/>
                  </a:lnTo>
                  <a:lnTo>
                    <a:pt x="961" y="1034"/>
                  </a:lnTo>
                  <a:lnTo>
                    <a:pt x="975" y="1028"/>
                  </a:lnTo>
                  <a:lnTo>
                    <a:pt x="994" y="1022"/>
                  </a:lnTo>
                  <a:lnTo>
                    <a:pt x="1015" y="1019"/>
                  </a:lnTo>
                  <a:lnTo>
                    <a:pt x="1035" y="1017"/>
                  </a:lnTo>
                  <a:lnTo>
                    <a:pt x="1051" y="1020"/>
                  </a:lnTo>
                  <a:lnTo>
                    <a:pt x="1058" y="1028"/>
                  </a:lnTo>
                  <a:lnTo>
                    <a:pt x="1063" y="1037"/>
                  </a:lnTo>
                  <a:lnTo>
                    <a:pt x="1071" y="1043"/>
                  </a:lnTo>
                  <a:lnTo>
                    <a:pt x="1082" y="1045"/>
                  </a:lnTo>
                  <a:lnTo>
                    <a:pt x="1094" y="1043"/>
                  </a:lnTo>
                  <a:lnTo>
                    <a:pt x="1105" y="1038"/>
                  </a:lnTo>
                  <a:lnTo>
                    <a:pt x="1116" y="1030"/>
                  </a:lnTo>
                  <a:lnTo>
                    <a:pt x="1123" y="1019"/>
                  </a:lnTo>
                  <a:lnTo>
                    <a:pt x="1125" y="1004"/>
                  </a:lnTo>
                  <a:lnTo>
                    <a:pt x="1124" y="989"/>
                  </a:lnTo>
                  <a:lnTo>
                    <a:pt x="1120" y="976"/>
                  </a:lnTo>
                  <a:lnTo>
                    <a:pt x="1115" y="966"/>
                  </a:lnTo>
                  <a:lnTo>
                    <a:pt x="1107" y="955"/>
                  </a:lnTo>
                  <a:lnTo>
                    <a:pt x="1096" y="946"/>
                  </a:lnTo>
                  <a:lnTo>
                    <a:pt x="1085" y="937"/>
                  </a:lnTo>
                  <a:lnTo>
                    <a:pt x="1070" y="929"/>
                  </a:lnTo>
                  <a:lnTo>
                    <a:pt x="1052" y="920"/>
                  </a:lnTo>
                  <a:lnTo>
                    <a:pt x="1036" y="913"/>
                  </a:lnTo>
                  <a:lnTo>
                    <a:pt x="1022" y="909"/>
                  </a:lnTo>
                  <a:lnTo>
                    <a:pt x="1013" y="908"/>
                  </a:lnTo>
                  <a:lnTo>
                    <a:pt x="1007" y="908"/>
                  </a:lnTo>
                  <a:lnTo>
                    <a:pt x="1003" y="908"/>
                  </a:lnTo>
                  <a:lnTo>
                    <a:pt x="1002" y="907"/>
                  </a:lnTo>
                  <a:lnTo>
                    <a:pt x="1002" y="903"/>
                  </a:lnTo>
                  <a:lnTo>
                    <a:pt x="1003" y="896"/>
                  </a:lnTo>
                  <a:lnTo>
                    <a:pt x="1009" y="891"/>
                  </a:lnTo>
                  <a:lnTo>
                    <a:pt x="1018" y="891"/>
                  </a:lnTo>
                  <a:lnTo>
                    <a:pt x="1029" y="893"/>
                  </a:lnTo>
                  <a:lnTo>
                    <a:pt x="1042" y="896"/>
                  </a:lnTo>
                  <a:lnTo>
                    <a:pt x="1051" y="899"/>
                  </a:lnTo>
                  <a:lnTo>
                    <a:pt x="1058" y="898"/>
                  </a:lnTo>
                  <a:lnTo>
                    <a:pt x="1059" y="892"/>
                  </a:lnTo>
                  <a:lnTo>
                    <a:pt x="1052" y="878"/>
                  </a:lnTo>
                  <a:lnTo>
                    <a:pt x="1041" y="862"/>
                  </a:lnTo>
                  <a:lnTo>
                    <a:pt x="1030" y="848"/>
                  </a:lnTo>
                  <a:lnTo>
                    <a:pt x="1021" y="838"/>
                  </a:lnTo>
                  <a:lnTo>
                    <a:pt x="1014" y="830"/>
                  </a:lnTo>
                  <a:lnTo>
                    <a:pt x="1010" y="823"/>
                  </a:lnTo>
                  <a:lnTo>
                    <a:pt x="1009" y="818"/>
                  </a:lnTo>
                  <a:lnTo>
                    <a:pt x="1013" y="815"/>
                  </a:lnTo>
                  <a:lnTo>
                    <a:pt x="1021" y="812"/>
                  </a:lnTo>
                  <a:lnTo>
                    <a:pt x="1033" y="808"/>
                  </a:lnTo>
                  <a:lnTo>
                    <a:pt x="1043" y="801"/>
                  </a:lnTo>
                  <a:lnTo>
                    <a:pt x="1051" y="790"/>
                  </a:lnTo>
                  <a:lnTo>
                    <a:pt x="1059" y="780"/>
                  </a:lnTo>
                  <a:lnTo>
                    <a:pt x="1064" y="767"/>
                  </a:lnTo>
                  <a:lnTo>
                    <a:pt x="1067" y="756"/>
                  </a:lnTo>
                  <a:lnTo>
                    <a:pt x="1067" y="744"/>
                  </a:lnTo>
                  <a:lnTo>
                    <a:pt x="1064" y="734"/>
                  </a:lnTo>
                  <a:lnTo>
                    <a:pt x="1062" y="725"/>
                  </a:lnTo>
                  <a:lnTo>
                    <a:pt x="1063" y="716"/>
                  </a:lnTo>
                  <a:lnTo>
                    <a:pt x="1066" y="706"/>
                  </a:lnTo>
                  <a:lnTo>
                    <a:pt x="1071" y="698"/>
                  </a:lnTo>
                  <a:lnTo>
                    <a:pt x="1074" y="689"/>
                  </a:lnTo>
                  <a:lnTo>
                    <a:pt x="1075" y="680"/>
                  </a:lnTo>
                  <a:lnTo>
                    <a:pt x="1072" y="672"/>
                  </a:lnTo>
                  <a:lnTo>
                    <a:pt x="1064" y="663"/>
                  </a:lnTo>
                  <a:lnTo>
                    <a:pt x="1056" y="655"/>
                  </a:lnTo>
                  <a:lnTo>
                    <a:pt x="1051" y="646"/>
                  </a:lnTo>
                  <a:lnTo>
                    <a:pt x="1051" y="640"/>
                  </a:lnTo>
                  <a:lnTo>
                    <a:pt x="1052" y="632"/>
                  </a:lnTo>
                  <a:lnTo>
                    <a:pt x="1054" y="625"/>
                  </a:lnTo>
                  <a:lnTo>
                    <a:pt x="1055" y="618"/>
                  </a:lnTo>
                  <a:lnTo>
                    <a:pt x="1052" y="610"/>
                  </a:lnTo>
                  <a:lnTo>
                    <a:pt x="1045" y="602"/>
                  </a:lnTo>
                  <a:lnTo>
                    <a:pt x="1034" y="592"/>
                  </a:lnTo>
                  <a:lnTo>
                    <a:pt x="1020" y="582"/>
                  </a:lnTo>
                  <a:lnTo>
                    <a:pt x="1005" y="570"/>
                  </a:lnTo>
                  <a:lnTo>
                    <a:pt x="990" y="559"/>
                  </a:lnTo>
                  <a:lnTo>
                    <a:pt x="980" y="547"/>
                  </a:lnTo>
                  <a:lnTo>
                    <a:pt x="974" y="535"/>
                  </a:lnTo>
                  <a:lnTo>
                    <a:pt x="975" y="523"/>
                  </a:lnTo>
                  <a:lnTo>
                    <a:pt x="986" y="512"/>
                  </a:lnTo>
                  <a:lnTo>
                    <a:pt x="998" y="501"/>
                  </a:lnTo>
                  <a:lnTo>
                    <a:pt x="1006" y="491"/>
                  </a:lnTo>
                  <a:lnTo>
                    <a:pt x="1010" y="482"/>
                  </a:lnTo>
                  <a:lnTo>
                    <a:pt x="1010" y="474"/>
                  </a:lnTo>
                  <a:lnTo>
                    <a:pt x="1006" y="468"/>
                  </a:lnTo>
                  <a:lnTo>
                    <a:pt x="999" y="463"/>
                  </a:lnTo>
                  <a:lnTo>
                    <a:pt x="990" y="460"/>
                  </a:lnTo>
                  <a:lnTo>
                    <a:pt x="979" y="459"/>
                  </a:lnTo>
                  <a:lnTo>
                    <a:pt x="969" y="456"/>
                  </a:lnTo>
                  <a:lnTo>
                    <a:pt x="964" y="452"/>
                  </a:lnTo>
                  <a:lnTo>
                    <a:pt x="960" y="444"/>
                  </a:lnTo>
                  <a:lnTo>
                    <a:pt x="958" y="436"/>
                  </a:lnTo>
                  <a:lnTo>
                    <a:pt x="956" y="428"/>
                  </a:lnTo>
                  <a:lnTo>
                    <a:pt x="952" y="421"/>
                  </a:lnTo>
                  <a:lnTo>
                    <a:pt x="946" y="416"/>
                  </a:lnTo>
                  <a:lnTo>
                    <a:pt x="937" y="416"/>
                  </a:lnTo>
                  <a:lnTo>
                    <a:pt x="920" y="405"/>
                  </a:lnTo>
                  <a:lnTo>
                    <a:pt x="913" y="371"/>
                  </a:lnTo>
                  <a:lnTo>
                    <a:pt x="912" y="328"/>
                  </a:lnTo>
                  <a:lnTo>
                    <a:pt x="912" y="290"/>
                  </a:lnTo>
                  <a:lnTo>
                    <a:pt x="914" y="263"/>
                  </a:lnTo>
                  <a:lnTo>
                    <a:pt x="920" y="240"/>
                  </a:lnTo>
                  <a:lnTo>
                    <a:pt x="922" y="219"/>
                  </a:lnTo>
                  <a:lnTo>
                    <a:pt x="919" y="195"/>
                  </a:lnTo>
                  <a:lnTo>
                    <a:pt x="917" y="173"/>
                  </a:lnTo>
                  <a:lnTo>
                    <a:pt x="924" y="146"/>
                  </a:lnTo>
                  <a:lnTo>
                    <a:pt x="934" y="120"/>
                  </a:lnTo>
                  <a:lnTo>
                    <a:pt x="939" y="95"/>
                  </a:lnTo>
                  <a:lnTo>
                    <a:pt x="939" y="84"/>
                  </a:lnTo>
                  <a:lnTo>
                    <a:pt x="937" y="75"/>
                  </a:lnTo>
                  <a:lnTo>
                    <a:pt x="932" y="68"/>
                  </a:lnTo>
                  <a:lnTo>
                    <a:pt x="924" y="62"/>
                  </a:lnTo>
                  <a:lnTo>
                    <a:pt x="917" y="60"/>
                  </a:lnTo>
                  <a:lnTo>
                    <a:pt x="911" y="59"/>
                  </a:lnTo>
                  <a:lnTo>
                    <a:pt x="904" y="59"/>
                  </a:lnTo>
                  <a:lnTo>
                    <a:pt x="898" y="59"/>
                  </a:lnTo>
                  <a:lnTo>
                    <a:pt x="889" y="62"/>
                  </a:lnTo>
                  <a:lnTo>
                    <a:pt x="879" y="68"/>
                  </a:lnTo>
                  <a:lnTo>
                    <a:pt x="871" y="76"/>
                  </a:lnTo>
                  <a:lnTo>
                    <a:pt x="863" y="84"/>
                  </a:lnTo>
                  <a:lnTo>
                    <a:pt x="856" y="93"/>
                  </a:lnTo>
                  <a:lnTo>
                    <a:pt x="851" y="104"/>
                  </a:lnTo>
                  <a:lnTo>
                    <a:pt x="845" y="113"/>
                  </a:lnTo>
                  <a:lnTo>
                    <a:pt x="839" y="122"/>
                  </a:lnTo>
                  <a:lnTo>
                    <a:pt x="832" y="133"/>
                  </a:lnTo>
                  <a:lnTo>
                    <a:pt x="826" y="140"/>
                  </a:lnTo>
                  <a:lnTo>
                    <a:pt x="821" y="143"/>
                  </a:lnTo>
                  <a:lnTo>
                    <a:pt x="816" y="144"/>
                  </a:lnTo>
                  <a:lnTo>
                    <a:pt x="813" y="143"/>
                  </a:lnTo>
                  <a:lnTo>
                    <a:pt x="809" y="140"/>
                  </a:lnTo>
                  <a:lnTo>
                    <a:pt x="806" y="133"/>
                  </a:lnTo>
                  <a:lnTo>
                    <a:pt x="803" y="122"/>
                  </a:lnTo>
                  <a:lnTo>
                    <a:pt x="800" y="114"/>
                  </a:lnTo>
                  <a:lnTo>
                    <a:pt x="795" y="110"/>
                  </a:lnTo>
                  <a:lnTo>
                    <a:pt x="790" y="111"/>
                  </a:lnTo>
                  <a:lnTo>
                    <a:pt x="783" y="114"/>
                  </a:lnTo>
                  <a:lnTo>
                    <a:pt x="776" y="120"/>
                  </a:lnTo>
                  <a:lnTo>
                    <a:pt x="769" y="128"/>
                  </a:lnTo>
                  <a:lnTo>
                    <a:pt x="761" y="137"/>
                  </a:lnTo>
                  <a:lnTo>
                    <a:pt x="754" y="146"/>
                  </a:lnTo>
                  <a:lnTo>
                    <a:pt x="750" y="151"/>
                  </a:lnTo>
                  <a:lnTo>
                    <a:pt x="750" y="149"/>
                  </a:lnTo>
                  <a:lnTo>
                    <a:pt x="753" y="142"/>
                  </a:lnTo>
                  <a:lnTo>
                    <a:pt x="755" y="133"/>
                  </a:lnTo>
                  <a:lnTo>
                    <a:pt x="754" y="121"/>
                  </a:lnTo>
                  <a:lnTo>
                    <a:pt x="749" y="112"/>
                  </a:lnTo>
                  <a:lnTo>
                    <a:pt x="738" y="106"/>
                  </a:lnTo>
                  <a:lnTo>
                    <a:pt x="718" y="105"/>
                  </a:ln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216" name="Freeform 215"/>
            <p:cNvSpPr>
              <a:spLocks/>
            </p:cNvSpPr>
            <p:nvPr/>
          </p:nvSpPr>
          <p:spPr bwMode="auto">
            <a:xfrm>
              <a:off x="1910752" y="2153486"/>
              <a:ext cx="0" cy="4763"/>
            </a:xfrm>
            <a:custGeom>
              <a:avLst/>
              <a:gdLst>
                <a:gd name="T0" fmla="*/ 1 w 1"/>
                <a:gd name="T1" fmla="*/ 2147483647 h 4"/>
                <a:gd name="T2" fmla="*/ 1 w 1"/>
                <a:gd name="T3" fmla="*/ 2147483647 h 4"/>
                <a:gd name="T4" fmla="*/ 1 w 1"/>
                <a:gd name="T5" fmla="*/ 2147483647 h 4"/>
                <a:gd name="T6" fmla="*/ 0 w 1"/>
                <a:gd name="T7" fmla="*/ 0 h 4"/>
                <a:gd name="T8" fmla="*/ 0 w 1"/>
                <a:gd name="T9" fmla="*/ 0 h 4"/>
                <a:gd name="T10" fmla="*/ 1 w 1"/>
                <a:gd name="T11" fmla="*/ 2147483647 h 4"/>
                <a:gd name="T12" fmla="*/ 1 w 1"/>
                <a:gd name="T13" fmla="*/ 2147483647 h 4"/>
                <a:gd name="T14" fmla="*/ 1 w 1"/>
                <a:gd name="T15" fmla="*/ 2147483647 h 4"/>
                <a:gd name="T16" fmla="*/ 1 w 1"/>
                <a:gd name="T17" fmla="*/ 2147483647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 h="4">
                  <a:moveTo>
                    <a:pt x="1" y="2"/>
                  </a:moveTo>
                  <a:lnTo>
                    <a:pt x="1" y="1"/>
                  </a:lnTo>
                  <a:lnTo>
                    <a:pt x="0" y="0"/>
                  </a:lnTo>
                  <a:lnTo>
                    <a:pt x="1" y="2"/>
                  </a:lnTo>
                  <a:lnTo>
                    <a:pt x="1" y="4"/>
                  </a:lnTo>
                  <a:lnTo>
                    <a:pt x="1" y="2"/>
                  </a:ln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217" name="PR"/>
            <p:cNvSpPr>
              <a:spLocks/>
            </p:cNvSpPr>
            <p:nvPr/>
          </p:nvSpPr>
          <p:spPr bwMode="auto">
            <a:xfrm>
              <a:off x="2576642" y="4015490"/>
              <a:ext cx="29309" cy="19049"/>
            </a:xfrm>
            <a:custGeom>
              <a:avLst/>
              <a:gdLst>
                <a:gd name="T0" fmla="*/ 2147483647 w 23"/>
                <a:gd name="T1" fmla="*/ 0 h 18"/>
                <a:gd name="T2" fmla="*/ 2147483647 w 23"/>
                <a:gd name="T3" fmla="*/ 2147483647 h 18"/>
                <a:gd name="T4" fmla="*/ 2147483647 w 23"/>
                <a:gd name="T5" fmla="*/ 2147483647 h 18"/>
                <a:gd name="T6" fmla="*/ 0 w 23"/>
                <a:gd name="T7" fmla="*/ 2147483647 h 18"/>
                <a:gd name="T8" fmla="*/ 2147483647 w 23"/>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3" h="18">
                  <a:moveTo>
                    <a:pt x="2" y="0"/>
                  </a:moveTo>
                  <a:lnTo>
                    <a:pt x="23" y="1"/>
                  </a:lnTo>
                  <a:lnTo>
                    <a:pt x="21" y="18"/>
                  </a:lnTo>
                  <a:lnTo>
                    <a:pt x="0" y="13"/>
                  </a:lnTo>
                  <a:lnTo>
                    <a:pt x="2" y="0"/>
                  </a:lnTo>
                  <a:close/>
                </a:path>
              </a:pathLst>
            </a:custGeom>
            <a:solidFill>
              <a:srgbClr val="00B9E4"/>
            </a:solidFill>
            <a:ln w="6350" cap="flat" cmpd="sng">
              <a:solidFill>
                <a:schemeClr val="bg1"/>
              </a:solidFill>
              <a:prstDash val="solid"/>
              <a:round/>
              <a:headEnd type="none" w="med" len="med"/>
              <a:tailEnd type="none" w="med" len="med"/>
            </a:ln>
            <a:effectLst/>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218" name="IS"/>
            <p:cNvSpPr>
              <a:spLocks/>
            </p:cNvSpPr>
            <p:nvPr/>
          </p:nvSpPr>
          <p:spPr bwMode="auto">
            <a:xfrm>
              <a:off x="3605212" y="2256674"/>
              <a:ext cx="131762" cy="50800"/>
            </a:xfrm>
            <a:custGeom>
              <a:avLst/>
              <a:gdLst>
                <a:gd name="T0" fmla="*/ 2147483647 w 114"/>
                <a:gd name="T1" fmla="*/ 0 h 54"/>
                <a:gd name="T2" fmla="*/ 2147483647 w 114"/>
                <a:gd name="T3" fmla="*/ 2147483647 h 54"/>
                <a:gd name="T4" fmla="*/ 2147483647 w 114"/>
                <a:gd name="T5" fmla="*/ 2147483647 h 54"/>
                <a:gd name="T6" fmla="*/ 2147483647 w 114"/>
                <a:gd name="T7" fmla="*/ 0 h 54"/>
                <a:gd name="T8" fmla="*/ 2147483647 w 114"/>
                <a:gd name="T9" fmla="*/ 2147483647 h 54"/>
                <a:gd name="T10" fmla="*/ 2147483647 w 114"/>
                <a:gd name="T11" fmla="*/ 2147483647 h 54"/>
                <a:gd name="T12" fmla="*/ 2147483647 w 114"/>
                <a:gd name="T13" fmla="*/ 2147483647 h 54"/>
                <a:gd name="T14" fmla="*/ 2147483647 w 114"/>
                <a:gd name="T15" fmla="*/ 2147483647 h 54"/>
                <a:gd name="T16" fmla="*/ 2147483647 w 114"/>
                <a:gd name="T17" fmla="*/ 2147483647 h 54"/>
                <a:gd name="T18" fmla="*/ 2147483647 w 114"/>
                <a:gd name="T19" fmla="*/ 2147483647 h 54"/>
                <a:gd name="T20" fmla="*/ 2147483647 w 114"/>
                <a:gd name="T21" fmla="*/ 2147483647 h 54"/>
                <a:gd name="T22" fmla="*/ 0 w 114"/>
                <a:gd name="T23" fmla="*/ 2147483647 h 54"/>
                <a:gd name="T24" fmla="*/ 2147483647 w 114"/>
                <a:gd name="T25" fmla="*/ 0 h 5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14" h="54">
                  <a:moveTo>
                    <a:pt x="14" y="0"/>
                  </a:moveTo>
                  <a:lnTo>
                    <a:pt x="26" y="14"/>
                  </a:lnTo>
                  <a:lnTo>
                    <a:pt x="54" y="4"/>
                  </a:lnTo>
                  <a:lnTo>
                    <a:pt x="88" y="0"/>
                  </a:lnTo>
                  <a:lnTo>
                    <a:pt x="114" y="18"/>
                  </a:lnTo>
                  <a:lnTo>
                    <a:pt x="96" y="38"/>
                  </a:lnTo>
                  <a:lnTo>
                    <a:pt x="68" y="54"/>
                  </a:lnTo>
                  <a:lnTo>
                    <a:pt x="30" y="42"/>
                  </a:lnTo>
                  <a:lnTo>
                    <a:pt x="10" y="44"/>
                  </a:lnTo>
                  <a:lnTo>
                    <a:pt x="26" y="36"/>
                  </a:lnTo>
                  <a:lnTo>
                    <a:pt x="16" y="22"/>
                  </a:lnTo>
                  <a:lnTo>
                    <a:pt x="0" y="16"/>
                  </a:lnTo>
                  <a:lnTo>
                    <a:pt x="14" y="0"/>
                  </a:lnTo>
                  <a:close/>
                </a:path>
              </a:pathLst>
            </a:custGeom>
            <a:solidFill>
              <a:srgbClr val="00B9E4"/>
            </a:solidFill>
            <a:ln w="9525" cap="flat" cmpd="sng">
              <a:solidFill>
                <a:schemeClr val="bg1"/>
              </a:solidFill>
              <a:prstDash val="solid"/>
              <a:round/>
              <a:headEnd/>
              <a:tailEnd/>
            </a:ln>
            <a:effectLst/>
          </p:spPr>
          <p:txBody>
            <a:bodyPr wrap="square"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grpSp>
          <p:nvGrpSpPr>
            <p:cNvPr id="219" name="ID"/>
            <p:cNvGrpSpPr/>
            <p:nvPr/>
          </p:nvGrpSpPr>
          <p:grpSpPr>
            <a:xfrm>
              <a:off x="6878239" y="4256788"/>
              <a:ext cx="888136" cy="388935"/>
              <a:chOff x="6829505" y="2922467"/>
              <a:chExt cx="892628" cy="388938"/>
            </a:xfrm>
          </p:grpSpPr>
          <p:sp>
            <p:nvSpPr>
              <p:cNvPr id="295" name="Freeform 294"/>
              <p:cNvSpPr>
                <a:spLocks/>
              </p:cNvSpPr>
              <p:nvPr/>
            </p:nvSpPr>
            <p:spPr bwMode="auto">
              <a:xfrm>
                <a:off x="6953330" y="2922467"/>
                <a:ext cx="227012" cy="265113"/>
              </a:xfrm>
              <a:custGeom>
                <a:avLst/>
                <a:gdLst>
                  <a:gd name="T0" fmla="*/ 2147483647 w 174"/>
                  <a:gd name="T1" fmla="*/ 2147483647 h 204"/>
                  <a:gd name="T2" fmla="*/ 0 w 174"/>
                  <a:gd name="T3" fmla="*/ 2147483647 h 204"/>
                  <a:gd name="T4" fmla="*/ 0 w 174"/>
                  <a:gd name="T5" fmla="*/ 2147483647 h 204"/>
                  <a:gd name="T6" fmla="*/ 2147483647 w 174"/>
                  <a:gd name="T7" fmla="*/ 2147483647 h 204"/>
                  <a:gd name="T8" fmla="*/ 2147483647 w 174"/>
                  <a:gd name="T9" fmla="*/ 2147483647 h 204"/>
                  <a:gd name="T10" fmla="*/ 2147483647 w 174"/>
                  <a:gd name="T11" fmla="*/ 2147483647 h 204"/>
                  <a:gd name="T12" fmla="*/ 2147483647 w 174"/>
                  <a:gd name="T13" fmla="*/ 2147483647 h 204"/>
                  <a:gd name="T14" fmla="*/ 2147483647 w 174"/>
                  <a:gd name="T15" fmla="*/ 0 h 204"/>
                  <a:gd name="T16" fmla="*/ 2147483647 w 174"/>
                  <a:gd name="T17" fmla="*/ 2147483647 h 204"/>
                  <a:gd name="T18" fmla="*/ 2147483647 w 174"/>
                  <a:gd name="T19" fmla="*/ 2147483647 h 204"/>
                  <a:gd name="T20" fmla="*/ 2147483647 w 174"/>
                  <a:gd name="T21" fmla="*/ 2147483647 h 204"/>
                  <a:gd name="T22" fmla="*/ 2147483647 w 174"/>
                  <a:gd name="T23" fmla="*/ 2147483647 h 204"/>
                  <a:gd name="T24" fmla="*/ 2147483647 w 174"/>
                  <a:gd name="T25" fmla="*/ 2147483647 h 204"/>
                  <a:gd name="T26" fmla="*/ 2147483647 w 174"/>
                  <a:gd name="T27" fmla="*/ 2147483647 h 204"/>
                  <a:gd name="T28" fmla="*/ 2147483647 w 174"/>
                  <a:gd name="T29" fmla="*/ 2147483647 h 204"/>
                  <a:gd name="T30" fmla="*/ 2147483647 w 174"/>
                  <a:gd name="T31" fmla="*/ 2147483647 h 204"/>
                  <a:gd name="T32" fmla="*/ 2147483647 w 174"/>
                  <a:gd name="T33" fmla="*/ 2147483647 h 204"/>
                  <a:gd name="T34" fmla="*/ 2147483647 w 174"/>
                  <a:gd name="T35" fmla="*/ 2147483647 h 204"/>
                  <a:gd name="T36" fmla="*/ 2147483647 w 174"/>
                  <a:gd name="T37" fmla="*/ 2147483647 h 204"/>
                  <a:gd name="T38" fmla="*/ 2147483647 w 174"/>
                  <a:gd name="T39" fmla="*/ 2147483647 h 204"/>
                  <a:gd name="T40" fmla="*/ 2147483647 w 174"/>
                  <a:gd name="T41" fmla="*/ 2147483647 h 204"/>
                  <a:gd name="T42" fmla="*/ 2147483647 w 174"/>
                  <a:gd name="T43" fmla="*/ 2147483647 h 204"/>
                  <a:gd name="T44" fmla="*/ 2147483647 w 174"/>
                  <a:gd name="T45" fmla="*/ 2147483647 h 204"/>
                  <a:gd name="T46" fmla="*/ 2147483647 w 174"/>
                  <a:gd name="T47" fmla="*/ 2147483647 h 20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74" h="204">
                    <a:moveTo>
                      <a:pt x="12" y="168"/>
                    </a:moveTo>
                    <a:lnTo>
                      <a:pt x="0" y="144"/>
                    </a:lnTo>
                    <a:lnTo>
                      <a:pt x="0" y="108"/>
                    </a:lnTo>
                    <a:lnTo>
                      <a:pt x="12" y="90"/>
                    </a:lnTo>
                    <a:lnTo>
                      <a:pt x="36" y="84"/>
                    </a:lnTo>
                    <a:lnTo>
                      <a:pt x="60" y="66"/>
                    </a:lnTo>
                    <a:lnTo>
                      <a:pt x="96" y="24"/>
                    </a:lnTo>
                    <a:lnTo>
                      <a:pt x="138" y="0"/>
                    </a:lnTo>
                    <a:lnTo>
                      <a:pt x="162" y="12"/>
                    </a:lnTo>
                    <a:lnTo>
                      <a:pt x="174" y="30"/>
                    </a:lnTo>
                    <a:lnTo>
                      <a:pt x="156" y="48"/>
                    </a:lnTo>
                    <a:lnTo>
                      <a:pt x="150" y="66"/>
                    </a:lnTo>
                    <a:lnTo>
                      <a:pt x="156" y="90"/>
                    </a:lnTo>
                    <a:lnTo>
                      <a:pt x="174" y="108"/>
                    </a:lnTo>
                    <a:lnTo>
                      <a:pt x="156" y="120"/>
                    </a:lnTo>
                    <a:lnTo>
                      <a:pt x="150" y="132"/>
                    </a:lnTo>
                    <a:lnTo>
                      <a:pt x="138" y="150"/>
                    </a:lnTo>
                    <a:lnTo>
                      <a:pt x="126" y="168"/>
                    </a:lnTo>
                    <a:lnTo>
                      <a:pt x="114" y="198"/>
                    </a:lnTo>
                    <a:lnTo>
                      <a:pt x="90" y="204"/>
                    </a:lnTo>
                    <a:lnTo>
                      <a:pt x="72" y="192"/>
                    </a:lnTo>
                    <a:lnTo>
                      <a:pt x="42" y="192"/>
                    </a:lnTo>
                    <a:lnTo>
                      <a:pt x="24" y="192"/>
                    </a:lnTo>
                    <a:lnTo>
                      <a:pt x="12" y="168"/>
                    </a:ln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296" name="Freeform 295"/>
              <p:cNvSpPr>
                <a:spLocks/>
              </p:cNvSpPr>
              <p:nvPr/>
            </p:nvSpPr>
            <p:spPr bwMode="auto">
              <a:xfrm>
                <a:off x="7150180" y="3054230"/>
                <a:ext cx="141287" cy="173037"/>
              </a:xfrm>
              <a:custGeom>
                <a:avLst/>
                <a:gdLst>
                  <a:gd name="T0" fmla="*/ 2147483647 w 108"/>
                  <a:gd name="T1" fmla="*/ 2147483647 h 132"/>
                  <a:gd name="T2" fmla="*/ 2147483647 w 108"/>
                  <a:gd name="T3" fmla="*/ 2147483647 h 132"/>
                  <a:gd name="T4" fmla="*/ 0 w 108"/>
                  <a:gd name="T5" fmla="*/ 2147483647 h 132"/>
                  <a:gd name="T6" fmla="*/ 2147483647 w 108"/>
                  <a:gd name="T7" fmla="*/ 2147483647 h 132"/>
                  <a:gd name="T8" fmla="*/ 2147483647 w 108"/>
                  <a:gd name="T9" fmla="*/ 2147483647 h 132"/>
                  <a:gd name="T10" fmla="*/ 2147483647 w 108"/>
                  <a:gd name="T11" fmla="*/ 2147483647 h 132"/>
                  <a:gd name="T12" fmla="*/ 2147483647 w 108"/>
                  <a:gd name="T13" fmla="*/ 2147483647 h 132"/>
                  <a:gd name="T14" fmla="*/ 2147483647 w 108"/>
                  <a:gd name="T15" fmla="*/ 0 h 132"/>
                  <a:gd name="T16" fmla="*/ 2147483647 w 108"/>
                  <a:gd name="T17" fmla="*/ 2147483647 h 132"/>
                  <a:gd name="T18" fmla="*/ 2147483647 w 108"/>
                  <a:gd name="T19" fmla="*/ 2147483647 h 132"/>
                  <a:gd name="T20" fmla="*/ 2147483647 w 108"/>
                  <a:gd name="T21" fmla="*/ 2147483647 h 132"/>
                  <a:gd name="T22" fmla="*/ 2147483647 w 108"/>
                  <a:gd name="T23" fmla="*/ 2147483647 h 132"/>
                  <a:gd name="T24" fmla="*/ 2147483647 w 108"/>
                  <a:gd name="T25" fmla="*/ 2147483647 h 132"/>
                  <a:gd name="T26" fmla="*/ 2147483647 w 108"/>
                  <a:gd name="T27" fmla="*/ 2147483647 h 132"/>
                  <a:gd name="T28" fmla="*/ 2147483647 w 108"/>
                  <a:gd name="T29" fmla="*/ 2147483647 h 132"/>
                  <a:gd name="T30" fmla="*/ 2147483647 w 108"/>
                  <a:gd name="T31" fmla="*/ 2147483647 h 132"/>
                  <a:gd name="T32" fmla="*/ 2147483647 w 108"/>
                  <a:gd name="T33" fmla="*/ 2147483647 h 132"/>
                  <a:gd name="T34" fmla="*/ 2147483647 w 108"/>
                  <a:gd name="T35" fmla="*/ 2147483647 h 132"/>
                  <a:gd name="T36" fmla="*/ 2147483647 w 108"/>
                  <a:gd name="T37" fmla="*/ 2147483647 h 132"/>
                  <a:gd name="T38" fmla="*/ 2147483647 w 108"/>
                  <a:gd name="T39" fmla="*/ 2147483647 h 132"/>
                  <a:gd name="T40" fmla="*/ 2147483647 w 108"/>
                  <a:gd name="T41" fmla="*/ 2147483647 h 132"/>
                  <a:gd name="T42" fmla="*/ 2147483647 w 108"/>
                  <a:gd name="T43" fmla="*/ 2147483647 h 132"/>
                  <a:gd name="T44" fmla="*/ 2147483647 w 108"/>
                  <a:gd name="T45" fmla="*/ 2147483647 h 132"/>
                  <a:gd name="T46" fmla="*/ 2147483647 w 108"/>
                  <a:gd name="T47" fmla="*/ 2147483647 h 13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8" h="132">
                    <a:moveTo>
                      <a:pt x="12" y="126"/>
                    </a:moveTo>
                    <a:lnTo>
                      <a:pt x="12" y="108"/>
                    </a:lnTo>
                    <a:lnTo>
                      <a:pt x="0" y="84"/>
                    </a:lnTo>
                    <a:lnTo>
                      <a:pt x="6" y="66"/>
                    </a:lnTo>
                    <a:lnTo>
                      <a:pt x="24" y="24"/>
                    </a:lnTo>
                    <a:lnTo>
                      <a:pt x="36" y="12"/>
                    </a:lnTo>
                    <a:lnTo>
                      <a:pt x="66" y="6"/>
                    </a:lnTo>
                    <a:lnTo>
                      <a:pt x="108" y="0"/>
                    </a:lnTo>
                    <a:lnTo>
                      <a:pt x="108" y="12"/>
                    </a:lnTo>
                    <a:lnTo>
                      <a:pt x="90" y="12"/>
                    </a:lnTo>
                    <a:lnTo>
                      <a:pt x="54" y="24"/>
                    </a:lnTo>
                    <a:lnTo>
                      <a:pt x="42" y="42"/>
                    </a:lnTo>
                    <a:lnTo>
                      <a:pt x="84" y="42"/>
                    </a:lnTo>
                    <a:lnTo>
                      <a:pt x="90" y="60"/>
                    </a:lnTo>
                    <a:lnTo>
                      <a:pt x="78" y="66"/>
                    </a:lnTo>
                    <a:lnTo>
                      <a:pt x="66" y="78"/>
                    </a:lnTo>
                    <a:lnTo>
                      <a:pt x="90" y="102"/>
                    </a:lnTo>
                    <a:lnTo>
                      <a:pt x="96" y="126"/>
                    </a:lnTo>
                    <a:lnTo>
                      <a:pt x="72" y="126"/>
                    </a:lnTo>
                    <a:lnTo>
                      <a:pt x="54" y="108"/>
                    </a:lnTo>
                    <a:lnTo>
                      <a:pt x="36" y="84"/>
                    </a:lnTo>
                    <a:lnTo>
                      <a:pt x="36" y="114"/>
                    </a:lnTo>
                    <a:lnTo>
                      <a:pt x="36" y="132"/>
                    </a:lnTo>
                    <a:lnTo>
                      <a:pt x="12" y="126"/>
                    </a:ln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297" name="Freeform 296"/>
              <p:cNvSpPr>
                <a:spLocks/>
              </p:cNvSpPr>
              <p:nvPr/>
            </p:nvSpPr>
            <p:spPr bwMode="auto">
              <a:xfrm>
                <a:off x="6829505" y="3251080"/>
                <a:ext cx="265112" cy="60325"/>
              </a:xfrm>
              <a:custGeom>
                <a:avLst/>
                <a:gdLst>
                  <a:gd name="T0" fmla="*/ 0 w 34"/>
                  <a:gd name="T1" fmla="*/ 2147483647 h 8"/>
                  <a:gd name="T2" fmla="*/ 2147483647 w 34"/>
                  <a:gd name="T3" fmla="*/ 0 h 8"/>
                  <a:gd name="T4" fmla="*/ 2147483647 w 34"/>
                  <a:gd name="T5" fmla="*/ 0 h 8"/>
                  <a:gd name="T6" fmla="*/ 2147483647 w 34"/>
                  <a:gd name="T7" fmla="*/ 2147483647 h 8"/>
                  <a:gd name="T8" fmla="*/ 2147483647 w 34"/>
                  <a:gd name="T9" fmla="*/ 2147483647 h 8"/>
                  <a:gd name="T10" fmla="*/ 2147483647 w 34"/>
                  <a:gd name="T11" fmla="*/ 2147483647 h 8"/>
                  <a:gd name="T12" fmla="*/ 2147483647 w 34"/>
                  <a:gd name="T13" fmla="*/ 2147483647 h 8"/>
                  <a:gd name="T14" fmla="*/ 2147483647 w 34"/>
                  <a:gd name="T15" fmla="*/ 2147483647 h 8"/>
                  <a:gd name="T16" fmla="*/ 2147483647 w 34"/>
                  <a:gd name="T17" fmla="*/ 2147483647 h 8"/>
                  <a:gd name="T18" fmla="*/ 2147483647 w 34"/>
                  <a:gd name="T19" fmla="*/ 2147483647 h 8"/>
                  <a:gd name="T20" fmla="*/ 0 w 34"/>
                  <a:gd name="T21" fmla="*/ 2147483647 h 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4" h="8">
                    <a:moveTo>
                      <a:pt x="0" y="1"/>
                    </a:moveTo>
                    <a:cubicBezTo>
                      <a:pt x="9" y="0"/>
                      <a:pt x="9" y="0"/>
                      <a:pt x="9" y="0"/>
                    </a:cubicBezTo>
                    <a:cubicBezTo>
                      <a:pt x="16" y="0"/>
                      <a:pt x="16" y="0"/>
                      <a:pt x="16" y="0"/>
                    </a:cubicBezTo>
                    <a:cubicBezTo>
                      <a:pt x="20" y="1"/>
                      <a:pt x="20" y="1"/>
                      <a:pt x="20" y="1"/>
                    </a:cubicBezTo>
                    <a:cubicBezTo>
                      <a:pt x="23" y="3"/>
                      <a:pt x="23" y="3"/>
                      <a:pt x="23" y="3"/>
                    </a:cubicBezTo>
                    <a:cubicBezTo>
                      <a:pt x="31" y="5"/>
                      <a:pt x="31" y="5"/>
                      <a:pt x="31" y="5"/>
                    </a:cubicBezTo>
                    <a:cubicBezTo>
                      <a:pt x="34" y="8"/>
                      <a:pt x="34" y="8"/>
                      <a:pt x="34" y="8"/>
                    </a:cubicBezTo>
                    <a:cubicBezTo>
                      <a:pt x="26" y="7"/>
                      <a:pt x="26" y="7"/>
                      <a:pt x="26" y="7"/>
                    </a:cubicBezTo>
                    <a:cubicBezTo>
                      <a:pt x="19" y="6"/>
                      <a:pt x="19" y="6"/>
                      <a:pt x="19" y="6"/>
                    </a:cubicBezTo>
                    <a:cubicBezTo>
                      <a:pt x="19" y="6"/>
                      <a:pt x="10" y="4"/>
                      <a:pt x="8" y="4"/>
                    </a:cubicBezTo>
                    <a:cubicBezTo>
                      <a:pt x="7" y="3"/>
                      <a:pt x="0" y="1"/>
                      <a:pt x="0" y="1"/>
                    </a:cubicBez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298" name="Freeform 297"/>
              <p:cNvSpPr>
                <a:spLocks/>
              </p:cNvSpPr>
              <p:nvPr/>
            </p:nvSpPr>
            <p:spPr bwMode="auto">
              <a:xfrm>
                <a:off x="7506233" y="3041530"/>
                <a:ext cx="215900" cy="185737"/>
              </a:xfrm>
              <a:custGeom>
                <a:avLst/>
                <a:gdLst>
                  <a:gd name="T0" fmla="*/ 2147483647 w 575"/>
                  <a:gd name="T1" fmla="*/ 2147483647 h 488"/>
                  <a:gd name="T2" fmla="*/ 2147483647 w 575"/>
                  <a:gd name="T3" fmla="*/ 2147483647 h 488"/>
                  <a:gd name="T4" fmla="*/ 2147483647 w 575"/>
                  <a:gd name="T5" fmla="*/ 2147483647 h 488"/>
                  <a:gd name="T6" fmla="*/ 2147483647 w 575"/>
                  <a:gd name="T7" fmla="*/ 2147483647 h 488"/>
                  <a:gd name="T8" fmla="*/ 2147483647 w 575"/>
                  <a:gd name="T9" fmla="*/ 0 h 488"/>
                  <a:gd name="T10" fmla="*/ 2147483647 w 575"/>
                  <a:gd name="T11" fmla="*/ 2147483647 h 488"/>
                  <a:gd name="T12" fmla="*/ 0 w 575"/>
                  <a:gd name="T13" fmla="*/ 2147483647 h 488"/>
                  <a:gd name="T14" fmla="*/ 2147483647 w 575"/>
                  <a:gd name="T15" fmla="*/ 2147483647 h 488"/>
                  <a:gd name="T16" fmla="*/ 2147483647 w 575"/>
                  <a:gd name="T17" fmla="*/ 2147483647 h 488"/>
                  <a:gd name="T18" fmla="*/ 2147483647 w 575"/>
                  <a:gd name="T19" fmla="*/ 2147483647 h 488"/>
                  <a:gd name="T20" fmla="*/ 2147483647 w 575"/>
                  <a:gd name="T21" fmla="*/ 2147483647 h 488"/>
                  <a:gd name="T22" fmla="*/ 2147483647 w 575"/>
                  <a:gd name="T23" fmla="*/ 2147483647 h 488"/>
                  <a:gd name="T24" fmla="*/ 2147483647 w 575"/>
                  <a:gd name="T25" fmla="*/ 2147483647 h 488"/>
                  <a:gd name="T26" fmla="*/ 2147483647 w 575"/>
                  <a:gd name="T27" fmla="*/ 2147483647 h 488"/>
                  <a:gd name="T28" fmla="*/ 2147483647 w 575"/>
                  <a:gd name="T29" fmla="*/ 2147483647 h 488"/>
                  <a:gd name="T30" fmla="*/ 2147483647 w 575"/>
                  <a:gd name="T31" fmla="*/ 2147483647 h 488"/>
                  <a:gd name="T32" fmla="*/ 2147483647 w 575"/>
                  <a:gd name="T33" fmla="*/ 2147483647 h 488"/>
                  <a:gd name="T34" fmla="*/ 2147483647 w 575"/>
                  <a:gd name="T35" fmla="*/ 2147483647 h 488"/>
                  <a:gd name="T36" fmla="*/ 2147483647 w 575"/>
                  <a:gd name="T37" fmla="*/ 2147483647 h 488"/>
                  <a:gd name="T38" fmla="*/ 2147483647 w 575"/>
                  <a:gd name="T39" fmla="*/ 2147483647 h 488"/>
                  <a:gd name="T40" fmla="*/ 2147483647 w 575"/>
                  <a:gd name="T41" fmla="*/ 2147483647 h 48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575" h="488">
                    <a:moveTo>
                      <a:pt x="410" y="71"/>
                    </a:moveTo>
                    <a:lnTo>
                      <a:pt x="321" y="142"/>
                    </a:lnTo>
                    <a:lnTo>
                      <a:pt x="233" y="142"/>
                    </a:lnTo>
                    <a:lnTo>
                      <a:pt x="178" y="71"/>
                    </a:lnTo>
                    <a:lnTo>
                      <a:pt x="107" y="0"/>
                    </a:lnTo>
                    <a:lnTo>
                      <a:pt x="36" y="19"/>
                    </a:lnTo>
                    <a:lnTo>
                      <a:pt x="0" y="90"/>
                    </a:lnTo>
                    <a:lnTo>
                      <a:pt x="72" y="124"/>
                    </a:lnTo>
                    <a:lnTo>
                      <a:pt x="89" y="159"/>
                    </a:lnTo>
                    <a:lnTo>
                      <a:pt x="107" y="213"/>
                    </a:lnTo>
                    <a:lnTo>
                      <a:pt x="160" y="213"/>
                    </a:lnTo>
                    <a:lnTo>
                      <a:pt x="197" y="230"/>
                    </a:lnTo>
                    <a:lnTo>
                      <a:pt x="321" y="283"/>
                    </a:lnTo>
                    <a:lnTo>
                      <a:pt x="446" y="353"/>
                    </a:lnTo>
                    <a:lnTo>
                      <a:pt x="465" y="389"/>
                    </a:lnTo>
                    <a:lnTo>
                      <a:pt x="393" y="424"/>
                    </a:lnTo>
                    <a:lnTo>
                      <a:pt x="465" y="442"/>
                    </a:lnTo>
                    <a:lnTo>
                      <a:pt x="518" y="459"/>
                    </a:lnTo>
                    <a:lnTo>
                      <a:pt x="575" y="488"/>
                    </a:lnTo>
                    <a:lnTo>
                      <a:pt x="575" y="122"/>
                    </a:lnTo>
                    <a:lnTo>
                      <a:pt x="410" y="71"/>
                    </a:lnTo>
                    <a:close/>
                  </a:path>
                </a:pathLst>
              </a:custGeom>
              <a:solidFill>
                <a:srgbClr val="00B9E4"/>
              </a:solidFill>
              <a:ln w="9525" cap="flat" cmpd="sng">
                <a:solidFill>
                  <a:schemeClr val="bg1"/>
                </a:solidFill>
                <a:prstDash val="solid"/>
                <a:round/>
                <a:headEnd type="none" w="med" len="med"/>
                <a:tailEnd type="none" w="med" len="med"/>
              </a:ln>
              <a:effectLst/>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grpSp>
        <p:sp>
          <p:nvSpPr>
            <p:cNvPr id="220" name="PG"/>
            <p:cNvSpPr>
              <a:spLocks/>
            </p:cNvSpPr>
            <p:nvPr/>
          </p:nvSpPr>
          <p:spPr bwMode="auto">
            <a:xfrm>
              <a:off x="7766383" y="4420300"/>
              <a:ext cx="174623" cy="169861"/>
            </a:xfrm>
            <a:custGeom>
              <a:avLst/>
              <a:gdLst>
                <a:gd name="T0" fmla="*/ 2147483647 w 460"/>
                <a:gd name="T1" fmla="*/ 2147483647 h 443"/>
                <a:gd name="T2" fmla="*/ 2147483647 w 460"/>
                <a:gd name="T3" fmla="*/ 2147483647 h 443"/>
                <a:gd name="T4" fmla="*/ 2147483647 w 460"/>
                <a:gd name="T5" fmla="*/ 2147483647 h 443"/>
                <a:gd name="T6" fmla="*/ 2147483647 w 460"/>
                <a:gd name="T7" fmla="*/ 2147483647 h 443"/>
                <a:gd name="T8" fmla="*/ 2147483647 w 460"/>
                <a:gd name="T9" fmla="*/ 2147483647 h 443"/>
                <a:gd name="T10" fmla="*/ 2147483647 w 460"/>
                <a:gd name="T11" fmla="*/ 2147483647 h 443"/>
                <a:gd name="T12" fmla="*/ 0 w 460"/>
                <a:gd name="T13" fmla="*/ 0 h 443"/>
                <a:gd name="T14" fmla="*/ 0 w 460"/>
                <a:gd name="T15" fmla="*/ 2147483647 h 443"/>
                <a:gd name="T16" fmla="*/ 2147483647 w 460"/>
                <a:gd name="T17" fmla="*/ 2147483647 h 443"/>
                <a:gd name="T18" fmla="*/ 2147483647 w 460"/>
                <a:gd name="T19" fmla="*/ 2147483647 h 443"/>
                <a:gd name="T20" fmla="*/ 2147483647 w 460"/>
                <a:gd name="T21" fmla="*/ 2147483647 h 443"/>
                <a:gd name="T22" fmla="*/ 2147483647 w 460"/>
                <a:gd name="T23" fmla="*/ 2147483647 h 443"/>
                <a:gd name="T24" fmla="*/ 2147483647 w 460"/>
                <a:gd name="T25" fmla="*/ 2147483647 h 443"/>
                <a:gd name="T26" fmla="*/ 2147483647 w 460"/>
                <a:gd name="T27" fmla="*/ 2147483647 h 443"/>
                <a:gd name="T28" fmla="*/ 2147483647 w 460"/>
                <a:gd name="T29" fmla="*/ 2147483647 h 443"/>
                <a:gd name="T30" fmla="*/ 2147483647 w 460"/>
                <a:gd name="T31" fmla="*/ 2147483647 h 443"/>
                <a:gd name="T32" fmla="*/ 2147483647 w 460"/>
                <a:gd name="T33" fmla="*/ 2147483647 h 44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60" h="443">
                  <a:moveTo>
                    <a:pt x="353" y="302"/>
                  </a:moveTo>
                  <a:lnTo>
                    <a:pt x="336" y="249"/>
                  </a:lnTo>
                  <a:lnTo>
                    <a:pt x="372" y="214"/>
                  </a:lnTo>
                  <a:lnTo>
                    <a:pt x="283" y="161"/>
                  </a:lnTo>
                  <a:lnTo>
                    <a:pt x="247" y="108"/>
                  </a:lnTo>
                  <a:lnTo>
                    <a:pt x="122" y="37"/>
                  </a:lnTo>
                  <a:lnTo>
                    <a:pt x="0" y="0"/>
                  </a:lnTo>
                  <a:lnTo>
                    <a:pt x="0" y="366"/>
                  </a:lnTo>
                  <a:lnTo>
                    <a:pt x="14" y="373"/>
                  </a:lnTo>
                  <a:lnTo>
                    <a:pt x="67" y="373"/>
                  </a:lnTo>
                  <a:lnTo>
                    <a:pt x="122" y="320"/>
                  </a:lnTo>
                  <a:lnTo>
                    <a:pt x="211" y="284"/>
                  </a:lnTo>
                  <a:lnTo>
                    <a:pt x="264" y="320"/>
                  </a:lnTo>
                  <a:lnTo>
                    <a:pt x="389" y="408"/>
                  </a:lnTo>
                  <a:lnTo>
                    <a:pt x="460" y="443"/>
                  </a:lnTo>
                  <a:lnTo>
                    <a:pt x="460" y="337"/>
                  </a:lnTo>
                  <a:lnTo>
                    <a:pt x="353" y="302"/>
                  </a:lnTo>
                  <a:close/>
                </a:path>
              </a:pathLst>
            </a:custGeom>
            <a:solidFill>
              <a:srgbClr val="00B9E4"/>
            </a:solidFill>
            <a:ln w="9525" cap="flat" cmpd="sng">
              <a:solidFill>
                <a:schemeClr val="bg1"/>
              </a:solidFill>
              <a:prstDash val="solid"/>
              <a:round/>
              <a:headEnd type="none" w="med" len="med"/>
              <a:tailEnd type="none" w="med" len="med"/>
            </a:ln>
            <a:effectLst/>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grpSp>
          <p:nvGrpSpPr>
            <p:cNvPr id="221" name="UK"/>
            <p:cNvGrpSpPr>
              <a:grpSpLocks/>
            </p:cNvGrpSpPr>
            <p:nvPr/>
          </p:nvGrpSpPr>
          <p:grpSpPr bwMode="auto">
            <a:xfrm>
              <a:off x="4071078" y="2640806"/>
              <a:ext cx="250822" cy="368297"/>
              <a:chOff x="4022311" y="1306473"/>
              <a:chExt cx="133" cy="193"/>
            </a:xfrm>
            <a:solidFill>
              <a:srgbClr val="00B9E4"/>
            </a:solidFill>
          </p:grpSpPr>
          <p:sp>
            <p:nvSpPr>
              <p:cNvPr id="293" name="GB"/>
              <p:cNvSpPr>
                <a:spLocks/>
              </p:cNvSpPr>
              <p:nvPr/>
            </p:nvSpPr>
            <p:spPr bwMode="auto">
              <a:xfrm>
                <a:off x="4022344" y="1306473"/>
                <a:ext cx="100" cy="193"/>
              </a:xfrm>
              <a:custGeom>
                <a:avLst/>
                <a:gdLst>
                  <a:gd name="T0" fmla="*/ 31321 w 24"/>
                  <a:gd name="T1" fmla="*/ 168050 h 47"/>
                  <a:gd name="T2" fmla="*/ 21408 w 24"/>
                  <a:gd name="T3" fmla="*/ 158642 h 47"/>
                  <a:gd name="T4" fmla="*/ 52742 w 24"/>
                  <a:gd name="T5" fmla="*/ 139046 h 47"/>
                  <a:gd name="T6" fmla="*/ 47604 w 24"/>
                  <a:gd name="T7" fmla="*/ 120280 h 47"/>
                  <a:gd name="T8" fmla="*/ 41596 w 24"/>
                  <a:gd name="T9" fmla="*/ 105189 h 47"/>
                  <a:gd name="T10" fmla="*/ 16283 w 24"/>
                  <a:gd name="T11" fmla="*/ 105189 h 47"/>
                  <a:gd name="T12" fmla="*/ 21408 w 24"/>
                  <a:gd name="T13" fmla="*/ 77060 h 47"/>
                  <a:gd name="T14" fmla="*/ 5138 w 24"/>
                  <a:gd name="T15" fmla="*/ 86419 h 47"/>
                  <a:gd name="T16" fmla="*/ 0 w 24"/>
                  <a:gd name="T17" fmla="*/ 61969 h 47"/>
                  <a:gd name="T18" fmla="*/ 0 w 24"/>
                  <a:gd name="T19" fmla="*/ 38633 h 47"/>
                  <a:gd name="T20" fmla="*/ 5138 w 24"/>
                  <a:gd name="T21" fmla="*/ 18766 h 47"/>
                  <a:gd name="T22" fmla="*/ 26546 w 24"/>
                  <a:gd name="T23" fmla="*/ 0 h 47"/>
                  <a:gd name="T24" fmla="*/ 41596 w 24"/>
                  <a:gd name="T25" fmla="*/ 4570 h 47"/>
                  <a:gd name="T26" fmla="*/ 36458 w 24"/>
                  <a:gd name="T27" fmla="*/ 29291 h 47"/>
                  <a:gd name="T28" fmla="*/ 67846 w 24"/>
                  <a:gd name="T29" fmla="*/ 29291 h 47"/>
                  <a:gd name="T30" fmla="*/ 57867 w 24"/>
                  <a:gd name="T31" fmla="*/ 52627 h 47"/>
                  <a:gd name="T32" fmla="*/ 47604 w 24"/>
                  <a:gd name="T33" fmla="*/ 72490 h 47"/>
                  <a:gd name="T34" fmla="*/ 67846 w 24"/>
                  <a:gd name="T35" fmla="*/ 81631 h 47"/>
                  <a:gd name="T36" fmla="*/ 89200 w 24"/>
                  <a:gd name="T37" fmla="*/ 115710 h 47"/>
                  <a:gd name="T38" fmla="*/ 99183 w 24"/>
                  <a:gd name="T39" fmla="*/ 139046 h 47"/>
                  <a:gd name="T40" fmla="*/ 99183 w 24"/>
                  <a:gd name="T41" fmla="*/ 152959 h 47"/>
                  <a:gd name="T42" fmla="*/ 120592 w 24"/>
                  <a:gd name="T43" fmla="*/ 152959 h 47"/>
                  <a:gd name="T44" fmla="*/ 115450 w 24"/>
                  <a:gd name="T45" fmla="*/ 186820 h 47"/>
                  <a:gd name="T46" fmla="*/ 125729 w 24"/>
                  <a:gd name="T47" fmla="*/ 191386 h 47"/>
                  <a:gd name="T48" fmla="*/ 89200 w 24"/>
                  <a:gd name="T49" fmla="*/ 206699 h 47"/>
                  <a:gd name="T50" fmla="*/ 57867 w 24"/>
                  <a:gd name="T51" fmla="*/ 211269 h 47"/>
                  <a:gd name="T52" fmla="*/ 41596 w 24"/>
                  <a:gd name="T53" fmla="*/ 216107 h 47"/>
                  <a:gd name="T54" fmla="*/ 21408 w 24"/>
                  <a:gd name="T55" fmla="*/ 216107 h 47"/>
                  <a:gd name="T56" fmla="*/ 5138 w 24"/>
                  <a:gd name="T57" fmla="*/ 220677 h 47"/>
                  <a:gd name="T58" fmla="*/ 26546 w 24"/>
                  <a:gd name="T59" fmla="*/ 200728 h 47"/>
                  <a:gd name="T60" fmla="*/ 31321 w 24"/>
                  <a:gd name="T61" fmla="*/ 182249 h 47"/>
                  <a:gd name="T62" fmla="*/ 16283 w 24"/>
                  <a:gd name="T63" fmla="*/ 177408 h 4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4" h="47">
                    <a:moveTo>
                      <a:pt x="3" y="37"/>
                    </a:moveTo>
                    <a:cubicBezTo>
                      <a:pt x="6" y="35"/>
                      <a:pt x="6" y="35"/>
                      <a:pt x="6" y="35"/>
                    </a:cubicBezTo>
                    <a:cubicBezTo>
                      <a:pt x="6" y="33"/>
                      <a:pt x="6" y="33"/>
                      <a:pt x="6" y="33"/>
                    </a:cubicBezTo>
                    <a:cubicBezTo>
                      <a:pt x="4" y="33"/>
                      <a:pt x="4" y="33"/>
                      <a:pt x="4" y="33"/>
                    </a:cubicBezTo>
                    <a:cubicBezTo>
                      <a:pt x="6" y="30"/>
                      <a:pt x="6" y="30"/>
                      <a:pt x="6" y="30"/>
                    </a:cubicBezTo>
                    <a:cubicBezTo>
                      <a:pt x="10" y="29"/>
                      <a:pt x="10" y="29"/>
                      <a:pt x="10" y="29"/>
                    </a:cubicBezTo>
                    <a:cubicBezTo>
                      <a:pt x="9" y="26"/>
                      <a:pt x="9" y="26"/>
                      <a:pt x="9" y="26"/>
                    </a:cubicBezTo>
                    <a:cubicBezTo>
                      <a:pt x="9" y="25"/>
                      <a:pt x="9" y="25"/>
                      <a:pt x="9" y="25"/>
                    </a:cubicBezTo>
                    <a:cubicBezTo>
                      <a:pt x="8" y="23"/>
                      <a:pt x="8" y="23"/>
                      <a:pt x="8" y="23"/>
                    </a:cubicBezTo>
                    <a:cubicBezTo>
                      <a:pt x="8" y="22"/>
                      <a:pt x="8" y="22"/>
                      <a:pt x="8" y="22"/>
                    </a:cubicBezTo>
                    <a:cubicBezTo>
                      <a:pt x="5" y="22"/>
                      <a:pt x="5" y="22"/>
                      <a:pt x="5" y="22"/>
                    </a:cubicBezTo>
                    <a:cubicBezTo>
                      <a:pt x="3" y="22"/>
                      <a:pt x="3" y="22"/>
                      <a:pt x="3" y="22"/>
                    </a:cubicBezTo>
                    <a:cubicBezTo>
                      <a:pt x="3" y="20"/>
                      <a:pt x="3" y="20"/>
                      <a:pt x="3" y="20"/>
                    </a:cubicBezTo>
                    <a:cubicBezTo>
                      <a:pt x="4" y="16"/>
                      <a:pt x="4" y="16"/>
                      <a:pt x="4" y="16"/>
                    </a:cubicBezTo>
                    <a:cubicBezTo>
                      <a:pt x="2" y="16"/>
                      <a:pt x="2" y="16"/>
                      <a:pt x="2" y="16"/>
                    </a:cubicBezTo>
                    <a:cubicBezTo>
                      <a:pt x="1" y="18"/>
                      <a:pt x="1" y="18"/>
                      <a:pt x="1" y="18"/>
                    </a:cubicBezTo>
                    <a:cubicBezTo>
                      <a:pt x="1" y="18"/>
                      <a:pt x="0" y="17"/>
                      <a:pt x="0" y="16"/>
                    </a:cubicBezTo>
                    <a:cubicBezTo>
                      <a:pt x="0" y="15"/>
                      <a:pt x="0" y="13"/>
                      <a:pt x="0" y="13"/>
                    </a:cubicBezTo>
                    <a:cubicBezTo>
                      <a:pt x="0" y="11"/>
                      <a:pt x="0" y="11"/>
                      <a:pt x="0" y="11"/>
                    </a:cubicBezTo>
                    <a:cubicBezTo>
                      <a:pt x="0" y="8"/>
                      <a:pt x="0" y="8"/>
                      <a:pt x="0" y="8"/>
                    </a:cubicBezTo>
                    <a:cubicBezTo>
                      <a:pt x="0" y="6"/>
                      <a:pt x="0" y="6"/>
                      <a:pt x="0" y="6"/>
                    </a:cubicBezTo>
                    <a:cubicBezTo>
                      <a:pt x="1" y="4"/>
                      <a:pt x="1" y="4"/>
                      <a:pt x="1" y="4"/>
                    </a:cubicBezTo>
                    <a:cubicBezTo>
                      <a:pt x="3" y="0"/>
                      <a:pt x="3" y="0"/>
                      <a:pt x="3" y="0"/>
                    </a:cubicBezTo>
                    <a:cubicBezTo>
                      <a:pt x="5" y="0"/>
                      <a:pt x="5" y="0"/>
                      <a:pt x="5" y="0"/>
                    </a:cubicBezTo>
                    <a:cubicBezTo>
                      <a:pt x="8" y="0"/>
                      <a:pt x="8" y="0"/>
                      <a:pt x="8" y="0"/>
                    </a:cubicBezTo>
                    <a:cubicBezTo>
                      <a:pt x="8" y="1"/>
                      <a:pt x="8" y="1"/>
                      <a:pt x="8" y="1"/>
                    </a:cubicBezTo>
                    <a:cubicBezTo>
                      <a:pt x="6" y="5"/>
                      <a:pt x="6" y="5"/>
                      <a:pt x="6" y="5"/>
                    </a:cubicBezTo>
                    <a:cubicBezTo>
                      <a:pt x="7" y="6"/>
                      <a:pt x="7" y="6"/>
                      <a:pt x="7" y="6"/>
                    </a:cubicBezTo>
                    <a:cubicBezTo>
                      <a:pt x="10" y="5"/>
                      <a:pt x="10" y="5"/>
                      <a:pt x="10" y="5"/>
                    </a:cubicBezTo>
                    <a:cubicBezTo>
                      <a:pt x="13" y="6"/>
                      <a:pt x="13" y="6"/>
                      <a:pt x="13" y="6"/>
                    </a:cubicBezTo>
                    <a:cubicBezTo>
                      <a:pt x="12" y="8"/>
                      <a:pt x="12" y="8"/>
                      <a:pt x="12" y="8"/>
                    </a:cubicBezTo>
                    <a:cubicBezTo>
                      <a:pt x="11" y="11"/>
                      <a:pt x="11" y="11"/>
                      <a:pt x="11" y="11"/>
                    </a:cubicBezTo>
                    <a:cubicBezTo>
                      <a:pt x="9" y="14"/>
                      <a:pt x="9" y="14"/>
                      <a:pt x="9" y="14"/>
                    </a:cubicBezTo>
                    <a:cubicBezTo>
                      <a:pt x="9" y="15"/>
                      <a:pt x="9" y="15"/>
                      <a:pt x="9" y="15"/>
                    </a:cubicBezTo>
                    <a:cubicBezTo>
                      <a:pt x="11" y="16"/>
                      <a:pt x="11" y="16"/>
                      <a:pt x="11" y="16"/>
                    </a:cubicBezTo>
                    <a:cubicBezTo>
                      <a:pt x="13" y="17"/>
                      <a:pt x="13" y="17"/>
                      <a:pt x="13" y="17"/>
                    </a:cubicBezTo>
                    <a:cubicBezTo>
                      <a:pt x="15" y="22"/>
                      <a:pt x="15" y="22"/>
                      <a:pt x="15" y="22"/>
                    </a:cubicBezTo>
                    <a:cubicBezTo>
                      <a:pt x="17" y="24"/>
                      <a:pt x="17" y="24"/>
                      <a:pt x="17" y="24"/>
                    </a:cubicBezTo>
                    <a:cubicBezTo>
                      <a:pt x="20" y="28"/>
                      <a:pt x="20" y="28"/>
                      <a:pt x="20" y="28"/>
                    </a:cubicBezTo>
                    <a:cubicBezTo>
                      <a:pt x="19" y="29"/>
                      <a:pt x="19" y="29"/>
                      <a:pt x="19" y="29"/>
                    </a:cubicBezTo>
                    <a:cubicBezTo>
                      <a:pt x="19" y="30"/>
                      <a:pt x="19" y="30"/>
                      <a:pt x="19" y="30"/>
                    </a:cubicBezTo>
                    <a:cubicBezTo>
                      <a:pt x="19" y="32"/>
                      <a:pt x="19" y="32"/>
                      <a:pt x="19" y="32"/>
                    </a:cubicBezTo>
                    <a:cubicBezTo>
                      <a:pt x="21" y="32"/>
                      <a:pt x="21" y="32"/>
                      <a:pt x="21" y="32"/>
                    </a:cubicBezTo>
                    <a:cubicBezTo>
                      <a:pt x="23" y="32"/>
                      <a:pt x="23" y="32"/>
                      <a:pt x="23" y="32"/>
                    </a:cubicBezTo>
                    <a:cubicBezTo>
                      <a:pt x="24" y="36"/>
                      <a:pt x="24" y="36"/>
                      <a:pt x="24" y="36"/>
                    </a:cubicBezTo>
                    <a:cubicBezTo>
                      <a:pt x="22" y="39"/>
                      <a:pt x="22" y="39"/>
                      <a:pt x="22" y="39"/>
                    </a:cubicBezTo>
                    <a:cubicBezTo>
                      <a:pt x="22" y="40"/>
                      <a:pt x="22" y="40"/>
                      <a:pt x="22" y="40"/>
                    </a:cubicBezTo>
                    <a:cubicBezTo>
                      <a:pt x="24" y="40"/>
                      <a:pt x="24" y="40"/>
                      <a:pt x="24" y="40"/>
                    </a:cubicBezTo>
                    <a:cubicBezTo>
                      <a:pt x="22" y="41"/>
                      <a:pt x="22" y="41"/>
                      <a:pt x="22" y="41"/>
                    </a:cubicBezTo>
                    <a:cubicBezTo>
                      <a:pt x="17" y="43"/>
                      <a:pt x="17" y="43"/>
                      <a:pt x="17" y="43"/>
                    </a:cubicBezTo>
                    <a:cubicBezTo>
                      <a:pt x="14" y="43"/>
                      <a:pt x="14" y="43"/>
                      <a:pt x="14" y="43"/>
                    </a:cubicBezTo>
                    <a:cubicBezTo>
                      <a:pt x="11" y="44"/>
                      <a:pt x="11" y="44"/>
                      <a:pt x="11" y="44"/>
                    </a:cubicBezTo>
                    <a:cubicBezTo>
                      <a:pt x="11" y="44"/>
                      <a:pt x="10" y="43"/>
                      <a:pt x="9" y="43"/>
                    </a:cubicBezTo>
                    <a:cubicBezTo>
                      <a:pt x="9" y="43"/>
                      <a:pt x="8" y="45"/>
                      <a:pt x="8" y="45"/>
                    </a:cubicBezTo>
                    <a:cubicBezTo>
                      <a:pt x="6" y="45"/>
                      <a:pt x="6" y="45"/>
                      <a:pt x="6" y="45"/>
                    </a:cubicBezTo>
                    <a:cubicBezTo>
                      <a:pt x="4" y="45"/>
                      <a:pt x="4" y="45"/>
                      <a:pt x="4" y="45"/>
                    </a:cubicBezTo>
                    <a:cubicBezTo>
                      <a:pt x="3" y="47"/>
                      <a:pt x="3" y="47"/>
                      <a:pt x="3" y="47"/>
                    </a:cubicBezTo>
                    <a:cubicBezTo>
                      <a:pt x="1" y="46"/>
                      <a:pt x="1" y="46"/>
                      <a:pt x="1" y="46"/>
                    </a:cubicBezTo>
                    <a:cubicBezTo>
                      <a:pt x="2" y="44"/>
                      <a:pt x="2" y="44"/>
                      <a:pt x="2" y="44"/>
                    </a:cubicBezTo>
                    <a:cubicBezTo>
                      <a:pt x="5" y="42"/>
                      <a:pt x="5" y="42"/>
                      <a:pt x="5" y="42"/>
                    </a:cubicBezTo>
                    <a:cubicBezTo>
                      <a:pt x="8" y="39"/>
                      <a:pt x="8" y="39"/>
                      <a:pt x="8" y="39"/>
                    </a:cubicBezTo>
                    <a:cubicBezTo>
                      <a:pt x="6" y="38"/>
                      <a:pt x="6" y="38"/>
                      <a:pt x="6" y="38"/>
                    </a:cubicBezTo>
                    <a:cubicBezTo>
                      <a:pt x="4" y="38"/>
                      <a:pt x="4" y="38"/>
                      <a:pt x="4" y="38"/>
                    </a:cubicBezTo>
                    <a:lnTo>
                      <a:pt x="3" y="37"/>
                    </a:lnTo>
                    <a:close/>
                  </a:path>
                </a:pathLst>
              </a:custGeom>
              <a:grp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294" name="NIRELAND"/>
              <p:cNvSpPr>
                <a:spLocks/>
              </p:cNvSpPr>
              <p:nvPr/>
            </p:nvSpPr>
            <p:spPr bwMode="auto">
              <a:xfrm>
                <a:off x="4022311" y="1306554"/>
                <a:ext cx="34" cy="22"/>
              </a:xfrm>
              <a:custGeom>
                <a:avLst/>
                <a:gdLst>
                  <a:gd name="T0" fmla="*/ 24 w 34"/>
                  <a:gd name="T1" fmla="*/ 22 h 22"/>
                  <a:gd name="T2" fmla="*/ 0 w 34"/>
                  <a:gd name="T3" fmla="*/ 18 h 22"/>
                  <a:gd name="T4" fmla="*/ 13 w 34"/>
                  <a:gd name="T5" fmla="*/ 0 h 22"/>
                  <a:gd name="T6" fmla="*/ 27 w 34"/>
                  <a:gd name="T7" fmla="*/ 3 h 22"/>
                  <a:gd name="T8" fmla="*/ 34 w 34"/>
                  <a:gd name="T9" fmla="*/ 15 h 22"/>
                  <a:gd name="T10" fmla="*/ 24 w 34"/>
                  <a:gd name="T11" fmla="*/ 22 h 2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4" h="22">
                    <a:moveTo>
                      <a:pt x="24" y="22"/>
                    </a:moveTo>
                    <a:lnTo>
                      <a:pt x="0" y="18"/>
                    </a:lnTo>
                    <a:lnTo>
                      <a:pt x="13" y="0"/>
                    </a:lnTo>
                    <a:lnTo>
                      <a:pt x="27" y="3"/>
                    </a:lnTo>
                    <a:lnTo>
                      <a:pt x="34" y="15"/>
                    </a:lnTo>
                    <a:lnTo>
                      <a:pt x="24" y="22"/>
                    </a:lnTo>
                    <a:close/>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grpSp>
        <p:sp>
          <p:nvSpPr>
            <p:cNvPr id="222" name="CY"/>
            <p:cNvSpPr>
              <a:spLocks/>
            </p:cNvSpPr>
            <p:nvPr/>
          </p:nvSpPr>
          <p:spPr bwMode="auto">
            <a:xfrm>
              <a:off x="5039326" y="3487712"/>
              <a:ext cx="73024" cy="44449"/>
            </a:xfrm>
            <a:custGeom>
              <a:avLst/>
              <a:gdLst>
                <a:gd name="T0" fmla="*/ 0 w 46"/>
                <a:gd name="T1" fmla="*/ 2147483647 h 28"/>
                <a:gd name="T2" fmla="*/ 2147483647 w 46"/>
                <a:gd name="T3" fmla="*/ 2147483647 h 28"/>
                <a:gd name="T4" fmla="*/ 2147483647 w 46"/>
                <a:gd name="T5" fmla="*/ 2147483647 h 28"/>
                <a:gd name="T6" fmla="*/ 2147483647 w 46"/>
                <a:gd name="T7" fmla="*/ 2147483647 h 28"/>
                <a:gd name="T8" fmla="*/ 2147483647 w 46"/>
                <a:gd name="T9" fmla="*/ 2147483647 h 28"/>
                <a:gd name="T10" fmla="*/ 2147483647 w 46"/>
                <a:gd name="T11" fmla="*/ 0 h 28"/>
                <a:gd name="T12" fmla="*/ 2147483647 w 46"/>
                <a:gd name="T13" fmla="*/ 2147483647 h 28"/>
                <a:gd name="T14" fmla="*/ 2147483647 w 46"/>
                <a:gd name="T15" fmla="*/ 2147483647 h 28"/>
                <a:gd name="T16" fmla="*/ 2147483647 w 46"/>
                <a:gd name="T17" fmla="*/ 2147483647 h 28"/>
                <a:gd name="T18" fmla="*/ 2147483647 w 46"/>
                <a:gd name="T19" fmla="*/ 2147483647 h 28"/>
                <a:gd name="T20" fmla="*/ 2147483647 w 46"/>
                <a:gd name="T21" fmla="*/ 2147483647 h 28"/>
                <a:gd name="T22" fmla="*/ 2147483647 w 46"/>
                <a:gd name="T23" fmla="*/ 2147483647 h 28"/>
                <a:gd name="T24" fmla="*/ 2147483647 w 46"/>
                <a:gd name="T25" fmla="*/ 2147483647 h 28"/>
                <a:gd name="T26" fmla="*/ 2147483647 w 46"/>
                <a:gd name="T27" fmla="*/ 2147483647 h 28"/>
                <a:gd name="T28" fmla="*/ 0 w 46"/>
                <a:gd name="T29" fmla="*/ 2147483647 h 2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6" h="28">
                  <a:moveTo>
                    <a:pt x="0" y="15"/>
                  </a:moveTo>
                  <a:lnTo>
                    <a:pt x="3" y="17"/>
                  </a:lnTo>
                  <a:lnTo>
                    <a:pt x="12" y="14"/>
                  </a:lnTo>
                  <a:lnTo>
                    <a:pt x="13" y="8"/>
                  </a:lnTo>
                  <a:lnTo>
                    <a:pt x="27" y="9"/>
                  </a:lnTo>
                  <a:lnTo>
                    <a:pt x="46" y="0"/>
                  </a:lnTo>
                  <a:lnTo>
                    <a:pt x="46" y="1"/>
                  </a:lnTo>
                  <a:lnTo>
                    <a:pt x="33" y="11"/>
                  </a:lnTo>
                  <a:lnTo>
                    <a:pt x="36" y="18"/>
                  </a:lnTo>
                  <a:lnTo>
                    <a:pt x="27" y="21"/>
                  </a:lnTo>
                  <a:lnTo>
                    <a:pt x="15" y="28"/>
                  </a:lnTo>
                  <a:lnTo>
                    <a:pt x="13" y="28"/>
                  </a:lnTo>
                  <a:lnTo>
                    <a:pt x="8" y="26"/>
                  </a:lnTo>
                  <a:lnTo>
                    <a:pt x="2" y="23"/>
                  </a:lnTo>
                  <a:lnTo>
                    <a:pt x="0" y="15"/>
                  </a:lnTo>
                  <a:close/>
                </a:path>
              </a:pathLst>
            </a:custGeom>
            <a:solidFill>
              <a:srgbClr val="00B9E4"/>
            </a:solidFill>
            <a:ln w="9525" cap="flat" cmpd="sng">
              <a:solidFill>
                <a:schemeClr val="bg1"/>
              </a:solidFill>
              <a:prstDash val="solid"/>
              <a:round/>
              <a:headEnd type="none" w="med" len="med"/>
              <a:tailEnd type="none" w="med" len="med"/>
            </a:ln>
            <a:effectLst/>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223" name="CN"/>
            <p:cNvSpPr>
              <a:spLocks/>
            </p:cNvSpPr>
            <p:nvPr/>
          </p:nvSpPr>
          <p:spPr bwMode="auto">
            <a:xfrm>
              <a:off x="6098910" y="2875754"/>
              <a:ext cx="1486500" cy="1040537"/>
            </a:xfrm>
            <a:custGeom>
              <a:avLst/>
              <a:gdLst>
                <a:gd name="T0" fmla="*/ 2147483647 w 950"/>
                <a:gd name="T1" fmla="*/ 2147483647 h 660"/>
                <a:gd name="T2" fmla="*/ 2147483647 w 950"/>
                <a:gd name="T3" fmla="*/ 2147483647 h 660"/>
                <a:gd name="T4" fmla="*/ 2147483647 w 950"/>
                <a:gd name="T5" fmla="*/ 2147483647 h 660"/>
                <a:gd name="T6" fmla="*/ 2147483647 w 950"/>
                <a:gd name="T7" fmla="*/ 2147483647 h 660"/>
                <a:gd name="T8" fmla="*/ 2147483647 w 950"/>
                <a:gd name="T9" fmla="*/ 2147483647 h 660"/>
                <a:gd name="T10" fmla="*/ 2147483647 w 950"/>
                <a:gd name="T11" fmla="*/ 2147483647 h 660"/>
                <a:gd name="T12" fmla="*/ 2147483647 w 950"/>
                <a:gd name="T13" fmla="*/ 2147483647 h 660"/>
                <a:gd name="T14" fmla="*/ 2147483647 w 950"/>
                <a:gd name="T15" fmla="*/ 2147483647 h 660"/>
                <a:gd name="T16" fmla="*/ 2147483647 w 950"/>
                <a:gd name="T17" fmla="*/ 2147483647 h 660"/>
                <a:gd name="T18" fmla="*/ 2147483647 w 950"/>
                <a:gd name="T19" fmla="*/ 2147483647 h 660"/>
                <a:gd name="T20" fmla="*/ 2147483647 w 950"/>
                <a:gd name="T21" fmla="*/ 2147483647 h 660"/>
                <a:gd name="T22" fmla="*/ 2147483647 w 950"/>
                <a:gd name="T23" fmla="*/ 2147483647 h 660"/>
                <a:gd name="T24" fmla="*/ 2147483647 w 950"/>
                <a:gd name="T25" fmla="*/ 2147483647 h 660"/>
                <a:gd name="T26" fmla="*/ 2147483647 w 950"/>
                <a:gd name="T27" fmla="*/ 2147483647 h 660"/>
                <a:gd name="T28" fmla="*/ 2147483647 w 950"/>
                <a:gd name="T29" fmla="*/ 2147483647 h 660"/>
                <a:gd name="T30" fmla="*/ 2147483647 w 950"/>
                <a:gd name="T31" fmla="*/ 2147483647 h 660"/>
                <a:gd name="T32" fmla="*/ 2147483647 w 950"/>
                <a:gd name="T33" fmla="*/ 2147483647 h 660"/>
                <a:gd name="T34" fmla="*/ 2147483647 w 950"/>
                <a:gd name="T35" fmla="*/ 2147483647 h 660"/>
                <a:gd name="T36" fmla="*/ 2147483647 w 950"/>
                <a:gd name="T37" fmla="*/ 2147483647 h 660"/>
                <a:gd name="T38" fmla="*/ 2147483647 w 950"/>
                <a:gd name="T39" fmla="*/ 2147483647 h 660"/>
                <a:gd name="T40" fmla="*/ 2147483647 w 950"/>
                <a:gd name="T41" fmla="*/ 2147483647 h 660"/>
                <a:gd name="T42" fmla="*/ 2147483647 w 950"/>
                <a:gd name="T43" fmla="*/ 2147483647 h 660"/>
                <a:gd name="T44" fmla="*/ 2147483647 w 950"/>
                <a:gd name="T45" fmla="*/ 2147483647 h 660"/>
                <a:gd name="T46" fmla="*/ 2147483647 w 950"/>
                <a:gd name="T47" fmla="*/ 2147483647 h 660"/>
                <a:gd name="T48" fmla="*/ 2147483647 w 950"/>
                <a:gd name="T49" fmla="*/ 2147483647 h 660"/>
                <a:gd name="T50" fmla="*/ 2147483647 w 950"/>
                <a:gd name="T51" fmla="*/ 2147483647 h 660"/>
                <a:gd name="T52" fmla="*/ 2147483647 w 950"/>
                <a:gd name="T53" fmla="*/ 2147483647 h 660"/>
                <a:gd name="T54" fmla="*/ 2147483647 w 950"/>
                <a:gd name="T55" fmla="*/ 2147483647 h 660"/>
                <a:gd name="T56" fmla="*/ 2147483647 w 950"/>
                <a:gd name="T57" fmla="*/ 2147483647 h 660"/>
                <a:gd name="T58" fmla="*/ 2147483647 w 950"/>
                <a:gd name="T59" fmla="*/ 2147483647 h 660"/>
                <a:gd name="T60" fmla="*/ 2147483647 w 950"/>
                <a:gd name="T61" fmla="*/ 2147483647 h 660"/>
                <a:gd name="T62" fmla="*/ 2147483647 w 950"/>
                <a:gd name="T63" fmla="*/ 2147483647 h 660"/>
                <a:gd name="T64" fmla="*/ 2147483647 w 950"/>
                <a:gd name="T65" fmla="*/ 2147483647 h 660"/>
                <a:gd name="T66" fmla="*/ 2147483647 w 950"/>
                <a:gd name="T67" fmla="*/ 2147483647 h 660"/>
                <a:gd name="T68" fmla="*/ 2147483647 w 950"/>
                <a:gd name="T69" fmla="*/ 2147483647 h 660"/>
                <a:gd name="T70" fmla="*/ 2147483647 w 950"/>
                <a:gd name="T71" fmla="*/ 2147483647 h 660"/>
                <a:gd name="T72" fmla="*/ 2147483647 w 950"/>
                <a:gd name="T73" fmla="*/ 2147483647 h 660"/>
                <a:gd name="T74" fmla="*/ 2147483647 w 950"/>
                <a:gd name="T75" fmla="*/ 2147483647 h 660"/>
                <a:gd name="T76" fmla="*/ 2147483647 w 950"/>
                <a:gd name="T77" fmla="*/ 2147483647 h 660"/>
                <a:gd name="T78" fmla="*/ 2147483647 w 950"/>
                <a:gd name="T79" fmla="*/ 2147483647 h 660"/>
                <a:gd name="T80" fmla="*/ 2147483647 w 950"/>
                <a:gd name="T81" fmla="*/ 2147483647 h 660"/>
                <a:gd name="T82" fmla="*/ 2147483647 w 950"/>
                <a:gd name="T83" fmla="*/ 2147483647 h 660"/>
                <a:gd name="T84" fmla="*/ 2147483647 w 950"/>
                <a:gd name="T85" fmla="*/ 2147483647 h 660"/>
                <a:gd name="T86" fmla="*/ 2147483647 w 950"/>
                <a:gd name="T87" fmla="*/ 2147483647 h 660"/>
                <a:gd name="T88" fmla="*/ 2147483647 w 950"/>
                <a:gd name="T89" fmla="*/ 2147483647 h 660"/>
                <a:gd name="T90" fmla="*/ 2147483647 w 950"/>
                <a:gd name="T91" fmla="*/ 2147483647 h 660"/>
                <a:gd name="T92" fmla="*/ 2147483647 w 950"/>
                <a:gd name="T93" fmla="*/ 2147483647 h 660"/>
                <a:gd name="T94" fmla="*/ 2147483647 w 950"/>
                <a:gd name="T95" fmla="*/ 2147483647 h 660"/>
                <a:gd name="T96" fmla="*/ 2147483647 w 950"/>
                <a:gd name="T97" fmla="*/ 2147483647 h 660"/>
                <a:gd name="T98" fmla="*/ 2147483647 w 950"/>
                <a:gd name="T99" fmla="*/ 2147483647 h 660"/>
                <a:gd name="T100" fmla="*/ 2147483647 w 950"/>
                <a:gd name="T101" fmla="*/ 2147483647 h 660"/>
                <a:gd name="T102" fmla="*/ 2147483647 w 950"/>
                <a:gd name="T103" fmla="*/ 2147483647 h 660"/>
                <a:gd name="T104" fmla="*/ 2147483647 w 950"/>
                <a:gd name="T105" fmla="*/ 2147483647 h 660"/>
                <a:gd name="T106" fmla="*/ 2147483647 w 950"/>
                <a:gd name="T107" fmla="*/ 2147483647 h 660"/>
                <a:gd name="T108" fmla="*/ 2147483647 w 950"/>
                <a:gd name="T109" fmla="*/ 2147483647 h 660"/>
                <a:gd name="T110" fmla="*/ 2147483647 w 950"/>
                <a:gd name="T111" fmla="*/ 2147483647 h 660"/>
                <a:gd name="T112" fmla="*/ 2147483647 w 950"/>
                <a:gd name="T113" fmla="*/ 2147483647 h 660"/>
                <a:gd name="T114" fmla="*/ 2147483647 w 950"/>
                <a:gd name="T115" fmla="*/ 2147483647 h 660"/>
                <a:gd name="T116" fmla="*/ 2147483647 w 950"/>
                <a:gd name="T117" fmla="*/ 2147483647 h 660"/>
                <a:gd name="T118" fmla="*/ 2147483647 w 950"/>
                <a:gd name="T119" fmla="*/ 2147483647 h 660"/>
                <a:gd name="T120" fmla="*/ 2147483647 w 950"/>
                <a:gd name="T121" fmla="*/ 2147483647 h 66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connsiteX0" fmla="*/ 9368 w 10000"/>
                <a:gd name="connsiteY0" fmla="*/ 1788 h 10000"/>
                <a:gd name="connsiteX1" fmla="*/ 9368 w 10000"/>
                <a:gd name="connsiteY1" fmla="*/ 1788 h 10000"/>
                <a:gd name="connsiteX2" fmla="*/ 9263 w 10000"/>
                <a:gd name="connsiteY2" fmla="*/ 1485 h 10000"/>
                <a:gd name="connsiteX3" fmla="*/ 8842 w 10000"/>
                <a:gd name="connsiteY3" fmla="*/ 1333 h 10000"/>
                <a:gd name="connsiteX4" fmla="*/ 8337 w 10000"/>
                <a:gd name="connsiteY4" fmla="*/ 0 h 10000"/>
                <a:gd name="connsiteX5" fmla="*/ 7853 w 10000"/>
                <a:gd name="connsiteY5" fmla="*/ 0 h 10000"/>
                <a:gd name="connsiteX6" fmla="*/ 7705 w 10000"/>
                <a:gd name="connsiteY6" fmla="*/ 364 h 10000"/>
                <a:gd name="connsiteX7" fmla="*/ 7389 w 10000"/>
                <a:gd name="connsiteY7" fmla="*/ 1182 h 10000"/>
                <a:gd name="connsiteX8" fmla="*/ 7074 w 10000"/>
                <a:gd name="connsiteY8" fmla="*/ 1182 h 10000"/>
                <a:gd name="connsiteX9" fmla="*/ 7032 w 10000"/>
                <a:gd name="connsiteY9" fmla="*/ 1333 h 10000"/>
                <a:gd name="connsiteX10" fmla="*/ 7032 w 10000"/>
                <a:gd name="connsiteY10" fmla="*/ 1364 h 10000"/>
                <a:gd name="connsiteX11" fmla="*/ 7053 w 10000"/>
                <a:gd name="connsiteY11" fmla="*/ 1364 h 10000"/>
                <a:gd name="connsiteX12" fmla="*/ 7074 w 10000"/>
                <a:gd name="connsiteY12" fmla="*/ 1364 h 10000"/>
                <a:gd name="connsiteX13" fmla="*/ 7074 w 10000"/>
                <a:gd name="connsiteY13" fmla="*/ 1394 h 10000"/>
                <a:gd name="connsiteX14" fmla="*/ 7095 w 10000"/>
                <a:gd name="connsiteY14" fmla="*/ 1394 h 10000"/>
                <a:gd name="connsiteX15" fmla="*/ 7116 w 10000"/>
                <a:gd name="connsiteY15" fmla="*/ 1394 h 10000"/>
                <a:gd name="connsiteX16" fmla="*/ 7116 w 10000"/>
                <a:gd name="connsiteY16" fmla="*/ 1424 h 10000"/>
                <a:gd name="connsiteX17" fmla="*/ 7137 w 10000"/>
                <a:gd name="connsiteY17" fmla="*/ 1424 h 10000"/>
                <a:gd name="connsiteX18" fmla="*/ 7116 w 10000"/>
                <a:gd name="connsiteY18" fmla="*/ 1424 h 10000"/>
                <a:gd name="connsiteX19" fmla="*/ 7116 w 10000"/>
                <a:gd name="connsiteY19" fmla="*/ 1394 h 10000"/>
                <a:gd name="connsiteX20" fmla="*/ 7095 w 10000"/>
                <a:gd name="connsiteY20" fmla="*/ 1394 h 10000"/>
                <a:gd name="connsiteX21" fmla="*/ 7074 w 10000"/>
                <a:gd name="connsiteY21" fmla="*/ 1394 h 10000"/>
                <a:gd name="connsiteX22" fmla="*/ 7074 w 10000"/>
                <a:gd name="connsiteY22" fmla="*/ 1364 h 10000"/>
                <a:gd name="connsiteX23" fmla="*/ 7053 w 10000"/>
                <a:gd name="connsiteY23" fmla="*/ 1364 h 10000"/>
                <a:gd name="connsiteX24" fmla="*/ 7032 w 10000"/>
                <a:gd name="connsiteY24" fmla="*/ 1364 h 10000"/>
                <a:gd name="connsiteX25" fmla="*/ 7032 w 10000"/>
                <a:gd name="connsiteY25" fmla="*/ 1333 h 10000"/>
                <a:gd name="connsiteX26" fmla="*/ 6926 w 10000"/>
                <a:gd name="connsiteY26" fmla="*/ 1636 h 10000"/>
                <a:gd name="connsiteX27" fmla="*/ 6926 w 10000"/>
                <a:gd name="connsiteY27" fmla="*/ 2000 h 10000"/>
                <a:gd name="connsiteX28" fmla="*/ 7389 w 10000"/>
                <a:gd name="connsiteY28" fmla="*/ 2091 h 10000"/>
                <a:gd name="connsiteX29" fmla="*/ 7495 w 10000"/>
                <a:gd name="connsiteY29" fmla="*/ 2394 h 10000"/>
                <a:gd name="connsiteX30" fmla="*/ 7032 w 10000"/>
                <a:gd name="connsiteY30" fmla="*/ 2606 h 10000"/>
                <a:gd name="connsiteX31" fmla="*/ 6653 w 10000"/>
                <a:gd name="connsiteY31" fmla="*/ 2848 h 10000"/>
                <a:gd name="connsiteX32" fmla="*/ 6295 w 10000"/>
                <a:gd name="connsiteY32" fmla="*/ 3061 h 10000"/>
                <a:gd name="connsiteX33" fmla="*/ 6189 w 10000"/>
                <a:gd name="connsiteY33" fmla="*/ 3576 h 10000"/>
                <a:gd name="connsiteX34" fmla="*/ 5621 w 10000"/>
                <a:gd name="connsiteY34" fmla="*/ 3667 h 10000"/>
                <a:gd name="connsiteX35" fmla="*/ 5053 w 10000"/>
                <a:gd name="connsiteY35" fmla="*/ 4182 h 10000"/>
                <a:gd name="connsiteX36" fmla="*/ 4526 w 10000"/>
                <a:gd name="connsiteY36" fmla="*/ 3818 h 10000"/>
                <a:gd name="connsiteX37" fmla="*/ 3895 w 10000"/>
                <a:gd name="connsiteY37" fmla="*/ 3727 h 10000"/>
                <a:gd name="connsiteX38" fmla="*/ 3432 w 10000"/>
                <a:gd name="connsiteY38" fmla="*/ 3061 h 10000"/>
                <a:gd name="connsiteX39" fmla="*/ 2758 w 10000"/>
                <a:gd name="connsiteY39" fmla="*/ 2758 h 10000"/>
                <a:gd name="connsiteX40" fmla="*/ 2695 w 10000"/>
                <a:gd name="connsiteY40" fmla="*/ 2000 h 10000"/>
                <a:gd name="connsiteX41" fmla="*/ 2379 w 10000"/>
                <a:gd name="connsiteY41" fmla="*/ 1788 h 10000"/>
                <a:gd name="connsiteX42" fmla="*/ 2337 w 10000"/>
                <a:gd name="connsiteY42" fmla="*/ 1727 h 10000"/>
                <a:gd name="connsiteX43" fmla="*/ 2316 w 10000"/>
                <a:gd name="connsiteY43" fmla="*/ 1758 h 10000"/>
                <a:gd name="connsiteX44" fmla="*/ 2295 w 10000"/>
                <a:gd name="connsiteY44" fmla="*/ 1818 h 10000"/>
                <a:gd name="connsiteX45" fmla="*/ 2295 w 10000"/>
                <a:gd name="connsiteY45" fmla="*/ 1848 h 10000"/>
                <a:gd name="connsiteX46" fmla="*/ 2295 w 10000"/>
                <a:gd name="connsiteY46" fmla="*/ 1879 h 10000"/>
                <a:gd name="connsiteX47" fmla="*/ 2295 w 10000"/>
                <a:gd name="connsiteY47" fmla="*/ 1848 h 10000"/>
                <a:gd name="connsiteX48" fmla="*/ 2295 w 10000"/>
                <a:gd name="connsiteY48" fmla="*/ 1818 h 10000"/>
                <a:gd name="connsiteX49" fmla="*/ 2337 w 10000"/>
                <a:gd name="connsiteY49" fmla="*/ 1727 h 10000"/>
                <a:gd name="connsiteX50" fmla="*/ 2295 w 10000"/>
                <a:gd name="connsiteY50" fmla="*/ 1636 h 10000"/>
                <a:gd name="connsiteX51" fmla="*/ 2189 w 10000"/>
                <a:gd name="connsiteY51" fmla="*/ 1727 h 10000"/>
                <a:gd name="connsiteX52" fmla="*/ 2189 w 10000"/>
                <a:gd name="connsiteY52" fmla="*/ 1879 h 10000"/>
                <a:gd name="connsiteX53" fmla="*/ 2189 w 10000"/>
                <a:gd name="connsiteY53" fmla="*/ 1727 h 10000"/>
                <a:gd name="connsiteX54" fmla="*/ 2021 w 10000"/>
                <a:gd name="connsiteY54" fmla="*/ 1788 h 10000"/>
                <a:gd name="connsiteX55" fmla="*/ 1916 w 10000"/>
                <a:gd name="connsiteY55" fmla="*/ 2242 h 10000"/>
                <a:gd name="connsiteX56" fmla="*/ 1495 w 10000"/>
                <a:gd name="connsiteY56" fmla="*/ 2152 h 10000"/>
                <a:gd name="connsiteX57" fmla="*/ 1389 w 10000"/>
                <a:gd name="connsiteY57" fmla="*/ 2909 h 10000"/>
                <a:gd name="connsiteX58" fmla="*/ 1032 w 10000"/>
                <a:gd name="connsiteY58" fmla="*/ 3000 h 10000"/>
                <a:gd name="connsiteX59" fmla="*/ 926 w 10000"/>
                <a:gd name="connsiteY59" fmla="*/ 3879 h 10000"/>
                <a:gd name="connsiteX60" fmla="*/ 716 w 10000"/>
                <a:gd name="connsiteY60" fmla="*/ 4182 h 10000"/>
                <a:gd name="connsiteX61" fmla="*/ 463 w 10000"/>
                <a:gd name="connsiteY61" fmla="*/ 4485 h 10000"/>
                <a:gd name="connsiteX62" fmla="*/ 42 w 10000"/>
                <a:gd name="connsiteY62" fmla="*/ 4636 h 10000"/>
                <a:gd name="connsiteX63" fmla="*/ 0 w 10000"/>
                <a:gd name="connsiteY63" fmla="*/ 4939 h 10000"/>
                <a:gd name="connsiteX64" fmla="*/ 105 w 10000"/>
                <a:gd name="connsiteY64" fmla="*/ 5061 h 10000"/>
                <a:gd name="connsiteX65" fmla="*/ 147 w 10000"/>
                <a:gd name="connsiteY65" fmla="*/ 5303 h 10000"/>
                <a:gd name="connsiteX66" fmla="*/ 42 w 10000"/>
                <a:gd name="connsiteY66" fmla="*/ 5364 h 10000"/>
                <a:gd name="connsiteX67" fmla="*/ 147 w 10000"/>
                <a:gd name="connsiteY67" fmla="*/ 5515 h 10000"/>
                <a:gd name="connsiteX68" fmla="*/ 316 w 10000"/>
                <a:gd name="connsiteY68" fmla="*/ 5606 h 10000"/>
                <a:gd name="connsiteX69" fmla="*/ 463 w 10000"/>
                <a:gd name="connsiteY69" fmla="*/ 5909 h 10000"/>
                <a:gd name="connsiteX70" fmla="*/ 674 w 10000"/>
                <a:gd name="connsiteY70" fmla="*/ 5909 h 10000"/>
                <a:gd name="connsiteX71" fmla="*/ 989 w 10000"/>
                <a:gd name="connsiteY71" fmla="*/ 5909 h 10000"/>
                <a:gd name="connsiteX72" fmla="*/ 1032 w 10000"/>
                <a:gd name="connsiteY72" fmla="*/ 6030 h 10000"/>
                <a:gd name="connsiteX73" fmla="*/ 821 w 10000"/>
                <a:gd name="connsiteY73" fmla="*/ 6485 h 10000"/>
                <a:gd name="connsiteX74" fmla="*/ 884 w 10000"/>
                <a:gd name="connsiteY74" fmla="*/ 6727 h 10000"/>
                <a:gd name="connsiteX75" fmla="*/ 779 w 10000"/>
                <a:gd name="connsiteY75" fmla="*/ 6939 h 10000"/>
                <a:gd name="connsiteX76" fmla="*/ 884 w 10000"/>
                <a:gd name="connsiteY76" fmla="*/ 7242 h 10000"/>
                <a:gd name="connsiteX77" fmla="*/ 1137 w 10000"/>
                <a:gd name="connsiteY77" fmla="*/ 7394 h 10000"/>
                <a:gd name="connsiteX78" fmla="*/ 1095 w 10000"/>
                <a:gd name="connsiteY78" fmla="*/ 7455 h 10000"/>
                <a:gd name="connsiteX79" fmla="*/ 1200 w 10000"/>
                <a:gd name="connsiteY79" fmla="*/ 7455 h 10000"/>
                <a:gd name="connsiteX80" fmla="*/ 1558 w 10000"/>
                <a:gd name="connsiteY80" fmla="*/ 7697 h 10000"/>
                <a:gd name="connsiteX81" fmla="*/ 1874 w 10000"/>
                <a:gd name="connsiteY81" fmla="*/ 7909 h 10000"/>
                <a:gd name="connsiteX82" fmla="*/ 2189 w 10000"/>
                <a:gd name="connsiteY82" fmla="*/ 8000 h 10000"/>
                <a:gd name="connsiteX83" fmla="*/ 2295 w 10000"/>
                <a:gd name="connsiteY83" fmla="*/ 8121 h 10000"/>
                <a:gd name="connsiteX84" fmla="*/ 2379 w 10000"/>
                <a:gd name="connsiteY84" fmla="*/ 8121 h 10000"/>
                <a:gd name="connsiteX85" fmla="*/ 2547 w 10000"/>
                <a:gd name="connsiteY85" fmla="*/ 8273 h 10000"/>
                <a:gd name="connsiteX86" fmla="*/ 2758 w 10000"/>
                <a:gd name="connsiteY86" fmla="*/ 8273 h 10000"/>
                <a:gd name="connsiteX87" fmla="*/ 2968 w 10000"/>
                <a:gd name="connsiteY87" fmla="*/ 8273 h 10000"/>
                <a:gd name="connsiteX88" fmla="*/ 3116 w 10000"/>
                <a:gd name="connsiteY88" fmla="*/ 8000 h 10000"/>
                <a:gd name="connsiteX89" fmla="*/ 3390 w 10000"/>
                <a:gd name="connsiteY89" fmla="*/ 8057 h 10000"/>
                <a:gd name="connsiteX90" fmla="*/ 3579 w 10000"/>
                <a:gd name="connsiteY90" fmla="*/ 7758 h 10000"/>
                <a:gd name="connsiteX91" fmla="*/ 3789 w 10000"/>
                <a:gd name="connsiteY91" fmla="*/ 8000 h 10000"/>
                <a:gd name="connsiteX92" fmla="*/ 3895 w 10000"/>
                <a:gd name="connsiteY92" fmla="*/ 8000 h 10000"/>
                <a:gd name="connsiteX93" fmla="*/ 4000 w 10000"/>
                <a:gd name="connsiteY93" fmla="*/ 8061 h 10000"/>
                <a:gd name="connsiteX94" fmla="*/ 4063 w 10000"/>
                <a:gd name="connsiteY94" fmla="*/ 8424 h 10000"/>
                <a:gd name="connsiteX95" fmla="*/ 3958 w 10000"/>
                <a:gd name="connsiteY95" fmla="*/ 8879 h 10000"/>
                <a:gd name="connsiteX96" fmla="*/ 3958 w 10000"/>
                <a:gd name="connsiteY96" fmla="*/ 9030 h 10000"/>
                <a:gd name="connsiteX97" fmla="*/ 4105 w 10000"/>
                <a:gd name="connsiteY97" fmla="*/ 9091 h 10000"/>
                <a:gd name="connsiteX98" fmla="*/ 4211 w 10000"/>
                <a:gd name="connsiteY98" fmla="*/ 9333 h 10000"/>
                <a:gd name="connsiteX99" fmla="*/ 4211 w 10000"/>
                <a:gd name="connsiteY99" fmla="*/ 9485 h 10000"/>
                <a:gd name="connsiteX100" fmla="*/ 4463 w 10000"/>
                <a:gd name="connsiteY100" fmla="*/ 9636 h 10000"/>
                <a:gd name="connsiteX101" fmla="*/ 4421 w 10000"/>
                <a:gd name="connsiteY101" fmla="*/ 9697 h 10000"/>
                <a:gd name="connsiteX102" fmla="*/ 4674 w 10000"/>
                <a:gd name="connsiteY102" fmla="*/ 9636 h 10000"/>
                <a:gd name="connsiteX103" fmla="*/ 4737 w 10000"/>
                <a:gd name="connsiteY103" fmla="*/ 9333 h 10000"/>
                <a:gd name="connsiteX104" fmla="*/ 5263 w 10000"/>
                <a:gd name="connsiteY104" fmla="*/ 9333 h 10000"/>
                <a:gd name="connsiteX105" fmla="*/ 5453 w 10000"/>
                <a:gd name="connsiteY105" fmla="*/ 9545 h 10000"/>
                <a:gd name="connsiteX106" fmla="*/ 5516 w 10000"/>
                <a:gd name="connsiteY106" fmla="*/ 9788 h 10000"/>
                <a:gd name="connsiteX107" fmla="*/ 5621 w 10000"/>
                <a:gd name="connsiteY107" fmla="*/ 9697 h 10000"/>
                <a:gd name="connsiteX108" fmla="*/ 5979 w 10000"/>
                <a:gd name="connsiteY108" fmla="*/ 10000 h 10000"/>
                <a:gd name="connsiteX109" fmla="*/ 5979 w 10000"/>
                <a:gd name="connsiteY109" fmla="*/ 9788 h 10000"/>
                <a:gd name="connsiteX110" fmla="*/ 6400 w 10000"/>
                <a:gd name="connsiteY110" fmla="*/ 9545 h 10000"/>
                <a:gd name="connsiteX111" fmla="*/ 6442 w 10000"/>
                <a:gd name="connsiteY111" fmla="*/ 9485 h 10000"/>
                <a:gd name="connsiteX112" fmla="*/ 6547 w 10000"/>
                <a:gd name="connsiteY112" fmla="*/ 9394 h 10000"/>
                <a:gd name="connsiteX113" fmla="*/ 6653 w 10000"/>
                <a:gd name="connsiteY113" fmla="*/ 9485 h 10000"/>
                <a:gd name="connsiteX114" fmla="*/ 6863 w 10000"/>
                <a:gd name="connsiteY114" fmla="*/ 9333 h 10000"/>
                <a:gd name="connsiteX115" fmla="*/ 7137 w 10000"/>
                <a:gd name="connsiteY115" fmla="*/ 9091 h 10000"/>
                <a:gd name="connsiteX116" fmla="*/ 7389 w 10000"/>
                <a:gd name="connsiteY116" fmla="*/ 8818 h 10000"/>
                <a:gd name="connsiteX117" fmla="*/ 7495 w 10000"/>
                <a:gd name="connsiteY117" fmla="*/ 8515 h 10000"/>
                <a:gd name="connsiteX118" fmla="*/ 7642 w 10000"/>
                <a:gd name="connsiteY118" fmla="*/ 8212 h 10000"/>
                <a:gd name="connsiteX119" fmla="*/ 7811 w 10000"/>
                <a:gd name="connsiteY119" fmla="*/ 7758 h 10000"/>
                <a:gd name="connsiteX120" fmla="*/ 7811 w 10000"/>
                <a:gd name="connsiteY120" fmla="*/ 7545 h 10000"/>
                <a:gd name="connsiteX121" fmla="*/ 7747 w 10000"/>
                <a:gd name="connsiteY121" fmla="*/ 7394 h 10000"/>
                <a:gd name="connsiteX122" fmla="*/ 7811 w 10000"/>
                <a:gd name="connsiteY122" fmla="*/ 7152 h 10000"/>
                <a:gd name="connsiteX123" fmla="*/ 7747 w 10000"/>
                <a:gd name="connsiteY123" fmla="*/ 6879 h 10000"/>
                <a:gd name="connsiteX124" fmla="*/ 7495 w 10000"/>
                <a:gd name="connsiteY124" fmla="*/ 6121 h 10000"/>
                <a:gd name="connsiteX125" fmla="*/ 7537 w 10000"/>
                <a:gd name="connsiteY125" fmla="*/ 6030 h 10000"/>
                <a:gd name="connsiteX126" fmla="*/ 7747 w 10000"/>
                <a:gd name="connsiteY126" fmla="*/ 5667 h 10000"/>
                <a:gd name="connsiteX127" fmla="*/ 7916 w 10000"/>
                <a:gd name="connsiteY127" fmla="*/ 5606 h 10000"/>
                <a:gd name="connsiteX128" fmla="*/ 7937 w 10000"/>
                <a:gd name="connsiteY128" fmla="*/ 5576 h 10000"/>
                <a:gd name="connsiteX129" fmla="*/ 7937 w 10000"/>
                <a:gd name="connsiteY129" fmla="*/ 5515 h 10000"/>
                <a:gd name="connsiteX130" fmla="*/ 7916 w 10000"/>
                <a:gd name="connsiteY130" fmla="*/ 5455 h 10000"/>
                <a:gd name="connsiteX131" fmla="*/ 7642 w 10000"/>
                <a:gd name="connsiteY131" fmla="*/ 5364 h 10000"/>
                <a:gd name="connsiteX132" fmla="*/ 7495 w 10000"/>
                <a:gd name="connsiteY132" fmla="*/ 5455 h 10000"/>
                <a:gd name="connsiteX133" fmla="*/ 7389 w 10000"/>
                <a:gd name="connsiteY133" fmla="*/ 5364 h 10000"/>
                <a:gd name="connsiteX134" fmla="*/ 7284 w 10000"/>
                <a:gd name="connsiteY134" fmla="*/ 5152 h 10000"/>
                <a:gd name="connsiteX135" fmla="*/ 7179 w 10000"/>
                <a:gd name="connsiteY135" fmla="*/ 5000 h 10000"/>
                <a:gd name="connsiteX136" fmla="*/ 7432 w 10000"/>
                <a:gd name="connsiteY136" fmla="*/ 4848 h 10000"/>
                <a:gd name="connsiteX137" fmla="*/ 7600 w 10000"/>
                <a:gd name="connsiteY137" fmla="*/ 4636 h 10000"/>
                <a:gd name="connsiteX138" fmla="*/ 7853 w 10000"/>
                <a:gd name="connsiteY138" fmla="*/ 4394 h 10000"/>
                <a:gd name="connsiteX139" fmla="*/ 7958 w 10000"/>
                <a:gd name="connsiteY139" fmla="*/ 4394 h 10000"/>
                <a:gd name="connsiteX140" fmla="*/ 7811 w 10000"/>
                <a:gd name="connsiteY140" fmla="*/ 4697 h 10000"/>
                <a:gd name="connsiteX141" fmla="*/ 7916 w 10000"/>
                <a:gd name="connsiteY141" fmla="*/ 4848 h 10000"/>
                <a:gd name="connsiteX142" fmla="*/ 8021 w 10000"/>
                <a:gd name="connsiteY142" fmla="*/ 4788 h 10000"/>
                <a:gd name="connsiteX143" fmla="*/ 8274 w 10000"/>
                <a:gd name="connsiteY143" fmla="*/ 4636 h 10000"/>
                <a:gd name="connsiteX144" fmla="*/ 8337 w 10000"/>
                <a:gd name="connsiteY144" fmla="*/ 4303 h 10000"/>
                <a:gd name="connsiteX145" fmla="*/ 8484 w 10000"/>
                <a:gd name="connsiteY145" fmla="*/ 4121 h 10000"/>
                <a:gd name="connsiteX146" fmla="*/ 8632 w 10000"/>
                <a:gd name="connsiteY146" fmla="*/ 4273 h 10000"/>
                <a:gd name="connsiteX147" fmla="*/ 8611 w 10000"/>
                <a:gd name="connsiteY147" fmla="*/ 3970 h 10000"/>
                <a:gd name="connsiteX148" fmla="*/ 8821 w 10000"/>
                <a:gd name="connsiteY148" fmla="*/ 3788 h 10000"/>
                <a:gd name="connsiteX149" fmla="*/ 9095 w 10000"/>
                <a:gd name="connsiteY149" fmla="*/ 3848 h 10000"/>
                <a:gd name="connsiteX150" fmla="*/ 9221 w 10000"/>
                <a:gd name="connsiteY150" fmla="*/ 3727 h 10000"/>
                <a:gd name="connsiteX151" fmla="*/ 9368 w 10000"/>
                <a:gd name="connsiteY151" fmla="*/ 3818 h 10000"/>
                <a:gd name="connsiteX152" fmla="*/ 9474 w 10000"/>
                <a:gd name="connsiteY152" fmla="*/ 3000 h 10000"/>
                <a:gd name="connsiteX153" fmla="*/ 9726 w 10000"/>
                <a:gd name="connsiteY153" fmla="*/ 2909 h 10000"/>
                <a:gd name="connsiteX154" fmla="*/ 10000 w 10000"/>
                <a:gd name="connsiteY154" fmla="*/ 1788 h 10000"/>
                <a:gd name="connsiteX155" fmla="*/ 9368 w 10000"/>
                <a:gd name="connsiteY155" fmla="*/ 1788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Lst>
              <a:rect l="l" t="t" r="r" b="b"/>
              <a:pathLst>
                <a:path w="10000" h="10000">
                  <a:moveTo>
                    <a:pt x="9368" y="1788"/>
                  </a:moveTo>
                  <a:lnTo>
                    <a:pt x="9368" y="1788"/>
                  </a:lnTo>
                  <a:lnTo>
                    <a:pt x="9263" y="1485"/>
                  </a:lnTo>
                  <a:lnTo>
                    <a:pt x="8842" y="1333"/>
                  </a:lnTo>
                  <a:lnTo>
                    <a:pt x="8337" y="0"/>
                  </a:lnTo>
                  <a:lnTo>
                    <a:pt x="7853" y="0"/>
                  </a:lnTo>
                  <a:lnTo>
                    <a:pt x="7705" y="364"/>
                  </a:lnTo>
                  <a:cubicBezTo>
                    <a:pt x="7600" y="637"/>
                    <a:pt x="7494" y="909"/>
                    <a:pt x="7389" y="1182"/>
                  </a:cubicBezTo>
                  <a:lnTo>
                    <a:pt x="7074" y="1182"/>
                  </a:lnTo>
                  <a:cubicBezTo>
                    <a:pt x="7060" y="1232"/>
                    <a:pt x="7046" y="1283"/>
                    <a:pt x="7032" y="1333"/>
                  </a:cubicBezTo>
                  <a:lnTo>
                    <a:pt x="7032" y="1364"/>
                  </a:lnTo>
                  <a:lnTo>
                    <a:pt x="7053" y="1364"/>
                  </a:lnTo>
                  <a:lnTo>
                    <a:pt x="7074" y="1364"/>
                  </a:lnTo>
                  <a:lnTo>
                    <a:pt x="7074" y="1394"/>
                  </a:lnTo>
                  <a:lnTo>
                    <a:pt x="7095" y="1394"/>
                  </a:lnTo>
                  <a:lnTo>
                    <a:pt x="7116" y="1394"/>
                  </a:lnTo>
                  <a:lnTo>
                    <a:pt x="7116" y="1424"/>
                  </a:lnTo>
                  <a:lnTo>
                    <a:pt x="7137" y="1424"/>
                  </a:lnTo>
                  <a:lnTo>
                    <a:pt x="7116" y="1424"/>
                  </a:lnTo>
                  <a:lnTo>
                    <a:pt x="7116" y="1394"/>
                  </a:lnTo>
                  <a:lnTo>
                    <a:pt x="7095" y="1394"/>
                  </a:lnTo>
                  <a:lnTo>
                    <a:pt x="7074" y="1394"/>
                  </a:lnTo>
                  <a:lnTo>
                    <a:pt x="7074" y="1364"/>
                  </a:lnTo>
                  <a:lnTo>
                    <a:pt x="7053" y="1364"/>
                  </a:lnTo>
                  <a:lnTo>
                    <a:pt x="7032" y="1364"/>
                  </a:lnTo>
                  <a:lnTo>
                    <a:pt x="7032" y="1333"/>
                  </a:lnTo>
                  <a:cubicBezTo>
                    <a:pt x="6997" y="1434"/>
                    <a:pt x="6961" y="1535"/>
                    <a:pt x="6926" y="1636"/>
                  </a:cubicBezTo>
                  <a:lnTo>
                    <a:pt x="6926" y="2000"/>
                  </a:lnTo>
                  <a:lnTo>
                    <a:pt x="7389" y="2091"/>
                  </a:lnTo>
                  <a:cubicBezTo>
                    <a:pt x="7424" y="2192"/>
                    <a:pt x="7460" y="2293"/>
                    <a:pt x="7495" y="2394"/>
                  </a:cubicBezTo>
                  <a:lnTo>
                    <a:pt x="7032" y="2606"/>
                  </a:lnTo>
                  <a:lnTo>
                    <a:pt x="6653" y="2848"/>
                  </a:lnTo>
                  <a:lnTo>
                    <a:pt x="6295" y="3061"/>
                  </a:lnTo>
                  <a:cubicBezTo>
                    <a:pt x="6260" y="3233"/>
                    <a:pt x="6224" y="3404"/>
                    <a:pt x="6189" y="3576"/>
                  </a:cubicBezTo>
                  <a:lnTo>
                    <a:pt x="5621" y="3667"/>
                  </a:lnTo>
                  <a:lnTo>
                    <a:pt x="5053" y="4182"/>
                  </a:lnTo>
                  <a:lnTo>
                    <a:pt x="4526" y="3818"/>
                  </a:lnTo>
                  <a:lnTo>
                    <a:pt x="3895" y="3727"/>
                  </a:lnTo>
                  <a:lnTo>
                    <a:pt x="3432" y="3061"/>
                  </a:lnTo>
                  <a:lnTo>
                    <a:pt x="2758" y="2758"/>
                  </a:lnTo>
                  <a:cubicBezTo>
                    <a:pt x="2737" y="2505"/>
                    <a:pt x="2716" y="2253"/>
                    <a:pt x="2695" y="2000"/>
                  </a:cubicBezTo>
                  <a:lnTo>
                    <a:pt x="2379" y="1788"/>
                  </a:lnTo>
                  <a:cubicBezTo>
                    <a:pt x="2365" y="1768"/>
                    <a:pt x="2351" y="1747"/>
                    <a:pt x="2337" y="1727"/>
                  </a:cubicBezTo>
                  <a:cubicBezTo>
                    <a:pt x="2330" y="1737"/>
                    <a:pt x="2323" y="1748"/>
                    <a:pt x="2316" y="1758"/>
                  </a:cubicBezTo>
                  <a:lnTo>
                    <a:pt x="2295" y="1818"/>
                  </a:lnTo>
                  <a:lnTo>
                    <a:pt x="2295" y="1848"/>
                  </a:lnTo>
                  <a:lnTo>
                    <a:pt x="2295" y="1879"/>
                  </a:lnTo>
                  <a:lnTo>
                    <a:pt x="2295" y="1848"/>
                  </a:lnTo>
                  <a:lnTo>
                    <a:pt x="2295" y="1818"/>
                  </a:lnTo>
                  <a:cubicBezTo>
                    <a:pt x="2309" y="1788"/>
                    <a:pt x="2323" y="1757"/>
                    <a:pt x="2337" y="1727"/>
                  </a:cubicBezTo>
                  <a:cubicBezTo>
                    <a:pt x="2323" y="1697"/>
                    <a:pt x="2309" y="1666"/>
                    <a:pt x="2295" y="1636"/>
                  </a:cubicBezTo>
                  <a:lnTo>
                    <a:pt x="2189" y="1727"/>
                  </a:lnTo>
                  <a:lnTo>
                    <a:pt x="2189" y="1879"/>
                  </a:lnTo>
                  <a:lnTo>
                    <a:pt x="2189" y="1727"/>
                  </a:lnTo>
                  <a:lnTo>
                    <a:pt x="2021" y="1788"/>
                  </a:lnTo>
                  <a:lnTo>
                    <a:pt x="1916" y="2242"/>
                  </a:lnTo>
                  <a:lnTo>
                    <a:pt x="1495" y="2152"/>
                  </a:lnTo>
                  <a:cubicBezTo>
                    <a:pt x="1460" y="2404"/>
                    <a:pt x="1424" y="2657"/>
                    <a:pt x="1389" y="2909"/>
                  </a:cubicBezTo>
                  <a:lnTo>
                    <a:pt x="1032" y="3000"/>
                  </a:lnTo>
                  <a:cubicBezTo>
                    <a:pt x="997" y="3293"/>
                    <a:pt x="961" y="3586"/>
                    <a:pt x="926" y="3879"/>
                  </a:cubicBezTo>
                  <a:lnTo>
                    <a:pt x="716" y="4182"/>
                  </a:lnTo>
                  <a:lnTo>
                    <a:pt x="463" y="4485"/>
                  </a:lnTo>
                  <a:lnTo>
                    <a:pt x="42" y="4636"/>
                  </a:lnTo>
                  <a:lnTo>
                    <a:pt x="0" y="4939"/>
                  </a:lnTo>
                  <a:lnTo>
                    <a:pt x="105" y="5061"/>
                  </a:lnTo>
                  <a:cubicBezTo>
                    <a:pt x="119" y="5142"/>
                    <a:pt x="133" y="5222"/>
                    <a:pt x="147" y="5303"/>
                  </a:cubicBezTo>
                  <a:lnTo>
                    <a:pt x="42" y="5364"/>
                  </a:lnTo>
                  <a:lnTo>
                    <a:pt x="147" y="5515"/>
                  </a:lnTo>
                  <a:lnTo>
                    <a:pt x="316" y="5606"/>
                  </a:lnTo>
                  <a:lnTo>
                    <a:pt x="463" y="5909"/>
                  </a:lnTo>
                  <a:lnTo>
                    <a:pt x="674" y="5909"/>
                  </a:lnTo>
                  <a:lnTo>
                    <a:pt x="989" y="5909"/>
                  </a:lnTo>
                  <a:cubicBezTo>
                    <a:pt x="1003" y="5949"/>
                    <a:pt x="1018" y="5990"/>
                    <a:pt x="1032" y="6030"/>
                  </a:cubicBezTo>
                  <a:cubicBezTo>
                    <a:pt x="962" y="6182"/>
                    <a:pt x="891" y="6333"/>
                    <a:pt x="821" y="6485"/>
                  </a:cubicBezTo>
                  <a:cubicBezTo>
                    <a:pt x="842" y="6566"/>
                    <a:pt x="863" y="6646"/>
                    <a:pt x="884" y="6727"/>
                  </a:cubicBezTo>
                  <a:lnTo>
                    <a:pt x="779" y="6939"/>
                  </a:lnTo>
                  <a:lnTo>
                    <a:pt x="884" y="7242"/>
                  </a:lnTo>
                  <a:lnTo>
                    <a:pt x="1137" y="7394"/>
                  </a:lnTo>
                  <a:cubicBezTo>
                    <a:pt x="1123" y="7414"/>
                    <a:pt x="1109" y="7435"/>
                    <a:pt x="1095" y="7455"/>
                  </a:cubicBezTo>
                  <a:lnTo>
                    <a:pt x="1200" y="7455"/>
                  </a:lnTo>
                  <a:lnTo>
                    <a:pt x="1558" y="7697"/>
                  </a:lnTo>
                  <a:lnTo>
                    <a:pt x="1874" y="7909"/>
                  </a:lnTo>
                  <a:lnTo>
                    <a:pt x="2189" y="8000"/>
                  </a:lnTo>
                  <a:lnTo>
                    <a:pt x="2295" y="8121"/>
                  </a:lnTo>
                  <a:lnTo>
                    <a:pt x="2379" y="8121"/>
                  </a:lnTo>
                  <a:lnTo>
                    <a:pt x="2547" y="8273"/>
                  </a:lnTo>
                  <a:lnTo>
                    <a:pt x="2758" y="8273"/>
                  </a:lnTo>
                  <a:lnTo>
                    <a:pt x="2968" y="8273"/>
                  </a:lnTo>
                  <a:cubicBezTo>
                    <a:pt x="3017" y="8182"/>
                    <a:pt x="3067" y="8091"/>
                    <a:pt x="3116" y="8000"/>
                  </a:cubicBezTo>
                  <a:lnTo>
                    <a:pt x="3390" y="8057"/>
                  </a:lnTo>
                  <a:lnTo>
                    <a:pt x="3579" y="7758"/>
                  </a:lnTo>
                  <a:lnTo>
                    <a:pt x="3789" y="8000"/>
                  </a:lnTo>
                  <a:lnTo>
                    <a:pt x="3895" y="8000"/>
                  </a:lnTo>
                  <a:lnTo>
                    <a:pt x="4000" y="8061"/>
                  </a:lnTo>
                  <a:lnTo>
                    <a:pt x="4063" y="8424"/>
                  </a:lnTo>
                  <a:lnTo>
                    <a:pt x="3958" y="8879"/>
                  </a:lnTo>
                  <a:lnTo>
                    <a:pt x="3958" y="9030"/>
                  </a:lnTo>
                  <a:lnTo>
                    <a:pt x="4105" y="9091"/>
                  </a:lnTo>
                  <a:cubicBezTo>
                    <a:pt x="4140" y="9172"/>
                    <a:pt x="4176" y="9252"/>
                    <a:pt x="4211" y="9333"/>
                  </a:cubicBezTo>
                  <a:lnTo>
                    <a:pt x="4211" y="9485"/>
                  </a:lnTo>
                  <a:lnTo>
                    <a:pt x="4463" y="9636"/>
                  </a:lnTo>
                  <a:cubicBezTo>
                    <a:pt x="4449" y="9656"/>
                    <a:pt x="4435" y="9677"/>
                    <a:pt x="4421" y="9697"/>
                  </a:cubicBezTo>
                  <a:lnTo>
                    <a:pt x="4674" y="9636"/>
                  </a:lnTo>
                  <a:lnTo>
                    <a:pt x="4737" y="9333"/>
                  </a:lnTo>
                  <a:lnTo>
                    <a:pt x="5263" y="9333"/>
                  </a:lnTo>
                  <a:cubicBezTo>
                    <a:pt x="5326" y="9404"/>
                    <a:pt x="5390" y="9474"/>
                    <a:pt x="5453" y="9545"/>
                  </a:cubicBezTo>
                  <a:lnTo>
                    <a:pt x="5516" y="9788"/>
                  </a:lnTo>
                  <a:lnTo>
                    <a:pt x="5621" y="9697"/>
                  </a:lnTo>
                  <a:lnTo>
                    <a:pt x="5979" y="10000"/>
                  </a:lnTo>
                  <a:lnTo>
                    <a:pt x="5979" y="9788"/>
                  </a:lnTo>
                  <a:lnTo>
                    <a:pt x="6400" y="9545"/>
                  </a:lnTo>
                  <a:lnTo>
                    <a:pt x="6442" y="9485"/>
                  </a:lnTo>
                  <a:lnTo>
                    <a:pt x="6547" y="9394"/>
                  </a:lnTo>
                  <a:lnTo>
                    <a:pt x="6653" y="9485"/>
                  </a:lnTo>
                  <a:lnTo>
                    <a:pt x="6863" y="9333"/>
                  </a:lnTo>
                  <a:lnTo>
                    <a:pt x="7137" y="9091"/>
                  </a:lnTo>
                  <a:lnTo>
                    <a:pt x="7389" y="8818"/>
                  </a:lnTo>
                  <a:cubicBezTo>
                    <a:pt x="7424" y="8717"/>
                    <a:pt x="7460" y="8616"/>
                    <a:pt x="7495" y="8515"/>
                  </a:cubicBezTo>
                  <a:lnTo>
                    <a:pt x="7642" y="8212"/>
                  </a:lnTo>
                  <a:cubicBezTo>
                    <a:pt x="7698" y="8061"/>
                    <a:pt x="7755" y="7909"/>
                    <a:pt x="7811" y="7758"/>
                  </a:cubicBezTo>
                  <a:lnTo>
                    <a:pt x="7811" y="7545"/>
                  </a:lnTo>
                  <a:cubicBezTo>
                    <a:pt x="7790" y="7495"/>
                    <a:pt x="7768" y="7444"/>
                    <a:pt x="7747" y="7394"/>
                  </a:cubicBezTo>
                  <a:cubicBezTo>
                    <a:pt x="7768" y="7313"/>
                    <a:pt x="7790" y="7233"/>
                    <a:pt x="7811" y="7152"/>
                  </a:cubicBezTo>
                  <a:cubicBezTo>
                    <a:pt x="7790" y="7061"/>
                    <a:pt x="7768" y="6970"/>
                    <a:pt x="7747" y="6879"/>
                  </a:cubicBezTo>
                  <a:lnTo>
                    <a:pt x="7495" y="6121"/>
                  </a:lnTo>
                  <a:cubicBezTo>
                    <a:pt x="7509" y="6091"/>
                    <a:pt x="7523" y="6060"/>
                    <a:pt x="7537" y="6030"/>
                  </a:cubicBezTo>
                  <a:lnTo>
                    <a:pt x="7747" y="5667"/>
                  </a:lnTo>
                  <a:lnTo>
                    <a:pt x="7916" y="5606"/>
                  </a:lnTo>
                  <a:lnTo>
                    <a:pt x="7937" y="5576"/>
                  </a:lnTo>
                  <a:lnTo>
                    <a:pt x="7937" y="5515"/>
                  </a:lnTo>
                  <a:lnTo>
                    <a:pt x="7916" y="5455"/>
                  </a:lnTo>
                  <a:lnTo>
                    <a:pt x="7642" y="5364"/>
                  </a:lnTo>
                  <a:lnTo>
                    <a:pt x="7495" y="5455"/>
                  </a:lnTo>
                  <a:lnTo>
                    <a:pt x="7389" y="5364"/>
                  </a:lnTo>
                  <a:lnTo>
                    <a:pt x="7284" y="5152"/>
                  </a:lnTo>
                  <a:lnTo>
                    <a:pt x="7179" y="5000"/>
                  </a:lnTo>
                  <a:lnTo>
                    <a:pt x="7432" y="4848"/>
                  </a:lnTo>
                  <a:lnTo>
                    <a:pt x="7600" y="4636"/>
                  </a:lnTo>
                  <a:lnTo>
                    <a:pt x="7853" y="4394"/>
                  </a:lnTo>
                  <a:lnTo>
                    <a:pt x="7958" y="4394"/>
                  </a:lnTo>
                  <a:lnTo>
                    <a:pt x="7811" y="4697"/>
                  </a:lnTo>
                  <a:lnTo>
                    <a:pt x="7916" y="4848"/>
                  </a:lnTo>
                  <a:lnTo>
                    <a:pt x="8021" y="4788"/>
                  </a:lnTo>
                  <a:lnTo>
                    <a:pt x="8274" y="4636"/>
                  </a:lnTo>
                  <a:lnTo>
                    <a:pt x="8337" y="4303"/>
                  </a:lnTo>
                  <a:lnTo>
                    <a:pt x="8484" y="4121"/>
                  </a:lnTo>
                  <a:cubicBezTo>
                    <a:pt x="8533" y="4172"/>
                    <a:pt x="8583" y="4222"/>
                    <a:pt x="8632" y="4273"/>
                  </a:cubicBezTo>
                  <a:lnTo>
                    <a:pt x="8611" y="3970"/>
                  </a:lnTo>
                  <a:lnTo>
                    <a:pt x="8821" y="3788"/>
                  </a:lnTo>
                  <a:lnTo>
                    <a:pt x="9095" y="3848"/>
                  </a:lnTo>
                  <a:lnTo>
                    <a:pt x="9221" y="3727"/>
                  </a:lnTo>
                  <a:lnTo>
                    <a:pt x="9368" y="3818"/>
                  </a:lnTo>
                  <a:cubicBezTo>
                    <a:pt x="9403" y="3545"/>
                    <a:pt x="9439" y="3273"/>
                    <a:pt x="9474" y="3000"/>
                  </a:cubicBezTo>
                  <a:lnTo>
                    <a:pt x="9726" y="2909"/>
                  </a:lnTo>
                  <a:cubicBezTo>
                    <a:pt x="9817" y="2535"/>
                    <a:pt x="9909" y="2162"/>
                    <a:pt x="10000" y="1788"/>
                  </a:cubicBezTo>
                  <a:lnTo>
                    <a:pt x="9368" y="1788"/>
                  </a:lnTo>
                  <a:close/>
                </a:path>
              </a:pathLst>
            </a:custGeom>
            <a:solidFill>
              <a:srgbClr val="00B9E4"/>
            </a:solidFill>
            <a:ln w="9525" cap="flat" cmpd="sng">
              <a:solidFill>
                <a:schemeClr val="bg1"/>
              </a:solidFill>
              <a:prstDash val="solid"/>
              <a:round/>
              <a:headEnd type="none" w="med" len="med"/>
              <a:tailEnd type="none" w="med" len="med"/>
            </a:ln>
            <a:effectLst/>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224" name="LK"/>
            <p:cNvSpPr>
              <a:spLocks/>
            </p:cNvSpPr>
            <p:nvPr/>
          </p:nvSpPr>
          <p:spPr bwMode="auto">
            <a:xfrm>
              <a:off x="6282998" y="4298855"/>
              <a:ext cx="57149" cy="68263"/>
            </a:xfrm>
            <a:custGeom>
              <a:avLst/>
              <a:gdLst>
                <a:gd name="T0" fmla="*/ 2147483647 w 42"/>
                <a:gd name="T1" fmla="*/ 0 h 54"/>
                <a:gd name="T2" fmla="*/ 0 w 42"/>
                <a:gd name="T3" fmla="*/ 2147483647 h 54"/>
                <a:gd name="T4" fmla="*/ 2147483647 w 42"/>
                <a:gd name="T5" fmla="*/ 2147483647 h 54"/>
                <a:gd name="T6" fmla="*/ 2147483647 w 42"/>
                <a:gd name="T7" fmla="*/ 2147483647 h 54"/>
                <a:gd name="T8" fmla="*/ 2147483647 w 42"/>
                <a:gd name="T9" fmla="*/ 2147483647 h 54"/>
                <a:gd name="T10" fmla="*/ 2147483647 w 42"/>
                <a:gd name="T11" fmla="*/ 0 h 5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2" h="54">
                  <a:moveTo>
                    <a:pt x="6" y="0"/>
                  </a:moveTo>
                  <a:lnTo>
                    <a:pt x="0" y="24"/>
                  </a:lnTo>
                  <a:lnTo>
                    <a:pt x="6" y="54"/>
                  </a:lnTo>
                  <a:lnTo>
                    <a:pt x="30" y="54"/>
                  </a:lnTo>
                  <a:lnTo>
                    <a:pt x="42" y="30"/>
                  </a:lnTo>
                  <a:lnTo>
                    <a:pt x="6" y="0"/>
                  </a:ln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225" name="Freeform 224"/>
            <p:cNvSpPr>
              <a:spLocks/>
            </p:cNvSpPr>
            <p:nvPr/>
          </p:nvSpPr>
          <p:spPr bwMode="auto">
            <a:xfrm>
              <a:off x="6948094" y="3916292"/>
              <a:ext cx="53975" cy="51574"/>
            </a:xfrm>
            <a:custGeom>
              <a:avLst/>
              <a:gdLst>
                <a:gd name="T0" fmla="*/ 0 w 42"/>
                <a:gd name="T1" fmla="*/ 2147483647 h 42"/>
                <a:gd name="T2" fmla="*/ 2147483647 w 42"/>
                <a:gd name="T3" fmla="*/ 2147483647 h 42"/>
                <a:gd name="T4" fmla="*/ 2147483647 w 42"/>
                <a:gd name="T5" fmla="*/ 0 h 42"/>
                <a:gd name="T6" fmla="*/ 2147483647 w 42"/>
                <a:gd name="T7" fmla="*/ 2147483647 h 42"/>
                <a:gd name="T8" fmla="*/ 2147483647 w 42"/>
                <a:gd name="T9" fmla="*/ 2147483647 h 42"/>
                <a:gd name="T10" fmla="*/ 2147483647 w 42"/>
                <a:gd name="T11" fmla="*/ 2147483647 h 42"/>
                <a:gd name="T12" fmla="*/ 0 w 42"/>
                <a:gd name="T13" fmla="*/ 2147483647 h 4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2" h="42">
                  <a:moveTo>
                    <a:pt x="0" y="30"/>
                  </a:moveTo>
                  <a:lnTo>
                    <a:pt x="12" y="12"/>
                  </a:lnTo>
                  <a:lnTo>
                    <a:pt x="30" y="0"/>
                  </a:lnTo>
                  <a:lnTo>
                    <a:pt x="42" y="12"/>
                  </a:lnTo>
                  <a:lnTo>
                    <a:pt x="30" y="30"/>
                  </a:lnTo>
                  <a:lnTo>
                    <a:pt x="12" y="42"/>
                  </a:lnTo>
                  <a:lnTo>
                    <a:pt x="0" y="30"/>
                  </a:ln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226" name="TW"/>
            <p:cNvSpPr>
              <a:spLocks/>
            </p:cNvSpPr>
            <p:nvPr/>
          </p:nvSpPr>
          <p:spPr bwMode="auto">
            <a:xfrm>
              <a:off x="7238605" y="3782943"/>
              <a:ext cx="31749" cy="93663"/>
            </a:xfrm>
            <a:custGeom>
              <a:avLst/>
              <a:gdLst>
                <a:gd name="T0" fmla="*/ 0 w 24"/>
                <a:gd name="T1" fmla="*/ 2147483647 h 72"/>
                <a:gd name="T2" fmla="*/ 0 w 24"/>
                <a:gd name="T3" fmla="*/ 2147483647 h 72"/>
                <a:gd name="T4" fmla="*/ 2147483647 w 24"/>
                <a:gd name="T5" fmla="*/ 0 h 72"/>
                <a:gd name="T6" fmla="*/ 2147483647 w 24"/>
                <a:gd name="T7" fmla="*/ 2147483647 h 72"/>
                <a:gd name="T8" fmla="*/ 2147483647 w 24"/>
                <a:gd name="T9" fmla="*/ 2147483647 h 72"/>
                <a:gd name="T10" fmla="*/ 0 w 24"/>
                <a:gd name="T11" fmla="*/ 2147483647 h 7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4" h="72">
                  <a:moveTo>
                    <a:pt x="0" y="42"/>
                  </a:moveTo>
                  <a:lnTo>
                    <a:pt x="0" y="18"/>
                  </a:lnTo>
                  <a:lnTo>
                    <a:pt x="24" y="0"/>
                  </a:lnTo>
                  <a:lnTo>
                    <a:pt x="24" y="24"/>
                  </a:lnTo>
                  <a:lnTo>
                    <a:pt x="6" y="72"/>
                  </a:lnTo>
                  <a:lnTo>
                    <a:pt x="0" y="42"/>
                  </a:ln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grpSp>
          <p:nvGrpSpPr>
            <p:cNvPr id="227" name="Group 226"/>
            <p:cNvGrpSpPr/>
            <p:nvPr/>
          </p:nvGrpSpPr>
          <p:grpSpPr>
            <a:xfrm>
              <a:off x="7466348" y="3188503"/>
              <a:ext cx="400046" cy="423822"/>
              <a:chOff x="7417613" y="1854161"/>
              <a:chExt cx="400050" cy="424270"/>
            </a:xfrm>
          </p:grpSpPr>
          <p:sp>
            <p:nvSpPr>
              <p:cNvPr id="291" name="Freeform 290"/>
              <p:cNvSpPr>
                <a:spLocks/>
              </p:cNvSpPr>
              <p:nvPr/>
            </p:nvSpPr>
            <p:spPr bwMode="auto">
              <a:xfrm>
                <a:off x="7417613" y="2210759"/>
                <a:ext cx="46038" cy="67672"/>
              </a:xfrm>
              <a:custGeom>
                <a:avLst/>
                <a:gdLst>
                  <a:gd name="T0" fmla="*/ 0 w 36"/>
                  <a:gd name="T1" fmla="*/ 2147483647 h 54"/>
                  <a:gd name="T2" fmla="*/ 2147483647 w 36"/>
                  <a:gd name="T3" fmla="*/ 2147483647 h 54"/>
                  <a:gd name="T4" fmla="*/ 2147483647 w 36"/>
                  <a:gd name="T5" fmla="*/ 2147483647 h 54"/>
                  <a:gd name="T6" fmla="*/ 2147483647 w 36"/>
                  <a:gd name="T7" fmla="*/ 2147483647 h 54"/>
                  <a:gd name="T8" fmla="*/ 2147483647 w 36"/>
                  <a:gd name="T9" fmla="*/ 2147483647 h 54"/>
                  <a:gd name="T10" fmla="*/ 2147483647 w 36"/>
                  <a:gd name="T11" fmla="*/ 0 h 54"/>
                  <a:gd name="T12" fmla="*/ 0 w 36"/>
                  <a:gd name="T13" fmla="*/ 2147483647 h 5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6" h="54">
                    <a:moveTo>
                      <a:pt x="0" y="18"/>
                    </a:moveTo>
                    <a:lnTo>
                      <a:pt x="6" y="36"/>
                    </a:lnTo>
                    <a:lnTo>
                      <a:pt x="12" y="54"/>
                    </a:lnTo>
                    <a:lnTo>
                      <a:pt x="30" y="42"/>
                    </a:lnTo>
                    <a:lnTo>
                      <a:pt x="36" y="18"/>
                    </a:lnTo>
                    <a:lnTo>
                      <a:pt x="30" y="0"/>
                    </a:lnTo>
                    <a:lnTo>
                      <a:pt x="0" y="18"/>
                    </a:ln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292" name="Freeform 291"/>
              <p:cNvSpPr>
                <a:spLocks/>
              </p:cNvSpPr>
              <p:nvPr/>
            </p:nvSpPr>
            <p:spPr bwMode="auto">
              <a:xfrm>
                <a:off x="7473176" y="1854161"/>
                <a:ext cx="344487" cy="370295"/>
              </a:xfrm>
              <a:custGeom>
                <a:avLst/>
                <a:gdLst>
                  <a:gd name="T0" fmla="*/ 2147483647 w 264"/>
                  <a:gd name="T1" fmla="*/ 2147483647 h 289"/>
                  <a:gd name="T2" fmla="*/ 2147483647 w 264"/>
                  <a:gd name="T3" fmla="*/ 2147483647 h 289"/>
                  <a:gd name="T4" fmla="*/ 2147483647 w 264"/>
                  <a:gd name="T5" fmla="*/ 2147483647 h 289"/>
                  <a:gd name="T6" fmla="*/ 2147483647 w 264"/>
                  <a:gd name="T7" fmla="*/ 2147483647 h 289"/>
                  <a:gd name="T8" fmla="*/ 2147483647 w 264"/>
                  <a:gd name="T9" fmla="*/ 2147483647 h 289"/>
                  <a:gd name="T10" fmla="*/ 2147483647 w 264"/>
                  <a:gd name="T11" fmla="*/ 2147483647 h 289"/>
                  <a:gd name="T12" fmla="*/ 2147483647 w 264"/>
                  <a:gd name="T13" fmla="*/ 2147483647 h 289"/>
                  <a:gd name="T14" fmla="*/ 2147483647 w 264"/>
                  <a:gd name="T15" fmla="*/ 2147483647 h 289"/>
                  <a:gd name="T16" fmla="*/ 2147483647 w 264"/>
                  <a:gd name="T17" fmla="*/ 2147483647 h 289"/>
                  <a:gd name="T18" fmla="*/ 2147483647 w 264"/>
                  <a:gd name="T19" fmla="*/ 2147483647 h 289"/>
                  <a:gd name="T20" fmla="*/ 2147483647 w 264"/>
                  <a:gd name="T21" fmla="*/ 0 h 289"/>
                  <a:gd name="T22" fmla="*/ 2147483647 w 264"/>
                  <a:gd name="T23" fmla="*/ 2147483647 h 289"/>
                  <a:gd name="T24" fmla="*/ 2147483647 w 264"/>
                  <a:gd name="T25" fmla="*/ 2147483647 h 289"/>
                  <a:gd name="T26" fmla="*/ 2147483647 w 264"/>
                  <a:gd name="T27" fmla="*/ 2147483647 h 289"/>
                  <a:gd name="T28" fmla="*/ 2147483647 w 264"/>
                  <a:gd name="T29" fmla="*/ 2147483647 h 289"/>
                  <a:gd name="T30" fmla="*/ 2147483647 w 264"/>
                  <a:gd name="T31" fmla="*/ 2147483647 h 289"/>
                  <a:gd name="T32" fmla="*/ 2147483647 w 264"/>
                  <a:gd name="T33" fmla="*/ 2147483647 h 289"/>
                  <a:gd name="T34" fmla="*/ 2147483647 w 264"/>
                  <a:gd name="T35" fmla="*/ 2147483647 h 289"/>
                  <a:gd name="T36" fmla="*/ 2147483647 w 264"/>
                  <a:gd name="T37" fmla="*/ 2147483647 h 289"/>
                  <a:gd name="T38" fmla="*/ 2147483647 w 264"/>
                  <a:gd name="T39" fmla="*/ 2147483647 h 289"/>
                  <a:gd name="T40" fmla="*/ 2147483647 w 264"/>
                  <a:gd name="T41" fmla="*/ 2147483647 h 289"/>
                  <a:gd name="T42" fmla="*/ 2147483647 w 264"/>
                  <a:gd name="T43" fmla="*/ 2147483647 h 289"/>
                  <a:gd name="T44" fmla="*/ 2147483647 w 264"/>
                  <a:gd name="T45" fmla="*/ 2147483647 h 289"/>
                  <a:gd name="T46" fmla="*/ 2147483647 w 264"/>
                  <a:gd name="T47" fmla="*/ 2147483647 h 289"/>
                  <a:gd name="T48" fmla="*/ 2147483647 w 264"/>
                  <a:gd name="T49" fmla="*/ 2147483647 h 289"/>
                  <a:gd name="T50" fmla="*/ 2147483647 w 264"/>
                  <a:gd name="T51" fmla="*/ 2147483647 h 289"/>
                  <a:gd name="T52" fmla="*/ 2147483647 w 264"/>
                  <a:gd name="T53" fmla="*/ 2147483647 h 289"/>
                  <a:gd name="T54" fmla="*/ 2147483647 w 264"/>
                  <a:gd name="T55" fmla="*/ 2147483647 h 289"/>
                  <a:gd name="T56" fmla="*/ 2147483647 w 264"/>
                  <a:gd name="T57" fmla="*/ 2147483647 h 289"/>
                  <a:gd name="T58" fmla="*/ 2147483647 w 264"/>
                  <a:gd name="T59" fmla="*/ 2147483647 h 289"/>
                  <a:gd name="T60" fmla="*/ 2147483647 w 264"/>
                  <a:gd name="T61" fmla="*/ 2147483647 h 289"/>
                  <a:gd name="T62" fmla="*/ 2147483647 w 264"/>
                  <a:gd name="T63" fmla="*/ 2147483647 h 289"/>
                  <a:gd name="T64" fmla="*/ 2147483647 w 264"/>
                  <a:gd name="T65" fmla="*/ 2147483647 h 289"/>
                  <a:gd name="T66" fmla="*/ 0 w 264"/>
                  <a:gd name="T67" fmla="*/ 2147483647 h 289"/>
                  <a:gd name="T68" fmla="*/ 2147483647 w 264"/>
                  <a:gd name="T69" fmla="*/ 2147483647 h 2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64" h="289">
                    <a:moveTo>
                      <a:pt x="6" y="247"/>
                    </a:moveTo>
                    <a:lnTo>
                      <a:pt x="42" y="235"/>
                    </a:lnTo>
                    <a:lnTo>
                      <a:pt x="66" y="235"/>
                    </a:lnTo>
                    <a:lnTo>
                      <a:pt x="108" y="199"/>
                    </a:lnTo>
                    <a:lnTo>
                      <a:pt x="138" y="187"/>
                    </a:lnTo>
                    <a:lnTo>
                      <a:pt x="144" y="157"/>
                    </a:lnTo>
                    <a:lnTo>
                      <a:pt x="156" y="109"/>
                    </a:lnTo>
                    <a:lnTo>
                      <a:pt x="156" y="72"/>
                    </a:lnTo>
                    <a:lnTo>
                      <a:pt x="174" y="48"/>
                    </a:lnTo>
                    <a:lnTo>
                      <a:pt x="174" y="18"/>
                    </a:lnTo>
                    <a:lnTo>
                      <a:pt x="186" y="0"/>
                    </a:lnTo>
                    <a:lnTo>
                      <a:pt x="210" y="18"/>
                    </a:lnTo>
                    <a:lnTo>
                      <a:pt x="246" y="30"/>
                    </a:lnTo>
                    <a:lnTo>
                      <a:pt x="264" y="30"/>
                    </a:lnTo>
                    <a:lnTo>
                      <a:pt x="240" y="54"/>
                    </a:lnTo>
                    <a:lnTo>
                      <a:pt x="222" y="66"/>
                    </a:lnTo>
                    <a:lnTo>
                      <a:pt x="210" y="85"/>
                    </a:lnTo>
                    <a:lnTo>
                      <a:pt x="180" y="60"/>
                    </a:lnTo>
                    <a:lnTo>
                      <a:pt x="162" y="97"/>
                    </a:lnTo>
                    <a:lnTo>
                      <a:pt x="186" y="139"/>
                    </a:lnTo>
                    <a:lnTo>
                      <a:pt x="168" y="169"/>
                    </a:lnTo>
                    <a:lnTo>
                      <a:pt x="162" y="193"/>
                    </a:lnTo>
                    <a:lnTo>
                      <a:pt x="162" y="235"/>
                    </a:lnTo>
                    <a:lnTo>
                      <a:pt x="150" y="247"/>
                    </a:lnTo>
                    <a:lnTo>
                      <a:pt x="138" y="241"/>
                    </a:lnTo>
                    <a:lnTo>
                      <a:pt x="126" y="247"/>
                    </a:lnTo>
                    <a:lnTo>
                      <a:pt x="102" y="247"/>
                    </a:lnTo>
                    <a:lnTo>
                      <a:pt x="90" y="247"/>
                    </a:lnTo>
                    <a:lnTo>
                      <a:pt x="66" y="271"/>
                    </a:lnTo>
                    <a:lnTo>
                      <a:pt x="60" y="259"/>
                    </a:lnTo>
                    <a:lnTo>
                      <a:pt x="48" y="265"/>
                    </a:lnTo>
                    <a:lnTo>
                      <a:pt x="36" y="271"/>
                    </a:lnTo>
                    <a:lnTo>
                      <a:pt x="12" y="289"/>
                    </a:lnTo>
                    <a:lnTo>
                      <a:pt x="0" y="259"/>
                    </a:lnTo>
                    <a:lnTo>
                      <a:pt x="6" y="247"/>
                    </a:ln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grpSp>
        <p:grpSp>
          <p:nvGrpSpPr>
            <p:cNvPr id="228" name="RU"/>
            <p:cNvGrpSpPr/>
            <p:nvPr/>
          </p:nvGrpSpPr>
          <p:grpSpPr>
            <a:xfrm>
              <a:off x="4762366" y="1334343"/>
              <a:ext cx="3951741" cy="2023194"/>
              <a:chOff x="4713607" y="0"/>
              <a:chExt cx="3978522" cy="2015570"/>
            </a:xfrm>
          </p:grpSpPr>
          <p:sp>
            <p:nvSpPr>
              <p:cNvPr id="287" name="Freeform 286"/>
              <p:cNvSpPr>
                <a:spLocks/>
              </p:cNvSpPr>
              <p:nvPr/>
            </p:nvSpPr>
            <p:spPr bwMode="auto">
              <a:xfrm>
                <a:off x="5551539" y="125413"/>
                <a:ext cx="434706" cy="557212"/>
              </a:xfrm>
              <a:custGeom>
                <a:avLst/>
                <a:gdLst>
                  <a:gd name="T0" fmla="*/ 2147483647 w 336"/>
                  <a:gd name="T1" fmla="*/ 2147483647 h 427"/>
                  <a:gd name="T2" fmla="*/ 2147483647 w 336"/>
                  <a:gd name="T3" fmla="*/ 2147483647 h 427"/>
                  <a:gd name="T4" fmla="*/ 2147483647 w 336"/>
                  <a:gd name="T5" fmla="*/ 2147483647 h 427"/>
                  <a:gd name="T6" fmla="*/ 2147483647 w 336"/>
                  <a:gd name="T7" fmla="*/ 2147483647 h 427"/>
                  <a:gd name="T8" fmla="*/ 2147483647 w 336"/>
                  <a:gd name="T9" fmla="*/ 2147483647 h 427"/>
                  <a:gd name="T10" fmla="*/ 2147483647 w 336"/>
                  <a:gd name="T11" fmla="*/ 2147483647 h 427"/>
                  <a:gd name="T12" fmla="*/ 2147483647 w 336"/>
                  <a:gd name="T13" fmla="*/ 2147483647 h 427"/>
                  <a:gd name="T14" fmla="*/ 2147483647 w 336"/>
                  <a:gd name="T15" fmla="*/ 2147483647 h 427"/>
                  <a:gd name="T16" fmla="*/ 2147483647 w 336"/>
                  <a:gd name="T17" fmla="*/ 2147483647 h 427"/>
                  <a:gd name="T18" fmla="*/ 2147483647 w 336"/>
                  <a:gd name="T19" fmla="*/ 2147483647 h 427"/>
                  <a:gd name="T20" fmla="*/ 2147483647 w 336"/>
                  <a:gd name="T21" fmla="*/ 2147483647 h 427"/>
                  <a:gd name="T22" fmla="*/ 2147483647 w 336"/>
                  <a:gd name="T23" fmla="*/ 0 h 427"/>
                  <a:gd name="T24" fmla="*/ 2147483647 w 336"/>
                  <a:gd name="T25" fmla="*/ 2147483647 h 427"/>
                  <a:gd name="T26" fmla="*/ 2147483647 w 336"/>
                  <a:gd name="T27" fmla="*/ 2147483647 h 427"/>
                  <a:gd name="T28" fmla="*/ 2147483647 w 336"/>
                  <a:gd name="T29" fmla="*/ 2147483647 h 427"/>
                  <a:gd name="T30" fmla="*/ 2147483647 w 336"/>
                  <a:gd name="T31" fmla="*/ 2147483647 h 427"/>
                  <a:gd name="T32" fmla="*/ 2147483647 w 336"/>
                  <a:gd name="T33" fmla="*/ 2147483647 h 427"/>
                  <a:gd name="T34" fmla="*/ 2147483647 w 336"/>
                  <a:gd name="T35" fmla="*/ 2147483647 h 427"/>
                  <a:gd name="T36" fmla="*/ 2147483647 w 336"/>
                  <a:gd name="T37" fmla="*/ 2147483647 h 427"/>
                  <a:gd name="T38" fmla="*/ 2147483647 w 336"/>
                  <a:gd name="T39" fmla="*/ 2147483647 h 427"/>
                  <a:gd name="T40" fmla="*/ 2147483647 w 336"/>
                  <a:gd name="T41" fmla="*/ 2147483647 h 427"/>
                  <a:gd name="T42" fmla="*/ 2147483647 w 336"/>
                  <a:gd name="T43" fmla="*/ 2147483647 h 427"/>
                  <a:gd name="T44" fmla="*/ 2147483647 w 336"/>
                  <a:gd name="T45" fmla="*/ 2147483647 h 427"/>
                  <a:gd name="T46" fmla="*/ 2147483647 w 336"/>
                  <a:gd name="T47" fmla="*/ 2147483647 h 427"/>
                  <a:gd name="T48" fmla="*/ 2147483647 w 336"/>
                  <a:gd name="T49" fmla="*/ 2147483647 h 427"/>
                  <a:gd name="T50" fmla="*/ 2147483647 w 336"/>
                  <a:gd name="T51" fmla="*/ 2147483647 h 427"/>
                  <a:gd name="T52" fmla="*/ 2147483647 w 336"/>
                  <a:gd name="T53" fmla="*/ 2147483647 h 427"/>
                  <a:gd name="T54" fmla="*/ 0 w 336"/>
                  <a:gd name="T55" fmla="*/ 2147483647 h 427"/>
                  <a:gd name="T56" fmla="*/ 2147483647 w 336"/>
                  <a:gd name="T57" fmla="*/ 2147483647 h 427"/>
                  <a:gd name="T58" fmla="*/ 2147483647 w 336"/>
                  <a:gd name="T59" fmla="*/ 2147483647 h 427"/>
                  <a:gd name="T60" fmla="*/ 2147483647 w 336"/>
                  <a:gd name="T61" fmla="*/ 2147483647 h 427"/>
                  <a:gd name="T62" fmla="*/ 2147483647 w 336"/>
                  <a:gd name="T63" fmla="*/ 2147483647 h 427"/>
                  <a:gd name="T64" fmla="*/ 2147483647 w 336"/>
                  <a:gd name="T65" fmla="*/ 2147483647 h 42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336" h="427">
                    <a:moveTo>
                      <a:pt x="120" y="427"/>
                    </a:moveTo>
                    <a:lnTo>
                      <a:pt x="96" y="397"/>
                    </a:lnTo>
                    <a:lnTo>
                      <a:pt x="78" y="325"/>
                    </a:lnTo>
                    <a:lnTo>
                      <a:pt x="96" y="282"/>
                    </a:lnTo>
                    <a:lnTo>
                      <a:pt x="144" y="180"/>
                    </a:lnTo>
                    <a:lnTo>
                      <a:pt x="192" y="150"/>
                    </a:lnTo>
                    <a:lnTo>
                      <a:pt x="222" y="114"/>
                    </a:lnTo>
                    <a:lnTo>
                      <a:pt x="252" y="96"/>
                    </a:lnTo>
                    <a:lnTo>
                      <a:pt x="294" y="72"/>
                    </a:lnTo>
                    <a:lnTo>
                      <a:pt x="336" y="30"/>
                    </a:lnTo>
                    <a:lnTo>
                      <a:pt x="330" y="6"/>
                    </a:lnTo>
                    <a:lnTo>
                      <a:pt x="294" y="0"/>
                    </a:lnTo>
                    <a:lnTo>
                      <a:pt x="270" y="24"/>
                    </a:lnTo>
                    <a:lnTo>
                      <a:pt x="252" y="42"/>
                    </a:lnTo>
                    <a:lnTo>
                      <a:pt x="222" y="48"/>
                    </a:lnTo>
                    <a:lnTo>
                      <a:pt x="186" y="48"/>
                    </a:lnTo>
                    <a:lnTo>
                      <a:pt x="174" y="60"/>
                    </a:lnTo>
                    <a:lnTo>
                      <a:pt x="162" y="78"/>
                    </a:lnTo>
                    <a:lnTo>
                      <a:pt x="114" y="126"/>
                    </a:lnTo>
                    <a:lnTo>
                      <a:pt x="90" y="138"/>
                    </a:lnTo>
                    <a:lnTo>
                      <a:pt x="84" y="168"/>
                    </a:lnTo>
                    <a:lnTo>
                      <a:pt x="66" y="186"/>
                    </a:lnTo>
                    <a:lnTo>
                      <a:pt x="42" y="216"/>
                    </a:lnTo>
                    <a:lnTo>
                      <a:pt x="42" y="240"/>
                    </a:lnTo>
                    <a:lnTo>
                      <a:pt x="30" y="270"/>
                    </a:lnTo>
                    <a:lnTo>
                      <a:pt x="12" y="295"/>
                    </a:lnTo>
                    <a:lnTo>
                      <a:pt x="18" y="325"/>
                    </a:lnTo>
                    <a:lnTo>
                      <a:pt x="0" y="349"/>
                    </a:lnTo>
                    <a:lnTo>
                      <a:pt x="18" y="391"/>
                    </a:lnTo>
                    <a:lnTo>
                      <a:pt x="48" y="403"/>
                    </a:lnTo>
                    <a:lnTo>
                      <a:pt x="54" y="415"/>
                    </a:lnTo>
                    <a:lnTo>
                      <a:pt x="72" y="421"/>
                    </a:lnTo>
                    <a:lnTo>
                      <a:pt x="120" y="427"/>
                    </a:ln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288" name="Freeform 287"/>
              <p:cNvSpPr>
                <a:spLocks/>
              </p:cNvSpPr>
              <p:nvPr/>
            </p:nvSpPr>
            <p:spPr bwMode="auto">
              <a:xfrm>
                <a:off x="4908870" y="0"/>
                <a:ext cx="3783259" cy="2015570"/>
              </a:xfrm>
              <a:custGeom>
                <a:avLst/>
                <a:gdLst>
                  <a:gd name="T0" fmla="*/ 2147483647 w 483"/>
                  <a:gd name="T1" fmla="*/ 2147483647 h 260"/>
                  <a:gd name="T2" fmla="*/ 2147483647 w 483"/>
                  <a:gd name="T3" fmla="*/ 2147483647 h 260"/>
                  <a:gd name="T4" fmla="*/ 2147483647 w 483"/>
                  <a:gd name="T5" fmla="*/ 2147483647 h 260"/>
                  <a:gd name="T6" fmla="*/ 2147483647 w 483"/>
                  <a:gd name="T7" fmla="*/ 2147483647 h 260"/>
                  <a:gd name="T8" fmla="*/ 2147483647 w 483"/>
                  <a:gd name="T9" fmla="*/ 2147483647 h 260"/>
                  <a:gd name="T10" fmla="*/ 2147483647 w 483"/>
                  <a:gd name="T11" fmla="*/ 2147483647 h 260"/>
                  <a:gd name="T12" fmla="*/ 2147483647 w 483"/>
                  <a:gd name="T13" fmla="*/ 2147483647 h 260"/>
                  <a:gd name="T14" fmla="*/ 2147483647 w 483"/>
                  <a:gd name="T15" fmla="*/ 2147483647 h 260"/>
                  <a:gd name="T16" fmla="*/ 2147483647 w 483"/>
                  <a:gd name="T17" fmla="*/ 2147483647 h 260"/>
                  <a:gd name="T18" fmla="*/ 2147483647 w 483"/>
                  <a:gd name="T19" fmla="*/ 2147483647 h 260"/>
                  <a:gd name="T20" fmla="*/ 2147483647 w 483"/>
                  <a:gd name="T21" fmla="*/ 2147483647 h 260"/>
                  <a:gd name="T22" fmla="*/ 2147483647 w 483"/>
                  <a:gd name="T23" fmla="*/ 2147483647 h 260"/>
                  <a:gd name="T24" fmla="*/ 2147483647 w 483"/>
                  <a:gd name="T25" fmla="*/ 2147483647 h 260"/>
                  <a:gd name="T26" fmla="*/ 2147483647 w 483"/>
                  <a:gd name="T27" fmla="*/ 2147483647 h 260"/>
                  <a:gd name="T28" fmla="*/ 2147483647 w 483"/>
                  <a:gd name="T29" fmla="*/ 2147483647 h 260"/>
                  <a:gd name="T30" fmla="*/ 2147483647 w 483"/>
                  <a:gd name="T31" fmla="*/ 2147483647 h 260"/>
                  <a:gd name="T32" fmla="*/ 2147483647 w 483"/>
                  <a:gd name="T33" fmla="*/ 2147483647 h 260"/>
                  <a:gd name="T34" fmla="*/ 2147483647 w 483"/>
                  <a:gd name="T35" fmla="*/ 2147483647 h 260"/>
                  <a:gd name="T36" fmla="*/ 2147483647 w 483"/>
                  <a:gd name="T37" fmla="*/ 2147483647 h 260"/>
                  <a:gd name="T38" fmla="*/ 2147483647 w 483"/>
                  <a:gd name="T39" fmla="*/ 2147483647 h 260"/>
                  <a:gd name="T40" fmla="*/ 2147483647 w 483"/>
                  <a:gd name="T41" fmla="*/ 2147483647 h 260"/>
                  <a:gd name="T42" fmla="*/ 2147483647 w 483"/>
                  <a:gd name="T43" fmla="*/ 2147483647 h 260"/>
                  <a:gd name="T44" fmla="*/ 2147483647 w 483"/>
                  <a:gd name="T45" fmla="*/ 2147483647 h 260"/>
                  <a:gd name="T46" fmla="*/ 2147483647 w 483"/>
                  <a:gd name="T47" fmla="*/ 2147483647 h 260"/>
                  <a:gd name="T48" fmla="*/ 2147483647 w 483"/>
                  <a:gd name="T49" fmla="*/ 2147483647 h 260"/>
                  <a:gd name="T50" fmla="*/ 2147483647 w 483"/>
                  <a:gd name="T51" fmla="*/ 2147483647 h 260"/>
                  <a:gd name="T52" fmla="*/ 2147483647 w 483"/>
                  <a:gd name="T53" fmla="*/ 2147483647 h 260"/>
                  <a:gd name="T54" fmla="*/ 2147483647 w 483"/>
                  <a:gd name="T55" fmla="*/ 2147483647 h 260"/>
                  <a:gd name="T56" fmla="*/ 2147483647 w 483"/>
                  <a:gd name="T57" fmla="*/ 2147483647 h 260"/>
                  <a:gd name="T58" fmla="*/ 2147483647 w 483"/>
                  <a:gd name="T59" fmla="*/ 2147483647 h 260"/>
                  <a:gd name="T60" fmla="*/ 2147483647 w 483"/>
                  <a:gd name="T61" fmla="*/ 2147483647 h 260"/>
                  <a:gd name="T62" fmla="*/ 2147483647 w 483"/>
                  <a:gd name="T63" fmla="*/ 2147483647 h 260"/>
                  <a:gd name="T64" fmla="*/ 2147483647 w 483"/>
                  <a:gd name="T65" fmla="*/ 2147483647 h 260"/>
                  <a:gd name="T66" fmla="*/ 2147483647 w 483"/>
                  <a:gd name="T67" fmla="*/ 2147483647 h 260"/>
                  <a:gd name="T68" fmla="*/ 2147483647 w 483"/>
                  <a:gd name="T69" fmla="*/ 2147483647 h 260"/>
                  <a:gd name="T70" fmla="*/ 2147483647 w 483"/>
                  <a:gd name="T71" fmla="*/ 2147483647 h 260"/>
                  <a:gd name="T72" fmla="*/ 2147483647 w 483"/>
                  <a:gd name="T73" fmla="*/ 2147483647 h 260"/>
                  <a:gd name="T74" fmla="*/ 2147483647 w 483"/>
                  <a:gd name="T75" fmla="*/ 2147483647 h 260"/>
                  <a:gd name="T76" fmla="*/ 2147483647 w 483"/>
                  <a:gd name="T77" fmla="*/ 2147483647 h 260"/>
                  <a:gd name="T78" fmla="*/ 2147483647 w 483"/>
                  <a:gd name="T79" fmla="*/ 2147483647 h 260"/>
                  <a:gd name="T80" fmla="*/ 2147483647 w 483"/>
                  <a:gd name="T81" fmla="*/ 2147483647 h 260"/>
                  <a:gd name="T82" fmla="*/ 2147483647 w 483"/>
                  <a:gd name="T83" fmla="*/ 2147483647 h 260"/>
                  <a:gd name="T84" fmla="*/ 2147483647 w 483"/>
                  <a:gd name="T85" fmla="*/ 2147483647 h 260"/>
                  <a:gd name="T86" fmla="*/ 2147483647 w 483"/>
                  <a:gd name="T87" fmla="*/ 2147483647 h 260"/>
                  <a:gd name="T88" fmla="*/ 2147483647 w 483"/>
                  <a:gd name="T89" fmla="*/ 2147483647 h 260"/>
                  <a:gd name="T90" fmla="*/ 2147483647 w 483"/>
                  <a:gd name="T91" fmla="*/ 2147483647 h 260"/>
                  <a:gd name="T92" fmla="*/ 2147483647 w 483"/>
                  <a:gd name="T93" fmla="*/ 2147483647 h 260"/>
                  <a:gd name="T94" fmla="*/ 2147483647 w 483"/>
                  <a:gd name="T95" fmla="*/ 2147483647 h 260"/>
                  <a:gd name="T96" fmla="*/ 2147483647 w 483"/>
                  <a:gd name="T97" fmla="*/ 2147483647 h 260"/>
                  <a:gd name="T98" fmla="*/ 2147483647 w 483"/>
                  <a:gd name="T99" fmla="*/ 2147483647 h 260"/>
                  <a:gd name="T100" fmla="*/ 2147483647 w 483"/>
                  <a:gd name="T101" fmla="*/ 2147483647 h 260"/>
                  <a:gd name="T102" fmla="*/ 2147483647 w 483"/>
                  <a:gd name="T103" fmla="*/ 2147483647 h 260"/>
                  <a:gd name="T104" fmla="*/ 2147483647 w 483"/>
                  <a:gd name="T105" fmla="*/ 2147483647 h 260"/>
                  <a:gd name="T106" fmla="*/ 2147483647 w 483"/>
                  <a:gd name="T107" fmla="*/ 2147483647 h 260"/>
                  <a:gd name="T108" fmla="*/ 2147483647 w 483"/>
                  <a:gd name="T109" fmla="*/ 2147483647 h 260"/>
                  <a:gd name="T110" fmla="*/ 2147483647 w 483"/>
                  <a:gd name="T111" fmla="*/ 2147483647 h 260"/>
                  <a:gd name="T112" fmla="*/ 2147483647 w 483"/>
                  <a:gd name="T113" fmla="*/ 2147483647 h 260"/>
                  <a:gd name="T114" fmla="*/ 2147483647 w 483"/>
                  <a:gd name="T115" fmla="*/ 2147483647 h 260"/>
                  <a:gd name="T116" fmla="*/ 2147483647 w 483"/>
                  <a:gd name="T117" fmla="*/ 2147483647 h 260"/>
                  <a:gd name="T118" fmla="*/ 2147483647 w 483"/>
                  <a:gd name="T119" fmla="*/ 2147483647 h 260"/>
                  <a:gd name="T120" fmla="*/ 2147483647 w 483"/>
                  <a:gd name="T121" fmla="*/ 2147483647 h 260"/>
                  <a:gd name="T122" fmla="*/ 2147483647 w 483"/>
                  <a:gd name="T123" fmla="*/ 2147483647 h 26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483" h="260">
                    <a:moveTo>
                      <a:pt x="482" y="127"/>
                    </a:moveTo>
                    <a:cubicBezTo>
                      <a:pt x="483" y="96"/>
                      <a:pt x="483" y="96"/>
                      <a:pt x="483" y="96"/>
                    </a:cubicBezTo>
                    <a:cubicBezTo>
                      <a:pt x="480" y="95"/>
                      <a:pt x="480" y="95"/>
                      <a:pt x="480" y="95"/>
                    </a:cubicBezTo>
                    <a:cubicBezTo>
                      <a:pt x="478" y="94"/>
                      <a:pt x="478" y="94"/>
                      <a:pt x="478" y="94"/>
                    </a:cubicBezTo>
                    <a:cubicBezTo>
                      <a:pt x="478" y="94"/>
                      <a:pt x="474" y="90"/>
                      <a:pt x="474" y="90"/>
                    </a:cubicBezTo>
                    <a:cubicBezTo>
                      <a:pt x="473" y="89"/>
                      <a:pt x="470" y="89"/>
                      <a:pt x="470" y="89"/>
                    </a:cubicBezTo>
                    <a:cubicBezTo>
                      <a:pt x="463" y="88"/>
                      <a:pt x="463" y="88"/>
                      <a:pt x="463" y="88"/>
                    </a:cubicBezTo>
                    <a:cubicBezTo>
                      <a:pt x="459" y="87"/>
                      <a:pt x="459" y="87"/>
                      <a:pt x="459" y="87"/>
                    </a:cubicBezTo>
                    <a:cubicBezTo>
                      <a:pt x="456" y="87"/>
                      <a:pt x="456" y="87"/>
                      <a:pt x="456" y="87"/>
                    </a:cubicBezTo>
                    <a:cubicBezTo>
                      <a:pt x="454" y="87"/>
                      <a:pt x="454" y="87"/>
                      <a:pt x="454" y="87"/>
                    </a:cubicBezTo>
                    <a:cubicBezTo>
                      <a:pt x="455" y="95"/>
                      <a:pt x="455" y="95"/>
                      <a:pt x="455" y="95"/>
                    </a:cubicBezTo>
                    <a:cubicBezTo>
                      <a:pt x="455" y="95"/>
                      <a:pt x="451" y="97"/>
                      <a:pt x="451" y="97"/>
                    </a:cubicBezTo>
                    <a:cubicBezTo>
                      <a:pt x="450" y="97"/>
                      <a:pt x="448" y="94"/>
                      <a:pt x="448" y="94"/>
                    </a:cubicBezTo>
                    <a:cubicBezTo>
                      <a:pt x="445" y="91"/>
                      <a:pt x="445" y="91"/>
                      <a:pt x="445" y="91"/>
                    </a:cubicBezTo>
                    <a:cubicBezTo>
                      <a:pt x="445" y="89"/>
                      <a:pt x="445" y="89"/>
                      <a:pt x="445" y="89"/>
                    </a:cubicBezTo>
                    <a:cubicBezTo>
                      <a:pt x="440" y="89"/>
                      <a:pt x="440" y="89"/>
                      <a:pt x="440" y="89"/>
                    </a:cubicBezTo>
                    <a:cubicBezTo>
                      <a:pt x="437" y="90"/>
                      <a:pt x="437" y="90"/>
                      <a:pt x="437" y="90"/>
                    </a:cubicBezTo>
                    <a:cubicBezTo>
                      <a:pt x="431" y="89"/>
                      <a:pt x="431" y="89"/>
                      <a:pt x="431" y="89"/>
                    </a:cubicBezTo>
                    <a:cubicBezTo>
                      <a:pt x="426" y="89"/>
                      <a:pt x="426" y="89"/>
                      <a:pt x="426" y="89"/>
                    </a:cubicBezTo>
                    <a:cubicBezTo>
                      <a:pt x="423" y="90"/>
                      <a:pt x="423" y="90"/>
                      <a:pt x="423" y="90"/>
                    </a:cubicBezTo>
                    <a:cubicBezTo>
                      <a:pt x="419" y="87"/>
                      <a:pt x="419" y="87"/>
                      <a:pt x="419" y="87"/>
                    </a:cubicBezTo>
                    <a:cubicBezTo>
                      <a:pt x="419" y="80"/>
                      <a:pt x="419" y="80"/>
                      <a:pt x="419" y="80"/>
                    </a:cubicBezTo>
                    <a:cubicBezTo>
                      <a:pt x="413" y="77"/>
                      <a:pt x="413" y="77"/>
                      <a:pt x="413" y="77"/>
                    </a:cubicBezTo>
                    <a:cubicBezTo>
                      <a:pt x="403" y="77"/>
                      <a:pt x="403" y="77"/>
                      <a:pt x="403" y="77"/>
                    </a:cubicBezTo>
                    <a:cubicBezTo>
                      <a:pt x="394" y="77"/>
                      <a:pt x="394" y="77"/>
                      <a:pt x="394" y="77"/>
                    </a:cubicBezTo>
                    <a:cubicBezTo>
                      <a:pt x="393" y="75"/>
                      <a:pt x="393" y="75"/>
                      <a:pt x="393" y="75"/>
                    </a:cubicBezTo>
                    <a:cubicBezTo>
                      <a:pt x="392" y="72"/>
                      <a:pt x="392" y="72"/>
                      <a:pt x="392" y="72"/>
                    </a:cubicBezTo>
                    <a:cubicBezTo>
                      <a:pt x="386" y="69"/>
                      <a:pt x="386" y="69"/>
                      <a:pt x="386" y="69"/>
                    </a:cubicBezTo>
                    <a:cubicBezTo>
                      <a:pt x="386" y="64"/>
                      <a:pt x="386" y="64"/>
                      <a:pt x="386" y="64"/>
                    </a:cubicBezTo>
                    <a:cubicBezTo>
                      <a:pt x="362" y="59"/>
                      <a:pt x="362" y="59"/>
                      <a:pt x="362" y="59"/>
                    </a:cubicBezTo>
                    <a:cubicBezTo>
                      <a:pt x="361" y="61"/>
                      <a:pt x="361" y="61"/>
                      <a:pt x="361" y="61"/>
                    </a:cubicBezTo>
                    <a:cubicBezTo>
                      <a:pt x="356" y="65"/>
                      <a:pt x="356" y="65"/>
                      <a:pt x="356" y="65"/>
                    </a:cubicBezTo>
                    <a:cubicBezTo>
                      <a:pt x="357" y="71"/>
                      <a:pt x="357" y="71"/>
                      <a:pt x="357" y="71"/>
                    </a:cubicBezTo>
                    <a:cubicBezTo>
                      <a:pt x="351" y="73"/>
                      <a:pt x="351" y="73"/>
                      <a:pt x="351" y="73"/>
                    </a:cubicBezTo>
                    <a:cubicBezTo>
                      <a:pt x="347" y="72"/>
                      <a:pt x="347" y="72"/>
                      <a:pt x="347" y="72"/>
                    </a:cubicBezTo>
                    <a:cubicBezTo>
                      <a:pt x="342" y="70"/>
                      <a:pt x="342" y="70"/>
                      <a:pt x="342" y="70"/>
                    </a:cubicBezTo>
                    <a:cubicBezTo>
                      <a:pt x="340" y="72"/>
                      <a:pt x="340" y="72"/>
                      <a:pt x="340" y="72"/>
                    </a:cubicBezTo>
                    <a:cubicBezTo>
                      <a:pt x="336" y="71"/>
                      <a:pt x="336" y="71"/>
                      <a:pt x="336" y="71"/>
                    </a:cubicBezTo>
                    <a:cubicBezTo>
                      <a:pt x="332" y="68"/>
                      <a:pt x="332" y="68"/>
                      <a:pt x="332" y="68"/>
                    </a:cubicBezTo>
                    <a:cubicBezTo>
                      <a:pt x="331" y="74"/>
                      <a:pt x="331" y="74"/>
                      <a:pt x="331" y="74"/>
                    </a:cubicBezTo>
                    <a:cubicBezTo>
                      <a:pt x="328" y="78"/>
                      <a:pt x="328" y="78"/>
                      <a:pt x="328" y="78"/>
                    </a:cubicBezTo>
                    <a:cubicBezTo>
                      <a:pt x="323" y="73"/>
                      <a:pt x="323" y="73"/>
                      <a:pt x="323" y="73"/>
                    </a:cubicBezTo>
                    <a:cubicBezTo>
                      <a:pt x="320" y="67"/>
                      <a:pt x="320" y="67"/>
                      <a:pt x="320" y="67"/>
                    </a:cubicBezTo>
                    <a:cubicBezTo>
                      <a:pt x="323" y="60"/>
                      <a:pt x="323" y="60"/>
                      <a:pt x="323" y="60"/>
                    </a:cubicBezTo>
                    <a:cubicBezTo>
                      <a:pt x="323" y="57"/>
                      <a:pt x="323" y="57"/>
                      <a:pt x="323" y="57"/>
                    </a:cubicBezTo>
                    <a:cubicBezTo>
                      <a:pt x="320" y="52"/>
                      <a:pt x="320" y="52"/>
                      <a:pt x="320" y="52"/>
                    </a:cubicBezTo>
                    <a:cubicBezTo>
                      <a:pt x="316" y="51"/>
                      <a:pt x="316" y="51"/>
                      <a:pt x="316" y="51"/>
                    </a:cubicBezTo>
                    <a:cubicBezTo>
                      <a:pt x="312" y="51"/>
                      <a:pt x="312" y="51"/>
                      <a:pt x="312" y="51"/>
                    </a:cubicBezTo>
                    <a:cubicBezTo>
                      <a:pt x="310" y="49"/>
                      <a:pt x="310" y="49"/>
                      <a:pt x="310" y="49"/>
                    </a:cubicBezTo>
                    <a:cubicBezTo>
                      <a:pt x="306" y="46"/>
                      <a:pt x="306" y="46"/>
                      <a:pt x="306" y="46"/>
                    </a:cubicBezTo>
                    <a:cubicBezTo>
                      <a:pt x="303" y="50"/>
                      <a:pt x="303" y="50"/>
                      <a:pt x="303" y="50"/>
                    </a:cubicBezTo>
                    <a:cubicBezTo>
                      <a:pt x="301" y="55"/>
                      <a:pt x="301" y="55"/>
                      <a:pt x="301" y="55"/>
                    </a:cubicBezTo>
                    <a:cubicBezTo>
                      <a:pt x="292" y="55"/>
                      <a:pt x="292" y="55"/>
                      <a:pt x="292" y="55"/>
                    </a:cubicBezTo>
                    <a:cubicBezTo>
                      <a:pt x="287" y="53"/>
                      <a:pt x="287" y="53"/>
                      <a:pt x="287" y="53"/>
                    </a:cubicBezTo>
                    <a:cubicBezTo>
                      <a:pt x="286" y="49"/>
                      <a:pt x="286" y="49"/>
                      <a:pt x="286" y="49"/>
                    </a:cubicBezTo>
                    <a:cubicBezTo>
                      <a:pt x="277" y="49"/>
                      <a:pt x="277" y="49"/>
                      <a:pt x="277" y="49"/>
                    </a:cubicBezTo>
                    <a:cubicBezTo>
                      <a:pt x="272" y="52"/>
                      <a:pt x="272" y="52"/>
                      <a:pt x="272" y="52"/>
                    </a:cubicBezTo>
                    <a:cubicBezTo>
                      <a:pt x="271" y="49"/>
                      <a:pt x="271" y="49"/>
                      <a:pt x="271" y="49"/>
                    </a:cubicBezTo>
                    <a:cubicBezTo>
                      <a:pt x="268" y="45"/>
                      <a:pt x="268" y="45"/>
                      <a:pt x="268" y="45"/>
                    </a:cubicBezTo>
                    <a:cubicBezTo>
                      <a:pt x="264" y="44"/>
                      <a:pt x="264" y="44"/>
                      <a:pt x="264" y="44"/>
                    </a:cubicBezTo>
                    <a:cubicBezTo>
                      <a:pt x="259" y="49"/>
                      <a:pt x="259" y="49"/>
                      <a:pt x="259" y="49"/>
                    </a:cubicBezTo>
                    <a:cubicBezTo>
                      <a:pt x="253" y="52"/>
                      <a:pt x="253" y="52"/>
                      <a:pt x="253" y="52"/>
                    </a:cubicBezTo>
                    <a:cubicBezTo>
                      <a:pt x="247" y="57"/>
                      <a:pt x="247" y="57"/>
                      <a:pt x="247" y="57"/>
                    </a:cubicBezTo>
                    <a:cubicBezTo>
                      <a:pt x="251" y="51"/>
                      <a:pt x="251" y="51"/>
                      <a:pt x="251" y="51"/>
                    </a:cubicBezTo>
                    <a:cubicBezTo>
                      <a:pt x="255" y="48"/>
                      <a:pt x="255" y="48"/>
                      <a:pt x="255" y="48"/>
                    </a:cubicBezTo>
                    <a:cubicBezTo>
                      <a:pt x="262" y="39"/>
                      <a:pt x="262" y="39"/>
                      <a:pt x="262" y="39"/>
                    </a:cubicBezTo>
                    <a:cubicBezTo>
                      <a:pt x="266" y="35"/>
                      <a:pt x="266" y="35"/>
                      <a:pt x="266" y="35"/>
                    </a:cubicBezTo>
                    <a:cubicBezTo>
                      <a:pt x="270" y="29"/>
                      <a:pt x="270" y="29"/>
                      <a:pt x="270" y="29"/>
                    </a:cubicBezTo>
                    <a:cubicBezTo>
                      <a:pt x="268" y="19"/>
                      <a:pt x="268" y="19"/>
                      <a:pt x="268" y="19"/>
                    </a:cubicBezTo>
                    <a:cubicBezTo>
                      <a:pt x="260" y="12"/>
                      <a:pt x="260" y="12"/>
                      <a:pt x="260" y="12"/>
                    </a:cubicBezTo>
                    <a:cubicBezTo>
                      <a:pt x="254" y="11"/>
                      <a:pt x="254" y="11"/>
                      <a:pt x="254" y="11"/>
                    </a:cubicBezTo>
                    <a:cubicBezTo>
                      <a:pt x="254" y="8"/>
                      <a:pt x="254" y="8"/>
                      <a:pt x="254" y="8"/>
                    </a:cubicBezTo>
                    <a:cubicBezTo>
                      <a:pt x="249" y="1"/>
                      <a:pt x="249" y="1"/>
                      <a:pt x="249" y="1"/>
                    </a:cubicBezTo>
                    <a:cubicBezTo>
                      <a:pt x="249" y="1"/>
                      <a:pt x="242" y="0"/>
                      <a:pt x="241" y="0"/>
                    </a:cubicBezTo>
                    <a:cubicBezTo>
                      <a:pt x="241" y="1"/>
                      <a:pt x="233" y="9"/>
                      <a:pt x="233" y="9"/>
                    </a:cubicBezTo>
                    <a:cubicBezTo>
                      <a:pt x="231" y="16"/>
                      <a:pt x="231" y="16"/>
                      <a:pt x="231" y="16"/>
                    </a:cubicBezTo>
                    <a:cubicBezTo>
                      <a:pt x="222" y="22"/>
                      <a:pt x="222" y="22"/>
                      <a:pt x="222" y="22"/>
                    </a:cubicBezTo>
                    <a:cubicBezTo>
                      <a:pt x="216" y="19"/>
                      <a:pt x="216" y="19"/>
                      <a:pt x="216" y="19"/>
                    </a:cubicBezTo>
                    <a:cubicBezTo>
                      <a:pt x="206" y="23"/>
                      <a:pt x="206" y="23"/>
                      <a:pt x="206" y="23"/>
                    </a:cubicBezTo>
                    <a:cubicBezTo>
                      <a:pt x="195" y="29"/>
                      <a:pt x="195" y="29"/>
                      <a:pt x="195" y="29"/>
                    </a:cubicBezTo>
                    <a:cubicBezTo>
                      <a:pt x="190" y="35"/>
                      <a:pt x="190" y="35"/>
                      <a:pt x="190" y="35"/>
                    </a:cubicBezTo>
                    <a:cubicBezTo>
                      <a:pt x="190" y="35"/>
                      <a:pt x="189" y="46"/>
                      <a:pt x="188" y="46"/>
                    </a:cubicBezTo>
                    <a:cubicBezTo>
                      <a:pt x="187" y="46"/>
                      <a:pt x="172" y="50"/>
                      <a:pt x="172" y="50"/>
                    </a:cubicBezTo>
                    <a:cubicBezTo>
                      <a:pt x="169" y="54"/>
                      <a:pt x="169" y="54"/>
                      <a:pt x="169" y="54"/>
                    </a:cubicBezTo>
                    <a:cubicBezTo>
                      <a:pt x="169" y="54"/>
                      <a:pt x="171" y="63"/>
                      <a:pt x="170" y="64"/>
                    </a:cubicBezTo>
                    <a:cubicBezTo>
                      <a:pt x="170" y="64"/>
                      <a:pt x="167" y="63"/>
                      <a:pt x="167" y="63"/>
                    </a:cubicBezTo>
                    <a:cubicBezTo>
                      <a:pt x="162" y="61"/>
                      <a:pt x="162" y="61"/>
                      <a:pt x="162" y="61"/>
                    </a:cubicBezTo>
                    <a:cubicBezTo>
                      <a:pt x="162" y="61"/>
                      <a:pt x="160" y="65"/>
                      <a:pt x="158" y="66"/>
                    </a:cubicBezTo>
                    <a:cubicBezTo>
                      <a:pt x="155" y="67"/>
                      <a:pt x="155" y="62"/>
                      <a:pt x="155" y="62"/>
                    </a:cubicBezTo>
                    <a:cubicBezTo>
                      <a:pt x="152" y="59"/>
                      <a:pt x="152" y="59"/>
                      <a:pt x="152" y="59"/>
                    </a:cubicBezTo>
                    <a:cubicBezTo>
                      <a:pt x="150" y="59"/>
                      <a:pt x="150" y="59"/>
                      <a:pt x="150" y="59"/>
                    </a:cubicBezTo>
                    <a:cubicBezTo>
                      <a:pt x="148" y="65"/>
                      <a:pt x="148" y="65"/>
                      <a:pt x="148" y="65"/>
                    </a:cubicBezTo>
                    <a:cubicBezTo>
                      <a:pt x="148" y="65"/>
                      <a:pt x="148" y="70"/>
                      <a:pt x="148" y="70"/>
                    </a:cubicBezTo>
                    <a:cubicBezTo>
                      <a:pt x="149" y="71"/>
                      <a:pt x="148" y="79"/>
                      <a:pt x="148" y="79"/>
                    </a:cubicBezTo>
                    <a:cubicBezTo>
                      <a:pt x="145" y="80"/>
                      <a:pt x="145" y="80"/>
                      <a:pt x="145" y="80"/>
                    </a:cubicBezTo>
                    <a:cubicBezTo>
                      <a:pt x="143" y="76"/>
                      <a:pt x="143" y="76"/>
                      <a:pt x="143" y="76"/>
                    </a:cubicBezTo>
                    <a:cubicBezTo>
                      <a:pt x="145" y="68"/>
                      <a:pt x="145" y="68"/>
                      <a:pt x="145" y="68"/>
                    </a:cubicBezTo>
                    <a:cubicBezTo>
                      <a:pt x="144" y="63"/>
                      <a:pt x="144" y="63"/>
                      <a:pt x="144" y="63"/>
                    </a:cubicBezTo>
                    <a:cubicBezTo>
                      <a:pt x="143" y="58"/>
                      <a:pt x="143" y="58"/>
                      <a:pt x="143" y="58"/>
                    </a:cubicBezTo>
                    <a:cubicBezTo>
                      <a:pt x="137" y="56"/>
                      <a:pt x="137" y="56"/>
                      <a:pt x="137" y="56"/>
                    </a:cubicBezTo>
                    <a:cubicBezTo>
                      <a:pt x="131" y="56"/>
                      <a:pt x="131" y="56"/>
                      <a:pt x="131" y="56"/>
                    </a:cubicBezTo>
                    <a:cubicBezTo>
                      <a:pt x="128" y="70"/>
                      <a:pt x="128" y="70"/>
                      <a:pt x="128" y="70"/>
                    </a:cubicBezTo>
                    <a:cubicBezTo>
                      <a:pt x="125" y="73"/>
                      <a:pt x="125" y="73"/>
                      <a:pt x="125" y="73"/>
                    </a:cubicBezTo>
                    <a:cubicBezTo>
                      <a:pt x="123" y="76"/>
                      <a:pt x="123" y="76"/>
                      <a:pt x="123" y="76"/>
                    </a:cubicBezTo>
                    <a:cubicBezTo>
                      <a:pt x="126" y="81"/>
                      <a:pt x="126" y="81"/>
                      <a:pt x="126" y="81"/>
                    </a:cubicBezTo>
                    <a:cubicBezTo>
                      <a:pt x="125" y="86"/>
                      <a:pt x="125" y="86"/>
                      <a:pt x="125" y="86"/>
                    </a:cubicBezTo>
                    <a:cubicBezTo>
                      <a:pt x="126" y="88"/>
                      <a:pt x="126" y="88"/>
                      <a:pt x="126" y="88"/>
                    </a:cubicBezTo>
                    <a:cubicBezTo>
                      <a:pt x="132" y="94"/>
                      <a:pt x="132" y="94"/>
                      <a:pt x="132" y="94"/>
                    </a:cubicBezTo>
                    <a:cubicBezTo>
                      <a:pt x="128" y="101"/>
                      <a:pt x="128" y="101"/>
                      <a:pt x="128" y="101"/>
                    </a:cubicBezTo>
                    <a:cubicBezTo>
                      <a:pt x="121" y="94"/>
                      <a:pt x="121" y="94"/>
                      <a:pt x="121" y="94"/>
                    </a:cubicBezTo>
                    <a:cubicBezTo>
                      <a:pt x="113" y="88"/>
                      <a:pt x="113" y="88"/>
                      <a:pt x="113" y="88"/>
                    </a:cubicBezTo>
                    <a:cubicBezTo>
                      <a:pt x="108" y="88"/>
                      <a:pt x="108" y="88"/>
                      <a:pt x="108" y="88"/>
                    </a:cubicBezTo>
                    <a:cubicBezTo>
                      <a:pt x="103" y="88"/>
                      <a:pt x="103" y="88"/>
                      <a:pt x="103" y="88"/>
                    </a:cubicBezTo>
                    <a:cubicBezTo>
                      <a:pt x="104" y="95"/>
                      <a:pt x="104" y="95"/>
                      <a:pt x="104" y="95"/>
                    </a:cubicBezTo>
                    <a:cubicBezTo>
                      <a:pt x="102" y="96"/>
                      <a:pt x="102" y="96"/>
                      <a:pt x="102" y="96"/>
                    </a:cubicBezTo>
                    <a:cubicBezTo>
                      <a:pt x="98" y="95"/>
                      <a:pt x="98" y="95"/>
                      <a:pt x="98" y="95"/>
                    </a:cubicBezTo>
                    <a:cubicBezTo>
                      <a:pt x="93" y="97"/>
                      <a:pt x="93" y="97"/>
                      <a:pt x="93" y="97"/>
                    </a:cubicBezTo>
                    <a:cubicBezTo>
                      <a:pt x="89" y="98"/>
                      <a:pt x="89" y="98"/>
                      <a:pt x="89" y="98"/>
                    </a:cubicBezTo>
                    <a:cubicBezTo>
                      <a:pt x="85" y="99"/>
                      <a:pt x="85" y="99"/>
                      <a:pt x="85" y="99"/>
                    </a:cubicBezTo>
                    <a:cubicBezTo>
                      <a:pt x="83" y="97"/>
                      <a:pt x="83" y="97"/>
                      <a:pt x="83" y="97"/>
                    </a:cubicBezTo>
                    <a:cubicBezTo>
                      <a:pt x="79" y="98"/>
                      <a:pt x="79" y="98"/>
                      <a:pt x="79" y="98"/>
                    </a:cubicBezTo>
                    <a:cubicBezTo>
                      <a:pt x="73" y="102"/>
                      <a:pt x="73" y="102"/>
                      <a:pt x="73" y="102"/>
                    </a:cubicBezTo>
                    <a:cubicBezTo>
                      <a:pt x="66" y="106"/>
                      <a:pt x="66" y="106"/>
                      <a:pt x="66" y="106"/>
                    </a:cubicBezTo>
                    <a:cubicBezTo>
                      <a:pt x="64" y="107"/>
                      <a:pt x="64" y="107"/>
                      <a:pt x="64" y="107"/>
                    </a:cubicBezTo>
                    <a:cubicBezTo>
                      <a:pt x="62" y="112"/>
                      <a:pt x="62" y="112"/>
                      <a:pt x="62" y="112"/>
                    </a:cubicBezTo>
                    <a:cubicBezTo>
                      <a:pt x="59" y="112"/>
                      <a:pt x="59" y="112"/>
                      <a:pt x="59" y="112"/>
                    </a:cubicBezTo>
                    <a:cubicBezTo>
                      <a:pt x="56" y="109"/>
                      <a:pt x="56" y="109"/>
                      <a:pt x="56" y="109"/>
                    </a:cubicBezTo>
                    <a:cubicBezTo>
                      <a:pt x="57" y="106"/>
                      <a:pt x="57" y="106"/>
                      <a:pt x="57" y="106"/>
                    </a:cubicBezTo>
                    <a:cubicBezTo>
                      <a:pt x="60" y="104"/>
                      <a:pt x="60" y="104"/>
                      <a:pt x="60" y="104"/>
                    </a:cubicBezTo>
                    <a:cubicBezTo>
                      <a:pt x="59" y="100"/>
                      <a:pt x="59" y="100"/>
                      <a:pt x="59" y="100"/>
                    </a:cubicBezTo>
                    <a:cubicBezTo>
                      <a:pt x="55" y="99"/>
                      <a:pt x="55" y="99"/>
                      <a:pt x="55" y="99"/>
                    </a:cubicBezTo>
                    <a:cubicBezTo>
                      <a:pt x="53" y="99"/>
                      <a:pt x="53" y="99"/>
                      <a:pt x="53" y="99"/>
                    </a:cubicBezTo>
                    <a:cubicBezTo>
                      <a:pt x="50" y="98"/>
                      <a:pt x="50" y="98"/>
                      <a:pt x="50" y="98"/>
                    </a:cubicBezTo>
                    <a:cubicBezTo>
                      <a:pt x="52" y="102"/>
                      <a:pt x="52" y="102"/>
                      <a:pt x="52" y="102"/>
                    </a:cubicBezTo>
                    <a:cubicBezTo>
                      <a:pt x="52" y="109"/>
                      <a:pt x="52" y="109"/>
                      <a:pt x="52" y="109"/>
                    </a:cubicBezTo>
                    <a:cubicBezTo>
                      <a:pt x="54" y="112"/>
                      <a:pt x="54" y="112"/>
                      <a:pt x="54" y="112"/>
                    </a:cubicBezTo>
                    <a:cubicBezTo>
                      <a:pt x="52" y="118"/>
                      <a:pt x="52" y="118"/>
                      <a:pt x="52" y="118"/>
                    </a:cubicBezTo>
                    <a:cubicBezTo>
                      <a:pt x="49" y="116"/>
                      <a:pt x="49" y="116"/>
                      <a:pt x="49" y="116"/>
                    </a:cubicBezTo>
                    <a:cubicBezTo>
                      <a:pt x="46" y="116"/>
                      <a:pt x="46" y="116"/>
                      <a:pt x="46" y="116"/>
                    </a:cubicBezTo>
                    <a:cubicBezTo>
                      <a:pt x="43" y="118"/>
                      <a:pt x="43" y="118"/>
                      <a:pt x="43" y="118"/>
                    </a:cubicBezTo>
                    <a:cubicBezTo>
                      <a:pt x="40" y="121"/>
                      <a:pt x="40" y="121"/>
                      <a:pt x="40" y="121"/>
                    </a:cubicBezTo>
                    <a:cubicBezTo>
                      <a:pt x="38" y="123"/>
                      <a:pt x="38" y="123"/>
                      <a:pt x="38" y="123"/>
                    </a:cubicBezTo>
                    <a:cubicBezTo>
                      <a:pt x="41" y="130"/>
                      <a:pt x="41" y="130"/>
                      <a:pt x="41" y="130"/>
                    </a:cubicBezTo>
                    <a:cubicBezTo>
                      <a:pt x="41" y="130"/>
                      <a:pt x="39" y="129"/>
                      <a:pt x="39" y="129"/>
                    </a:cubicBezTo>
                    <a:cubicBezTo>
                      <a:pt x="38" y="128"/>
                      <a:pt x="33" y="128"/>
                      <a:pt x="33" y="128"/>
                    </a:cubicBezTo>
                    <a:cubicBezTo>
                      <a:pt x="30" y="127"/>
                      <a:pt x="30" y="127"/>
                      <a:pt x="30" y="127"/>
                    </a:cubicBezTo>
                    <a:cubicBezTo>
                      <a:pt x="30" y="129"/>
                      <a:pt x="30" y="129"/>
                      <a:pt x="30" y="129"/>
                    </a:cubicBezTo>
                    <a:cubicBezTo>
                      <a:pt x="32" y="132"/>
                      <a:pt x="32" y="132"/>
                      <a:pt x="32" y="132"/>
                    </a:cubicBezTo>
                    <a:cubicBezTo>
                      <a:pt x="33" y="135"/>
                      <a:pt x="33" y="135"/>
                      <a:pt x="33" y="135"/>
                    </a:cubicBezTo>
                    <a:cubicBezTo>
                      <a:pt x="31" y="136"/>
                      <a:pt x="31" y="136"/>
                      <a:pt x="31" y="136"/>
                    </a:cubicBezTo>
                    <a:cubicBezTo>
                      <a:pt x="26" y="133"/>
                      <a:pt x="26" y="133"/>
                      <a:pt x="26" y="133"/>
                    </a:cubicBezTo>
                    <a:cubicBezTo>
                      <a:pt x="23" y="130"/>
                      <a:pt x="23" y="130"/>
                      <a:pt x="23" y="130"/>
                    </a:cubicBezTo>
                    <a:cubicBezTo>
                      <a:pt x="23" y="128"/>
                      <a:pt x="23" y="128"/>
                      <a:pt x="23" y="128"/>
                    </a:cubicBezTo>
                    <a:cubicBezTo>
                      <a:pt x="21" y="123"/>
                      <a:pt x="21" y="123"/>
                      <a:pt x="21" y="123"/>
                    </a:cubicBezTo>
                    <a:cubicBezTo>
                      <a:pt x="23" y="121"/>
                      <a:pt x="23" y="121"/>
                      <a:pt x="23" y="121"/>
                    </a:cubicBezTo>
                    <a:cubicBezTo>
                      <a:pt x="23" y="118"/>
                      <a:pt x="23" y="118"/>
                      <a:pt x="23" y="118"/>
                    </a:cubicBezTo>
                    <a:cubicBezTo>
                      <a:pt x="19" y="116"/>
                      <a:pt x="19" y="116"/>
                      <a:pt x="19" y="116"/>
                    </a:cubicBezTo>
                    <a:cubicBezTo>
                      <a:pt x="15" y="113"/>
                      <a:pt x="15" y="113"/>
                      <a:pt x="15" y="113"/>
                    </a:cubicBezTo>
                    <a:cubicBezTo>
                      <a:pt x="14" y="111"/>
                      <a:pt x="14" y="111"/>
                      <a:pt x="14" y="111"/>
                    </a:cubicBezTo>
                    <a:cubicBezTo>
                      <a:pt x="16" y="111"/>
                      <a:pt x="16" y="111"/>
                      <a:pt x="16" y="111"/>
                    </a:cubicBezTo>
                    <a:cubicBezTo>
                      <a:pt x="18" y="112"/>
                      <a:pt x="18" y="112"/>
                      <a:pt x="18" y="112"/>
                    </a:cubicBezTo>
                    <a:cubicBezTo>
                      <a:pt x="18" y="112"/>
                      <a:pt x="22" y="113"/>
                      <a:pt x="22" y="113"/>
                    </a:cubicBezTo>
                    <a:cubicBezTo>
                      <a:pt x="23" y="113"/>
                      <a:pt x="24" y="116"/>
                      <a:pt x="24" y="116"/>
                    </a:cubicBezTo>
                    <a:cubicBezTo>
                      <a:pt x="31" y="118"/>
                      <a:pt x="31" y="118"/>
                      <a:pt x="31" y="118"/>
                    </a:cubicBezTo>
                    <a:cubicBezTo>
                      <a:pt x="38" y="117"/>
                      <a:pt x="38" y="117"/>
                      <a:pt x="38" y="117"/>
                    </a:cubicBezTo>
                    <a:cubicBezTo>
                      <a:pt x="42" y="114"/>
                      <a:pt x="42" y="114"/>
                      <a:pt x="42" y="114"/>
                    </a:cubicBezTo>
                    <a:cubicBezTo>
                      <a:pt x="43" y="109"/>
                      <a:pt x="43" y="109"/>
                      <a:pt x="43" y="109"/>
                    </a:cubicBezTo>
                    <a:cubicBezTo>
                      <a:pt x="36" y="101"/>
                      <a:pt x="36" y="101"/>
                      <a:pt x="36" y="101"/>
                    </a:cubicBezTo>
                    <a:cubicBezTo>
                      <a:pt x="30" y="97"/>
                      <a:pt x="30" y="97"/>
                      <a:pt x="30" y="97"/>
                    </a:cubicBezTo>
                    <a:cubicBezTo>
                      <a:pt x="26" y="93"/>
                      <a:pt x="26" y="93"/>
                      <a:pt x="26" y="93"/>
                    </a:cubicBezTo>
                    <a:cubicBezTo>
                      <a:pt x="20" y="91"/>
                      <a:pt x="20" y="91"/>
                      <a:pt x="20" y="91"/>
                    </a:cubicBezTo>
                    <a:cubicBezTo>
                      <a:pt x="17" y="90"/>
                      <a:pt x="17" y="90"/>
                      <a:pt x="17" y="90"/>
                    </a:cubicBezTo>
                    <a:cubicBezTo>
                      <a:pt x="17" y="87"/>
                      <a:pt x="17" y="87"/>
                      <a:pt x="17" y="87"/>
                    </a:cubicBezTo>
                    <a:cubicBezTo>
                      <a:pt x="13" y="87"/>
                      <a:pt x="13" y="87"/>
                      <a:pt x="13" y="87"/>
                    </a:cubicBezTo>
                    <a:cubicBezTo>
                      <a:pt x="10" y="87"/>
                      <a:pt x="10" y="87"/>
                      <a:pt x="10" y="87"/>
                    </a:cubicBezTo>
                    <a:cubicBezTo>
                      <a:pt x="9" y="87"/>
                      <a:pt x="9" y="87"/>
                      <a:pt x="9" y="87"/>
                    </a:cubicBezTo>
                    <a:cubicBezTo>
                      <a:pt x="8" y="89"/>
                      <a:pt x="8" y="89"/>
                      <a:pt x="8" y="89"/>
                    </a:cubicBezTo>
                    <a:cubicBezTo>
                      <a:pt x="4" y="93"/>
                      <a:pt x="4" y="93"/>
                      <a:pt x="4" y="93"/>
                    </a:cubicBezTo>
                    <a:cubicBezTo>
                      <a:pt x="4" y="93"/>
                      <a:pt x="4" y="93"/>
                      <a:pt x="4" y="93"/>
                    </a:cubicBezTo>
                    <a:cubicBezTo>
                      <a:pt x="4" y="94"/>
                      <a:pt x="4" y="94"/>
                      <a:pt x="4" y="94"/>
                    </a:cubicBezTo>
                    <a:cubicBezTo>
                      <a:pt x="3" y="95"/>
                      <a:pt x="3" y="95"/>
                      <a:pt x="3" y="95"/>
                    </a:cubicBezTo>
                    <a:cubicBezTo>
                      <a:pt x="3" y="96"/>
                      <a:pt x="3" y="96"/>
                      <a:pt x="3" y="96"/>
                    </a:cubicBezTo>
                    <a:cubicBezTo>
                      <a:pt x="2" y="99"/>
                      <a:pt x="2" y="99"/>
                      <a:pt x="2" y="99"/>
                    </a:cubicBezTo>
                    <a:cubicBezTo>
                      <a:pt x="3" y="100"/>
                      <a:pt x="3" y="100"/>
                      <a:pt x="3" y="100"/>
                    </a:cubicBezTo>
                    <a:cubicBezTo>
                      <a:pt x="6" y="102"/>
                      <a:pt x="6" y="102"/>
                      <a:pt x="6" y="102"/>
                    </a:cubicBezTo>
                    <a:cubicBezTo>
                      <a:pt x="8" y="107"/>
                      <a:pt x="8" y="107"/>
                      <a:pt x="8" y="107"/>
                    </a:cubicBezTo>
                    <a:cubicBezTo>
                      <a:pt x="4" y="112"/>
                      <a:pt x="4" y="112"/>
                      <a:pt x="4" y="112"/>
                    </a:cubicBezTo>
                    <a:cubicBezTo>
                      <a:pt x="8" y="122"/>
                      <a:pt x="8" y="122"/>
                      <a:pt x="8" y="122"/>
                    </a:cubicBezTo>
                    <a:cubicBezTo>
                      <a:pt x="6" y="124"/>
                      <a:pt x="6" y="124"/>
                      <a:pt x="6" y="124"/>
                    </a:cubicBezTo>
                    <a:cubicBezTo>
                      <a:pt x="7" y="126"/>
                      <a:pt x="7" y="126"/>
                      <a:pt x="7" y="126"/>
                    </a:cubicBezTo>
                    <a:cubicBezTo>
                      <a:pt x="6" y="127"/>
                      <a:pt x="6" y="127"/>
                      <a:pt x="6" y="127"/>
                    </a:cubicBezTo>
                    <a:cubicBezTo>
                      <a:pt x="8" y="129"/>
                      <a:pt x="8" y="129"/>
                      <a:pt x="8" y="129"/>
                    </a:cubicBezTo>
                    <a:cubicBezTo>
                      <a:pt x="8" y="129"/>
                      <a:pt x="7" y="131"/>
                      <a:pt x="7" y="131"/>
                    </a:cubicBezTo>
                    <a:cubicBezTo>
                      <a:pt x="8" y="131"/>
                      <a:pt x="9" y="133"/>
                      <a:pt x="9" y="133"/>
                    </a:cubicBezTo>
                    <a:cubicBezTo>
                      <a:pt x="8" y="137"/>
                      <a:pt x="8" y="137"/>
                      <a:pt x="8" y="137"/>
                    </a:cubicBezTo>
                    <a:cubicBezTo>
                      <a:pt x="10" y="140"/>
                      <a:pt x="10" y="140"/>
                      <a:pt x="10" y="140"/>
                    </a:cubicBezTo>
                    <a:cubicBezTo>
                      <a:pt x="12" y="141"/>
                      <a:pt x="12" y="141"/>
                      <a:pt x="12" y="141"/>
                    </a:cubicBezTo>
                    <a:cubicBezTo>
                      <a:pt x="11" y="143"/>
                      <a:pt x="11" y="143"/>
                      <a:pt x="11" y="143"/>
                    </a:cubicBezTo>
                    <a:cubicBezTo>
                      <a:pt x="0" y="157"/>
                      <a:pt x="0" y="157"/>
                      <a:pt x="0" y="157"/>
                    </a:cubicBezTo>
                    <a:cubicBezTo>
                      <a:pt x="2" y="157"/>
                      <a:pt x="2" y="157"/>
                      <a:pt x="2" y="157"/>
                    </a:cubicBezTo>
                    <a:cubicBezTo>
                      <a:pt x="4" y="158"/>
                      <a:pt x="4" y="158"/>
                      <a:pt x="4" y="158"/>
                    </a:cubicBezTo>
                    <a:cubicBezTo>
                      <a:pt x="4" y="163"/>
                      <a:pt x="4" y="163"/>
                      <a:pt x="4" y="163"/>
                    </a:cubicBezTo>
                    <a:cubicBezTo>
                      <a:pt x="1" y="163"/>
                      <a:pt x="1" y="163"/>
                      <a:pt x="1" y="163"/>
                    </a:cubicBezTo>
                    <a:cubicBezTo>
                      <a:pt x="2" y="164"/>
                      <a:pt x="2" y="164"/>
                      <a:pt x="2" y="164"/>
                    </a:cubicBezTo>
                    <a:cubicBezTo>
                      <a:pt x="1" y="168"/>
                      <a:pt x="1" y="168"/>
                      <a:pt x="1" y="168"/>
                    </a:cubicBezTo>
                    <a:cubicBezTo>
                      <a:pt x="1" y="171"/>
                      <a:pt x="1" y="171"/>
                      <a:pt x="1" y="171"/>
                    </a:cubicBezTo>
                    <a:cubicBezTo>
                      <a:pt x="0" y="178"/>
                      <a:pt x="0" y="178"/>
                      <a:pt x="0" y="178"/>
                    </a:cubicBezTo>
                    <a:cubicBezTo>
                      <a:pt x="2" y="183"/>
                      <a:pt x="2" y="183"/>
                      <a:pt x="2" y="183"/>
                    </a:cubicBezTo>
                    <a:cubicBezTo>
                      <a:pt x="6" y="185"/>
                      <a:pt x="6" y="185"/>
                      <a:pt x="6" y="185"/>
                    </a:cubicBezTo>
                    <a:cubicBezTo>
                      <a:pt x="9" y="186"/>
                      <a:pt x="9" y="186"/>
                      <a:pt x="9" y="186"/>
                    </a:cubicBezTo>
                    <a:cubicBezTo>
                      <a:pt x="13" y="195"/>
                      <a:pt x="13" y="195"/>
                      <a:pt x="13" y="195"/>
                    </a:cubicBezTo>
                    <a:cubicBezTo>
                      <a:pt x="16" y="197"/>
                      <a:pt x="16" y="197"/>
                      <a:pt x="16" y="197"/>
                    </a:cubicBezTo>
                    <a:cubicBezTo>
                      <a:pt x="15" y="199"/>
                      <a:pt x="15" y="199"/>
                      <a:pt x="15" y="199"/>
                    </a:cubicBezTo>
                    <a:cubicBezTo>
                      <a:pt x="12" y="201"/>
                      <a:pt x="12" y="201"/>
                      <a:pt x="12" y="201"/>
                    </a:cubicBezTo>
                    <a:cubicBezTo>
                      <a:pt x="13" y="204"/>
                      <a:pt x="13" y="204"/>
                      <a:pt x="13" y="204"/>
                    </a:cubicBezTo>
                    <a:cubicBezTo>
                      <a:pt x="15" y="205"/>
                      <a:pt x="15" y="205"/>
                      <a:pt x="15" y="205"/>
                    </a:cubicBezTo>
                    <a:cubicBezTo>
                      <a:pt x="18" y="205"/>
                      <a:pt x="18" y="205"/>
                      <a:pt x="18" y="205"/>
                    </a:cubicBezTo>
                    <a:cubicBezTo>
                      <a:pt x="21" y="208"/>
                      <a:pt x="21" y="208"/>
                      <a:pt x="21" y="208"/>
                    </a:cubicBezTo>
                    <a:cubicBezTo>
                      <a:pt x="22" y="209"/>
                      <a:pt x="22" y="209"/>
                      <a:pt x="22" y="209"/>
                    </a:cubicBezTo>
                    <a:cubicBezTo>
                      <a:pt x="34" y="214"/>
                      <a:pt x="34" y="214"/>
                      <a:pt x="34" y="214"/>
                    </a:cubicBezTo>
                    <a:cubicBezTo>
                      <a:pt x="35" y="214"/>
                      <a:pt x="35" y="214"/>
                      <a:pt x="35" y="214"/>
                    </a:cubicBezTo>
                    <a:cubicBezTo>
                      <a:pt x="34" y="219"/>
                      <a:pt x="34" y="219"/>
                      <a:pt x="34" y="219"/>
                    </a:cubicBezTo>
                    <a:cubicBezTo>
                      <a:pt x="32" y="220"/>
                      <a:pt x="32" y="220"/>
                      <a:pt x="32" y="220"/>
                    </a:cubicBezTo>
                    <a:cubicBezTo>
                      <a:pt x="30" y="223"/>
                      <a:pt x="30" y="223"/>
                      <a:pt x="30" y="223"/>
                    </a:cubicBezTo>
                    <a:cubicBezTo>
                      <a:pt x="28" y="225"/>
                      <a:pt x="28" y="225"/>
                      <a:pt x="28" y="225"/>
                    </a:cubicBezTo>
                    <a:cubicBezTo>
                      <a:pt x="31" y="224"/>
                      <a:pt x="31" y="224"/>
                      <a:pt x="31" y="224"/>
                    </a:cubicBezTo>
                    <a:cubicBezTo>
                      <a:pt x="29" y="228"/>
                      <a:pt x="29" y="228"/>
                      <a:pt x="29" y="228"/>
                    </a:cubicBezTo>
                    <a:cubicBezTo>
                      <a:pt x="26" y="232"/>
                      <a:pt x="26" y="232"/>
                      <a:pt x="26" y="232"/>
                    </a:cubicBezTo>
                    <a:cubicBezTo>
                      <a:pt x="29" y="236"/>
                      <a:pt x="29" y="236"/>
                      <a:pt x="29" y="236"/>
                    </a:cubicBezTo>
                    <a:cubicBezTo>
                      <a:pt x="35" y="239"/>
                      <a:pt x="35" y="239"/>
                      <a:pt x="35" y="239"/>
                    </a:cubicBezTo>
                    <a:cubicBezTo>
                      <a:pt x="40" y="244"/>
                      <a:pt x="40" y="244"/>
                      <a:pt x="40" y="244"/>
                    </a:cubicBezTo>
                    <a:cubicBezTo>
                      <a:pt x="40" y="247"/>
                      <a:pt x="40" y="247"/>
                      <a:pt x="40" y="247"/>
                    </a:cubicBezTo>
                    <a:cubicBezTo>
                      <a:pt x="42" y="248"/>
                      <a:pt x="42" y="248"/>
                      <a:pt x="42" y="248"/>
                    </a:cubicBezTo>
                    <a:cubicBezTo>
                      <a:pt x="45" y="248"/>
                      <a:pt x="45" y="248"/>
                      <a:pt x="45" y="248"/>
                    </a:cubicBezTo>
                    <a:cubicBezTo>
                      <a:pt x="47" y="250"/>
                      <a:pt x="47" y="250"/>
                      <a:pt x="47" y="250"/>
                    </a:cubicBezTo>
                    <a:cubicBezTo>
                      <a:pt x="50" y="255"/>
                      <a:pt x="50" y="255"/>
                      <a:pt x="50" y="255"/>
                    </a:cubicBezTo>
                    <a:cubicBezTo>
                      <a:pt x="49" y="256"/>
                      <a:pt x="49" y="256"/>
                      <a:pt x="49" y="256"/>
                    </a:cubicBezTo>
                    <a:cubicBezTo>
                      <a:pt x="52" y="259"/>
                      <a:pt x="52" y="259"/>
                      <a:pt x="52" y="259"/>
                    </a:cubicBezTo>
                    <a:cubicBezTo>
                      <a:pt x="56" y="259"/>
                      <a:pt x="56" y="259"/>
                      <a:pt x="56" y="259"/>
                    </a:cubicBezTo>
                    <a:cubicBezTo>
                      <a:pt x="59" y="256"/>
                      <a:pt x="59" y="256"/>
                      <a:pt x="59" y="256"/>
                    </a:cubicBezTo>
                    <a:cubicBezTo>
                      <a:pt x="61" y="258"/>
                      <a:pt x="61" y="258"/>
                      <a:pt x="61" y="258"/>
                    </a:cubicBezTo>
                    <a:cubicBezTo>
                      <a:pt x="61" y="260"/>
                      <a:pt x="61" y="260"/>
                      <a:pt x="61" y="260"/>
                    </a:cubicBezTo>
                    <a:cubicBezTo>
                      <a:pt x="62" y="260"/>
                      <a:pt x="62" y="260"/>
                      <a:pt x="62" y="260"/>
                    </a:cubicBezTo>
                    <a:cubicBezTo>
                      <a:pt x="64" y="257"/>
                      <a:pt x="64" y="257"/>
                      <a:pt x="64" y="257"/>
                    </a:cubicBezTo>
                    <a:cubicBezTo>
                      <a:pt x="67" y="253"/>
                      <a:pt x="67" y="253"/>
                      <a:pt x="67" y="253"/>
                    </a:cubicBezTo>
                    <a:cubicBezTo>
                      <a:pt x="67" y="253"/>
                      <a:pt x="64" y="244"/>
                      <a:pt x="63" y="244"/>
                    </a:cubicBezTo>
                    <a:cubicBezTo>
                      <a:pt x="62" y="243"/>
                      <a:pt x="56" y="235"/>
                      <a:pt x="56" y="235"/>
                    </a:cubicBezTo>
                    <a:cubicBezTo>
                      <a:pt x="59" y="229"/>
                      <a:pt x="59" y="229"/>
                      <a:pt x="59" y="229"/>
                    </a:cubicBezTo>
                    <a:cubicBezTo>
                      <a:pt x="63" y="226"/>
                      <a:pt x="63" y="226"/>
                      <a:pt x="63" y="226"/>
                    </a:cubicBezTo>
                    <a:cubicBezTo>
                      <a:pt x="63" y="225"/>
                      <a:pt x="63" y="225"/>
                      <a:pt x="63" y="225"/>
                    </a:cubicBezTo>
                    <a:cubicBezTo>
                      <a:pt x="64" y="226"/>
                      <a:pt x="64" y="226"/>
                      <a:pt x="64" y="226"/>
                    </a:cubicBezTo>
                    <a:cubicBezTo>
                      <a:pt x="63" y="224"/>
                      <a:pt x="63" y="224"/>
                      <a:pt x="63" y="224"/>
                    </a:cubicBezTo>
                    <a:cubicBezTo>
                      <a:pt x="63" y="224"/>
                      <a:pt x="63" y="224"/>
                      <a:pt x="63" y="224"/>
                    </a:cubicBezTo>
                    <a:cubicBezTo>
                      <a:pt x="63" y="224"/>
                      <a:pt x="63" y="224"/>
                      <a:pt x="63" y="224"/>
                    </a:cubicBezTo>
                    <a:cubicBezTo>
                      <a:pt x="60" y="222"/>
                      <a:pt x="60" y="222"/>
                      <a:pt x="60" y="222"/>
                    </a:cubicBezTo>
                    <a:cubicBezTo>
                      <a:pt x="63" y="214"/>
                      <a:pt x="63" y="214"/>
                      <a:pt x="63" y="214"/>
                    </a:cubicBezTo>
                    <a:cubicBezTo>
                      <a:pt x="73" y="210"/>
                      <a:pt x="73" y="210"/>
                      <a:pt x="73" y="210"/>
                    </a:cubicBezTo>
                    <a:cubicBezTo>
                      <a:pt x="82" y="209"/>
                      <a:pt x="82" y="209"/>
                      <a:pt x="82" y="209"/>
                    </a:cubicBezTo>
                    <a:cubicBezTo>
                      <a:pt x="87" y="212"/>
                      <a:pt x="87" y="212"/>
                      <a:pt x="87" y="212"/>
                    </a:cubicBezTo>
                    <a:cubicBezTo>
                      <a:pt x="93" y="211"/>
                      <a:pt x="93" y="211"/>
                      <a:pt x="93" y="211"/>
                    </a:cubicBezTo>
                    <a:cubicBezTo>
                      <a:pt x="100" y="213"/>
                      <a:pt x="100" y="213"/>
                      <a:pt x="100" y="213"/>
                    </a:cubicBezTo>
                    <a:cubicBezTo>
                      <a:pt x="107" y="211"/>
                      <a:pt x="107" y="211"/>
                      <a:pt x="107" y="211"/>
                    </a:cubicBezTo>
                    <a:cubicBezTo>
                      <a:pt x="105" y="205"/>
                      <a:pt x="105" y="205"/>
                      <a:pt x="105" y="205"/>
                    </a:cubicBezTo>
                    <a:cubicBezTo>
                      <a:pt x="109" y="196"/>
                      <a:pt x="109" y="196"/>
                      <a:pt x="109" y="196"/>
                    </a:cubicBezTo>
                    <a:cubicBezTo>
                      <a:pt x="122" y="191"/>
                      <a:pt x="122" y="191"/>
                      <a:pt x="122" y="191"/>
                    </a:cubicBezTo>
                    <a:cubicBezTo>
                      <a:pt x="134" y="189"/>
                      <a:pt x="134" y="189"/>
                      <a:pt x="134" y="189"/>
                    </a:cubicBezTo>
                    <a:cubicBezTo>
                      <a:pt x="142" y="198"/>
                      <a:pt x="142" y="198"/>
                      <a:pt x="142" y="198"/>
                    </a:cubicBezTo>
                    <a:cubicBezTo>
                      <a:pt x="151" y="195"/>
                      <a:pt x="151" y="195"/>
                      <a:pt x="151" y="195"/>
                    </a:cubicBezTo>
                    <a:cubicBezTo>
                      <a:pt x="156" y="194"/>
                      <a:pt x="156" y="194"/>
                      <a:pt x="156" y="194"/>
                    </a:cubicBezTo>
                    <a:cubicBezTo>
                      <a:pt x="160" y="203"/>
                      <a:pt x="160" y="203"/>
                      <a:pt x="160" y="203"/>
                    </a:cubicBezTo>
                    <a:cubicBezTo>
                      <a:pt x="164" y="212"/>
                      <a:pt x="164" y="212"/>
                      <a:pt x="164" y="212"/>
                    </a:cubicBezTo>
                    <a:cubicBezTo>
                      <a:pt x="174" y="212"/>
                      <a:pt x="174" y="212"/>
                      <a:pt x="174" y="212"/>
                    </a:cubicBezTo>
                    <a:cubicBezTo>
                      <a:pt x="182" y="216"/>
                      <a:pt x="182" y="216"/>
                      <a:pt x="182" y="216"/>
                    </a:cubicBezTo>
                    <a:cubicBezTo>
                      <a:pt x="189" y="217"/>
                      <a:pt x="189" y="217"/>
                      <a:pt x="189" y="217"/>
                    </a:cubicBezTo>
                    <a:cubicBezTo>
                      <a:pt x="189" y="223"/>
                      <a:pt x="189" y="223"/>
                      <a:pt x="189" y="223"/>
                    </a:cubicBezTo>
                    <a:cubicBezTo>
                      <a:pt x="191" y="222"/>
                      <a:pt x="191" y="222"/>
                      <a:pt x="191" y="222"/>
                    </a:cubicBezTo>
                    <a:cubicBezTo>
                      <a:pt x="192" y="223"/>
                      <a:pt x="192" y="223"/>
                      <a:pt x="192" y="223"/>
                    </a:cubicBezTo>
                    <a:cubicBezTo>
                      <a:pt x="194" y="219"/>
                      <a:pt x="194" y="219"/>
                      <a:pt x="194" y="219"/>
                    </a:cubicBezTo>
                    <a:cubicBezTo>
                      <a:pt x="201" y="214"/>
                      <a:pt x="201" y="214"/>
                      <a:pt x="201" y="214"/>
                    </a:cubicBezTo>
                    <a:cubicBezTo>
                      <a:pt x="212" y="213"/>
                      <a:pt x="212" y="213"/>
                      <a:pt x="212" y="213"/>
                    </a:cubicBezTo>
                    <a:cubicBezTo>
                      <a:pt x="220" y="217"/>
                      <a:pt x="220" y="217"/>
                      <a:pt x="220" y="217"/>
                    </a:cubicBezTo>
                    <a:cubicBezTo>
                      <a:pt x="224" y="211"/>
                      <a:pt x="224" y="211"/>
                      <a:pt x="224" y="211"/>
                    </a:cubicBezTo>
                    <a:cubicBezTo>
                      <a:pt x="228" y="206"/>
                      <a:pt x="228" y="206"/>
                      <a:pt x="228" y="206"/>
                    </a:cubicBezTo>
                    <a:cubicBezTo>
                      <a:pt x="240" y="211"/>
                      <a:pt x="240" y="211"/>
                      <a:pt x="240" y="211"/>
                    </a:cubicBezTo>
                    <a:cubicBezTo>
                      <a:pt x="243" y="215"/>
                      <a:pt x="243" y="215"/>
                      <a:pt x="243" y="215"/>
                    </a:cubicBezTo>
                    <a:cubicBezTo>
                      <a:pt x="253" y="215"/>
                      <a:pt x="253" y="215"/>
                      <a:pt x="253" y="215"/>
                    </a:cubicBezTo>
                    <a:cubicBezTo>
                      <a:pt x="259" y="220"/>
                      <a:pt x="259" y="220"/>
                      <a:pt x="259" y="220"/>
                    </a:cubicBezTo>
                    <a:cubicBezTo>
                      <a:pt x="275" y="216"/>
                      <a:pt x="275" y="216"/>
                      <a:pt x="275" y="216"/>
                    </a:cubicBezTo>
                    <a:cubicBezTo>
                      <a:pt x="282" y="218"/>
                      <a:pt x="282" y="218"/>
                      <a:pt x="282" y="218"/>
                    </a:cubicBezTo>
                    <a:cubicBezTo>
                      <a:pt x="283" y="216"/>
                      <a:pt x="283" y="216"/>
                      <a:pt x="283" y="216"/>
                    </a:cubicBezTo>
                    <a:cubicBezTo>
                      <a:pt x="289" y="216"/>
                      <a:pt x="289" y="216"/>
                      <a:pt x="289" y="216"/>
                    </a:cubicBezTo>
                    <a:cubicBezTo>
                      <a:pt x="295" y="205"/>
                      <a:pt x="295" y="205"/>
                      <a:pt x="295" y="205"/>
                    </a:cubicBezTo>
                    <a:cubicBezTo>
                      <a:pt x="298" y="200"/>
                      <a:pt x="298" y="200"/>
                      <a:pt x="298" y="200"/>
                    </a:cubicBezTo>
                    <a:cubicBezTo>
                      <a:pt x="307" y="200"/>
                      <a:pt x="307" y="200"/>
                      <a:pt x="307" y="200"/>
                    </a:cubicBezTo>
                    <a:cubicBezTo>
                      <a:pt x="317" y="218"/>
                      <a:pt x="317" y="218"/>
                      <a:pt x="317" y="218"/>
                    </a:cubicBezTo>
                    <a:cubicBezTo>
                      <a:pt x="325" y="220"/>
                      <a:pt x="325" y="220"/>
                      <a:pt x="325" y="220"/>
                    </a:cubicBezTo>
                    <a:cubicBezTo>
                      <a:pt x="327" y="224"/>
                      <a:pt x="327" y="224"/>
                      <a:pt x="327" y="224"/>
                    </a:cubicBezTo>
                    <a:cubicBezTo>
                      <a:pt x="339" y="223"/>
                      <a:pt x="339" y="223"/>
                      <a:pt x="339" y="223"/>
                    </a:cubicBezTo>
                    <a:cubicBezTo>
                      <a:pt x="334" y="238"/>
                      <a:pt x="334" y="238"/>
                      <a:pt x="334" y="238"/>
                    </a:cubicBezTo>
                    <a:cubicBezTo>
                      <a:pt x="329" y="239"/>
                      <a:pt x="329" y="239"/>
                      <a:pt x="329" y="239"/>
                    </a:cubicBezTo>
                    <a:cubicBezTo>
                      <a:pt x="326" y="250"/>
                      <a:pt x="326" y="250"/>
                      <a:pt x="326" y="250"/>
                    </a:cubicBezTo>
                    <a:cubicBezTo>
                      <a:pt x="327" y="250"/>
                      <a:pt x="327" y="250"/>
                      <a:pt x="327" y="250"/>
                    </a:cubicBezTo>
                    <a:cubicBezTo>
                      <a:pt x="329" y="250"/>
                      <a:pt x="329" y="250"/>
                      <a:pt x="329" y="250"/>
                    </a:cubicBezTo>
                    <a:cubicBezTo>
                      <a:pt x="331" y="249"/>
                      <a:pt x="331" y="249"/>
                      <a:pt x="331" y="249"/>
                    </a:cubicBezTo>
                    <a:cubicBezTo>
                      <a:pt x="332" y="249"/>
                      <a:pt x="332" y="249"/>
                      <a:pt x="332" y="249"/>
                    </a:cubicBezTo>
                    <a:cubicBezTo>
                      <a:pt x="335" y="250"/>
                      <a:pt x="335" y="250"/>
                      <a:pt x="335" y="250"/>
                    </a:cubicBezTo>
                    <a:cubicBezTo>
                      <a:pt x="342" y="245"/>
                      <a:pt x="342" y="245"/>
                      <a:pt x="342" y="245"/>
                    </a:cubicBezTo>
                    <a:cubicBezTo>
                      <a:pt x="345" y="241"/>
                      <a:pt x="345" y="241"/>
                      <a:pt x="345" y="241"/>
                    </a:cubicBezTo>
                    <a:cubicBezTo>
                      <a:pt x="353" y="230"/>
                      <a:pt x="353" y="230"/>
                      <a:pt x="353" y="230"/>
                    </a:cubicBezTo>
                    <a:cubicBezTo>
                      <a:pt x="357" y="223"/>
                      <a:pt x="357" y="223"/>
                      <a:pt x="357" y="223"/>
                    </a:cubicBezTo>
                    <a:cubicBezTo>
                      <a:pt x="358" y="214"/>
                      <a:pt x="358" y="214"/>
                      <a:pt x="358" y="214"/>
                    </a:cubicBezTo>
                    <a:cubicBezTo>
                      <a:pt x="360" y="203"/>
                      <a:pt x="360" y="203"/>
                      <a:pt x="360" y="203"/>
                    </a:cubicBezTo>
                    <a:cubicBezTo>
                      <a:pt x="360" y="199"/>
                      <a:pt x="360" y="199"/>
                      <a:pt x="360" y="199"/>
                    </a:cubicBezTo>
                    <a:cubicBezTo>
                      <a:pt x="355" y="194"/>
                      <a:pt x="355" y="194"/>
                      <a:pt x="355" y="194"/>
                    </a:cubicBezTo>
                    <a:cubicBezTo>
                      <a:pt x="355" y="194"/>
                      <a:pt x="349" y="198"/>
                      <a:pt x="349" y="198"/>
                    </a:cubicBezTo>
                    <a:cubicBezTo>
                      <a:pt x="348" y="198"/>
                      <a:pt x="346" y="196"/>
                      <a:pt x="346" y="196"/>
                    </a:cubicBezTo>
                    <a:cubicBezTo>
                      <a:pt x="344" y="192"/>
                      <a:pt x="344" y="192"/>
                      <a:pt x="344" y="192"/>
                    </a:cubicBezTo>
                    <a:cubicBezTo>
                      <a:pt x="341" y="192"/>
                      <a:pt x="341" y="192"/>
                      <a:pt x="341" y="192"/>
                    </a:cubicBezTo>
                    <a:cubicBezTo>
                      <a:pt x="344" y="190"/>
                      <a:pt x="344" y="190"/>
                      <a:pt x="344" y="190"/>
                    </a:cubicBezTo>
                    <a:cubicBezTo>
                      <a:pt x="349" y="185"/>
                      <a:pt x="349" y="185"/>
                      <a:pt x="349" y="185"/>
                    </a:cubicBezTo>
                    <a:cubicBezTo>
                      <a:pt x="353" y="180"/>
                      <a:pt x="353" y="180"/>
                      <a:pt x="353" y="180"/>
                    </a:cubicBezTo>
                    <a:cubicBezTo>
                      <a:pt x="354" y="178"/>
                      <a:pt x="354" y="178"/>
                      <a:pt x="354" y="178"/>
                    </a:cubicBezTo>
                    <a:cubicBezTo>
                      <a:pt x="367" y="165"/>
                      <a:pt x="367" y="165"/>
                      <a:pt x="367" y="165"/>
                    </a:cubicBezTo>
                    <a:cubicBezTo>
                      <a:pt x="371" y="164"/>
                      <a:pt x="371" y="164"/>
                      <a:pt x="371" y="164"/>
                    </a:cubicBezTo>
                    <a:cubicBezTo>
                      <a:pt x="381" y="164"/>
                      <a:pt x="381" y="164"/>
                      <a:pt x="381" y="164"/>
                    </a:cubicBezTo>
                    <a:cubicBezTo>
                      <a:pt x="386" y="163"/>
                      <a:pt x="386" y="163"/>
                      <a:pt x="386" y="163"/>
                    </a:cubicBezTo>
                    <a:cubicBezTo>
                      <a:pt x="392" y="165"/>
                      <a:pt x="392" y="165"/>
                      <a:pt x="392" y="165"/>
                    </a:cubicBezTo>
                    <a:cubicBezTo>
                      <a:pt x="392" y="168"/>
                      <a:pt x="392" y="168"/>
                      <a:pt x="392" y="168"/>
                    </a:cubicBezTo>
                    <a:cubicBezTo>
                      <a:pt x="392" y="168"/>
                      <a:pt x="400" y="166"/>
                      <a:pt x="401" y="166"/>
                    </a:cubicBezTo>
                    <a:cubicBezTo>
                      <a:pt x="401" y="167"/>
                      <a:pt x="403" y="166"/>
                      <a:pt x="403" y="166"/>
                    </a:cubicBezTo>
                    <a:cubicBezTo>
                      <a:pt x="402" y="164"/>
                      <a:pt x="402" y="164"/>
                      <a:pt x="402" y="164"/>
                    </a:cubicBezTo>
                    <a:cubicBezTo>
                      <a:pt x="403" y="159"/>
                      <a:pt x="403" y="159"/>
                      <a:pt x="403" y="159"/>
                    </a:cubicBezTo>
                    <a:cubicBezTo>
                      <a:pt x="406" y="153"/>
                      <a:pt x="406" y="153"/>
                      <a:pt x="406" y="153"/>
                    </a:cubicBezTo>
                    <a:cubicBezTo>
                      <a:pt x="411" y="149"/>
                      <a:pt x="411" y="149"/>
                      <a:pt x="411" y="149"/>
                    </a:cubicBezTo>
                    <a:cubicBezTo>
                      <a:pt x="419" y="150"/>
                      <a:pt x="419" y="150"/>
                      <a:pt x="419" y="150"/>
                    </a:cubicBezTo>
                    <a:cubicBezTo>
                      <a:pt x="421" y="155"/>
                      <a:pt x="421" y="155"/>
                      <a:pt x="421" y="155"/>
                    </a:cubicBezTo>
                    <a:cubicBezTo>
                      <a:pt x="426" y="151"/>
                      <a:pt x="426" y="151"/>
                      <a:pt x="426" y="151"/>
                    </a:cubicBezTo>
                    <a:cubicBezTo>
                      <a:pt x="433" y="144"/>
                      <a:pt x="433" y="144"/>
                      <a:pt x="433" y="144"/>
                    </a:cubicBezTo>
                    <a:cubicBezTo>
                      <a:pt x="433" y="152"/>
                      <a:pt x="433" y="152"/>
                      <a:pt x="433" y="152"/>
                    </a:cubicBezTo>
                    <a:cubicBezTo>
                      <a:pt x="427" y="158"/>
                      <a:pt x="427" y="158"/>
                      <a:pt x="427" y="158"/>
                    </a:cubicBezTo>
                    <a:cubicBezTo>
                      <a:pt x="423" y="160"/>
                      <a:pt x="423" y="160"/>
                      <a:pt x="423" y="160"/>
                    </a:cubicBezTo>
                    <a:cubicBezTo>
                      <a:pt x="419" y="166"/>
                      <a:pt x="419" y="166"/>
                      <a:pt x="419" y="166"/>
                    </a:cubicBezTo>
                    <a:cubicBezTo>
                      <a:pt x="416" y="171"/>
                      <a:pt x="416" y="171"/>
                      <a:pt x="416" y="171"/>
                    </a:cubicBezTo>
                    <a:cubicBezTo>
                      <a:pt x="416" y="171"/>
                      <a:pt x="411" y="173"/>
                      <a:pt x="411" y="174"/>
                    </a:cubicBezTo>
                    <a:cubicBezTo>
                      <a:pt x="410" y="174"/>
                      <a:pt x="409" y="175"/>
                      <a:pt x="409" y="175"/>
                    </a:cubicBezTo>
                    <a:cubicBezTo>
                      <a:pt x="405" y="186"/>
                      <a:pt x="405" y="186"/>
                      <a:pt x="405" y="186"/>
                    </a:cubicBezTo>
                    <a:cubicBezTo>
                      <a:pt x="410" y="210"/>
                      <a:pt x="410" y="210"/>
                      <a:pt x="410" y="210"/>
                    </a:cubicBezTo>
                    <a:cubicBezTo>
                      <a:pt x="416" y="202"/>
                      <a:pt x="416" y="202"/>
                      <a:pt x="416" y="202"/>
                    </a:cubicBezTo>
                    <a:cubicBezTo>
                      <a:pt x="418" y="201"/>
                      <a:pt x="418" y="201"/>
                      <a:pt x="418" y="201"/>
                    </a:cubicBezTo>
                    <a:cubicBezTo>
                      <a:pt x="420" y="196"/>
                      <a:pt x="420" y="196"/>
                      <a:pt x="420" y="196"/>
                    </a:cubicBezTo>
                    <a:cubicBezTo>
                      <a:pt x="422" y="193"/>
                      <a:pt x="422" y="193"/>
                      <a:pt x="422" y="193"/>
                    </a:cubicBezTo>
                    <a:cubicBezTo>
                      <a:pt x="426" y="191"/>
                      <a:pt x="426" y="191"/>
                      <a:pt x="426" y="191"/>
                    </a:cubicBezTo>
                    <a:cubicBezTo>
                      <a:pt x="426" y="186"/>
                      <a:pt x="426" y="186"/>
                      <a:pt x="426" y="186"/>
                    </a:cubicBezTo>
                    <a:cubicBezTo>
                      <a:pt x="427" y="184"/>
                      <a:pt x="427" y="184"/>
                      <a:pt x="427" y="184"/>
                    </a:cubicBezTo>
                    <a:cubicBezTo>
                      <a:pt x="429" y="177"/>
                      <a:pt x="429" y="177"/>
                      <a:pt x="429" y="177"/>
                    </a:cubicBezTo>
                    <a:cubicBezTo>
                      <a:pt x="429" y="175"/>
                      <a:pt x="429" y="175"/>
                      <a:pt x="429" y="175"/>
                    </a:cubicBezTo>
                    <a:cubicBezTo>
                      <a:pt x="426" y="174"/>
                      <a:pt x="426" y="174"/>
                      <a:pt x="426" y="174"/>
                    </a:cubicBezTo>
                    <a:cubicBezTo>
                      <a:pt x="430" y="165"/>
                      <a:pt x="430" y="165"/>
                      <a:pt x="430" y="165"/>
                    </a:cubicBezTo>
                    <a:cubicBezTo>
                      <a:pt x="432" y="162"/>
                      <a:pt x="432" y="162"/>
                      <a:pt x="432" y="162"/>
                    </a:cubicBezTo>
                    <a:cubicBezTo>
                      <a:pt x="435" y="161"/>
                      <a:pt x="435" y="161"/>
                      <a:pt x="435" y="161"/>
                    </a:cubicBezTo>
                    <a:cubicBezTo>
                      <a:pt x="438" y="160"/>
                      <a:pt x="438" y="160"/>
                      <a:pt x="438" y="160"/>
                    </a:cubicBezTo>
                    <a:cubicBezTo>
                      <a:pt x="439" y="162"/>
                      <a:pt x="439" y="162"/>
                      <a:pt x="439" y="162"/>
                    </a:cubicBezTo>
                    <a:cubicBezTo>
                      <a:pt x="446" y="157"/>
                      <a:pt x="446" y="157"/>
                      <a:pt x="446" y="157"/>
                    </a:cubicBezTo>
                    <a:cubicBezTo>
                      <a:pt x="446" y="157"/>
                      <a:pt x="452" y="162"/>
                      <a:pt x="452" y="162"/>
                    </a:cubicBezTo>
                    <a:cubicBezTo>
                      <a:pt x="453" y="162"/>
                      <a:pt x="454" y="157"/>
                      <a:pt x="454" y="157"/>
                    </a:cubicBezTo>
                    <a:cubicBezTo>
                      <a:pt x="457" y="156"/>
                      <a:pt x="457" y="156"/>
                      <a:pt x="457" y="156"/>
                    </a:cubicBezTo>
                    <a:cubicBezTo>
                      <a:pt x="457" y="156"/>
                      <a:pt x="463" y="150"/>
                      <a:pt x="464" y="149"/>
                    </a:cubicBezTo>
                    <a:cubicBezTo>
                      <a:pt x="464" y="149"/>
                      <a:pt x="472" y="145"/>
                      <a:pt x="472" y="145"/>
                    </a:cubicBezTo>
                    <a:cubicBezTo>
                      <a:pt x="473" y="145"/>
                      <a:pt x="476" y="145"/>
                      <a:pt x="476" y="145"/>
                    </a:cubicBezTo>
                    <a:cubicBezTo>
                      <a:pt x="480" y="146"/>
                      <a:pt x="480" y="146"/>
                      <a:pt x="480" y="146"/>
                    </a:cubicBezTo>
                    <a:cubicBezTo>
                      <a:pt x="480" y="144"/>
                      <a:pt x="480" y="144"/>
                      <a:pt x="480" y="144"/>
                    </a:cubicBezTo>
                    <a:cubicBezTo>
                      <a:pt x="479" y="140"/>
                      <a:pt x="479" y="140"/>
                      <a:pt x="479" y="140"/>
                    </a:cubicBezTo>
                    <a:cubicBezTo>
                      <a:pt x="478" y="135"/>
                      <a:pt x="478" y="135"/>
                      <a:pt x="478" y="135"/>
                    </a:cubicBezTo>
                    <a:cubicBezTo>
                      <a:pt x="474" y="131"/>
                      <a:pt x="474" y="131"/>
                      <a:pt x="474" y="131"/>
                    </a:cubicBezTo>
                    <a:cubicBezTo>
                      <a:pt x="477" y="129"/>
                      <a:pt x="477" y="129"/>
                      <a:pt x="477" y="129"/>
                    </a:cubicBezTo>
                    <a:lnTo>
                      <a:pt x="482" y="127"/>
                    </a:ln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289" name="Freeform 288"/>
              <p:cNvSpPr>
                <a:spLocks/>
              </p:cNvSpPr>
              <p:nvPr/>
            </p:nvSpPr>
            <p:spPr bwMode="auto">
              <a:xfrm>
                <a:off x="4713607" y="1450604"/>
                <a:ext cx="77788" cy="47625"/>
              </a:xfrm>
              <a:custGeom>
                <a:avLst/>
                <a:gdLst>
                  <a:gd name="T0" fmla="*/ 2147483647 w 60"/>
                  <a:gd name="T1" fmla="*/ 2147483647 h 36"/>
                  <a:gd name="T2" fmla="*/ 2147483647 w 60"/>
                  <a:gd name="T3" fmla="*/ 2147483647 h 36"/>
                  <a:gd name="T4" fmla="*/ 2147483647 w 60"/>
                  <a:gd name="T5" fmla="*/ 2147483647 h 36"/>
                  <a:gd name="T6" fmla="*/ 2147483647 w 60"/>
                  <a:gd name="T7" fmla="*/ 2147483647 h 36"/>
                  <a:gd name="T8" fmla="*/ 2147483647 w 60"/>
                  <a:gd name="T9" fmla="*/ 0 h 36"/>
                  <a:gd name="T10" fmla="*/ 2147483647 w 60"/>
                  <a:gd name="T11" fmla="*/ 0 h 36"/>
                  <a:gd name="T12" fmla="*/ 2147483647 w 60"/>
                  <a:gd name="T13" fmla="*/ 2147483647 h 36"/>
                  <a:gd name="T14" fmla="*/ 0 w 60"/>
                  <a:gd name="T15" fmla="*/ 2147483647 h 36"/>
                  <a:gd name="T16" fmla="*/ 2147483647 w 60"/>
                  <a:gd name="T17" fmla="*/ 2147483647 h 36"/>
                  <a:gd name="T18" fmla="*/ 2147483647 w 60"/>
                  <a:gd name="T19" fmla="*/ 2147483647 h 3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0" h="36">
                    <a:moveTo>
                      <a:pt x="54" y="36"/>
                    </a:moveTo>
                    <a:lnTo>
                      <a:pt x="60" y="24"/>
                    </a:lnTo>
                    <a:lnTo>
                      <a:pt x="54" y="12"/>
                    </a:lnTo>
                    <a:lnTo>
                      <a:pt x="42" y="6"/>
                    </a:lnTo>
                    <a:lnTo>
                      <a:pt x="30" y="0"/>
                    </a:lnTo>
                    <a:lnTo>
                      <a:pt x="18" y="0"/>
                    </a:lnTo>
                    <a:lnTo>
                      <a:pt x="6" y="12"/>
                    </a:lnTo>
                    <a:lnTo>
                      <a:pt x="0" y="18"/>
                    </a:lnTo>
                    <a:lnTo>
                      <a:pt x="12" y="30"/>
                    </a:lnTo>
                    <a:lnTo>
                      <a:pt x="54" y="36"/>
                    </a:ln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290" name="Freeform 289"/>
              <p:cNvSpPr>
                <a:spLocks/>
              </p:cNvSpPr>
              <p:nvPr/>
            </p:nvSpPr>
            <p:spPr bwMode="auto">
              <a:xfrm>
                <a:off x="7742804" y="1504579"/>
                <a:ext cx="61913" cy="306388"/>
              </a:xfrm>
              <a:custGeom>
                <a:avLst/>
                <a:gdLst>
                  <a:gd name="T0" fmla="*/ 2147483647 w 48"/>
                  <a:gd name="T1" fmla="*/ 2147483647 h 234"/>
                  <a:gd name="T2" fmla="*/ 2147483647 w 48"/>
                  <a:gd name="T3" fmla="*/ 2147483647 h 234"/>
                  <a:gd name="T4" fmla="*/ 2147483647 w 48"/>
                  <a:gd name="T5" fmla="*/ 2147483647 h 234"/>
                  <a:gd name="T6" fmla="*/ 0 w 48"/>
                  <a:gd name="T7" fmla="*/ 2147483647 h 234"/>
                  <a:gd name="T8" fmla="*/ 2147483647 w 48"/>
                  <a:gd name="T9" fmla="*/ 2147483647 h 234"/>
                  <a:gd name="T10" fmla="*/ 2147483647 w 48"/>
                  <a:gd name="T11" fmla="*/ 0 h 234"/>
                  <a:gd name="T12" fmla="*/ 2147483647 w 48"/>
                  <a:gd name="T13" fmla="*/ 2147483647 h 234"/>
                  <a:gd name="T14" fmla="*/ 2147483647 w 48"/>
                  <a:gd name="T15" fmla="*/ 2147483647 h 234"/>
                  <a:gd name="T16" fmla="*/ 2147483647 w 48"/>
                  <a:gd name="T17" fmla="*/ 2147483647 h 234"/>
                  <a:gd name="T18" fmla="*/ 2147483647 w 48"/>
                  <a:gd name="T19" fmla="*/ 2147483647 h 234"/>
                  <a:gd name="T20" fmla="*/ 2147483647 w 48"/>
                  <a:gd name="T21" fmla="*/ 2147483647 h 234"/>
                  <a:gd name="T22" fmla="*/ 2147483647 w 48"/>
                  <a:gd name="T23" fmla="*/ 2147483647 h 234"/>
                  <a:gd name="T24" fmla="*/ 2147483647 w 48"/>
                  <a:gd name="T25" fmla="*/ 2147483647 h 234"/>
                  <a:gd name="T26" fmla="*/ 2147483647 w 48"/>
                  <a:gd name="T27" fmla="*/ 2147483647 h 23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48" h="234">
                    <a:moveTo>
                      <a:pt x="12" y="222"/>
                    </a:moveTo>
                    <a:lnTo>
                      <a:pt x="12" y="180"/>
                    </a:lnTo>
                    <a:lnTo>
                      <a:pt x="6" y="90"/>
                    </a:lnTo>
                    <a:lnTo>
                      <a:pt x="0" y="66"/>
                    </a:lnTo>
                    <a:lnTo>
                      <a:pt x="6" y="30"/>
                    </a:lnTo>
                    <a:lnTo>
                      <a:pt x="12" y="0"/>
                    </a:lnTo>
                    <a:lnTo>
                      <a:pt x="24" y="36"/>
                    </a:lnTo>
                    <a:lnTo>
                      <a:pt x="24" y="60"/>
                    </a:lnTo>
                    <a:lnTo>
                      <a:pt x="48" y="156"/>
                    </a:lnTo>
                    <a:lnTo>
                      <a:pt x="30" y="144"/>
                    </a:lnTo>
                    <a:lnTo>
                      <a:pt x="24" y="168"/>
                    </a:lnTo>
                    <a:lnTo>
                      <a:pt x="24" y="198"/>
                    </a:lnTo>
                    <a:lnTo>
                      <a:pt x="42" y="234"/>
                    </a:lnTo>
                    <a:lnTo>
                      <a:pt x="12" y="222"/>
                    </a:ln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grpSp>
        <p:grpSp>
          <p:nvGrpSpPr>
            <p:cNvPr id="229" name="PH"/>
            <p:cNvGrpSpPr/>
            <p:nvPr/>
          </p:nvGrpSpPr>
          <p:grpSpPr>
            <a:xfrm>
              <a:off x="7221143" y="3959928"/>
              <a:ext cx="173035" cy="319085"/>
              <a:chOff x="7172405" y="2625605"/>
              <a:chExt cx="173037" cy="319087"/>
            </a:xfrm>
          </p:grpSpPr>
          <p:sp>
            <p:nvSpPr>
              <p:cNvPr id="285" name="Freeform 284"/>
              <p:cNvSpPr>
                <a:spLocks/>
              </p:cNvSpPr>
              <p:nvPr/>
            </p:nvSpPr>
            <p:spPr bwMode="auto">
              <a:xfrm>
                <a:off x="7172405" y="2625605"/>
                <a:ext cx="141287" cy="195262"/>
              </a:xfrm>
              <a:custGeom>
                <a:avLst/>
                <a:gdLst>
                  <a:gd name="T0" fmla="*/ 2147483647 w 108"/>
                  <a:gd name="T1" fmla="*/ 2147483647 h 151"/>
                  <a:gd name="T2" fmla="*/ 0 w 108"/>
                  <a:gd name="T3" fmla="*/ 2147483647 h 151"/>
                  <a:gd name="T4" fmla="*/ 2147483647 w 108"/>
                  <a:gd name="T5" fmla="*/ 2147483647 h 151"/>
                  <a:gd name="T6" fmla="*/ 2147483647 w 108"/>
                  <a:gd name="T7" fmla="*/ 2147483647 h 151"/>
                  <a:gd name="T8" fmla="*/ 2147483647 w 108"/>
                  <a:gd name="T9" fmla="*/ 2147483647 h 151"/>
                  <a:gd name="T10" fmla="*/ 2147483647 w 108"/>
                  <a:gd name="T11" fmla="*/ 2147483647 h 151"/>
                  <a:gd name="T12" fmla="*/ 2147483647 w 108"/>
                  <a:gd name="T13" fmla="*/ 2147483647 h 151"/>
                  <a:gd name="T14" fmla="*/ 2147483647 w 108"/>
                  <a:gd name="T15" fmla="*/ 2147483647 h 151"/>
                  <a:gd name="T16" fmla="*/ 2147483647 w 108"/>
                  <a:gd name="T17" fmla="*/ 2147483647 h 151"/>
                  <a:gd name="T18" fmla="*/ 2147483647 w 108"/>
                  <a:gd name="T19" fmla="*/ 2147483647 h 151"/>
                  <a:gd name="T20" fmla="*/ 2147483647 w 108"/>
                  <a:gd name="T21" fmla="*/ 2147483647 h 151"/>
                  <a:gd name="T22" fmla="*/ 2147483647 w 108"/>
                  <a:gd name="T23" fmla="*/ 2147483647 h 151"/>
                  <a:gd name="T24" fmla="*/ 2147483647 w 108"/>
                  <a:gd name="T25" fmla="*/ 2147483647 h 151"/>
                  <a:gd name="T26" fmla="*/ 2147483647 w 108"/>
                  <a:gd name="T27" fmla="*/ 0 h 151"/>
                  <a:gd name="T28" fmla="*/ 2147483647 w 108"/>
                  <a:gd name="T29" fmla="*/ 2147483647 h 15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8" h="151">
                    <a:moveTo>
                      <a:pt x="12" y="18"/>
                    </a:moveTo>
                    <a:lnTo>
                      <a:pt x="0" y="42"/>
                    </a:lnTo>
                    <a:lnTo>
                      <a:pt x="6" y="72"/>
                    </a:lnTo>
                    <a:lnTo>
                      <a:pt x="18" y="85"/>
                    </a:lnTo>
                    <a:lnTo>
                      <a:pt x="36" y="91"/>
                    </a:lnTo>
                    <a:lnTo>
                      <a:pt x="72" y="109"/>
                    </a:lnTo>
                    <a:lnTo>
                      <a:pt x="78" y="139"/>
                    </a:lnTo>
                    <a:lnTo>
                      <a:pt x="108" y="151"/>
                    </a:lnTo>
                    <a:lnTo>
                      <a:pt x="102" y="127"/>
                    </a:lnTo>
                    <a:lnTo>
                      <a:pt x="78" y="91"/>
                    </a:lnTo>
                    <a:lnTo>
                      <a:pt x="42" y="66"/>
                    </a:lnTo>
                    <a:lnTo>
                      <a:pt x="48" y="48"/>
                    </a:lnTo>
                    <a:lnTo>
                      <a:pt x="54" y="12"/>
                    </a:lnTo>
                    <a:lnTo>
                      <a:pt x="30" y="0"/>
                    </a:lnTo>
                    <a:lnTo>
                      <a:pt x="12" y="18"/>
                    </a:ln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286" name="Freeform 285"/>
              <p:cNvSpPr>
                <a:spLocks/>
              </p:cNvSpPr>
              <p:nvPr/>
            </p:nvSpPr>
            <p:spPr bwMode="auto">
              <a:xfrm>
                <a:off x="7229555" y="2852617"/>
                <a:ext cx="115887" cy="92075"/>
              </a:xfrm>
              <a:custGeom>
                <a:avLst/>
                <a:gdLst>
                  <a:gd name="T0" fmla="*/ 0 w 90"/>
                  <a:gd name="T1" fmla="*/ 2147483647 h 72"/>
                  <a:gd name="T2" fmla="*/ 2147483647 w 90"/>
                  <a:gd name="T3" fmla="*/ 2147483647 h 72"/>
                  <a:gd name="T4" fmla="*/ 2147483647 w 90"/>
                  <a:gd name="T5" fmla="*/ 2147483647 h 72"/>
                  <a:gd name="T6" fmla="*/ 2147483647 w 90"/>
                  <a:gd name="T7" fmla="*/ 0 h 72"/>
                  <a:gd name="T8" fmla="*/ 2147483647 w 90"/>
                  <a:gd name="T9" fmla="*/ 2147483647 h 72"/>
                  <a:gd name="T10" fmla="*/ 2147483647 w 90"/>
                  <a:gd name="T11" fmla="*/ 2147483647 h 72"/>
                  <a:gd name="T12" fmla="*/ 2147483647 w 90"/>
                  <a:gd name="T13" fmla="*/ 2147483647 h 72"/>
                  <a:gd name="T14" fmla="*/ 2147483647 w 90"/>
                  <a:gd name="T15" fmla="*/ 2147483647 h 72"/>
                  <a:gd name="T16" fmla="*/ 2147483647 w 90"/>
                  <a:gd name="T17" fmla="*/ 2147483647 h 72"/>
                  <a:gd name="T18" fmla="*/ 0 w 90"/>
                  <a:gd name="T19" fmla="*/ 2147483647 h 7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90" h="72">
                    <a:moveTo>
                      <a:pt x="0" y="54"/>
                    </a:moveTo>
                    <a:lnTo>
                      <a:pt x="18" y="24"/>
                    </a:lnTo>
                    <a:lnTo>
                      <a:pt x="42" y="24"/>
                    </a:lnTo>
                    <a:lnTo>
                      <a:pt x="60" y="0"/>
                    </a:lnTo>
                    <a:lnTo>
                      <a:pt x="90" y="24"/>
                    </a:lnTo>
                    <a:lnTo>
                      <a:pt x="90" y="72"/>
                    </a:lnTo>
                    <a:lnTo>
                      <a:pt x="60" y="60"/>
                    </a:lnTo>
                    <a:lnTo>
                      <a:pt x="42" y="60"/>
                    </a:lnTo>
                    <a:lnTo>
                      <a:pt x="24" y="48"/>
                    </a:lnTo>
                    <a:lnTo>
                      <a:pt x="0" y="54"/>
                    </a:ln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grpSp>
        <p:sp>
          <p:nvSpPr>
            <p:cNvPr id="230" name="MN"/>
            <p:cNvSpPr>
              <a:spLocks/>
            </p:cNvSpPr>
            <p:nvPr/>
          </p:nvSpPr>
          <p:spPr bwMode="auto">
            <a:xfrm>
              <a:off x="6442541" y="2923380"/>
              <a:ext cx="770663" cy="390522"/>
            </a:xfrm>
            <a:custGeom>
              <a:avLst/>
              <a:gdLst>
                <a:gd name="T0" fmla="*/ 2147483647 w 595"/>
                <a:gd name="T1" fmla="*/ 2147483647 h 301"/>
                <a:gd name="T2" fmla="*/ 2147483647 w 595"/>
                <a:gd name="T3" fmla="*/ 2147483647 h 301"/>
                <a:gd name="T4" fmla="*/ 2147483647 w 595"/>
                <a:gd name="T5" fmla="*/ 2147483647 h 301"/>
                <a:gd name="T6" fmla="*/ 2147483647 w 595"/>
                <a:gd name="T7" fmla="*/ 2147483647 h 301"/>
                <a:gd name="T8" fmla="*/ 2147483647 w 595"/>
                <a:gd name="T9" fmla="*/ 2147483647 h 301"/>
                <a:gd name="T10" fmla="*/ 2147483647 w 595"/>
                <a:gd name="T11" fmla="*/ 2147483647 h 301"/>
                <a:gd name="T12" fmla="*/ 2147483647 w 595"/>
                <a:gd name="T13" fmla="*/ 2147483647 h 301"/>
                <a:gd name="T14" fmla="*/ 2147483647 w 595"/>
                <a:gd name="T15" fmla="*/ 2147483647 h 301"/>
                <a:gd name="T16" fmla="*/ 2147483647 w 595"/>
                <a:gd name="T17" fmla="*/ 2147483647 h 301"/>
                <a:gd name="T18" fmla="*/ 2147483647 w 595"/>
                <a:gd name="T19" fmla="*/ 2147483647 h 301"/>
                <a:gd name="T20" fmla="*/ 2147483647 w 595"/>
                <a:gd name="T21" fmla="*/ 2147483647 h 301"/>
                <a:gd name="T22" fmla="*/ 2147483647 w 595"/>
                <a:gd name="T23" fmla="*/ 2147483647 h 301"/>
                <a:gd name="T24" fmla="*/ 2147483647 w 595"/>
                <a:gd name="T25" fmla="*/ 2147483647 h 301"/>
                <a:gd name="T26" fmla="*/ 2147483647 w 595"/>
                <a:gd name="T27" fmla="*/ 2147483647 h 301"/>
                <a:gd name="T28" fmla="*/ 2147483647 w 595"/>
                <a:gd name="T29" fmla="*/ 2147483647 h 301"/>
                <a:gd name="T30" fmla="*/ 2147483647 w 595"/>
                <a:gd name="T31" fmla="*/ 2147483647 h 301"/>
                <a:gd name="T32" fmla="*/ 2147483647 w 595"/>
                <a:gd name="T33" fmla="*/ 2147483647 h 301"/>
                <a:gd name="T34" fmla="*/ 2147483647 w 595"/>
                <a:gd name="T35" fmla="*/ 2147483647 h 301"/>
                <a:gd name="T36" fmla="*/ 2147483647 w 595"/>
                <a:gd name="T37" fmla="*/ 2147483647 h 301"/>
                <a:gd name="T38" fmla="*/ 2147483647 w 595"/>
                <a:gd name="T39" fmla="*/ 2147483647 h 301"/>
                <a:gd name="T40" fmla="*/ 2147483647 w 595"/>
                <a:gd name="T41" fmla="*/ 2147483647 h 301"/>
                <a:gd name="T42" fmla="*/ 2147483647 w 595"/>
                <a:gd name="T43" fmla="*/ 0 h 301"/>
                <a:gd name="T44" fmla="*/ 2147483647 w 595"/>
                <a:gd name="T45" fmla="*/ 2147483647 h 301"/>
                <a:gd name="T46" fmla="*/ 2147483647 w 595"/>
                <a:gd name="T47" fmla="*/ 2147483647 h 301"/>
                <a:gd name="T48" fmla="*/ 2147483647 w 595"/>
                <a:gd name="T49" fmla="*/ 2147483647 h 301"/>
                <a:gd name="T50" fmla="*/ 2147483647 w 595"/>
                <a:gd name="T51" fmla="*/ 2147483647 h 301"/>
                <a:gd name="T52" fmla="*/ 2147483647 w 595"/>
                <a:gd name="T53" fmla="*/ 2147483647 h 301"/>
                <a:gd name="T54" fmla="*/ 0 w 595"/>
                <a:gd name="T55" fmla="*/ 2147483647 h 301"/>
                <a:gd name="T56" fmla="*/ 2147483647 w 595"/>
                <a:gd name="T57" fmla="*/ 2147483647 h 301"/>
                <a:gd name="T58" fmla="*/ 2147483647 w 595"/>
                <a:gd name="T59" fmla="*/ 2147483647 h 301"/>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595" h="301">
                  <a:moveTo>
                    <a:pt x="42" y="126"/>
                  </a:moveTo>
                  <a:lnTo>
                    <a:pt x="48" y="186"/>
                  </a:lnTo>
                  <a:lnTo>
                    <a:pt x="127" y="210"/>
                  </a:lnTo>
                  <a:lnTo>
                    <a:pt x="181" y="264"/>
                  </a:lnTo>
                  <a:lnTo>
                    <a:pt x="253" y="270"/>
                  </a:lnTo>
                  <a:lnTo>
                    <a:pt x="313" y="301"/>
                  </a:lnTo>
                  <a:lnTo>
                    <a:pt x="379" y="258"/>
                  </a:lnTo>
                  <a:lnTo>
                    <a:pt x="445" y="252"/>
                  </a:lnTo>
                  <a:lnTo>
                    <a:pt x="457" y="210"/>
                  </a:lnTo>
                  <a:lnTo>
                    <a:pt x="499" y="192"/>
                  </a:lnTo>
                  <a:lnTo>
                    <a:pt x="541" y="174"/>
                  </a:lnTo>
                  <a:lnTo>
                    <a:pt x="595" y="156"/>
                  </a:lnTo>
                  <a:lnTo>
                    <a:pt x="583" y="132"/>
                  </a:lnTo>
                  <a:lnTo>
                    <a:pt x="529" y="126"/>
                  </a:lnTo>
                  <a:lnTo>
                    <a:pt x="529" y="96"/>
                  </a:lnTo>
                  <a:lnTo>
                    <a:pt x="541" y="72"/>
                  </a:lnTo>
                  <a:lnTo>
                    <a:pt x="499" y="60"/>
                  </a:lnTo>
                  <a:lnTo>
                    <a:pt x="403" y="84"/>
                  </a:lnTo>
                  <a:lnTo>
                    <a:pt x="367" y="54"/>
                  </a:lnTo>
                  <a:lnTo>
                    <a:pt x="307" y="54"/>
                  </a:lnTo>
                  <a:lnTo>
                    <a:pt x="289" y="36"/>
                  </a:lnTo>
                  <a:lnTo>
                    <a:pt x="217" y="0"/>
                  </a:lnTo>
                  <a:lnTo>
                    <a:pt x="193" y="30"/>
                  </a:lnTo>
                  <a:lnTo>
                    <a:pt x="169" y="66"/>
                  </a:lnTo>
                  <a:lnTo>
                    <a:pt x="121" y="48"/>
                  </a:lnTo>
                  <a:lnTo>
                    <a:pt x="54" y="54"/>
                  </a:lnTo>
                  <a:lnTo>
                    <a:pt x="12" y="78"/>
                  </a:lnTo>
                  <a:lnTo>
                    <a:pt x="0" y="102"/>
                  </a:lnTo>
                  <a:lnTo>
                    <a:pt x="6" y="108"/>
                  </a:lnTo>
                  <a:lnTo>
                    <a:pt x="42" y="126"/>
                  </a:ln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231" name="Line 449"/>
            <p:cNvSpPr>
              <a:spLocks noChangeShapeType="1"/>
            </p:cNvSpPr>
            <p:nvPr/>
          </p:nvSpPr>
          <p:spPr bwMode="auto">
            <a:xfrm>
              <a:off x="7183043" y="3977391"/>
              <a:ext cx="0" cy="0"/>
            </a:xfrm>
            <a:prstGeom prst="line">
              <a:avLst/>
            </a:prstGeom>
            <a:noFill/>
            <a:ln w="0">
              <a:solidFill>
                <a:schemeClr val="bg1"/>
              </a:solidFill>
              <a:round/>
              <a:headEnd/>
              <a:tailEnd/>
            </a:ln>
            <a:extLst>
              <a:ext uri="{909E8E84-426E-40DD-AFC4-6F175D3DCCD1}">
                <a14:hiddenFill xmlns:a14="http://schemas.microsoft.com/office/drawing/2010/main">
                  <a:noFill/>
                </a14:hiddenFill>
              </a:ext>
            </a:extLst>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232" name="KP"/>
            <p:cNvSpPr>
              <a:spLocks/>
            </p:cNvSpPr>
            <p:nvPr/>
          </p:nvSpPr>
          <p:spPr bwMode="auto">
            <a:xfrm>
              <a:off x="7332266" y="3272626"/>
              <a:ext cx="116620" cy="153173"/>
            </a:xfrm>
            <a:custGeom>
              <a:avLst/>
              <a:gdLst>
                <a:gd name="T0" fmla="*/ 2147483647 w 78"/>
                <a:gd name="T1" fmla="*/ 2147483647 h 98"/>
                <a:gd name="T2" fmla="*/ 2147483647 w 78"/>
                <a:gd name="T3" fmla="*/ 2147483647 h 98"/>
                <a:gd name="T4" fmla="*/ 2147483647 w 78"/>
                <a:gd name="T5" fmla="*/ 2147483647 h 98"/>
                <a:gd name="T6" fmla="*/ 2147483647 w 78"/>
                <a:gd name="T7" fmla="*/ 2147483647 h 98"/>
                <a:gd name="T8" fmla="*/ 0 w 78"/>
                <a:gd name="T9" fmla="*/ 2147483647 h 98"/>
                <a:gd name="T10" fmla="*/ 0 w 78"/>
                <a:gd name="T11" fmla="*/ 2147483647 h 98"/>
                <a:gd name="T12" fmla="*/ 2147483647 w 78"/>
                <a:gd name="T13" fmla="*/ 2147483647 h 98"/>
                <a:gd name="T14" fmla="*/ 2147483647 w 78"/>
                <a:gd name="T15" fmla="*/ 2147483647 h 98"/>
                <a:gd name="T16" fmla="*/ 2147483647 w 78"/>
                <a:gd name="T17" fmla="*/ 2147483647 h 98"/>
                <a:gd name="T18" fmla="*/ 2147483647 w 78"/>
                <a:gd name="T19" fmla="*/ 2147483647 h 98"/>
                <a:gd name="T20" fmla="*/ 2147483647 w 78"/>
                <a:gd name="T21" fmla="*/ 2147483647 h 98"/>
                <a:gd name="T22" fmla="*/ 2147483647 w 78"/>
                <a:gd name="T23" fmla="*/ 2147483647 h 98"/>
                <a:gd name="T24" fmla="*/ 2147483647 w 78"/>
                <a:gd name="T25" fmla="*/ 2147483647 h 98"/>
                <a:gd name="T26" fmla="*/ 2147483647 w 78"/>
                <a:gd name="T27" fmla="*/ 2147483647 h 98"/>
                <a:gd name="T28" fmla="*/ 2147483647 w 78"/>
                <a:gd name="T29" fmla="*/ 2147483647 h 98"/>
                <a:gd name="T30" fmla="*/ 2147483647 w 78"/>
                <a:gd name="T31" fmla="*/ 2147483647 h 98"/>
                <a:gd name="T32" fmla="*/ 2147483647 w 78"/>
                <a:gd name="T33" fmla="*/ 2147483647 h 98"/>
                <a:gd name="T34" fmla="*/ 2147483647 w 78"/>
                <a:gd name="T35" fmla="*/ 2147483647 h 98"/>
                <a:gd name="T36" fmla="*/ 2147483647 w 78"/>
                <a:gd name="T37" fmla="*/ 2147483647 h 98"/>
                <a:gd name="T38" fmla="*/ 2147483647 w 78"/>
                <a:gd name="T39" fmla="*/ 2147483647 h 98"/>
                <a:gd name="T40" fmla="*/ 2147483647 w 78"/>
                <a:gd name="T41" fmla="*/ 2147483647 h 98"/>
                <a:gd name="T42" fmla="*/ 2147483647 w 78"/>
                <a:gd name="T43" fmla="*/ 2147483647 h 98"/>
                <a:gd name="T44" fmla="*/ 2147483647 w 78"/>
                <a:gd name="T45" fmla="*/ 2147483647 h 98"/>
                <a:gd name="T46" fmla="*/ 2147483647 w 78"/>
                <a:gd name="T47" fmla="*/ 2147483647 h 98"/>
                <a:gd name="T48" fmla="*/ 2147483647 w 78"/>
                <a:gd name="T49" fmla="*/ 2147483647 h 98"/>
                <a:gd name="T50" fmla="*/ 2147483647 w 78"/>
                <a:gd name="T51" fmla="*/ 2147483647 h 98"/>
                <a:gd name="T52" fmla="*/ 2147483647 w 78"/>
                <a:gd name="T53" fmla="*/ 2147483647 h 98"/>
                <a:gd name="T54" fmla="*/ 2147483647 w 78"/>
                <a:gd name="T55" fmla="*/ 2147483647 h 98"/>
                <a:gd name="T56" fmla="*/ 2147483647 w 78"/>
                <a:gd name="T57" fmla="*/ 2147483647 h 98"/>
                <a:gd name="T58" fmla="*/ 2147483647 w 78"/>
                <a:gd name="T59" fmla="*/ 2147483647 h 98"/>
                <a:gd name="T60" fmla="*/ 2147483647 w 78"/>
                <a:gd name="T61" fmla="*/ 2147483647 h 98"/>
                <a:gd name="T62" fmla="*/ 2147483647 w 78"/>
                <a:gd name="T63" fmla="*/ 0 h 98"/>
                <a:gd name="T64" fmla="*/ 2147483647 w 78"/>
                <a:gd name="T65" fmla="*/ 2147483647 h 9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78" h="98">
                  <a:moveTo>
                    <a:pt x="32" y="12"/>
                  </a:moveTo>
                  <a:lnTo>
                    <a:pt x="34" y="32"/>
                  </a:lnTo>
                  <a:lnTo>
                    <a:pt x="20" y="22"/>
                  </a:lnTo>
                  <a:lnTo>
                    <a:pt x="6" y="34"/>
                  </a:lnTo>
                  <a:lnTo>
                    <a:pt x="0" y="56"/>
                  </a:lnTo>
                  <a:lnTo>
                    <a:pt x="6" y="56"/>
                  </a:lnTo>
                  <a:lnTo>
                    <a:pt x="10" y="56"/>
                  </a:lnTo>
                  <a:lnTo>
                    <a:pt x="30" y="70"/>
                  </a:lnTo>
                  <a:lnTo>
                    <a:pt x="34" y="84"/>
                  </a:lnTo>
                  <a:lnTo>
                    <a:pt x="36" y="92"/>
                  </a:lnTo>
                  <a:lnTo>
                    <a:pt x="40" y="98"/>
                  </a:lnTo>
                  <a:lnTo>
                    <a:pt x="70" y="88"/>
                  </a:lnTo>
                  <a:lnTo>
                    <a:pt x="70" y="84"/>
                  </a:lnTo>
                  <a:lnTo>
                    <a:pt x="68" y="82"/>
                  </a:lnTo>
                  <a:lnTo>
                    <a:pt x="66" y="78"/>
                  </a:lnTo>
                  <a:lnTo>
                    <a:pt x="64" y="76"/>
                  </a:lnTo>
                  <a:lnTo>
                    <a:pt x="64" y="60"/>
                  </a:lnTo>
                  <a:lnTo>
                    <a:pt x="64" y="46"/>
                  </a:lnTo>
                  <a:lnTo>
                    <a:pt x="54" y="26"/>
                  </a:lnTo>
                  <a:lnTo>
                    <a:pt x="64" y="16"/>
                  </a:lnTo>
                  <a:lnTo>
                    <a:pt x="78" y="4"/>
                  </a:lnTo>
                  <a:lnTo>
                    <a:pt x="52" y="0"/>
                  </a:lnTo>
                  <a:lnTo>
                    <a:pt x="32" y="12"/>
                  </a:ln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233" name="KR"/>
            <p:cNvSpPr>
              <a:spLocks/>
            </p:cNvSpPr>
            <p:nvPr/>
          </p:nvSpPr>
          <p:spPr bwMode="auto">
            <a:xfrm>
              <a:off x="7379891" y="3409924"/>
              <a:ext cx="78520" cy="104775"/>
            </a:xfrm>
            <a:custGeom>
              <a:avLst/>
              <a:gdLst>
                <a:gd name="T0" fmla="*/ 2147483647 w 54"/>
                <a:gd name="T1" fmla="*/ 2147483647 h 66"/>
                <a:gd name="T2" fmla="*/ 2147483647 w 54"/>
                <a:gd name="T3" fmla="*/ 2147483647 h 66"/>
                <a:gd name="T4" fmla="*/ 2147483647 w 54"/>
                <a:gd name="T5" fmla="*/ 2147483647 h 66"/>
                <a:gd name="T6" fmla="*/ 2147483647 w 54"/>
                <a:gd name="T7" fmla="*/ 2147483647 h 66"/>
                <a:gd name="T8" fmla="*/ 0 w 54"/>
                <a:gd name="T9" fmla="*/ 2147483647 h 66"/>
                <a:gd name="T10" fmla="*/ 0 w 54"/>
                <a:gd name="T11" fmla="*/ 2147483647 h 66"/>
                <a:gd name="T12" fmla="*/ 2147483647 w 54"/>
                <a:gd name="T13" fmla="*/ 2147483647 h 66"/>
                <a:gd name="T14" fmla="*/ 2147483647 w 54"/>
                <a:gd name="T15" fmla="*/ 2147483647 h 66"/>
                <a:gd name="T16" fmla="*/ 2147483647 w 54"/>
                <a:gd name="T17" fmla="*/ 2147483647 h 66"/>
                <a:gd name="T18" fmla="*/ 2147483647 w 54"/>
                <a:gd name="T19" fmla="*/ 2147483647 h 66"/>
                <a:gd name="T20" fmla="*/ 2147483647 w 54"/>
                <a:gd name="T21" fmla="*/ 2147483647 h 66"/>
                <a:gd name="T22" fmla="*/ 2147483647 w 54"/>
                <a:gd name="T23" fmla="*/ 2147483647 h 66"/>
                <a:gd name="T24" fmla="*/ 2147483647 w 54"/>
                <a:gd name="T25" fmla="*/ 2147483647 h 66"/>
                <a:gd name="T26" fmla="*/ 2147483647 w 54"/>
                <a:gd name="T27" fmla="*/ 0 h 66"/>
                <a:gd name="T28" fmla="*/ 2147483647 w 54"/>
                <a:gd name="T29" fmla="*/ 2147483647 h 66"/>
                <a:gd name="T30" fmla="*/ 2147483647 w 54"/>
                <a:gd name="T31" fmla="*/ 2147483647 h 66"/>
                <a:gd name="T32" fmla="*/ 2147483647 w 54"/>
                <a:gd name="T33" fmla="*/ 2147483647 h 66"/>
                <a:gd name="T34" fmla="*/ 2147483647 w 54"/>
                <a:gd name="T35" fmla="*/ 2147483647 h 6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4" h="66">
                  <a:moveTo>
                    <a:pt x="10" y="12"/>
                  </a:moveTo>
                  <a:lnTo>
                    <a:pt x="10" y="12"/>
                  </a:lnTo>
                  <a:lnTo>
                    <a:pt x="10" y="36"/>
                  </a:lnTo>
                  <a:lnTo>
                    <a:pt x="0" y="66"/>
                  </a:lnTo>
                  <a:lnTo>
                    <a:pt x="20" y="66"/>
                  </a:lnTo>
                  <a:lnTo>
                    <a:pt x="40" y="60"/>
                  </a:lnTo>
                  <a:lnTo>
                    <a:pt x="50" y="52"/>
                  </a:lnTo>
                  <a:lnTo>
                    <a:pt x="54" y="36"/>
                  </a:lnTo>
                  <a:lnTo>
                    <a:pt x="40" y="0"/>
                  </a:lnTo>
                  <a:lnTo>
                    <a:pt x="10" y="10"/>
                  </a:lnTo>
                  <a:lnTo>
                    <a:pt x="10" y="12"/>
                  </a:lnTo>
                  <a:close/>
                </a:path>
              </a:pathLst>
            </a:custGeom>
            <a:solidFill>
              <a:srgbClr val="00B9E4"/>
            </a:solidFill>
            <a:ln w="9525" cap="flat" cmpd="sng">
              <a:solidFill>
                <a:schemeClr val="bg1"/>
              </a:solidFill>
              <a:prstDash val="solid"/>
              <a:round/>
              <a:headEnd type="none" w="med" len="med"/>
              <a:tailEnd type="none" w="med" len="med"/>
            </a:ln>
            <a:effectLst/>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234" name="UY"/>
            <p:cNvSpPr>
              <a:spLocks/>
            </p:cNvSpPr>
            <p:nvPr/>
          </p:nvSpPr>
          <p:spPr bwMode="auto">
            <a:xfrm>
              <a:off x="2712313" y="5136256"/>
              <a:ext cx="126999" cy="166687"/>
            </a:xfrm>
            <a:custGeom>
              <a:avLst/>
              <a:gdLst>
                <a:gd name="T0" fmla="*/ 2147483647 w 102"/>
                <a:gd name="T1" fmla="*/ 2147483647 h 114"/>
                <a:gd name="T2" fmla="*/ 2147483647 w 102"/>
                <a:gd name="T3" fmla="*/ 2147483647 h 114"/>
                <a:gd name="T4" fmla="*/ 2147483647 w 102"/>
                <a:gd name="T5" fmla="*/ 0 h 114"/>
                <a:gd name="T6" fmla="*/ 2147483647 w 102"/>
                <a:gd name="T7" fmla="*/ 2147483647 h 114"/>
                <a:gd name="T8" fmla="*/ 0 w 102"/>
                <a:gd name="T9" fmla="*/ 2147483647 h 114"/>
                <a:gd name="T10" fmla="*/ 0 w 102"/>
                <a:gd name="T11" fmla="*/ 2147483647 h 114"/>
                <a:gd name="T12" fmla="*/ 2147483647 w 102"/>
                <a:gd name="T13" fmla="*/ 2147483647 h 114"/>
                <a:gd name="T14" fmla="*/ 2147483647 w 102"/>
                <a:gd name="T15" fmla="*/ 2147483647 h 114"/>
                <a:gd name="T16" fmla="*/ 2147483647 w 102"/>
                <a:gd name="T17" fmla="*/ 2147483647 h 114"/>
                <a:gd name="T18" fmla="*/ 2147483647 w 102"/>
                <a:gd name="T19" fmla="*/ 2147483647 h 114"/>
                <a:gd name="T20" fmla="*/ 2147483647 w 102"/>
                <a:gd name="T21" fmla="*/ 2147483647 h 114"/>
                <a:gd name="T22" fmla="*/ 2147483647 w 102"/>
                <a:gd name="T23" fmla="*/ 2147483647 h 114"/>
                <a:gd name="T24" fmla="*/ 2147483647 w 102"/>
                <a:gd name="T25" fmla="*/ 2147483647 h 11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2" h="114">
                  <a:moveTo>
                    <a:pt x="66" y="24"/>
                  </a:moveTo>
                  <a:lnTo>
                    <a:pt x="36" y="6"/>
                  </a:lnTo>
                  <a:lnTo>
                    <a:pt x="18" y="0"/>
                  </a:lnTo>
                  <a:lnTo>
                    <a:pt x="6" y="18"/>
                  </a:lnTo>
                  <a:lnTo>
                    <a:pt x="0" y="48"/>
                  </a:lnTo>
                  <a:lnTo>
                    <a:pt x="0" y="78"/>
                  </a:lnTo>
                  <a:lnTo>
                    <a:pt x="24" y="96"/>
                  </a:lnTo>
                  <a:lnTo>
                    <a:pt x="36" y="108"/>
                  </a:lnTo>
                  <a:lnTo>
                    <a:pt x="66" y="114"/>
                  </a:lnTo>
                  <a:lnTo>
                    <a:pt x="96" y="90"/>
                  </a:lnTo>
                  <a:lnTo>
                    <a:pt x="102" y="78"/>
                  </a:lnTo>
                  <a:lnTo>
                    <a:pt x="84" y="42"/>
                  </a:lnTo>
                  <a:lnTo>
                    <a:pt x="66" y="24"/>
                  </a:lnTo>
                  <a:close/>
                </a:path>
              </a:pathLst>
            </a:custGeom>
            <a:solidFill>
              <a:schemeClr val="accent1"/>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235" name="PE"/>
            <p:cNvSpPr>
              <a:spLocks/>
            </p:cNvSpPr>
            <p:nvPr/>
          </p:nvSpPr>
          <p:spPr bwMode="auto">
            <a:xfrm>
              <a:off x="2171833" y="4445700"/>
              <a:ext cx="320672" cy="392109"/>
            </a:xfrm>
            <a:custGeom>
              <a:avLst/>
              <a:gdLst>
                <a:gd name="T0" fmla="*/ 2147483647 w 240"/>
                <a:gd name="T1" fmla="*/ 2147483647 h 337"/>
                <a:gd name="T2" fmla="*/ 2147483647 w 240"/>
                <a:gd name="T3" fmla="*/ 2147483647 h 337"/>
                <a:gd name="T4" fmla="*/ 2147483647 w 240"/>
                <a:gd name="T5" fmla="*/ 2147483647 h 337"/>
                <a:gd name="T6" fmla="*/ 2147483647 w 240"/>
                <a:gd name="T7" fmla="*/ 2147483647 h 337"/>
                <a:gd name="T8" fmla="*/ 2147483647 w 240"/>
                <a:gd name="T9" fmla="*/ 2147483647 h 337"/>
                <a:gd name="T10" fmla="*/ 2147483647 w 240"/>
                <a:gd name="T11" fmla="*/ 2147483647 h 337"/>
                <a:gd name="T12" fmla="*/ 2147483647 w 240"/>
                <a:gd name="T13" fmla="*/ 2147483647 h 337"/>
                <a:gd name="T14" fmla="*/ 2147483647 w 240"/>
                <a:gd name="T15" fmla="*/ 2147483647 h 337"/>
                <a:gd name="T16" fmla="*/ 2147483647 w 240"/>
                <a:gd name="T17" fmla="*/ 2147483647 h 337"/>
                <a:gd name="T18" fmla="*/ 2147483647 w 240"/>
                <a:gd name="T19" fmla="*/ 2147483647 h 337"/>
                <a:gd name="T20" fmla="*/ 2147483647 w 240"/>
                <a:gd name="T21" fmla="*/ 2147483647 h 337"/>
                <a:gd name="T22" fmla="*/ 2147483647 w 240"/>
                <a:gd name="T23" fmla="*/ 2147483647 h 337"/>
                <a:gd name="T24" fmla="*/ 2147483647 w 240"/>
                <a:gd name="T25" fmla="*/ 2147483647 h 337"/>
                <a:gd name="T26" fmla="*/ 2147483647 w 240"/>
                <a:gd name="T27" fmla="*/ 0 h 337"/>
                <a:gd name="T28" fmla="*/ 2147483647 w 240"/>
                <a:gd name="T29" fmla="*/ 0 h 337"/>
                <a:gd name="T30" fmla="*/ 2147483647 w 240"/>
                <a:gd name="T31" fmla="*/ 2147483647 h 337"/>
                <a:gd name="T32" fmla="*/ 2147483647 w 240"/>
                <a:gd name="T33" fmla="*/ 2147483647 h 337"/>
                <a:gd name="T34" fmla="*/ 2147483647 w 240"/>
                <a:gd name="T35" fmla="*/ 2147483647 h 337"/>
                <a:gd name="T36" fmla="*/ 2147483647 w 240"/>
                <a:gd name="T37" fmla="*/ 2147483647 h 337"/>
                <a:gd name="T38" fmla="*/ 2147483647 w 240"/>
                <a:gd name="T39" fmla="*/ 2147483647 h 337"/>
                <a:gd name="T40" fmla="*/ 2147483647 w 240"/>
                <a:gd name="T41" fmla="*/ 2147483647 h 337"/>
                <a:gd name="T42" fmla="*/ 0 w 240"/>
                <a:gd name="T43" fmla="*/ 2147483647 h 337"/>
                <a:gd name="T44" fmla="*/ 2147483647 w 240"/>
                <a:gd name="T45" fmla="*/ 2147483647 h 337"/>
                <a:gd name="T46" fmla="*/ 2147483647 w 240"/>
                <a:gd name="T47" fmla="*/ 2147483647 h 337"/>
                <a:gd name="T48" fmla="*/ 2147483647 w 240"/>
                <a:gd name="T49" fmla="*/ 2147483647 h 337"/>
                <a:gd name="T50" fmla="*/ 2147483647 w 240"/>
                <a:gd name="T51" fmla="*/ 2147483647 h 337"/>
                <a:gd name="T52" fmla="*/ 2147483647 w 240"/>
                <a:gd name="T53" fmla="*/ 2147483647 h 337"/>
                <a:gd name="T54" fmla="*/ 2147483647 w 240"/>
                <a:gd name="T55" fmla="*/ 2147483647 h 337"/>
                <a:gd name="T56" fmla="*/ 2147483647 w 240"/>
                <a:gd name="T57" fmla="*/ 2147483647 h 337"/>
                <a:gd name="T58" fmla="*/ 2147483647 w 240"/>
                <a:gd name="T59" fmla="*/ 2147483647 h 337"/>
                <a:gd name="T60" fmla="*/ 2147483647 w 240"/>
                <a:gd name="T61" fmla="*/ 2147483647 h 337"/>
                <a:gd name="T62" fmla="*/ 2147483647 w 240"/>
                <a:gd name="T63" fmla="*/ 2147483647 h 33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40" h="337">
                  <a:moveTo>
                    <a:pt x="228" y="204"/>
                  </a:moveTo>
                  <a:lnTo>
                    <a:pt x="228" y="198"/>
                  </a:lnTo>
                  <a:lnTo>
                    <a:pt x="216" y="198"/>
                  </a:lnTo>
                  <a:lnTo>
                    <a:pt x="210" y="162"/>
                  </a:lnTo>
                  <a:lnTo>
                    <a:pt x="180" y="174"/>
                  </a:lnTo>
                  <a:lnTo>
                    <a:pt x="156" y="156"/>
                  </a:lnTo>
                  <a:lnTo>
                    <a:pt x="156" y="120"/>
                  </a:lnTo>
                  <a:lnTo>
                    <a:pt x="180" y="84"/>
                  </a:lnTo>
                  <a:lnTo>
                    <a:pt x="198" y="72"/>
                  </a:lnTo>
                  <a:lnTo>
                    <a:pt x="204" y="54"/>
                  </a:lnTo>
                  <a:lnTo>
                    <a:pt x="192" y="36"/>
                  </a:lnTo>
                  <a:lnTo>
                    <a:pt x="168" y="36"/>
                  </a:lnTo>
                  <a:lnTo>
                    <a:pt x="150" y="18"/>
                  </a:lnTo>
                  <a:lnTo>
                    <a:pt x="120" y="0"/>
                  </a:lnTo>
                  <a:lnTo>
                    <a:pt x="108" y="24"/>
                  </a:lnTo>
                  <a:lnTo>
                    <a:pt x="84" y="48"/>
                  </a:lnTo>
                  <a:lnTo>
                    <a:pt x="66" y="54"/>
                  </a:lnTo>
                  <a:lnTo>
                    <a:pt x="42" y="78"/>
                  </a:lnTo>
                  <a:lnTo>
                    <a:pt x="24" y="72"/>
                  </a:lnTo>
                  <a:lnTo>
                    <a:pt x="18" y="60"/>
                  </a:lnTo>
                  <a:lnTo>
                    <a:pt x="0" y="72"/>
                  </a:lnTo>
                  <a:lnTo>
                    <a:pt x="18" y="114"/>
                  </a:lnTo>
                  <a:lnTo>
                    <a:pt x="54" y="174"/>
                  </a:lnTo>
                  <a:lnTo>
                    <a:pt x="90" y="252"/>
                  </a:lnTo>
                  <a:lnTo>
                    <a:pt x="90" y="264"/>
                  </a:lnTo>
                  <a:lnTo>
                    <a:pt x="216" y="337"/>
                  </a:lnTo>
                  <a:lnTo>
                    <a:pt x="222" y="337"/>
                  </a:lnTo>
                  <a:lnTo>
                    <a:pt x="228" y="307"/>
                  </a:lnTo>
                  <a:lnTo>
                    <a:pt x="234" y="270"/>
                  </a:lnTo>
                  <a:lnTo>
                    <a:pt x="240" y="222"/>
                  </a:lnTo>
                  <a:lnTo>
                    <a:pt x="228" y="204"/>
                  </a:lnTo>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236" name="BR"/>
            <p:cNvSpPr>
              <a:spLocks/>
            </p:cNvSpPr>
            <p:nvPr/>
          </p:nvSpPr>
          <p:spPr bwMode="auto">
            <a:xfrm>
              <a:off x="2376619" y="4321875"/>
              <a:ext cx="869821" cy="911218"/>
            </a:xfrm>
            <a:custGeom>
              <a:avLst/>
              <a:gdLst>
                <a:gd name="T0" fmla="*/ 449369 w 10000"/>
                <a:gd name="T1" fmla="*/ 714947 h 10000"/>
                <a:gd name="T2" fmla="*/ 413116 w 10000"/>
                <a:gd name="T3" fmla="*/ 771079 h 10000"/>
                <a:gd name="T4" fmla="*/ 369611 w 10000"/>
                <a:gd name="T5" fmla="*/ 820103 h 10000"/>
                <a:gd name="T6" fmla="*/ 384113 w 10000"/>
                <a:gd name="T7" fmla="*/ 827119 h 10000"/>
                <a:gd name="T8" fmla="*/ 442119 w 10000"/>
                <a:gd name="T9" fmla="*/ 869126 h 10000"/>
                <a:gd name="T10" fmla="*/ 471121 w 10000"/>
                <a:gd name="T11" fmla="*/ 890176 h 10000"/>
                <a:gd name="T12" fmla="*/ 536378 w 10000"/>
                <a:gd name="T13" fmla="*/ 827119 h 10000"/>
                <a:gd name="T14" fmla="*/ 587045 w 10000"/>
                <a:gd name="T15" fmla="*/ 693898 h 10000"/>
                <a:gd name="T16" fmla="*/ 717558 w 10000"/>
                <a:gd name="T17" fmla="*/ 637858 h 10000"/>
                <a:gd name="T18" fmla="*/ 746561 w 10000"/>
                <a:gd name="T19" fmla="*/ 602775 h 10000"/>
                <a:gd name="T20" fmla="*/ 775476 w 10000"/>
                <a:gd name="T21" fmla="*/ 539719 h 10000"/>
                <a:gd name="T22" fmla="*/ 789977 w 10000"/>
                <a:gd name="T23" fmla="*/ 406589 h 10000"/>
                <a:gd name="T24" fmla="*/ 884237 w 10000"/>
                <a:gd name="T25" fmla="*/ 308450 h 10000"/>
                <a:gd name="T26" fmla="*/ 869736 w 10000"/>
                <a:gd name="T27" fmla="*/ 238285 h 10000"/>
                <a:gd name="T28" fmla="*/ 761063 w 10000"/>
                <a:gd name="T29" fmla="*/ 189261 h 10000"/>
                <a:gd name="T30" fmla="*/ 666803 w 10000"/>
                <a:gd name="T31" fmla="*/ 175229 h 10000"/>
                <a:gd name="T32" fmla="*/ 594296 w 10000"/>
                <a:gd name="T33" fmla="*/ 133221 h 10000"/>
                <a:gd name="T34" fmla="*/ 536378 w 10000"/>
                <a:gd name="T35" fmla="*/ 77090 h 10000"/>
                <a:gd name="T36" fmla="*/ 507375 w 10000"/>
                <a:gd name="T37" fmla="*/ 21049 h 10000"/>
                <a:gd name="T38" fmla="*/ 449369 w 10000"/>
                <a:gd name="T39" fmla="*/ 77090 h 10000"/>
                <a:gd name="T40" fmla="*/ 405865 w 10000"/>
                <a:gd name="T41" fmla="*/ 70073 h 10000"/>
                <a:gd name="T42" fmla="*/ 384113 w 10000"/>
                <a:gd name="T43" fmla="*/ 77090 h 10000"/>
                <a:gd name="T44" fmla="*/ 326195 w 10000"/>
                <a:gd name="T45" fmla="*/ 91123 h 10000"/>
                <a:gd name="T46" fmla="*/ 311694 w 10000"/>
                <a:gd name="T47" fmla="*/ 28066 h 10000"/>
                <a:gd name="T48" fmla="*/ 282691 w 10000"/>
                <a:gd name="T49" fmla="*/ 0 h 10000"/>
                <a:gd name="T50" fmla="*/ 253688 w 10000"/>
                <a:gd name="T51" fmla="*/ 28066 h 10000"/>
                <a:gd name="T52" fmla="*/ 217434 w 10000"/>
                <a:gd name="T53" fmla="*/ 63057 h 10000"/>
                <a:gd name="T54" fmla="*/ 159428 w 10000"/>
                <a:gd name="T55" fmla="*/ 105155 h 10000"/>
                <a:gd name="T56" fmla="*/ 79758 w 10000"/>
                <a:gd name="T57" fmla="*/ 98139 h 10000"/>
                <a:gd name="T58" fmla="*/ 72507 w 10000"/>
                <a:gd name="T59" fmla="*/ 210311 h 10000"/>
                <a:gd name="T60" fmla="*/ 50755 w 10000"/>
                <a:gd name="T61" fmla="*/ 217327 h 10000"/>
                <a:gd name="T62" fmla="*/ 0 w 10000"/>
                <a:gd name="T63" fmla="*/ 273368 h 10000"/>
                <a:gd name="T64" fmla="*/ 29003 w 10000"/>
                <a:gd name="T65" fmla="*/ 336424 h 10000"/>
                <a:gd name="T66" fmla="*/ 72507 w 10000"/>
                <a:gd name="T67" fmla="*/ 364490 h 10000"/>
                <a:gd name="T68" fmla="*/ 87009 w 10000"/>
                <a:gd name="T69" fmla="*/ 371506 h 10000"/>
                <a:gd name="T70" fmla="*/ 124766 w 10000"/>
                <a:gd name="T71" fmla="*/ 375516 h 10000"/>
                <a:gd name="T72" fmla="*/ 165264 w 10000"/>
                <a:gd name="T73" fmla="*/ 354102 h 10000"/>
                <a:gd name="T74" fmla="*/ 195682 w 10000"/>
                <a:gd name="T75" fmla="*/ 392556 h 10000"/>
                <a:gd name="T76" fmla="*/ 289941 w 10000"/>
                <a:gd name="T77" fmla="*/ 434563 h 10000"/>
                <a:gd name="T78" fmla="*/ 304443 w 10000"/>
                <a:gd name="T79" fmla="*/ 483678 h 10000"/>
                <a:gd name="T80" fmla="*/ 347859 w 10000"/>
                <a:gd name="T81" fmla="*/ 518669 h 1000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0000" h="10000">
                  <a:moveTo>
                    <a:pt x="5000" y="7769"/>
                  </a:moveTo>
                  <a:cubicBezTo>
                    <a:pt x="5027" y="7795"/>
                    <a:pt x="5055" y="7820"/>
                    <a:pt x="5082" y="7846"/>
                  </a:cubicBezTo>
                  <a:cubicBezTo>
                    <a:pt x="5027" y="8000"/>
                    <a:pt x="4973" y="8154"/>
                    <a:pt x="4918" y="8308"/>
                  </a:cubicBezTo>
                  <a:lnTo>
                    <a:pt x="4672" y="8462"/>
                  </a:lnTo>
                  <a:lnTo>
                    <a:pt x="4098" y="9000"/>
                  </a:lnTo>
                  <a:lnTo>
                    <a:pt x="4180" y="9000"/>
                  </a:lnTo>
                  <a:lnTo>
                    <a:pt x="4098" y="9000"/>
                  </a:lnTo>
                  <a:lnTo>
                    <a:pt x="4344" y="9077"/>
                  </a:lnTo>
                  <a:lnTo>
                    <a:pt x="4754" y="9308"/>
                  </a:lnTo>
                  <a:lnTo>
                    <a:pt x="5000" y="9538"/>
                  </a:lnTo>
                  <a:lnTo>
                    <a:pt x="5246" y="10000"/>
                  </a:lnTo>
                  <a:cubicBezTo>
                    <a:pt x="5273" y="9923"/>
                    <a:pt x="5301" y="9846"/>
                    <a:pt x="5328" y="9769"/>
                  </a:cubicBezTo>
                  <a:lnTo>
                    <a:pt x="5656" y="9462"/>
                  </a:lnTo>
                  <a:lnTo>
                    <a:pt x="6066" y="9077"/>
                  </a:lnTo>
                  <a:lnTo>
                    <a:pt x="6393" y="8077"/>
                  </a:lnTo>
                  <a:lnTo>
                    <a:pt x="6639" y="7615"/>
                  </a:lnTo>
                  <a:lnTo>
                    <a:pt x="7541" y="7077"/>
                  </a:lnTo>
                  <a:lnTo>
                    <a:pt x="8115" y="7000"/>
                  </a:lnTo>
                  <a:lnTo>
                    <a:pt x="8279" y="6923"/>
                  </a:lnTo>
                  <a:lnTo>
                    <a:pt x="8443" y="6615"/>
                  </a:lnTo>
                  <a:cubicBezTo>
                    <a:pt x="8470" y="6513"/>
                    <a:pt x="8498" y="6410"/>
                    <a:pt x="8525" y="6308"/>
                  </a:cubicBezTo>
                  <a:cubicBezTo>
                    <a:pt x="8607" y="6180"/>
                    <a:pt x="8688" y="6051"/>
                    <a:pt x="8770" y="5923"/>
                  </a:cubicBezTo>
                  <a:cubicBezTo>
                    <a:pt x="8797" y="5872"/>
                    <a:pt x="8825" y="5820"/>
                    <a:pt x="8852" y="5769"/>
                  </a:cubicBezTo>
                  <a:cubicBezTo>
                    <a:pt x="8879" y="5333"/>
                    <a:pt x="8907" y="4898"/>
                    <a:pt x="8934" y="4462"/>
                  </a:cubicBezTo>
                  <a:lnTo>
                    <a:pt x="9180" y="4385"/>
                  </a:lnTo>
                  <a:lnTo>
                    <a:pt x="10000" y="3385"/>
                  </a:lnTo>
                  <a:lnTo>
                    <a:pt x="10000" y="3154"/>
                  </a:lnTo>
                  <a:cubicBezTo>
                    <a:pt x="9945" y="2974"/>
                    <a:pt x="9891" y="2795"/>
                    <a:pt x="9836" y="2615"/>
                  </a:cubicBezTo>
                  <a:lnTo>
                    <a:pt x="9344" y="2462"/>
                  </a:lnTo>
                  <a:lnTo>
                    <a:pt x="8607" y="2077"/>
                  </a:lnTo>
                  <a:lnTo>
                    <a:pt x="7787" y="2000"/>
                  </a:lnTo>
                  <a:lnTo>
                    <a:pt x="7541" y="1923"/>
                  </a:lnTo>
                  <a:lnTo>
                    <a:pt x="7377" y="1692"/>
                  </a:lnTo>
                  <a:lnTo>
                    <a:pt x="6721" y="1462"/>
                  </a:lnTo>
                  <a:lnTo>
                    <a:pt x="6148" y="1154"/>
                  </a:lnTo>
                  <a:cubicBezTo>
                    <a:pt x="6121" y="1051"/>
                    <a:pt x="6093" y="949"/>
                    <a:pt x="6066" y="846"/>
                  </a:cubicBezTo>
                  <a:lnTo>
                    <a:pt x="5820" y="231"/>
                  </a:lnTo>
                  <a:lnTo>
                    <a:pt x="5738" y="231"/>
                  </a:lnTo>
                  <a:lnTo>
                    <a:pt x="5410" y="692"/>
                  </a:lnTo>
                  <a:lnTo>
                    <a:pt x="5082" y="846"/>
                  </a:lnTo>
                  <a:cubicBezTo>
                    <a:pt x="5055" y="820"/>
                    <a:pt x="5027" y="795"/>
                    <a:pt x="5000" y="769"/>
                  </a:cubicBezTo>
                  <a:lnTo>
                    <a:pt x="4590" y="769"/>
                  </a:lnTo>
                  <a:lnTo>
                    <a:pt x="4426" y="846"/>
                  </a:lnTo>
                  <a:lnTo>
                    <a:pt x="4344" y="846"/>
                  </a:lnTo>
                  <a:lnTo>
                    <a:pt x="3934" y="923"/>
                  </a:lnTo>
                  <a:lnTo>
                    <a:pt x="3689" y="1000"/>
                  </a:lnTo>
                  <a:lnTo>
                    <a:pt x="3443" y="769"/>
                  </a:lnTo>
                  <a:cubicBezTo>
                    <a:pt x="3470" y="615"/>
                    <a:pt x="3498" y="462"/>
                    <a:pt x="3525" y="308"/>
                  </a:cubicBezTo>
                  <a:lnTo>
                    <a:pt x="3361" y="77"/>
                  </a:lnTo>
                  <a:lnTo>
                    <a:pt x="3197" y="0"/>
                  </a:lnTo>
                  <a:cubicBezTo>
                    <a:pt x="3224" y="51"/>
                    <a:pt x="3252" y="103"/>
                    <a:pt x="3279" y="154"/>
                  </a:cubicBezTo>
                  <a:lnTo>
                    <a:pt x="2869" y="308"/>
                  </a:lnTo>
                  <a:lnTo>
                    <a:pt x="2213" y="308"/>
                  </a:lnTo>
                  <a:lnTo>
                    <a:pt x="2459" y="692"/>
                  </a:lnTo>
                  <a:cubicBezTo>
                    <a:pt x="2486" y="769"/>
                    <a:pt x="2514" y="846"/>
                    <a:pt x="2541" y="923"/>
                  </a:cubicBezTo>
                  <a:lnTo>
                    <a:pt x="1803" y="1154"/>
                  </a:lnTo>
                  <a:lnTo>
                    <a:pt x="1557" y="923"/>
                  </a:lnTo>
                  <a:lnTo>
                    <a:pt x="902" y="1077"/>
                  </a:lnTo>
                  <a:cubicBezTo>
                    <a:pt x="929" y="1205"/>
                    <a:pt x="957" y="1334"/>
                    <a:pt x="984" y="1462"/>
                  </a:cubicBezTo>
                  <a:cubicBezTo>
                    <a:pt x="929" y="1744"/>
                    <a:pt x="875" y="2026"/>
                    <a:pt x="820" y="2308"/>
                  </a:cubicBezTo>
                  <a:cubicBezTo>
                    <a:pt x="765" y="2257"/>
                    <a:pt x="711" y="2205"/>
                    <a:pt x="656" y="2154"/>
                  </a:cubicBezTo>
                  <a:cubicBezTo>
                    <a:pt x="629" y="2231"/>
                    <a:pt x="601" y="2308"/>
                    <a:pt x="574" y="2385"/>
                  </a:cubicBezTo>
                  <a:lnTo>
                    <a:pt x="328" y="2538"/>
                  </a:lnTo>
                  <a:lnTo>
                    <a:pt x="0" y="3000"/>
                  </a:lnTo>
                  <a:lnTo>
                    <a:pt x="0" y="3462"/>
                  </a:lnTo>
                  <a:lnTo>
                    <a:pt x="328" y="3692"/>
                  </a:lnTo>
                  <a:lnTo>
                    <a:pt x="738" y="3538"/>
                  </a:lnTo>
                  <a:cubicBezTo>
                    <a:pt x="765" y="3692"/>
                    <a:pt x="793" y="3846"/>
                    <a:pt x="820" y="4000"/>
                  </a:cubicBezTo>
                  <a:lnTo>
                    <a:pt x="984" y="4000"/>
                  </a:lnTo>
                  <a:lnTo>
                    <a:pt x="984" y="4077"/>
                  </a:lnTo>
                  <a:cubicBezTo>
                    <a:pt x="1311" y="4000"/>
                    <a:pt x="1240" y="3993"/>
                    <a:pt x="1311" y="4000"/>
                  </a:cubicBezTo>
                  <a:cubicBezTo>
                    <a:pt x="1382" y="4007"/>
                    <a:pt x="1378" y="4124"/>
                    <a:pt x="1411" y="4121"/>
                  </a:cubicBezTo>
                  <a:cubicBezTo>
                    <a:pt x="1487" y="4047"/>
                    <a:pt x="1644" y="3939"/>
                    <a:pt x="1720" y="3900"/>
                  </a:cubicBezTo>
                  <a:cubicBezTo>
                    <a:pt x="1796" y="3861"/>
                    <a:pt x="1787" y="3873"/>
                    <a:pt x="1869" y="3886"/>
                  </a:cubicBezTo>
                  <a:cubicBezTo>
                    <a:pt x="1951" y="3899"/>
                    <a:pt x="2074" y="3776"/>
                    <a:pt x="2131" y="3846"/>
                  </a:cubicBezTo>
                  <a:cubicBezTo>
                    <a:pt x="2188" y="3916"/>
                    <a:pt x="2186" y="4154"/>
                    <a:pt x="2213" y="4308"/>
                  </a:cubicBezTo>
                  <a:lnTo>
                    <a:pt x="2705" y="4538"/>
                  </a:lnTo>
                  <a:lnTo>
                    <a:pt x="3279" y="4769"/>
                  </a:lnTo>
                  <a:lnTo>
                    <a:pt x="3279" y="5077"/>
                  </a:lnTo>
                  <a:lnTo>
                    <a:pt x="3443" y="5308"/>
                  </a:lnTo>
                  <a:cubicBezTo>
                    <a:pt x="3525" y="5308"/>
                    <a:pt x="3934" y="5385"/>
                    <a:pt x="3934" y="5385"/>
                  </a:cubicBezTo>
                  <a:lnTo>
                    <a:pt x="3934" y="5692"/>
                  </a:lnTo>
                  <a:lnTo>
                    <a:pt x="3934" y="6231"/>
                  </a:lnTo>
                </a:path>
              </a:pathLst>
            </a:custGeom>
            <a:solidFill>
              <a:srgbClr val="00B9E4"/>
            </a:solidFill>
            <a:ln w="9525" cap="flat" cmpd="sng">
              <a:solidFill>
                <a:schemeClr val="bg1"/>
              </a:solidFill>
              <a:prstDash val="solid"/>
              <a:round/>
              <a:headEnd type="none" w="med" len="med"/>
              <a:tailEnd type="none" w="med" len="med"/>
            </a:ln>
            <a:effectLst/>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237" name="AR"/>
            <p:cNvSpPr>
              <a:spLocks/>
            </p:cNvSpPr>
            <p:nvPr/>
          </p:nvSpPr>
          <p:spPr bwMode="auto">
            <a:xfrm>
              <a:off x="2363919" y="4923533"/>
              <a:ext cx="465867" cy="947731"/>
            </a:xfrm>
            <a:custGeom>
              <a:avLst/>
              <a:gdLst>
                <a:gd name="T0" fmla="*/ 16966267 w 10000"/>
                <a:gd name="T1" fmla="*/ 26491840 h 10001"/>
                <a:gd name="T2" fmla="*/ 17326608 w 10000"/>
                <a:gd name="T3" fmla="*/ 22917709 h 10001"/>
                <a:gd name="T4" fmla="*/ 18049467 w 10000"/>
                <a:gd name="T5" fmla="*/ 20762389 h 10001"/>
                <a:gd name="T6" fmla="*/ 20576161 w 10000"/>
                <a:gd name="T7" fmla="*/ 15751442 h 10001"/>
                <a:gd name="T8" fmla="*/ 21657137 w 10000"/>
                <a:gd name="T9" fmla="*/ 14323533 h 10001"/>
                <a:gd name="T10" fmla="*/ 22379996 w 10000"/>
                <a:gd name="T11" fmla="*/ 10021991 h 10001"/>
                <a:gd name="T12" fmla="*/ 22019654 w 10000"/>
                <a:gd name="T13" fmla="*/ 9312585 h 10001"/>
                <a:gd name="T14" fmla="*/ 20936502 w 10000"/>
                <a:gd name="T15" fmla="*/ 10749402 h 10001"/>
                <a:gd name="T16" fmla="*/ 18770102 w 10000"/>
                <a:gd name="T17" fmla="*/ 12886716 h 10001"/>
                <a:gd name="T18" fmla="*/ 16966267 w 10000"/>
                <a:gd name="T19" fmla="*/ 12177216 h 10001"/>
                <a:gd name="T20" fmla="*/ 17326608 w 10000"/>
                <a:gd name="T21" fmla="*/ 7157265 h 10001"/>
                <a:gd name="T22" fmla="*/ 16243409 w 10000"/>
                <a:gd name="T23" fmla="*/ 5729451 h 10001"/>
                <a:gd name="T24" fmla="*/ 14077009 w 10000"/>
                <a:gd name="T25" fmla="*/ 4301542 h 10001"/>
                <a:gd name="T26" fmla="*/ 12993809 w 10000"/>
                <a:gd name="T27" fmla="*/ 2864726 h 10001"/>
                <a:gd name="T28" fmla="*/ 11912880 w 10000"/>
                <a:gd name="T29" fmla="*/ 0 h 10001"/>
                <a:gd name="T30" fmla="*/ 10467116 w 10000"/>
                <a:gd name="T31" fmla="*/ 727411 h 10001"/>
                <a:gd name="T32" fmla="*/ 10106822 w 10000"/>
                <a:gd name="T33" fmla="*/ 1427909 h 10001"/>
                <a:gd name="T34" fmla="*/ 8302987 w 10000"/>
                <a:gd name="T35" fmla="*/ 727411 h 10001"/>
                <a:gd name="T36" fmla="*/ 7580128 w 10000"/>
                <a:gd name="T37" fmla="*/ 727411 h 10001"/>
                <a:gd name="T38" fmla="*/ 7112351 w 10000"/>
                <a:gd name="T39" fmla="*/ 1176404 h 10001"/>
                <a:gd name="T40" fmla="*/ 7219787 w 10000"/>
                <a:gd name="T41" fmla="*/ 2155225 h 10001"/>
                <a:gd name="T42" fmla="*/ 6859446 w 10000"/>
                <a:gd name="T43" fmla="*/ 5010948 h 10001"/>
                <a:gd name="T44" fmla="*/ 5776293 w 10000"/>
                <a:gd name="T45" fmla="*/ 7157265 h 10001"/>
                <a:gd name="T46" fmla="*/ 5776293 w 10000"/>
                <a:gd name="T47" fmla="*/ 11449899 h 10001"/>
                <a:gd name="T48" fmla="*/ 5053387 w 10000"/>
                <a:gd name="T49" fmla="*/ 14323533 h 10001"/>
                <a:gd name="T50" fmla="*/ 3970235 w 10000"/>
                <a:gd name="T51" fmla="*/ 23627115 h 10001"/>
                <a:gd name="T52" fmla="*/ 4330529 w 10000"/>
                <a:gd name="T53" fmla="*/ 30784380 h 10001"/>
                <a:gd name="T54" fmla="*/ 2166400 w 10000"/>
                <a:gd name="T55" fmla="*/ 40105873 h 10001"/>
                <a:gd name="T56" fmla="*/ 1803835 w 10000"/>
                <a:gd name="T57" fmla="*/ 50127863 h 10001"/>
                <a:gd name="T58" fmla="*/ 1803835 w 10000"/>
                <a:gd name="T59" fmla="*/ 55147909 h 10001"/>
                <a:gd name="T60" fmla="*/ 1443494 w 10000"/>
                <a:gd name="T61" fmla="*/ 60158856 h 10001"/>
                <a:gd name="T62" fmla="*/ 2166400 w 10000"/>
                <a:gd name="T63" fmla="*/ 63032585 h 10001"/>
                <a:gd name="T64" fmla="*/ 1083200 w 10000"/>
                <a:gd name="T65" fmla="*/ 74482389 h 10001"/>
                <a:gd name="T66" fmla="*/ 0 w 10000"/>
                <a:gd name="T67" fmla="*/ 79493432 h 10001"/>
                <a:gd name="T68" fmla="*/ 360341 w 10000"/>
                <a:gd name="T69" fmla="*/ 83076566 h 10001"/>
                <a:gd name="T70" fmla="*/ 1533047 w 10000"/>
                <a:gd name="T71" fmla="*/ 88437763 h 10001"/>
                <a:gd name="T72" fmla="*/ 5315234 w 10000"/>
                <a:gd name="T73" fmla="*/ 89802748 h 10001"/>
                <a:gd name="T74" fmla="*/ 4883317 w 10000"/>
                <a:gd name="T75" fmla="*/ 87854014 h 10001"/>
                <a:gd name="T76" fmla="*/ 5053387 w 10000"/>
                <a:gd name="T77" fmla="*/ 84504380 h 10001"/>
                <a:gd name="T78" fmla="*/ 6044858 w 10000"/>
                <a:gd name="T79" fmla="*/ 81558915 h 10001"/>
                <a:gd name="T80" fmla="*/ 7083257 w 10000"/>
                <a:gd name="T81" fmla="*/ 77086702 h 10001"/>
                <a:gd name="T82" fmla="*/ 8208987 w 10000"/>
                <a:gd name="T83" fmla="*/ 74931477 h 10001"/>
                <a:gd name="T84" fmla="*/ 8663281 w 10000"/>
                <a:gd name="T85" fmla="*/ 70899255 h 10001"/>
                <a:gd name="T86" fmla="*/ 7580128 w 10000"/>
                <a:gd name="T87" fmla="*/ 69471441 h 10001"/>
                <a:gd name="T88" fmla="*/ 6859446 w 10000"/>
                <a:gd name="T89" fmla="*/ 66597713 h 10001"/>
                <a:gd name="T90" fmla="*/ 8457398 w 10000"/>
                <a:gd name="T91" fmla="*/ 65196812 h 10001"/>
                <a:gd name="T92" fmla="*/ 8887092 w 10000"/>
                <a:gd name="T93" fmla="*/ 62574589 h 10001"/>
                <a:gd name="T94" fmla="*/ 9746480 w 10000"/>
                <a:gd name="T95" fmla="*/ 59449451 h 10001"/>
                <a:gd name="T96" fmla="*/ 10697645 w 10000"/>
                <a:gd name="T97" fmla="*/ 58281954 h 10001"/>
                <a:gd name="T98" fmla="*/ 10829680 w 10000"/>
                <a:gd name="T99" fmla="*/ 55147909 h 10001"/>
                <a:gd name="T100" fmla="*/ 12168009 w 10000"/>
                <a:gd name="T101" fmla="*/ 53172262 h 10001"/>
                <a:gd name="T102" fmla="*/ 12031480 w 10000"/>
                <a:gd name="T103" fmla="*/ 51744353 h 10001"/>
                <a:gd name="T104" fmla="*/ 12273174 w 10000"/>
                <a:gd name="T105" fmla="*/ 50127863 h 10001"/>
                <a:gd name="T106" fmla="*/ 12993809 w 10000"/>
                <a:gd name="T107" fmla="*/ 47272140 h 10001"/>
                <a:gd name="T108" fmla="*/ 14743950 w 10000"/>
                <a:gd name="T109" fmla="*/ 47173396 h 10001"/>
                <a:gd name="T110" fmla="*/ 17324338 w 10000"/>
                <a:gd name="T111" fmla="*/ 45305496 h 10001"/>
                <a:gd name="T112" fmla="*/ 18409761 w 10000"/>
                <a:gd name="T113" fmla="*/ 40105873 h 10001"/>
                <a:gd name="T114" fmla="*/ 19130443 w 10000"/>
                <a:gd name="T115" fmla="*/ 36513831 h 10001"/>
                <a:gd name="T116" fmla="*/ 18409761 w 10000"/>
                <a:gd name="T117" fmla="*/ 33658108 h 10001"/>
                <a:gd name="T118" fmla="*/ 17326608 w 10000"/>
                <a:gd name="T119" fmla="*/ 31511791 h 10001"/>
                <a:gd name="T120" fmla="*/ 17290797 w 10000"/>
                <a:gd name="T121" fmla="*/ 31053795 h 10001"/>
                <a:gd name="T122" fmla="*/ 16966267 w 10000"/>
                <a:gd name="T123" fmla="*/ 30083882 h 10001"/>
                <a:gd name="T124" fmla="*/ 16966267 w 10000"/>
                <a:gd name="T125" fmla="*/ 26491840 h 10001"/>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0000" h="10001">
                  <a:moveTo>
                    <a:pt x="7581" y="2950"/>
                  </a:moveTo>
                  <a:cubicBezTo>
                    <a:pt x="7635" y="2818"/>
                    <a:pt x="7688" y="2685"/>
                    <a:pt x="7742" y="2552"/>
                  </a:cubicBezTo>
                  <a:lnTo>
                    <a:pt x="8065" y="2312"/>
                  </a:lnTo>
                  <a:lnTo>
                    <a:pt x="9194" y="1754"/>
                  </a:lnTo>
                  <a:lnTo>
                    <a:pt x="9677" y="1595"/>
                  </a:lnTo>
                  <a:lnTo>
                    <a:pt x="10000" y="1116"/>
                  </a:lnTo>
                  <a:lnTo>
                    <a:pt x="9839" y="1037"/>
                  </a:lnTo>
                  <a:lnTo>
                    <a:pt x="9355" y="1197"/>
                  </a:lnTo>
                  <a:lnTo>
                    <a:pt x="8387" y="1435"/>
                  </a:lnTo>
                  <a:lnTo>
                    <a:pt x="7581" y="1356"/>
                  </a:lnTo>
                  <a:cubicBezTo>
                    <a:pt x="7635" y="1170"/>
                    <a:pt x="7688" y="983"/>
                    <a:pt x="7742" y="797"/>
                  </a:cubicBezTo>
                  <a:lnTo>
                    <a:pt x="7258" y="638"/>
                  </a:lnTo>
                  <a:lnTo>
                    <a:pt x="6290" y="479"/>
                  </a:lnTo>
                  <a:lnTo>
                    <a:pt x="5806" y="319"/>
                  </a:lnTo>
                  <a:lnTo>
                    <a:pt x="5323" y="0"/>
                  </a:lnTo>
                  <a:lnTo>
                    <a:pt x="4677" y="81"/>
                  </a:lnTo>
                  <a:lnTo>
                    <a:pt x="4516" y="159"/>
                  </a:lnTo>
                  <a:lnTo>
                    <a:pt x="3710" y="81"/>
                  </a:lnTo>
                  <a:cubicBezTo>
                    <a:pt x="3387" y="81"/>
                    <a:pt x="3476" y="72"/>
                    <a:pt x="3387" y="81"/>
                  </a:cubicBezTo>
                  <a:cubicBezTo>
                    <a:pt x="3298" y="89"/>
                    <a:pt x="3178" y="131"/>
                    <a:pt x="3178" y="131"/>
                  </a:cubicBezTo>
                  <a:cubicBezTo>
                    <a:pt x="3339" y="211"/>
                    <a:pt x="3245" y="168"/>
                    <a:pt x="3226" y="240"/>
                  </a:cubicBezTo>
                  <a:cubicBezTo>
                    <a:pt x="3207" y="310"/>
                    <a:pt x="3065" y="558"/>
                    <a:pt x="3065" y="558"/>
                  </a:cubicBezTo>
                  <a:lnTo>
                    <a:pt x="2581" y="797"/>
                  </a:lnTo>
                  <a:lnTo>
                    <a:pt x="2581" y="1275"/>
                  </a:lnTo>
                  <a:lnTo>
                    <a:pt x="2258" y="1595"/>
                  </a:lnTo>
                  <a:lnTo>
                    <a:pt x="1774" y="2631"/>
                  </a:lnTo>
                  <a:cubicBezTo>
                    <a:pt x="1828" y="2896"/>
                    <a:pt x="1881" y="3163"/>
                    <a:pt x="1935" y="3428"/>
                  </a:cubicBezTo>
                  <a:lnTo>
                    <a:pt x="968" y="4466"/>
                  </a:lnTo>
                  <a:lnTo>
                    <a:pt x="806" y="5582"/>
                  </a:lnTo>
                  <a:lnTo>
                    <a:pt x="806" y="6141"/>
                  </a:lnTo>
                  <a:cubicBezTo>
                    <a:pt x="752" y="6327"/>
                    <a:pt x="699" y="6514"/>
                    <a:pt x="645" y="6699"/>
                  </a:cubicBezTo>
                  <a:lnTo>
                    <a:pt x="968" y="7019"/>
                  </a:lnTo>
                  <a:lnTo>
                    <a:pt x="484" y="8294"/>
                  </a:lnTo>
                  <a:lnTo>
                    <a:pt x="0" y="8852"/>
                  </a:lnTo>
                  <a:cubicBezTo>
                    <a:pt x="54" y="8985"/>
                    <a:pt x="47" y="9085"/>
                    <a:pt x="161" y="9251"/>
                  </a:cubicBezTo>
                  <a:cubicBezTo>
                    <a:pt x="275" y="9417"/>
                    <a:pt x="316" y="9724"/>
                    <a:pt x="685" y="9848"/>
                  </a:cubicBezTo>
                  <a:cubicBezTo>
                    <a:pt x="1054" y="9973"/>
                    <a:pt x="2126" y="10011"/>
                    <a:pt x="2375" y="10000"/>
                  </a:cubicBezTo>
                  <a:cubicBezTo>
                    <a:pt x="2624" y="9989"/>
                    <a:pt x="2202" y="9881"/>
                    <a:pt x="2182" y="9783"/>
                  </a:cubicBezTo>
                  <a:cubicBezTo>
                    <a:pt x="2163" y="9685"/>
                    <a:pt x="2172" y="9527"/>
                    <a:pt x="2258" y="9410"/>
                  </a:cubicBezTo>
                  <a:cubicBezTo>
                    <a:pt x="2345" y="9293"/>
                    <a:pt x="2550" y="9220"/>
                    <a:pt x="2701" y="9082"/>
                  </a:cubicBezTo>
                  <a:cubicBezTo>
                    <a:pt x="2852" y="8944"/>
                    <a:pt x="3004" y="8707"/>
                    <a:pt x="3165" y="8584"/>
                  </a:cubicBezTo>
                  <a:cubicBezTo>
                    <a:pt x="3326" y="8461"/>
                    <a:pt x="3550" y="8459"/>
                    <a:pt x="3668" y="8344"/>
                  </a:cubicBezTo>
                  <a:cubicBezTo>
                    <a:pt x="3786" y="8229"/>
                    <a:pt x="3918" y="7996"/>
                    <a:pt x="3871" y="7895"/>
                  </a:cubicBezTo>
                  <a:cubicBezTo>
                    <a:pt x="3824" y="7794"/>
                    <a:pt x="3548" y="7789"/>
                    <a:pt x="3387" y="7736"/>
                  </a:cubicBezTo>
                  <a:cubicBezTo>
                    <a:pt x="3280" y="7629"/>
                    <a:pt x="3000" y="7495"/>
                    <a:pt x="3065" y="7416"/>
                  </a:cubicBezTo>
                  <a:cubicBezTo>
                    <a:pt x="3130" y="7337"/>
                    <a:pt x="3541" y="7312"/>
                    <a:pt x="3779" y="7260"/>
                  </a:cubicBezTo>
                  <a:cubicBezTo>
                    <a:pt x="3810" y="7153"/>
                    <a:pt x="3875" y="7075"/>
                    <a:pt x="3971" y="6968"/>
                  </a:cubicBezTo>
                  <a:cubicBezTo>
                    <a:pt x="4067" y="6861"/>
                    <a:pt x="4220" y="6700"/>
                    <a:pt x="4355" y="6620"/>
                  </a:cubicBezTo>
                  <a:cubicBezTo>
                    <a:pt x="4490" y="6540"/>
                    <a:pt x="4699" y="6570"/>
                    <a:pt x="4780" y="6490"/>
                  </a:cubicBezTo>
                  <a:cubicBezTo>
                    <a:pt x="4861" y="6410"/>
                    <a:pt x="4853" y="6226"/>
                    <a:pt x="4839" y="6141"/>
                  </a:cubicBezTo>
                  <a:cubicBezTo>
                    <a:pt x="5323" y="5822"/>
                    <a:pt x="5348" y="5984"/>
                    <a:pt x="5437" y="5921"/>
                  </a:cubicBezTo>
                  <a:cubicBezTo>
                    <a:pt x="5526" y="5858"/>
                    <a:pt x="5368" y="5818"/>
                    <a:pt x="5376" y="5762"/>
                  </a:cubicBezTo>
                  <a:cubicBezTo>
                    <a:pt x="5384" y="5706"/>
                    <a:pt x="5412" y="5665"/>
                    <a:pt x="5484" y="5582"/>
                  </a:cubicBezTo>
                  <a:cubicBezTo>
                    <a:pt x="5556" y="5499"/>
                    <a:pt x="5622" y="5319"/>
                    <a:pt x="5806" y="5264"/>
                  </a:cubicBezTo>
                  <a:cubicBezTo>
                    <a:pt x="5990" y="5209"/>
                    <a:pt x="6266" y="5289"/>
                    <a:pt x="6588" y="5253"/>
                  </a:cubicBezTo>
                  <a:cubicBezTo>
                    <a:pt x="6910" y="5217"/>
                    <a:pt x="7468" y="5176"/>
                    <a:pt x="7741" y="5045"/>
                  </a:cubicBezTo>
                  <a:cubicBezTo>
                    <a:pt x="8014" y="4914"/>
                    <a:pt x="8092" y="4629"/>
                    <a:pt x="8226" y="4466"/>
                  </a:cubicBezTo>
                  <a:cubicBezTo>
                    <a:pt x="8361" y="4303"/>
                    <a:pt x="8441" y="4199"/>
                    <a:pt x="8548" y="4066"/>
                  </a:cubicBezTo>
                  <a:lnTo>
                    <a:pt x="8226" y="3748"/>
                  </a:lnTo>
                  <a:cubicBezTo>
                    <a:pt x="8065" y="3668"/>
                    <a:pt x="7825" y="3557"/>
                    <a:pt x="7742" y="3509"/>
                  </a:cubicBezTo>
                  <a:cubicBezTo>
                    <a:pt x="7659" y="3461"/>
                    <a:pt x="7731" y="3475"/>
                    <a:pt x="7726" y="3458"/>
                  </a:cubicBezTo>
                  <a:lnTo>
                    <a:pt x="7581" y="3350"/>
                  </a:lnTo>
                  <a:lnTo>
                    <a:pt x="7581" y="2950"/>
                  </a:ln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238" name="CL"/>
            <p:cNvSpPr>
              <a:spLocks/>
            </p:cNvSpPr>
            <p:nvPr/>
          </p:nvSpPr>
          <p:spPr bwMode="auto">
            <a:xfrm>
              <a:off x="2300420" y="4823522"/>
              <a:ext cx="242885" cy="1179503"/>
            </a:xfrm>
            <a:custGeom>
              <a:avLst/>
              <a:gdLst>
                <a:gd name="T0" fmla="*/ 2147483647 w 14463"/>
                <a:gd name="T1" fmla="*/ 2147483647 h 11339"/>
                <a:gd name="T2" fmla="*/ 2147483647 w 14463"/>
                <a:gd name="T3" fmla="*/ 0 h 11339"/>
                <a:gd name="T4" fmla="*/ 2147483647 w 14463"/>
                <a:gd name="T5" fmla="*/ 2147483647 h 11339"/>
                <a:gd name="T6" fmla="*/ 2147483647 w 14463"/>
                <a:gd name="T7" fmla="*/ 2147483647 h 11339"/>
                <a:gd name="T8" fmla="*/ 2147483647 w 14463"/>
                <a:gd name="T9" fmla="*/ 2147483647 h 11339"/>
                <a:gd name="T10" fmla="*/ 2147483647 w 14463"/>
                <a:gd name="T11" fmla="*/ 2147483647 h 11339"/>
                <a:gd name="T12" fmla="*/ 2147483647 w 14463"/>
                <a:gd name="T13" fmla="*/ 2147483647 h 11339"/>
                <a:gd name="T14" fmla="*/ 2147483647 w 14463"/>
                <a:gd name="T15" fmla="*/ 2147483647 h 11339"/>
                <a:gd name="T16" fmla="*/ 2147483647 w 14463"/>
                <a:gd name="T17" fmla="*/ 2147483647 h 11339"/>
                <a:gd name="T18" fmla="*/ 2147483647 w 14463"/>
                <a:gd name="T19" fmla="*/ 2147483647 h 11339"/>
                <a:gd name="T20" fmla="*/ 2147483647 w 14463"/>
                <a:gd name="T21" fmla="*/ 2147483647 h 11339"/>
                <a:gd name="T22" fmla="*/ 2147483647 w 14463"/>
                <a:gd name="T23" fmla="*/ 2147483647 h 11339"/>
                <a:gd name="T24" fmla="*/ 2147483647 w 14463"/>
                <a:gd name="T25" fmla="*/ 2147483647 h 11339"/>
                <a:gd name="T26" fmla="*/ 2147483647 w 14463"/>
                <a:gd name="T27" fmla="*/ 2147483647 h 11339"/>
                <a:gd name="T28" fmla="*/ 2147483647 w 14463"/>
                <a:gd name="T29" fmla="*/ 2147483647 h 11339"/>
                <a:gd name="T30" fmla="*/ 2147483647 w 14463"/>
                <a:gd name="T31" fmla="*/ 2147483647 h 11339"/>
                <a:gd name="T32" fmla="*/ 2147483647 w 14463"/>
                <a:gd name="T33" fmla="*/ 2147483647 h 11339"/>
                <a:gd name="T34" fmla="*/ 2147483647 w 14463"/>
                <a:gd name="T35" fmla="*/ 2147483647 h 11339"/>
                <a:gd name="T36" fmla="*/ 2147483647 w 14463"/>
                <a:gd name="T37" fmla="*/ 2147483647 h 11339"/>
                <a:gd name="T38" fmla="*/ 2147483647 w 14463"/>
                <a:gd name="T39" fmla="*/ 2147483647 h 11339"/>
                <a:gd name="T40" fmla="*/ 2147483647 w 14463"/>
                <a:gd name="T41" fmla="*/ 2147483647 h 11339"/>
                <a:gd name="T42" fmla="*/ 2147483647 w 14463"/>
                <a:gd name="T43" fmla="*/ 2147483647 h 11339"/>
                <a:gd name="T44" fmla="*/ 2147483647 w 14463"/>
                <a:gd name="T45" fmla="*/ 2147483647 h 11339"/>
                <a:gd name="T46" fmla="*/ 1981509999 w 14463"/>
                <a:gd name="T47" fmla="*/ 2147483647 h 11339"/>
                <a:gd name="T48" fmla="*/ 2004313902 w 14463"/>
                <a:gd name="T49" fmla="*/ 2147483647 h 11339"/>
                <a:gd name="T50" fmla="*/ 2084943939 w 14463"/>
                <a:gd name="T51" fmla="*/ 2147483647 h 11339"/>
                <a:gd name="T52" fmla="*/ 2039060011 w 14463"/>
                <a:gd name="T53" fmla="*/ 2147483647 h 11339"/>
                <a:gd name="T54" fmla="*/ 1901151566 w 14463"/>
                <a:gd name="T55" fmla="*/ 2147483647 h 11339"/>
                <a:gd name="T56" fmla="*/ 2147483647 w 14463"/>
                <a:gd name="T57" fmla="*/ 2147483647 h 11339"/>
                <a:gd name="T58" fmla="*/ 2147483647 w 14463"/>
                <a:gd name="T59" fmla="*/ 2147483647 h 11339"/>
                <a:gd name="T60" fmla="*/ 2147483647 w 14463"/>
                <a:gd name="T61" fmla="*/ 2147483647 h 11339"/>
                <a:gd name="T62" fmla="*/ 1000663624 w 14463"/>
                <a:gd name="T63" fmla="*/ 2147483647 h 11339"/>
                <a:gd name="T64" fmla="*/ 0 w 14463"/>
                <a:gd name="T65" fmla="*/ 2147483647 h 11339"/>
                <a:gd name="T66" fmla="*/ 405041421 w 14463"/>
                <a:gd name="T67" fmla="*/ 2147483647 h 11339"/>
                <a:gd name="T68" fmla="*/ 564400887 w 14463"/>
                <a:gd name="T69" fmla="*/ 2147483647 h 11339"/>
                <a:gd name="T70" fmla="*/ 1260736588 w 14463"/>
                <a:gd name="T71" fmla="*/ 2147483647 h 11339"/>
                <a:gd name="T72" fmla="*/ 719682527 w 14463"/>
                <a:gd name="T73" fmla="*/ 2147483647 h 11339"/>
                <a:gd name="T74" fmla="*/ 1112781475 w 14463"/>
                <a:gd name="T75" fmla="*/ 2147483647 h 11339"/>
                <a:gd name="T76" fmla="*/ 1563706825 w 14463"/>
                <a:gd name="T77" fmla="*/ 2147483647 h 11339"/>
                <a:gd name="T78" fmla="*/ 1651120182 w 14463"/>
                <a:gd name="T79" fmla="*/ 2147483647 h 11339"/>
                <a:gd name="T80" fmla="*/ 2142222347 w 14463"/>
                <a:gd name="T81" fmla="*/ 2147483647 h 11339"/>
                <a:gd name="T82" fmla="*/ 2147483647 w 14463"/>
                <a:gd name="T83" fmla="*/ 2147483647 h 11339"/>
                <a:gd name="T84" fmla="*/ 2147483647 w 14463"/>
                <a:gd name="T85" fmla="*/ 2147483647 h 1133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4463" h="11339">
                  <a:moveTo>
                    <a:pt x="8188" y="209"/>
                  </a:moveTo>
                  <a:lnTo>
                    <a:pt x="8780" y="0"/>
                  </a:lnTo>
                  <a:lnTo>
                    <a:pt x="10217" y="207"/>
                  </a:lnTo>
                  <a:cubicBezTo>
                    <a:pt x="10556" y="264"/>
                    <a:pt x="10640" y="126"/>
                    <a:pt x="10761" y="229"/>
                  </a:cubicBezTo>
                  <a:cubicBezTo>
                    <a:pt x="10936" y="271"/>
                    <a:pt x="11461" y="322"/>
                    <a:pt x="11696" y="417"/>
                  </a:cubicBezTo>
                  <a:cubicBezTo>
                    <a:pt x="11902" y="494"/>
                    <a:pt x="11642" y="593"/>
                    <a:pt x="11730" y="676"/>
                  </a:cubicBezTo>
                  <a:cubicBezTo>
                    <a:pt x="11818" y="759"/>
                    <a:pt x="12063" y="841"/>
                    <a:pt x="12227" y="913"/>
                  </a:cubicBezTo>
                  <a:lnTo>
                    <a:pt x="12983" y="1126"/>
                  </a:lnTo>
                  <a:lnTo>
                    <a:pt x="12748" y="1307"/>
                  </a:lnTo>
                  <a:cubicBezTo>
                    <a:pt x="12663" y="1515"/>
                    <a:pt x="11910" y="1697"/>
                    <a:pt x="11825" y="1905"/>
                  </a:cubicBezTo>
                  <a:lnTo>
                    <a:pt x="10725" y="2530"/>
                  </a:lnTo>
                  <a:lnTo>
                    <a:pt x="10429" y="2947"/>
                  </a:lnTo>
                  <a:cubicBezTo>
                    <a:pt x="10471" y="3165"/>
                    <a:pt x="10514" y="3383"/>
                    <a:pt x="10556" y="3601"/>
                  </a:cubicBezTo>
                  <a:lnTo>
                    <a:pt x="10852" y="3839"/>
                  </a:lnTo>
                  <a:lnTo>
                    <a:pt x="10345" y="3839"/>
                  </a:lnTo>
                  <a:lnTo>
                    <a:pt x="11191" y="4197"/>
                  </a:lnTo>
                  <a:cubicBezTo>
                    <a:pt x="11149" y="4405"/>
                    <a:pt x="11106" y="4613"/>
                    <a:pt x="11064" y="4821"/>
                  </a:cubicBezTo>
                  <a:lnTo>
                    <a:pt x="10599" y="5030"/>
                  </a:lnTo>
                  <a:lnTo>
                    <a:pt x="9456" y="5298"/>
                  </a:lnTo>
                  <a:lnTo>
                    <a:pt x="8822" y="6012"/>
                  </a:lnTo>
                  <a:lnTo>
                    <a:pt x="8272" y="6161"/>
                  </a:lnTo>
                  <a:lnTo>
                    <a:pt x="8526" y="6429"/>
                  </a:lnTo>
                  <a:lnTo>
                    <a:pt x="8145" y="7084"/>
                  </a:lnTo>
                  <a:lnTo>
                    <a:pt x="7299" y="7768"/>
                  </a:lnTo>
                  <a:lnTo>
                    <a:pt x="7383" y="8155"/>
                  </a:lnTo>
                  <a:lnTo>
                    <a:pt x="7680" y="8393"/>
                  </a:lnTo>
                  <a:cubicBezTo>
                    <a:pt x="7624" y="8571"/>
                    <a:pt x="7567" y="8750"/>
                    <a:pt x="7511" y="8928"/>
                  </a:cubicBezTo>
                  <a:lnTo>
                    <a:pt x="7003" y="9465"/>
                  </a:lnTo>
                  <a:lnTo>
                    <a:pt x="10190" y="10380"/>
                  </a:lnTo>
                  <a:cubicBezTo>
                    <a:pt x="10685" y="10621"/>
                    <a:pt x="15360" y="10855"/>
                    <a:pt x="14311" y="11050"/>
                  </a:cubicBezTo>
                  <a:cubicBezTo>
                    <a:pt x="11744" y="11422"/>
                    <a:pt x="9928" y="11345"/>
                    <a:pt x="8880" y="11304"/>
                  </a:cubicBezTo>
                  <a:lnTo>
                    <a:pt x="3686" y="10662"/>
                  </a:lnTo>
                  <a:lnTo>
                    <a:pt x="0" y="9499"/>
                  </a:lnTo>
                  <a:lnTo>
                    <a:pt x="1492" y="8492"/>
                  </a:lnTo>
                  <a:lnTo>
                    <a:pt x="2079" y="7943"/>
                  </a:lnTo>
                  <a:lnTo>
                    <a:pt x="4644" y="6748"/>
                  </a:lnTo>
                  <a:cubicBezTo>
                    <a:pt x="4630" y="6430"/>
                    <a:pt x="2665" y="7030"/>
                    <a:pt x="2651" y="6712"/>
                  </a:cubicBezTo>
                  <a:lnTo>
                    <a:pt x="4099" y="5323"/>
                  </a:lnTo>
                  <a:lnTo>
                    <a:pt x="5760" y="4554"/>
                  </a:lnTo>
                  <a:cubicBezTo>
                    <a:pt x="5651" y="3371"/>
                    <a:pt x="6192" y="4301"/>
                    <a:pt x="6082" y="3119"/>
                  </a:cubicBezTo>
                  <a:lnTo>
                    <a:pt x="7891" y="1548"/>
                  </a:lnTo>
                  <a:lnTo>
                    <a:pt x="8314" y="982"/>
                  </a:lnTo>
                  <a:lnTo>
                    <a:pt x="8188" y="209"/>
                  </a:lnTo>
                  <a:close/>
                </a:path>
              </a:pathLst>
            </a:custGeom>
            <a:solidFill>
              <a:schemeClr val="accent1"/>
            </a:solidFill>
            <a:ln w="9525" cap="flat" cmpd="sng">
              <a:solidFill>
                <a:schemeClr val="bg1"/>
              </a:solidFill>
              <a:prstDash val="solid"/>
              <a:round/>
              <a:headEnd type="none" w="med" len="med"/>
              <a:tailEnd type="none" w="med" len="med"/>
            </a:ln>
            <a:effectLst/>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239" name="PY"/>
            <p:cNvSpPr>
              <a:spLocks/>
            </p:cNvSpPr>
            <p:nvPr/>
          </p:nvSpPr>
          <p:spPr bwMode="auto">
            <a:xfrm>
              <a:off x="2613889" y="4875909"/>
              <a:ext cx="200023" cy="187323"/>
            </a:xfrm>
            <a:custGeom>
              <a:avLst/>
              <a:gdLst>
                <a:gd name="T0" fmla="*/ 2147483647 w 168"/>
                <a:gd name="T1" fmla="*/ 0 h 156"/>
                <a:gd name="T2" fmla="*/ 0 w 168"/>
                <a:gd name="T3" fmla="*/ 2147483647 h 156"/>
                <a:gd name="T4" fmla="*/ 0 w 168"/>
                <a:gd name="T5" fmla="*/ 2147483647 h 156"/>
                <a:gd name="T6" fmla="*/ 2147483647 w 168"/>
                <a:gd name="T7" fmla="*/ 2147483647 h 156"/>
                <a:gd name="T8" fmla="*/ 2147483647 w 168"/>
                <a:gd name="T9" fmla="*/ 2147483647 h 156"/>
                <a:gd name="T10" fmla="*/ 2147483647 w 168"/>
                <a:gd name="T11" fmla="*/ 2147483647 h 156"/>
                <a:gd name="T12" fmla="*/ 2147483647 w 168"/>
                <a:gd name="T13" fmla="*/ 2147483647 h 156"/>
                <a:gd name="T14" fmla="*/ 2147483647 w 168"/>
                <a:gd name="T15" fmla="*/ 2147483647 h 156"/>
                <a:gd name="T16" fmla="*/ 2147483647 w 168"/>
                <a:gd name="T17" fmla="*/ 2147483647 h 156"/>
                <a:gd name="T18" fmla="*/ 2147483647 w 168"/>
                <a:gd name="T19" fmla="*/ 2147483647 h 156"/>
                <a:gd name="T20" fmla="*/ 2147483647 w 168"/>
                <a:gd name="T21" fmla="*/ 2147483647 h 156"/>
                <a:gd name="T22" fmla="*/ 2147483647 w 168"/>
                <a:gd name="T23" fmla="*/ 2147483647 h 156"/>
                <a:gd name="T24" fmla="*/ 2147483647 w 168"/>
                <a:gd name="T25" fmla="*/ 2147483647 h 156"/>
                <a:gd name="T26" fmla="*/ 2147483647 w 168"/>
                <a:gd name="T27" fmla="*/ 2147483647 h 156"/>
                <a:gd name="T28" fmla="*/ 2147483647 w 168"/>
                <a:gd name="T29" fmla="*/ 2147483647 h 156"/>
                <a:gd name="T30" fmla="*/ 2147483647 w 168"/>
                <a:gd name="T31" fmla="*/ 2147483647 h 156"/>
                <a:gd name="T32" fmla="*/ 2147483647 w 168"/>
                <a:gd name="T33" fmla="*/ 2147483647 h 156"/>
                <a:gd name="T34" fmla="*/ 2147483647 w 168"/>
                <a:gd name="T35" fmla="*/ 2147483647 h 156"/>
                <a:gd name="T36" fmla="*/ 2147483647 w 168"/>
                <a:gd name="T37" fmla="*/ 0 h 156"/>
                <a:gd name="T38" fmla="*/ 2147483647 w 168"/>
                <a:gd name="T39" fmla="*/ 0 h 15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68" h="156">
                  <a:moveTo>
                    <a:pt x="48" y="0"/>
                  </a:moveTo>
                  <a:lnTo>
                    <a:pt x="0" y="36"/>
                  </a:lnTo>
                  <a:lnTo>
                    <a:pt x="0" y="48"/>
                  </a:lnTo>
                  <a:lnTo>
                    <a:pt x="18" y="72"/>
                  </a:lnTo>
                  <a:lnTo>
                    <a:pt x="36" y="84"/>
                  </a:lnTo>
                  <a:lnTo>
                    <a:pt x="72" y="96"/>
                  </a:lnTo>
                  <a:lnTo>
                    <a:pt x="90" y="108"/>
                  </a:lnTo>
                  <a:lnTo>
                    <a:pt x="84" y="150"/>
                  </a:lnTo>
                  <a:lnTo>
                    <a:pt x="114" y="156"/>
                  </a:lnTo>
                  <a:lnTo>
                    <a:pt x="150" y="138"/>
                  </a:lnTo>
                  <a:lnTo>
                    <a:pt x="168" y="126"/>
                  </a:lnTo>
                  <a:lnTo>
                    <a:pt x="162" y="114"/>
                  </a:lnTo>
                  <a:lnTo>
                    <a:pt x="162" y="90"/>
                  </a:lnTo>
                  <a:lnTo>
                    <a:pt x="144" y="84"/>
                  </a:lnTo>
                  <a:lnTo>
                    <a:pt x="120" y="54"/>
                  </a:lnTo>
                  <a:lnTo>
                    <a:pt x="108" y="42"/>
                  </a:lnTo>
                  <a:lnTo>
                    <a:pt x="90" y="12"/>
                  </a:lnTo>
                  <a:lnTo>
                    <a:pt x="90" y="6"/>
                  </a:lnTo>
                  <a:lnTo>
                    <a:pt x="78" y="0"/>
                  </a:lnTo>
                  <a:lnTo>
                    <a:pt x="48" y="0"/>
                  </a:ln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240" name="BO"/>
            <p:cNvSpPr>
              <a:spLocks/>
            </p:cNvSpPr>
            <p:nvPr/>
          </p:nvSpPr>
          <p:spPr bwMode="auto">
            <a:xfrm>
              <a:off x="2467106" y="4667947"/>
              <a:ext cx="259494" cy="287334"/>
            </a:xfrm>
            <a:custGeom>
              <a:avLst/>
              <a:gdLst>
                <a:gd name="T0" fmla="*/ 2147483647 w 10141"/>
                <a:gd name="T1" fmla="*/ 2147483647 h 10000"/>
                <a:gd name="T2" fmla="*/ 2147483647 w 10141"/>
                <a:gd name="T3" fmla="*/ 2147483647 h 10000"/>
                <a:gd name="T4" fmla="*/ 2147483647 w 10141"/>
                <a:gd name="T5" fmla="*/ 2147483647 h 10000"/>
                <a:gd name="T6" fmla="*/ 2147483647 w 10141"/>
                <a:gd name="T7" fmla="*/ 2147483647 h 10000"/>
                <a:gd name="T8" fmla="*/ 2147483647 w 10141"/>
                <a:gd name="T9" fmla="*/ 2147483647 h 10000"/>
                <a:gd name="T10" fmla="*/ 2147483647 w 10141"/>
                <a:gd name="T11" fmla="*/ 2147483647 h 10000"/>
                <a:gd name="T12" fmla="*/ 2147483647 w 10141"/>
                <a:gd name="T13" fmla="*/ 2147483647 h 10000"/>
                <a:gd name="T14" fmla="*/ 2147483647 w 10141"/>
                <a:gd name="T15" fmla="*/ 2147483647 h 10000"/>
                <a:gd name="T16" fmla="*/ 2147483647 w 10141"/>
                <a:gd name="T17" fmla="*/ 2147483647 h 10000"/>
                <a:gd name="T18" fmla="*/ 2147483647 w 10141"/>
                <a:gd name="T19" fmla="*/ 2147483647 h 10000"/>
                <a:gd name="T20" fmla="*/ 2147483647 w 10141"/>
                <a:gd name="T21" fmla="*/ 2147483647 h 10000"/>
                <a:gd name="T22" fmla="*/ 2147483647 w 10141"/>
                <a:gd name="T23" fmla="*/ 2147483647 h 10000"/>
                <a:gd name="T24" fmla="*/ 2147483647 w 10141"/>
                <a:gd name="T25" fmla="*/ 559694835 h 10000"/>
                <a:gd name="T26" fmla="*/ 2147483647 w 10141"/>
                <a:gd name="T27" fmla="*/ 0 h 10000"/>
                <a:gd name="T28" fmla="*/ 2147483647 w 10141"/>
                <a:gd name="T29" fmla="*/ 1679062236 h 10000"/>
                <a:gd name="T30" fmla="*/ 660320876 w 10141"/>
                <a:gd name="T31" fmla="*/ 2147483647 h 10000"/>
                <a:gd name="T32" fmla="*/ 1529502540 w 10141"/>
                <a:gd name="T33" fmla="*/ 2147483647 h 10000"/>
                <a:gd name="T34" fmla="*/ 928639091 w 10141"/>
                <a:gd name="T35" fmla="*/ 2147483647 h 10000"/>
                <a:gd name="T36" fmla="*/ 437003296 w 10141"/>
                <a:gd name="T37" fmla="*/ 2147483647 h 10000"/>
                <a:gd name="T38" fmla="*/ 3210630 w 10141"/>
                <a:gd name="T39" fmla="*/ 2147483647 h 10000"/>
                <a:gd name="T40" fmla="*/ 716548999 w 10141"/>
                <a:gd name="T41" fmla="*/ 2147483647 h 10000"/>
                <a:gd name="T42" fmla="*/ 1963295205 w 10141"/>
                <a:gd name="T43" fmla="*/ 2147483647 h 10000"/>
                <a:gd name="T44" fmla="*/ 1529502540 w 10141"/>
                <a:gd name="T45" fmla="*/ 2147483647 h 10000"/>
                <a:gd name="T46" fmla="*/ 2147483647 w 10141"/>
                <a:gd name="T47" fmla="*/ 2147483647 h 10000"/>
                <a:gd name="T48" fmla="*/ 2147483647 w 10141"/>
                <a:gd name="T49" fmla="*/ 2147483647 h 10000"/>
                <a:gd name="T50" fmla="*/ 2147483647 w 10141"/>
                <a:gd name="T51" fmla="*/ 2147483647 h 10000"/>
                <a:gd name="T52" fmla="*/ 2147483647 w 10141"/>
                <a:gd name="T53" fmla="*/ 2147483647 h 10000"/>
                <a:gd name="T54" fmla="*/ 2147483647 w 10141"/>
                <a:gd name="T55" fmla="*/ 2147483647 h 10000"/>
                <a:gd name="T56" fmla="*/ 2147483647 w 10141"/>
                <a:gd name="T57" fmla="*/ 2147483647 h 10000"/>
                <a:gd name="T58" fmla="*/ 2147483647 w 10141"/>
                <a:gd name="T59" fmla="*/ 2147483647 h 10000"/>
                <a:gd name="T60" fmla="*/ 2147483647 w 10141"/>
                <a:gd name="T61" fmla="*/ 2147483647 h 1000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0141" h="10000">
                  <a:moveTo>
                    <a:pt x="6087" y="9512"/>
                  </a:moveTo>
                  <a:lnTo>
                    <a:pt x="6087" y="9024"/>
                  </a:lnTo>
                  <a:lnTo>
                    <a:pt x="8249" y="7561"/>
                  </a:lnTo>
                  <a:lnTo>
                    <a:pt x="9600" y="7561"/>
                  </a:lnTo>
                  <a:lnTo>
                    <a:pt x="10141" y="7805"/>
                  </a:lnTo>
                  <a:lnTo>
                    <a:pt x="10141" y="6098"/>
                  </a:lnTo>
                  <a:lnTo>
                    <a:pt x="10141" y="5122"/>
                  </a:lnTo>
                  <a:cubicBezTo>
                    <a:pt x="10141" y="5122"/>
                    <a:pt x="8790" y="4878"/>
                    <a:pt x="8519" y="4878"/>
                  </a:cubicBezTo>
                  <a:lnTo>
                    <a:pt x="7979" y="4146"/>
                  </a:lnTo>
                  <a:lnTo>
                    <a:pt x="7979" y="3171"/>
                  </a:lnTo>
                  <a:lnTo>
                    <a:pt x="6087" y="2439"/>
                  </a:lnTo>
                  <a:lnTo>
                    <a:pt x="4465" y="1707"/>
                  </a:lnTo>
                  <a:lnTo>
                    <a:pt x="4195" y="244"/>
                  </a:lnTo>
                  <a:lnTo>
                    <a:pt x="2573" y="0"/>
                  </a:lnTo>
                  <a:lnTo>
                    <a:pt x="1492" y="732"/>
                  </a:lnTo>
                  <a:lnTo>
                    <a:pt x="411" y="976"/>
                  </a:lnTo>
                  <a:cubicBezTo>
                    <a:pt x="591" y="1220"/>
                    <a:pt x="924" y="1260"/>
                    <a:pt x="952" y="1707"/>
                  </a:cubicBezTo>
                  <a:cubicBezTo>
                    <a:pt x="980" y="2154"/>
                    <a:pt x="691" y="3085"/>
                    <a:pt x="578" y="3659"/>
                  </a:cubicBezTo>
                  <a:cubicBezTo>
                    <a:pt x="465" y="4234"/>
                    <a:pt x="368" y="4765"/>
                    <a:pt x="272" y="5154"/>
                  </a:cubicBezTo>
                  <a:cubicBezTo>
                    <a:pt x="176" y="5543"/>
                    <a:pt x="-27" y="5787"/>
                    <a:pt x="2" y="5992"/>
                  </a:cubicBezTo>
                  <a:cubicBezTo>
                    <a:pt x="31" y="6197"/>
                    <a:pt x="243" y="6244"/>
                    <a:pt x="446" y="6383"/>
                  </a:cubicBezTo>
                  <a:cubicBezTo>
                    <a:pt x="649" y="6522"/>
                    <a:pt x="1138" y="6592"/>
                    <a:pt x="1222" y="6829"/>
                  </a:cubicBezTo>
                  <a:cubicBezTo>
                    <a:pt x="1306" y="7066"/>
                    <a:pt x="1042" y="7480"/>
                    <a:pt x="952" y="7805"/>
                  </a:cubicBezTo>
                  <a:lnTo>
                    <a:pt x="2033" y="9512"/>
                  </a:lnTo>
                  <a:lnTo>
                    <a:pt x="2303" y="10000"/>
                  </a:lnTo>
                  <a:lnTo>
                    <a:pt x="2844" y="9756"/>
                  </a:lnTo>
                  <a:lnTo>
                    <a:pt x="3384" y="9756"/>
                  </a:lnTo>
                  <a:lnTo>
                    <a:pt x="4736" y="10000"/>
                  </a:lnTo>
                  <a:lnTo>
                    <a:pt x="5006" y="9756"/>
                  </a:lnTo>
                  <a:lnTo>
                    <a:pt x="6087" y="9512"/>
                  </a:lnTo>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grpSp>
          <p:nvGrpSpPr>
            <p:cNvPr id="241" name="CO"/>
            <p:cNvGrpSpPr/>
            <p:nvPr/>
          </p:nvGrpSpPr>
          <p:grpSpPr>
            <a:xfrm>
              <a:off x="2233745" y="4129789"/>
              <a:ext cx="293684" cy="409572"/>
              <a:chOff x="2184960" y="2795467"/>
              <a:chExt cx="293687" cy="409575"/>
            </a:xfrm>
          </p:grpSpPr>
          <p:sp>
            <p:nvSpPr>
              <p:cNvPr id="283" name="Freeform 282"/>
              <p:cNvSpPr>
                <a:spLocks/>
              </p:cNvSpPr>
              <p:nvPr/>
            </p:nvSpPr>
            <p:spPr bwMode="auto">
              <a:xfrm>
                <a:off x="2184960" y="2795467"/>
                <a:ext cx="290512" cy="334723"/>
              </a:xfrm>
              <a:custGeom>
                <a:avLst/>
                <a:gdLst>
                  <a:gd name="T0" fmla="*/ 2147483647 w 37"/>
                  <a:gd name="T1" fmla="*/ 2147483647 h 41"/>
                  <a:gd name="T2" fmla="*/ 2147483647 w 37"/>
                  <a:gd name="T3" fmla="*/ 2147483647 h 41"/>
                  <a:gd name="T4" fmla="*/ 2147483647 w 37"/>
                  <a:gd name="T5" fmla="*/ 2147483647 h 41"/>
                  <a:gd name="T6" fmla="*/ 2147483647 w 37"/>
                  <a:gd name="T7" fmla="*/ 2147483647 h 41"/>
                  <a:gd name="T8" fmla="*/ 2147483647 w 37"/>
                  <a:gd name="T9" fmla="*/ 2147483647 h 41"/>
                  <a:gd name="T10" fmla="*/ 2147483647 w 37"/>
                  <a:gd name="T11" fmla="*/ 2147483647 h 41"/>
                  <a:gd name="T12" fmla="*/ 2147483647 w 37"/>
                  <a:gd name="T13" fmla="*/ 2147483647 h 41"/>
                  <a:gd name="T14" fmla="*/ 2147483647 w 37"/>
                  <a:gd name="T15" fmla="*/ 2147483647 h 41"/>
                  <a:gd name="T16" fmla="*/ 2147483647 w 37"/>
                  <a:gd name="T17" fmla="*/ 2147483647 h 41"/>
                  <a:gd name="T18" fmla="*/ 2147483647 w 37"/>
                  <a:gd name="T19" fmla="*/ 2147483647 h 41"/>
                  <a:gd name="T20" fmla="*/ 2147483647 w 37"/>
                  <a:gd name="T21" fmla="*/ 0 h 41"/>
                  <a:gd name="T22" fmla="*/ 2147483647 w 37"/>
                  <a:gd name="T23" fmla="*/ 2147483647 h 41"/>
                  <a:gd name="T24" fmla="*/ 2147483647 w 37"/>
                  <a:gd name="T25" fmla="*/ 2147483647 h 41"/>
                  <a:gd name="T26" fmla="*/ 2147483647 w 37"/>
                  <a:gd name="T27" fmla="*/ 2147483647 h 41"/>
                  <a:gd name="T28" fmla="*/ 2147483647 w 37"/>
                  <a:gd name="T29" fmla="*/ 2147483647 h 41"/>
                  <a:gd name="T30" fmla="*/ 2147483647 w 37"/>
                  <a:gd name="T31" fmla="*/ 2147483647 h 41"/>
                  <a:gd name="T32" fmla="*/ 2147483647 w 37"/>
                  <a:gd name="T33" fmla="*/ 2147483647 h 41"/>
                  <a:gd name="T34" fmla="*/ 2147483647 w 37"/>
                  <a:gd name="T35" fmla="*/ 2147483647 h 41"/>
                  <a:gd name="T36" fmla="*/ 2147483647 w 37"/>
                  <a:gd name="T37" fmla="*/ 2147483647 h 41"/>
                  <a:gd name="T38" fmla="*/ 2147483647 w 37"/>
                  <a:gd name="T39" fmla="*/ 2147483647 h 41"/>
                  <a:gd name="T40" fmla="*/ 2147483647 w 37"/>
                  <a:gd name="T41" fmla="*/ 2147483647 h 41"/>
                  <a:gd name="T42" fmla="*/ 2147483647 w 37"/>
                  <a:gd name="T43" fmla="*/ 2147483647 h 41"/>
                  <a:gd name="T44" fmla="*/ 0 w 37"/>
                  <a:gd name="T45" fmla="*/ 2147483647 h 41"/>
                  <a:gd name="T46" fmla="*/ 2147483647 w 37"/>
                  <a:gd name="T47" fmla="*/ 2147483647 h 41"/>
                  <a:gd name="T48" fmla="*/ 2147483647 w 37"/>
                  <a:gd name="T49" fmla="*/ 2147483647 h 4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connsiteX0" fmla="*/ 10000 w 10000"/>
                  <a:gd name="connsiteY0" fmla="*/ 8293 h 10046"/>
                  <a:gd name="connsiteX1" fmla="*/ 10000 w 10000"/>
                  <a:gd name="connsiteY1" fmla="*/ 8293 h 10046"/>
                  <a:gd name="connsiteX2" fmla="*/ 10000 w 10000"/>
                  <a:gd name="connsiteY2" fmla="*/ 6585 h 10046"/>
                  <a:gd name="connsiteX3" fmla="*/ 9459 w 10000"/>
                  <a:gd name="connsiteY3" fmla="*/ 5610 h 10046"/>
                  <a:gd name="connsiteX4" fmla="*/ 9730 w 10000"/>
                  <a:gd name="connsiteY4" fmla="*/ 5122 h 10046"/>
                  <a:gd name="connsiteX5" fmla="*/ 8378 w 10000"/>
                  <a:gd name="connsiteY5" fmla="*/ 4878 h 10046"/>
                  <a:gd name="connsiteX6" fmla="*/ 5676 w 10000"/>
                  <a:gd name="connsiteY6" fmla="*/ 3902 h 10046"/>
                  <a:gd name="connsiteX7" fmla="*/ 5135 w 10000"/>
                  <a:gd name="connsiteY7" fmla="*/ 2683 h 10046"/>
                  <a:gd name="connsiteX8" fmla="*/ 5405 w 10000"/>
                  <a:gd name="connsiteY8" fmla="*/ 732 h 10046"/>
                  <a:gd name="connsiteX9" fmla="*/ 6486 w 10000"/>
                  <a:gd name="connsiteY9" fmla="*/ 244 h 10046"/>
                  <a:gd name="connsiteX10" fmla="*/ 6486 w 10000"/>
                  <a:gd name="connsiteY10" fmla="*/ 0 h 10046"/>
                  <a:gd name="connsiteX11" fmla="*/ 4595 w 10000"/>
                  <a:gd name="connsiteY11" fmla="*/ 488 h 10046"/>
                  <a:gd name="connsiteX12" fmla="*/ 3514 w 10000"/>
                  <a:gd name="connsiteY12" fmla="*/ 976 h 10046"/>
                  <a:gd name="connsiteX13" fmla="*/ 2973 w 10000"/>
                  <a:gd name="connsiteY13" fmla="*/ 2195 h 10046"/>
                  <a:gd name="connsiteX14" fmla="*/ 2432 w 10000"/>
                  <a:gd name="connsiteY14" fmla="*/ 2439 h 10046"/>
                  <a:gd name="connsiteX15" fmla="*/ 1622 w 10000"/>
                  <a:gd name="connsiteY15" fmla="*/ 3171 h 10046"/>
                  <a:gd name="connsiteX16" fmla="*/ 811 w 10000"/>
                  <a:gd name="connsiteY16" fmla="*/ 3902 h 10046"/>
                  <a:gd name="connsiteX17" fmla="*/ 1081 w 10000"/>
                  <a:gd name="connsiteY17" fmla="*/ 4390 h 10046"/>
                  <a:gd name="connsiteX18" fmla="*/ 1351 w 10000"/>
                  <a:gd name="connsiteY18" fmla="*/ 5610 h 10046"/>
                  <a:gd name="connsiteX19" fmla="*/ 1351 w 10000"/>
                  <a:gd name="connsiteY19" fmla="*/ 6341 h 10046"/>
                  <a:gd name="connsiteX20" fmla="*/ 1622 w 10000"/>
                  <a:gd name="connsiteY20" fmla="*/ 7317 h 10046"/>
                  <a:gd name="connsiteX21" fmla="*/ 541 w 10000"/>
                  <a:gd name="connsiteY21" fmla="*/ 8049 h 10046"/>
                  <a:gd name="connsiteX22" fmla="*/ 0 w 10000"/>
                  <a:gd name="connsiteY22" fmla="*/ 8537 h 10046"/>
                  <a:gd name="connsiteX23" fmla="*/ 2162 w 10000"/>
                  <a:gd name="connsiteY23" fmla="*/ 9268 h 10046"/>
                  <a:gd name="connsiteX24" fmla="*/ 3243 w 10000"/>
                  <a:gd name="connsiteY24" fmla="*/ 10000 h 10046"/>
                  <a:gd name="connsiteX25" fmla="*/ 3298 w 10000"/>
                  <a:gd name="connsiteY25" fmla="*/ 9968 h 10046"/>
                  <a:gd name="connsiteX0" fmla="*/ 10000 w 10000"/>
                  <a:gd name="connsiteY0" fmla="*/ 8293 h 10714"/>
                  <a:gd name="connsiteX1" fmla="*/ 10000 w 10000"/>
                  <a:gd name="connsiteY1" fmla="*/ 8293 h 10714"/>
                  <a:gd name="connsiteX2" fmla="*/ 10000 w 10000"/>
                  <a:gd name="connsiteY2" fmla="*/ 6585 h 10714"/>
                  <a:gd name="connsiteX3" fmla="*/ 9459 w 10000"/>
                  <a:gd name="connsiteY3" fmla="*/ 5610 h 10714"/>
                  <a:gd name="connsiteX4" fmla="*/ 9730 w 10000"/>
                  <a:gd name="connsiteY4" fmla="*/ 5122 h 10714"/>
                  <a:gd name="connsiteX5" fmla="*/ 8378 w 10000"/>
                  <a:gd name="connsiteY5" fmla="*/ 4878 h 10714"/>
                  <a:gd name="connsiteX6" fmla="*/ 5676 w 10000"/>
                  <a:gd name="connsiteY6" fmla="*/ 3902 h 10714"/>
                  <a:gd name="connsiteX7" fmla="*/ 5135 w 10000"/>
                  <a:gd name="connsiteY7" fmla="*/ 2683 h 10714"/>
                  <a:gd name="connsiteX8" fmla="*/ 5405 w 10000"/>
                  <a:gd name="connsiteY8" fmla="*/ 732 h 10714"/>
                  <a:gd name="connsiteX9" fmla="*/ 6486 w 10000"/>
                  <a:gd name="connsiteY9" fmla="*/ 244 h 10714"/>
                  <a:gd name="connsiteX10" fmla="*/ 6486 w 10000"/>
                  <a:gd name="connsiteY10" fmla="*/ 0 h 10714"/>
                  <a:gd name="connsiteX11" fmla="*/ 4595 w 10000"/>
                  <a:gd name="connsiteY11" fmla="*/ 488 h 10714"/>
                  <a:gd name="connsiteX12" fmla="*/ 3514 w 10000"/>
                  <a:gd name="connsiteY12" fmla="*/ 976 h 10714"/>
                  <a:gd name="connsiteX13" fmla="*/ 2973 w 10000"/>
                  <a:gd name="connsiteY13" fmla="*/ 2195 h 10714"/>
                  <a:gd name="connsiteX14" fmla="*/ 2432 w 10000"/>
                  <a:gd name="connsiteY14" fmla="*/ 2439 h 10714"/>
                  <a:gd name="connsiteX15" fmla="*/ 1622 w 10000"/>
                  <a:gd name="connsiteY15" fmla="*/ 3171 h 10714"/>
                  <a:gd name="connsiteX16" fmla="*/ 811 w 10000"/>
                  <a:gd name="connsiteY16" fmla="*/ 3902 h 10714"/>
                  <a:gd name="connsiteX17" fmla="*/ 1081 w 10000"/>
                  <a:gd name="connsiteY17" fmla="*/ 4390 h 10714"/>
                  <a:gd name="connsiteX18" fmla="*/ 1351 w 10000"/>
                  <a:gd name="connsiteY18" fmla="*/ 5610 h 10714"/>
                  <a:gd name="connsiteX19" fmla="*/ 1351 w 10000"/>
                  <a:gd name="connsiteY19" fmla="*/ 6341 h 10714"/>
                  <a:gd name="connsiteX20" fmla="*/ 1622 w 10000"/>
                  <a:gd name="connsiteY20" fmla="*/ 7317 h 10714"/>
                  <a:gd name="connsiteX21" fmla="*/ 541 w 10000"/>
                  <a:gd name="connsiteY21" fmla="*/ 8049 h 10714"/>
                  <a:gd name="connsiteX22" fmla="*/ 0 w 10000"/>
                  <a:gd name="connsiteY22" fmla="*/ 8537 h 10714"/>
                  <a:gd name="connsiteX23" fmla="*/ 2162 w 10000"/>
                  <a:gd name="connsiteY23" fmla="*/ 9268 h 10714"/>
                  <a:gd name="connsiteX24" fmla="*/ 3243 w 10000"/>
                  <a:gd name="connsiteY24" fmla="*/ 10000 h 10714"/>
                  <a:gd name="connsiteX25" fmla="*/ 4691 w 10000"/>
                  <a:gd name="connsiteY25" fmla="*/ 10714 h 10714"/>
                  <a:gd name="connsiteX0" fmla="*/ 10000 w 10000"/>
                  <a:gd name="connsiteY0" fmla="*/ 8293 h 10490"/>
                  <a:gd name="connsiteX1" fmla="*/ 10000 w 10000"/>
                  <a:gd name="connsiteY1" fmla="*/ 8293 h 10490"/>
                  <a:gd name="connsiteX2" fmla="*/ 10000 w 10000"/>
                  <a:gd name="connsiteY2" fmla="*/ 6585 h 10490"/>
                  <a:gd name="connsiteX3" fmla="*/ 9459 w 10000"/>
                  <a:gd name="connsiteY3" fmla="*/ 5610 h 10490"/>
                  <a:gd name="connsiteX4" fmla="*/ 9730 w 10000"/>
                  <a:gd name="connsiteY4" fmla="*/ 5122 h 10490"/>
                  <a:gd name="connsiteX5" fmla="*/ 8378 w 10000"/>
                  <a:gd name="connsiteY5" fmla="*/ 4878 h 10490"/>
                  <a:gd name="connsiteX6" fmla="*/ 5676 w 10000"/>
                  <a:gd name="connsiteY6" fmla="*/ 3902 h 10490"/>
                  <a:gd name="connsiteX7" fmla="*/ 5135 w 10000"/>
                  <a:gd name="connsiteY7" fmla="*/ 2683 h 10490"/>
                  <a:gd name="connsiteX8" fmla="*/ 5405 w 10000"/>
                  <a:gd name="connsiteY8" fmla="*/ 732 h 10490"/>
                  <a:gd name="connsiteX9" fmla="*/ 6486 w 10000"/>
                  <a:gd name="connsiteY9" fmla="*/ 244 h 10490"/>
                  <a:gd name="connsiteX10" fmla="*/ 6486 w 10000"/>
                  <a:gd name="connsiteY10" fmla="*/ 0 h 10490"/>
                  <a:gd name="connsiteX11" fmla="*/ 4595 w 10000"/>
                  <a:gd name="connsiteY11" fmla="*/ 488 h 10490"/>
                  <a:gd name="connsiteX12" fmla="*/ 3514 w 10000"/>
                  <a:gd name="connsiteY12" fmla="*/ 976 h 10490"/>
                  <a:gd name="connsiteX13" fmla="*/ 2973 w 10000"/>
                  <a:gd name="connsiteY13" fmla="*/ 2195 h 10490"/>
                  <a:gd name="connsiteX14" fmla="*/ 2432 w 10000"/>
                  <a:gd name="connsiteY14" fmla="*/ 2439 h 10490"/>
                  <a:gd name="connsiteX15" fmla="*/ 1622 w 10000"/>
                  <a:gd name="connsiteY15" fmla="*/ 3171 h 10490"/>
                  <a:gd name="connsiteX16" fmla="*/ 811 w 10000"/>
                  <a:gd name="connsiteY16" fmla="*/ 3902 h 10490"/>
                  <a:gd name="connsiteX17" fmla="*/ 1081 w 10000"/>
                  <a:gd name="connsiteY17" fmla="*/ 4390 h 10490"/>
                  <a:gd name="connsiteX18" fmla="*/ 1351 w 10000"/>
                  <a:gd name="connsiteY18" fmla="*/ 5610 h 10490"/>
                  <a:gd name="connsiteX19" fmla="*/ 1351 w 10000"/>
                  <a:gd name="connsiteY19" fmla="*/ 6341 h 10490"/>
                  <a:gd name="connsiteX20" fmla="*/ 1622 w 10000"/>
                  <a:gd name="connsiteY20" fmla="*/ 7317 h 10490"/>
                  <a:gd name="connsiteX21" fmla="*/ 541 w 10000"/>
                  <a:gd name="connsiteY21" fmla="*/ 8049 h 10490"/>
                  <a:gd name="connsiteX22" fmla="*/ 0 w 10000"/>
                  <a:gd name="connsiteY22" fmla="*/ 8537 h 10490"/>
                  <a:gd name="connsiteX23" fmla="*/ 2162 w 10000"/>
                  <a:gd name="connsiteY23" fmla="*/ 9268 h 10490"/>
                  <a:gd name="connsiteX24" fmla="*/ 3243 w 10000"/>
                  <a:gd name="connsiteY24" fmla="*/ 10000 h 10490"/>
                  <a:gd name="connsiteX25" fmla="*/ 4609 w 10000"/>
                  <a:gd name="connsiteY25" fmla="*/ 10490 h 10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0000" h="10490">
                    <a:moveTo>
                      <a:pt x="10000" y="8293"/>
                    </a:moveTo>
                    <a:lnTo>
                      <a:pt x="10000" y="8293"/>
                    </a:lnTo>
                    <a:lnTo>
                      <a:pt x="10000" y="6585"/>
                    </a:lnTo>
                    <a:lnTo>
                      <a:pt x="9459" y="5610"/>
                    </a:lnTo>
                    <a:cubicBezTo>
                      <a:pt x="9549" y="5447"/>
                      <a:pt x="9640" y="5285"/>
                      <a:pt x="9730" y="5122"/>
                    </a:cubicBezTo>
                    <a:lnTo>
                      <a:pt x="8378" y="4878"/>
                    </a:lnTo>
                    <a:lnTo>
                      <a:pt x="5676" y="3902"/>
                    </a:lnTo>
                    <a:lnTo>
                      <a:pt x="5135" y="2683"/>
                    </a:lnTo>
                    <a:lnTo>
                      <a:pt x="5405" y="732"/>
                    </a:lnTo>
                    <a:lnTo>
                      <a:pt x="6486" y="244"/>
                    </a:lnTo>
                    <a:lnTo>
                      <a:pt x="6486" y="0"/>
                    </a:lnTo>
                    <a:lnTo>
                      <a:pt x="4595" y="488"/>
                    </a:lnTo>
                    <a:lnTo>
                      <a:pt x="3514" y="976"/>
                    </a:lnTo>
                    <a:lnTo>
                      <a:pt x="2973" y="2195"/>
                    </a:lnTo>
                    <a:lnTo>
                      <a:pt x="2432" y="2439"/>
                    </a:lnTo>
                    <a:lnTo>
                      <a:pt x="1622" y="3171"/>
                    </a:lnTo>
                    <a:lnTo>
                      <a:pt x="811" y="3902"/>
                    </a:lnTo>
                    <a:lnTo>
                      <a:pt x="1081" y="4390"/>
                    </a:lnTo>
                    <a:lnTo>
                      <a:pt x="1351" y="5610"/>
                    </a:lnTo>
                    <a:lnTo>
                      <a:pt x="1351" y="6341"/>
                    </a:lnTo>
                    <a:lnTo>
                      <a:pt x="1622" y="7317"/>
                    </a:lnTo>
                    <a:lnTo>
                      <a:pt x="541" y="8049"/>
                    </a:lnTo>
                    <a:lnTo>
                      <a:pt x="0" y="8537"/>
                    </a:lnTo>
                    <a:lnTo>
                      <a:pt x="2162" y="9268"/>
                    </a:lnTo>
                    <a:lnTo>
                      <a:pt x="3243" y="10000"/>
                    </a:lnTo>
                    <a:cubicBezTo>
                      <a:pt x="3432" y="10117"/>
                      <a:pt x="4598" y="10497"/>
                      <a:pt x="4609" y="10490"/>
                    </a:cubicBezTo>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284" name="Freeform 283"/>
              <p:cNvSpPr>
                <a:spLocks/>
              </p:cNvSpPr>
              <p:nvPr/>
            </p:nvSpPr>
            <p:spPr bwMode="auto">
              <a:xfrm>
                <a:off x="2283385" y="3065342"/>
                <a:ext cx="195262" cy="139700"/>
              </a:xfrm>
              <a:custGeom>
                <a:avLst/>
                <a:gdLst>
                  <a:gd name="T0" fmla="*/ 0 w 10000"/>
                  <a:gd name="T1" fmla="*/ 10602895 h 10000"/>
                  <a:gd name="T2" fmla="*/ 0 w 10000"/>
                  <a:gd name="T3" fmla="*/ 10602895 h 10000"/>
                  <a:gd name="T4" fmla="*/ 14889450 w 10000"/>
                  <a:gd name="T5" fmla="*/ 15147797 h 10000"/>
                  <a:gd name="T6" fmla="*/ 23823428 w 10000"/>
                  <a:gd name="T7" fmla="*/ 19689975 h 10000"/>
                  <a:gd name="T8" fmla="*/ 35735152 w 10000"/>
                  <a:gd name="T9" fmla="*/ 19689975 h 10000"/>
                  <a:gd name="T10" fmla="*/ 41690995 w 10000"/>
                  <a:gd name="T11" fmla="*/ 24234891 h 10000"/>
                  <a:gd name="T12" fmla="*/ 39219212 w 10000"/>
                  <a:gd name="T13" fmla="*/ 22255565 h 10000"/>
                  <a:gd name="T14" fmla="*/ 41690995 w 10000"/>
                  <a:gd name="T15" fmla="*/ 24234891 h 10000"/>
                  <a:gd name="T16" fmla="*/ 47646857 w 10000"/>
                  <a:gd name="T17" fmla="*/ 27263978 h 10000"/>
                  <a:gd name="T18" fmla="*/ 53602719 w 10000"/>
                  <a:gd name="T19" fmla="*/ 10602895 h 10000"/>
                  <a:gd name="T20" fmla="*/ 50624602 w 10000"/>
                  <a:gd name="T21" fmla="*/ 3029087 h 10000"/>
                  <a:gd name="T22" fmla="*/ 74448031 w 10000"/>
                  <a:gd name="T23" fmla="*/ 0 h 1000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0000" h="10000">
                    <a:moveTo>
                      <a:pt x="0" y="3889"/>
                    </a:moveTo>
                    <a:lnTo>
                      <a:pt x="0" y="3889"/>
                    </a:lnTo>
                    <a:lnTo>
                      <a:pt x="2000" y="5556"/>
                    </a:lnTo>
                    <a:lnTo>
                      <a:pt x="3200" y="7222"/>
                    </a:lnTo>
                    <a:lnTo>
                      <a:pt x="4800" y="7222"/>
                    </a:lnTo>
                    <a:lnTo>
                      <a:pt x="5600" y="8889"/>
                    </a:lnTo>
                    <a:lnTo>
                      <a:pt x="5268" y="8163"/>
                    </a:lnTo>
                    <a:lnTo>
                      <a:pt x="5600" y="8889"/>
                    </a:lnTo>
                    <a:lnTo>
                      <a:pt x="6400" y="10000"/>
                    </a:lnTo>
                    <a:lnTo>
                      <a:pt x="7200" y="3889"/>
                    </a:lnTo>
                    <a:cubicBezTo>
                      <a:pt x="7067" y="2963"/>
                      <a:pt x="6933" y="2037"/>
                      <a:pt x="6800" y="1111"/>
                    </a:cubicBezTo>
                    <a:lnTo>
                      <a:pt x="10000" y="0"/>
                    </a:lnTo>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grpSp>
        <p:sp>
          <p:nvSpPr>
            <p:cNvPr id="242" name="GY"/>
            <p:cNvSpPr>
              <a:spLocks/>
            </p:cNvSpPr>
            <p:nvPr/>
          </p:nvSpPr>
          <p:spPr bwMode="auto">
            <a:xfrm>
              <a:off x="2647225" y="4232976"/>
              <a:ext cx="117474" cy="179386"/>
            </a:xfrm>
            <a:custGeom>
              <a:avLst/>
              <a:gdLst>
                <a:gd name="T0" fmla="*/ 2147483647 w 90"/>
                <a:gd name="T1" fmla="*/ 2147483647 h 138"/>
                <a:gd name="T2" fmla="*/ 2147483647 w 90"/>
                <a:gd name="T3" fmla="*/ 2147483647 h 138"/>
                <a:gd name="T4" fmla="*/ 2147483647 w 90"/>
                <a:gd name="T5" fmla="*/ 2147483647 h 138"/>
                <a:gd name="T6" fmla="*/ 2147483647 w 90"/>
                <a:gd name="T7" fmla="*/ 2147483647 h 138"/>
                <a:gd name="T8" fmla="*/ 2147483647 w 90"/>
                <a:gd name="T9" fmla="*/ 2147483647 h 138"/>
                <a:gd name="T10" fmla="*/ 2147483647 w 90"/>
                <a:gd name="T11" fmla="*/ 2147483647 h 138"/>
                <a:gd name="T12" fmla="*/ 2147483647 w 90"/>
                <a:gd name="T13" fmla="*/ 2147483647 h 138"/>
                <a:gd name="T14" fmla="*/ 2147483647 w 90"/>
                <a:gd name="T15" fmla="*/ 0 h 138"/>
                <a:gd name="T16" fmla="*/ 2147483647 w 90"/>
                <a:gd name="T17" fmla="*/ 2147483647 h 138"/>
                <a:gd name="T18" fmla="*/ 0 w 90"/>
                <a:gd name="T19" fmla="*/ 2147483647 h 138"/>
                <a:gd name="T20" fmla="*/ 2147483647 w 90"/>
                <a:gd name="T21" fmla="*/ 2147483647 h 138"/>
                <a:gd name="T22" fmla="*/ 2147483647 w 90"/>
                <a:gd name="T23" fmla="*/ 2147483647 h 138"/>
                <a:gd name="T24" fmla="*/ 2147483647 w 90"/>
                <a:gd name="T25" fmla="*/ 2147483647 h 138"/>
                <a:gd name="T26" fmla="*/ 2147483647 w 90"/>
                <a:gd name="T27" fmla="*/ 2147483647 h 138"/>
                <a:gd name="T28" fmla="*/ 2147483647 w 90"/>
                <a:gd name="T29" fmla="*/ 2147483647 h 138"/>
                <a:gd name="T30" fmla="*/ 2147483647 w 90"/>
                <a:gd name="T31" fmla="*/ 2147483647 h 138"/>
                <a:gd name="T32" fmla="*/ 2147483647 w 90"/>
                <a:gd name="T33" fmla="*/ 2147483647 h 138"/>
                <a:gd name="T34" fmla="*/ 2147483647 w 90"/>
                <a:gd name="T35" fmla="*/ 2147483647 h 13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90" h="138">
                  <a:moveTo>
                    <a:pt x="90" y="126"/>
                  </a:moveTo>
                  <a:lnTo>
                    <a:pt x="78" y="102"/>
                  </a:lnTo>
                  <a:lnTo>
                    <a:pt x="66" y="78"/>
                  </a:lnTo>
                  <a:lnTo>
                    <a:pt x="84" y="60"/>
                  </a:lnTo>
                  <a:lnTo>
                    <a:pt x="90" y="42"/>
                  </a:lnTo>
                  <a:lnTo>
                    <a:pt x="66" y="36"/>
                  </a:lnTo>
                  <a:lnTo>
                    <a:pt x="60" y="18"/>
                  </a:lnTo>
                  <a:lnTo>
                    <a:pt x="36" y="0"/>
                  </a:lnTo>
                  <a:lnTo>
                    <a:pt x="12" y="24"/>
                  </a:lnTo>
                  <a:lnTo>
                    <a:pt x="0" y="42"/>
                  </a:lnTo>
                  <a:lnTo>
                    <a:pt x="6" y="60"/>
                  </a:lnTo>
                  <a:lnTo>
                    <a:pt x="18" y="66"/>
                  </a:lnTo>
                  <a:lnTo>
                    <a:pt x="30" y="84"/>
                  </a:lnTo>
                  <a:lnTo>
                    <a:pt x="24" y="120"/>
                  </a:lnTo>
                  <a:lnTo>
                    <a:pt x="42" y="138"/>
                  </a:lnTo>
                  <a:lnTo>
                    <a:pt x="60" y="132"/>
                  </a:lnTo>
                  <a:lnTo>
                    <a:pt x="90" y="126"/>
                  </a:lnTo>
                </a:path>
              </a:pathLst>
            </a:custGeom>
            <a:solidFill>
              <a:srgbClr val="00B9E4"/>
            </a:solidFill>
            <a:ln w="9525" cap="flat" cmpd="sng">
              <a:solidFill>
                <a:schemeClr val="bg1"/>
              </a:solidFill>
              <a:prstDash val="solid"/>
              <a:round/>
              <a:headEnd type="none" w="med" len="med"/>
              <a:tailEnd type="none" w="med" len="med"/>
            </a:ln>
            <a:effectLst/>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243" name="Freeform 242"/>
            <p:cNvSpPr>
              <a:spLocks/>
            </p:cNvSpPr>
            <p:nvPr/>
          </p:nvSpPr>
          <p:spPr bwMode="auto">
            <a:xfrm>
              <a:off x="2829787" y="4296475"/>
              <a:ext cx="76199" cy="93662"/>
            </a:xfrm>
            <a:custGeom>
              <a:avLst/>
              <a:gdLst>
                <a:gd name="T0" fmla="*/ 2147483647 w 60"/>
                <a:gd name="T1" fmla="*/ 2147483647 h 72"/>
                <a:gd name="T2" fmla="*/ 2147483647 w 60"/>
                <a:gd name="T3" fmla="*/ 2147483647 h 72"/>
                <a:gd name="T4" fmla="*/ 2147483647 w 60"/>
                <a:gd name="T5" fmla="*/ 2147483647 h 72"/>
                <a:gd name="T6" fmla="*/ 2147483647 w 60"/>
                <a:gd name="T7" fmla="*/ 2147483647 h 72"/>
                <a:gd name="T8" fmla="*/ 2147483647 w 60"/>
                <a:gd name="T9" fmla="*/ 2147483647 h 72"/>
                <a:gd name="T10" fmla="*/ 2147483647 w 60"/>
                <a:gd name="T11" fmla="*/ 0 h 72"/>
                <a:gd name="T12" fmla="*/ 2147483647 w 60"/>
                <a:gd name="T13" fmla="*/ 0 h 72"/>
                <a:gd name="T14" fmla="*/ 0 w 60"/>
                <a:gd name="T15" fmla="*/ 2147483647 h 72"/>
                <a:gd name="T16" fmla="*/ 2147483647 w 60"/>
                <a:gd name="T17" fmla="*/ 2147483647 h 7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0" h="72">
                  <a:moveTo>
                    <a:pt x="6" y="42"/>
                  </a:moveTo>
                  <a:lnTo>
                    <a:pt x="6" y="66"/>
                  </a:lnTo>
                  <a:lnTo>
                    <a:pt x="12" y="72"/>
                  </a:lnTo>
                  <a:lnTo>
                    <a:pt x="36" y="60"/>
                  </a:lnTo>
                  <a:lnTo>
                    <a:pt x="60" y="24"/>
                  </a:lnTo>
                  <a:lnTo>
                    <a:pt x="18" y="0"/>
                  </a:lnTo>
                  <a:lnTo>
                    <a:pt x="6" y="0"/>
                  </a:lnTo>
                  <a:lnTo>
                    <a:pt x="0" y="18"/>
                  </a:lnTo>
                  <a:lnTo>
                    <a:pt x="6" y="42"/>
                  </a:lnTo>
                  <a:close/>
                </a:path>
              </a:pathLst>
            </a:custGeom>
            <a:solidFill>
              <a:srgbClr val="00B9E4"/>
            </a:solidFill>
            <a:ln w="9525" cap="flat" cmpd="sng">
              <a:solidFill>
                <a:schemeClr val="bg1"/>
              </a:solidFill>
              <a:prstDash val="solid"/>
              <a:round/>
              <a:headEnd type="none" w="med" len="med"/>
              <a:tailEnd type="none" w="med" len="med"/>
            </a:ln>
            <a:effectLst/>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244" name="SR"/>
            <p:cNvSpPr>
              <a:spLocks/>
            </p:cNvSpPr>
            <p:nvPr/>
          </p:nvSpPr>
          <p:spPr bwMode="auto">
            <a:xfrm>
              <a:off x="2736124" y="4293301"/>
              <a:ext cx="96837" cy="109536"/>
            </a:xfrm>
            <a:custGeom>
              <a:avLst/>
              <a:gdLst>
                <a:gd name="T0" fmla="*/ 2147483647 w 72"/>
                <a:gd name="T1" fmla="*/ 2147483647 h 84"/>
                <a:gd name="T2" fmla="*/ 2147483647 w 72"/>
                <a:gd name="T3" fmla="*/ 2147483647 h 84"/>
                <a:gd name="T4" fmla="*/ 2147483647 w 72"/>
                <a:gd name="T5" fmla="*/ 2147483647 h 84"/>
                <a:gd name="T6" fmla="*/ 2147483647 w 72"/>
                <a:gd name="T7" fmla="*/ 2147483647 h 84"/>
                <a:gd name="T8" fmla="*/ 2147483647 w 72"/>
                <a:gd name="T9" fmla="*/ 2147483647 h 84"/>
                <a:gd name="T10" fmla="*/ 2147483647 w 72"/>
                <a:gd name="T11" fmla="*/ 0 h 84"/>
                <a:gd name="T12" fmla="*/ 2147483647 w 72"/>
                <a:gd name="T13" fmla="*/ 2147483647 h 84"/>
                <a:gd name="T14" fmla="*/ 0 w 72"/>
                <a:gd name="T15" fmla="*/ 2147483647 h 84"/>
                <a:gd name="T16" fmla="*/ 2147483647 w 72"/>
                <a:gd name="T17" fmla="*/ 2147483647 h 84"/>
                <a:gd name="T18" fmla="*/ 2147483647 w 72"/>
                <a:gd name="T19" fmla="*/ 2147483647 h 84"/>
                <a:gd name="T20" fmla="*/ 2147483647 w 72"/>
                <a:gd name="T21" fmla="*/ 2147483647 h 84"/>
                <a:gd name="T22" fmla="*/ 2147483647 w 72"/>
                <a:gd name="T23" fmla="*/ 2147483647 h 84"/>
                <a:gd name="T24" fmla="*/ 2147483647 w 72"/>
                <a:gd name="T25" fmla="*/ 2147483647 h 84"/>
                <a:gd name="T26" fmla="*/ 2147483647 w 72"/>
                <a:gd name="T27" fmla="*/ 2147483647 h 8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72" h="84">
                  <a:moveTo>
                    <a:pt x="72" y="78"/>
                  </a:moveTo>
                  <a:lnTo>
                    <a:pt x="72" y="54"/>
                  </a:lnTo>
                  <a:lnTo>
                    <a:pt x="66" y="30"/>
                  </a:lnTo>
                  <a:lnTo>
                    <a:pt x="72" y="12"/>
                  </a:lnTo>
                  <a:lnTo>
                    <a:pt x="24" y="6"/>
                  </a:lnTo>
                  <a:lnTo>
                    <a:pt x="24" y="0"/>
                  </a:lnTo>
                  <a:lnTo>
                    <a:pt x="18" y="18"/>
                  </a:lnTo>
                  <a:lnTo>
                    <a:pt x="0" y="36"/>
                  </a:lnTo>
                  <a:lnTo>
                    <a:pt x="12" y="60"/>
                  </a:lnTo>
                  <a:lnTo>
                    <a:pt x="24" y="84"/>
                  </a:lnTo>
                  <a:lnTo>
                    <a:pt x="30" y="84"/>
                  </a:lnTo>
                  <a:lnTo>
                    <a:pt x="42" y="78"/>
                  </a:lnTo>
                  <a:lnTo>
                    <a:pt x="72" y="78"/>
                  </a:lnTo>
                </a:path>
              </a:pathLst>
            </a:custGeom>
            <a:solidFill>
              <a:srgbClr val="00B9E4"/>
            </a:solidFill>
            <a:ln w="9525" cap="flat" cmpd="sng">
              <a:solidFill>
                <a:schemeClr val="bg1"/>
              </a:solidFill>
              <a:prstDash val="solid"/>
              <a:round/>
              <a:headEnd type="none" w="med" len="med"/>
              <a:tailEnd type="none" w="med" len="med"/>
            </a:ln>
            <a:effectLst/>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245" name="VE"/>
            <p:cNvSpPr>
              <a:spLocks/>
            </p:cNvSpPr>
            <p:nvPr/>
          </p:nvSpPr>
          <p:spPr bwMode="auto">
            <a:xfrm>
              <a:off x="2379793" y="4148839"/>
              <a:ext cx="326169" cy="280986"/>
            </a:xfrm>
            <a:custGeom>
              <a:avLst/>
              <a:gdLst>
                <a:gd name="T0" fmla="*/ 2147483647 w 43"/>
                <a:gd name="T1" fmla="*/ 2147483647 h 36"/>
                <a:gd name="T2" fmla="*/ 2147483647 w 43"/>
                <a:gd name="T3" fmla="*/ 2147483647 h 36"/>
                <a:gd name="T4" fmla="*/ 2147483647 w 43"/>
                <a:gd name="T5" fmla="*/ 2147483647 h 36"/>
                <a:gd name="T6" fmla="*/ 2147483647 w 43"/>
                <a:gd name="T7" fmla="*/ 2147483647 h 36"/>
                <a:gd name="T8" fmla="*/ 2147483647 w 43"/>
                <a:gd name="T9" fmla="*/ 2147483647 h 36"/>
                <a:gd name="T10" fmla="*/ 2147483647 w 43"/>
                <a:gd name="T11" fmla="*/ 2147483647 h 36"/>
                <a:gd name="T12" fmla="*/ 2147483647 w 43"/>
                <a:gd name="T13" fmla="*/ 2147483647 h 36"/>
                <a:gd name="T14" fmla="*/ 2147483647 w 43"/>
                <a:gd name="T15" fmla="*/ 2147483647 h 36"/>
                <a:gd name="T16" fmla="*/ 2147483647 w 43"/>
                <a:gd name="T17" fmla="*/ 2147483647 h 36"/>
                <a:gd name="T18" fmla="*/ 2147483647 w 43"/>
                <a:gd name="T19" fmla="*/ 2147483647 h 36"/>
                <a:gd name="T20" fmla="*/ 2147483647 w 43"/>
                <a:gd name="T21" fmla="*/ 2147483647 h 36"/>
                <a:gd name="T22" fmla="*/ 2147483647 w 43"/>
                <a:gd name="T23" fmla="*/ 2147483647 h 36"/>
                <a:gd name="T24" fmla="*/ 2147483647 w 43"/>
                <a:gd name="T25" fmla="*/ 2147483647 h 36"/>
                <a:gd name="T26" fmla="*/ 2147483647 w 43"/>
                <a:gd name="T27" fmla="*/ 0 h 36"/>
                <a:gd name="T28" fmla="*/ 2147483647 w 43"/>
                <a:gd name="T29" fmla="*/ 2147483647 h 36"/>
                <a:gd name="T30" fmla="*/ 0 w 43"/>
                <a:gd name="T31" fmla="*/ 2147483647 h 36"/>
                <a:gd name="T32" fmla="*/ 2147483647 w 43"/>
                <a:gd name="T33" fmla="*/ 2147483647 h 36"/>
                <a:gd name="T34" fmla="*/ 2147483647 w 43"/>
                <a:gd name="T35" fmla="*/ 2147483647 h 36"/>
                <a:gd name="T36" fmla="*/ 2147483647 w 43"/>
                <a:gd name="T37" fmla="*/ 2147483647 h 36"/>
                <a:gd name="T38" fmla="*/ 2147483647 w 43"/>
                <a:gd name="T39" fmla="*/ 2147483647 h 36"/>
                <a:gd name="T40" fmla="*/ 2147483647 w 43"/>
                <a:gd name="T41" fmla="*/ 2147483647 h 36"/>
                <a:gd name="T42" fmla="*/ 2147483647 w 43"/>
                <a:gd name="T43" fmla="*/ 2147483647 h 36"/>
                <a:gd name="T44" fmla="*/ 2147483647 w 43"/>
                <a:gd name="T45" fmla="*/ 2147483647 h 36"/>
                <a:gd name="T46" fmla="*/ 2147483647 w 43"/>
                <a:gd name="T47" fmla="*/ 2147483647 h 36"/>
                <a:gd name="T48" fmla="*/ 2147483647 w 43"/>
                <a:gd name="T49" fmla="*/ 2147483647 h 36"/>
                <a:gd name="T50" fmla="*/ 2147483647 w 43"/>
                <a:gd name="T51" fmla="*/ 2147483647 h 36"/>
                <a:gd name="T52" fmla="*/ 2147483647 w 43"/>
                <a:gd name="T53" fmla="*/ 2147483647 h 36"/>
                <a:gd name="T54" fmla="*/ 2147483647 w 43"/>
                <a:gd name="T55" fmla="*/ 2147483647 h 36"/>
                <a:gd name="T56" fmla="*/ 2147483647 w 43"/>
                <a:gd name="T57" fmla="*/ 2147483647 h 36"/>
                <a:gd name="T58" fmla="*/ 2147483647 w 43"/>
                <a:gd name="T59" fmla="*/ 2147483647 h 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3" h="36">
                  <a:moveTo>
                    <a:pt x="38" y="21"/>
                  </a:moveTo>
                  <a:cubicBezTo>
                    <a:pt x="37" y="18"/>
                    <a:pt x="37" y="18"/>
                    <a:pt x="37" y="18"/>
                  </a:cubicBezTo>
                  <a:cubicBezTo>
                    <a:pt x="39" y="15"/>
                    <a:pt x="39" y="15"/>
                    <a:pt x="39" y="15"/>
                  </a:cubicBezTo>
                  <a:cubicBezTo>
                    <a:pt x="43" y="11"/>
                    <a:pt x="43" y="11"/>
                    <a:pt x="43" y="11"/>
                  </a:cubicBezTo>
                  <a:cubicBezTo>
                    <a:pt x="42" y="11"/>
                    <a:pt x="42" y="11"/>
                    <a:pt x="42" y="11"/>
                  </a:cubicBezTo>
                  <a:cubicBezTo>
                    <a:pt x="39" y="10"/>
                    <a:pt x="39" y="10"/>
                    <a:pt x="39" y="10"/>
                  </a:cubicBezTo>
                  <a:cubicBezTo>
                    <a:pt x="38" y="8"/>
                    <a:pt x="38" y="8"/>
                    <a:pt x="38" y="8"/>
                  </a:cubicBezTo>
                  <a:cubicBezTo>
                    <a:pt x="32" y="5"/>
                    <a:pt x="32" y="5"/>
                    <a:pt x="32" y="5"/>
                  </a:cubicBezTo>
                  <a:cubicBezTo>
                    <a:pt x="22" y="6"/>
                    <a:pt x="22" y="6"/>
                    <a:pt x="22" y="6"/>
                  </a:cubicBezTo>
                  <a:cubicBezTo>
                    <a:pt x="17" y="5"/>
                    <a:pt x="17" y="5"/>
                    <a:pt x="17" y="5"/>
                  </a:cubicBezTo>
                  <a:cubicBezTo>
                    <a:pt x="16" y="3"/>
                    <a:pt x="16" y="3"/>
                    <a:pt x="16" y="3"/>
                  </a:cubicBezTo>
                  <a:cubicBezTo>
                    <a:pt x="11" y="2"/>
                    <a:pt x="11" y="2"/>
                    <a:pt x="11" y="2"/>
                  </a:cubicBezTo>
                  <a:cubicBezTo>
                    <a:pt x="11" y="2"/>
                    <a:pt x="7" y="3"/>
                    <a:pt x="6" y="3"/>
                  </a:cubicBezTo>
                  <a:cubicBezTo>
                    <a:pt x="5" y="3"/>
                    <a:pt x="5" y="1"/>
                    <a:pt x="5" y="0"/>
                  </a:cubicBezTo>
                  <a:cubicBezTo>
                    <a:pt x="1" y="2"/>
                    <a:pt x="1" y="2"/>
                    <a:pt x="1" y="2"/>
                  </a:cubicBezTo>
                  <a:cubicBezTo>
                    <a:pt x="0" y="10"/>
                    <a:pt x="0" y="10"/>
                    <a:pt x="0" y="10"/>
                  </a:cubicBezTo>
                  <a:cubicBezTo>
                    <a:pt x="2" y="15"/>
                    <a:pt x="2" y="15"/>
                    <a:pt x="2" y="15"/>
                  </a:cubicBezTo>
                  <a:cubicBezTo>
                    <a:pt x="12" y="19"/>
                    <a:pt x="12" y="19"/>
                    <a:pt x="12" y="19"/>
                  </a:cubicBezTo>
                  <a:cubicBezTo>
                    <a:pt x="17" y="20"/>
                    <a:pt x="17" y="20"/>
                    <a:pt x="17" y="20"/>
                  </a:cubicBezTo>
                  <a:cubicBezTo>
                    <a:pt x="16" y="22"/>
                    <a:pt x="16" y="22"/>
                    <a:pt x="16" y="22"/>
                  </a:cubicBezTo>
                  <a:cubicBezTo>
                    <a:pt x="18" y="26"/>
                    <a:pt x="18" y="26"/>
                    <a:pt x="18" y="26"/>
                  </a:cubicBezTo>
                  <a:cubicBezTo>
                    <a:pt x="18" y="33"/>
                    <a:pt x="18" y="33"/>
                    <a:pt x="18" y="33"/>
                  </a:cubicBezTo>
                  <a:cubicBezTo>
                    <a:pt x="18" y="33"/>
                    <a:pt x="18" y="33"/>
                    <a:pt x="18" y="33"/>
                  </a:cubicBezTo>
                  <a:cubicBezTo>
                    <a:pt x="21" y="36"/>
                    <a:pt x="21" y="36"/>
                    <a:pt x="21" y="36"/>
                  </a:cubicBezTo>
                  <a:cubicBezTo>
                    <a:pt x="30" y="33"/>
                    <a:pt x="30" y="33"/>
                    <a:pt x="30" y="33"/>
                  </a:cubicBezTo>
                  <a:cubicBezTo>
                    <a:pt x="29" y="30"/>
                    <a:pt x="29" y="30"/>
                    <a:pt x="29" y="30"/>
                  </a:cubicBezTo>
                  <a:cubicBezTo>
                    <a:pt x="26" y="25"/>
                    <a:pt x="26" y="25"/>
                    <a:pt x="26" y="25"/>
                  </a:cubicBezTo>
                  <a:cubicBezTo>
                    <a:pt x="34" y="25"/>
                    <a:pt x="34" y="25"/>
                    <a:pt x="34" y="25"/>
                  </a:cubicBezTo>
                  <a:cubicBezTo>
                    <a:pt x="39" y="23"/>
                    <a:pt x="39" y="23"/>
                    <a:pt x="39" y="23"/>
                  </a:cubicBezTo>
                  <a:cubicBezTo>
                    <a:pt x="38" y="21"/>
                    <a:pt x="38" y="21"/>
                    <a:pt x="38" y="21"/>
                  </a:cubicBezTo>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246" name="EC"/>
            <p:cNvSpPr>
              <a:spLocks/>
            </p:cNvSpPr>
            <p:nvPr/>
          </p:nvSpPr>
          <p:spPr bwMode="auto">
            <a:xfrm>
              <a:off x="2190882" y="4398074"/>
              <a:ext cx="134936" cy="149224"/>
            </a:xfrm>
            <a:custGeom>
              <a:avLst/>
              <a:gdLst>
                <a:gd name="T0" fmla="*/ 2147483647 w 102"/>
                <a:gd name="T1" fmla="*/ 2147483647 h 114"/>
                <a:gd name="T2" fmla="*/ 2147483647 w 102"/>
                <a:gd name="T3" fmla="*/ 2147483647 h 114"/>
                <a:gd name="T4" fmla="*/ 2147483647 w 102"/>
                <a:gd name="T5" fmla="*/ 2147483647 h 114"/>
                <a:gd name="T6" fmla="*/ 2147483647 w 102"/>
                <a:gd name="T7" fmla="*/ 2147483647 h 114"/>
                <a:gd name="T8" fmla="*/ 2147483647 w 102"/>
                <a:gd name="T9" fmla="*/ 2147483647 h 114"/>
                <a:gd name="T10" fmla="*/ 2147483647 w 102"/>
                <a:gd name="T11" fmla="*/ 2147483647 h 114"/>
                <a:gd name="T12" fmla="*/ 2147483647 w 102"/>
                <a:gd name="T13" fmla="*/ 0 h 114"/>
                <a:gd name="T14" fmla="*/ 2147483647 w 102"/>
                <a:gd name="T15" fmla="*/ 2147483647 h 114"/>
                <a:gd name="T16" fmla="*/ 0 w 102"/>
                <a:gd name="T17" fmla="*/ 2147483647 h 114"/>
                <a:gd name="T18" fmla="*/ 2147483647 w 102"/>
                <a:gd name="T19" fmla="*/ 2147483647 h 114"/>
                <a:gd name="T20" fmla="*/ 0 w 102"/>
                <a:gd name="T21" fmla="*/ 2147483647 h 114"/>
                <a:gd name="T22" fmla="*/ 2147483647 w 102"/>
                <a:gd name="T23" fmla="*/ 2147483647 h 114"/>
                <a:gd name="T24" fmla="*/ 2147483647 w 102"/>
                <a:gd name="T25" fmla="*/ 2147483647 h 11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2" h="114">
                  <a:moveTo>
                    <a:pt x="24" y="114"/>
                  </a:moveTo>
                  <a:lnTo>
                    <a:pt x="48" y="90"/>
                  </a:lnTo>
                  <a:lnTo>
                    <a:pt x="66" y="84"/>
                  </a:lnTo>
                  <a:lnTo>
                    <a:pt x="90" y="60"/>
                  </a:lnTo>
                  <a:lnTo>
                    <a:pt x="102" y="36"/>
                  </a:lnTo>
                  <a:lnTo>
                    <a:pt x="78" y="18"/>
                  </a:lnTo>
                  <a:lnTo>
                    <a:pt x="30" y="0"/>
                  </a:lnTo>
                  <a:lnTo>
                    <a:pt x="24" y="12"/>
                  </a:lnTo>
                  <a:lnTo>
                    <a:pt x="0" y="66"/>
                  </a:lnTo>
                  <a:lnTo>
                    <a:pt x="12" y="90"/>
                  </a:lnTo>
                  <a:lnTo>
                    <a:pt x="0" y="96"/>
                  </a:lnTo>
                  <a:lnTo>
                    <a:pt x="6" y="108"/>
                  </a:lnTo>
                  <a:lnTo>
                    <a:pt x="24" y="114"/>
                  </a:ln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247" name="DK"/>
            <p:cNvSpPr>
              <a:spLocks/>
            </p:cNvSpPr>
            <p:nvPr/>
          </p:nvSpPr>
          <p:spPr bwMode="auto">
            <a:xfrm>
              <a:off x="4529008" y="2747168"/>
              <a:ext cx="49211" cy="96836"/>
            </a:xfrm>
            <a:custGeom>
              <a:avLst/>
              <a:gdLst>
                <a:gd name="T0" fmla="*/ 80 w 429209"/>
                <a:gd name="T1" fmla="*/ 1219 h 839755"/>
                <a:gd name="T2" fmla="*/ 85 w 429209"/>
                <a:gd name="T3" fmla="*/ 856 h 839755"/>
                <a:gd name="T4" fmla="*/ 0 w 429209"/>
                <a:gd name="T5" fmla="*/ 799 h 839755"/>
                <a:gd name="T6" fmla="*/ 169 w 429209"/>
                <a:gd name="T7" fmla="*/ 200 h 839755"/>
                <a:gd name="T8" fmla="*/ 395 w 429209"/>
                <a:gd name="T9" fmla="*/ 200 h 839755"/>
                <a:gd name="T10" fmla="*/ 592 w 429209"/>
                <a:gd name="T11" fmla="*/ 0 h 839755"/>
                <a:gd name="T12" fmla="*/ 621 w 429209"/>
                <a:gd name="T13" fmla="*/ 399 h 839755"/>
                <a:gd name="T14" fmla="*/ 649 w 429209"/>
                <a:gd name="T15" fmla="*/ 628 h 839755"/>
                <a:gd name="T16" fmla="*/ 339 w 429209"/>
                <a:gd name="T17" fmla="*/ 970 h 839755"/>
                <a:gd name="T18" fmla="*/ 339 w 429209"/>
                <a:gd name="T19" fmla="*/ 1284 h 839755"/>
                <a:gd name="T20" fmla="*/ 169 w 429209"/>
                <a:gd name="T21" fmla="*/ 1198 h 839755"/>
                <a:gd name="T22" fmla="*/ 80 w 429209"/>
                <a:gd name="T23" fmla="*/ 1219 h 83975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29209" h="839755">
                  <a:moveTo>
                    <a:pt x="53214" y="797282"/>
                  </a:moveTo>
                  <a:cubicBezTo>
                    <a:pt x="54137" y="718133"/>
                    <a:pt x="55061" y="638985"/>
                    <a:pt x="55984" y="559836"/>
                  </a:cubicBezTo>
                  <a:lnTo>
                    <a:pt x="0" y="522514"/>
                  </a:lnTo>
                  <a:lnTo>
                    <a:pt x="111968" y="130628"/>
                  </a:lnTo>
                  <a:lnTo>
                    <a:pt x="261258" y="130628"/>
                  </a:lnTo>
                  <a:lnTo>
                    <a:pt x="391886" y="0"/>
                  </a:lnTo>
                  <a:lnTo>
                    <a:pt x="410547" y="261257"/>
                  </a:lnTo>
                  <a:lnTo>
                    <a:pt x="429209" y="410547"/>
                  </a:lnTo>
                  <a:lnTo>
                    <a:pt x="223935" y="634481"/>
                  </a:lnTo>
                  <a:lnTo>
                    <a:pt x="223935" y="839755"/>
                  </a:lnTo>
                  <a:lnTo>
                    <a:pt x="111968" y="783771"/>
                  </a:lnTo>
                  <a:lnTo>
                    <a:pt x="53214" y="797282"/>
                  </a:ln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248" name="PK"/>
            <p:cNvSpPr>
              <a:spLocks/>
            </p:cNvSpPr>
            <p:nvPr/>
          </p:nvSpPr>
          <p:spPr bwMode="auto">
            <a:xfrm>
              <a:off x="5776651" y="3430563"/>
              <a:ext cx="438145" cy="412705"/>
            </a:xfrm>
            <a:custGeom>
              <a:avLst/>
              <a:gdLst>
                <a:gd name="T0" fmla="*/ 290980 w 10944"/>
                <a:gd name="T1" fmla="*/ 398324 h 10652"/>
                <a:gd name="T2" fmla="*/ 322773 w 10944"/>
                <a:gd name="T3" fmla="*/ 379365 h 10652"/>
                <a:gd name="T4" fmla="*/ 288578 w 10944"/>
                <a:gd name="T5" fmla="*/ 317672 h 10652"/>
                <a:gd name="T6" fmla="*/ 295144 w 10944"/>
                <a:gd name="T7" fmla="*/ 293778 h 10652"/>
                <a:gd name="T8" fmla="*/ 307477 w 10944"/>
                <a:gd name="T9" fmla="*/ 278736 h 10652"/>
                <a:gd name="T10" fmla="*/ 339310 w 10944"/>
                <a:gd name="T11" fmla="*/ 275720 h 10652"/>
                <a:gd name="T12" fmla="*/ 379111 w 10944"/>
                <a:gd name="T13" fmla="*/ 198907 h 10652"/>
                <a:gd name="T14" fmla="*/ 401094 w 10944"/>
                <a:gd name="T15" fmla="*/ 149474 h 10652"/>
                <a:gd name="T16" fmla="*/ 414628 w 10944"/>
                <a:gd name="T17" fmla="*/ 98984 h 10652"/>
                <a:gd name="T18" fmla="*/ 388921 w 10944"/>
                <a:gd name="T19" fmla="*/ 81279 h 10652"/>
                <a:gd name="T20" fmla="*/ 391964 w 10944"/>
                <a:gd name="T21" fmla="*/ 44223 h 10652"/>
                <a:gd name="T22" fmla="*/ 436330 w 10944"/>
                <a:gd name="T23" fmla="*/ 33177 h 10652"/>
                <a:gd name="T24" fmla="*/ 428122 w 10944"/>
                <a:gd name="T25" fmla="*/ 18293 h 10652"/>
                <a:gd name="T26" fmla="*/ 409783 w 10944"/>
                <a:gd name="T27" fmla="*/ 7011 h 10652"/>
                <a:gd name="T28" fmla="*/ 386238 w 10944"/>
                <a:gd name="T29" fmla="*/ 39 h 10652"/>
                <a:gd name="T30" fmla="*/ 336187 w 10944"/>
                <a:gd name="T31" fmla="*/ 9283 h 10652"/>
                <a:gd name="T32" fmla="*/ 311842 w 10944"/>
                <a:gd name="T33" fmla="*/ 10302 h 10652"/>
                <a:gd name="T34" fmla="*/ 283733 w 10944"/>
                <a:gd name="T35" fmla="*/ 22445 h 10652"/>
                <a:gd name="T36" fmla="*/ 277606 w 10944"/>
                <a:gd name="T37" fmla="*/ 63574 h 10652"/>
                <a:gd name="T38" fmla="*/ 277606 w 10944"/>
                <a:gd name="T39" fmla="*/ 81279 h 10652"/>
                <a:gd name="T40" fmla="*/ 268997 w 10944"/>
                <a:gd name="T41" fmla="*/ 90131 h 10652"/>
                <a:gd name="T42" fmla="*/ 259267 w 10944"/>
                <a:gd name="T43" fmla="*/ 120801 h 10652"/>
                <a:gd name="T44" fmla="*/ 209056 w 10944"/>
                <a:gd name="T45" fmla="*/ 143403 h 10652"/>
                <a:gd name="T46" fmla="*/ 183389 w 10944"/>
                <a:gd name="T47" fmla="*/ 161108 h 10652"/>
                <a:gd name="T48" fmla="*/ 157643 w 10944"/>
                <a:gd name="T49" fmla="*/ 196322 h 10652"/>
                <a:gd name="T50" fmla="*/ 106310 w 10944"/>
                <a:gd name="T51" fmla="*/ 205449 h 10652"/>
                <a:gd name="T52" fmla="*/ 56819 w 10944"/>
                <a:gd name="T53" fmla="*/ 245207 h 10652"/>
                <a:gd name="T54" fmla="*/ 6767 w 10944"/>
                <a:gd name="T55" fmla="*/ 242778 h 10652"/>
                <a:gd name="T56" fmla="*/ 28069 w 10944"/>
                <a:gd name="T57" fmla="*/ 274506 h 10652"/>
                <a:gd name="T58" fmla="*/ 53295 w 10944"/>
                <a:gd name="T59" fmla="*/ 286884 h 10652"/>
                <a:gd name="T60" fmla="*/ 53976 w 10944"/>
                <a:gd name="T61" fmla="*/ 299614 h 10652"/>
                <a:gd name="T62" fmla="*/ 54937 w 10944"/>
                <a:gd name="T63" fmla="*/ 311875 h 10652"/>
                <a:gd name="T64" fmla="*/ 40562 w 10944"/>
                <a:gd name="T65" fmla="*/ 318612 h 10652"/>
                <a:gd name="T66" fmla="*/ 12893 w 10944"/>
                <a:gd name="T67" fmla="*/ 341213 h 10652"/>
                <a:gd name="T68" fmla="*/ 18739 w 10944"/>
                <a:gd name="T69" fmla="*/ 359623 h 10652"/>
                <a:gd name="T70" fmla="*/ 245053 w 10944"/>
                <a:gd name="T71" fmla="*/ 417243 h 10652"/>
                <a:gd name="T72" fmla="*/ 255504 w 10944"/>
                <a:gd name="T73" fmla="*/ 411446 h 10652"/>
                <a:gd name="T74" fmla="*/ 290980 w 10944"/>
                <a:gd name="T75" fmla="*/ 398324 h 10652"/>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0944" h="10652">
                  <a:moveTo>
                    <a:pt x="7267" y="10169"/>
                  </a:moveTo>
                  <a:cubicBezTo>
                    <a:pt x="7552" y="10018"/>
                    <a:pt x="8071" y="10028"/>
                    <a:pt x="8061" y="9685"/>
                  </a:cubicBezTo>
                  <a:cubicBezTo>
                    <a:pt x="8051" y="9342"/>
                    <a:pt x="7322" y="8474"/>
                    <a:pt x="7207" y="8110"/>
                  </a:cubicBezTo>
                  <a:cubicBezTo>
                    <a:pt x="7092" y="7746"/>
                    <a:pt x="7292" y="7666"/>
                    <a:pt x="7371" y="7500"/>
                  </a:cubicBezTo>
                  <a:cubicBezTo>
                    <a:pt x="7450" y="7334"/>
                    <a:pt x="7495" y="7193"/>
                    <a:pt x="7679" y="7116"/>
                  </a:cubicBezTo>
                  <a:cubicBezTo>
                    <a:pt x="7863" y="7039"/>
                    <a:pt x="8176" y="7379"/>
                    <a:pt x="8474" y="7039"/>
                  </a:cubicBezTo>
                  <a:cubicBezTo>
                    <a:pt x="8772" y="6699"/>
                    <a:pt x="9211" y="5615"/>
                    <a:pt x="9468" y="5078"/>
                  </a:cubicBezTo>
                  <a:cubicBezTo>
                    <a:pt x="9725" y="4541"/>
                    <a:pt x="9869" y="4241"/>
                    <a:pt x="10017" y="3816"/>
                  </a:cubicBezTo>
                  <a:cubicBezTo>
                    <a:pt x="10165" y="3391"/>
                    <a:pt x="10406" y="2817"/>
                    <a:pt x="10355" y="2527"/>
                  </a:cubicBezTo>
                  <a:cubicBezTo>
                    <a:pt x="10304" y="2237"/>
                    <a:pt x="9687" y="2325"/>
                    <a:pt x="9713" y="2075"/>
                  </a:cubicBezTo>
                  <a:cubicBezTo>
                    <a:pt x="9740" y="1811"/>
                    <a:pt x="9649" y="1164"/>
                    <a:pt x="9789" y="1129"/>
                  </a:cubicBezTo>
                  <a:cubicBezTo>
                    <a:pt x="10290" y="1004"/>
                    <a:pt x="10747" y="957"/>
                    <a:pt x="10897" y="847"/>
                  </a:cubicBezTo>
                  <a:cubicBezTo>
                    <a:pt x="11047" y="737"/>
                    <a:pt x="10802" y="578"/>
                    <a:pt x="10692" y="467"/>
                  </a:cubicBezTo>
                  <a:cubicBezTo>
                    <a:pt x="10582" y="356"/>
                    <a:pt x="10409" y="257"/>
                    <a:pt x="10234" y="179"/>
                  </a:cubicBezTo>
                  <a:cubicBezTo>
                    <a:pt x="10060" y="102"/>
                    <a:pt x="9954" y="-9"/>
                    <a:pt x="9646" y="1"/>
                  </a:cubicBezTo>
                  <a:cubicBezTo>
                    <a:pt x="9341" y="11"/>
                    <a:pt x="8705" y="193"/>
                    <a:pt x="8396" y="237"/>
                  </a:cubicBezTo>
                  <a:cubicBezTo>
                    <a:pt x="8087" y="279"/>
                    <a:pt x="8007" y="208"/>
                    <a:pt x="7788" y="263"/>
                  </a:cubicBezTo>
                  <a:cubicBezTo>
                    <a:pt x="7570" y="320"/>
                    <a:pt x="7301" y="573"/>
                    <a:pt x="7086" y="573"/>
                  </a:cubicBezTo>
                  <a:cubicBezTo>
                    <a:pt x="7035" y="922"/>
                    <a:pt x="6959" y="1372"/>
                    <a:pt x="6933" y="1623"/>
                  </a:cubicBezTo>
                  <a:cubicBezTo>
                    <a:pt x="6907" y="1873"/>
                    <a:pt x="6933" y="1924"/>
                    <a:pt x="6933" y="2075"/>
                  </a:cubicBezTo>
                  <a:cubicBezTo>
                    <a:pt x="6861" y="2150"/>
                    <a:pt x="6794" y="2133"/>
                    <a:pt x="6718" y="2301"/>
                  </a:cubicBezTo>
                  <a:cubicBezTo>
                    <a:pt x="6642" y="2469"/>
                    <a:pt x="6556" y="2823"/>
                    <a:pt x="6475" y="3084"/>
                  </a:cubicBezTo>
                  <a:cubicBezTo>
                    <a:pt x="6475" y="3084"/>
                    <a:pt x="5537" y="3490"/>
                    <a:pt x="5221" y="3661"/>
                  </a:cubicBezTo>
                  <a:cubicBezTo>
                    <a:pt x="4905" y="3832"/>
                    <a:pt x="4793" y="3888"/>
                    <a:pt x="4580" y="4113"/>
                  </a:cubicBezTo>
                  <a:cubicBezTo>
                    <a:pt x="4366" y="4338"/>
                    <a:pt x="3937" y="5012"/>
                    <a:pt x="3937" y="5012"/>
                  </a:cubicBezTo>
                  <a:cubicBezTo>
                    <a:pt x="3937" y="5012"/>
                    <a:pt x="3074" y="5037"/>
                    <a:pt x="2655" y="5245"/>
                  </a:cubicBezTo>
                  <a:cubicBezTo>
                    <a:pt x="2236" y="5453"/>
                    <a:pt x="1833" y="6101"/>
                    <a:pt x="1419" y="6260"/>
                  </a:cubicBezTo>
                  <a:cubicBezTo>
                    <a:pt x="1005" y="6419"/>
                    <a:pt x="289" y="6073"/>
                    <a:pt x="169" y="6198"/>
                  </a:cubicBezTo>
                  <a:cubicBezTo>
                    <a:pt x="49" y="6323"/>
                    <a:pt x="507" y="6820"/>
                    <a:pt x="701" y="7008"/>
                  </a:cubicBezTo>
                  <a:cubicBezTo>
                    <a:pt x="895" y="7196"/>
                    <a:pt x="1223" y="7217"/>
                    <a:pt x="1331" y="7324"/>
                  </a:cubicBezTo>
                  <a:cubicBezTo>
                    <a:pt x="1439" y="7431"/>
                    <a:pt x="1341" y="7543"/>
                    <a:pt x="1348" y="7649"/>
                  </a:cubicBezTo>
                  <a:cubicBezTo>
                    <a:pt x="1355" y="7755"/>
                    <a:pt x="1428" y="7881"/>
                    <a:pt x="1372" y="7962"/>
                  </a:cubicBezTo>
                  <a:cubicBezTo>
                    <a:pt x="1316" y="8043"/>
                    <a:pt x="1188" y="8009"/>
                    <a:pt x="1013" y="8134"/>
                  </a:cubicBezTo>
                  <a:cubicBezTo>
                    <a:pt x="838" y="8259"/>
                    <a:pt x="295" y="8195"/>
                    <a:pt x="322" y="8711"/>
                  </a:cubicBezTo>
                  <a:cubicBezTo>
                    <a:pt x="331" y="8882"/>
                    <a:pt x="-498" y="8858"/>
                    <a:pt x="468" y="9181"/>
                  </a:cubicBezTo>
                  <a:cubicBezTo>
                    <a:pt x="1434" y="9504"/>
                    <a:pt x="5678" y="9982"/>
                    <a:pt x="6120" y="10652"/>
                  </a:cubicBezTo>
                  <a:lnTo>
                    <a:pt x="6381" y="10504"/>
                  </a:lnTo>
                  <a:lnTo>
                    <a:pt x="7267" y="10169"/>
                  </a:ln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249" name="IN"/>
            <p:cNvSpPr>
              <a:spLocks/>
            </p:cNvSpPr>
            <p:nvPr/>
          </p:nvSpPr>
          <p:spPr bwMode="auto">
            <a:xfrm>
              <a:off x="6021124" y="3435324"/>
              <a:ext cx="723040" cy="883376"/>
            </a:xfrm>
            <a:custGeom>
              <a:avLst/>
              <a:gdLst/>
              <a:ahLst/>
              <a:cxnLst/>
              <a:rect l="0" t="0" r="r" b="b"/>
              <a:pathLst>
                <a:path w="10736" h="10000">
                  <a:moveTo>
                    <a:pt x="8784" y="4472"/>
                  </a:moveTo>
                  <a:cubicBezTo>
                    <a:pt x="8948" y="4542"/>
                    <a:pt x="9262" y="4499"/>
                    <a:pt x="9397" y="4647"/>
                  </a:cubicBezTo>
                  <a:cubicBezTo>
                    <a:pt x="9282" y="4891"/>
                    <a:pt x="9246" y="4846"/>
                    <a:pt x="9150" y="5059"/>
                  </a:cubicBezTo>
                  <a:cubicBezTo>
                    <a:pt x="9278" y="5100"/>
                    <a:pt x="9553" y="5244"/>
                    <a:pt x="9543" y="5202"/>
                  </a:cubicBezTo>
                  <a:cubicBezTo>
                    <a:pt x="9555" y="5140"/>
                    <a:pt x="9941" y="4675"/>
                    <a:pt x="9949" y="4570"/>
                  </a:cubicBezTo>
                  <a:cubicBezTo>
                    <a:pt x="10062" y="4506"/>
                    <a:pt x="10576" y="4087"/>
                    <a:pt x="10736" y="4050"/>
                  </a:cubicBezTo>
                  <a:lnTo>
                    <a:pt x="10429" y="3991"/>
                  </a:lnTo>
                  <a:cubicBezTo>
                    <a:pt x="10556" y="3858"/>
                    <a:pt x="10557" y="3689"/>
                    <a:pt x="10593" y="3380"/>
                  </a:cubicBezTo>
                  <a:cubicBezTo>
                    <a:pt x="10678" y="3109"/>
                    <a:pt x="10563" y="3146"/>
                    <a:pt x="10508" y="3001"/>
                  </a:cubicBezTo>
                  <a:cubicBezTo>
                    <a:pt x="10453" y="2856"/>
                    <a:pt x="10430" y="2809"/>
                    <a:pt x="10055" y="2790"/>
                  </a:cubicBezTo>
                  <a:cubicBezTo>
                    <a:pt x="9757" y="2713"/>
                    <a:pt x="9789" y="2667"/>
                    <a:pt x="9600" y="2544"/>
                  </a:cubicBezTo>
                  <a:lnTo>
                    <a:pt x="9075" y="2540"/>
                  </a:lnTo>
                  <a:cubicBezTo>
                    <a:pt x="8904" y="2631"/>
                    <a:pt x="8281" y="3056"/>
                    <a:pt x="8247" y="3163"/>
                  </a:cubicBezTo>
                  <a:cubicBezTo>
                    <a:pt x="8213" y="3270"/>
                    <a:pt x="8677" y="3148"/>
                    <a:pt x="8793" y="3233"/>
                  </a:cubicBezTo>
                  <a:cubicBezTo>
                    <a:pt x="8909" y="3318"/>
                    <a:pt x="8879" y="3366"/>
                    <a:pt x="8859" y="3438"/>
                  </a:cubicBezTo>
                  <a:lnTo>
                    <a:pt x="8437" y="3459"/>
                  </a:lnTo>
                  <a:cubicBezTo>
                    <a:pt x="8303" y="3436"/>
                    <a:pt x="8184" y="3409"/>
                    <a:pt x="8149" y="3340"/>
                  </a:cubicBezTo>
                  <a:lnTo>
                    <a:pt x="8262" y="3149"/>
                  </a:lnTo>
                  <a:lnTo>
                    <a:pt x="7715" y="3110"/>
                  </a:lnTo>
                  <a:lnTo>
                    <a:pt x="7254" y="3152"/>
                  </a:lnTo>
                  <a:lnTo>
                    <a:pt x="7031" y="3152"/>
                  </a:lnTo>
                  <a:lnTo>
                    <a:pt x="6808" y="3468"/>
                  </a:lnTo>
                  <a:lnTo>
                    <a:pt x="6584" y="3468"/>
                  </a:lnTo>
                  <a:lnTo>
                    <a:pt x="6138" y="3363"/>
                  </a:lnTo>
                  <a:lnTo>
                    <a:pt x="5357" y="3257"/>
                  </a:lnTo>
                  <a:lnTo>
                    <a:pt x="4240" y="2732"/>
                  </a:lnTo>
                  <a:lnTo>
                    <a:pt x="4575" y="2102"/>
                  </a:lnTo>
                  <a:lnTo>
                    <a:pt x="4017" y="1891"/>
                  </a:lnTo>
                  <a:lnTo>
                    <a:pt x="3794" y="1471"/>
                  </a:lnTo>
                  <a:lnTo>
                    <a:pt x="4017" y="1156"/>
                  </a:lnTo>
                  <a:cubicBezTo>
                    <a:pt x="3980" y="1051"/>
                    <a:pt x="4011" y="999"/>
                    <a:pt x="3974" y="894"/>
                  </a:cubicBezTo>
                  <a:lnTo>
                    <a:pt x="4233" y="601"/>
                  </a:lnTo>
                  <a:cubicBezTo>
                    <a:pt x="4235" y="401"/>
                    <a:pt x="4238" y="200"/>
                    <a:pt x="4240" y="0"/>
                  </a:cubicBezTo>
                  <a:lnTo>
                    <a:pt x="3571" y="0"/>
                  </a:lnTo>
                  <a:lnTo>
                    <a:pt x="3125" y="0"/>
                  </a:lnTo>
                  <a:lnTo>
                    <a:pt x="3236" y="105"/>
                  </a:lnTo>
                  <a:lnTo>
                    <a:pt x="3348" y="210"/>
                  </a:lnTo>
                  <a:lnTo>
                    <a:pt x="2120" y="420"/>
                  </a:lnTo>
                  <a:lnTo>
                    <a:pt x="2120" y="946"/>
                  </a:lnTo>
                  <a:lnTo>
                    <a:pt x="2455" y="1156"/>
                  </a:lnTo>
                  <a:cubicBezTo>
                    <a:pt x="2381" y="1331"/>
                    <a:pt x="2306" y="1506"/>
                    <a:pt x="2232" y="1681"/>
                  </a:cubicBezTo>
                  <a:lnTo>
                    <a:pt x="2009" y="2102"/>
                  </a:lnTo>
                  <a:lnTo>
                    <a:pt x="1339" y="3047"/>
                  </a:lnTo>
                  <a:lnTo>
                    <a:pt x="893" y="3047"/>
                  </a:lnTo>
                  <a:lnTo>
                    <a:pt x="557" y="3363"/>
                  </a:lnTo>
                  <a:lnTo>
                    <a:pt x="781" y="3783"/>
                  </a:lnTo>
                  <a:lnTo>
                    <a:pt x="1116" y="4203"/>
                  </a:lnTo>
                  <a:lnTo>
                    <a:pt x="670" y="4413"/>
                  </a:lnTo>
                  <a:lnTo>
                    <a:pt x="223" y="4518"/>
                  </a:lnTo>
                  <a:lnTo>
                    <a:pt x="0" y="4623"/>
                  </a:lnTo>
                  <a:lnTo>
                    <a:pt x="446" y="5149"/>
                  </a:lnTo>
                  <a:lnTo>
                    <a:pt x="781" y="5569"/>
                  </a:lnTo>
                  <a:lnTo>
                    <a:pt x="1450" y="5149"/>
                  </a:lnTo>
                  <a:cubicBezTo>
                    <a:pt x="1524" y="5814"/>
                    <a:pt x="1599" y="6480"/>
                    <a:pt x="1673" y="7145"/>
                  </a:cubicBezTo>
                  <a:lnTo>
                    <a:pt x="2009" y="8004"/>
                  </a:lnTo>
                  <a:lnTo>
                    <a:pt x="2566" y="8949"/>
                  </a:lnTo>
                  <a:lnTo>
                    <a:pt x="2901" y="9475"/>
                  </a:lnTo>
                  <a:lnTo>
                    <a:pt x="3236" y="10000"/>
                  </a:lnTo>
                  <a:lnTo>
                    <a:pt x="3571" y="9685"/>
                  </a:lnTo>
                  <a:lnTo>
                    <a:pt x="4017" y="9159"/>
                  </a:lnTo>
                  <a:lnTo>
                    <a:pt x="4128" y="8739"/>
                  </a:lnTo>
                  <a:cubicBezTo>
                    <a:pt x="4165" y="8494"/>
                    <a:pt x="4203" y="8249"/>
                    <a:pt x="4240" y="8004"/>
                  </a:cubicBezTo>
                  <a:cubicBezTo>
                    <a:pt x="4277" y="7788"/>
                    <a:pt x="4315" y="7572"/>
                    <a:pt x="4352" y="7356"/>
                  </a:cubicBezTo>
                  <a:lnTo>
                    <a:pt x="5133" y="6725"/>
                  </a:lnTo>
                  <a:lnTo>
                    <a:pt x="5915" y="6200"/>
                  </a:lnTo>
                  <a:lnTo>
                    <a:pt x="6639" y="5875"/>
                  </a:lnTo>
                  <a:cubicBezTo>
                    <a:pt x="6658" y="5668"/>
                    <a:pt x="7156" y="5557"/>
                    <a:pt x="7176" y="5350"/>
                  </a:cubicBezTo>
                  <a:cubicBezTo>
                    <a:pt x="7217" y="5258"/>
                    <a:pt x="8021" y="5398"/>
                    <a:pt x="8062" y="5306"/>
                  </a:cubicBezTo>
                  <a:cubicBezTo>
                    <a:pt x="7988" y="5026"/>
                    <a:pt x="7935" y="4864"/>
                    <a:pt x="7861" y="4584"/>
                  </a:cubicBezTo>
                  <a:cubicBezTo>
                    <a:pt x="7833" y="4487"/>
                    <a:pt x="7982" y="4490"/>
                    <a:pt x="7954" y="4393"/>
                  </a:cubicBezTo>
                  <a:cubicBezTo>
                    <a:pt x="7982" y="4385"/>
                    <a:pt x="8059" y="4243"/>
                    <a:pt x="8087" y="4235"/>
                  </a:cubicBezTo>
                  <a:cubicBezTo>
                    <a:pt x="8120" y="4206"/>
                    <a:pt x="8344" y="4234"/>
                    <a:pt x="8411" y="4228"/>
                  </a:cubicBezTo>
                  <a:cubicBezTo>
                    <a:pt x="8478" y="4222"/>
                    <a:pt x="8620" y="4402"/>
                    <a:pt x="8784" y="4472"/>
                  </a:cubicBez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250" name="AF"/>
            <p:cNvSpPr>
              <a:spLocks/>
            </p:cNvSpPr>
            <p:nvPr/>
          </p:nvSpPr>
          <p:spPr bwMode="auto">
            <a:xfrm>
              <a:off x="5759189" y="3403575"/>
              <a:ext cx="354008" cy="272234"/>
            </a:xfrm>
            <a:custGeom>
              <a:avLst/>
              <a:gdLst>
                <a:gd name="T0" fmla="*/ 327261 w 10348"/>
                <a:gd name="T1" fmla="*/ 8222 h 11017"/>
                <a:gd name="T2" fmla="*/ 294275 w 10348"/>
                <a:gd name="T3" fmla="*/ 29389 h 11017"/>
                <a:gd name="T4" fmla="*/ 271988 w 10348"/>
                <a:gd name="T5" fmla="*/ 29389 h 11017"/>
                <a:gd name="T6" fmla="*/ 264536 w 10348"/>
                <a:gd name="T7" fmla="*/ 7347 h 11017"/>
                <a:gd name="T8" fmla="*/ 257119 w 10348"/>
                <a:gd name="T9" fmla="*/ 0 h 11017"/>
                <a:gd name="T10" fmla="*/ 234832 w 10348"/>
                <a:gd name="T11" fmla="*/ 22042 h 11017"/>
                <a:gd name="T12" fmla="*/ 219963 w 10348"/>
                <a:gd name="T13" fmla="*/ 36761 h 11017"/>
                <a:gd name="T14" fmla="*/ 191557 w 10348"/>
                <a:gd name="T15" fmla="*/ 28989 h 11017"/>
                <a:gd name="T16" fmla="*/ 175389 w 10348"/>
                <a:gd name="T17" fmla="*/ 29389 h 11017"/>
                <a:gd name="T18" fmla="*/ 153068 w 10348"/>
                <a:gd name="T19" fmla="*/ 29389 h 11017"/>
                <a:gd name="T20" fmla="*/ 123364 w 10348"/>
                <a:gd name="T21" fmla="*/ 22042 h 11017"/>
                <a:gd name="T22" fmla="*/ 115912 w 10348"/>
                <a:gd name="T23" fmla="*/ 58803 h 11017"/>
                <a:gd name="T24" fmla="*/ 78790 w 10348"/>
                <a:gd name="T25" fmla="*/ 73498 h 11017"/>
                <a:gd name="T26" fmla="*/ 63921 w 10348"/>
                <a:gd name="T27" fmla="*/ 88192 h 11017"/>
                <a:gd name="T28" fmla="*/ 41634 w 10348"/>
                <a:gd name="T29" fmla="*/ 80845 h 11017"/>
                <a:gd name="T30" fmla="*/ 19621 w 10348"/>
                <a:gd name="T31" fmla="*/ 71124 h 11017"/>
                <a:gd name="T32" fmla="*/ 12169 w 10348"/>
                <a:gd name="T33" fmla="*/ 117606 h 11017"/>
                <a:gd name="T34" fmla="*/ 11895 w 10348"/>
                <a:gd name="T35" fmla="*/ 146996 h 11017"/>
                <a:gd name="T36" fmla="*/ 0 w 10348"/>
                <a:gd name="T37" fmla="*/ 193278 h 11017"/>
                <a:gd name="T38" fmla="*/ 27346 w 10348"/>
                <a:gd name="T39" fmla="*/ 210347 h 11017"/>
                <a:gd name="T40" fmla="*/ 26765 w 10348"/>
                <a:gd name="T41" fmla="*/ 242560 h 11017"/>
                <a:gd name="T42" fmla="*/ 16134 w 10348"/>
                <a:gd name="T43" fmla="*/ 265427 h 11017"/>
                <a:gd name="T44" fmla="*/ 46659 w 10348"/>
                <a:gd name="T45" fmla="*/ 271949 h 11017"/>
                <a:gd name="T46" fmla="*/ 61802 w 10348"/>
                <a:gd name="T47" fmla="*/ 272224 h 11017"/>
                <a:gd name="T48" fmla="*/ 103367 w 10348"/>
                <a:gd name="T49" fmla="*/ 274398 h 11017"/>
                <a:gd name="T50" fmla="*/ 163460 w 10348"/>
                <a:gd name="T51" fmla="*/ 256430 h 11017"/>
                <a:gd name="T52" fmla="*/ 172655 w 10348"/>
                <a:gd name="T53" fmla="*/ 222942 h 11017"/>
                <a:gd name="T54" fmla="*/ 201539 w 10348"/>
                <a:gd name="T55" fmla="*/ 214795 h 11017"/>
                <a:gd name="T56" fmla="*/ 247719 w 10348"/>
                <a:gd name="T57" fmla="*/ 194378 h 11017"/>
                <a:gd name="T58" fmla="*/ 249428 w 10348"/>
                <a:gd name="T59" fmla="*/ 169037 h 11017"/>
                <a:gd name="T60" fmla="*/ 259341 w 10348"/>
                <a:gd name="T61" fmla="*/ 162515 h 11017"/>
                <a:gd name="T62" fmla="*/ 272398 w 10348"/>
                <a:gd name="T63" fmla="*/ 151894 h 11017"/>
                <a:gd name="T64" fmla="*/ 294617 w 10348"/>
                <a:gd name="T65" fmla="*/ 123329 h 11017"/>
                <a:gd name="T66" fmla="*/ 298855 w 10348"/>
                <a:gd name="T67" fmla="*/ 106161 h 11017"/>
                <a:gd name="T68" fmla="*/ 313554 w 10348"/>
                <a:gd name="T69" fmla="*/ 80045 h 11017"/>
                <a:gd name="T70" fmla="*/ 301693 w 10348"/>
                <a:gd name="T71" fmla="*/ 51456 h 11017"/>
                <a:gd name="T72" fmla="*/ 353718 w 10348"/>
                <a:gd name="T73" fmla="*/ 44109 h 11017"/>
                <a:gd name="T74" fmla="*/ 338849 w 10348"/>
                <a:gd name="T75" fmla="*/ 22042 h 11017"/>
                <a:gd name="T76" fmla="*/ 327261 w 10348"/>
                <a:gd name="T77" fmla="*/ 8222 h 11017"/>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0348" h="11017">
                  <a:moveTo>
                    <a:pt x="9574" y="329"/>
                  </a:moveTo>
                  <a:cubicBezTo>
                    <a:pt x="9252" y="611"/>
                    <a:pt x="8879" y="1035"/>
                    <a:pt x="8609" y="1176"/>
                  </a:cubicBezTo>
                  <a:cubicBezTo>
                    <a:pt x="8340" y="1317"/>
                    <a:pt x="8174" y="1176"/>
                    <a:pt x="7957" y="1176"/>
                  </a:cubicBezTo>
                  <a:cubicBezTo>
                    <a:pt x="7884" y="882"/>
                    <a:pt x="7812" y="588"/>
                    <a:pt x="7739" y="294"/>
                  </a:cubicBezTo>
                  <a:lnTo>
                    <a:pt x="7522" y="0"/>
                  </a:lnTo>
                  <a:lnTo>
                    <a:pt x="6870" y="882"/>
                  </a:lnTo>
                  <a:cubicBezTo>
                    <a:pt x="6725" y="1078"/>
                    <a:pt x="6646" y="1425"/>
                    <a:pt x="6435" y="1471"/>
                  </a:cubicBezTo>
                  <a:cubicBezTo>
                    <a:pt x="6224" y="1517"/>
                    <a:pt x="5881" y="1264"/>
                    <a:pt x="5604" y="1160"/>
                  </a:cubicBezTo>
                  <a:cubicBezTo>
                    <a:pt x="5446" y="1165"/>
                    <a:pt x="5319" y="1173"/>
                    <a:pt x="5131" y="1176"/>
                  </a:cubicBezTo>
                  <a:cubicBezTo>
                    <a:pt x="4943" y="1179"/>
                    <a:pt x="4696" y="1176"/>
                    <a:pt x="4478" y="1176"/>
                  </a:cubicBezTo>
                  <a:lnTo>
                    <a:pt x="3609" y="882"/>
                  </a:lnTo>
                  <a:cubicBezTo>
                    <a:pt x="3536" y="1372"/>
                    <a:pt x="3464" y="1863"/>
                    <a:pt x="3391" y="2353"/>
                  </a:cubicBezTo>
                  <a:lnTo>
                    <a:pt x="2305" y="2941"/>
                  </a:lnTo>
                  <a:lnTo>
                    <a:pt x="1870" y="3529"/>
                  </a:lnTo>
                  <a:lnTo>
                    <a:pt x="1218" y="3235"/>
                  </a:lnTo>
                  <a:lnTo>
                    <a:pt x="574" y="2846"/>
                  </a:lnTo>
                  <a:cubicBezTo>
                    <a:pt x="501" y="3434"/>
                    <a:pt x="429" y="4118"/>
                    <a:pt x="356" y="4706"/>
                  </a:cubicBezTo>
                  <a:cubicBezTo>
                    <a:pt x="284" y="5098"/>
                    <a:pt x="420" y="5490"/>
                    <a:pt x="348" y="5882"/>
                  </a:cubicBezTo>
                  <a:cubicBezTo>
                    <a:pt x="278" y="6404"/>
                    <a:pt x="70" y="7212"/>
                    <a:pt x="0" y="7734"/>
                  </a:cubicBezTo>
                  <a:cubicBezTo>
                    <a:pt x="290" y="7930"/>
                    <a:pt x="510" y="8221"/>
                    <a:pt x="800" y="8417"/>
                  </a:cubicBezTo>
                  <a:cubicBezTo>
                    <a:pt x="365" y="10182"/>
                    <a:pt x="838" y="9339"/>
                    <a:pt x="783" y="9706"/>
                  </a:cubicBezTo>
                  <a:cubicBezTo>
                    <a:pt x="728" y="10073"/>
                    <a:pt x="375" y="10425"/>
                    <a:pt x="472" y="10621"/>
                  </a:cubicBezTo>
                  <a:cubicBezTo>
                    <a:pt x="569" y="10817"/>
                    <a:pt x="1142" y="10837"/>
                    <a:pt x="1365" y="10882"/>
                  </a:cubicBezTo>
                  <a:cubicBezTo>
                    <a:pt x="1588" y="10927"/>
                    <a:pt x="1663" y="10844"/>
                    <a:pt x="1808" y="10893"/>
                  </a:cubicBezTo>
                  <a:cubicBezTo>
                    <a:pt x="1953" y="10942"/>
                    <a:pt x="2528" y="11085"/>
                    <a:pt x="3024" y="10980"/>
                  </a:cubicBezTo>
                  <a:cubicBezTo>
                    <a:pt x="3520" y="10875"/>
                    <a:pt x="4444" y="10604"/>
                    <a:pt x="4782" y="10261"/>
                  </a:cubicBezTo>
                  <a:cubicBezTo>
                    <a:pt x="5120" y="9918"/>
                    <a:pt x="4865" y="9199"/>
                    <a:pt x="5051" y="8921"/>
                  </a:cubicBezTo>
                  <a:cubicBezTo>
                    <a:pt x="5237" y="8643"/>
                    <a:pt x="5530" y="8785"/>
                    <a:pt x="5896" y="8595"/>
                  </a:cubicBezTo>
                  <a:cubicBezTo>
                    <a:pt x="6262" y="8405"/>
                    <a:pt x="7014" y="8083"/>
                    <a:pt x="7247" y="7778"/>
                  </a:cubicBezTo>
                  <a:cubicBezTo>
                    <a:pt x="7481" y="7473"/>
                    <a:pt x="7240" y="6977"/>
                    <a:pt x="7297" y="6764"/>
                  </a:cubicBezTo>
                  <a:cubicBezTo>
                    <a:pt x="7354" y="6552"/>
                    <a:pt x="7475" y="6617"/>
                    <a:pt x="7587" y="6503"/>
                  </a:cubicBezTo>
                  <a:cubicBezTo>
                    <a:pt x="7699" y="6389"/>
                    <a:pt x="7797" y="6339"/>
                    <a:pt x="7969" y="6078"/>
                  </a:cubicBezTo>
                  <a:cubicBezTo>
                    <a:pt x="8141" y="5817"/>
                    <a:pt x="8490" y="5240"/>
                    <a:pt x="8619" y="4935"/>
                  </a:cubicBezTo>
                  <a:cubicBezTo>
                    <a:pt x="8748" y="4630"/>
                    <a:pt x="8651" y="4537"/>
                    <a:pt x="8743" y="4248"/>
                  </a:cubicBezTo>
                  <a:cubicBezTo>
                    <a:pt x="8835" y="3959"/>
                    <a:pt x="9159" y="3568"/>
                    <a:pt x="9173" y="3203"/>
                  </a:cubicBezTo>
                  <a:cubicBezTo>
                    <a:pt x="9187" y="2838"/>
                    <a:pt x="8630" y="2299"/>
                    <a:pt x="8826" y="2059"/>
                  </a:cubicBezTo>
                  <a:cubicBezTo>
                    <a:pt x="9022" y="1819"/>
                    <a:pt x="9841" y="1863"/>
                    <a:pt x="10348" y="1765"/>
                  </a:cubicBezTo>
                  <a:lnTo>
                    <a:pt x="9913" y="882"/>
                  </a:lnTo>
                  <a:lnTo>
                    <a:pt x="9574" y="329"/>
                  </a:ln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251" name="BD"/>
            <p:cNvSpPr>
              <a:spLocks/>
            </p:cNvSpPr>
            <p:nvPr/>
          </p:nvSpPr>
          <p:spPr bwMode="auto">
            <a:xfrm>
              <a:off x="6547315" y="3808342"/>
              <a:ext cx="112712" cy="138112"/>
            </a:xfrm>
            <a:custGeom>
              <a:avLst/>
              <a:gdLst>
                <a:gd name="T0" fmla="*/ 2147483647 w 90"/>
                <a:gd name="T1" fmla="*/ 2147483647 h 78"/>
                <a:gd name="T2" fmla="*/ 2147483647 w 90"/>
                <a:gd name="T3" fmla="*/ 2147483647 h 78"/>
                <a:gd name="T4" fmla="*/ 2147483647 w 90"/>
                <a:gd name="T5" fmla="*/ 2147483647 h 78"/>
                <a:gd name="T6" fmla="*/ 2147483647 w 90"/>
                <a:gd name="T7" fmla="*/ 2147483647 h 78"/>
                <a:gd name="T8" fmla="*/ 2147483647 w 90"/>
                <a:gd name="T9" fmla="*/ 0 h 78"/>
                <a:gd name="T10" fmla="*/ 2147483647 w 90"/>
                <a:gd name="T11" fmla="*/ 0 h 78"/>
                <a:gd name="T12" fmla="*/ 2147483647 w 90"/>
                <a:gd name="T13" fmla="*/ 2147483647 h 78"/>
                <a:gd name="T14" fmla="*/ 0 w 90"/>
                <a:gd name="T15" fmla="*/ 2147483647 h 78"/>
                <a:gd name="T16" fmla="*/ 2147483647 w 90"/>
                <a:gd name="T17" fmla="*/ 2147483647 h 78"/>
                <a:gd name="T18" fmla="*/ 2147483647 w 90"/>
                <a:gd name="T19" fmla="*/ 2147483647 h 78"/>
                <a:gd name="T20" fmla="*/ 2147483647 w 90"/>
                <a:gd name="T21" fmla="*/ 2147483647 h 78"/>
                <a:gd name="T22" fmla="*/ 2147483647 w 90"/>
                <a:gd name="T23" fmla="*/ 2147483647 h 78"/>
                <a:gd name="T24" fmla="*/ 2147483647 w 90"/>
                <a:gd name="T25" fmla="*/ 2147483647 h 78"/>
                <a:gd name="T26" fmla="*/ 2147483647 w 90"/>
                <a:gd name="T27" fmla="*/ 2147483647 h 78"/>
                <a:gd name="T28" fmla="*/ 2147483647 w 90"/>
                <a:gd name="T29" fmla="*/ 2147483647 h 7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90" h="78">
                  <a:moveTo>
                    <a:pt x="72" y="42"/>
                  </a:moveTo>
                  <a:lnTo>
                    <a:pt x="78" y="30"/>
                  </a:lnTo>
                  <a:lnTo>
                    <a:pt x="84" y="18"/>
                  </a:lnTo>
                  <a:lnTo>
                    <a:pt x="48" y="12"/>
                  </a:lnTo>
                  <a:lnTo>
                    <a:pt x="30" y="0"/>
                  </a:lnTo>
                  <a:lnTo>
                    <a:pt x="12" y="0"/>
                  </a:lnTo>
                  <a:lnTo>
                    <a:pt x="6" y="12"/>
                  </a:lnTo>
                  <a:lnTo>
                    <a:pt x="0" y="18"/>
                  </a:lnTo>
                  <a:lnTo>
                    <a:pt x="6" y="30"/>
                  </a:lnTo>
                  <a:lnTo>
                    <a:pt x="18" y="78"/>
                  </a:lnTo>
                  <a:lnTo>
                    <a:pt x="54" y="72"/>
                  </a:lnTo>
                  <a:lnTo>
                    <a:pt x="78" y="66"/>
                  </a:lnTo>
                  <a:lnTo>
                    <a:pt x="84" y="72"/>
                  </a:lnTo>
                  <a:lnTo>
                    <a:pt x="90" y="48"/>
                  </a:lnTo>
                  <a:lnTo>
                    <a:pt x="72" y="42"/>
                  </a:ln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252" name="NP"/>
            <p:cNvSpPr>
              <a:spLocks/>
            </p:cNvSpPr>
            <p:nvPr/>
          </p:nvSpPr>
          <p:spPr bwMode="auto">
            <a:xfrm>
              <a:off x="6304430" y="3628184"/>
              <a:ext cx="214310" cy="120648"/>
            </a:xfrm>
            <a:custGeom>
              <a:avLst/>
              <a:gdLst>
                <a:gd name="T0" fmla="*/ 13780995 w 10000"/>
                <a:gd name="T1" fmla="*/ 2262059 h 11631"/>
                <a:gd name="T2" fmla="*/ 9857897 w 10000"/>
                <a:gd name="T3" fmla="*/ 1876450 h 11631"/>
                <a:gd name="T4" fmla="*/ 3736600 w 10000"/>
                <a:gd name="T5" fmla="*/ 488415 h 11631"/>
                <a:gd name="T6" fmla="*/ 1588606 w 10000"/>
                <a:gd name="T7" fmla="*/ 0 h 11631"/>
                <a:gd name="T8" fmla="*/ 0 w 10000"/>
                <a:gd name="T9" fmla="*/ 2015330 h 11631"/>
                <a:gd name="T10" fmla="*/ 6201990 w 10000"/>
                <a:gd name="T11" fmla="*/ 3895548 h 11631"/>
                <a:gd name="T12" fmla="*/ 10584065 w 10000"/>
                <a:gd name="T13" fmla="*/ 4304661 h 11631"/>
                <a:gd name="T14" fmla="*/ 14372668 w 10000"/>
                <a:gd name="T15" fmla="*/ 4880351 h 11631"/>
                <a:gd name="T16" fmla="*/ 15556057 w 10000"/>
                <a:gd name="T17" fmla="*/ 3654701 h 11631"/>
                <a:gd name="T18" fmla="*/ 17929985 w 10000"/>
                <a:gd name="T19" fmla="*/ 3410498 h 11631"/>
                <a:gd name="T20" fmla="*/ 15984590 w 10000"/>
                <a:gd name="T21" fmla="*/ 2836071 h 11631"/>
                <a:gd name="T22" fmla="*/ 14899813 w 10000"/>
                <a:gd name="T23" fmla="*/ 2778585 h 11631"/>
                <a:gd name="T24" fmla="*/ 13780995 w 10000"/>
                <a:gd name="T25" fmla="*/ 2262059 h 116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000" h="11631">
                  <a:moveTo>
                    <a:pt x="7686" y="5391"/>
                  </a:moveTo>
                  <a:lnTo>
                    <a:pt x="5498" y="4472"/>
                  </a:lnTo>
                  <a:lnTo>
                    <a:pt x="2084" y="1164"/>
                  </a:lnTo>
                  <a:lnTo>
                    <a:pt x="886" y="0"/>
                  </a:lnTo>
                  <a:lnTo>
                    <a:pt x="0" y="4803"/>
                  </a:lnTo>
                  <a:lnTo>
                    <a:pt x="3459" y="9284"/>
                  </a:lnTo>
                  <a:lnTo>
                    <a:pt x="5903" y="10259"/>
                  </a:lnTo>
                  <a:lnTo>
                    <a:pt x="8016" y="11631"/>
                  </a:lnTo>
                  <a:lnTo>
                    <a:pt x="8676" y="8710"/>
                  </a:lnTo>
                  <a:lnTo>
                    <a:pt x="10000" y="8128"/>
                  </a:lnTo>
                  <a:lnTo>
                    <a:pt x="8915" y="6759"/>
                  </a:lnTo>
                  <a:lnTo>
                    <a:pt x="8310" y="6622"/>
                  </a:lnTo>
                  <a:cubicBezTo>
                    <a:pt x="8207" y="6039"/>
                    <a:pt x="7790" y="5973"/>
                    <a:pt x="7686" y="5391"/>
                  </a:cubicBez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253" name="MM"/>
            <p:cNvSpPr>
              <a:spLocks/>
            </p:cNvSpPr>
            <p:nvPr/>
          </p:nvSpPr>
          <p:spPr bwMode="auto">
            <a:xfrm>
              <a:off x="6652089" y="3762306"/>
              <a:ext cx="262668" cy="486546"/>
            </a:xfrm>
            <a:custGeom>
              <a:avLst/>
              <a:gdLst>
                <a:gd name="T0" fmla="*/ 140102 w 12864"/>
                <a:gd name="T1" fmla="*/ 0 h 10000"/>
                <a:gd name="T2" fmla="*/ 109599 w 12864"/>
                <a:gd name="T3" fmla="*/ 30737 h 10000"/>
                <a:gd name="T4" fmla="*/ 94725 w 12864"/>
                <a:gd name="T5" fmla="*/ 38973 h 10000"/>
                <a:gd name="T6" fmla="*/ 90019 w 12864"/>
                <a:gd name="T7" fmla="*/ 29511 h 10000"/>
                <a:gd name="T8" fmla="*/ 38865 w 12864"/>
                <a:gd name="T9" fmla="*/ 74073 h 10000"/>
                <a:gd name="T10" fmla="*/ 7584 w 12864"/>
                <a:gd name="T11" fmla="*/ 132360 h 10000"/>
                <a:gd name="T12" fmla="*/ 0 w 12864"/>
                <a:gd name="T13" fmla="*/ 172902 h 10000"/>
                <a:gd name="T14" fmla="*/ 51806 w 12864"/>
                <a:gd name="T15" fmla="*/ 264769 h 10000"/>
                <a:gd name="T16" fmla="*/ 40167 w 12864"/>
                <a:gd name="T17" fmla="*/ 314527 h 10000"/>
                <a:gd name="T18" fmla="*/ 99809 w 12864"/>
                <a:gd name="T19" fmla="*/ 324135 h 10000"/>
                <a:gd name="T20" fmla="*/ 134031 w 12864"/>
                <a:gd name="T21" fmla="*/ 322469 h 10000"/>
                <a:gd name="T22" fmla="*/ 114977 w 12864"/>
                <a:gd name="T23" fmla="*/ 283888 h 10000"/>
                <a:gd name="T24" fmla="*/ 127561 w 12864"/>
                <a:gd name="T25" fmla="*/ 294379 h 10000"/>
                <a:gd name="T26" fmla="*/ 140397 w 12864"/>
                <a:gd name="T27" fmla="*/ 350657 h 10000"/>
                <a:gd name="T28" fmla="*/ 155207 w 12864"/>
                <a:gd name="T29" fmla="*/ 392914 h 10000"/>
                <a:gd name="T30" fmla="*/ 158736 w 12864"/>
                <a:gd name="T31" fmla="*/ 490223 h 10000"/>
                <a:gd name="T32" fmla="*/ 189219 w 12864"/>
                <a:gd name="T33" fmla="*/ 435514 h 10000"/>
                <a:gd name="T34" fmla="*/ 176005 w 12864"/>
                <a:gd name="T35" fmla="*/ 339970 h 10000"/>
                <a:gd name="T36" fmla="*/ 154472 w 12864"/>
                <a:gd name="T37" fmla="*/ 312811 h 10000"/>
                <a:gd name="T38" fmla="*/ 165228 w 12864"/>
                <a:gd name="T39" fmla="*/ 291094 h 10000"/>
                <a:gd name="T40" fmla="*/ 163421 w 12864"/>
                <a:gd name="T41" fmla="*/ 273054 h 10000"/>
                <a:gd name="T42" fmla="*/ 134724 w 12864"/>
                <a:gd name="T43" fmla="*/ 235062 h 10000"/>
                <a:gd name="T44" fmla="*/ 149073 w 12864"/>
                <a:gd name="T45" fmla="*/ 206139 h 10000"/>
                <a:gd name="T46" fmla="*/ 166299 w 12864"/>
                <a:gd name="T47" fmla="*/ 205698 h 10000"/>
                <a:gd name="T48" fmla="*/ 203463 w 12864"/>
                <a:gd name="T49" fmla="*/ 187314 h 10000"/>
                <a:gd name="T50" fmla="*/ 216950 w 12864"/>
                <a:gd name="T51" fmla="*/ 171578 h 10000"/>
                <a:gd name="T52" fmla="*/ 233504 w 12864"/>
                <a:gd name="T53" fmla="*/ 147165 h 10000"/>
                <a:gd name="T54" fmla="*/ 270247 w 12864"/>
                <a:gd name="T55" fmla="*/ 142704 h 10000"/>
                <a:gd name="T56" fmla="*/ 257642 w 12864"/>
                <a:gd name="T57" fmla="*/ 100594 h 10000"/>
                <a:gd name="T58" fmla="*/ 232180 w 12864"/>
                <a:gd name="T59" fmla="*/ 84662 h 10000"/>
                <a:gd name="T60" fmla="*/ 199765 w 12864"/>
                <a:gd name="T61" fmla="*/ 79661 h 10000"/>
                <a:gd name="T62" fmla="*/ 163400 w 12864"/>
                <a:gd name="T63" fmla="*/ 83877 h 10000"/>
                <a:gd name="T64" fmla="*/ 156089 w 12864"/>
                <a:gd name="T65" fmla="*/ 86426 h 10000"/>
                <a:gd name="T66" fmla="*/ 149073 w 12864"/>
                <a:gd name="T67" fmla="*/ 75985 h 10000"/>
                <a:gd name="T68" fmla="*/ 165228 w 12864"/>
                <a:gd name="T69" fmla="*/ 61474 h 10000"/>
                <a:gd name="T70" fmla="*/ 165228 w 12864"/>
                <a:gd name="T71" fmla="*/ 23531 h 10000"/>
                <a:gd name="T72" fmla="*/ 140102 w 12864"/>
                <a:gd name="T73" fmla="*/ 0 h 1000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2864" h="10000">
                  <a:moveTo>
                    <a:pt x="6669" y="0"/>
                  </a:moveTo>
                  <a:lnTo>
                    <a:pt x="5217" y="627"/>
                  </a:lnTo>
                  <a:lnTo>
                    <a:pt x="4509" y="795"/>
                  </a:lnTo>
                  <a:lnTo>
                    <a:pt x="4285" y="602"/>
                  </a:lnTo>
                  <a:lnTo>
                    <a:pt x="1850" y="1511"/>
                  </a:lnTo>
                  <a:lnTo>
                    <a:pt x="361" y="2700"/>
                  </a:lnTo>
                  <a:lnTo>
                    <a:pt x="0" y="3527"/>
                  </a:lnTo>
                  <a:lnTo>
                    <a:pt x="2466" y="5401"/>
                  </a:lnTo>
                  <a:lnTo>
                    <a:pt x="1912" y="6416"/>
                  </a:lnTo>
                  <a:cubicBezTo>
                    <a:pt x="2658" y="6304"/>
                    <a:pt x="4006" y="6725"/>
                    <a:pt x="4751" y="6612"/>
                  </a:cubicBezTo>
                  <a:lnTo>
                    <a:pt x="6380" y="6578"/>
                  </a:lnTo>
                  <a:lnTo>
                    <a:pt x="5473" y="5791"/>
                  </a:lnTo>
                  <a:lnTo>
                    <a:pt x="6072" y="6005"/>
                  </a:lnTo>
                  <a:lnTo>
                    <a:pt x="6683" y="7153"/>
                  </a:lnTo>
                  <a:lnTo>
                    <a:pt x="7388" y="8015"/>
                  </a:lnTo>
                  <a:cubicBezTo>
                    <a:pt x="7359" y="8285"/>
                    <a:pt x="7584" y="9729"/>
                    <a:pt x="7556" y="10000"/>
                  </a:cubicBezTo>
                  <a:lnTo>
                    <a:pt x="9007" y="8884"/>
                  </a:lnTo>
                  <a:lnTo>
                    <a:pt x="8378" y="6935"/>
                  </a:lnTo>
                  <a:lnTo>
                    <a:pt x="7353" y="6381"/>
                  </a:lnTo>
                  <a:lnTo>
                    <a:pt x="7865" y="5938"/>
                  </a:lnTo>
                  <a:cubicBezTo>
                    <a:pt x="7836" y="5815"/>
                    <a:pt x="7808" y="5693"/>
                    <a:pt x="7779" y="5570"/>
                  </a:cubicBezTo>
                  <a:lnTo>
                    <a:pt x="6413" y="4795"/>
                  </a:lnTo>
                  <a:lnTo>
                    <a:pt x="7096" y="4205"/>
                  </a:lnTo>
                  <a:lnTo>
                    <a:pt x="7916" y="4196"/>
                  </a:lnTo>
                  <a:lnTo>
                    <a:pt x="9685" y="3821"/>
                  </a:lnTo>
                  <a:cubicBezTo>
                    <a:pt x="9793" y="3687"/>
                    <a:pt x="10219" y="3634"/>
                    <a:pt x="10327" y="3500"/>
                  </a:cubicBezTo>
                  <a:lnTo>
                    <a:pt x="11115" y="3002"/>
                  </a:lnTo>
                  <a:cubicBezTo>
                    <a:pt x="11093" y="2923"/>
                    <a:pt x="12886" y="2990"/>
                    <a:pt x="12864" y="2911"/>
                  </a:cubicBezTo>
                  <a:lnTo>
                    <a:pt x="12264" y="2052"/>
                  </a:lnTo>
                  <a:cubicBezTo>
                    <a:pt x="12238" y="1992"/>
                    <a:pt x="11078" y="1787"/>
                    <a:pt x="11052" y="1727"/>
                  </a:cubicBezTo>
                  <a:cubicBezTo>
                    <a:pt x="11067" y="1385"/>
                    <a:pt x="9494" y="1967"/>
                    <a:pt x="9509" y="1625"/>
                  </a:cubicBezTo>
                  <a:lnTo>
                    <a:pt x="7778" y="1711"/>
                  </a:lnTo>
                  <a:lnTo>
                    <a:pt x="7430" y="1763"/>
                  </a:lnTo>
                  <a:lnTo>
                    <a:pt x="7096" y="1550"/>
                  </a:lnTo>
                  <a:lnTo>
                    <a:pt x="7865" y="1254"/>
                  </a:lnTo>
                  <a:lnTo>
                    <a:pt x="7865" y="480"/>
                  </a:lnTo>
                  <a:lnTo>
                    <a:pt x="6669" y="0"/>
                  </a:lnTo>
                  <a:close/>
                </a:path>
              </a:pathLst>
            </a:custGeom>
            <a:solidFill>
              <a:srgbClr val="00B9E4"/>
            </a:solidFill>
            <a:ln w="9525" cap="flat" cmpd="sng">
              <a:solidFill>
                <a:schemeClr val="bg1"/>
              </a:solidFill>
              <a:prstDash val="solid"/>
              <a:round/>
              <a:headEnd type="none" w="med" len="med"/>
              <a:tailEnd type="none" w="med" len="med"/>
            </a:ln>
            <a:effectLst/>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254" name="BT"/>
            <p:cNvSpPr>
              <a:spLocks/>
            </p:cNvSpPr>
            <p:nvPr/>
          </p:nvSpPr>
          <p:spPr bwMode="auto">
            <a:xfrm>
              <a:off x="6539379" y="3698034"/>
              <a:ext cx="88899" cy="49211"/>
            </a:xfrm>
            <a:custGeom>
              <a:avLst/>
              <a:gdLst>
                <a:gd name="T0" fmla="*/ 0 w 348468"/>
                <a:gd name="T1" fmla="*/ 34950 h 191264"/>
                <a:gd name="T2" fmla="*/ 26039 w 348468"/>
                <a:gd name="T3" fmla="*/ 49064 h 191264"/>
                <a:gd name="T4" fmla="*/ 41396 w 348468"/>
                <a:gd name="T5" fmla="*/ 41671 h 191264"/>
                <a:gd name="T6" fmla="*/ 55417 w 348468"/>
                <a:gd name="T7" fmla="*/ 48392 h 191264"/>
                <a:gd name="T8" fmla="*/ 82792 w 348468"/>
                <a:gd name="T9" fmla="*/ 43015 h 191264"/>
                <a:gd name="T10" fmla="*/ 88801 w 348468"/>
                <a:gd name="T11" fmla="*/ 26884 h 191264"/>
                <a:gd name="T12" fmla="*/ 64764 w 348468"/>
                <a:gd name="T13" fmla="*/ 1344 h 191264"/>
                <a:gd name="T14" fmla="*/ 42731 w 348468"/>
                <a:gd name="T15" fmla="*/ 5377 h 191264"/>
                <a:gd name="T16" fmla="*/ 29378 w 348468"/>
                <a:gd name="T17" fmla="*/ 0 h 191264"/>
                <a:gd name="T18" fmla="*/ 7345 w 348468"/>
                <a:gd name="T19" fmla="*/ 18819 h 191264"/>
                <a:gd name="T20" fmla="*/ 0 w 348468"/>
                <a:gd name="T21" fmla="*/ 34950 h 19126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48468" h="191264">
                  <a:moveTo>
                    <a:pt x="0" y="136243"/>
                  </a:moveTo>
                  <a:lnTo>
                    <a:pt x="102182" y="191264"/>
                  </a:lnTo>
                  <a:lnTo>
                    <a:pt x="162443" y="162443"/>
                  </a:lnTo>
                  <a:lnTo>
                    <a:pt x="217465" y="188644"/>
                  </a:lnTo>
                  <a:lnTo>
                    <a:pt x="324887" y="167683"/>
                  </a:lnTo>
                  <a:lnTo>
                    <a:pt x="348468" y="104802"/>
                  </a:lnTo>
                  <a:lnTo>
                    <a:pt x="254145" y="5240"/>
                  </a:lnTo>
                  <a:lnTo>
                    <a:pt x="167684" y="20960"/>
                  </a:lnTo>
                  <a:lnTo>
                    <a:pt x="115282" y="0"/>
                  </a:lnTo>
                  <a:lnTo>
                    <a:pt x="28821" y="73361"/>
                  </a:lnTo>
                  <a:lnTo>
                    <a:pt x="0" y="136243"/>
                  </a:ln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255" name="MY"/>
            <p:cNvSpPr>
              <a:spLocks/>
            </p:cNvSpPr>
            <p:nvPr/>
          </p:nvSpPr>
          <p:spPr bwMode="auto">
            <a:xfrm>
              <a:off x="6871896" y="4336162"/>
              <a:ext cx="128586" cy="147637"/>
            </a:xfrm>
            <a:custGeom>
              <a:avLst/>
              <a:gdLst>
                <a:gd name="T0" fmla="*/ 0 w 675"/>
                <a:gd name="T1" fmla="*/ 2147483647 h 773"/>
                <a:gd name="T2" fmla="*/ 2147483647 w 675"/>
                <a:gd name="T3" fmla="*/ 2147483647 h 773"/>
                <a:gd name="T4" fmla="*/ 2147483647 w 675"/>
                <a:gd name="T5" fmla="*/ 2147483647 h 773"/>
                <a:gd name="T6" fmla="*/ 2147483647 w 675"/>
                <a:gd name="T7" fmla="*/ 2147483647 h 773"/>
                <a:gd name="T8" fmla="*/ 2147483647 w 675"/>
                <a:gd name="T9" fmla="*/ 2147483647 h 773"/>
                <a:gd name="T10" fmla="*/ 2147483647 w 675"/>
                <a:gd name="T11" fmla="*/ 2147483647 h 773"/>
                <a:gd name="T12" fmla="*/ 2147483647 w 675"/>
                <a:gd name="T13" fmla="*/ 2147483647 h 773"/>
                <a:gd name="T14" fmla="*/ 2147483647 w 675"/>
                <a:gd name="T15" fmla="*/ 2147483647 h 773"/>
                <a:gd name="T16" fmla="*/ 2147483647 w 675"/>
                <a:gd name="T17" fmla="*/ 2147483647 h 773"/>
                <a:gd name="T18" fmla="*/ 2147483647 w 675"/>
                <a:gd name="T19" fmla="*/ 2147483647 h 773"/>
                <a:gd name="T20" fmla="*/ 2147483647 w 675"/>
                <a:gd name="T21" fmla="*/ 2147483647 h 773"/>
                <a:gd name="T22" fmla="*/ 2147483647 w 675"/>
                <a:gd name="T23" fmla="*/ 2147483647 h 773"/>
                <a:gd name="T24" fmla="*/ 2147483647 w 675"/>
                <a:gd name="T25" fmla="*/ 2147483647 h 773"/>
                <a:gd name="T26" fmla="*/ 2147483647 w 675"/>
                <a:gd name="T27" fmla="*/ 0 h 773"/>
                <a:gd name="T28" fmla="*/ 0 w 675"/>
                <a:gd name="T29" fmla="*/ 2147483647 h 77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675" h="773">
                  <a:moveTo>
                    <a:pt x="0" y="41"/>
                  </a:moveTo>
                  <a:lnTo>
                    <a:pt x="75" y="339"/>
                  </a:lnTo>
                  <a:lnTo>
                    <a:pt x="273" y="579"/>
                  </a:lnTo>
                  <a:lnTo>
                    <a:pt x="605" y="769"/>
                  </a:lnTo>
                  <a:lnTo>
                    <a:pt x="675" y="773"/>
                  </a:lnTo>
                  <a:lnTo>
                    <a:pt x="563" y="583"/>
                  </a:lnTo>
                  <a:lnTo>
                    <a:pt x="493" y="521"/>
                  </a:lnTo>
                  <a:lnTo>
                    <a:pt x="493" y="269"/>
                  </a:lnTo>
                  <a:lnTo>
                    <a:pt x="323" y="78"/>
                  </a:lnTo>
                  <a:lnTo>
                    <a:pt x="286" y="58"/>
                  </a:lnTo>
                  <a:lnTo>
                    <a:pt x="253" y="111"/>
                  </a:lnTo>
                  <a:lnTo>
                    <a:pt x="141" y="128"/>
                  </a:lnTo>
                  <a:lnTo>
                    <a:pt x="145" y="70"/>
                  </a:lnTo>
                  <a:lnTo>
                    <a:pt x="17" y="0"/>
                  </a:lnTo>
                  <a:lnTo>
                    <a:pt x="0" y="41"/>
                  </a:lnTo>
                  <a:close/>
                </a:path>
              </a:pathLst>
            </a:custGeom>
            <a:solidFill>
              <a:srgbClr val="00B9E4"/>
            </a:solidFill>
            <a:ln w="9525" cap="flat" cmpd="sng">
              <a:solidFill>
                <a:schemeClr val="bg1"/>
              </a:solidFill>
              <a:prstDash val="solid"/>
              <a:round/>
              <a:headEnd type="none" w="med" len="med"/>
              <a:tailEnd type="none" w="med" len="med"/>
            </a:ln>
            <a:effectLst/>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256" name="VN"/>
            <p:cNvSpPr>
              <a:spLocks/>
            </p:cNvSpPr>
            <p:nvPr/>
          </p:nvSpPr>
          <p:spPr bwMode="auto">
            <a:xfrm>
              <a:off x="6906821" y="3881366"/>
              <a:ext cx="200023" cy="389709"/>
            </a:xfrm>
            <a:custGeom>
              <a:avLst/>
              <a:gdLst>
                <a:gd name="T0" fmla="*/ 2147483647 w 138"/>
                <a:gd name="T1" fmla="*/ 0 h 271"/>
                <a:gd name="T2" fmla="*/ 2147483647 w 138"/>
                <a:gd name="T3" fmla="*/ 0 h 271"/>
                <a:gd name="T4" fmla="*/ 0 w 138"/>
                <a:gd name="T5" fmla="*/ 2147483647 h 271"/>
                <a:gd name="T6" fmla="*/ 2147483647 w 138"/>
                <a:gd name="T7" fmla="*/ 2147483647 h 271"/>
                <a:gd name="T8" fmla="*/ 2147483647 w 138"/>
                <a:gd name="T9" fmla="*/ 2147483647 h 271"/>
                <a:gd name="T10" fmla="*/ 2147483647 w 138"/>
                <a:gd name="T11" fmla="*/ 2147483647 h 271"/>
                <a:gd name="T12" fmla="*/ 2147483647 w 138"/>
                <a:gd name="T13" fmla="*/ 2147483647 h 271"/>
                <a:gd name="T14" fmla="*/ 2147483647 w 138"/>
                <a:gd name="T15" fmla="*/ 2147483647 h 271"/>
                <a:gd name="T16" fmla="*/ 2147483647 w 138"/>
                <a:gd name="T17" fmla="*/ 2147483647 h 271"/>
                <a:gd name="T18" fmla="*/ 2147483647 w 138"/>
                <a:gd name="T19" fmla="*/ 2147483647 h 271"/>
                <a:gd name="T20" fmla="*/ 2147483647 w 138"/>
                <a:gd name="T21" fmla="*/ 2147483647 h 271"/>
                <a:gd name="T22" fmla="*/ 2147483647 w 138"/>
                <a:gd name="T23" fmla="*/ 2147483647 h 271"/>
                <a:gd name="T24" fmla="*/ 2147483647 w 138"/>
                <a:gd name="T25" fmla="*/ 2147483647 h 271"/>
                <a:gd name="T26" fmla="*/ 2147483647 w 138"/>
                <a:gd name="T27" fmla="*/ 2147483647 h 271"/>
                <a:gd name="T28" fmla="*/ 2147483647 w 138"/>
                <a:gd name="T29" fmla="*/ 2147483647 h 271"/>
                <a:gd name="T30" fmla="*/ 2147483647 w 138"/>
                <a:gd name="T31" fmla="*/ 2147483647 h 271"/>
                <a:gd name="T32" fmla="*/ 2147483647 w 138"/>
                <a:gd name="T33" fmla="*/ 2147483647 h 271"/>
                <a:gd name="T34" fmla="*/ 2147483647 w 138"/>
                <a:gd name="T35" fmla="*/ 2147483647 h 271"/>
                <a:gd name="T36" fmla="*/ 2147483647 w 138"/>
                <a:gd name="T37" fmla="*/ 2147483647 h 271"/>
                <a:gd name="T38" fmla="*/ 2147483647 w 138"/>
                <a:gd name="T39" fmla="*/ 2147483647 h 271"/>
                <a:gd name="T40" fmla="*/ 2147483647 w 138"/>
                <a:gd name="T41" fmla="*/ 2147483647 h 271"/>
                <a:gd name="T42" fmla="*/ 2147483647 w 138"/>
                <a:gd name="T43" fmla="*/ 2147483647 h 271"/>
                <a:gd name="T44" fmla="*/ 2147483647 w 138"/>
                <a:gd name="T45" fmla="*/ 2147483647 h 271"/>
                <a:gd name="T46" fmla="*/ 2147483647 w 138"/>
                <a:gd name="T47" fmla="*/ 2147483647 h 271"/>
                <a:gd name="T48" fmla="*/ 2147483647 w 138"/>
                <a:gd name="T49" fmla="*/ 2147483647 h 271"/>
                <a:gd name="T50" fmla="*/ 2147483647 w 138"/>
                <a:gd name="T51" fmla="*/ 2147483647 h 271"/>
                <a:gd name="T52" fmla="*/ 2147483647 w 138"/>
                <a:gd name="T53" fmla="*/ 2147483647 h 271"/>
                <a:gd name="T54" fmla="*/ 2147483647 w 138"/>
                <a:gd name="T55" fmla="*/ 2147483647 h 271"/>
                <a:gd name="T56" fmla="*/ 2147483647 w 138"/>
                <a:gd name="T57" fmla="*/ 0 h 27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38" h="271">
                  <a:moveTo>
                    <a:pt x="66" y="0"/>
                  </a:moveTo>
                  <a:lnTo>
                    <a:pt x="6" y="0"/>
                  </a:lnTo>
                  <a:lnTo>
                    <a:pt x="0" y="24"/>
                  </a:lnTo>
                  <a:lnTo>
                    <a:pt x="6" y="24"/>
                  </a:lnTo>
                  <a:lnTo>
                    <a:pt x="18" y="42"/>
                  </a:lnTo>
                  <a:lnTo>
                    <a:pt x="36" y="48"/>
                  </a:lnTo>
                  <a:lnTo>
                    <a:pt x="42" y="60"/>
                  </a:lnTo>
                  <a:lnTo>
                    <a:pt x="36" y="72"/>
                  </a:lnTo>
                  <a:lnTo>
                    <a:pt x="54" y="96"/>
                  </a:lnTo>
                  <a:lnTo>
                    <a:pt x="78" y="126"/>
                  </a:lnTo>
                  <a:lnTo>
                    <a:pt x="96" y="144"/>
                  </a:lnTo>
                  <a:lnTo>
                    <a:pt x="96" y="175"/>
                  </a:lnTo>
                  <a:lnTo>
                    <a:pt x="96" y="211"/>
                  </a:lnTo>
                  <a:lnTo>
                    <a:pt x="78" y="223"/>
                  </a:lnTo>
                  <a:lnTo>
                    <a:pt x="60" y="229"/>
                  </a:lnTo>
                  <a:lnTo>
                    <a:pt x="54" y="241"/>
                  </a:lnTo>
                  <a:lnTo>
                    <a:pt x="42" y="247"/>
                  </a:lnTo>
                  <a:lnTo>
                    <a:pt x="48" y="253"/>
                  </a:lnTo>
                  <a:lnTo>
                    <a:pt x="66" y="271"/>
                  </a:lnTo>
                  <a:lnTo>
                    <a:pt x="108" y="241"/>
                  </a:lnTo>
                  <a:lnTo>
                    <a:pt x="138" y="211"/>
                  </a:lnTo>
                  <a:lnTo>
                    <a:pt x="114" y="132"/>
                  </a:lnTo>
                  <a:lnTo>
                    <a:pt x="102" y="114"/>
                  </a:lnTo>
                  <a:lnTo>
                    <a:pt x="78" y="84"/>
                  </a:lnTo>
                  <a:lnTo>
                    <a:pt x="66" y="60"/>
                  </a:lnTo>
                  <a:lnTo>
                    <a:pt x="78" y="48"/>
                  </a:lnTo>
                  <a:lnTo>
                    <a:pt x="96" y="36"/>
                  </a:lnTo>
                  <a:lnTo>
                    <a:pt x="90" y="18"/>
                  </a:lnTo>
                  <a:lnTo>
                    <a:pt x="66" y="0"/>
                  </a:ln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257" name="TH"/>
            <p:cNvSpPr>
              <a:spLocks/>
            </p:cNvSpPr>
            <p:nvPr/>
          </p:nvSpPr>
          <p:spPr bwMode="auto">
            <a:xfrm>
              <a:off x="6785437" y="3946454"/>
              <a:ext cx="215044" cy="397646"/>
            </a:xfrm>
            <a:custGeom>
              <a:avLst/>
              <a:gdLst>
                <a:gd name="T0" fmla="*/ 2147483647 w 107"/>
                <a:gd name="T1" fmla="*/ 2147483647 h 190"/>
                <a:gd name="T2" fmla="*/ 0 w 107"/>
                <a:gd name="T3" fmla="*/ 2147483647 h 190"/>
                <a:gd name="T4" fmla="*/ 2147483647 w 107"/>
                <a:gd name="T5" fmla="*/ 2147483647 h 190"/>
                <a:gd name="T6" fmla="*/ 2147483647 w 107"/>
                <a:gd name="T7" fmla="*/ 2147483647 h 190"/>
                <a:gd name="T8" fmla="*/ 2147483647 w 107"/>
                <a:gd name="T9" fmla="*/ 2147483647 h 190"/>
                <a:gd name="T10" fmla="*/ 2147483647 w 107"/>
                <a:gd name="T11" fmla="*/ 2147483647 h 190"/>
                <a:gd name="T12" fmla="*/ 2147483647 w 107"/>
                <a:gd name="T13" fmla="*/ 2147483647 h 190"/>
                <a:gd name="T14" fmla="*/ 2147483647 w 107"/>
                <a:gd name="T15" fmla="*/ 2147483647 h 190"/>
                <a:gd name="T16" fmla="*/ 2147483647 w 107"/>
                <a:gd name="T17" fmla="*/ 2147483647 h 190"/>
                <a:gd name="T18" fmla="*/ 2147483647 w 107"/>
                <a:gd name="T19" fmla="*/ 2147483647 h 190"/>
                <a:gd name="T20" fmla="*/ 2147483647 w 107"/>
                <a:gd name="T21" fmla="*/ 2147483647 h 190"/>
                <a:gd name="T22" fmla="*/ 2147483647 w 107"/>
                <a:gd name="T23" fmla="*/ 2147483647 h 190"/>
                <a:gd name="T24" fmla="*/ 2147483647 w 107"/>
                <a:gd name="T25" fmla="*/ 2147483647 h 190"/>
                <a:gd name="T26" fmla="*/ 2147483647 w 107"/>
                <a:gd name="T27" fmla="*/ 2147483647 h 190"/>
                <a:gd name="T28" fmla="*/ 2147483647 w 107"/>
                <a:gd name="T29" fmla="*/ 2147483647 h 190"/>
                <a:gd name="T30" fmla="*/ 2147483647 w 107"/>
                <a:gd name="T31" fmla="*/ 2147483647 h 190"/>
                <a:gd name="T32" fmla="*/ 2147483647 w 107"/>
                <a:gd name="T33" fmla="*/ 2147483647 h 190"/>
                <a:gd name="T34" fmla="*/ 2147483647 w 107"/>
                <a:gd name="T35" fmla="*/ 2147483647 h 190"/>
                <a:gd name="T36" fmla="*/ 2147483647 w 107"/>
                <a:gd name="T37" fmla="*/ 2147483647 h 190"/>
                <a:gd name="T38" fmla="*/ 2147483647 w 107"/>
                <a:gd name="T39" fmla="*/ 2147483647 h 190"/>
                <a:gd name="T40" fmla="*/ 2147483647 w 107"/>
                <a:gd name="T41" fmla="*/ 2147483647 h 190"/>
                <a:gd name="T42" fmla="*/ 2147483647 w 107"/>
                <a:gd name="T43" fmla="*/ 2147483647 h 190"/>
                <a:gd name="T44" fmla="*/ 2147483647 w 107"/>
                <a:gd name="T45" fmla="*/ 2147483647 h 190"/>
                <a:gd name="T46" fmla="*/ 2147483647 w 107"/>
                <a:gd name="T47" fmla="*/ 2147483647 h 190"/>
                <a:gd name="T48" fmla="*/ 2147483647 w 107"/>
                <a:gd name="T49" fmla="*/ 2147483647 h 190"/>
                <a:gd name="T50" fmla="*/ 2147483647 w 107"/>
                <a:gd name="T51" fmla="*/ 2147483647 h 190"/>
                <a:gd name="T52" fmla="*/ 2147483647 w 107"/>
                <a:gd name="T53" fmla="*/ 2147483647 h 190"/>
                <a:gd name="T54" fmla="*/ 2147483647 w 107"/>
                <a:gd name="T55" fmla="*/ 2147483647 h 190"/>
                <a:gd name="T56" fmla="*/ 2147483647 w 107"/>
                <a:gd name="T57" fmla="*/ 2147483647 h 190"/>
                <a:gd name="T58" fmla="*/ 2147483647 w 107"/>
                <a:gd name="T59" fmla="*/ 0 h 190"/>
                <a:gd name="T60" fmla="*/ 2147483647 w 107"/>
                <a:gd name="T61" fmla="*/ 2147483647 h 19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07" h="190">
                  <a:moveTo>
                    <a:pt x="7" y="9"/>
                  </a:moveTo>
                  <a:lnTo>
                    <a:pt x="0" y="23"/>
                  </a:lnTo>
                  <a:lnTo>
                    <a:pt x="15" y="47"/>
                  </a:lnTo>
                  <a:lnTo>
                    <a:pt x="15" y="60"/>
                  </a:lnTo>
                  <a:lnTo>
                    <a:pt x="22" y="78"/>
                  </a:lnTo>
                  <a:lnTo>
                    <a:pt x="19" y="93"/>
                  </a:lnTo>
                  <a:lnTo>
                    <a:pt x="23" y="110"/>
                  </a:lnTo>
                  <a:lnTo>
                    <a:pt x="26" y="118"/>
                  </a:lnTo>
                  <a:lnTo>
                    <a:pt x="19" y="126"/>
                  </a:lnTo>
                  <a:lnTo>
                    <a:pt x="13" y="159"/>
                  </a:lnTo>
                  <a:lnTo>
                    <a:pt x="33" y="182"/>
                  </a:lnTo>
                  <a:lnTo>
                    <a:pt x="34" y="178"/>
                  </a:lnTo>
                  <a:lnTo>
                    <a:pt x="46" y="185"/>
                  </a:lnTo>
                  <a:lnTo>
                    <a:pt x="46" y="190"/>
                  </a:lnTo>
                  <a:lnTo>
                    <a:pt x="56" y="188"/>
                  </a:lnTo>
                  <a:lnTo>
                    <a:pt x="59" y="184"/>
                  </a:lnTo>
                  <a:lnTo>
                    <a:pt x="43" y="174"/>
                  </a:lnTo>
                  <a:lnTo>
                    <a:pt x="27" y="149"/>
                  </a:lnTo>
                  <a:lnTo>
                    <a:pt x="19" y="138"/>
                  </a:lnTo>
                  <a:lnTo>
                    <a:pt x="32" y="113"/>
                  </a:lnTo>
                  <a:lnTo>
                    <a:pt x="57" y="108"/>
                  </a:lnTo>
                  <a:lnTo>
                    <a:pt x="70" y="119"/>
                  </a:lnTo>
                  <a:lnTo>
                    <a:pt x="63" y="97"/>
                  </a:lnTo>
                  <a:lnTo>
                    <a:pt x="72" y="87"/>
                  </a:lnTo>
                  <a:lnTo>
                    <a:pt x="101" y="87"/>
                  </a:lnTo>
                  <a:lnTo>
                    <a:pt x="107" y="73"/>
                  </a:lnTo>
                  <a:lnTo>
                    <a:pt x="95" y="50"/>
                  </a:lnTo>
                  <a:lnTo>
                    <a:pt x="85" y="37"/>
                  </a:lnTo>
                  <a:lnTo>
                    <a:pt x="48" y="27"/>
                  </a:lnTo>
                  <a:lnTo>
                    <a:pt x="36" y="0"/>
                  </a:lnTo>
                  <a:lnTo>
                    <a:pt x="7" y="9"/>
                  </a:lnTo>
                  <a:close/>
                </a:path>
              </a:pathLst>
            </a:custGeom>
            <a:solidFill>
              <a:srgbClr val="00B9E4"/>
            </a:solidFill>
            <a:ln w="9525" cap="flat" cmpd="sng">
              <a:solidFill>
                <a:schemeClr val="bg1"/>
              </a:solidFill>
              <a:prstDash val="solid"/>
              <a:round/>
              <a:headEnd type="none" w="med" len="med"/>
              <a:tailEnd type="none" w="med" len="med"/>
            </a:ln>
            <a:effectLst/>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258" name="LA"/>
            <p:cNvSpPr>
              <a:spLocks/>
            </p:cNvSpPr>
            <p:nvPr/>
          </p:nvSpPr>
          <p:spPr bwMode="auto">
            <a:xfrm>
              <a:off x="6844908" y="3906766"/>
              <a:ext cx="211136" cy="227785"/>
            </a:xfrm>
            <a:custGeom>
              <a:avLst/>
              <a:gdLst>
                <a:gd name="T0" fmla="*/ 3492879 w 10000"/>
                <a:gd name="T1" fmla="*/ 4713787 h 10000"/>
                <a:gd name="T2" fmla="*/ 4027778 w 10000"/>
                <a:gd name="T3" fmla="*/ 4795308 h 10000"/>
                <a:gd name="T4" fmla="*/ 4027778 w 10000"/>
                <a:gd name="T5" fmla="*/ 3811312 h 10000"/>
                <a:gd name="T6" fmla="*/ 3502561 w 10000"/>
                <a:gd name="T7" fmla="*/ 3238759 h 10000"/>
                <a:gd name="T8" fmla="*/ 2802125 w 10000"/>
                <a:gd name="T9" fmla="*/ 2286884 h 10000"/>
                <a:gd name="T10" fmla="*/ 2276508 w 10000"/>
                <a:gd name="T11" fmla="*/ 1522981 h 10000"/>
                <a:gd name="T12" fmla="*/ 2451706 w 10000"/>
                <a:gd name="T13" fmla="*/ 1143201 h 10000"/>
                <a:gd name="T14" fmla="*/ 2276508 w 10000"/>
                <a:gd name="T15" fmla="*/ 762455 h 10000"/>
                <a:gd name="T16" fmla="*/ 1751270 w 10000"/>
                <a:gd name="T17" fmla="*/ 571129 h 10000"/>
                <a:gd name="T18" fmla="*/ 1400852 w 10000"/>
                <a:gd name="T19" fmla="*/ 0 h 10000"/>
                <a:gd name="T20" fmla="*/ 1225653 w 10000"/>
                <a:gd name="T21" fmla="*/ 0 h 10000"/>
                <a:gd name="T22" fmla="*/ 350418 w 10000"/>
                <a:gd name="T23" fmla="*/ 189902 h 10000"/>
                <a:gd name="T24" fmla="*/ 0 w 10000"/>
                <a:gd name="T25" fmla="*/ 762455 h 10000"/>
                <a:gd name="T26" fmla="*/ 175199 w 10000"/>
                <a:gd name="T27" fmla="*/ 1143201 h 10000"/>
                <a:gd name="T28" fmla="*/ 350418 w 10000"/>
                <a:gd name="T29" fmla="*/ 2286884 h 10000"/>
                <a:gd name="T30" fmla="*/ 1576071 w 10000"/>
                <a:gd name="T31" fmla="*/ 2286884 h 10000"/>
                <a:gd name="T32" fmla="*/ 2101288 w 10000"/>
                <a:gd name="T33" fmla="*/ 2476786 h 10000"/>
                <a:gd name="T34" fmla="*/ 2976923 w 10000"/>
                <a:gd name="T35" fmla="*/ 4001214 h 10000"/>
                <a:gd name="T36" fmla="*/ 2802125 w 10000"/>
                <a:gd name="T37" fmla="*/ 4604465 h 10000"/>
                <a:gd name="T38" fmla="*/ 3492879 w 10000"/>
                <a:gd name="T39" fmla="*/ 4713787 h 1000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000" h="10000">
                  <a:moveTo>
                    <a:pt x="8672" y="9830"/>
                  </a:moveTo>
                  <a:lnTo>
                    <a:pt x="10000" y="10000"/>
                  </a:lnTo>
                  <a:lnTo>
                    <a:pt x="10000" y="7948"/>
                  </a:lnTo>
                  <a:lnTo>
                    <a:pt x="8696" y="6754"/>
                  </a:lnTo>
                  <a:lnTo>
                    <a:pt x="6957" y="4769"/>
                  </a:lnTo>
                  <a:lnTo>
                    <a:pt x="5652" y="3176"/>
                  </a:lnTo>
                  <a:lnTo>
                    <a:pt x="6087" y="2384"/>
                  </a:lnTo>
                  <a:lnTo>
                    <a:pt x="5652" y="1590"/>
                  </a:lnTo>
                  <a:lnTo>
                    <a:pt x="4348" y="1191"/>
                  </a:lnTo>
                  <a:lnTo>
                    <a:pt x="3478" y="0"/>
                  </a:lnTo>
                  <a:lnTo>
                    <a:pt x="3043" y="0"/>
                  </a:lnTo>
                  <a:lnTo>
                    <a:pt x="870" y="396"/>
                  </a:lnTo>
                  <a:lnTo>
                    <a:pt x="0" y="1590"/>
                  </a:lnTo>
                  <a:lnTo>
                    <a:pt x="435" y="2384"/>
                  </a:lnTo>
                  <a:lnTo>
                    <a:pt x="870" y="4769"/>
                  </a:lnTo>
                  <a:lnTo>
                    <a:pt x="3913" y="4769"/>
                  </a:lnTo>
                  <a:lnTo>
                    <a:pt x="5217" y="5165"/>
                  </a:lnTo>
                  <a:lnTo>
                    <a:pt x="7391" y="8344"/>
                  </a:lnTo>
                  <a:lnTo>
                    <a:pt x="6957" y="9602"/>
                  </a:lnTo>
                  <a:lnTo>
                    <a:pt x="8672" y="9830"/>
                  </a:ln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259" name="KH"/>
            <p:cNvSpPr>
              <a:spLocks/>
            </p:cNvSpPr>
            <p:nvPr/>
          </p:nvSpPr>
          <p:spPr bwMode="auto">
            <a:xfrm>
              <a:off x="6908408" y="4118676"/>
              <a:ext cx="147636" cy="117474"/>
            </a:xfrm>
            <a:custGeom>
              <a:avLst/>
              <a:gdLst>
                <a:gd name="T0" fmla="*/ 1600556 w 10000"/>
                <a:gd name="T1" fmla="*/ 81975 h 6448"/>
                <a:gd name="T2" fmla="*/ 1445592 w 10000"/>
                <a:gd name="T3" fmla="*/ 45416 h 6448"/>
                <a:gd name="T4" fmla="*/ 1103517 w 10000"/>
                <a:gd name="T5" fmla="*/ 0 h 6448"/>
                <a:gd name="T6" fmla="*/ 367770 w 10000"/>
                <a:gd name="T7" fmla="*/ 151157 h 6448"/>
                <a:gd name="T8" fmla="*/ 0 w 10000"/>
                <a:gd name="T9" fmla="*/ 453763 h 6448"/>
                <a:gd name="T10" fmla="*/ 0 w 10000"/>
                <a:gd name="T11" fmla="*/ 1058391 h 6448"/>
                <a:gd name="T12" fmla="*/ 612960 w 10000"/>
                <a:gd name="T13" fmla="*/ 1813557 h 6448"/>
                <a:gd name="T14" fmla="*/ 858135 w 10000"/>
                <a:gd name="T15" fmla="*/ 1965024 h 6448"/>
                <a:gd name="T16" fmla="*/ 1103517 w 10000"/>
                <a:gd name="T17" fmla="*/ 1813557 h 6448"/>
                <a:gd name="T18" fmla="*/ 1225714 w 10000"/>
                <a:gd name="T19" fmla="*/ 1511261 h 6448"/>
                <a:gd name="T20" fmla="*/ 1593882 w 10000"/>
                <a:gd name="T21" fmla="*/ 1361016 h 6448"/>
                <a:gd name="T22" fmla="*/ 1961460 w 10000"/>
                <a:gd name="T23" fmla="*/ 1058391 h 6448"/>
                <a:gd name="T24" fmla="*/ 1961460 w 10000"/>
                <a:gd name="T25" fmla="*/ 151157 h 6448"/>
                <a:gd name="T26" fmla="*/ 1600556 w 10000"/>
                <a:gd name="T27" fmla="*/ 81975 h 644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0000" h="6448">
                  <a:moveTo>
                    <a:pt x="8160" y="269"/>
                  </a:moveTo>
                  <a:cubicBezTo>
                    <a:pt x="7722" y="211"/>
                    <a:pt x="7792" y="194"/>
                    <a:pt x="7370" y="149"/>
                  </a:cubicBezTo>
                  <a:lnTo>
                    <a:pt x="5626" y="0"/>
                  </a:lnTo>
                  <a:lnTo>
                    <a:pt x="1875" y="496"/>
                  </a:lnTo>
                  <a:lnTo>
                    <a:pt x="0" y="1489"/>
                  </a:lnTo>
                  <a:lnTo>
                    <a:pt x="0" y="3473"/>
                  </a:lnTo>
                  <a:lnTo>
                    <a:pt x="3125" y="5951"/>
                  </a:lnTo>
                  <a:lnTo>
                    <a:pt x="4375" y="6448"/>
                  </a:lnTo>
                  <a:lnTo>
                    <a:pt x="5626" y="5951"/>
                  </a:lnTo>
                  <a:lnTo>
                    <a:pt x="6249" y="4959"/>
                  </a:lnTo>
                  <a:lnTo>
                    <a:pt x="8126" y="4466"/>
                  </a:lnTo>
                  <a:lnTo>
                    <a:pt x="10000" y="3473"/>
                  </a:lnTo>
                  <a:lnTo>
                    <a:pt x="10000" y="496"/>
                  </a:lnTo>
                  <a:lnTo>
                    <a:pt x="8160" y="269"/>
                  </a:ln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260" name="SS"/>
            <p:cNvSpPr>
              <a:spLocks/>
            </p:cNvSpPr>
            <p:nvPr/>
          </p:nvSpPr>
          <p:spPr bwMode="auto">
            <a:xfrm>
              <a:off x="4856995" y="4108411"/>
              <a:ext cx="297620" cy="226164"/>
            </a:xfrm>
            <a:custGeom>
              <a:avLst/>
              <a:gdLst>
                <a:gd name="T0" fmla="*/ 2147483647 w 52"/>
                <a:gd name="T1" fmla="*/ 2147483647 h 64"/>
                <a:gd name="T2" fmla="*/ 2147483647 w 52"/>
                <a:gd name="T3" fmla="*/ 2147483647 h 64"/>
                <a:gd name="T4" fmla="*/ 2147483647 w 52"/>
                <a:gd name="T5" fmla="*/ 2147483647 h 64"/>
                <a:gd name="T6" fmla="*/ 2147483647 w 52"/>
                <a:gd name="T7" fmla="*/ 2147483647 h 64"/>
                <a:gd name="T8" fmla="*/ 2147483647 w 52"/>
                <a:gd name="T9" fmla="*/ 2147483647 h 64"/>
                <a:gd name="T10" fmla="*/ 2147483647 w 52"/>
                <a:gd name="T11" fmla="*/ 2147483647 h 64"/>
                <a:gd name="T12" fmla="*/ 2147483647 w 52"/>
                <a:gd name="T13" fmla="*/ 2147483647 h 64"/>
                <a:gd name="T14" fmla="*/ 2147483647 w 52"/>
                <a:gd name="T15" fmla="*/ 2147483647 h 64"/>
                <a:gd name="T16" fmla="*/ 2147483647 w 52"/>
                <a:gd name="T17" fmla="*/ 2147483647 h 64"/>
                <a:gd name="T18" fmla="*/ 0 w 52"/>
                <a:gd name="T19" fmla="*/ 2147483647 h 64"/>
                <a:gd name="T20" fmla="*/ 2147483647 w 52"/>
                <a:gd name="T21" fmla="*/ 2147483647 h 64"/>
                <a:gd name="T22" fmla="*/ 2147483647 w 52"/>
                <a:gd name="T23" fmla="*/ 2147483647 h 64"/>
                <a:gd name="T24" fmla="*/ 2147483647 w 52"/>
                <a:gd name="T25" fmla="*/ 2147483647 h 64"/>
                <a:gd name="T26" fmla="*/ 2147483647 w 52"/>
                <a:gd name="T27" fmla="*/ 2147483647 h 64"/>
                <a:gd name="T28" fmla="*/ 2147483647 w 52"/>
                <a:gd name="T29" fmla="*/ 2147483647 h 64"/>
                <a:gd name="T30" fmla="*/ 2147483647 w 52"/>
                <a:gd name="T31" fmla="*/ 2147483647 h 64"/>
                <a:gd name="T32" fmla="*/ 2147483647 w 52"/>
                <a:gd name="T33" fmla="*/ 2147483647 h 64"/>
                <a:gd name="T34" fmla="*/ 2147483647 w 52"/>
                <a:gd name="T35" fmla="*/ 2147483647 h 64"/>
                <a:gd name="T36" fmla="*/ 2147483647 w 52"/>
                <a:gd name="T37" fmla="*/ 2147483647 h 64"/>
                <a:gd name="T38" fmla="*/ 2147483647 w 52"/>
                <a:gd name="T39" fmla="*/ 2147483647 h 64"/>
                <a:gd name="T40" fmla="*/ 2147483647 w 52"/>
                <a:gd name="T41" fmla="*/ 2147483647 h 64"/>
                <a:gd name="T42" fmla="*/ 2147483647 w 52"/>
                <a:gd name="T43" fmla="*/ 2147483647 h 64"/>
                <a:gd name="T44" fmla="*/ 2147483647 w 52"/>
                <a:gd name="T45" fmla="*/ 2147483647 h 64"/>
                <a:gd name="T46" fmla="*/ 2147483647 w 52"/>
                <a:gd name="T47" fmla="*/ 2147483647 h 64"/>
                <a:gd name="T48" fmla="*/ 2147483647 w 52"/>
                <a:gd name="T49" fmla="*/ 2147483647 h 64"/>
                <a:gd name="T50" fmla="*/ 2147483647 w 52"/>
                <a:gd name="T51" fmla="*/ 2147483647 h 64"/>
                <a:gd name="T52" fmla="*/ 2147483647 w 52"/>
                <a:gd name="T53" fmla="*/ 2147483647 h 64"/>
                <a:gd name="T54" fmla="*/ 2147483647 w 52"/>
                <a:gd name="T55" fmla="*/ 2147483647 h 64"/>
                <a:gd name="T56" fmla="*/ 2147483647 w 52"/>
                <a:gd name="T57" fmla="*/ 2147483647 h 64"/>
                <a:gd name="T58" fmla="*/ 2147483647 w 52"/>
                <a:gd name="T59" fmla="*/ 2147483647 h 64"/>
                <a:gd name="T60" fmla="*/ 2147483647 w 52"/>
                <a:gd name="T61" fmla="*/ 2147483647 h 64"/>
                <a:gd name="T62" fmla="*/ 2147483647 w 52"/>
                <a:gd name="T63" fmla="*/ 2147483647 h 64"/>
                <a:gd name="T64" fmla="*/ 2147483647 w 52"/>
                <a:gd name="T65" fmla="*/ 2147483647 h 64"/>
                <a:gd name="T66" fmla="*/ 2147483647 w 52"/>
                <a:gd name="T67" fmla="*/ 2147483647 h 64"/>
                <a:gd name="T68" fmla="*/ 2147483647 w 52"/>
                <a:gd name="T69" fmla="*/ 2147483647 h 64"/>
                <a:gd name="T70" fmla="*/ 2147483647 w 52"/>
                <a:gd name="T71" fmla="*/ 0 h 64"/>
                <a:gd name="T72" fmla="*/ 2147483647 w 52"/>
                <a:gd name="T73" fmla="*/ 2147483647 h 64"/>
                <a:gd name="T74" fmla="*/ 2147483647 w 52"/>
                <a:gd name="T75" fmla="*/ 2147483647 h 6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connsiteX0" fmla="*/ 7115 w 10000"/>
                <a:gd name="connsiteY0" fmla="*/ 781 h 10000"/>
                <a:gd name="connsiteX1" fmla="*/ 2115 w 10000"/>
                <a:gd name="connsiteY1" fmla="*/ 781 h 10000"/>
                <a:gd name="connsiteX2" fmla="*/ 1923 w 10000"/>
                <a:gd name="connsiteY2" fmla="*/ 1719 h 10000"/>
                <a:gd name="connsiteX3" fmla="*/ 1346 w 10000"/>
                <a:gd name="connsiteY3" fmla="*/ 1719 h 10000"/>
                <a:gd name="connsiteX4" fmla="*/ 1346 w 10000"/>
                <a:gd name="connsiteY4" fmla="*/ 2188 h 10000"/>
                <a:gd name="connsiteX5" fmla="*/ 1154 w 10000"/>
                <a:gd name="connsiteY5" fmla="*/ 2031 h 10000"/>
                <a:gd name="connsiteX6" fmla="*/ 962 w 10000"/>
                <a:gd name="connsiteY6" fmla="*/ 3906 h 10000"/>
                <a:gd name="connsiteX7" fmla="*/ 385 w 10000"/>
                <a:gd name="connsiteY7" fmla="*/ 4219 h 10000"/>
                <a:gd name="connsiteX8" fmla="*/ 192 w 10000"/>
                <a:gd name="connsiteY8" fmla="*/ 5000 h 10000"/>
                <a:gd name="connsiteX9" fmla="*/ 0 w 10000"/>
                <a:gd name="connsiteY9" fmla="*/ 5469 h 10000"/>
                <a:gd name="connsiteX10" fmla="*/ 577 w 10000"/>
                <a:gd name="connsiteY10" fmla="*/ 6406 h 10000"/>
                <a:gd name="connsiteX11" fmla="*/ 962 w 10000"/>
                <a:gd name="connsiteY11" fmla="*/ 7031 h 10000"/>
                <a:gd name="connsiteX12" fmla="*/ 1538 w 10000"/>
                <a:gd name="connsiteY12" fmla="*/ 7813 h 10000"/>
                <a:gd name="connsiteX13" fmla="*/ 2308 w 10000"/>
                <a:gd name="connsiteY13" fmla="*/ 8125 h 10000"/>
                <a:gd name="connsiteX14" fmla="*/ 3462 w 10000"/>
                <a:gd name="connsiteY14" fmla="*/ 9063 h 10000"/>
                <a:gd name="connsiteX15" fmla="*/ 3846 w 10000"/>
                <a:gd name="connsiteY15" fmla="*/ 9531 h 10000"/>
                <a:gd name="connsiteX16" fmla="*/ 4808 w 10000"/>
                <a:gd name="connsiteY16" fmla="*/ 9531 h 10000"/>
                <a:gd name="connsiteX17" fmla="*/ 5577 w 10000"/>
                <a:gd name="connsiteY17" fmla="*/ 10000 h 10000"/>
                <a:gd name="connsiteX18" fmla="*/ 6923 w 10000"/>
                <a:gd name="connsiteY18" fmla="*/ 9844 h 10000"/>
                <a:gd name="connsiteX19" fmla="*/ 7885 w 10000"/>
                <a:gd name="connsiteY19" fmla="*/ 9531 h 10000"/>
                <a:gd name="connsiteX20" fmla="*/ 8462 w 10000"/>
                <a:gd name="connsiteY20" fmla="*/ 9531 h 10000"/>
                <a:gd name="connsiteX21" fmla="*/ 8462 w 10000"/>
                <a:gd name="connsiteY21" fmla="*/ 9219 h 10000"/>
                <a:gd name="connsiteX22" fmla="*/ 8077 w 10000"/>
                <a:gd name="connsiteY22" fmla="*/ 8906 h 10000"/>
                <a:gd name="connsiteX23" fmla="*/ 7500 w 10000"/>
                <a:gd name="connsiteY23" fmla="*/ 8438 h 10000"/>
                <a:gd name="connsiteX24" fmla="*/ 6731 w 10000"/>
                <a:gd name="connsiteY24" fmla="*/ 7969 h 10000"/>
                <a:gd name="connsiteX25" fmla="*/ 6923 w 10000"/>
                <a:gd name="connsiteY25" fmla="*/ 7500 h 10000"/>
                <a:gd name="connsiteX26" fmla="*/ 7308 w 10000"/>
                <a:gd name="connsiteY26" fmla="*/ 7500 h 10000"/>
                <a:gd name="connsiteX27" fmla="*/ 7500 w 10000"/>
                <a:gd name="connsiteY27" fmla="*/ 6563 h 10000"/>
                <a:gd name="connsiteX28" fmla="*/ 6453 w 10000"/>
                <a:gd name="connsiteY28" fmla="*/ 5651 h 10000"/>
                <a:gd name="connsiteX29" fmla="*/ 8846 w 10000"/>
                <a:gd name="connsiteY29" fmla="*/ 5000 h 10000"/>
                <a:gd name="connsiteX30" fmla="*/ 9038 w 10000"/>
                <a:gd name="connsiteY30" fmla="*/ 3281 h 10000"/>
                <a:gd name="connsiteX31" fmla="*/ 9615 w 10000"/>
                <a:gd name="connsiteY31" fmla="*/ 2969 h 10000"/>
                <a:gd name="connsiteX32" fmla="*/ 10000 w 10000"/>
                <a:gd name="connsiteY32" fmla="*/ 2813 h 10000"/>
                <a:gd name="connsiteX33" fmla="*/ 9615 w 10000"/>
                <a:gd name="connsiteY33" fmla="*/ 2031 h 10000"/>
                <a:gd name="connsiteX34" fmla="*/ 9038 w 10000"/>
                <a:gd name="connsiteY34" fmla="*/ 625 h 10000"/>
                <a:gd name="connsiteX35" fmla="*/ 8462 w 10000"/>
                <a:gd name="connsiteY35" fmla="*/ 0 h 10000"/>
                <a:gd name="connsiteX36" fmla="*/ 8077 w 10000"/>
                <a:gd name="connsiteY36" fmla="*/ 313 h 10000"/>
                <a:gd name="connsiteX37" fmla="*/ 7115 w 10000"/>
                <a:gd name="connsiteY37" fmla="*/ 781 h 10000"/>
                <a:gd name="connsiteX0" fmla="*/ 7115 w 10000"/>
                <a:gd name="connsiteY0" fmla="*/ 781 h 10000"/>
                <a:gd name="connsiteX1" fmla="*/ 2115 w 10000"/>
                <a:gd name="connsiteY1" fmla="*/ 781 h 10000"/>
                <a:gd name="connsiteX2" fmla="*/ 1923 w 10000"/>
                <a:gd name="connsiteY2" fmla="*/ 1719 h 10000"/>
                <a:gd name="connsiteX3" fmla="*/ 1346 w 10000"/>
                <a:gd name="connsiteY3" fmla="*/ 1719 h 10000"/>
                <a:gd name="connsiteX4" fmla="*/ 1346 w 10000"/>
                <a:gd name="connsiteY4" fmla="*/ 2188 h 10000"/>
                <a:gd name="connsiteX5" fmla="*/ 1154 w 10000"/>
                <a:gd name="connsiteY5" fmla="*/ 2031 h 10000"/>
                <a:gd name="connsiteX6" fmla="*/ 962 w 10000"/>
                <a:gd name="connsiteY6" fmla="*/ 3906 h 10000"/>
                <a:gd name="connsiteX7" fmla="*/ 385 w 10000"/>
                <a:gd name="connsiteY7" fmla="*/ 4219 h 10000"/>
                <a:gd name="connsiteX8" fmla="*/ 192 w 10000"/>
                <a:gd name="connsiteY8" fmla="*/ 5000 h 10000"/>
                <a:gd name="connsiteX9" fmla="*/ 0 w 10000"/>
                <a:gd name="connsiteY9" fmla="*/ 5469 h 10000"/>
                <a:gd name="connsiteX10" fmla="*/ 577 w 10000"/>
                <a:gd name="connsiteY10" fmla="*/ 6406 h 10000"/>
                <a:gd name="connsiteX11" fmla="*/ 962 w 10000"/>
                <a:gd name="connsiteY11" fmla="*/ 7031 h 10000"/>
                <a:gd name="connsiteX12" fmla="*/ 1538 w 10000"/>
                <a:gd name="connsiteY12" fmla="*/ 7813 h 10000"/>
                <a:gd name="connsiteX13" fmla="*/ 2308 w 10000"/>
                <a:gd name="connsiteY13" fmla="*/ 8125 h 10000"/>
                <a:gd name="connsiteX14" fmla="*/ 3462 w 10000"/>
                <a:gd name="connsiteY14" fmla="*/ 9063 h 10000"/>
                <a:gd name="connsiteX15" fmla="*/ 3846 w 10000"/>
                <a:gd name="connsiteY15" fmla="*/ 9531 h 10000"/>
                <a:gd name="connsiteX16" fmla="*/ 4808 w 10000"/>
                <a:gd name="connsiteY16" fmla="*/ 9531 h 10000"/>
                <a:gd name="connsiteX17" fmla="*/ 5577 w 10000"/>
                <a:gd name="connsiteY17" fmla="*/ 10000 h 10000"/>
                <a:gd name="connsiteX18" fmla="*/ 6923 w 10000"/>
                <a:gd name="connsiteY18" fmla="*/ 9844 h 10000"/>
                <a:gd name="connsiteX19" fmla="*/ 7885 w 10000"/>
                <a:gd name="connsiteY19" fmla="*/ 9531 h 10000"/>
                <a:gd name="connsiteX20" fmla="*/ 8462 w 10000"/>
                <a:gd name="connsiteY20" fmla="*/ 9531 h 10000"/>
                <a:gd name="connsiteX21" fmla="*/ 8462 w 10000"/>
                <a:gd name="connsiteY21" fmla="*/ 9219 h 10000"/>
                <a:gd name="connsiteX22" fmla="*/ 8077 w 10000"/>
                <a:gd name="connsiteY22" fmla="*/ 8906 h 10000"/>
                <a:gd name="connsiteX23" fmla="*/ 7500 w 10000"/>
                <a:gd name="connsiteY23" fmla="*/ 8438 h 10000"/>
                <a:gd name="connsiteX24" fmla="*/ 6731 w 10000"/>
                <a:gd name="connsiteY24" fmla="*/ 7969 h 10000"/>
                <a:gd name="connsiteX25" fmla="*/ 6923 w 10000"/>
                <a:gd name="connsiteY25" fmla="*/ 7500 h 10000"/>
                <a:gd name="connsiteX26" fmla="*/ 7308 w 10000"/>
                <a:gd name="connsiteY26" fmla="*/ 7500 h 10000"/>
                <a:gd name="connsiteX27" fmla="*/ 7500 w 10000"/>
                <a:gd name="connsiteY27" fmla="*/ 6563 h 10000"/>
                <a:gd name="connsiteX28" fmla="*/ 6453 w 10000"/>
                <a:gd name="connsiteY28" fmla="*/ 5651 h 10000"/>
                <a:gd name="connsiteX29" fmla="*/ 5741 w 10000"/>
                <a:gd name="connsiteY29" fmla="*/ 5621 h 10000"/>
                <a:gd name="connsiteX30" fmla="*/ 9038 w 10000"/>
                <a:gd name="connsiteY30" fmla="*/ 3281 h 10000"/>
                <a:gd name="connsiteX31" fmla="*/ 9615 w 10000"/>
                <a:gd name="connsiteY31" fmla="*/ 2969 h 10000"/>
                <a:gd name="connsiteX32" fmla="*/ 10000 w 10000"/>
                <a:gd name="connsiteY32" fmla="*/ 2813 h 10000"/>
                <a:gd name="connsiteX33" fmla="*/ 9615 w 10000"/>
                <a:gd name="connsiteY33" fmla="*/ 2031 h 10000"/>
                <a:gd name="connsiteX34" fmla="*/ 9038 w 10000"/>
                <a:gd name="connsiteY34" fmla="*/ 625 h 10000"/>
                <a:gd name="connsiteX35" fmla="*/ 8462 w 10000"/>
                <a:gd name="connsiteY35" fmla="*/ 0 h 10000"/>
                <a:gd name="connsiteX36" fmla="*/ 8077 w 10000"/>
                <a:gd name="connsiteY36" fmla="*/ 313 h 10000"/>
                <a:gd name="connsiteX37" fmla="*/ 7115 w 10000"/>
                <a:gd name="connsiteY37" fmla="*/ 781 h 10000"/>
                <a:gd name="connsiteX0" fmla="*/ 7115 w 10000"/>
                <a:gd name="connsiteY0" fmla="*/ 781 h 10000"/>
                <a:gd name="connsiteX1" fmla="*/ 2115 w 10000"/>
                <a:gd name="connsiteY1" fmla="*/ 781 h 10000"/>
                <a:gd name="connsiteX2" fmla="*/ 1923 w 10000"/>
                <a:gd name="connsiteY2" fmla="*/ 1719 h 10000"/>
                <a:gd name="connsiteX3" fmla="*/ 1346 w 10000"/>
                <a:gd name="connsiteY3" fmla="*/ 1719 h 10000"/>
                <a:gd name="connsiteX4" fmla="*/ 1346 w 10000"/>
                <a:gd name="connsiteY4" fmla="*/ 2188 h 10000"/>
                <a:gd name="connsiteX5" fmla="*/ 1154 w 10000"/>
                <a:gd name="connsiteY5" fmla="*/ 2031 h 10000"/>
                <a:gd name="connsiteX6" fmla="*/ 962 w 10000"/>
                <a:gd name="connsiteY6" fmla="*/ 3906 h 10000"/>
                <a:gd name="connsiteX7" fmla="*/ 385 w 10000"/>
                <a:gd name="connsiteY7" fmla="*/ 4219 h 10000"/>
                <a:gd name="connsiteX8" fmla="*/ 192 w 10000"/>
                <a:gd name="connsiteY8" fmla="*/ 5000 h 10000"/>
                <a:gd name="connsiteX9" fmla="*/ 0 w 10000"/>
                <a:gd name="connsiteY9" fmla="*/ 5469 h 10000"/>
                <a:gd name="connsiteX10" fmla="*/ 577 w 10000"/>
                <a:gd name="connsiteY10" fmla="*/ 6406 h 10000"/>
                <a:gd name="connsiteX11" fmla="*/ 962 w 10000"/>
                <a:gd name="connsiteY11" fmla="*/ 7031 h 10000"/>
                <a:gd name="connsiteX12" fmla="*/ 1538 w 10000"/>
                <a:gd name="connsiteY12" fmla="*/ 7813 h 10000"/>
                <a:gd name="connsiteX13" fmla="*/ 2308 w 10000"/>
                <a:gd name="connsiteY13" fmla="*/ 8125 h 10000"/>
                <a:gd name="connsiteX14" fmla="*/ 3462 w 10000"/>
                <a:gd name="connsiteY14" fmla="*/ 9063 h 10000"/>
                <a:gd name="connsiteX15" fmla="*/ 3846 w 10000"/>
                <a:gd name="connsiteY15" fmla="*/ 9531 h 10000"/>
                <a:gd name="connsiteX16" fmla="*/ 4808 w 10000"/>
                <a:gd name="connsiteY16" fmla="*/ 9531 h 10000"/>
                <a:gd name="connsiteX17" fmla="*/ 5577 w 10000"/>
                <a:gd name="connsiteY17" fmla="*/ 10000 h 10000"/>
                <a:gd name="connsiteX18" fmla="*/ 6923 w 10000"/>
                <a:gd name="connsiteY18" fmla="*/ 9844 h 10000"/>
                <a:gd name="connsiteX19" fmla="*/ 7885 w 10000"/>
                <a:gd name="connsiteY19" fmla="*/ 9531 h 10000"/>
                <a:gd name="connsiteX20" fmla="*/ 8462 w 10000"/>
                <a:gd name="connsiteY20" fmla="*/ 9531 h 10000"/>
                <a:gd name="connsiteX21" fmla="*/ 8462 w 10000"/>
                <a:gd name="connsiteY21" fmla="*/ 9219 h 10000"/>
                <a:gd name="connsiteX22" fmla="*/ 8077 w 10000"/>
                <a:gd name="connsiteY22" fmla="*/ 8906 h 10000"/>
                <a:gd name="connsiteX23" fmla="*/ 7500 w 10000"/>
                <a:gd name="connsiteY23" fmla="*/ 8438 h 10000"/>
                <a:gd name="connsiteX24" fmla="*/ 6731 w 10000"/>
                <a:gd name="connsiteY24" fmla="*/ 7969 h 10000"/>
                <a:gd name="connsiteX25" fmla="*/ 6923 w 10000"/>
                <a:gd name="connsiteY25" fmla="*/ 7500 h 10000"/>
                <a:gd name="connsiteX26" fmla="*/ 7308 w 10000"/>
                <a:gd name="connsiteY26" fmla="*/ 7500 h 10000"/>
                <a:gd name="connsiteX27" fmla="*/ 7500 w 10000"/>
                <a:gd name="connsiteY27" fmla="*/ 6563 h 10000"/>
                <a:gd name="connsiteX28" fmla="*/ 6629 w 10000"/>
                <a:gd name="connsiteY28" fmla="*/ 5460 h 10000"/>
                <a:gd name="connsiteX29" fmla="*/ 5741 w 10000"/>
                <a:gd name="connsiteY29" fmla="*/ 5621 h 10000"/>
                <a:gd name="connsiteX30" fmla="*/ 9038 w 10000"/>
                <a:gd name="connsiteY30" fmla="*/ 3281 h 10000"/>
                <a:gd name="connsiteX31" fmla="*/ 9615 w 10000"/>
                <a:gd name="connsiteY31" fmla="*/ 2969 h 10000"/>
                <a:gd name="connsiteX32" fmla="*/ 10000 w 10000"/>
                <a:gd name="connsiteY32" fmla="*/ 2813 h 10000"/>
                <a:gd name="connsiteX33" fmla="*/ 9615 w 10000"/>
                <a:gd name="connsiteY33" fmla="*/ 2031 h 10000"/>
                <a:gd name="connsiteX34" fmla="*/ 9038 w 10000"/>
                <a:gd name="connsiteY34" fmla="*/ 625 h 10000"/>
                <a:gd name="connsiteX35" fmla="*/ 8462 w 10000"/>
                <a:gd name="connsiteY35" fmla="*/ 0 h 10000"/>
                <a:gd name="connsiteX36" fmla="*/ 8077 w 10000"/>
                <a:gd name="connsiteY36" fmla="*/ 313 h 10000"/>
                <a:gd name="connsiteX37" fmla="*/ 7115 w 10000"/>
                <a:gd name="connsiteY37" fmla="*/ 781 h 10000"/>
                <a:gd name="connsiteX0" fmla="*/ 7115 w 10000"/>
                <a:gd name="connsiteY0" fmla="*/ 781 h 10000"/>
                <a:gd name="connsiteX1" fmla="*/ 2115 w 10000"/>
                <a:gd name="connsiteY1" fmla="*/ 781 h 10000"/>
                <a:gd name="connsiteX2" fmla="*/ 1923 w 10000"/>
                <a:gd name="connsiteY2" fmla="*/ 1719 h 10000"/>
                <a:gd name="connsiteX3" fmla="*/ 1346 w 10000"/>
                <a:gd name="connsiteY3" fmla="*/ 1719 h 10000"/>
                <a:gd name="connsiteX4" fmla="*/ 1346 w 10000"/>
                <a:gd name="connsiteY4" fmla="*/ 2188 h 10000"/>
                <a:gd name="connsiteX5" fmla="*/ 1154 w 10000"/>
                <a:gd name="connsiteY5" fmla="*/ 2031 h 10000"/>
                <a:gd name="connsiteX6" fmla="*/ 962 w 10000"/>
                <a:gd name="connsiteY6" fmla="*/ 3906 h 10000"/>
                <a:gd name="connsiteX7" fmla="*/ 385 w 10000"/>
                <a:gd name="connsiteY7" fmla="*/ 4219 h 10000"/>
                <a:gd name="connsiteX8" fmla="*/ 192 w 10000"/>
                <a:gd name="connsiteY8" fmla="*/ 5000 h 10000"/>
                <a:gd name="connsiteX9" fmla="*/ 0 w 10000"/>
                <a:gd name="connsiteY9" fmla="*/ 5469 h 10000"/>
                <a:gd name="connsiteX10" fmla="*/ 577 w 10000"/>
                <a:gd name="connsiteY10" fmla="*/ 6406 h 10000"/>
                <a:gd name="connsiteX11" fmla="*/ 962 w 10000"/>
                <a:gd name="connsiteY11" fmla="*/ 7031 h 10000"/>
                <a:gd name="connsiteX12" fmla="*/ 1538 w 10000"/>
                <a:gd name="connsiteY12" fmla="*/ 7813 h 10000"/>
                <a:gd name="connsiteX13" fmla="*/ 2308 w 10000"/>
                <a:gd name="connsiteY13" fmla="*/ 8125 h 10000"/>
                <a:gd name="connsiteX14" fmla="*/ 3462 w 10000"/>
                <a:gd name="connsiteY14" fmla="*/ 9063 h 10000"/>
                <a:gd name="connsiteX15" fmla="*/ 3846 w 10000"/>
                <a:gd name="connsiteY15" fmla="*/ 9531 h 10000"/>
                <a:gd name="connsiteX16" fmla="*/ 4808 w 10000"/>
                <a:gd name="connsiteY16" fmla="*/ 9531 h 10000"/>
                <a:gd name="connsiteX17" fmla="*/ 5577 w 10000"/>
                <a:gd name="connsiteY17" fmla="*/ 10000 h 10000"/>
                <a:gd name="connsiteX18" fmla="*/ 6923 w 10000"/>
                <a:gd name="connsiteY18" fmla="*/ 9844 h 10000"/>
                <a:gd name="connsiteX19" fmla="*/ 7885 w 10000"/>
                <a:gd name="connsiteY19" fmla="*/ 9531 h 10000"/>
                <a:gd name="connsiteX20" fmla="*/ 8462 w 10000"/>
                <a:gd name="connsiteY20" fmla="*/ 9531 h 10000"/>
                <a:gd name="connsiteX21" fmla="*/ 8462 w 10000"/>
                <a:gd name="connsiteY21" fmla="*/ 9219 h 10000"/>
                <a:gd name="connsiteX22" fmla="*/ 8077 w 10000"/>
                <a:gd name="connsiteY22" fmla="*/ 8906 h 10000"/>
                <a:gd name="connsiteX23" fmla="*/ 7500 w 10000"/>
                <a:gd name="connsiteY23" fmla="*/ 8438 h 10000"/>
                <a:gd name="connsiteX24" fmla="*/ 6731 w 10000"/>
                <a:gd name="connsiteY24" fmla="*/ 7969 h 10000"/>
                <a:gd name="connsiteX25" fmla="*/ 6923 w 10000"/>
                <a:gd name="connsiteY25" fmla="*/ 7500 h 10000"/>
                <a:gd name="connsiteX26" fmla="*/ 7308 w 10000"/>
                <a:gd name="connsiteY26" fmla="*/ 7500 h 10000"/>
                <a:gd name="connsiteX27" fmla="*/ 7500 w 10000"/>
                <a:gd name="connsiteY27" fmla="*/ 6563 h 10000"/>
                <a:gd name="connsiteX28" fmla="*/ 6629 w 10000"/>
                <a:gd name="connsiteY28" fmla="*/ 5460 h 10000"/>
                <a:gd name="connsiteX29" fmla="*/ 6151 w 10000"/>
                <a:gd name="connsiteY29" fmla="*/ 5478 h 10000"/>
                <a:gd name="connsiteX30" fmla="*/ 9038 w 10000"/>
                <a:gd name="connsiteY30" fmla="*/ 3281 h 10000"/>
                <a:gd name="connsiteX31" fmla="*/ 9615 w 10000"/>
                <a:gd name="connsiteY31" fmla="*/ 2969 h 10000"/>
                <a:gd name="connsiteX32" fmla="*/ 10000 w 10000"/>
                <a:gd name="connsiteY32" fmla="*/ 2813 h 10000"/>
                <a:gd name="connsiteX33" fmla="*/ 9615 w 10000"/>
                <a:gd name="connsiteY33" fmla="*/ 2031 h 10000"/>
                <a:gd name="connsiteX34" fmla="*/ 9038 w 10000"/>
                <a:gd name="connsiteY34" fmla="*/ 625 h 10000"/>
                <a:gd name="connsiteX35" fmla="*/ 8462 w 10000"/>
                <a:gd name="connsiteY35" fmla="*/ 0 h 10000"/>
                <a:gd name="connsiteX36" fmla="*/ 8077 w 10000"/>
                <a:gd name="connsiteY36" fmla="*/ 313 h 10000"/>
                <a:gd name="connsiteX37" fmla="*/ 7115 w 10000"/>
                <a:gd name="connsiteY37" fmla="*/ 781 h 10000"/>
                <a:gd name="connsiteX0" fmla="*/ 7115 w 10000"/>
                <a:gd name="connsiteY0" fmla="*/ 781 h 10000"/>
                <a:gd name="connsiteX1" fmla="*/ 2115 w 10000"/>
                <a:gd name="connsiteY1" fmla="*/ 781 h 10000"/>
                <a:gd name="connsiteX2" fmla="*/ 1923 w 10000"/>
                <a:gd name="connsiteY2" fmla="*/ 1719 h 10000"/>
                <a:gd name="connsiteX3" fmla="*/ 1346 w 10000"/>
                <a:gd name="connsiteY3" fmla="*/ 1719 h 10000"/>
                <a:gd name="connsiteX4" fmla="*/ 1346 w 10000"/>
                <a:gd name="connsiteY4" fmla="*/ 2188 h 10000"/>
                <a:gd name="connsiteX5" fmla="*/ 1154 w 10000"/>
                <a:gd name="connsiteY5" fmla="*/ 2031 h 10000"/>
                <a:gd name="connsiteX6" fmla="*/ 962 w 10000"/>
                <a:gd name="connsiteY6" fmla="*/ 3906 h 10000"/>
                <a:gd name="connsiteX7" fmla="*/ 385 w 10000"/>
                <a:gd name="connsiteY7" fmla="*/ 4219 h 10000"/>
                <a:gd name="connsiteX8" fmla="*/ 192 w 10000"/>
                <a:gd name="connsiteY8" fmla="*/ 5000 h 10000"/>
                <a:gd name="connsiteX9" fmla="*/ 0 w 10000"/>
                <a:gd name="connsiteY9" fmla="*/ 5469 h 10000"/>
                <a:gd name="connsiteX10" fmla="*/ 577 w 10000"/>
                <a:gd name="connsiteY10" fmla="*/ 6406 h 10000"/>
                <a:gd name="connsiteX11" fmla="*/ 962 w 10000"/>
                <a:gd name="connsiteY11" fmla="*/ 7031 h 10000"/>
                <a:gd name="connsiteX12" fmla="*/ 1538 w 10000"/>
                <a:gd name="connsiteY12" fmla="*/ 7813 h 10000"/>
                <a:gd name="connsiteX13" fmla="*/ 2308 w 10000"/>
                <a:gd name="connsiteY13" fmla="*/ 8125 h 10000"/>
                <a:gd name="connsiteX14" fmla="*/ 3462 w 10000"/>
                <a:gd name="connsiteY14" fmla="*/ 9063 h 10000"/>
                <a:gd name="connsiteX15" fmla="*/ 3846 w 10000"/>
                <a:gd name="connsiteY15" fmla="*/ 9531 h 10000"/>
                <a:gd name="connsiteX16" fmla="*/ 4808 w 10000"/>
                <a:gd name="connsiteY16" fmla="*/ 9531 h 10000"/>
                <a:gd name="connsiteX17" fmla="*/ 5577 w 10000"/>
                <a:gd name="connsiteY17" fmla="*/ 10000 h 10000"/>
                <a:gd name="connsiteX18" fmla="*/ 6923 w 10000"/>
                <a:gd name="connsiteY18" fmla="*/ 9844 h 10000"/>
                <a:gd name="connsiteX19" fmla="*/ 7885 w 10000"/>
                <a:gd name="connsiteY19" fmla="*/ 9531 h 10000"/>
                <a:gd name="connsiteX20" fmla="*/ 8462 w 10000"/>
                <a:gd name="connsiteY20" fmla="*/ 9531 h 10000"/>
                <a:gd name="connsiteX21" fmla="*/ 8462 w 10000"/>
                <a:gd name="connsiteY21" fmla="*/ 9219 h 10000"/>
                <a:gd name="connsiteX22" fmla="*/ 8077 w 10000"/>
                <a:gd name="connsiteY22" fmla="*/ 8906 h 10000"/>
                <a:gd name="connsiteX23" fmla="*/ 7500 w 10000"/>
                <a:gd name="connsiteY23" fmla="*/ 8438 h 10000"/>
                <a:gd name="connsiteX24" fmla="*/ 6731 w 10000"/>
                <a:gd name="connsiteY24" fmla="*/ 7969 h 10000"/>
                <a:gd name="connsiteX25" fmla="*/ 6923 w 10000"/>
                <a:gd name="connsiteY25" fmla="*/ 7500 h 10000"/>
                <a:gd name="connsiteX26" fmla="*/ 7308 w 10000"/>
                <a:gd name="connsiteY26" fmla="*/ 7500 h 10000"/>
                <a:gd name="connsiteX27" fmla="*/ 7500 w 10000"/>
                <a:gd name="connsiteY27" fmla="*/ 6563 h 10000"/>
                <a:gd name="connsiteX28" fmla="*/ 6629 w 10000"/>
                <a:gd name="connsiteY28" fmla="*/ 5460 h 10000"/>
                <a:gd name="connsiteX29" fmla="*/ 6151 w 10000"/>
                <a:gd name="connsiteY29" fmla="*/ 5478 h 10000"/>
                <a:gd name="connsiteX30" fmla="*/ 9038 w 10000"/>
                <a:gd name="connsiteY30" fmla="*/ 3281 h 10000"/>
                <a:gd name="connsiteX31" fmla="*/ 9615 w 10000"/>
                <a:gd name="connsiteY31" fmla="*/ 2969 h 10000"/>
                <a:gd name="connsiteX32" fmla="*/ 10000 w 10000"/>
                <a:gd name="connsiteY32" fmla="*/ 2813 h 10000"/>
                <a:gd name="connsiteX33" fmla="*/ 9615 w 10000"/>
                <a:gd name="connsiteY33" fmla="*/ 2031 h 10000"/>
                <a:gd name="connsiteX34" fmla="*/ 9038 w 10000"/>
                <a:gd name="connsiteY34" fmla="*/ 625 h 10000"/>
                <a:gd name="connsiteX35" fmla="*/ 8462 w 10000"/>
                <a:gd name="connsiteY35" fmla="*/ 0 h 10000"/>
                <a:gd name="connsiteX36" fmla="*/ 8077 w 10000"/>
                <a:gd name="connsiteY36" fmla="*/ 313 h 10000"/>
                <a:gd name="connsiteX37" fmla="*/ 7115 w 10000"/>
                <a:gd name="connsiteY37" fmla="*/ 781 h 10000"/>
                <a:gd name="connsiteX0" fmla="*/ 7115 w 10000"/>
                <a:gd name="connsiteY0" fmla="*/ 781 h 10000"/>
                <a:gd name="connsiteX1" fmla="*/ 2115 w 10000"/>
                <a:gd name="connsiteY1" fmla="*/ 781 h 10000"/>
                <a:gd name="connsiteX2" fmla="*/ 1923 w 10000"/>
                <a:gd name="connsiteY2" fmla="*/ 1719 h 10000"/>
                <a:gd name="connsiteX3" fmla="*/ 1346 w 10000"/>
                <a:gd name="connsiteY3" fmla="*/ 1719 h 10000"/>
                <a:gd name="connsiteX4" fmla="*/ 1346 w 10000"/>
                <a:gd name="connsiteY4" fmla="*/ 2188 h 10000"/>
                <a:gd name="connsiteX5" fmla="*/ 1154 w 10000"/>
                <a:gd name="connsiteY5" fmla="*/ 2031 h 10000"/>
                <a:gd name="connsiteX6" fmla="*/ 962 w 10000"/>
                <a:gd name="connsiteY6" fmla="*/ 3906 h 10000"/>
                <a:gd name="connsiteX7" fmla="*/ 385 w 10000"/>
                <a:gd name="connsiteY7" fmla="*/ 4219 h 10000"/>
                <a:gd name="connsiteX8" fmla="*/ 192 w 10000"/>
                <a:gd name="connsiteY8" fmla="*/ 5000 h 10000"/>
                <a:gd name="connsiteX9" fmla="*/ 0 w 10000"/>
                <a:gd name="connsiteY9" fmla="*/ 5469 h 10000"/>
                <a:gd name="connsiteX10" fmla="*/ 577 w 10000"/>
                <a:gd name="connsiteY10" fmla="*/ 6406 h 10000"/>
                <a:gd name="connsiteX11" fmla="*/ 962 w 10000"/>
                <a:gd name="connsiteY11" fmla="*/ 7031 h 10000"/>
                <a:gd name="connsiteX12" fmla="*/ 1538 w 10000"/>
                <a:gd name="connsiteY12" fmla="*/ 7813 h 10000"/>
                <a:gd name="connsiteX13" fmla="*/ 2308 w 10000"/>
                <a:gd name="connsiteY13" fmla="*/ 8125 h 10000"/>
                <a:gd name="connsiteX14" fmla="*/ 3462 w 10000"/>
                <a:gd name="connsiteY14" fmla="*/ 9063 h 10000"/>
                <a:gd name="connsiteX15" fmla="*/ 3846 w 10000"/>
                <a:gd name="connsiteY15" fmla="*/ 9531 h 10000"/>
                <a:gd name="connsiteX16" fmla="*/ 4808 w 10000"/>
                <a:gd name="connsiteY16" fmla="*/ 9531 h 10000"/>
                <a:gd name="connsiteX17" fmla="*/ 5577 w 10000"/>
                <a:gd name="connsiteY17" fmla="*/ 10000 h 10000"/>
                <a:gd name="connsiteX18" fmla="*/ 6923 w 10000"/>
                <a:gd name="connsiteY18" fmla="*/ 9844 h 10000"/>
                <a:gd name="connsiteX19" fmla="*/ 7885 w 10000"/>
                <a:gd name="connsiteY19" fmla="*/ 9531 h 10000"/>
                <a:gd name="connsiteX20" fmla="*/ 8462 w 10000"/>
                <a:gd name="connsiteY20" fmla="*/ 9531 h 10000"/>
                <a:gd name="connsiteX21" fmla="*/ 8462 w 10000"/>
                <a:gd name="connsiteY21" fmla="*/ 9219 h 10000"/>
                <a:gd name="connsiteX22" fmla="*/ 8077 w 10000"/>
                <a:gd name="connsiteY22" fmla="*/ 8906 h 10000"/>
                <a:gd name="connsiteX23" fmla="*/ 7500 w 10000"/>
                <a:gd name="connsiteY23" fmla="*/ 8438 h 10000"/>
                <a:gd name="connsiteX24" fmla="*/ 6731 w 10000"/>
                <a:gd name="connsiteY24" fmla="*/ 7969 h 10000"/>
                <a:gd name="connsiteX25" fmla="*/ 6923 w 10000"/>
                <a:gd name="connsiteY25" fmla="*/ 7500 h 10000"/>
                <a:gd name="connsiteX26" fmla="*/ 7308 w 10000"/>
                <a:gd name="connsiteY26" fmla="*/ 7500 h 10000"/>
                <a:gd name="connsiteX27" fmla="*/ 7500 w 10000"/>
                <a:gd name="connsiteY27" fmla="*/ 6563 h 10000"/>
                <a:gd name="connsiteX28" fmla="*/ 6629 w 10000"/>
                <a:gd name="connsiteY28" fmla="*/ 5460 h 10000"/>
                <a:gd name="connsiteX29" fmla="*/ 6151 w 10000"/>
                <a:gd name="connsiteY29" fmla="*/ 5478 h 10000"/>
                <a:gd name="connsiteX30" fmla="*/ 9038 w 10000"/>
                <a:gd name="connsiteY30" fmla="*/ 3281 h 10000"/>
                <a:gd name="connsiteX31" fmla="*/ 9615 w 10000"/>
                <a:gd name="connsiteY31" fmla="*/ 2969 h 10000"/>
                <a:gd name="connsiteX32" fmla="*/ 10000 w 10000"/>
                <a:gd name="connsiteY32" fmla="*/ 2813 h 10000"/>
                <a:gd name="connsiteX33" fmla="*/ 9615 w 10000"/>
                <a:gd name="connsiteY33" fmla="*/ 2031 h 10000"/>
                <a:gd name="connsiteX34" fmla="*/ 9038 w 10000"/>
                <a:gd name="connsiteY34" fmla="*/ 625 h 10000"/>
                <a:gd name="connsiteX35" fmla="*/ 8462 w 10000"/>
                <a:gd name="connsiteY35" fmla="*/ 0 h 10000"/>
                <a:gd name="connsiteX36" fmla="*/ 8077 w 10000"/>
                <a:gd name="connsiteY36" fmla="*/ 313 h 10000"/>
                <a:gd name="connsiteX37" fmla="*/ 7115 w 10000"/>
                <a:gd name="connsiteY37" fmla="*/ 781 h 10000"/>
                <a:gd name="connsiteX0" fmla="*/ 7115 w 10000"/>
                <a:gd name="connsiteY0" fmla="*/ 781 h 10000"/>
                <a:gd name="connsiteX1" fmla="*/ 2115 w 10000"/>
                <a:gd name="connsiteY1" fmla="*/ 781 h 10000"/>
                <a:gd name="connsiteX2" fmla="*/ 1923 w 10000"/>
                <a:gd name="connsiteY2" fmla="*/ 1719 h 10000"/>
                <a:gd name="connsiteX3" fmla="*/ 1346 w 10000"/>
                <a:gd name="connsiteY3" fmla="*/ 1719 h 10000"/>
                <a:gd name="connsiteX4" fmla="*/ 1346 w 10000"/>
                <a:gd name="connsiteY4" fmla="*/ 2188 h 10000"/>
                <a:gd name="connsiteX5" fmla="*/ 1154 w 10000"/>
                <a:gd name="connsiteY5" fmla="*/ 2031 h 10000"/>
                <a:gd name="connsiteX6" fmla="*/ 962 w 10000"/>
                <a:gd name="connsiteY6" fmla="*/ 3906 h 10000"/>
                <a:gd name="connsiteX7" fmla="*/ 385 w 10000"/>
                <a:gd name="connsiteY7" fmla="*/ 4219 h 10000"/>
                <a:gd name="connsiteX8" fmla="*/ 192 w 10000"/>
                <a:gd name="connsiteY8" fmla="*/ 5000 h 10000"/>
                <a:gd name="connsiteX9" fmla="*/ 0 w 10000"/>
                <a:gd name="connsiteY9" fmla="*/ 5469 h 10000"/>
                <a:gd name="connsiteX10" fmla="*/ 577 w 10000"/>
                <a:gd name="connsiteY10" fmla="*/ 6406 h 10000"/>
                <a:gd name="connsiteX11" fmla="*/ 962 w 10000"/>
                <a:gd name="connsiteY11" fmla="*/ 7031 h 10000"/>
                <a:gd name="connsiteX12" fmla="*/ 1538 w 10000"/>
                <a:gd name="connsiteY12" fmla="*/ 7813 h 10000"/>
                <a:gd name="connsiteX13" fmla="*/ 2308 w 10000"/>
                <a:gd name="connsiteY13" fmla="*/ 8125 h 10000"/>
                <a:gd name="connsiteX14" fmla="*/ 3462 w 10000"/>
                <a:gd name="connsiteY14" fmla="*/ 9063 h 10000"/>
                <a:gd name="connsiteX15" fmla="*/ 3846 w 10000"/>
                <a:gd name="connsiteY15" fmla="*/ 9531 h 10000"/>
                <a:gd name="connsiteX16" fmla="*/ 4808 w 10000"/>
                <a:gd name="connsiteY16" fmla="*/ 9531 h 10000"/>
                <a:gd name="connsiteX17" fmla="*/ 5577 w 10000"/>
                <a:gd name="connsiteY17" fmla="*/ 10000 h 10000"/>
                <a:gd name="connsiteX18" fmla="*/ 6923 w 10000"/>
                <a:gd name="connsiteY18" fmla="*/ 9844 h 10000"/>
                <a:gd name="connsiteX19" fmla="*/ 7885 w 10000"/>
                <a:gd name="connsiteY19" fmla="*/ 9531 h 10000"/>
                <a:gd name="connsiteX20" fmla="*/ 8462 w 10000"/>
                <a:gd name="connsiteY20" fmla="*/ 9531 h 10000"/>
                <a:gd name="connsiteX21" fmla="*/ 8462 w 10000"/>
                <a:gd name="connsiteY21" fmla="*/ 9219 h 10000"/>
                <a:gd name="connsiteX22" fmla="*/ 8077 w 10000"/>
                <a:gd name="connsiteY22" fmla="*/ 8906 h 10000"/>
                <a:gd name="connsiteX23" fmla="*/ 7500 w 10000"/>
                <a:gd name="connsiteY23" fmla="*/ 8438 h 10000"/>
                <a:gd name="connsiteX24" fmla="*/ 6731 w 10000"/>
                <a:gd name="connsiteY24" fmla="*/ 7969 h 10000"/>
                <a:gd name="connsiteX25" fmla="*/ 6923 w 10000"/>
                <a:gd name="connsiteY25" fmla="*/ 7500 h 10000"/>
                <a:gd name="connsiteX26" fmla="*/ 7308 w 10000"/>
                <a:gd name="connsiteY26" fmla="*/ 7500 h 10000"/>
                <a:gd name="connsiteX27" fmla="*/ 7500 w 10000"/>
                <a:gd name="connsiteY27" fmla="*/ 6563 h 10000"/>
                <a:gd name="connsiteX28" fmla="*/ 6629 w 10000"/>
                <a:gd name="connsiteY28" fmla="*/ 5460 h 10000"/>
                <a:gd name="connsiteX29" fmla="*/ 6151 w 10000"/>
                <a:gd name="connsiteY29" fmla="*/ 5478 h 10000"/>
                <a:gd name="connsiteX30" fmla="*/ 9038 w 10000"/>
                <a:gd name="connsiteY30" fmla="*/ 3281 h 10000"/>
                <a:gd name="connsiteX31" fmla="*/ 9615 w 10000"/>
                <a:gd name="connsiteY31" fmla="*/ 2969 h 10000"/>
                <a:gd name="connsiteX32" fmla="*/ 10000 w 10000"/>
                <a:gd name="connsiteY32" fmla="*/ 2813 h 10000"/>
                <a:gd name="connsiteX33" fmla="*/ 9615 w 10000"/>
                <a:gd name="connsiteY33" fmla="*/ 2031 h 10000"/>
                <a:gd name="connsiteX34" fmla="*/ 9038 w 10000"/>
                <a:gd name="connsiteY34" fmla="*/ 625 h 10000"/>
                <a:gd name="connsiteX35" fmla="*/ 8462 w 10000"/>
                <a:gd name="connsiteY35" fmla="*/ 0 h 10000"/>
                <a:gd name="connsiteX36" fmla="*/ 8077 w 10000"/>
                <a:gd name="connsiteY36" fmla="*/ 313 h 10000"/>
                <a:gd name="connsiteX37" fmla="*/ 7115 w 10000"/>
                <a:gd name="connsiteY37" fmla="*/ 781 h 10000"/>
                <a:gd name="connsiteX0" fmla="*/ 7115 w 10000"/>
                <a:gd name="connsiteY0" fmla="*/ 781 h 10000"/>
                <a:gd name="connsiteX1" fmla="*/ 2115 w 10000"/>
                <a:gd name="connsiteY1" fmla="*/ 781 h 10000"/>
                <a:gd name="connsiteX2" fmla="*/ 1923 w 10000"/>
                <a:gd name="connsiteY2" fmla="*/ 1719 h 10000"/>
                <a:gd name="connsiteX3" fmla="*/ 1346 w 10000"/>
                <a:gd name="connsiteY3" fmla="*/ 1719 h 10000"/>
                <a:gd name="connsiteX4" fmla="*/ 1346 w 10000"/>
                <a:gd name="connsiteY4" fmla="*/ 2188 h 10000"/>
                <a:gd name="connsiteX5" fmla="*/ 1154 w 10000"/>
                <a:gd name="connsiteY5" fmla="*/ 2031 h 10000"/>
                <a:gd name="connsiteX6" fmla="*/ 962 w 10000"/>
                <a:gd name="connsiteY6" fmla="*/ 3906 h 10000"/>
                <a:gd name="connsiteX7" fmla="*/ 385 w 10000"/>
                <a:gd name="connsiteY7" fmla="*/ 4219 h 10000"/>
                <a:gd name="connsiteX8" fmla="*/ 192 w 10000"/>
                <a:gd name="connsiteY8" fmla="*/ 5000 h 10000"/>
                <a:gd name="connsiteX9" fmla="*/ 0 w 10000"/>
                <a:gd name="connsiteY9" fmla="*/ 5469 h 10000"/>
                <a:gd name="connsiteX10" fmla="*/ 577 w 10000"/>
                <a:gd name="connsiteY10" fmla="*/ 6406 h 10000"/>
                <a:gd name="connsiteX11" fmla="*/ 962 w 10000"/>
                <a:gd name="connsiteY11" fmla="*/ 7031 h 10000"/>
                <a:gd name="connsiteX12" fmla="*/ 1538 w 10000"/>
                <a:gd name="connsiteY12" fmla="*/ 7813 h 10000"/>
                <a:gd name="connsiteX13" fmla="*/ 2308 w 10000"/>
                <a:gd name="connsiteY13" fmla="*/ 8125 h 10000"/>
                <a:gd name="connsiteX14" fmla="*/ 3462 w 10000"/>
                <a:gd name="connsiteY14" fmla="*/ 9063 h 10000"/>
                <a:gd name="connsiteX15" fmla="*/ 3846 w 10000"/>
                <a:gd name="connsiteY15" fmla="*/ 9531 h 10000"/>
                <a:gd name="connsiteX16" fmla="*/ 4808 w 10000"/>
                <a:gd name="connsiteY16" fmla="*/ 9531 h 10000"/>
                <a:gd name="connsiteX17" fmla="*/ 5577 w 10000"/>
                <a:gd name="connsiteY17" fmla="*/ 10000 h 10000"/>
                <a:gd name="connsiteX18" fmla="*/ 6923 w 10000"/>
                <a:gd name="connsiteY18" fmla="*/ 9844 h 10000"/>
                <a:gd name="connsiteX19" fmla="*/ 7885 w 10000"/>
                <a:gd name="connsiteY19" fmla="*/ 9531 h 10000"/>
                <a:gd name="connsiteX20" fmla="*/ 8462 w 10000"/>
                <a:gd name="connsiteY20" fmla="*/ 9531 h 10000"/>
                <a:gd name="connsiteX21" fmla="*/ 8462 w 10000"/>
                <a:gd name="connsiteY21" fmla="*/ 9219 h 10000"/>
                <a:gd name="connsiteX22" fmla="*/ 8077 w 10000"/>
                <a:gd name="connsiteY22" fmla="*/ 8906 h 10000"/>
                <a:gd name="connsiteX23" fmla="*/ 7500 w 10000"/>
                <a:gd name="connsiteY23" fmla="*/ 8438 h 10000"/>
                <a:gd name="connsiteX24" fmla="*/ 6731 w 10000"/>
                <a:gd name="connsiteY24" fmla="*/ 7969 h 10000"/>
                <a:gd name="connsiteX25" fmla="*/ 6923 w 10000"/>
                <a:gd name="connsiteY25" fmla="*/ 7500 h 10000"/>
                <a:gd name="connsiteX26" fmla="*/ 7308 w 10000"/>
                <a:gd name="connsiteY26" fmla="*/ 7500 h 10000"/>
                <a:gd name="connsiteX27" fmla="*/ 7500 w 10000"/>
                <a:gd name="connsiteY27" fmla="*/ 6563 h 10000"/>
                <a:gd name="connsiteX28" fmla="*/ 6629 w 10000"/>
                <a:gd name="connsiteY28" fmla="*/ 5460 h 10000"/>
                <a:gd name="connsiteX29" fmla="*/ 6151 w 10000"/>
                <a:gd name="connsiteY29" fmla="*/ 5478 h 10000"/>
                <a:gd name="connsiteX30" fmla="*/ 9038 w 10000"/>
                <a:gd name="connsiteY30" fmla="*/ 3281 h 10000"/>
                <a:gd name="connsiteX31" fmla="*/ 9615 w 10000"/>
                <a:gd name="connsiteY31" fmla="*/ 2969 h 10000"/>
                <a:gd name="connsiteX32" fmla="*/ 10000 w 10000"/>
                <a:gd name="connsiteY32" fmla="*/ 2813 h 10000"/>
                <a:gd name="connsiteX33" fmla="*/ 9615 w 10000"/>
                <a:gd name="connsiteY33" fmla="*/ 2031 h 10000"/>
                <a:gd name="connsiteX34" fmla="*/ 9038 w 10000"/>
                <a:gd name="connsiteY34" fmla="*/ 625 h 10000"/>
                <a:gd name="connsiteX35" fmla="*/ 8462 w 10000"/>
                <a:gd name="connsiteY35" fmla="*/ 0 h 10000"/>
                <a:gd name="connsiteX36" fmla="*/ 8077 w 10000"/>
                <a:gd name="connsiteY36" fmla="*/ 313 h 10000"/>
                <a:gd name="connsiteX37" fmla="*/ 7115 w 10000"/>
                <a:gd name="connsiteY37" fmla="*/ 781 h 10000"/>
                <a:gd name="connsiteX0" fmla="*/ 7115 w 10002"/>
                <a:gd name="connsiteY0" fmla="*/ 781 h 10000"/>
                <a:gd name="connsiteX1" fmla="*/ 2115 w 10002"/>
                <a:gd name="connsiteY1" fmla="*/ 781 h 10000"/>
                <a:gd name="connsiteX2" fmla="*/ 1923 w 10002"/>
                <a:gd name="connsiteY2" fmla="*/ 1719 h 10000"/>
                <a:gd name="connsiteX3" fmla="*/ 1346 w 10002"/>
                <a:gd name="connsiteY3" fmla="*/ 1719 h 10000"/>
                <a:gd name="connsiteX4" fmla="*/ 1346 w 10002"/>
                <a:gd name="connsiteY4" fmla="*/ 2188 h 10000"/>
                <a:gd name="connsiteX5" fmla="*/ 1154 w 10002"/>
                <a:gd name="connsiteY5" fmla="*/ 2031 h 10000"/>
                <a:gd name="connsiteX6" fmla="*/ 962 w 10002"/>
                <a:gd name="connsiteY6" fmla="*/ 3906 h 10000"/>
                <a:gd name="connsiteX7" fmla="*/ 385 w 10002"/>
                <a:gd name="connsiteY7" fmla="*/ 4219 h 10000"/>
                <a:gd name="connsiteX8" fmla="*/ 192 w 10002"/>
                <a:gd name="connsiteY8" fmla="*/ 5000 h 10000"/>
                <a:gd name="connsiteX9" fmla="*/ 0 w 10002"/>
                <a:gd name="connsiteY9" fmla="*/ 5469 h 10000"/>
                <a:gd name="connsiteX10" fmla="*/ 577 w 10002"/>
                <a:gd name="connsiteY10" fmla="*/ 6406 h 10000"/>
                <a:gd name="connsiteX11" fmla="*/ 962 w 10002"/>
                <a:gd name="connsiteY11" fmla="*/ 7031 h 10000"/>
                <a:gd name="connsiteX12" fmla="*/ 1538 w 10002"/>
                <a:gd name="connsiteY12" fmla="*/ 7813 h 10000"/>
                <a:gd name="connsiteX13" fmla="*/ 2308 w 10002"/>
                <a:gd name="connsiteY13" fmla="*/ 8125 h 10000"/>
                <a:gd name="connsiteX14" fmla="*/ 3462 w 10002"/>
                <a:gd name="connsiteY14" fmla="*/ 9063 h 10000"/>
                <a:gd name="connsiteX15" fmla="*/ 3846 w 10002"/>
                <a:gd name="connsiteY15" fmla="*/ 9531 h 10000"/>
                <a:gd name="connsiteX16" fmla="*/ 4808 w 10002"/>
                <a:gd name="connsiteY16" fmla="*/ 9531 h 10000"/>
                <a:gd name="connsiteX17" fmla="*/ 5577 w 10002"/>
                <a:gd name="connsiteY17" fmla="*/ 10000 h 10000"/>
                <a:gd name="connsiteX18" fmla="*/ 6923 w 10002"/>
                <a:gd name="connsiteY18" fmla="*/ 9844 h 10000"/>
                <a:gd name="connsiteX19" fmla="*/ 7885 w 10002"/>
                <a:gd name="connsiteY19" fmla="*/ 9531 h 10000"/>
                <a:gd name="connsiteX20" fmla="*/ 8462 w 10002"/>
                <a:gd name="connsiteY20" fmla="*/ 9531 h 10000"/>
                <a:gd name="connsiteX21" fmla="*/ 8462 w 10002"/>
                <a:gd name="connsiteY21" fmla="*/ 9219 h 10000"/>
                <a:gd name="connsiteX22" fmla="*/ 8077 w 10002"/>
                <a:gd name="connsiteY22" fmla="*/ 8906 h 10000"/>
                <a:gd name="connsiteX23" fmla="*/ 7500 w 10002"/>
                <a:gd name="connsiteY23" fmla="*/ 8438 h 10000"/>
                <a:gd name="connsiteX24" fmla="*/ 6731 w 10002"/>
                <a:gd name="connsiteY24" fmla="*/ 7969 h 10000"/>
                <a:gd name="connsiteX25" fmla="*/ 6923 w 10002"/>
                <a:gd name="connsiteY25" fmla="*/ 7500 h 10000"/>
                <a:gd name="connsiteX26" fmla="*/ 7308 w 10002"/>
                <a:gd name="connsiteY26" fmla="*/ 7500 h 10000"/>
                <a:gd name="connsiteX27" fmla="*/ 7500 w 10002"/>
                <a:gd name="connsiteY27" fmla="*/ 6563 h 10000"/>
                <a:gd name="connsiteX28" fmla="*/ 6629 w 10002"/>
                <a:gd name="connsiteY28" fmla="*/ 5460 h 10000"/>
                <a:gd name="connsiteX29" fmla="*/ 6151 w 10002"/>
                <a:gd name="connsiteY29" fmla="*/ 5478 h 10000"/>
                <a:gd name="connsiteX30" fmla="*/ 6108 w 10002"/>
                <a:gd name="connsiteY30" fmla="*/ 6052 h 10000"/>
                <a:gd name="connsiteX31" fmla="*/ 9615 w 10002"/>
                <a:gd name="connsiteY31" fmla="*/ 2969 h 10000"/>
                <a:gd name="connsiteX32" fmla="*/ 10000 w 10002"/>
                <a:gd name="connsiteY32" fmla="*/ 2813 h 10000"/>
                <a:gd name="connsiteX33" fmla="*/ 9615 w 10002"/>
                <a:gd name="connsiteY33" fmla="*/ 2031 h 10000"/>
                <a:gd name="connsiteX34" fmla="*/ 9038 w 10002"/>
                <a:gd name="connsiteY34" fmla="*/ 625 h 10000"/>
                <a:gd name="connsiteX35" fmla="*/ 8462 w 10002"/>
                <a:gd name="connsiteY35" fmla="*/ 0 h 10000"/>
                <a:gd name="connsiteX36" fmla="*/ 8077 w 10002"/>
                <a:gd name="connsiteY36" fmla="*/ 313 h 10000"/>
                <a:gd name="connsiteX37" fmla="*/ 7115 w 10002"/>
                <a:gd name="connsiteY37" fmla="*/ 781 h 10000"/>
                <a:gd name="connsiteX0" fmla="*/ 7115 w 10267"/>
                <a:gd name="connsiteY0" fmla="*/ 781 h 10000"/>
                <a:gd name="connsiteX1" fmla="*/ 2115 w 10267"/>
                <a:gd name="connsiteY1" fmla="*/ 781 h 10000"/>
                <a:gd name="connsiteX2" fmla="*/ 1923 w 10267"/>
                <a:gd name="connsiteY2" fmla="*/ 1719 h 10000"/>
                <a:gd name="connsiteX3" fmla="*/ 1346 w 10267"/>
                <a:gd name="connsiteY3" fmla="*/ 1719 h 10000"/>
                <a:gd name="connsiteX4" fmla="*/ 1346 w 10267"/>
                <a:gd name="connsiteY4" fmla="*/ 2188 h 10000"/>
                <a:gd name="connsiteX5" fmla="*/ 1154 w 10267"/>
                <a:gd name="connsiteY5" fmla="*/ 2031 h 10000"/>
                <a:gd name="connsiteX6" fmla="*/ 962 w 10267"/>
                <a:gd name="connsiteY6" fmla="*/ 3906 h 10000"/>
                <a:gd name="connsiteX7" fmla="*/ 385 w 10267"/>
                <a:gd name="connsiteY7" fmla="*/ 4219 h 10000"/>
                <a:gd name="connsiteX8" fmla="*/ 192 w 10267"/>
                <a:gd name="connsiteY8" fmla="*/ 5000 h 10000"/>
                <a:gd name="connsiteX9" fmla="*/ 0 w 10267"/>
                <a:gd name="connsiteY9" fmla="*/ 5469 h 10000"/>
                <a:gd name="connsiteX10" fmla="*/ 577 w 10267"/>
                <a:gd name="connsiteY10" fmla="*/ 6406 h 10000"/>
                <a:gd name="connsiteX11" fmla="*/ 962 w 10267"/>
                <a:gd name="connsiteY11" fmla="*/ 7031 h 10000"/>
                <a:gd name="connsiteX12" fmla="*/ 1538 w 10267"/>
                <a:gd name="connsiteY12" fmla="*/ 7813 h 10000"/>
                <a:gd name="connsiteX13" fmla="*/ 2308 w 10267"/>
                <a:gd name="connsiteY13" fmla="*/ 8125 h 10000"/>
                <a:gd name="connsiteX14" fmla="*/ 3462 w 10267"/>
                <a:gd name="connsiteY14" fmla="*/ 9063 h 10000"/>
                <a:gd name="connsiteX15" fmla="*/ 3846 w 10267"/>
                <a:gd name="connsiteY15" fmla="*/ 9531 h 10000"/>
                <a:gd name="connsiteX16" fmla="*/ 4808 w 10267"/>
                <a:gd name="connsiteY16" fmla="*/ 9531 h 10000"/>
                <a:gd name="connsiteX17" fmla="*/ 5577 w 10267"/>
                <a:gd name="connsiteY17" fmla="*/ 10000 h 10000"/>
                <a:gd name="connsiteX18" fmla="*/ 6923 w 10267"/>
                <a:gd name="connsiteY18" fmla="*/ 9844 h 10000"/>
                <a:gd name="connsiteX19" fmla="*/ 7885 w 10267"/>
                <a:gd name="connsiteY19" fmla="*/ 9531 h 10000"/>
                <a:gd name="connsiteX20" fmla="*/ 8462 w 10267"/>
                <a:gd name="connsiteY20" fmla="*/ 9531 h 10000"/>
                <a:gd name="connsiteX21" fmla="*/ 8462 w 10267"/>
                <a:gd name="connsiteY21" fmla="*/ 9219 h 10000"/>
                <a:gd name="connsiteX22" fmla="*/ 8077 w 10267"/>
                <a:gd name="connsiteY22" fmla="*/ 8906 h 10000"/>
                <a:gd name="connsiteX23" fmla="*/ 7500 w 10267"/>
                <a:gd name="connsiteY23" fmla="*/ 8438 h 10000"/>
                <a:gd name="connsiteX24" fmla="*/ 6731 w 10267"/>
                <a:gd name="connsiteY24" fmla="*/ 7969 h 10000"/>
                <a:gd name="connsiteX25" fmla="*/ 6923 w 10267"/>
                <a:gd name="connsiteY25" fmla="*/ 7500 h 10000"/>
                <a:gd name="connsiteX26" fmla="*/ 7308 w 10267"/>
                <a:gd name="connsiteY26" fmla="*/ 7500 h 10000"/>
                <a:gd name="connsiteX27" fmla="*/ 7500 w 10267"/>
                <a:gd name="connsiteY27" fmla="*/ 6563 h 10000"/>
                <a:gd name="connsiteX28" fmla="*/ 6629 w 10267"/>
                <a:gd name="connsiteY28" fmla="*/ 5460 h 10000"/>
                <a:gd name="connsiteX29" fmla="*/ 6151 w 10267"/>
                <a:gd name="connsiteY29" fmla="*/ 5478 h 10000"/>
                <a:gd name="connsiteX30" fmla="*/ 6108 w 10267"/>
                <a:gd name="connsiteY30" fmla="*/ 6052 h 10000"/>
                <a:gd name="connsiteX31" fmla="*/ 5220 w 10267"/>
                <a:gd name="connsiteY31" fmla="*/ 6647 h 10000"/>
                <a:gd name="connsiteX32" fmla="*/ 10000 w 10267"/>
                <a:gd name="connsiteY32" fmla="*/ 2813 h 10000"/>
                <a:gd name="connsiteX33" fmla="*/ 9615 w 10267"/>
                <a:gd name="connsiteY33" fmla="*/ 2031 h 10000"/>
                <a:gd name="connsiteX34" fmla="*/ 9038 w 10267"/>
                <a:gd name="connsiteY34" fmla="*/ 625 h 10000"/>
                <a:gd name="connsiteX35" fmla="*/ 8462 w 10267"/>
                <a:gd name="connsiteY35" fmla="*/ 0 h 10000"/>
                <a:gd name="connsiteX36" fmla="*/ 8077 w 10267"/>
                <a:gd name="connsiteY36" fmla="*/ 313 h 10000"/>
                <a:gd name="connsiteX37" fmla="*/ 7115 w 10267"/>
                <a:gd name="connsiteY37" fmla="*/ 781 h 10000"/>
                <a:gd name="connsiteX0" fmla="*/ 7115 w 9859"/>
                <a:gd name="connsiteY0" fmla="*/ 781 h 10000"/>
                <a:gd name="connsiteX1" fmla="*/ 2115 w 9859"/>
                <a:gd name="connsiteY1" fmla="*/ 781 h 10000"/>
                <a:gd name="connsiteX2" fmla="*/ 1923 w 9859"/>
                <a:gd name="connsiteY2" fmla="*/ 1719 h 10000"/>
                <a:gd name="connsiteX3" fmla="*/ 1346 w 9859"/>
                <a:gd name="connsiteY3" fmla="*/ 1719 h 10000"/>
                <a:gd name="connsiteX4" fmla="*/ 1346 w 9859"/>
                <a:gd name="connsiteY4" fmla="*/ 2188 h 10000"/>
                <a:gd name="connsiteX5" fmla="*/ 1154 w 9859"/>
                <a:gd name="connsiteY5" fmla="*/ 2031 h 10000"/>
                <a:gd name="connsiteX6" fmla="*/ 962 w 9859"/>
                <a:gd name="connsiteY6" fmla="*/ 3906 h 10000"/>
                <a:gd name="connsiteX7" fmla="*/ 385 w 9859"/>
                <a:gd name="connsiteY7" fmla="*/ 4219 h 10000"/>
                <a:gd name="connsiteX8" fmla="*/ 192 w 9859"/>
                <a:gd name="connsiteY8" fmla="*/ 5000 h 10000"/>
                <a:gd name="connsiteX9" fmla="*/ 0 w 9859"/>
                <a:gd name="connsiteY9" fmla="*/ 5469 h 10000"/>
                <a:gd name="connsiteX10" fmla="*/ 577 w 9859"/>
                <a:gd name="connsiteY10" fmla="*/ 6406 h 10000"/>
                <a:gd name="connsiteX11" fmla="*/ 962 w 9859"/>
                <a:gd name="connsiteY11" fmla="*/ 7031 h 10000"/>
                <a:gd name="connsiteX12" fmla="*/ 1538 w 9859"/>
                <a:gd name="connsiteY12" fmla="*/ 7813 h 10000"/>
                <a:gd name="connsiteX13" fmla="*/ 2308 w 9859"/>
                <a:gd name="connsiteY13" fmla="*/ 8125 h 10000"/>
                <a:gd name="connsiteX14" fmla="*/ 3462 w 9859"/>
                <a:gd name="connsiteY14" fmla="*/ 9063 h 10000"/>
                <a:gd name="connsiteX15" fmla="*/ 3846 w 9859"/>
                <a:gd name="connsiteY15" fmla="*/ 9531 h 10000"/>
                <a:gd name="connsiteX16" fmla="*/ 4808 w 9859"/>
                <a:gd name="connsiteY16" fmla="*/ 9531 h 10000"/>
                <a:gd name="connsiteX17" fmla="*/ 5577 w 9859"/>
                <a:gd name="connsiteY17" fmla="*/ 10000 h 10000"/>
                <a:gd name="connsiteX18" fmla="*/ 6923 w 9859"/>
                <a:gd name="connsiteY18" fmla="*/ 9844 h 10000"/>
                <a:gd name="connsiteX19" fmla="*/ 7885 w 9859"/>
                <a:gd name="connsiteY19" fmla="*/ 9531 h 10000"/>
                <a:gd name="connsiteX20" fmla="*/ 8462 w 9859"/>
                <a:gd name="connsiteY20" fmla="*/ 9531 h 10000"/>
                <a:gd name="connsiteX21" fmla="*/ 8462 w 9859"/>
                <a:gd name="connsiteY21" fmla="*/ 9219 h 10000"/>
                <a:gd name="connsiteX22" fmla="*/ 8077 w 9859"/>
                <a:gd name="connsiteY22" fmla="*/ 8906 h 10000"/>
                <a:gd name="connsiteX23" fmla="*/ 7500 w 9859"/>
                <a:gd name="connsiteY23" fmla="*/ 8438 h 10000"/>
                <a:gd name="connsiteX24" fmla="*/ 6731 w 9859"/>
                <a:gd name="connsiteY24" fmla="*/ 7969 h 10000"/>
                <a:gd name="connsiteX25" fmla="*/ 6923 w 9859"/>
                <a:gd name="connsiteY25" fmla="*/ 7500 h 10000"/>
                <a:gd name="connsiteX26" fmla="*/ 7308 w 9859"/>
                <a:gd name="connsiteY26" fmla="*/ 7500 h 10000"/>
                <a:gd name="connsiteX27" fmla="*/ 7500 w 9859"/>
                <a:gd name="connsiteY27" fmla="*/ 6563 h 10000"/>
                <a:gd name="connsiteX28" fmla="*/ 6629 w 9859"/>
                <a:gd name="connsiteY28" fmla="*/ 5460 h 10000"/>
                <a:gd name="connsiteX29" fmla="*/ 6151 w 9859"/>
                <a:gd name="connsiteY29" fmla="*/ 5478 h 10000"/>
                <a:gd name="connsiteX30" fmla="*/ 6108 w 9859"/>
                <a:gd name="connsiteY30" fmla="*/ 6052 h 10000"/>
                <a:gd name="connsiteX31" fmla="*/ 5220 w 9859"/>
                <a:gd name="connsiteY31" fmla="*/ 6647 h 10000"/>
                <a:gd name="connsiteX32" fmla="*/ 4668 w 9859"/>
                <a:gd name="connsiteY32" fmla="*/ 6205 h 10000"/>
                <a:gd name="connsiteX33" fmla="*/ 9615 w 9859"/>
                <a:gd name="connsiteY33" fmla="*/ 2031 h 10000"/>
                <a:gd name="connsiteX34" fmla="*/ 9038 w 9859"/>
                <a:gd name="connsiteY34" fmla="*/ 625 h 10000"/>
                <a:gd name="connsiteX35" fmla="*/ 8462 w 9859"/>
                <a:gd name="connsiteY35" fmla="*/ 0 h 10000"/>
                <a:gd name="connsiteX36" fmla="*/ 8077 w 9859"/>
                <a:gd name="connsiteY36" fmla="*/ 313 h 10000"/>
                <a:gd name="connsiteX37" fmla="*/ 7115 w 9859"/>
                <a:gd name="connsiteY37" fmla="*/ 781 h 10000"/>
                <a:gd name="connsiteX0" fmla="*/ 7217 w 9442"/>
                <a:gd name="connsiteY0" fmla="*/ 786 h 10005"/>
                <a:gd name="connsiteX1" fmla="*/ 2145 w 9442"/>
                <a:gd name="connsiteY1" fmla="*/ 786 h 10005"/>
                <a:gd name="connsiteX2" fmla="*/ 1951 w 9442"/>
                <a:gd name="connsiteY2" fmla="*/ 1724 h 10005"/>
                <a:gd name="connsiteX3" fmla="*/ 1365 w 9442"/>
                <a:gd name="connsiteY3" fmla="*/ 1724 h 10005"/>
                <a:gd name="connsiteX4" fmla="*/ 1365 w 9442"/>
                <a:gd name="connsiteY4" fmla="*/ 2193 h 10005"/>
                <a:gd name="connsiteX5" fmla="*/ 1171 w 9442"/>
                <a:gd name="connsiteY5" fmla="*/ 2036 h 10005"/>
                <a:gd name="connsiteX6" fmla="*/ 976 w 9442"/>
                <a:gd name="connsiteY6" fmla="*/ 3911 h 10005"/>
                <a:gd name="connsiteX7" fmla="*/ 391 w 9442"/>
                <a:gd name="connsiteY7" fmla="*/ 4224 h 10005"/>
                <a:gd name="connsiteX8" fmla="*/ 195 w 9442"/>
                <a:gd name="connsiteY8" fmla="*/ 5005 h 10005"/>
                <a:gd name="connsiteX9" fmla="*/ 0 w 9442"/>
                <a:gd name="connsiteY9" fmla="*/ 5474 h 10005"/>
                <a:gd name="connsiteX10" fmla="*/ 585 w 9442"/>
                <a:gd name="connsiteY10" fmla="*/ 6411 h 10005"/>
                <a:gd name="connsiteX11" fmla="*/ 976 w 9442"/>
                <a:gd name="connsiteY11" fmla="*/ 7036 h 10005"/>
                <a:gd name="connsiteX12" fmla="*/ 1560 w 9442"/>
                <a:gd name="connsiteY12" fmla="*/ 7818 h 10005"/>
                <a:gd name="connsiteX13" fmla="*/ 2341 w 9442"/>
                <a:gd name="connsiteY13" fmla="*/ 8130 h 10005"/>
                <a:gd name="connsiteX14" fmla="*/ 3512 w 9442"/>
                <a:gd name="connsiteY14" fmla="*/ 9068 h 10005"/>
                <a:gd name="connsiteX15" fmla="*/ 3901 w 9442"/>
                <a:gd name="connsiteY15" fmla="*/ 9536 h 10005"/>
                <a:gd name="connsiteX16" fmla="*/ 4877 w 9442"/>
                <a:gd name="connsiteY16" fmla="*/ 9536 h 10005"/>
                <a:gd name="connsiteX17" fmla="*/ 5657 w 9442"/>
                <a:gd name="connsiteY17" fmla="*/ 10005 h 10005"/>
                <a:gd name="connsiteX18" fmla="*/ 7022 w 9442"/>
                <a:gd name="connsiteY18" fmla="*/ 9849 h 10005"/>
                <a:gd name="connsiteX19" fmla="*/ 7998 w 9442"/>
                <a:gd name="connsiteY19" fmla="*/ 9536 h 10005"/>
                <a:gd name="connsiteX20" fmla="*/ 8583 w 9442"/>
                <a:gd name="connsiteY20" fmla="*/ 9536 h 10005"/>
                <a:gd name="connsiteX21" fmla="*/ 8583 w 9442"/>
                <a:gd name="connsiteY21" fmla="*/ 9224 h 10005"/>
                <a:gd name="connsiteX22" fmla="*/ 8193 w 9442"/>
                <a:gd name="connsiteY22" fmla="*/ 8911 h 10005"/>
                <a:gd name="connsiteX23" fmla="*/ 7607 w 9442"/>
                <a:gd name="connsiteY23" fmla="*/ 8443 h 10005"/>
                <a:gd name="connsiteX24" fmla="*/ 6827 w 9442"/>
                <a:gd name="connsiteY24" fmla="*/ 7974 h 10005"/>
                <a:gd name="connsiteX25" fmla="*/ 7022 w 9442"/>
                <a:gd name="connsiteY25" fmla="*/ 7505 h 10005"/>
                <a:gd name="connsiteX26" fmla="*/ 7413 w 9442"/>
                <a:gd name="connsiteY26" fmla="*/ 7505 h 10005"/>
                <a:gd name="connsiteX27" fmla="*/ 7607 w 9442"/>
                <a:gd name="connsiteY27" fmla="*/ 6568 h 10005"/>
                <a:gd name="connsiteX28" fmla="*/ 6724 w 9442"/>
                <a:gd name="connsiteY28" fmla="*/ 5465 h 10005"/>
                <a:gd name="connsiteX29" fmla="*/ 6239 w 9442"/>
                <a:gd name="connsiteY29" fmla="*/ 5483 h 10005"/>
                <a:gd name="connsiteX30" fmla="*/ 6195 w 9442"/>
                <a:gd name="connsiteY30" fmla="*/ 6057 h 10005"/>
                <a:gd name="connsiteX31" fmla="*/ 5295 w 9442"/>
                <a:gd name="connsiteY31" fmla="*/ 6652 h 10005"/>
                <a:gd name="connsiteX32" fmla="*/ 4735 w 9442"/>
                <a:gd name="connsiteY32" fmla="*/ 6210 h 10005"/>
                <a:gd name="connsiteX33" fmla="*/ 3750 w 9442"/>
                <a:gd name="connsiteY33" fmla="*/ 6335 h 10005"/>
                <a:gd name="connsiteX34" fmla="*/ 9167 w 9442"/>
                <a:gd name="connsiteY34" fmla="*/ 630 h 10005"/>
                <a:gd name="connsiteX35" fmla="*/ 8583 w 9442"/>
                <a:gd name="connsiteY35" fmla="*/ 5 h 10005"/>
                <a:gd name="connsiteX36" fmla="*/ 8193 w 9442"/>
                <a:gd name="connsiteY36" fmla="*/ 318 h 10005"/>
                <a:gd name="connsiteX37" fmla="*/ 7217 w 9442"/>
                <a:gd name="connsiteY37" fmla="*/ 786 h 10005"/>
                <a:gd name="connsiteX0" fmla="*/ 7644 w 10000"/>
                <a:gd name="connsiteY0" fmla="*/ 786 h 10000"/>
                <a:gd name="connsiteX1" fmla="*/ 2272 w 10000"/>
                <a:gd name="connsiteY1" fmla="*/ 786 h 10000"/>
                <a:gd name="connsiteX2" fmla="*/ 2066 w 10000"/>
                <a:gd name="connsiteY2" fmla="*/ 1723 h 10000"/>
                <a:gd name="connsiteX3" fmla="*/ 1446 w 10000"/>
                <a:gd name="connsiteY3" fmla="*/ 1723 h 10000"/>
                <a:gd name="connsiteX4" fmla="*/ 1446 w 10000"/>
                <a:gd name="connsiteY4" fmla="*/ 2192 h 10000"/>
                <a:gd name="connsiteX5" fmla="*/ 1240 w 10000"/>
                <a:gd name="connsiteY5" fmla="*/ 2035 h 10000"/>
                <a:gd name="connsiteX6" fmla="*/ 1034 w 10000"/>
                <a:gd name="connsiteY6" fmla="*/ 3909 h 10000"/>
                <a:gd name="connsiteX7" fmla="*/ 414 w 10000"/>
                <a:gd name="connsiteY7" fmla="*/ 4222 h 10000"/>
                <a:gd name="connsiteX8" fmla="*/ 207 w 10000"/>
                <a:gd name="connsiteY8" fmla="*/ 5002 h 10000"/>
                <a:gd name="connsiteX9" fmla="*/ 0 w 10000"/>
                <a:gd name="connsiteY9" fmla="*/ 5471 h 10000"/>
                <a:gd name="connsiteX10" fmla="*/ 620 w 10000"/>
                <a:gd name="connsiteY10" fmla="*/ 6408 h 10000"/>
                <a:gd name="connsiteX11" fmla="*/ 1034 w 10000"/>
                <a:gd name="connsiteY11" fmla="*/ 7032 h 10000"/>
                <a:gd name="connsiteX12" fmla="*/ 1652 w 10000"/>
                <a:gd name="connsiteY12" fmla="*/ 7814 h 10000"/>
                <a:gd name="connsiteX13" fmla="*/ 2479 w 10000"/>
                <a:gd name="connsiteY13" fmla="*/ 8126 h 10000"/>
                <a:gd name="connsiteX14" fmla="*/ 3720 w 10000"/>
                <a:gd name="connsiteY14" fmla="*/ 9063 h 10000"/>
                <a:gd name="connsiteX15" fmla="*/ 4132 w 10000"/>
                <a:gd name="connsiteY15" fmla="*/ 9531 h 10000"/>
                <a:gd name="connsiteX16" fmla="*/ 5165 w 10000"/>
                <a:gd name="connsiteY16" fmla="*/ 9531 h 10000"/>
                <a:gd name="connsiteX17" fmla="*/ 5991 w 10000"/>
                <a:gd name="connsiteY17" fmla="*/ 10000 h 10000"/>
                <a:gd name="connsiteX18" fmla="*/ 7437 w 10000"/>
                <a:gd name="connsiteY18" fmla="*/ 9844 h 10000"/>
                <a:gd name="connsiteX19" fmla="*/ 8471 w 10000"/>
                <a:gd name="connsiteY19" fmla="*/ 9531 h 10000"/>
                <a:gd name="connsiteX20" fmla="*/ 9090 w 10000"/>
                <a:gd name="connsiteY20" fmla="*/ 9531 h 10000"/>
                <a:gd name="connsiteX21" fmla="*/ 9090 w 10000"/>
                <a:gd name="connsiteY21" fmla="*/ 9219 h 10000"/>
                <a:gd name="connsiteX22" fmla="*/ 8677 w 10000"/>
                <a:gd name="connsiteY22" fmla="*/ 8907 h 10000"/>
                <a:gd name="connsiteX23" fmla="*/ 8057 w 10000"/>
                <a:gd name="connsiteY23" fmla="*/ 8439 h 10000"/>
                <a:gd name="connsiteX24" fmla="*/ 7230 w 10000"/>
                <a:gd name="connsiteY24" fmla="*/ 7970 h 10000"/>
                <a:gd name="connsiteX25" fmla="*/ 7437 w 10000"/>
                <a:gd name="connsiteY25" fmla="*/ 7501 h 10000"/>
                <a:gd name="connsiteX26" fmla="*/ 7851 w 10000"/>
                <a:gd name="connsiteY26" fmla="*/ 7501 h 10000"/>
                <a:gd name="connsiteX27" fmla="*/ 8057 w 10000"/>
                <a:gd name="connsiteY27" fmla="*/ 6565 h 10000"/>
                <a:gd name="connsiteX28" fmla="*/ 7121 w 10000"/>
                <a:gd name="connsiteY28" fmla="*/ 5462 h 10000"/>
                <a:gd name="connsiteX29" fmla="*/ 6608 w 10000"/>
                <a:gd name="connsiteY29" fmla="*/ 5480 h 10000"/>
                <a:gd name="connsiteX30" fmla="*/ 6561 w 10000"/>
                <a:gd name="connsiteY30" fmla="*/ 6054 h 10000"/>
                <a:gd name="connsiteX31" fmla="*/ 5608 w 10000"/>
                <a:gd name="connsiteY31" fmla="*/ 6649 h 10000"/>
                <a:gd name="connsiteX32" fmla="*/ 5015 w 10000"/>
                <a:gd name="connsiteY32" fmla="*/ 6207 h 10000"/>
                <a:gd name="connsiteX33" fmla="*/ 3972 w 10000"/>
                <a:gd name="connsiteY33" fmla="*/ 6332 h 10000"/>
                <a:gd name="connsiteX34" fmla="*/ 9709 w 10000"/>
                <a:gd name="connsiteY34" fmla="*/ 630 h 10000"/>
                <a:gd name="connsiteX35" fmla="*/ 9090 w 10000"/>
                <a:gd name="connsiteY35" fmla="*/ 5 h 10000"/>
                <a:gd name="connsiteX36" fmla="*/ 8677 w 10000"/>
                <a:gd name="connsiteY36" fmla="*/ 318 h 10000"/>
                <a:gd name="connsiteX37" fmla="*/ 7644 w 10000"/>
                <a:gd name="connsiteY37" fmla="*/ 786 h 10000"/>
                <a:gd name="connsiteX0" fmla="*/ 7644 w 10000"/>
                <a:gd name="connsiteY0" fmla="*/ 786 h 10000"/>
                <a:gd name="connsiteX1" fmla="*/ 2272 w 10000"/>
                <a:gd name="connsiteY1" fmla="*/ 786 h 10000"/>
                <a:gd name="connsiteX2" fmla="*/ 2066 w 10000"/>
                <a:gd name="connsiteY2" fmla="*/ 1723 h 10000"/>
                <a:gd name="connsiteX3" fmla="*/ 1446 w 10000"/>
                <a:gd name="connsiteY3" fmla="*/ 1723 h 10000"/>
                <a:gd name="connsiteX4" fmla="*/ 1446 w 10000"/>
                <a:gd name="connsiteY4" fmla="*/ 2192 h 10000"/>
                <a:gd name="connsiteX5" fmla="*/ 1240 w 10000"/>
                <a:gd name="connsiteY5" fmla="*/ 2035 h 10000"/>
                <a:gd name="connsiteX6" fmla="*/ 1034 w 10000"/>
                <a:gd name="connsiteY6" fmla="*/ 3909 h 10000"/>
                <a:gd name="connsiteX7" fmla="*/ 414 w 10000"/>
                <a:gd name="connsiteY7" fmla="*/ 4222 h 10000"/>
                <a:gd name="connsiteX8" fmla="*/ 207 w 10000"/>
                <a:gd name="connsiteY8" fmla="*/ 5002 h 10000"/>
                <a:gd name="connsiteX9" fmla="*/ 0 w 10000"/>
                <a:gd name="connsiteY9" fmla="*/ 5471 h 10000"/>
                <a:gd name="connsiteX10" fmla="*/ 620 w 10000"/>
                <a:gd name="connsiteY10" fmla="*/ 6408 h 10000"/>
                <a:gd name="connsiteX11" fmla="*/ 1034 w 10000"/>
                <a:gd name="connsiteY11" fmla="*/ 7032 h 10000"/>
                <a:gd name="connsiteX12" fmla="*/ 1652 w 10000"/>
                <a:gd name="connsiteY12" fmla="*/ 7814 h 10000"/>
                <a:gd name="connsiteX13" fmla="*/ 2479 w 10000"/>
                <a:gd name="connsiteY13" fmla="*/ 8126 h 10000"/>
                <a:gd name="connsiteX14" fmla="*/ 3720 w 10000"/>
                <a:gd name="connsiteY14" fmla="*/ 9063 h 10000"/>
                <a:gd name="connsiteX15" fmla="*/ 4132 w 10000"/>
                <a:gd name="connsiteY15" fmla="*/ 9531 h 10000"/>
                <a:gd name="connsiteX16" fmla="*/ 5165 w 10000"/>
                <a:gd name="connsiteY16" fmla="*/ 9531 h 10000"/>
                <a:gd name="connsiteX17" fmla="*/ 5991 w 10000"/>
                <a:gd name="connsiteY17" fmla="*/ 10000 h 10000"/>
                <a:gd name="connsiteX18" fmla="*/ 7437 w 10000"/>
                <a:gd name="connsiteY18" fmla="*/ 9844 h 10000"/>
                <a:gd name="connsiteX19" fmla="*/ 8471 w 10000"/>
                <a:gd name="connsiteY19" fmla="*/ 9531 h 10000"/>
                <a:gd name="connsiteX20" fmla="*/ 9090 w 10000"/>
                <a:gd name="connsiteY20" fmla="*/ 9531 h 10000"/>
                <a:gd name="connsiteX21" fmla="*/ 9090 w 10000"/>
                <a:gd name="connsiteY21" fmla="*/ 9219 h 10000"/>
                <a:gd name="connsiteX22" fmla="*/ 8677 w 10000"/>
                <a:gd name="connsiteY22" fmla="*/ 8907 h 10000"/>
                <a:gd name="connsiteX23" fmla="*/ 8057 w 10000"/>
                <a:gd name="connsiteY23" fmla="*/ 8439 h 10000"/>
                <a:gd name="connsiteX24" fmla="*/ 7230 w 10000"/>
                <a:gd name="connsiteY24" fmla="*/ 7970 h 10000"/>
                <a:gd name="connsiteX25" fmla="*/ 7437 w 10000"/>
                <a:gd name="connsiteY25" fmla="*/ 7501 h 10000"/>
                <a:gd name="connsiteX26" fmla="*/ 7851 w 10000"/>
                <a:gd name="connsiteY26" fmla="*/ 7501 h 10000"/>
                <a:gd name="connsiteX27" fmla="*/ 8057 w 10000"/>
                <a:gd name="connsiteY27" fmla="*/ 6565 h 10000"/>
                <a:gd name="connsiteX28" fmla="*/ 7121 w 10000"/>
                <a:gd name="connsiteY28" fmla="*/ 5462 h 10000"/>
                <a:gd name="connsiteX29" fmla="*/ 6608 w 10000"/>
                <a:gd name="connsiteY29" fmla="*/ 5480 h 10000"/>
                <a:gd name="connsiteX30" fmla="*/ 6561 w 10000"/>
                <a:gd name="connsiteY30" fmla="*/ 6054 h 10000"/>
                <a:gd name="connsiteX31" fmla="*/ 5608 w 10000"/>
                <a:gd name="connsiteY31" fmla="*/ 6649 h 10000"/>
                <a:gd name="connsiteX32" fmla="*/ 5015 w 10000"/>
                <a:gd name="connsiteY32" fmla="*/ 6207 h 10000"/>
                <a:gd name="connsiteX33" fmla="*/ 3972 w 10000"/>
                <a:gd name="connsiteY33" fmla="*/ 6332 h 10000"/>
                <a:gd name="connsiteX34" fmla="*/ 9709 w 10000"/>
                <a:gd name="connsiteY34" fmla="*/ 630 h 10000"/>
                <a:gd name="connsiteX35" fmla="*/ 9090 w 10000"/>
                <a:gd name="connsiteY35" fmla="*/ 5 h 10000"/>
                <a:gd name="connsiteX36" fmla="*/ 8677 w 10000"/>
                <a:gd name="connsiteY36" fmla="*/ 318 h 10000"/>
                <a:gd name="connsiteX37" fmla="*/ 7644 w 10000"/>
                <a:gd name="connsiteY37" fmla="*/ 786 h 10000"/>
                <a:gd name="connsiteX0" fmla="*/ 7644 w 10000"/>
                <a:gd name="connsiteY0" fmla="*/ 786 h 10000"/>
                <a:gd name="connsiteX1" fmla="*/ 2272 w 10000"/>
                <a:gd name="connsiteY1" fmla="*/ 786 h 10000"/>
                <a:gd name="connsiteX2" fmla="*/ 2066 w 10000"/>
                <a:gd name="connsiteY2" fmla="*/ 1723 h 10000"/>
                <a:gd name="connsiteX3" fmla="*/ 1446 w 10000"/>
                <a:gd name="connsiteY3" fmla="*/ 1723 h 10000"/>
                <a:gd name="connsiteX4" fmla="*/ 1446 w 10000"/>
                <a:gd name="connsiteY4" fmla="*/ 2192 h 10000"/>
                <a:gd name="connsiteX5" fmla="*/ 1240 w 10000"/>
                <a:gd name="connsiteY5" fmla="*/ 2035 h 10000"/>
                <a:gd name="connsiteX6" fmla="*/ 1034 w 10000"/>
                <a:gd name="connsiteY6" fmla="*/ 3909 h 10000"/>
                <a:gd name="connsiteX7" fmla="*/ 414 w 10000"/>
                <a:gd name="connsiteY7" fmla="*/ 4222 h 10000"/>
                <a:gd name="connsiteX8" fmla="*/ 207 w 10000"/>
                <a:gd name="connsiteY8" fmla="*/ 5002 h 10000"/>
                <a:gd name="connsiteX9" fmla="*/ 0 w 10000"/>
                <a:gd name="connsiteY9" fmla="*/ 5471 h 10000"/>
                <a:gd name="connsiteX10" fmla="*/ 620 w 10000"/>
                <a:gd name="connsiteY10" fmla="*/ 6408 h 10000"/>
                <a:gd name="connsiteX11" fmla="*/ 1034 w 10000"/>
                <a:gd name="connsiteY11" fmla="*/ 7032 h 10000"/>
                <a:gd name="connsiteX12" fmla="*/ 1652 w 10000"/>
                <a:gd name="connsiteY12" fmla="*/ 7814 h 10000"/>
                <a:gd name="connsiteX13" fmla="*/ 2479 w 10000"/>
                <a:gd name="connsiteY13" fmla="*/ 8126 h 10000"/>
                <a:gd name="connsiteX14" fmla="*/ 3720 w 10000"/>
                <a:gd name="connsiteY14" fmla="*/ 9063 h 10000"/>
                <a:gd name="connsiteX15" fmla="*/ 4132 w 10000"/>
                <a:gd name="connsiteY15" fmla="*/ 9531 h 10000"/>
                <a:gd name="connsiteX16" fmla="*/ 5165 w 10000"/>
                <a:gd name="connsiteY16" fmla="*/ 9531 h 10000"/>
                <a:gd name="connsiteX17" fmla="*/ 5991 w 10000"/>
                <a:gd name="connsiteY17" fmla="*/ 10000 h 10000"/>
                <a:gd name="connsiteX18" fmla="*/ 7437 w 10000"/>
                <a:gd name="connsiteY18" fmla="*/ 9844 h 10000"/>
                <a:gd name="connsiteX19" fmla="*/ 8471 w 10000"/>
                <a:gd name="connsiteY19" fmla="*/ 9531 h 10000"/>
                <a:gd name="connsiteX20" fmla="*/ 9090 w 10000"/>
                <a:gd name="connsiteY20" fmla="*/ 9531 h 10000"/>
                <a:gd name="connsiteX21" fmla="*/ 9090 w 10000"/>
                <a:gd name="connsiteY21" fmla="*/ 9219 h 10000"/>
                <a:gd name="connsiteX22" fmla="*/ 8677 w 10000"/>
                <a:gd name="connsiteY22" fmla="*/ 8907 h 10000"/>
                <a:gd name="connsiteX23" fmla="*/ 8057 w 10000"/>
                <a:gd name="connsiteY23" fmla="*/ 8439 h 10000"/>
                <a:gd name="connsiteX24" fmla="*/ 7230 w 10000"/>
                <a:gd name="connsiteY24" fmla="*/ 7970 h 10000"/>
                <a:gd name="connsiteX25" fmla="*/ 7437 w 10000"/>
                <a:gd name="connsiteY25" fmla="*/ 7501 h 10000"/>
                <a:gd name="connsiteX26" fmla="*/ 7851 w 10000"/>
                <a:gd name="connsiteY26" fmla="*/ 7501 h 10000"/>
                <a:gd name="connsiteX27" fmla="*/ 8057 w 10000"/>
                <a:gd name="connsiteY27" fmla="*/ 6565 h 10000"/>
                <a:gd name="connsiteX28" fmla="*/ 7121 w 10000"/>
                <a:gd name="connsiteY28" fmla="*/ 5462 h 10000"/>
                <a:gd name="connsiteX29" fmla="*/ 6608 w 10000"/>
                <a:gd name="connsiteY29" fmla="*/ 5480 h 10000"/>
                <a:gd name="connsiteX30" fmla="*/ 6561 w 10000"/>
                <a:gd name="connsiteY30" fmla="*/ 6054 h 10000"/>
                <a:gd name="connsiteX31" fmla="*/ 5608 w 10000"/>
                <a:gd name="connsiteY31" fmla="*/ 6649 h 10000"/>
                <a:gd name="connsiteX32" fmla="*/ 5015 w 10000"/>
                <a:gd name="connsiteY32" fmla="*/ 6207 h 10000"/>
                <a:gd name="connsiteX33" fmla="*/ 3972 w 10000"/>
                <a:gd name="connsiteY33" fmla="*/ 6332 h 10000"/>
                <a:gd name="connsiteX34" fmla="*/ 9709 w 10000"/>
                <a:gd name="connsiteY34" fmla="*/ 630 h 10000"/>
                <a:gd name="connsiteX35" fmla="*/ 9090 w 10000"/>
                <a:gd name="connsiteY35" fmla="*/ 5 h 10000"/>
                <a:gd name="connsiteX36" fmla="*/ 8677 w 10000"/>
                <a:gd name="connsiteY36" fmla="*/ 318 h 10000"/>
                <a:gd name="connsiteX37" fmla="*/ 7644 w 10000"/>
                <a:gd name="connsiteY37" fmla="*/ 786 h 10000"/>
                <a:gd name="connsiteX0" fmla="*/ 7644 w 10000"/>
                <a:gd name="connsiteY0" fmla="*/ 786 h 10000"/>
                <a:gd name="connsiteX1" fmla="*/ 2272 w 10000"/>
                <a:gd name="connsiteY1" fmla="*/ 786 h 10000"/>
                <a:gd name="connsiteX2" fmla="*/ 2066 w 10000"/>
                <a:gd name="connsiteY2" fmla="*/ 1723 h 10000"/>
                <a:gd name="connsiteX3" fmla="*/ 1446 w 10000"/>
                <a:gd name="connsiteY3" fmla="*/ 1723 h 10000"/>
                <a:gd name="connsiteX4" fmla="*/ 1446 w 10000"/>
                <a:gd name="connsiteY4" fmla="*/ 2192 h 10000"/>
                <a:gd name="connsiteX5" fmla="*/ 1240 w 10000"/>
                <a:gd name="connsiteY5" fmla="*/ 2035 h 10000"/>
                <a:gd name="connsiteX6" fmla="*/ 1034 w 10000"/>
                <a:gd name="connsiteY6" fmla="*/ 3909 h 10000"/>
                <a:gd name="connsiteX7" fmla="*/ 414 w 10000"/>
                <a:gd name="connsiteY7" fmla="*/ 4222 h 10000"/>
                <a:gd name="connsiteX8" fmla="*/ 207 w 10000"/>
                <a:gd name="connsiteY8" fmla="*/ 5002 h 10000"/>
                <a:gd name="connsiteX9" fmla="*/ 0 w 10000"/>
                <a:gd name="connsiteY9" fmla="*/ 5471 h 10000"/>
                <a:gd name="connsiteX10" fmla="*/ 620 w 10000"/>
                <a:gd name="connsiteY10" fmla="*/ 6408 h 10000"/>
                <a:gd name="connsiteX11" fmla="*/ 1034 w 10000"/>
                <a:gd name="connsiteY11" fmla="*/ 7032 h 10000"/>
                <a:gd name="connsiteX12" fmla="*/ 1652 w 10000"/>
                <a:gd name="connsiteY12" fmla="*/ 7814 h 10000"/>
                <a:gd name="connsiteX13" fmla="*/ 2479 w 10000"/>
                <a:gd name="connsiteY13" fmla="*/ 8126 h 10000"/>
                <a:gd name="connsiteX14" fmla="*/ 3720 w 10000"/>
                <a:gd name="connsiteY14" fmla="*/ 9063 h 10000"/>
                <a:gd name="connsiteX15" fmla="*/ 4132 w 10000"/>
                <a:gd name="connsiteY15" fmla="*/ 9531 h 10000"/>
                <a:gd name="connsiteX16" fmla="*/ 5165 w 10000"/>
                <a:gd name="connsiteY16" fmla="*/ 9531 h 10000"/>
                <a:gd name="connsiteX17" fmla="*/ 5991 w 10000"/>
                <a:gd name="connsiteY17" fmla="*/ 10000 h 10000"/>
                <a:gd name="connsiteX18" fmla="*/ 7437 w 10000"/>
                <a:gd name="connsiteY18" fmla="*/ 9844 h 10000"/>
                <a:gd name="connsiteX19" fmla="*/ 8471 w 10000"/>
                <a:gd name="connsiteY19" fmla="*/ 9531 h 10000"/>
                <a:gd name="connsiteX20" fmla="*/ 9090 w 10000"/>
                <a:gd name="connsiteY20" fmla="*/ 9531 h 10000"/>
                <a:gd name="connsiteX21" fmla="*/ 9090 w 10000"/>
                <a:gd name="connsiteY21" fmla="*/ 9219 h 10000"/>
                <a:gd name="connsiteX22" fmla="*/ 8677 w 10000"/>
                <a:gd name="connsiteY22" fmla="*/ 8907 h 10000"/>
                <a:gd name="connsiteX23" fmla="*/ 8057 w 10000"/>
                <a:gd name="connsiteY23" fmla="*/ 8439 h 10000"/>
                <a:gd name="connsiteX24" fmla="*/ 7230 w 10000"/>
                <a:gd name="connsiteY24" fmla="*/ 7970 h 10000"/>
                <a:gd name="connsiteX25" fmla="*/ 7437 w 10000"/>
                <a:gd name="connsiteY25" fmla="*/ 7501 h 10000"/>
                <a:gd name="connsiteX26" fmla="*/ 7851 w 10000"/>
                <a:gd name="connsiteY26" fmla="*/ 7501 h 10000"/>
                <a:gd name="connsiteX27" fmla="*/ 8057 w 10000"/>
                <a:gd name="connsiteY27" fmla="*/ 6565 h 10000"/>
                <a:gd name="connsiteX28" fmla="*/ 7121 w 10000"/>
                <a:gd name="connsiteY28" fmla="*/ 5462 h 10000"/>
                <a:gd name="connsiteX29" fmla="*/ 6608 w 10000"/>
                <a:gd name="connsiteY29" fmla="*/ 5480 h 10000"/>
                <a:gd name="connsiteX30" fmla="*/ 6561 w 10000"/>
                <a:gd name="connsiteY30" fmla="*/ 6054 h 10000"/>
                <a:gd name="connsiteX31" fmla="*/ 5608 w 10000"/>
                <a:gd name="connsiteY31" fmla="*/ 6649 h 10000"/>
                <a:gd name="connsiteX32" fmla="*/ 5015 w 10000"/>
                <a:gd name="connsiteY32" fmla="*/ 6207 h 10000"/>
                <a:gd name="connsiteX33" fmla="*/ 3972 w 10000"/>
                <a:gd name="connsiteY33" fmla="*/ 6332 h 10000"/>
                <a:gd name="connsiteX34" fmla="*/ 9709 w 10000"/>
                <a:gd name="connsiteY34" fmla="*/ 630 h 10000"/>
                <a:gd name="connsiteX35" fmla="*/ 9090 w 10000"/>
                <a:gd name="connsiteY35" fmla="*/ 5 h 10000"/>
                <a:gd name="connsiteX36" fmla="*/ 8677 w 10000"/>
                <a:gd name="connsiteY36" fmla="*/ 318 h 10000"/>
                <a:gd name="connsiteX37" fmla="*/ 7644 w 10000"/>
                <a:gd name="connsiteY37" fmla="*/ 786 h 10000"/>
                <a:gd name="connsiteX0" fmla="*/ 7644 w 10000"/>
                <a:gd name="connsiteY0" fmla="*/ 786 h 10000"/>
                <a:gd name="connsiteX1" fmla="*/ 2272 w 10000"/>
                <a:gd name="connsiteY1" fmla="*/ 786 h 10000"/>
                <a:gd name="connsiteX2" fmla="*/ 2066 w 10000"/>
                <a:gd name="connsiteY2" fmla="*/ 1723 h 10000"/>
                <a:gd name="connsiteX3" fmla="*/ 1446 w 10000"/>
                <a:gd name="connsiteY3" fmla="*/ 1723 h 10000"/>
                <a:gd name="connsiteX4" fmla="*/ 1446 w 10000"/>
                <a:gd name="connsiteY4" fmla="*/ 2192 h 10000"/>
                <a:gd name="connsiteX5" fmla="*/ 1240 w 10000"/>
                <a:gd name="connsiteY5" fmla="*/ 2035 h 10000"/>
                <a:gd name="connsiteX6" fmla="*/ 1034 w 10000"/>
                <a:gd name="connsiteY6" fmla="*/ 3909 h 10000"/>
                <a:gd name="connsiteX7" fmla="*/ 414 w 10000"/>
                <a:gd name="connsiteY7" fmla="*/ 4222 h 10000"/>
                <a:gd name="connsiteX8" fmla="*/ 207 w 10000"/>
                <a:gd name="connsiteY8" fmla="*/ 5002 h 10000"/>
                <a:gd name="connsiteX9" fmla="*/ 0 w 10000"/>
                <a:gd name="connsiteY9" fmla="*/ 5471 h 10000"/>
                <a:gd name="connsiteX10" fmla="*/ 620 w 10000"/>
                <a:gd name="connsiteY10" fmla="*/ 6408 h 10000"/>
                <a:gd name="connsiteX11" fmla="*/ 1034 w 10000"/>
                <a:gd name="connsiteY11" fmla="*/ 7032 h 10000"/>
                <a:gd name="connsiteX12" fmla="*/ 1652 w 10000"/>
                <a:gd name="connsiteY12" fmla="*/ 7814 h 10000"/>
                <a:gd name="connsiteX13" fmla="*/ 2479 w 10000"/>
                <a:gd name="connsiteY13" fmla="*/ 8126 h 10000"/>
                <a:gd name="connsiteX14" fmla="*/ 3720 w 10000"/>
                <a:gd name="connsiteY14" fmla="*/ 9063 h 10000"/>
                <a:gd name="connsiteX15" fmla="*/ 4132 w 10000"/>
                <a:gd name="connsiteY15" fmla="*/ 9531 h 10000"/>
                <a:gd name="connsiteX16" fmla="*/ 5165 w 10000"/>
                <a:gd name="connsiteY16" fmla="*/ 9531 h 10000"/>
                <a:gd name="connsiteX17" fmla="*/ 5991 w 10000"/>
                <a:gd name="connsiteY17" fmla="*/ 10000 h 10000"/>
                <a:gd name="connsiteX18" fmla="*/ 7437 w 10000"/>
                <a:gd name="connsiteY18" fmla="*/ 9844 h 10000"/>
                <a:gd name="connsiteX19" fmla="*/ 8471 w 10000"/>
                <a:gd name="connsiteY19" fmla="*/ 9531 h 10000"/>
                <a:gd name="connsiteX20" fmla="*/ 9090 w 10000"/>
                <a:gd name="connsiteY20" fmla="*/ 9531 h 10000"/>
                <a:gd name="connsiteX21" fmla="*/ 9090 w 10000"/>
                <a:gd name="connsiteY21" fmla="*/ 9219 h 10000"/>
                <a:gd name="connsiteX22" fmla="*/ 8677 w 10000"/>
                <a:gd name="connsiteY22" fmla="*/ 8907 h 10000"/>
                <a:gd name="connsiteX23" fmla="*/ 8057 w 10000"/>
                <a:gd name="connsiteY23" fmla="*/ 8439 h 10000"/>
                <a:gd name="connsiteX24" fmla="*/ 7230 w 10000"/>
                <a:gd name="connsiteY24" fmla="*/ 7970 h 10000"/>
                <a:gd name="connsiteX25" fmla="*/ 7437 w 10000"/>
                <a:gd name="connsiteY25" fmla="*/ 7501 h 10000"/>
                <a:gd name="connsiteX26" fmla="*/ 7851 w 10000"/>
                <a:gd name="connsiteY26" fmla="*/ 7501 h 10000"/>
                <a:gd name="connsiteX27" fmla="*/ 8057 w 10000"/>
                <a:gd name="connsiteY27" fmla="*/ 6565 h 10000"/>
                <a:gd name="connsiteX28" fmla="*/ 7121 w 10000"/>
                <a:gd name="connsiteY28" fmla="*/ 5462 h 10000"/>
                <a:gd name="connsiteX29" fmla="*/ 6608 w 10000"/>
                <a:gd name="connsiteY29" fmla="*/ 5480 h 10000"/>
                <a:gd name="connsiteX30" fmla="*/ 6561 w 10000"/>
                <a:gd name="connsiteY30" fmla="*/ 6054 h 10000"/>
                <a:gd name="connsiteX31" fmla="*/ 6049 w 10000"/>
                <a:gd name="connsiteY31" fmla="*/ 6840 h 10000"/>
                <a:gd name="connsiteX32" fmla="*/ 5015 w 10000"/>
                <a:gd name="connsiteY32" fmla="*/ 6207 h 10000"/>
                <a:gd name="connsiteX33" fmla="*/ 3972 w 10000"/>
                <a:gd name="connsiteY33" fmla="*/ 6332 h 10000"/>
                <a:gd name="connsiteX34" fmla="*/ 9709 w 10000"/>
                <a:gd name="connsiteY34" fmla="*/ 630 h 10000"/>
                <a:gd name="connsiteX35" fmla="*/ 9090 w 10000"/>
                <a:gd name="connsiteY35" fmla="*/ 5 h 10000"/>
                <a:gd name="connsiteX36" fmla="*/ 8677 w 10000"/>
                <a:gd name="connsiteY36" fmla="*/ 318 h 10000"/>
                <a:gd name="connsiteX37" fmla="*/ 7644 w 10000"/>
                <a:gd name="connsiteY37" fmla="*/ 786 h 10000"/>
                <a:gd name="connsiteX0" fmla="*/ 7644 w 10000"/>
                <a:gd name="connsiteY0" fmla="*/ 786 h 10000"/>
                <a:gd name="connsiteX1" fmla="*/ 2272 w 10000"/>
                <a:gd name="connsiteY1" fmla="*/ 786 h 10000"/>
                <a:gd name="connsiteX2" fmla="*/ 2066 w 10000"/>
                <a:gd name="connsiteY2" fmla="*/ 1723 h 10000"/>
                <a:gd name="connsiteX3" fmla="*/ 1446 w 10000"/>
                <a:gd name="connsiteY3" fmla="*/ 1723 h 10000"/>
                <a:gd name="connsiteX4" fmla="*/ 1446 w 10000"/>
                <a:gd name="connsiteY4" fmla="*/ 2192 h 10000"/>
                <a:gd name="connsiteX5" fmla="*/ 1240 w 10000"/>
                <a:gd name="connsiteY5" fmla="*/ 2035 h 10000"/>
                <a:gd name="connsiteX6" fmla="*/ 1034 w 10000"/>
                <a:gd name="connsiteY6" fmla="*/ 3909 h 10000"/>
                <a:gd name="connsiteX7" fmla="*/ 414 w 10000"/>
                <a:gd name="connsiteY7" fmla="*/ 4222 h 10000"/>
                <a:gd name="connsiteX8" fmla="*/ 207 w 10000"/>
                <a:gd name="connsiteY8" fmla="*/ 5002 h 10000"/>
                <a:gd name="connsiteX9" fmla="*/ 0 w 10000"/>
                <a:gd name="connsiteY9" fmla="*/ 5471 h 10000"/>
                <a:gd name="connsiteX10" fmla="*/ 620 w 10000"/>
                <a:gd name="connsiteY10" fmla="*/ 6408 h 10000"/>
                <a:gd name="connsiteX11" fmla="*/ 1034 w 10000"/>
                <a:gd name="connsiteY11" fmla="*/ 7032 h 10000"/>
                <a:gd name="connsiteX12" fmla="*/ 1652 w 10000"/>
                <a:gd name="connsiteY12" fmla="*/ 7814 h 10000"/>
                <a:gd name="connsiteX13" fmla="*/ 2479 w 10000"/>
                <a:gd name="connsiteY13" fmla="*/ 8126 h 10000"/>
                <a:gd name="connsiteX14" fmla="*/ 3720 w 10000"/>
                <a:gd name="connsiteY14" fmla="*/ 9063 h 10000"/>
                <a:gd name="connsiteX15" fmla="*/ 4132 w 10000"/>
                <a:gd name="connsiteY15" fmla="*/ 9531 h 10000"/>
                <a:gd name="connsiteX16" fmla="*/ 5165 w 10000"/>
                <a:gd name="connsiteY16" fmla="*/ 9531 h 10000"/>
                <a:gd name="connsiteX17" fmla="*/ 5991 w 10000"/>
                <a:gd name="connsiteY17" fmla="*/ 10000 h 10000"/>
                <a:gd name="connsiteX18" fmla="*/ 7437 w 10000"/>
                <a:gd name="connsiteY18" fmla="*/ 9844 h 10000"/>
                <a:gd name="connsiteX19" fmla="*/ 8471 w 10000"/>
                <a:gd name="connsiteY19" fmla="*/ 9531 h 10000"/>
                <a:gd name="connsiteX20" fmla="*/ 9090 w 10000"/>
                <a:gd name="connsiteY20" fmla="*/ 9531 h 10000"/>
                <a:gd name="connsiteX21" fmla="*/ 9090 w 10000"/>
                <a:gd name="connsiteY21" fmla="*/ 9219 h 10000"/>
                <a:gd name="connsiteX22" fmla="*/ 8677 w 10000"/>
                <a:gd name="connsiteY22" fmla="*/ 8907 h 10000"/>
                <a:gd name="connsiteX23" fmla="*/ 8057 w 10000"/>
                <a:gd name="connsiteY23" fmla="*/ 8439 h 10000"/>
                <a:gd name="connsiteX24" fmla="*/ 7230 w 10000"/>
                <a:gd name="connsiteY24" fmla="*/ 7970 h 10000"/>
                <a:gd name="connsiteX25" fmla="*/ 7437 w 10000"/>
                <a:gd name="connsiteY25" fmla="*/ 7501 h 10000"/>
                <a:gd name="connsiteX26" fmla="*/ 7851 w 10000"/>
                <a:gd name="connsiteY26" fmla="*/ 7501 h 10000"/>
                <a:gd name="connsiteX27" fmla="*/ 8057 w 10000"/>
                <a:gd name="connsiteY27" fmla="*/ 6565 h 10000"/>
                <a:gd name="connsiteX28" fmla="*/ 7121 w 10000"/>
                <a:gd name="connsiteY28" fmla="*/ 5462 h 10000"/>
                <a:gd name="connsiteX29" fmla="*/ 6608 w 10000"/>
                <a:gd name="connsiteY29" fmla="*/ 5480 h 10000"/>
                <a:gd name="connsiteX30" fmla="*/ 6561 w 10000"/>
                <a:gd name="connsiteY30" fmla="*/ 6054 h 10000"/>
                <a:gd name="connsiteX31" fmla="*/ 6049 w 10000"/>
                <a:gd name="connsiteY31" fmla="*/ 6840 h 10000"/>
                <a:gd name="connsiteX32" fmla="*/ 5393 w 10000"/>
                <a:gd name="connsiteY32" fmla="*/ 6398 h 10000"/>
                <a:gd name="connsiteX33" fmla="*/ 3972 w 10000"/>
                <a:gd name="connsiteY33" fmla="*/ 6332 h 10000"/>
                <a:gd name="connsiteX34" fmla="*/ 9709 w 10000"/>
                <a:gd name="connsiteY34" fmla="*/ 630 h 10000"/>
                <a:gd name="connsiteX35" fmla="*/ 9090 w 10000"/>
                <a:gd name="connsiteY35" fmla="*/ 5 h 10000"/>
                <a:gd name="connsiteX36" fmla="*/ 8677 w 10000"/>
                <a:gd name="connsiteY36" fmla="*/ 318 h 10000"/>
                <a:gd name="connsiteX37" fmla="*/ 7644 w 10000"/>
                <a:gd name="connsiteY37" fmla="*/ 786 h 10000"/>
                <a:gd name="connsiteX0" fmla="*/ 7644 w 10000"/>
                <a:gd name="connsiteY0" fmla="*/ 786 h 10000"/>
                <a:gd name="connsiteX1" fmla="*/ 2272 w 10000"/>
                <a:gd name="connsiteY1" fmla="*/ 786 h 10000"/>
                <a:gd name="connsiteX2" fmla="*/ 2066 w 10000"/>
                <a:gd name="connsiteY2" fmla="*/ 1723 h 10000"/>
                <a:gd name="connsiteX3" fmla="*/ 1446 w 10000"/>
                <a:gd name="connsiteY3" fmla="*/ 1723 h 10000"/>
                <a:gd name="connsiteX4" fmla="*/ 1446 w 10000"/>
                <a:gd name="connsiteY4" fmla="*/ 2192 h 10000"/>
                <a:gd name="connsiteX5" fmla="*/ 1240 w 10000"/>
                <a:gd name="connsiteY5" fmla="*/ 2035 h 10000"/>
                <a:gd name="connsiteX6" fmla="*/ 1034 w 10000"/>
                <a:gd name="connsiteY6" fmla="*/ 3909 h 10000"/>
                <a:gd name="connsiteX7" fmla="*/ 414 w 10000"/>
                <a:gd name="connsiteY7" fmla="*/ 4222 h 10000"/>
                <a:gd name="connsiteX8" fmla="*/ 207 w 10000"/>
                <a:gd name="connsiteY8" fmla="*/ 5002 h 10000"/>
                <a:gd name="connsiteX9" fmla="*/ 0 w 10000"/>
                <a:gd name="connsiteY9" fmla="*/ 5471 h 10000"/>
                <a:gd name="connsiteX10" fmla="*/ 620 w 10000"/>
                <a:gd name="connsiteY10" fmla="*/ 6408 h 10000"/>
                <a:gd name="connsiteX11" fmla="*/ 1034 w 10000"/>
                <a:gd name="connsiteY11" fmla="*/ 7032 h 10000"/>
                <a:gd name="connsiteX12" fmla="*/ 1652 w 10000"/>
                <a:gd name="connsiteY12" fmla="*/ 7814 h 10000"/>
                <a:gd name="connsiteX13" fmla="*/ 2479 w 10000"/>
                <a:gd name="connsiteY13" fmla="*/ 8126 h 10000"/>
                <a:gd name="connsiteX14" fmla="*/ 3720 w 10000"/>
                <a:gd name="connsiteY14" fmla="*/ 9063 h 10000"/>
                <a:gd name="connsiteX15" fmla="*/ 4132 w 10000"/>
                <a:gd name="connsiteY15" fmla="*/ 9531 h 10000"/>
                <a:gd name="connsiteX16" fmla="*/ 5165 w 10000"/>
                <a:gd name="connsiteY16" fmla="*/ 9531 h 10000"/>
                <a:gd name="connsiteX17" fmla="*/ 5991 w 10000"/>
                <a:gd name="connsiteY17" fmla="*/ 10000 h 10000"/>
                <a:gd name="connsiteX18" fmla="*/ 7437 w 10000"/>
                <a:gd name="connsiteY18" fmla="*/ 9844 h 10000"/>
                <a:gd name="connsiteX19" fmla="*/ 8471 w 10000"/>
                <a:gd name="connsiteY19" fmla="*/ 9531 h 10000"/>
                <a:gd name="connsiteX20" fmla="*/ 9090 w 10000"/>
                <a:gd name="connsiteY20" fmla="*/ 9531 h 10000"/>
                <a:gd name="connsiteX21" fmla="*/ 9090 w 10000"/>
                <a:gd name="connsiteY21" fmla="*/ 9219 h 10000"/>
                <a:gd name="connsiteX22" fmla="*/ 8677 w 10000"/>
                <a:gd name="connsiteY22" fmla="*/ 8907 h 10000"/>
                <a:gd name="connsiteX23" fmla="*/ 8057 w 10000"/>
                <a:gd name="connsiteY23" fmla="*/ 8439 h 10000"/>
                <a:gd name="connsiteX24" fmla="*/ 7230 w 10000"/>
                <a:gd name="connsiteY24" fmla="*/ 7970 h 10000"/>
                <a:gd name="connsiteX25" fmla="*/ 7437 w 10000"/>
                <a:gd name="connsiteY25" fmla="*/ 7501 h 10000"/>
                <a:gd name="connsiteX26" fmla="*/ 7851 w 10000"/>
                <a:gd name="connsiteY26" fmla="*/ 7501 h 10000"/>
                <a:gd name="connsiteX27" fmla="*/ 8057 w 10000"/>
                <a:gd name="connsiteY27" fmla="*/ 6565 h 10000"/>
                <a:gd name="connsiteX28" fmla="*/ 7121 w 10000"/>
                <a:gd name="connsiteY28" fmla="*/ 5462 h 10000"/>
                <a:gd name="connsiteX29" fmla="*/ 6608 w 10000"/>
                <a:gd name="connsiteY29" fmla="*/ 5480 h 10000"/>
                <a:gd name="connsiteX30" fmla="*/ 6561 w 10000"/>
                <a:gd name="connsiteY30" fmla="*/ 6054 h 10000"/>
                <a:gd name="connsiteX31" fmla="*/ 6049 w 10000"/>
                <a:gd name="connsiteY31" fmla="*/ 6840 h 10000"/>
                <a:gd name="connsiteX32" fmla="*/ 5393 w 10000"/>
                <a:gd name="connsiteY32" fmla="*/ 6398 h 10000"/>
                <a:gd name="connsiteX33" fmla="*/ 3972 w 10000"/>
                <a:gd name="connsiteY33" fmla="*/ 6332 h 10000"/>
                <a:gd name="connsiteX34" fmla="*/ 9709 w 10000"/>
                <a:gd name="connsiteY34" fmla="*/ 630 h 10000"/>
                <a:gd name="connsiteX35" fmla="*/ 9090 w 10000"/>
                <a:gd name="connsiteY35" fmla="*/ 5 h 10000"/>
                <a:gd name="connsiteX36" fmla="*/ 8677 w 10000"/>
                <a:gd name="connsiteY36" fmla="*/ 318 h 10000"/>
                <a:gd name="connsiteX37" fmla="*/ 7644 w 10000"/>
                <a:gd name="connsiteY37" fmla="*/ 786 h 10000"/>
                <a:gd name="connsiteX0" fmla="*/ 7644 w 9948"/>
                <a:gd name="connsiteY0" fmla="*/ 829 h 10043"/>
                <a:gd name="connsiteX1" fmla="*/ 2272 w 9948"/>
                <a:gd name="connsiteY1" fmla="*/ 829 h 10043"/>
                <a:gd name="connsiteX2" fmla="*/ 2066 w 9948"/>
                <a:gd name="connsiteY2" fmla="*/ 1766 h 10043"/>
                <a:gd name="connsiteX3" fmla="*/ 1446 w 9948"/>
                <a:gd name="connsiteY3" fmla="*/ 1766 h 10043"/>
                <a:gd name="connsiteX4" fmla="*/ 1446 w 9948"/>
                <a:gd name="connsiteY4" fmla="*/ 2235 h 10043"/>
                <a:gd name="connsiteX5" fmla="*/ 1240 w 9948"/>
                <a:gd name="connsiteY5" fmla="*/ 2078 h 10043"/>
                <a:gd name="connsiteX6" fmla="*/ 1034 w 9948"/>
                <a:gd name="connsiteY6" fmla="*/ 3952 h 10043"/>
                <a:gd name="connsiteX7" fmla="*/ 414 w 9948"/>
                <a:gd name="connsiteY7" fmla="*/ 4265 h 10043"/>
                <a:gd name="connsiteX8" fmla="*/ 207 w 9948"/>
                <a:gd name="connsiteY8" fmla="*/ 5045 h 10043"/>
                <a:gd name="connsiteX9" fmla="*/ 0 w 9948"/>
                <a:gd name="connsiteY9" fmla="*/ 5514 h 10043"/>
                <a:gd name="connsiteX10" fmla="*/ 620 w 9948"/>
                <a:gd name="connsiteY10" fmla="*/ 6451 h 10043"/>
                <a:gd name="connsiteX11" fmla="*/ 1034 w 9948"/>
                <a:gd name="connsiteY11" fmla="*/ 7075 h 10043"/>
                <a:gd name="connsiteX12" fmla="*/ 1652 w 9948"/>
                <a:gd name="connsiteY12" fmla="*/ 7857 h 10043"/>
                <a:gd name="connsiteX13" fmla="*/ 2479 w 9948"/>
                <a:gd name="connsiteY13" fmla="*/ 8169 h 10043"/>
                <a:gd name="connsiteX14" fmla="*/ 3720 w 9948"/>
                <a:gd name="connsiteY14" fmla="*/ 9106 h 10043"/>
                <a:gd name="connsiteX15" fmla="*/ 4132 w 9948"/>
                <a:gd name="connsiteY15" fmla="*/ 9574 h 10043"/>
                <a:gd name="connsiteX16" fmla="*/ 5165 w 9948"/>
                <a:gd name="connsiteY16" fmla="*/ 9574 h 10043"/>
                <a:gd name="connsiteX17" fmla="*/ 5991 w 9948"/>
                <a:gd name="connsiteY17" fmla="*/ 10043 h 10043"/>
                <a:gd name="connsiteX18" fmla="*/ 7437 w 9948"/>
                <a:gd name="connsiteY18" fmla="*/ 9887 h 10043"/>
                <a:gd name="connsiteX19" fmla="*/ 8471 w 9948"/>
                <a:gd name="connsiteY19" fmla="*/ 9574 h 10043"/>
                <a:gd name="connsiteX20" fmla="*/ 9090 w 9948"/>
                <a:gd name="connsiteY20" fmla="*/ 9574 h 10043"/>
                <a:gd name="connsiteX21" fmla="*/ 9090 w 9948"/>
                <a:gd name="connsiteY21" fmla="*/ 9262 h 10043"/>
                <a:gd name="connsiteX22" fmla="*/ 8677 w 9948"/>
                <a:gd name="connsiteY22" fmla="*/ 8950 h 10043"/>
                <a:gd name="connsiteX23" fmla="*/ 8057 w 9948"/>
                <a:gd name="connsiteY23" fmla="*/ 8482 h 10043"/>
                <a:gd name="connsiteX24" fmla="*/ 7230 w 9948"/>
                <a:gd name="connsiteY24" fmla="*/ 8013 h 10043"/>
                <a:gd name="connsiteX25" fmla="*/ 7437 w 9948"/>
                <a:gd name="connsiteY25" fmla="*/ 7544 h 10043"/>
                <a:gd name="connsiteX26" fmla="*/ 7851 w 9948"/>
                <a:gd name="connsiteY26" fmla="*/ 7544 h 10043"/>
                <a:gd name="connsiteX27" fmla="*/ 8057 w 9948"/>
                <a:gd name="connsiteY27" fmla="*/ 6608 h 10043"/>
                <a:gd name="connsiteX28" fmla="*/ 7121 w 9948"/>
                <a:gd name="connsiteY28" fmla="*/ 5505 h 10043"/>
                <a:gd name="connsiteX29" fmla="*/ 6608 w 9948"/>
                <a:gd name="connsiteY29" fmla="*/ 5523 h 10043"/>
                <a:gd name="connsiteX30" fmla="*/ 6561 w 9948"/>
                <a:gd name="connsiteY30" fmla="*/ 6097 h 10043"/>
                <a:gd name="connsiteX31" fmla="*/ 6049 w 9948"/>
                <a:gd name="connsiteY31" fmla="*/ 6883 h 10043"/>
                <a:gd name="connsiteX32" fmla="*/ 5393 w 9948"/>
                <a:gd name="connsiteY32" fmla="*/ 6441 h 10043"/>
                <a:gd name="connsiteX33" fmla="*/ 4727 w 9948"/>
                <a:gd name="connsiteY33" fmla="*/ 7043 h 10043"/>
                <a:gd name="connsiteX34" fmla="*/ 9709 w 9948"/>
                <a:gd name="connsiteY34" fmla="*/ 673 h 10043"/>
                <a:gd name="connsiteX35" fmla="*/ 9090 w 9948"/>
                <a:gd name="connsiteY35" fmla="*/ 48 h 10043"/>
                <a:gd name="connsiteX36" fmla="*/ 8677 w 9948"/>
                <a:gd name="connsiteY36" fmla="*/ 361 h 10043"/>
                <a:gd name="connsiteX37" fmla="*/ 7644 w 9948"/>
                <a:gd name="connsiteY37" fmla="*/ 829 h 10043"/>
                <a:gd name="connsiteX0" fmla="*/ 7684 w 9144"/>
                <a:gd name="connsiteY0" fmla="*/ 777 h 9952"/>
                <a:gd name="connsiteX1" fmla="*/ 2284 w 9144"/>
                <a:gd name="connsiteY1" fmla="*/ 777 h 9952"/>
                <a:gd name="connsiteX2" fmla="*/ 2077 w 9144"/>
                <a:gd name="connsiteY2" fmla="*/ 1710 h 9952"/>
                <a:gd name="connsiteX3" fmla="*/ 1454 w 9144"/>
                <a:gd name="connsiteY3" fmla="*/ 1710 h 9952"/>
                <a:gd name="connsiteX4" fmla="*/ 1454 w 9144"/>
                <a:gd name="connsiteY4" fmla="*/ 2177 h 9952"/>
                <a:gd name="connsiteX5" fmla="*/ 1246 w 9144"/>
                <a:gd name="connsiteY5" fmla="*/ 2021 h 9952"/>
                <a:gd name="connsiteX6" fmla="*/ 1039 w 9144"/>
                <a:gd name="connsiteY6" fmla="*/ 3887 h 9952"/>
                <a:gd name="connsiteX7" fmla="*/ 416 w 9144"/>
                <a:gd name="connsiteY7" fmla="*/ 4199 h 9952"/>
                <a:gd name="connsiteX8" fmla="*/ 208 w 9144"/>
                <a:gd name="connsiteY8" fmla="*/ 4975 h 9952"/>
                <a:gd name="connsiteX9" fmla="*/ 0 w 9144"/>
                <a:gd name="connsiteY9" fmla="*/ 5442 h 9952"/>
                <a:gd name="connsiteX10" fmla="*/ 623 w 9144"/>
                <a:gd name="connsiteY10" fmla="*/ 6375 h 9952"/>
                <a:gd name="connsiteX11" fmla="*/ 1039 w 9144"/>
                <a:gd name="connsiteY11" fmla="*/ 6997 h 9952"/>
                <a:gd name="connsiteX12" fmla="*/ 1661 w 9144"/>
                <a:gd name="connsiteY12" fmla="*/ 7775 h 9952"/>
                <a:gd name="connsiteX13" fmla="*/ 2492 w 9144"/>
                <a:gd name="connsiteY13" fmla="*/ 8086 h 9952"/>
                <a:gd name="connsiteX14" fmla="*/ 3739 w 9144"/>
                <a:gd name="connsiteY14" fmla="*/ 9019 h 9952"/>
                <a:gd name="connsiteX15" fmla="*/ 4154 w 9144"/>
                <a:gd name="connsiteY15" fmla="*/ 9485 h 9952"/>
                <a:gd name="connsiteX16" fmla="*/ 5192 w 9144"/>
                <a:gd name="connsiteY16" fmla="*/ 9485 h 9952"/>
                <a:gd name="connsiteX17" fmla="*/ 6022 w 9144"/>
                <a:gd name="connsiteY17" fmla="*/ 9952 h 9952"/>
                <a:gd name="connsiteX18" fmla="*/ 7476 w 9144"/>
                <a:gd name="connsiteY18" fmla="*/ 9797 h 9952"/>
                <a:gd name="connsiteX19" fmla="*/ 8515 w 9144"/>
                <a:gd name="connsiteY19" fmla="*/ 9485 h 9952"/>
                <a:gd name="connsiteX20" fmla="*/ 9138 w 9144"/>
                <a:gd name="connsiteY20" fmla="*/ 9485 h 9952"/>
                <a:gd name="connsiteX21" fmla="*/ 9138 w 9144"/>
                <a:gd name="connsiteY21" fmla="*/ 9174 h 9952"/>
                <a:gd name="connsiteX22" fmla="*/ 8722 w 9144"/>
                <a:gd name="connsiteY22" fmla="*/ 8864 h 9952"/>
                <a:gd name="connsiteX23" fmla="*/ 8099 w 9144"/>
                <a:gd name="connsiteY23" fmla="*/ 8398 h 9952"/>
                <a:gd name="connsiteX24" fmla="*/ 7268 w 9144"/>
                <a:gd name="connsiteY24" fmla="*/ 7931 h 9952"/>
                <a:gd name="connsiteX25" fmla="*/ 7476 w 9144"/>
                <a:gd name="connsiteY25" fmla="*/ 7464 h 9952"/>
                <a:gd name="connsiteX26" fmla="*/ 7892 w 9144"/>
                <a:gd name="connsiteY26" fmla="*/ 7464 h 9952"/>
                <a:gd name="connsiteX27" fmla="*/ 8099 w 9144"/>
                <a:gd name="connsiteY27" fmla="*/ 6532 h 9952"/>
                <a:gd name="connsiteX28" fmla="*/ 7158 w 9144"/>
                <a:gd name="connsiteY28" fmla="*/ 5433 h 9952"/>
                <a:gd name="connsiteX29" fmla="*/ 6643 w 9144"/>
                <a:gd name="connsiteY29" fmla="*/ 5451 h 9952"/>
                <a:gd name="connsiteX30" fmla="*/ 6595 w 9144"/>
                <a:gd name="connsiteY30" fmla="*/ 6023 h 9952"/>
                <a:gd name="connsiteX31" fmla="*/ 6081 w 9144"/>
                <a:gd name="connsiteY31" fmla="*/ 6806 h 9952"/>
                <a:gd name="connsiteX32" fmla="*/ 5421 w 9144"/>
                <a:gd name="connsiteY32" fmla="*/ 6365 h 9952"/>
                <a:gd name="connsiteX33" fmla="*/ 4752 w 9144"/>
                <a:gd name="connsiteY33" fmla="*/ 6965 h 9952"/>
                <a:gd name="connsiteX34" fmla="*/ 3433 w 9144"/>
                <a:gd name="connsiteY34" fmla="*/ 7040 h 9952"/>
                <a:gd name="connsiteX35" fmla="*/ 9138 w 9144"/>
                <a:gd name="connsiteY35" fmla="*/ 0 h 9952"/>
                <a:gd name="connsiteX36" fmla="*/ 8722 w 9144"/>
                <a:gd name="connsiteY36" fmla="*/ 311 h 9952"/>
                <a:gd name="connsiteX37" fmla="*/ 7684 w 9144"/>
                <a:gd name="connsiteY37" fmla="*/ 777 h 9952"/>
                <a:gd name="connsiteX0" fmla="*/ 8403 w 9999"/>
                <a:gd name="connsiteY0" fmla="*/ 781 h 10000"/>
                <a:gd name="connsiteX1" fmla="*/ 2498 w 9999"/>
                <a:gd name="connsiteY1" fmla="*/ 781 h 10000"/>
                <a:gd name="connsiteX2" fmla="*/ 2271 w 9999"/>
                <a:gd name="connsiteY2" fmla="*/ 1718 h 10000"/>
                <a:gd name="connsiteX3" fmla="*/ 1590 w 9999"/>
                <a:gd name="connsiteY3" fmla="*/ 1718 h 10000"/>
                <a:gd name="connsiteX4" fmla="*/ 1590 w 9999"/>
                <a:gd name="connsiteY4" fmla="*/ 2188 h 10000"/>
                <a:gd name="connsiteX5" fmla="*/ 1363 w 9999"/>
                <a:gd name="connsiteY5" fmla="*/ 2031 h 10000"/>
                <a:gd name="connsiteX6" fmla="*/ 1136 w 9999"/>
                <a:gd name="connsiteY6" fmla="*/ 3906 h 10000"/>
                <a:gd name="connsiteX7" fmla="*/ 455 w 9999"/>
                <a:gd name="connsiteY7" fmla="*/ 4219 h 10000"/>
                <a:gd name="connsiteX8" fmla="*/ 227 w 9999"/>
                <a:gd name="connsiteY8" fmla="*/ 4999 h 10000"/>
                <a:gd name="connsiteX9" fmla="*/ 0 w 9999"/>
                <a:gd name="connsiteY9" fmla="*/ 5468 h 10000"/>
                <a:gd name="connsiteX10" fmla="*/ 681 w 9999"/>
                <a:gd name="connsiteY10" fmla="*/ 6406 h 10000"/>
                <a:gd name="connsiteX11" fmla="*/ 1136 w 9999"/>
                <a:gd name="connsiteY11" fmla="*/ 7031 h 10000"/>
                <a:gd name="connsiteX12" fmla="*/ 1816 w 9999"/>
                <a:gd name="connsiteY12" fmla="*/ 7813 h 10000"/>
                <a:gd name="connsiteX13" fmla="*/ 2725 w 9999"/>
                <a:gd name="connsiteY13" fmla="*/ 8125 h 10000"/>
                <a:gd name="connsiteX14" fmla="*/ 4089 w 9999"/>
                <a:gd name="connsiteY14" fmla="*/ 9063 h 10000"/>
                <a:gd name="connsiteX15" fmla="*/ 4543 w 9999"/>
                <a:gd name="connsiteY15" fmla="*/ 9531 h 10000"/>
                <a:gd name="connsiteX16" fmla="*/ 5678 w 9999"/>
                <a:gd name="connsiteY16" fmla="*/ 9531 h 10000"/>
                <a:gd name="connsiteX17" fmla="*/ 6586 w 9999"/>
                <a:gd name="connsiteY17" fmla="*/ 10000 h 10000"/>
                <a:gd name="connsiteX18" fmla="*/ 8176 w 9999"/>
                <a:gd name="connsiteY18" fmla="*/ 9844 h 10000"/>
                <a:gd name="connsiteX19" fmla="*/ 9312 w 9999"/>
                <a:gd name="connsiteY19" fmla="*/ 9531 h 10000"/>
                <a:gd name="connsiteX20" fmla="*/ 9993 w 9999"/>
                <a:gd name="connsiteY20" fmla="*/ 9531 h 10000"/>
                <a:gd name="connsiteX21" fmla="*/ 9993 w 9999"/>
                <a:gd name="connsiteY21" fmla="*/ 9218 h 10000"/>
                <a:gd name="connsiteX22" fmla="*/ 9538 w 9999"/>
                <a:gd name="connsiteY22" fmla="*/ 8907 h 10000"/>
                <a:gd name="connsiteX23" fmla="*/ 8857 w 9999"/>
                <a:gd name="connsiteY23" fmla="*/ 8439 h 10000"/>
                <a:gd name="connsiteX24" fmla="*/ 7948 w 9999"/>
                <a:gd name="connsiteY24" fmla="*/ 7969 h 10000"/>
                <a:gd name="connsiteX25" fmla="*/ 8176 w 9999"/>
                <a:gd name="connsiteY25" fmla="*/ 7500 h 10000"/>
                <a:gd name="connsiteX26" fmla="*/ 8631 w 9999"/>
                <a:gd name="connsiteY26" fmla="*/ 7500 h 10000"/>
                <a:gd name="connsiteX27" fmla="*/ 8857 w 9999"/>
                <a:gd name="connsiteY27" fmla="*/ 6564 h 10000"/>
                <a:gd name="connsiteX28" fmla="*/ 7828 w 9999"/>
                <a:gd name="connsiteY28" fmla="*/ 5459 h 10000"/>
                <a:gd name="connsiteX29" fmla="*/ 7265 w 9999"/>
                <a:gd name="connsiteY29" fmla="*/ 5477 h 10000"/>
                <a:gd name="connsiteX30" fmla="*/ 7212 w 9999"/>
                <a:gd name="connsiteY30" fmla="*/ 6052 h 10000"/>
                <a:gd name="connsiteX31" fmla="*/ 6650 w 9999"/>
                <a:gd name="connsiteY31" fmla="*/ 6839 h 10000"/>
                <a:gd name="connsiteX32" fmla="*/ 5928 w 9999"/>
                <a:gd name="connsiteY32" fmla="*/ 6396 h 10000"/>
                <a:gd name="connsiteX33" fmla="*/ 5197 w 9999"/>
                <a:gd name="connsiteY33" fmla="*/ 6999 h 10000"/>
                <a:gd name="connsiteX34" fmla="*/ 3754 w 9999"/>
                <a:gd name="connsiteY34" fmla="*/ 7074 h 10000"/>
                <a:gd name="connsiteX35" fmla="*/ 9993 w 9999"/>
                <a:gd name="connsiteY35" fmla="*/ 0 h 10000"/>
                <a:gd name="connsiteX36" fmla="*/ 9538 w 9999"/>
                <a:gd name="connsiteY36" fmla="*/ 313 h 10000"/>
                <a:gd name="connsiteX37" fmla="*/ 8403 w 9999"/>
                <a:gd name="connsiteY37" fmla="*/ 781 h 10000"/>
                <a:gd name="connsiteX0" fmla="*/ 8404 w 9994"/>
                <a:gd name="connsiteY0" fmla="*/ 781 h 10000"/>
                <a:gd name="connsiteX1" fmla="*/ 2498 w 9994"/>
                <a:gd name="connsiteY1" fmla="*/ 781 h 10000"/>
                <a:gd name="connsiteX2" fmla="*/ 2271 w 9994"/>
                <a:gd name="connsiteY2" fmla="*/ 1718 h 10000"/>
                <a:gd name="connsiteX3" fmla="*/ 1590 w 9994"/>
                <a:gd name="connsiteY3" fmla="*/ 1718 h 10000"/>
                <a:gd name="connsiteX4" fmla="*/ 1590 w 9994"/>
                <a:gd name="connsiteY4" fmla="*/ 2188 h 10000"/>
                <a:gd name="connsiteX5" fmla="*/ 1363 w 9994"/>
                <a:gd name="connsiteY5" fmla="*/ 2031 h 10000"/>
                <a:gd name="connsiteX6" fmla="*/ 1136 w 9994"/>
                <a:gd name="connsiteY6" fmla="*/ 3906 h 10000"/>
                <a:gd name="connsiteX7" fmla="*/ 455 w 9994"/>
                <a:gd name="connsiteY7" fmla="*/ 4219 h 10000"/>
                <a:gd name="connsiteX8" fmla="*/ 227 w 9994"/>
                <a:gd name="connsiteY8" fmla="*/ 4999 h 10000"/>
                <a:gd name="connsiteX9" fmla="*/ 0 w 9994"/>
                <a:gd name="connsiteY9" fmla="*/ 5468 h 10000"/>
                <a:gd name="connsiteX10" fmla="*/ 681 w 9994"/>
                <a:gd name="connsiteY10" fmla="*/ 6406 h 10000"/>
                <a:gd name="connsiteX11" fmla="*/ 1136 w 9994"/>
                <a:gd name="connsiteY11" fmla="*/ 7031 h 10000"/>
                <a:gd name="connsiteX12" fmla="*/ 1816 w 9994"/>
                <a:gd name="connsiteY12" fmla="*/ 7813 h 10000"/>
                <a:gd name="connsiteX13" fmla="*/ 2725 w 9994"/>
                <a:gd name="connsiteY13" fmla="*/ 8125 h 10000"/>
                <a:gd name="connsiteX14" fmla="*/ 4089 w 9994"/>
                <a:gd name="connsiteY14" fmla="*/ 9063 h 10000"/>
                <a:gd name="connsiteX15" fmla="*/ 4543 w 9994"/>
                <a:gd name="connsiteY15" fmla="*/ 9531 h 10000"/>
                <a:gd name="connsiteX16" fmla="*/ 5679 w 9994"/>
                <a:gd name="connsiteY16" fmla="*/ 9531 h 10000"/>
                <a:gd name="connsiteX17" fmla="*/ 6587 w 9994"/>
                <a:gd name="connsiteY17" fmla="*/ 10000 h 10000"/>
                <a:gd name="connsiteX18" fmla="*/ 8177 w 9994"/>
                <a:gd name="connsiteY18" fmla="*/ 9844 h 10000"/>
                <a:gd name="connsiteX19" fmla="*/ 9313 w 9994"/>
                <a:gd name="connsiteY19" fmla="*/ 9531 h 10000"/>
                <a:gd name="connsiteX20" fmla="*/ 9994 w 9994"/>
                <a:gd name="connsiteY20" fmla="*/ 9531 h 10000"/>
                <a:gd name="connsiteX21" fmla="*/ 9994 w 9994"/>
                <a:gd name="connsiteY21" fmla="*/ 9218 h 10000"/>
                <a:gd name="connsiteX22" fmla="*/ 9539 w 9994"/>
                <a:gd name="connsiteY22" fmla="*/ 8907 h 10000"/>
                <a:gd name="connsiteX23" fmla="*/ 8858 w 9994"/>
                <a:gd name="connsiteY23" fmla="*/ 8439 h 10000"/>
                <a:gd name="connsiteX24" fmla="*/ 7949 w 9994"/>
                <a:gd name="connsiteY24" fmla="*/ 7969 h 10000"/>
                <a:gd name="connsiteX25" fmla="*/ 8177 w 9994"/>
                <a:gd name="connsiteY25" fmla="*/ 7500 h 10000"/>
                <a:gd name="connsiteX26" fmla="*/ 8632 w 9994"/>
                <a:gd name="connsiteY26" fmla="*/ 7500 h 10000"/>
                <a:gd name="connsiteX27" fmla="*/ 8858 w 9994"/>
                <a:gd name="connsiteY27" fmla="*/ 6564 h 10000"/>
                <a:gd name="connsiteX28" fmla="*/ 7829 w 9994"/>
                <a:gd name="connsiteY28" fmla="*/ 5459 h 10000"/>
                <a:gd name="connsiteX29" fmla="*/ 7266 w 9994"/>
                <a:gd name="connsiteY29" fmla="*/ 5477 h 10000"/>
                <a:gd name="connsiteX30" fmla="*/ 7213 w 9994"/>
                <a:gd name="connsiteY30" fmla="*/ 6052 h 10000"/>
                <a:gd name="connsiteX31" fmla="*/ 6651 w 9994"/>
                <a:gd name="connsiteY31" fmla="*/ 6839 h 10000"/>
                <a:gd name="connsiteX32" fmla="*/ 5929 w 9994"/>
                <a:gd name="connsiteY32" fmla="*/ 6396 h 10000"/>
                <a:gd name="connsiteX33" fmla="*/ 5198 w 9994"/>
                <a:gd name="connsiteY33" fmla="*/ 6999 h 10000"/>
                <a:gd name="connsiteX34" fmla="*/ 3754 w 9994"/>
                <a:gd name="connsiteY34" fmla="*/ 7074 h 10000"/>
                <a:gd name="connsiteX35" fmla="*/ 9994 w 9994"/>
                <a:gd name="connsiteY35" fmla="*/ 0 h 10000"/>
                <a:gd name="connsiteX36" fmla="*/ 9539 w 9994"/>
                <a:gd name="connsiteY36" fmla="*/ 313 h 10000"/>
                <a:gd name="connsiteX37" fmla="*/ 8404 w 9994"/>
                <a:gd name="connsiteY37" fmla="*/ 781 h 10000"/>
                <a:gd name="connsiteX0" fmla="*/ 8409 w 10000"/>
                <a:gd name="connsiteY0" fmla="*/ 468 h 9687"/>
                <a:gd name="connsiteX1" fmla="*/ 2499 w 10000"/>
                <a:gd name="connsiteY1" fmla="*/ 468 h 9687"/>
                <a:gd name="connsiteX2" fmla="*/ 2272 w 10000"/>
                <a:gd name="connsiteY2" fmla="*/ 1405 h 9687"/>
                <a:gd name="connsiteX3" fmla="*/ 1591 w 10000"/>
                <a:gd name="connsiteY3" fmla="*/ 1405 h 9687"/>
                <a:gd name="connsiteX4" fmla="*/ 1591 w 10000"/>
                <a:gd name="connsiteY4" fmla="*/ 1875 h 9687"/>
                <a:gd name="connsiteX5" fmla="*/ 1364 w 10000"/>
                <a:gd name="connsiteY5" fmla="*/ 1718 h 9687"/>
                <a:gd name="connsiteX6" fmla="*/ 1137 w 10000"/>
                <a:gd name="connsiteY6" fmla="*/ 3593 h 9687"/>
                <a:gd name="connsiteX7" fmla="*/ 455 w 10000"/>
                <a:gd name="connsiteY7" fmla="*/ 3906 h 9687"/>
                <a:gd name="connsiteX8" fmla="*/ 227 w 10000"/>
                <a:gd name="connsiteY8" fmla="*/ 4686 h 9687"/>
                <a:gd name="connsiteX9" fmla="*/ 0 w 10000"/>
                <a:gd name="connsiteY9" fmla="*/ 5155 h 9687"/>
                <a:gd name="connsiteX10" fmla="*/ 681 w 10000"/>
                <a:gd name="connsiteY10" fmla="*/ 6093 h 9687"/>
                <a:gd name="connsiteX11" fmla="*/ 1137 w 10000"/>
                <a:gd name="connsiteY11" fmla="*/ 6718 h 9687"/>
                <a:gd name="connsiteX12" fmla="*/ 1817 w 10000"/>
                <a:gd name="connsiteY12" fmla="*/ 7500 h 9687"/>
                <a:gd name="connsiteX13" fmla="*/ 2727 w 10000"/>
                <a:gd name="connsiteY13" fmla="*/ 7812 h 9687"/>
                <a:gd name="connsiteX14" fmla="*/ 4091 w 10000"/>
                <a:gd name="connsiteY14" fmla="*/ 8750 h 9687"/>
                <a:gd name="connsiteX15" fmla="*/ 4546 w 10000"/>
                <a:gd name="connsiteY15" fmla="*/ 9218 h 9687"/>
                <a:gd name="connsiteX16" fmla="*/ 5682 w 10000"/>
                <a:gd name="connsiteY16" fmla="*/ 9218 h 9687"/>
                <a:gd name="connsiteX17" fmla="*/ 6591 w 10000"/>
                <a:gd name="connsiteY17" fmla="*/ 9687 h 9687"/>
                <a:gd name="connsiteX18" fmla="*/ 8182 w 10000"/>
                <a:gd name="connsiteY18" fmla="*/ 9531 h 9687"/>
                <a:gd name="connsiteX19" fmla="*/ 9319 w 10000"/>
                <a:gd name="connsiteY19" fmla="*/ 9218 h 9687"/>
                <a:gd name="connsiteX20" fmla="*/ 10000 w 10000"/>
                <a:gd name="connsiteY20" fmla="*/ 9218 h 9687"/>
                <a:gd name="connsiteX21" fmla="*/ 10000 w 10000"/>
                <a:gd name="connsiteY21" fmla="*/ 8905 h 9687"/>
                <a:gd name="connsiteX22" fmla="*/ 9545 w 10000"/>
                <a:gd name="connsiteY22" fmla="*/ 8594 h 9687"/>
                <a:gd name="connsiteX23" fmla="*/ 8863 w 10000"/>
                <a:gd name="connsiteY23" fmla="*/ 8126 h 9687"/>
                <a:gd name="connsiteX24" fmla="*/ 7954 w 10000"/>
                <a:gd name="connsiteY24" fmla="*/ 7656 h 9687"/>
                <a:gd name="connsiteX25" fmla="*/ 8182 w 10000"/>
                <a:gd name="connsiteY25" fmla="*/ 7187 h 9687"/>
                <a:gd name="connsiteX26" fmla="*/ 8637 w 10000"/>
                <a:gd name="connsiteY26" fmla="*/ 7187 h 9687"/>
                <a:gd name="connsiteX27" fmla="*/ 8863 w 10000"/>
                <a:gd name="connsiteY27" fmla="*/ 6251 h 9687"/>
                <a:gd name="connsiteX28" fmla="*/ 7834 w 10000"/>
                <a:gd name="connsiteY28" fmla="*/ 5146 h 9687"/>
                <a:gd name="connsiteX29" fmla="*/ 7270 w 10000"/>
                <a:gd name="connsiteY29" fmla="*/ 5164 h 9687"/>
                <a:gd name="connsiteX30" fmla="*/ 7217 w 10000"/>
                <a:gd name="connsiteY30" fmla="*/ 5739 h 9687"/>
                <a:gd name="connsiteX31" fmla="*/ 6655 w 10000"/>
                <a:gd name="connsiteY31" fmla="*/ 6526 h 9687"/>
                <a:gd name="connsiteX32" fmla="*/ 5933 w 10000"/>
                <a:gd name="connsiteY32" fmla="*/ 6083 h 9687"/>
                <a:gd name="connsiteX33" fmla="*/ 5201 w 10000"/>
                <a:gd name="connsiteY33" fmla="*/ 6686 h 9687"/>
                <a:gd name="connsiteX34" fmla="*/ 3756 w 10000"/>
                <a:gd name="connsiteY34" fmla="*/ 6761 h 9687"/>
                <a:gd name="connsiteX35" fmla="*/ 2591 w 10000"/>
                <a:gd name="connsiteY35" fmla="*/ 6518 h 9687"/>
                <a:gd name="connsiteX36" fmla="*/ 9545 w 10000"/>
                <a:gd name="connsiteY36" fmla="*/ 0 h 9687"/>
                <a:gd name="connsiteX37" fmla="*/ 8409 w 10000"/>
                <a:gd name="connsiteY37" fmla="*/ 468 h 9687"/>
                <a:gd name="connsiteX0" fmla="*/ 8409 w 10000"/>
                <a:gd name="connsiteY0" fmla="*/ 0 h 9517"/>
                <a:gd name="connsiteX1" fmla="*/ 2499 w 10000"/>
                <a:gd name="connsiteY1" fmla="*/ 0 h 9517"/>
                <a:gd name="connsiteX2" fmla="*/ 2272 w 10000"/>
                <a:gd name="connsiteY2" fmla="*/ 967 h 9517"/>
                <a:gd name="connsiteX3" fmla="*/ 1591 w 10000"/>
                <a:gd name="connsiteY3" fmla="*/ 967 h 9517"/>
                <a:gd name="connsiteX4" fmla="*/ 1591 w 10000"/>
                <a:gd name="connsiteY4" fmla="*/ 1453 h 9517"/>
                <a:gd name="connsiteX5" fmla="*/ 1364 w 10000"/>
                <a:gd name="connsiteY5" fmla="*/ 1291 h 9517"/>
                <a:gd name="connsiteX6" fmla="*/ 1137 w 10000"/>
                <a:gd name="connsiteY6" fmla="*/ 3226 h 9517"/>
                <a:gd name="connsiteX7" fmla="*/ 455 w 10000"/>
                <a:gd name="connsiteY7" fmla="*/ 3549 h 9517"/>
                <a:gd name="connsiteX8" fmla="*/ 227 w 10000"/>
                <a:gd name="connsiteY8" fmla="*/ 4354 h 9517"/>
                <a:gd name="connsiteX9" fmla="*/ 0 w 10000"/>
                <a:gd name="connsiteY9" fmla="*/ 4839 h 9517"/>
                <a:gd name="connsiteX10" fmla="*/ 681 w 10000"/>
                <a:gd name="connsiteY10" fmla="*/ 5807 h 9517"/>
                <a:gd name="connsiteX11" fmla="*/ 1137 w 10000"/>
                <a:gd name="connsiteY11" fmla="*/ 6452 h 9517"/>
                <a:gd name="connsiteX12" fmla="*/ 1817 w 10000"/>
                <a:gd name="connsiteY12" fmla="*/ 7259 h 9517"/>
                <a:gd name="connsiteX13" fmla="*/ 2727 w 10000"/>
                <a:gd name="connsiteY13" fmla="*/ 7581 h 9517"/>
                <a:gd name="connsiteX14" fmla="*/ 4091 w 10000"/>
                <a:gd name="connsiteY14" fmla="*/ 8550 h 9517"/>
                <a:gd name="connsiteX15" fmla="*/ 4546 w 10000"/>
                <a:gd name="connsiteY15" fmla="*/ 9033 h 9517"/>
                <a:gd name="connsiteX16" fmla="*/ 5682 w 10000"/>
                <a:gd name="connsiteY16" fmla="*/ 9033 h 9517"/>
                <a:gd name="connsiteX17" fmla="*/ 6591 w 10000"/>
                <a:gd name="connsiteY17" fmla="*/ 9517 h 9517"/>
                <a:gd name="connsiteX18" fmla="*/ 8182 w 10000"/>
                <a:gd name="connsiteY18" fmla="*/ 9356 h 9517"/>
                <a:gd name="connsiteX19" fmla="*/ 9319 w 10000"/>
                <a:gd name="connsiteY19" fmla="*/ 9033 h 9517"/>
                <a:gd name="connsiteX20" fmla="*/ 10000 w 10000"/>
                <a:gd name="connsiteY20" fmla="*/ 9033 h 9517"/>
                <a:gd name="connsiteX21" fmla="*/ 10000 w 10000"/>
                <a:gd name="connsiteY21" fmla="*/ 8710 h 9517"/>
                <a:gd name="connsiteX22" fmla="*/ 9545 w 10000"/>
                <a:gd name="connsiteY22" fmla="*/ 8389 h 9517"/>
                <a:gd name="connsiteX23" fmla="*/ 8863 w 10000"/>
                <a:gd name="connsiteY23" fmla="*/ 7906 h 9517"/>
                <a:gd name="connsiteX24" fmla="*/ 7954 w 10000"/>
                <a:gd name="connsiteY24" fmla="*/ 7420 h 9517"/>
                <a:gd name="connsiteX25" fmla="*/ 8182 w 10000"/>
                <a:gd name="connsiteY25" fmla="*/ 6936 h 9517"/>
                <a:gd name="connsiteX26" fmla="*/ 8637 w 10000"/>
                <a:gd name="connsiteY26" fmla="*/ 6936 h 9517"/>
                <a:gd name="connsiteX27" fmla="*/ 8863 w 10000"/>
                <a:gd name="connsiteY27" fmla="*/ 5970 h 9517"/>
                <a:gd name="connsiteX28" fmla="*/ 7834 w 10000"/>
                <a:gd name="connsiteY28" fmla="*/ 4829 h 9517"/>
                <a:gd name="connsiteX29" fmla="*/ 7270 w 10000"/>
                <a:gd name="connsiteY29" fmla="*/ 4848 h 9517"/>
                <a:gd name="connsiteX30" fmla="*/ 7217 w 10000"/>
                <a:gd name="connsiteY30" fmla="*/ 5441 h 9517"/>
                <a:gd name="connsiteX31" fmla="*/ 6655 w 10000"/>
                <a:gd name="connsiteY31" fmla="*/ 6254 h 9517"/>
                <a:gd name="connsiteX32" fmla="*/ 5933 w 10000"/>
                <a:gd name="connsiteY32" fmla="*/ 5797 h 9517"/>
                <a:gd name="connsiteX33" fmla="*/ 5201 w 10000"/>
                <a:gd name="connsiteY33" fmla="*/ 6419 h 9517"/>
                <a:gd name="connsiteX34" fmla="*/ 3756 w 10000"/>
                <a:gd name="connsiteY34" fmla="*/ 6496 h 9517"/>
                <a:gd name="connsiteX35" fmla="*/ 2591 w 10000"/>
                <a:gd name="connsiteY35" fmla="*/ 6246 h 9517"/>
                <a:gd name="connsiteX36" fmla="*/ 1928 w 10000"/>
                <a:gd name="connsiteY36" fmla="*/ 6175 h 9517"/>
                <a:gd name="connsiteX37" fmla="*/ 8409 w 10000"/>
                <a:gd name="connsiteY37" fmla="*/ 0 h 9517"/>
                <a:gd name="connsiteX0" fmla="*/ 1928 w 10000"/>
                <a:gd name="connsiteY0" fmla="*/ 6488 h 10000"/>
                <a:gd name="connsiteX1" fmla="*/ 2499 w 10000"/>
                <a:gd name="connsiteY1" fmla="*/ 0 h 10000"/>
                <a:gd name="connsiteX2" fmla="*/ 2272 w 10000"/>
                <a:gd name="connsiteY2" fmla="*/ 1016 h 10000"/>
                <a:gd name="connsiteX3" fmla="*/ 1591 w 10000"/>
                <a:gd name="connsiteY3" fmla="*/ 1016 h 10000"/>
                <a:gd name="connsiteX4" fmla="*/ 1591 w 10000"/>
                <a:gd name="connsiteY4" fmla="*/ 1527 h 10000"/>
                <a:gd name="connsiteX5" fmla="*/ 1364 w 10000"/>
                <a:gd name="connsiteY5" fmla="*/ 1357 h 10000"/>
                <a:gd name="connsiteX6" fmla="*/ 1137 w 10000"/>
                <a:gd name="connsiteY6" fmla="*/ 3390 h 10000"/>
                <a:gd name="connsiteX7" fmla="*/ 455 w 10000"/>
                <a:gd name="connsiteY7" fmla="*/ 3729 h 10000"/>
                <a:gd name="connsiteX8" fmla="*/ 227 w 10000"/>
                <a:gd name="connsiteY8" fmla="*/ 4575 h 10000"/>
                <a:gd name="connsiteX9" fmla="*/ 0 w 10000"/>
                <a:gd name="connsiteY9" fmla="*/ 5085 h 10000"/>
                <a:gd name="connsiteX10" fmla="*/ 681 w 10000"/>
                <a:gd name="connsiteY10" fmla="*/ 6102 h 10000"/>
                <a:gd name="connsiteX11" fmla="*/ 1137 w 10000"/>
                <a:gd name="connsiteY11" fmla="*/ 6779 h 10000"/>
                <a:gd name="connsiteX12" fmla="*/ 1817 w 10000"/>
                <a:gd name="connsiteY12" fmla="*/ 7627 h 10000"/>
                <a:gd name="connsiteX13" fmla="*/ 2727 w 10000"/>
                <a:gd name="connsiteY13" fmla="*/ 7966 h 10000"/>
                <a:gd name="connsiteX14" fmla="*/ 4091 w 10000"/>
                <a:gd name="connsiteY14" fmla="*/ 8984 h 10000"/>
                <a:gd name="connsiteX15" fmla="*/ 4546 w 10000"/>
                <a:gd name="connsiteY15" fmla="*/ 9491 h 10000"/>
                <a:gd name="connsiteX16" fmla="*/ 5682 w 10000"/>
                <a:gd name="connsiteY16" fmla="*/ 9491 h 10000"/>
                <a:gd name="connsiteX17" fmla="*/ 6591 w 10000"/>
                <a:gd name="connsiteY17" fmla="*/ 10000 h 10000"/>
                <a:gd name="connsiteX18" fmla="*/ 8182 w 10000"/>
                <a:gd name="connsiteY18" fmla="*/ 9831 h 10000"/>
                <a:gd name="connsiteX19" fmla="*/ 9319 w 10000"/>
                <a:gd name="connsiteY19" fmla="*/ 9491 h 10000"/>
                <a:gd name="connsiteX20" fmla="*/ 10000 w 10000"/>
                <a:gd name="connsiteY20" fmla="*/ 9491 h 10000"/>
                <a:gd name="connsiteX21" fmla="*/ 10000 w 10000"/>
                <a:gd name="connsiteY21" fmla="*/ 9152 h 10000"/>
                <a:gd name="connsiteX22" fmla="*/ 9545 w 10000"/>
                <a:gd name="connsiteY22" fmla="*/ 8815 h 10000"/>
                <a:gd name="connsiteX23" fmla="*/ 8863 w 10000"/>
                <a:gd name="connsiteY23" fmla="*/ 8307 h 10000"/>
                <a:gd name="connsiteX24" fmla="*/ 7954 w 10000"/>
                <a:gd name="connsiteY24" fmla="*/ 7797 h 10000"/>
                <a:gd name="connsiteX25" fmla="*/ 8182 w 10000"/>
                <a:gd name="connsiteY25" fmla="*/ 7288 h 10000"/>
                <a:gd name="connsiteX26" fmla="*/ 8637 w 10000"/>
                <a:gd name="connsiteY26" fmla="*/ 7288 h 10000"/>
                <a:gd name="connsiteX27" fmla="*/ 8863 w 10000"/>
                <a:gd name="connsiteY27" fmla="*/ 6273 h 10000"/>
                <a:gd name="connsiteX28" fmla="*/ 7834 w 10000"/>
                <a:gd name="connsiteY28" fmla="*/ 5074 h 10000"/>
                <a:gd name="connsiteX29" fmla="*/ 7270 w 10000"/>
                <a:gd name="connsiteY29" fmla="*/ 5094 h 10000"/>
                <a:gd name="connsiteX30" fmla="*/ 7217 w 10000"/>
                <a:gd name="connsiteY30" fmla="*/ 5717 h 10000"/>
                <a:gd name="connsiteX31" fmla="*/ 6655 w 10000"/>
                <a:gd name="connsiteY31" fmla="*/ 6571 h 10000"/>
                <a:gd name="connsiteX32" fmla="*/ 5933 w 10000"/>
                <a:gd name="connsiteY32" fmla="*/ 6091 h 10000"/>
                <a:gd name="connsiteX33" fmla="*/ 5201 w 10000"/>
                <a:gd name="connsiteY33" fmla="*/ 6745 h 10000"/>
                <a:gd name="connsiteX34" fmla="*/ 3756 w 10000"/>
                <a:gd name="connsiteY34" fmla="*/ 6826 h 10000"/>
                <a:gd name="connsiteX35" fmla="*/ 2591 w 10000"/>
                <a:gd name="connsiteY35" fmla="*/ 6563 h 10000"/>
                <a:gd name="connsiteX36" fmla="*/ 1928 w 10000"/>
                <a:gd name="connsiteY36" fmla="*/ 6488 h 10000"/>
                <a:gd name="connsiteX0" fmla="*/ 1928 w 10000"/>
                <a:gd name="connsiteY0" fmla="*/ 5472 h 8984"/>
                <a:gd name="connsiteX1" fmla="*/ 2272 w 10000"/>
                <a:gd name="connsiteY1" fmla="*/ 0 h 8984"/>
                <a:gd name="connsiteX2" fmla="*/ 1591 w 10000"/>
                <a:gd name="connsiteY2" fmla="*/ 0 h 8984"/>
                <a:gd name="connsiteX3" fmla="*/ 1591 w 10000"/>
                <a:gd name="connsiteY3" fmla="*/ 511 h 8984"/>
                <a:gd name="connsiteX4" fmla="*/ 1364 w 10000"/>
                <a:gd name="connsiteY4" fmla="*/ 341 h 8984"/>
                <a:gd name="connsiteX5" fmla="*/ 1137 w 10000"/>
                <a:gd name="connsiteY5" fmla="*/ 2374 h 8984"/>
                <a:gd name="connsiteX6" fmla="*/ 455 w 10000"/>
                <a:gd name="connsiteY6" fmla="*/ 2713 h 8984"/>
                <a:gd name="connsiteX7" fmla="*/ 227 w 10000"/>
                <a:gd name="connsiteY7" fmla="*/ 3559 h 8984"/>
                <a:gd name="connsiteX8" fmla="*/ 0 w 10000"/>
                <a:gd name="connsiteY8" fmla="*/ 4069 h 8984"/>
                <a:gd name="connsiteX9" fmla="*/ 681 w 10000"/>
                <a:gd name="connsiteY9" fmla="*/ 5086 h 8984"/>
                <a:gd name="connsiteX10" fmla="*/ 1137 w 10000"/>
                <a:gd name="connsiteY10" fmla="*/ 5763 h 8984"/>
                <a:gd name="connsiteX11" fmla="*/ 1817 w 10000"/>
                <a:gd name="connsiteY11" fmla="*/ 6611 h 8984"/>
                <a:gd name="connsiteX12" fmla="*/ 2727 w 10000"/>
                <a:gd name="connsiteY12" fmla="*/ 6950 h 8984"/>
                <a:gd name="connsiteX13" fmla="*/ 4091 w 10000"/>
                <a:gd name="connsiteY13" fmla="*/ 7968 h 8984"/>
                <a:gd name="connsiteX14" fmla="*/ 4546 w 10000"/>
                <a:gd name="connsiteY14" fmla="*/ 8475 h 8984"/>
                <a:gd name="connsiteX15" fmla="*/ 5682 w 10000"/>
                <a:gd name="connsiteY15" fmla="*/ 8475 h 8984"/>
                <a:gd name="connsiteX16" fmla="*/ 6591 w 10000"/>
                <a:gd name="connsiteY16" fmla="*/ 8984 h 8984"/>
                <a:gd name="connsiteX17" fmla="*/ 8182 w 10000"/>
                <a:gd name="connsiteY17" fmla="*/ 8815 h 8984"/>
                <a:gd name="connsiteX18" fmla="*/ 9319 w 10000"/>
                <a:gd name="connsiteY18" fmla="*/ 8475 h 8984"/>
                <a:gd name="connsiteX19" fmla="*/ 10000 w 10000"/>
                <a:gd name="connsiteY19" fmla="*/ 8475 h 8984"/>
                <a:gd name="connsiteX20" fmla="*/ 10000 w 10000"/>
                <a:gd name="connsiteY20" fmla="*/ 8136 h 8984"/>
                <a:gd name="connsiteX21" fmla="*/ 9545 w 10000"/>
                <a:gd name="connsiteY21" fmla="*/ 7799 h 8984"/>
                <a:gd name="connsiteX22" fmla="*/ 8863 w 10000"/>
                <a:gd name="connsiteY22" fmla="*/ 7291 h 8984"/>
                <a:gd name="connsiteX23" fmla="*/ 7954 w 10000"/>
                <a:gd name="connsiteY23" fmla="*/ 6781 h 8984"/>
                <a:gd name="connsiteX24" fmla="*/ 8182 w 10000"/>
                <a:gd name="connsiteY24" fmla="*/ 6272 h 8984"/>
                <a:gd name="connsiteX25" fmla="*/ 8637 w 10000"/>
                <a:gd name="connsiteY25" fmla="*/ 6272 h 8984"/>
                <a:gd name="connsiteX26" fmla="*/ 8863 w 10000"/>
                <a:gd name="connsiteY26" fmla="*/ 5257 h 8984"/>
                <a:gd name="connsiteX27" fmla="*/ 7834 w 10000"/>
                <a:gd name="connsiteY27" fmla="*/ 4058 h 8984"/>
                <a:gd name="connsiteX28" fmla="*/ 7270 w 10000"/>
                <a:gd name="connsiteY28" fmla="*/ 4078 h 8984"/>
                <a:gd name="connsiteX29" fmla="*/ 7217 w 10000"/>
                <a:gd name="connsiteY29" fmla="*/ 4701 h 8984"/>
                <a:gd name="connsiteX30" fmla="*/ 6655 w 10000"/>
                <a:gd name="connsiteY30" fmla="*/ 5555 h 8984"/>
                <a:gd name="connsiteX31" fmla="*/ 5933 w 10000"/>
                <a:gd name="connsiteY31" fmla="*/ 5075 h 8984"/>
                <a:gd name="connsiteX32" fmla="*/ 5201 w 10000"/>
                <a:gd name="connsiteY32" fmla="*/ 5729 h 8984"/>
                <a:gd name="connsiteX33" fmla="*/ 3756 w 10000"/>
                <a:gd name="connsiteY33" fmla="*/ 5810 h 8984"/>
                <a:gd name="connsiteX34" fmla="*/ 2591 w 10000"/>
                <a:gd name="connsiteY34" fmla="*/ 5547 h 8984"/>
                <a:gd name="connsiteX35" fmla="*/ 1928 w 10000"/>
                <a:gd name="connsiteY35" fmla="*/ 5472 h 8984"/>
                <a:gd name="connsiteX0" fmla="*/ 1928 w 10000"/>
                <a:gd name="connsiteY0" fmla="*/ 6091 h 10000"/>
                <a:gd name="connsiteX1" fmla="*/ 1591 w 10000"/>
                <a:gd name="connsiteY1" fmla="*/ 0 h 10000"/>
                <a:gd name="connsiteX2" fmla="*/ 1591 w 10000"/>
                <a:gd name="connsiteY2" fmla="*/ 569 h 10000"/>
                <a:gd name="connsiteX3" fmla="*/ 1364 w 10000"/>
                <a:gd name="connsiteY3" fmla="*/ 380 h 10000"/>
                <a:gd name="connsiteX4" fmla="*/ 1137 w 10000"/>
                <a:gd name="connsiteY4" fmla="*/ 2642 h 10000"/>
                <a:gd name="connsiteX5" fmla="*/ 455 w 10000"/>
                <a:gd name="connsiteY5" fmla="*/ 3020 h 10000"/>
                <a:gd name="connsiteX6" fmla="*/ 227 w 10000"/>
                <a:gd name="connsiteY6" fmla="*/ 3961 h 10000"/>
                <a:gd name="connsiteX7" fmla="*/ 0 w 10000"/>
                <a:gd name="connsiteY7" fmla="*/ 4529 h 10000"/>
                <a:gd name="connsiteX8" fmla="*/ 681 w 10000"/>
                <a:gd name="connsiteY8" fmla="*/ 5661 h 10000"/>
                <a:gd name="connsiteX9" fmla="*/ 1137 w 10000"/>
                <a:gd name="connsiteY9" fmla="*/ 6415 h 10000"/>
                <a:gd name="connsiteX10" fmla="*/ 1817 w 10000"/>
                <a:gd name="connsiteY10" fmla="*/ 7359 h 10000"/>
                <a:gd name="connsiteX11" fmla="*/ 2727 w 10000"/>
                <a:gd name="connsiteY11" fmla="*/ 7736 h 10000"/>
                <a:gd name="connsiteX12" fmla="*/ 4091 w 10000"/>
                <a:gd name="connsiteY12" fmla="*/ 8869 h 10000"/>
                <a:gd name="connsiteX13" fmla="*/ 4546 w 10000"/>
                <a:gd name="connsiteY13" fmla="*/ 9433 h 10000"/>
                <a:gd name="connsiteX14" fmla="*/ 5682 w 10000"/>
                <a:gd name="connsiteY14" fmla="*/ 9433 h 10000"/>
                <a:gd name="connsiteX15" fmla="*/ 6591 w 10000"/>
                <a:gd name="connsiteY15" fmla="*/ 10000 h 10000"/>
                <a:gd name="connsiteX16" fmla="*/ 8182 w 10000"/>
                <a:gd name="connsiteY16" fmla="*/ 9812 h 10000"/>
                <a:gd name="connsiteX17" fmla="*/ 9319 w 10000"/>
                <a:gd name="connsiteY17" fmla="*/ 9433 h 10000"/>
                <a:gd name="connsiteX18" fmla="*/ 10000 w 10000"/>
                <a:gd name="connsiteY18" fmla="*/ 9433 h 10000"/>
                <a:gd name="connsiteX19" fmla="*/ 10000 w 10000"/>
                <a:gd name="connsiteY19" fmla="*/ 9056 h 10000"/>
                <a:gd name="connsiteX20" fmla="*/ 9545 w 10000"/>
                <a:gd name="connsiteY20" fmla="*/ 8681 h 10000"/>
                <a:gd name="connsiteX21" fmla="*/ 8863 w 10000"/>
                <a:gd name="connsiteY21" fmla="*/ 8116 h 10000"/>
                <a:gd name="connsiteX22" fmla="*/ 7954 w 10000"/>
                <a:gd name="connsiteY22" fmla="*/ 7548 h 10000"/>
                <a:gd name="connsiteX23" fmla="*/ 8182 w 10000"/>
                <a:gd name="connsiteY23" fmla="*/ 6981 h 10000"/>
                <a:gd name="connsiteX24" fmla="*/ 8637 w 10000"/>
                <a:gd name="connsiteY24" fmla="*/ 6981 h 10000"/>
                <a:gd name="connsiteX25" fmla="*/ 8863 w 10000"/>
                <a:gd name="connsiteY25" fmla="*/ 5852 h 10000"/>
                <a:gd name="connsiteX26" fmla="*/ 7834 w 10000"/>
                <a:gd name="connsiteY26" fmla="*/ 4517 h 10000"/>
                <a:gd name="connsiteX27" fmla="*/ 7270 w 10000"/>
                <a:gd name="connsiteY27" fmla="*/ 4539 h 10000"/>
                <a:gd name="connsiteX28" fmla="*/ 7217 w 10000"/>
                <a:gd name="connsiteY28" fmla="*/ 5233 h 10000"/>
                <a:gd name="connsiteX29" fmla="*/ 6655 w 10000"/>
                <a:gd name="connsiteY29" fmla="*/ 6183 h 10000"/>
                <a:gd name="connsiteX30" fmla="*/ 5933 w 10000"/>
                <a:gd name="connsiteY30" fmla="*/ 5649 h 10000"/>
                <a:gd name="connsiteX31" fmla="*/ 5201 w 10000"/>
                <a:gd name="connsiteY31" fmla="*/ 6377 h 10000"/>
                <a:gd name="connsiteX32" fmla="*/ 3756 w 10000"/>
                <a:gd name="connsiteY32" fmla="*/ 6467 h 10000"/>
                <a:gd name="connsiteX33" fmla="*/ 2591 w 10000"/>
                <a:gd name="connsiteY33" fmla="*/ 6174 h 10000"/>
                <a:gd name="connsiteX34" fmla="*/ 1928 w 10000"/>
                <a:gd name="connsiteY34" fmla="*/ 6091 h 10000"/>
                <a:gd name="connsiteX0" fmla="*/ 1928 w 10000"/>
                <a:gd name="connsiteY0" fmla="*/ 5711 h 9620"/>
                <a:gd name="connsiteX1" fmla="*/ 1591 w 10000"/>
                <a:gd name="connsiteY1" fmla="*/ 189 h 9620"/>
                <a:gd name="connsiteX2" fmla="*/ 1364 w 10000"/>
                <a:gd name="connsiteY2" fmla="*/ 0 h 9620"/>
                <a:gd name="connsiteX3" fmla="*/ 1137 w 10000"/>
                <a:gd name="connsiteY3" fmla="*/ 2262 h 9620"/>
                <a:gd name="connsiteX4" fmla="*/ 455 w 10000"/>
                <a:gd name="connsiteY4" fmla="*/ 2640 h 9620"/>
                <a:gd name="connsiteX5" fmla="*/ 227 w 10000"/>
                <a:gd name="connsiteY5" fmla="*/ 3581 h 9620"/>
                <a:gd name="connsiteX6" fmla="*/ 0 w 10000"/>
                <a:gd name="connsiteY6" fmla="*/ 4149 h 9620"/>
                <a:gd name="connsiteX7" fmla="*/ 681 w 10000"/>
                <a:gd name="connsiteY7" fmla="*/ 5281 h 9620"/>
                <a:gd name="connsiteX8" fmla="*/ 1137 w 10000"/>
                <a:gd name="connsiteY8" fmla="*/ 6035 h 9620"/>
                <a:gd name="connsiteX9" fmla="*/ 1817 w 10000"/>
                <a:gd name="connsiteY9" fmla="*/ 6979 h 9620"/>
                <a:gd name="connsiteX10" fmla="*/ 2727 w 10000"/>
                <a:gd name="connsiteY10" fmla="*/ 7356 h 9620"/>
                <a:gd name="connsiteX11" fmla="*/ 4091 w 10000"/>
                <a:gd name="connsiteY11" fmla="*/ 8489 h 9620"/>
                <a:gd name="connsiteX12" fmla="*/ 4546 w 10000"/>
                <a:gd name="connsiteY12" fmla="*/ 9053 h 9620"/>
                <a:gd name="connsiteX13" fmla="*/ 5682 w 10000"/>
                <a:gd name="connsiteY13" fmla="*/ 9053 h 9620"/>
                <a:gd name="connsiteX14" fmla="*/ 6591 w 10000"/>
                <a:gd name="connsiteY14" fmla="*/ 9620 h 9620"/>
                <a:gd name="connsiteX15" fmla="*/ 8182 w 10000"/>
                <a:gd name="connsiteY15" fmla="*/ 9432 h 9620"/>
                <a:gd name="connsiteX16" fmla="*/ 9319 w 10000"/>
                <a:gd name="connsiteY16" fmla="*/ 9053 h 9620"/>
                <a:gd name="connsiteX17" fmla="*/ 10000 w 10000"/>
                <a:gd name="connsiteY17" fmla="*/ 9053 h 9620"/>
                <a:gd name="connsiteX18" fmla="*/ 10000 w 10000"/>
                <a:gd name="connsiteY18" fmla="*/ 8676 h 9620"/>
                <a:gd name="connsiteX19" fmla="*/ 9545 w 10000"/>
                <a:gd name="connsiteY19" fmla="*/ 8301 h 9620"/>
                <a:gd name="connsiteX20" fmla="*/ 8863 w 10000"/>
                <a:gd name="connsiteY20" fmla="*/ 7736 h 9620"/>
                <a:gd name="connsiteX21" fmla="*/ 7954 w 10000"/>
                <a:gd name="connsiteY21" fmla="*/ 7168 h 9620"/>
                <a:gd name="connsiteX22" fmla="*/ 8182 w 10000"/>
                <a:gd name="connsiteY22" fmla="*/ 6601 h 9620"/>
                <a:gd name="connsiteX23" fmla="*/ 8637 w 10000"/>
                <a:gd name="connsiteY23" fmla="*/ 6601 h 9620"/>
                <a:gd name="connsiteX24" fmla="*/ 8863 w 10000"/>
                <a:gd name="connsiteY24" fmla="*/ 5472 h 9620"/>
                <a:gd name="connsiteX25" fmla="*/ 7834 w 10000"/>
                <a:gd name="connsiteY25" fmla="*/ 4137 h 9620"/>
                <a:gd name="connsiteX26" fmla="*/ 7270 w 10000"/>
                <a:gd name="connsiteY26" fmla="*/ 4159 h 9620"/>
                <a:gd name="connsiteX27" fmla="*/ 7217 w 10000"/>
                <a:gd name="connsiteY27" fmla="*/ 4853 h 9620"/>
                <a:gd name="connsiteX28" fmla="*/ 6655 w 10000"/>
                <a:gd name="connsiteY28" fmla="*/ 5803 h 9620"/>
                <a:gd name="connsiteX29" fmla="*/ 5933 w 10000"/>
                <a:gd name="connsiteY29" fmla="*/ 5269 h 9620"/>
                <a:gd name="connsiteX30" fmla="*/ 5201 w 10000"/>
                <a:gd name="connsiteY30" fmla="*/ 5997 h 9620"/>
                <a:gd name="connsiteX31" fmla="*/ 3756 w 10000"/>
                <a:gd name="connsiteY31" fmla="*/ 6087 h 9620"/>
                <a:gd name="connsiteX32" fmla="*/ 2591 w 10000"/>
                <a:gd name="connsiteY32" fmla="*/ 5794 h 9620"/>
                <a:gd name="connsiteX33" fmla="*/ 1928 w 10000"/>
                <a:gd name="connsiteY33" fmla="*/ 5711 h 9620"/>
                <a:gd name="connsiteX0" fmla="*/ 1928 w 10000"/>
                <a:gd name="connsiteY0" fmla="*/ 5741 h 9804"/>
                <a:gd name="connsiteX1" fmla="*/ 1591 w 10000"/>
                <a:gd name="connsiteY1" fmla="*/ 0 h 9804"/>
                <a:gd name="connsiteX2" fmla="*/ 1137 w 10000"/>
                <a:gd name="connsiteY2" fmla="*/ 2155 h 9804"/>
                <a:gd name="connsiteX3" fmla="*/ 455 w 10000"/>
                <a:gd name="connsiteY3" fmla="*/ 2548 h 9804"/>
                <a:gd name="connsiteX4" fmla="*/ 227 w 10000"/>
                <a:gd name="connsiteY4" fmla="*/ 3526 h 9804"/>
                <a:gd name="connsiteX5" fmla="*/ 0 w 10000"/>
                <a:gd name="connsiteY5" fmla="*/ 4117 h 9804"/>
                <a:gd name="connsiteX6" fmla="*/ 681 w 10000"/>
                <a:gd name="connsiteY6" fmla="*/ 5294 h 9804"/>
                <a:gd name="connsiteX7" fmla="*/ 1137 w 10000"/>
                <a:gd name="connsiteY7" fmla="*/ 6077 h 9804"/>
                <a:gd name="connsiteX8" fmla="*/ 1817 w 10000"/>
                <a:gd name="connsiteY8" fmla="*/ 7059 h 9804"/>
                <a:gd name="connsiteX9" fmla="*/ 2727 w 10000"/>
                <a:gd name="connsiteY9" fmla="*/ 7451 h 9804"/>
                <a:gd name="connsiteX10" fmla="*/ 4091 w 10000"/>
                <a:gd name="connsiteY10" fmla="*/ 8628 h 9804"/>
                <a:gd name="connsiteX11" fmla="*/ 4546 w 10000"/>
                <a:gd name="connsiteY11" fmla="*/ 9215 h 9804"/>
                <a:gd name="connsiteX12" fmla="*/ 5682 w 10000"/>
                <a:gd name="connsiteY12" fmla="*/ 9215 h 9804"/>
                <a:gd name="connsiteX13" fmla="*/ 6591 w 10000"/>
                <a:gd name="connsiteY13" fmla="*/ 9804 h 9804"/>
                <a:gd name="connsiteX14" fmla="*/ 8182 w 10000"/>
                <a:gd name="connsiteY14" fmla="*/ 9609 h 9804"/>
                <a:gd name="connsiteX15" fmla="*/ 9319 w 10000"/>
                <a:gd name="connsiteY15" fmla="*/ 9215 h 9804"/>
                <a:gd name="connsiteX16" fmla="*/ 10000 w 10000"/>
                <a:gd name="connsiteY16" fmla="*/ 9215 h 9804"/>
                <a:gd name="connsiteX17" fmla="*/ 10000 w 10000"/>
                <a:gd name="connsiteY17" fmla="*/ 8823 h 9804"/>
                <a:gd name="connsiteX18" fmla="*/ 9545 w 10000"/>
                <a:gd name="connsiteY18" fmla="*/ 8433 h 9804"/>
                <a:gd name="connsiteX19" fmla="*/ 8863 w 10000"/>
                <a:gd name="connsiteY19" fmla="*/ 7846 h 9804"/>
                <a:gd name="connsiteX20" fmla="*/ 7954 w 10000"/>
                <a:gd name="connsiteY20" fmla="*/ 7255 h 9804"/>
                <a:gd name="connsiteX21" fmla="*/ 8182 w 10000"/>
                <a:gd name="connsiteY21" fmla="*/ 6666 h 9804"/>
                <a:gd name="connsiteX22" fmla="*/ 8637 w 10000"/>
                <a:gd name="connsiteY22" fmla="*/ 6666 h 9804"/>
                <a:gd name="connsiteX23" fmla="*/ 8863 w 10000"/>
                <a:gd name="connsiteY23" fmla="*/ 5492 h 9804"/>
                <a:gd name="connsiteX24" fmla="*/ 7834 w 10000"/>
                <a:gd name="connsiteY24" fmla="*/ 4104 h 9804"/>
                <a:gd name="connsiteX25" fmla="*/ 7270 w 10000"/>
                <a:gd name="connsiteY25" fmla="*/ 4127 h 9804"/>
                <a:gd name="connsiteX26" fmla="*/ 7217 w 10000"/>
                <a:gd name="connsiteY26" fmla="*/ 4849 h 9804"/>
                <a:gd name="connsiteX27" fmla="*/ 6655 w 10000"/>
                <a:gd name="connsiteY27" fmla="*/ 5836 h 9804"/>
                <a:gd name="connsiteX28" fmla="*/ 5933 w 10000"/>
                <a:gd name="connsiteY28" fmla="*/ 5281 h 9804"/>
                <a:gd name="connsiteX29" fmla="*/ 5201 w 10000"/>
                <a:gd name="connsiteY29" fmla="*/ 6038 h 9804"/>
                <a:gd name="connsiteX30" fmla="*/ 3756 w 10000"/>
                <a:gd name="connsiteY30" fmla="*/ 6131 h 9804"/>
                <a:gd name="connsiteX31" fmla="*/ 2591 w 10000"/>
                <a:gd name="connsiteY31" fmla="*/ 5827 h 9804"/>
                <a:gd name="connsiteX32" fmla="*/ 1928 w 10000"/>
                <a:gd name="connsiteY32" fmla="*/ 5741 h 9804"/>
                <a:gd name="connsiteX0" fmla="*/ 1928 w 10000"/>
                <a:gd name="connsiteY0" fmla="*/ 3658 h 7802"/>
                <a:gd name="connsiteX1" fmla="*/ 1137 w 10000"/>
                <a:gd name="connsiteY1" fmla="*/ 0 h 7802"/>
                <a:gd name="connsiteX2" fmla="*/ 455 w 10000"/>
                <a:gd name="connsiteY2" fmla="*/ 401 h 7802"/>
                <a:gd name="connsiteX3" fmla="*/ 227 w 10000"/>
                <a:gd name="connsiteY3" fmla="*/ 1398 h 7802"/>
                <a:gd name="connsiteX4" fmla="*/ 0 w 10000"/>
                <a:gd name="connsiteY4" fmla="*/ 2001 h 7802"/>
                <a:gd name="connsiteX5" fmla="*/ 681 w 10000"/>
                <a:gd name="connsiteY5" fmla="*/ 3202 h 7802"/>
                <a:gd name="connsiteX6" fmla="*/ 1137 w 10000"/>
                <a:gd name="connsiteY6" fmla="*/ 4000 h 7802"/>
                <a:gd name="connsiteX7" fmla="*/ 1817 w 10000"/>
                <a:gd name="connsiteY7" fmla="*/ 5002 h 7802"/>
                <a:gd name="connsiteX8" fmla="*/ 2727 w 10000"/>
                <a:gd name="connsiteY8" fmla="*/ 5402 h 7802"/>
                <a:gd name="connsiteX9" fmla="*/ 4091 w 10000"/>
                <a:gd name="connsiteY9" fmla="*/ 6602 h 7802"/>
                <a:gd name="connsiteX10" fmla="*/ 4546 w 10000"/>
                <a:gd name="connsiteY10" fmla="*/ 7201 h 7802"/>
                <a:gd name="connsiteX11" fmla="*/ 5682 w 10000"/>
                <a:gd name="connsiteY11" fmla="*/ 7201 h 7802"/>
                <a:gd name="connsiteX12" fmla="*/ 6591 w 10000"/>
                <a:gd name="connsiteY12" fmla="*/ 7802 h 7802"/>
                <a:gd name="connsiteX13" fmla="*/ 8182 w 10000"/>
                <a:gd name="connsiteY13" fmla="*/ 7603 h 7802"/>
                <a:gd name="connsiteX14" fmla="*/ 9319 w 10000"/>
                <a:gd name="connsiteY14" fmla="*/ 7201 h 7802"/>
                <a:gd name="connsiteX15" fmla="*/ 10000 w 10000"/>
                <a:gd name="connsiteY15" fmla="*/ 7201 h 7802"/>
                <a:gd name="connsiteX16" fmla="*/ 10000 w 10000"/>
                <a:gd name="connsiteY16" fmla="*/ 6801 h 7802"/>
                <a:gd name="connsiteX17" fmla="*/ 9545 w 10000"/>
                <a:gd name="connsiteY17" fmla="*/ 6404 h 7802"/>
                <a:gd name="connsiteX18" fmla="*/ 8863 w 10000"/>
                <a:gd name="connsiteY18" fmla="*/ 5805 h 7802"/>
                <a:gd name="connsiteX19" fmla="*/ 7954 w 10000"/>
                <a:gd name="connsiteY19" fmla="*/ 5202 h 7802"/>
                <a:gd name="connsiteX20" fmla="*/ 8182 w 10000"/>
                <a:gd name="connsiteY20" fmla="*/ 4601 h 7802"/>
                <a:gd name="connsiteX21" fmla="*/ 8637 w 10000"/>
                <a:gd name="connsiteY21" fmla="*/ 4601 h 7802"/>
                <a:gd name="connsiteX22" fmla="*/ 8863 w 10000"/>
                <a:gd name="connsiteY22" fmla="*/ 3404 h 7802"/>
                <a:gd name="connsiteX23" fmla="*/ 7834 w 10000"/>
                <a:gd name="connsiteY23" fmla="*/ 1988 h 7802"/>
                <a:gd name="connsiteX24" fmla="*/ 7270 w 10000"/>
                <a:gd name="connsiteY24" fmla="*/ 2012 h 7802"/>
                <a:gd name="connsiteX25" fmla="*/ 7217 w 10000"/>
                <a:gd name="connsiteY25" fmla="*/ 2748 h 7802"/>
                <a:gd name="connsiteX26" fmla="*/ 6655 w 10000"/>
                <a:gd name="connsiteY26" fmla="*/ 3755 h 7802"/>
                <a:gd name="connsiteX27" fmla="*/ 5933 w 10000"/>
                <a:gd name="connsiteY27" fmla="*/ 3189 h 7802"/>
                <a:gd name="connsiteX28" fmla="*/ 5201 w 10000"/>
                <a:gd name="connsiteY28" fmla="*/ 3961 h 7802"/>
                <a:gd name="connsiteX29" fmla="*/ 3756 w 10000"/>
                <a:gd name="connsiteY29" fmla="*/ 4056 h 7802"/>
                <a:gd name="connsiteX30" fmla="*/ 2591 w 10000"/>
                <a:gd name="connsiteY30" fmla="*/ 3745 h 7802"/>
                <a:gd name="connsiteX31" fmla="*/ 1928 w 10000"/>
                <a:gd name="connsiteY31" fmla="*/ 3658 h 7802"/>
                <a:gd name="connsiteX0" fmla="*/ 1928 w 10000"/>
                <a:gd name="connsiteY0" fmla="*/ 4279 h 9590"/>
                <a:gd name="connsiteX1" fmla="*/ 455 w 10000"/>
                <a:gd name="connsiteY1" fmla="*/ 104 h 9590"/>
                <a:gd name="connsiteX2" fmla="*/ 227 w 10000"/>
                <a:gd name="connsiteY2" fmla="*/ 1382 h 9590"/>
                <a:gd name="connsiteX3" fmla="*/ 0 w 10000"/>
                <a:gd name="connsiteY3" fmla="*/ 2155 h 9590"/>
                <a:gd name="connsiteX4" fmla="*/ 681 w 10000"/>
                <a:gd name="connsiteY4" fmla="*/ 3694 h 9590"/>
                <a:gd name="connsiteX5" fmla="*/ 1137 w 10000"/>
                <a:gd name="connsiteY5" fmla="*/ 4717 h 9590"/>
                <a:gd name="connsiteX6" fmla="*/ 1817 w 10000"/>
                <a:gd name="connsiteY6" fmla="*/ 6001 h 9590"/>
                <a:gd name="connsiteX7" fmla="*/ 2727 w 10000"/>
                <a:gd name="connsiteY7" fmla="*/ 6514 h 9590"/>
                <a:gd name="connsiteX8" fmla="*/ 4091 w 10000"/>
                <a:gd name="connsiteY8" fmla="*/ 8052 h 9590"/>
                <a:gd name="connsiteX9" fmla="*/ 4546 w 10000"/>
                <a:gd name="connsiteY9" fmla="*/ 8820 h 9590"/>
                <a:gd name="connsiteX10" fmla="*/ 5682 w 10000"/>
                <a:gd name="connsiteY10" fmla="*/ 8820 h 9590"/>
                <a:gd name="connsiteX11" fmla="*/ 6591 w 10000"/>
                <a:gd name="connsiteY11" fmla="*/ 9590 h 9590"/>
                <a:gd name="connsiteX12" fmla="*/ 8182 w 10000"/>
                <a:gd name="connsiteY12" fmla="*/ 9335 h 9590"/>
                <a:gd name="connsiteX13" fmla="*/ 9319 w 10000"/>
                <a:gd name="connsiteY13" fmla="*/ 8820 h 9590"/>
                <a:gd name="connsiteX14" fmla="*/ 10000 w 10000"/>
                <a:gd name="connsiteY14" fmla="*/ 8820 h 9590"/>
                <a:gd name="connsiteX15" fmla="*/ 10000 w 10000"/>
                <a:gd name="connsiteY15" fmla="*/ 8307 h 9590"/>
                <a:gd name="connsiteX16" fmla="*/ 9545 w 10000"/>
                <a:gd name="connsiteY16" fmla="*/ 7798 h 9590"/>
                <a:gd name="connsiteX17" fmla="*/ 8863 w 10000"/>
                <a:gd name="connsiteY17" fmla="*/ 7030 h 9590"/>
                <a:gd name="connsiteX18" fmla="*/ 7954 w 10000"/>
                <a:gd name="connsiteY18" fmla="*/ 6258 h 9590"/>
                <a:gd name="connsiteX19" fmla="*/ 8182 w 10000"/>
                <a:gd name="connsiteY19" fmla="*/ 5487 h 9590"/>
                <a:gd name="connsiteX20" fmla="*/ 8637 w 10000"/>
                <a:gd name="connsiteY20" fmla="*/ 5487 h 9590"/>
                <a:gd name="connsiteX21" fmla="*/ 8863 w 10000"/>
                <a:gd name="connsiteY21" fmla="*/ 3953 h 9590"/>
                <a:gd name="connsiteX22" fmla="*/ 7834 w 10000"/>
                <a:gd name="connsiteY22" fmla="*/ 2138 h 9590"/>
                <a:gd name="connsiteX23" fmla="*/ 7270 w 10000"/>
                <a:gd name="connsiteY23" fmla="*/ 2169 h 9590"/>
                <a:gd name="connsiteX24" fmla="*/ 7217 w 10000"/>
                <a:gd name="connsiteY24" fmla="*/ 3112 h 9590"/>
                <a:gd name="connsiteX25" fmla="*/ 6655 w 10000"/>
                <a:gd name="connsiteY25" fmla="*/ 4403 h 9590"/>
                <a:gd name="connsiteX26" fmla="*/ 5933 w 10000"/>
                <a:gd name="connsiteY26" fmla="*/ 3677 h 9590"/>
                <a:gd name="connsiteX27" fmla="*/ 5201 w 10000"/>
                <a:gd name="connsiteY27" fmla="*/ 4667 h 9590"/>
                <a:gd name="connsiteX28" fmla="*/ 3756 w 10000"/>
                <a:gd name="connsiteY28" fmla="*/ 4789 h 9590"/>
                <a:gd name="connsiteX29" fmla="*/ 2591 w 10000"/>
                <a:gd name="connsiteY29" fmla="*/ 4390 h 9590"/>
                <a:gd name="connsiteX30" fmla="*/ 1928 w 10000"/>
                <a:gd name="connsiteY30" fmla="*/ 4279 h 9590"/>
                <a:gd name="connsiteX0" fmla="*/ 1928 w 10000"/>
                <a:gd name="connsiteY0" fmla="*/ 3021 h 8559"/>
                <a:gd name="connsiteX1" fmla="*/ 227 w 10000"/>
                <a:gd name="connsiteY1" fmla="*/ 0 h 8559"/>
                <a:gd name="connsiteX2" fmla="*/ 0 w 10000"/>
                <a:gd name="connsiteY2" fmla="*/ 806 h 8559"/>
                <a:gd name="connsiteX3" fmla="*/ 681 w 10000"/>
                <a:gd name="connsiteY3" fmla="*/ 2411 h 8559"/>
                <a:gd name="connsiteX4" fmla="*/ 1137 w 10000"/>
                <a:gd name="connsiteY4" fmla="*/ 3478 h 8559"/>
                <a:gd name="connsiteX5" fmla="*/ 1817 w 10000"/>
                <a:gd name="connsiteY5" fmla="*/ 4817 h 8559"/>
                <a:gd name="connsiteX6" fmla="*/ 2727 w 10000"/>
                <a:gd name="connsiteY6" fmla="*/ 5351 h 8559"/>
                <a:gd name="connsiteX7" fmla="*/ 4091 w 10000"/>
                <a:gd name="connsiteY7" fmla="*/ 6955 h 8559"/>
                <a:gd name="connsiteX8" fmla="*/ 4546 w 10000"/>
                <a:gd name="connsiteY8" fmla="*/ 7756 h 8559"/>
                <a:gd name="connsiteX9" fmla="*/ 5682 w 10000"/>
                <a:gd name="connsiteY9" fmla="*/ 7756 h 8559"/>
                <a:gd name="connsiteX10" fmla="*/ 6591 w 10000"/>
                <a:gd name="connsiteY10" fmla="*/ 8559 h 8559"/>
                <a:gd name="connsiteX11" fmla="*/ 8182 w 10000"/>
                <a:gd name="connsiteY11" fmla="*/ 8293 h 8559"/>
                <a:gd name="connsiteX12" fmla="*/ 9319 w 10000"/>
                <a:gd name="connsiteY12" fmla="*/ 7756 h 8559"/>
                <a:gd name="connsiteX13" fmla="*/ 10000 w 10000"/>
                <a:gd name="connsiteY13" fmla="*/ 7756 h 8559"/>
                <a:gd name="connsiteX14" fmla="*/ 10000 w 10000"/>
                <a:gd name="connsiteY14" fmla="*/ 7221 h 8559"/>
                <a:gd name="connsiteX15" fmla="*/ 9545 w 10000"/>
                <a:gd name="connsiteY15" fmla="*/ 6690 h 8559"/>
                <a:gd name="connsiteX16" fmla="*/ 8863 w 10000"/>
                <a:gd name="connsiteY16" fmla="*/ 5890 h 8559"/>
                <a:gd name="connsiteX17" fmla="*/ 7954 w 10000"/>
                <a:gd name="connsiteY17" fmla="*/ 5085 h 8559"/>
                <a:gd name="connsiteX18" fmla="*/ 8182 w 10000"/>
                <a:gd name="connsiteY18" fmla="*/ 4281 h 8559"/>
                <a:gd name="connsiteX19" fmla="*/ 8637 w 10000"/>
                <a:gd name="connsiteY19" fmla="*/ 4281 h 8559"/>
                <a:gd name="connsiteX20" fmla="*/ 8863 w 10000"/>
                <a:gd name="connsiteY20" fmla="*/ 2681 h 8559"/>
                <a:gd name="connsiteX21" fmla="*/ 7834 w 10000"/>
                <a:gd name="connsiteY21" fmla="*/ 788 h 8559"/>
                <a:gd name="connsiteX22" fmla="*/ 7270 w 10000"/>
                <a:gd name="connsiteY22" fmla="*/ 821 h 8559"/>
                <a:gd name="connsiteX23" fmla="*/ 7217 w 10000"/>
                <a:gd name="connsiteY23" fmla="*/ 1804 h 8559"/>
                <a:gd name="connsiteX24" fmla="*/ 6655 w 10000"/>
                <a:gd name="connsiteY24" fmla="*/ 3150 h 8559"/>
                <a:gd name="connsiteX25" fmla="*/ 5933 w 10000"/>
                <a:gd name="connsiteY25" fmla="*/ 2393 h 8559"/>
                <a:gd name="connsiteX26" fmla="*/ 5201 w 10000"/>
                <a:gd name="connsiteY26" fmla="*/ 3426 h 8559"/>
                <a:gd name="connsiteX27" fmla="*/ 3756 w 10000"/>
                <a:gd name="connsiteY27" fmla="*/ 3553 h 8559"/>
                <a:gd name="connsiteX28" fmla="*/ 2591 w 10000"/>
                <a:gd name="connsiteY28" fmla="*/ 3137 h 8559"/>
                <a:gd name="connsiteX29" fmla="*/ 1928 w 10000"/>
                <a:gd name="connsiteY29" fmla="*/ 3021 h 8559"/>
                <a:gd name="connsiteX0" fmla="*/ 1967 w 10039"/>
                <a:gd name="connsiteY0" fmla="*/ 2666 h 9136"/>
                <a:gd name="connsiteX1" fmla="*/ 39 w 10039"/>
                <a:gd name="connsiteY1" fmla="*/ 78 h 9136"/>
                <a:gd name="connsiteX2" fmla="*/ 720 w 10039"/>
                <a:gd name="connsiteY2" fmla="*/ 1953 h 9136"/>
                <a:gd name="connsiteX3" fmla="*/ 1176 w 10039"/>
                <a:gd name="connsiteY3" fmla="*/ 3200 h 9136"/>
                <a:gd name="connsiteX4" fmla="*/ 1856 w 10039"/>
                <a:gd name="connsiteY4" fmla="*/ 4764 h 9136"/>
                <a:gd name="connsiteX5" fmla="*/ 2766 w 10039"/>
                <a:gd name="connsiteY5" fmla="*/ 5388 h 9136"/>
                <a:gd name="connsiteX6" fmla="*/ 4130 w 10039"/>
                <a:gd name="connsiteY6" fmla="*/ 7262 h 9136"/>
                <a:gd name="connsiteX7" fmla="*/ 4585 w 10039"/>
                <a:gd name="connsiteY7" fmla="*/ 8198 h 9136"/>
                <a:gd name="connsiteX8" fmla="*/ 5721 w 10039"/>
                <a:gd name="connsiteY8" fmla="*/ 8198 h 9136"/>
                <a:gd name="connsiteX9" fmla="*/ 6630 w 10039"/>
                <a:gd name="connsiteY9" fmla="*/ 9136 h 9136"/>
                <a:gd name="connsiteX10" fmla="*/ 8221 w 10039"/>
                <a:gd name="connsiteY10" fmla="*/ 8825 h 9136"/>
                <a:gd name="connsiteX11" fmla="*/ 9358 w 10039"/>
                <a:gd name="connsiteY11" fmla="*/ 8198 h 9136"/>
                <a:gd name="connsiteX12" fmla="*/ 10039 w 10039"/>
                <a:gd name="connsiteY12" fmla="*/ 8198 h 9136"/>
                <a:gd name="connsiteX13" fmla="*/ 10039 w 10039"/>
                <a:gd name="connsiteY13" fmla="*/ 7573 h 9136"/>
                <a:gd name="connsiteX14" fmla="*/ 9584 w 10039"/>
                <a:gd name="connsiteY14" fmla="*/ 6952 h 9136"/>
                <a:gd name="connsiteX15" fmla="*/ 8902 w 10039"/>
                <a:gd name="connsiteY15" fmla="*/ 6018 h 9136"/>
                <a:gd name="connsiteX16" fmla="*/ 7993 w 10039"/>
                <a:gd name="connsiteY16" fmla="*/ 5077 h 9136"/>
                <a:gd name="connsiteX17" fmla="*/ 8221 w 10039"/>
                <a:gd name="connsiteY17" fmla="*/ 4138 h 9136"/>
                <a:gd name="connsiteX18" fmla="*/ 8676 w 10039"/>
                <a:gd name="connsiteY18" fmla="*/ 4138 h 9136"/>
                <a:gd name="connsiteX19" fmla="*/ 8902 w 10039"/>
                <a:gd name="connsiteY19" fmla="*/ 2268 h 9136"/>
                <a:gd name="connsiteX20" fmla="*/ 7873 w 10039"/>
                <a:gd name="connsiteY20" fmla="*/ 57 h 9136"/>
                <a:gd name="connsiteX21" fmla="*/ 7309 w 10039"/>
                <a:gd name="connsiteY21" fmla="*/ 95 h 9136"/>
                <a:gd name="connsiteX22" fmla="*/ 7256 w 10039"/>
                <a:gd name="connsiteY22" fmla="*/ 1244 h 9136"/>
                <a:gd name="connsiteX23" fmla="*/ 6694 w 10039"/>
                <a:gd name="connsiteY23" fmla="*/ 2816 h 9136"/>
                <a:gd name="connsiteX24" fmla="*/ 5972 w 10039"/>
                <a:gd name="connsiteY24" fmla="*/ 1932 h 9136"/>
                <a:gd name="connsiteX25" fmla="*/ 5240 w 10039"/>
                <a:gd name="connsiteY25" fmla="*/ 3139 h 9136"/>
                <a:gd name="connsiteX26" fmla="*/ 3795 w 10039"/>
                <a:gd name="connsiteY26" fmla="*/ 3287 h 9136"/>
                <a:gd name="connsiteX27" fmla="*/ 2630 w 10039"/>
                <a:gd name="connsiteY27" fmla="*/ 2801 h 9136"/>
                <a:gd name="connsiteX28" fmla="*/ 1967 w 10039"/>
                <a:gd name="connsiteY28" fmla="*/ 2666 h 9136"/>
                <a:gd name="connsiteX0" fmla="*/ 1267 w 9308"/>
                <a:gd name="connsiteY0" fmla="*/ 2917 h 9999"/>
                <a:gd name="connsiteX1" fmla="*/ 25 w 9308"/>
                <a:gd name="connsiteY1" fmla="*/ 2137 h 9999"/>
                <a:gd name="connsiteX2" fmla="*/ 479 w 9308"/>
                <a:gd name="connsiteY2" fmla="*/ 3502 h 9999"/>
                <a:gd name="connsiteX3" fmla="*/ 1157 w 9308"/>
                <a:gd name="connsiteY3" fmla="*/ 5214 h 9999"/>
                <a:gd name="connsiteX4" fmla="*/ 2063 w 9308"/>
                <a:gd name="connsiteY4" fmla="*/ 5897 h 9999"/>
                <a:gd name="connsiteX5" fmla="*/ 3422 w 9308"/>
                <a:gd name="connsiteY5" fmla="*/ 7948 h 9999"/>
                <a:gd name="connsiteX6" fmla="*/ 3875 w 9308"/>
                <a:gd name="connsiteY6" fmla="*/ 8972 h 9999"/>
                <a:gd name="connsiteX7" fmla="*/ 5007 w 9308"/>
                <a:gd name="connsiteY7" fmla="*/ 8972 h 9999"/>
                <a:gd name="connsiteX8" fmla="*/ 5912 w 9308"/>
                <a:gd name="connsiteY8" fmla="*/ 9999 h 9999"/>
                <a:gd name="connsiteX9" fmla="*/ 7497 w 9308"/>
                <a:gd name="connsiteY9" fmla="*/ 9659 h 9999"/>
                <a:gd name="connsiteX10" fmla="*/ 8630 w 9308"/>
                <a:gd name="connsiteY10" fmla="*/ 8972 h 9999"/>
                <a:gd name="connsiteX11" fmla="*/ 9308 w 9308"/>
                <a:gd name="connsiteY11" fmla="*/ 8972 h 9999"/>
                <a:gd name="connsiteX12" fmla="*/ 9308 w 9308"/>
                <a:gd name="connsiteY12" fmla="*/ 8288 h 9999"/>
                <a:gd name="connsiteX13" fmla="*/ 8855 w 9308"/>
                <a:gd name="connsiteY13" fmla="*/ 7608 h 9999"/>
                <a:gd name="connsiteX14" fmla="*/ 8175 w 9308"/>
                <a:gd name="connsiteY14" fmla="*/ 6586 h 9999"/>
                <a:gd name="connsiteX15" fmla="*/ 7270 w 9308"/>
                <a:gd name="connsiteY15" fmla="*/ 5556 h 9999"/>
                <a:gd name="connsiteX16" fmla="*/ 7497 w 9308"/>
                <a:gd name="connsiteY16" fmla="*/ 4528 h 9999"/>
                <a:gd name="connsiteX17" fmla="*/ 7950 w 9308"/>
                <a:gd name="connsiteY17" fmla="*/ 4528 h 9999"/>
                <a:gd name="connsiteX18" fmla="*/ 8175 w 9308"/>
                <a:gd name="connsiteY18" fmla="*/ 2481 h 9999"/>
                <a:gd name="connsiteX19" fmla="*/ 7150 w 9308"/>
                <a:gd name="connsiteY19" fmla="*/ 61 h 9999"/>
                <a:gd name="connsiteX20" fmla="*/ 6589 w 9308"/>
                <a:gd name="connsiteY20" fmla="*/ 103 h 9999"/>
                <a:gd name="connsiteX21" fmla="*/ 6536 w 9308"/>
                <a:gd name="connsiteY21" fmla="*/ 1361 h 9999"/>
                <a:gd name="connsiteX22" fmla="*/ 5976 w 9308"/>
                <a:gd name="connsiteY22" fmla="*/ 3081 h 9999"/>
                <a:gd name="connsiteX23" fmla="*/ 5257 w 9308"/>
                <a:gd name="connsiteY23" fmla="*/ 2114 h 9999"/>
                <a:gd name="connsiteX24" fmla="*/ 4528 w 9308"/>
                <a:gd name="connsiteY24" fmla="*/ 3435 h 9999"/>
                <a:gd name="connsiteX25" fmla="*/ 3088 w 9308"/>
                <a:gd name="connsiteY25" fmla="*/ 3597 h 9999"/>
                <a:gd name="connsiteX26" fmla="*/ 1928 w 9308"/>
                <a:gd name="connsiteY26" fmla="*/ 3065 h 9999"/>
                <a:gd name="connsiteX27" fmla="*/ 1267 w 9308"/>
                <a:gd name="connsiteY27" fmla="*/ 2917 h 9999"/>
                <a:gd name="connsiteX0" fmla="*/ 847 w 9486"/>
                <a:gd name="connsiteY0" fmla="*/ 2917 h 10000"/>
                <a:gd name="connsiteX1" fmla="*/ 1 w 9486"/>
                <a:gd name="connsiteY1" fmla="*/ 3502 h 10000"/>
                <a:gd name="connsiteX2" fmla="*/ 729 w 9486"/>
                <a:gd name="connsiteY2" fmla="*/ 5215 h 10000"/>
                <a:gd name="connsiteX3" fmla="*/ 1702 w 9486"/>
                <a:gd name="connsiteY3" fmla="*/ 5898 h 10000"/>
                <a:gd name="connsiteX4" fmla="*/ 3162 w 9486"/>
                <a:gd name="connsiteY4" fmla="*/ 7949 h 10000"/>
                <a:gd name="connsiteX5" fmla="*/ 3649 w 9486"/>
                <a:gd name="connsiteY5" fmla="*/ 8973 h 10000"/>
                <a:gd name="connsiteX6" fmla="*/ 4865 w 9486"/>
                <a:gd name="connsiteY6" fmla="*/ 8973 h 10000"/>
                <a:gd name="connsiteX7" fmla="*/ 5838 w 9486"/>
                <a:gd name="connsiteY7" fmla="*/ 10000 h 10000"/>
                <a:gd name="connsiteX8" fmla="*/ 7540 w 9486"/>
                <a:gd name="connsiteY8" fmla="*/ 9660 h 10000"/>
                <a:gd name="connsiteX9" fmla="*/ 8758 w 9486"/>
                <a:gd name="connsiteY9" fmla="*/ 8973 h 10000"/>
                <a:gd name="connsiteX10" fmla="*/ 9486 w 9486"/>
                <a:gd name="connsiteY10" fmla="*/ 8973 h 10000"/>
                <a:gd name="connsiteX11" fmla="*/ 9486 w 9486"/>
                <a:gd name="connsiteY11" fmla="*/ 8289 h 10000"/>
                <a:gd name="connsiteX12" fmla="*/ 8999 w 9486"/>
                <a:gd name="connsiteY12" fmla="*/ 7609 h 10000"/>
                <a:gd name="connsiteX13" fmla="*/ 8269 w 9486"/>
                <a:gd name="connsiteY13" fmla="*/ 6587 h 10000"/>
                <a:gd name="connsiteX14" fmla="*/ 7296 w 9486"/>
                <a:gd name="connsiteY14" fmla="*/ 5557 h 10000"/>
                <a:gd name="connsiteX15" fmla="*/ 7540 w 9486"/>
                <a:gd name="connsiteY15" fmla="*/ 4528 h 10000"/>
                <a:gd name="connsiteX16" fmla="*/ 8027 w 9486"/>
                <a:gd name="connsiteY16" fmla="*/ 4528 h 10000"/>
                <a:gd name="connsiteX17" fmla="*/ 8269 w 9486"/>
                <a:gd name="connsiteY17" fmla="*/ 2481 h 10000"/>
                <a:gd name="connsiteX18" fmla="*/ 7168 w 9486"/>
                <a:gd name="connsiteY18" fmla="*/ 61 h 10000"/>
                <a:gd name="connsiteX19" fmla="*/ 6565 w 9486"/>
                <a:gd name="connsiteY19" fmla="*/ 103 h 10000"/>
                <a:gd name="connsiteX20" fmla="*/ 6508 w 9486"/>
                <a:gd name="connsiteY20" fmla="*/ 1361 h 10000"/>
                <a:gd name="connsiteX21" fmla="*/ 5906 w 9486"/>
                <a:gd name="connsiteY21" fmla="*/ 3081 h 10000"/>
                <a:gd name="connsiteX22" fmla="*/ 5134 w 9486"/>
                <a:gd name="connsiteY22" fmla="*/ 2114 h 10000"/>
                <a:gd name="connsiteX23" fmla="*/ 4351 w 9486"/>
                <a:gd name="connsiteY23" fmla="*/ 3435 h 10000"/>
                <a:gd name="connsiteX24" fmla="*/ 2804 w 9486"/>
                <a:gd name="connsiteY24" fmla="*/ 3597 h 10000"/>
                <a:gd name="connsiteX25" fmla="*/ 1557 w 9486"/>
                <a:gd name="connsiteY25" fmla="*/ 3065 h 10000"/>
                <a:gd name="connsiteX26" fmla="*/ 847 w 9486"/>
                <a:gd name="connsiteY26" fmla="*/ 2917 h 10000"/>
                <a:gd name="connsiteX0" fmla="*/ 893 w 10000"/>
                <a:gd name="connsiteY0" fmla="*/ 2917 h 10000"/>
                <a:gd name="connsiteX1" fmla="*/ 1 w 10000"/>
                <a:gd name="connsiteY1" fmla="*/ 3502 h 10000"/>
                <a:gd name="connsiteX2" fmla="*/ 769 w 10000"/>
                <a:gd name="connsiteY2" fmla="*/ 5215 h 10000"/>
                <a:gd name="connsiteX3" fmla="*/ 1794 w 10000"/>
                <a:gd name="connsiteY3" fmla="*/ 5898 h 10000"/>
                <a:gd name="connsiteX4" fmla="*/ 3333 w 10000"/>
                <a:gd name="connsiteY4" fmla="*/ 7949 h 10000"/>
                <a:gd name="connsiteX5" fmla="*/ 3847 w 10000"/>
                <a:gd name="connsiteY5" fmla="*/ 8973 h 10000"/>
                <a:gd name="connsiteX6" fmla="*/ 5129 w 10000"/>
                <a:gd name="connsiteY6" fmla="*/ 8973 h 10000"/>
                <a:gd name="connsiteX7" fmla="*/ 6154 w 10000"/>
                <a:gd name="connsiteY7" fmla="*/ 10000 h 10000"/>
                <a:gd name="connsiteX8" fmla="*/ 7949 w 10000"/>
                <a:gd name="connsiteY8" fmla="*/ 9660 h 10000"/>
                <a:gd name="connsiteX9" fmla="*/ 9233 w 10000"/>
                <a:gd name="connsiteY9" fmla="*/ 8973 h 10000"/>
                <a:gd name="connsiteX10" fmla="*/ 10000 w 10000"/>
                <a:gd name="connsiteY10" fmla="*/ 8973 h 10000"/>
                <a:gd name="connsiteX11" fmla="*/ 10000 w 10000"/>
                <a:gd name="connsiteY11" fmla="*/ 8289 h 10000"/>
                <a:gd name="connsiteX12" fmla="*/ 9487 w 10000"/>
                <a:gd name="connsiteY12" fmla="*/ 7609 h 10000"/>
                <a:gd name="connsiteX13" fmla="*/ 8717 w 10000"/>
                <a:gd name="connsiteY13" fmla="*/ 6587 h 10000"/>
                <a:gd name="connsiteX14" fmla="*/ 7691 w 10000"/>
                <a:gd name="connsiteY14" fmla="*/ 5557 h 10000"/>
                <a:gd name="connsiteX15" fmla="*/ 7949 w 10000"/>
                <a:gd name="connsiteY15" fmla="*/ 4528 h 10000"/>
                <a:gd name="connsiteX16" fmla="*/ 8462 w 10000"/>
                <a:gd name="connsiteY16" fmla="*/ 4528 h 10000"/>
                <a:gd name="connsiteX17" fmla="*/ 8717 w 10000"/>
                <a:gd name="connsiteY17" fmla="*/ 2481 h 10000"/>
                <a:gd name="connsiteX18" fmla="*/ 7556 w 10000"/>
                <a:gd name="connsiteY18" fmla="*/ 61 h 10000"/>
                <a:gd name="connsiteX19" fmla="*/ 6921 w 10000"/>
                <a:gd name="connsiteY19" fmla="*/ 103 h 10000"/>
                <a:gd name="connsiteX20" fmla="*/ 6861 w 10000"/>
                <a:gd name="connsiteY20" fmla="*/ 1361 h 10000"/>
                <a:gd name="connsiteX21" fmla="*/ 6226 w 10000"/>
                <a:gd name="connsiteY21" fmla="*/ 3081 h 10000"/>
                <a:gd name="connsiteX22" fmla="*/ 5412 w 10000"/>
                <a:gd name="connsiteY22" fmla="*/ 2114 h 10000"/>
                <a:gd name="connsiteX23" fmla="*/ 4587 w 10000"/>
                <a:gd name="connsiteY23" fmla="*/ 3435 h 10000"/>
                <a:gd name="connsiteX24" fmla="*/ 2956 w 10000"/>
                <a:gd name="connsiteY24" fmla="*/ 3597 h 10000"/>
                <a:gd name="connsiteX25" fmla="*/ 1641 w 10000"/>
                <a:gd name="connsiteY25" fmla="*/ 3065 h 10000"/>
                <a:gd name="connsiteX26" fmla="*/ 893 w 10000"/>
                <a:gd name="connsiteY26" fmla="*/ 2917 h 10000"/>
                <a:gd name="connsiteX0" fmla="*/ 893 w 10000"/>
                <a:gd name="connsiteY0" fmla="*/ 2917 h 10000"/>
                <a:gd name="connsiteX1" fmla="*/ 1 w 10000"/>
                <a:gd name="connsiteY1" fmla="*/ 3502 h 10000"/>
                <a:gd name="connsiteX2" fmla="*/ 769 w 10000"/>
                <a:gd name="connsiteY2" fmla="*/ 5215 h 10000"/>
                <a:gd name="connsiteX3" fmla="*/ 1794 w 10000"/>
                <a:gd name="connsiteY3" fmla="*/ 5898 h 10000"/>
                <a:gd name="connsiteX4" fmla="*/ 3333 w 10000"/>
                <a:gd name="connsiteY4" fmla="*/ 7949 h 10000"/>
                <a:gd name="connsiteX5" fmla="*/ 3847 w 10000"/>
                <a:gd name="connsiteY5" fmla="*/ 8973 h 10000"/>
                <a:gd name="connsiteX6" fmla="*/ 5129 w 10000"/>
                <a:gd name="connsiteY6" fmla="*/ 8973 h 10000"/>
                <a:gd name="connsiteX7" fmla="*/ 6154 w 10000"/>
                <a:gd name="connsiteY7" fmla="*/ 10000 h 10000"/>
                <a:gd name="connsiteX8" fmla="*/ 7949 w 10000"/>
                <a:gd name="connsiteY8" fmla="*/ 9660 h 10000"/>
                <a:gd name="connsiteX9" fmla="*/ 9233 w 10000"/>
                <a:gd name="connsiteY9" fmla="*/ 8973 h 10000"/>
                <a:gd name="connsiteX10" fmla="*/ 10000 w 10000"/>
                <a:gd name="connsiteY10" fmla="*/ 8973 h 10000"/>
                <a:gd name="connsiteX11" fmla="*/ 10000 w 10000"/>
                <a:gd name="connsiteY11" fmla="*/ 8289 h 10000"/>
                <a:gd name="connsiteX12" fmla="*/ 9487 w 10000"/>
                <a:gd name="connsiteY12" fmla="*/ 7609 h 10000"/>
                <a:gd name="connsiteX13" fmla="*/ 8717 w 10000"/>
                <a:gd name="connsiteY13" fmla="*/ 6587 h 10000"/>
                <a:gd name="connsiteX14" fmla="*/ 7691 w 10000"/>
                <a:gd name="connsiteY14" fmla="*/ 5557 h 10000"/>
                <a:gd name="connsiteX15" fmla="*/ 7949 w 10000"/>
                <a:gd name="connsiteY15" fmla="*/ 4528 h 10000"/>
                <a:gd name="connsiteX16" fmla="*/ 8462 w 10000"/>
                <a:gd name="connsiteY16" fmla="*/ 4528 h 10000"/>
                <a:gd name="connsiteX17" fmla="*/ 8717 w 10000"/>
                <a:gd name="connsiteY17" fmla="*/ 2481 h 10000"/>
                <a:gd name="connsiteX18" fmla="*/ 7556 w 10000"/>
                <a:gd name="connsiteY18" fmla="*/ 61 h 10000"/>
                <a:gd name="connsiteX19" fmla="*/ 6921 w 10000"/>
                <a:gd name="connsiteY19" fmla="*/ 103 h 10000"/>
                <a:gd name="connsiteX20" fmla="*/ 6861 w 10000"/>
                <a:gd name="connsiteY20" fmla="*/ 1361 h 10000"/>
                <a:gd name="connsiteX21" fmla="*/ 6226 w 10000"/>
                <a:gd name="connsiteY21" fmla="*/ 3081 h 10000"/>
                <a:gd name="connsiteX22" fmla="*/ 5412 w 10000"/>
                <a:gd name="connsiteY22" fmla="*/ 2114 h 10000"/>
                <a:gd name="connsiteX23" fmla="*/ 4587 w 10000"/>
                <a:gd name="connsiteY23" fmla="*/ 3435 h 10000"/>
                <a:gd name="connsiteX24" fmla="*/ 2956 w 10000"/>
                <a:gd name="connsiteY24" fmla="*/ 3597 h 10000"/>
                <a:gd name="connsiteX25" fmla="*/ 1641 w 10000"/>
                <a:gd name="connsiteY25" fmla="*/ 3065 h 10000"/>
                <a:gd name="connsiteX26" fmla="*/ 893 w 10000"/>
                <a:gd name="connsiteY26" fmla="*/ 2917 h 10000"/>
                <a:gd name="connsiteX0" fmla="*/ 893 w 10000"/>
                <a:gd name="connsiteY0" fmla="*/ 2917 h 10000"/>
                <a:gd name="connsiteX1" fmla="*/ 1 w 10000"/>
                <a:gd name="connsiteY1" fmla="*/ 3502 h 10000"/>
                <a:gd name="connsiteX2" fmla="*/ 769 w 10000"/>
                <a:gd name="connsiteY2" fmla="*/ 5215 h 10000"/>
                <a:gd name="connsiteX3" fmla="*/ 1794 w 10000"/>
                <a:gd name="connsiteY3" fmla="*/ 5898 h 10000"/>
                <a:gd name="connsiteX4" fmla="*/ 3333 w 10000"/>
                <a:gd name="connsiteY4" fmla="*/ 7949 h 10000"/>
                <a:gd name="connsiteX5" fmla="*/ 3847 w 10000"/>
                <a:gd name="connsiteY5" fmla="*/ 8973 h 10000"/>
                <a:gd name="connsiteX6" fmla="*/ 5129 w 10000"/>
                <a:gd name="connsiteY6" fmla="*/ 8973 h 10000"/>
                <a:gd name="connsiteX7" fmla="*/ 6154 w 10000"/>
                <a:gd name="connsiteY7" fmla="*/ 10000 h 10000"/>
                <a:gd name="connsiteX8" fmla="*/ 7949 w 10000"/>
                <a:gd name="connsiteY8" fmla="*/ 9660 h 10000"/>
                <a:gd name="connsiteX9" fmla="*/ 9233 w 10000"/>
                <a:gd name="connsiteY9" fmla="*/ 8973 h 10000"/>
                <a:gd name="connsiteX10" fmla="*/ 10000 w 10000"/>
                <a:gd name="connsiteY10" fmla="*/ 8973 h 10000"/>
                <a:gd name="connsiteX11" fmla="*/ 10000 w 10000"/>
                <a:gd name="connsiteY11" fmla="*/ 8289 h 10000"/>
                <a:gd name="connsiteX12" fmla="*/ 9487 w 10000"/>
                <a:gd name="connsiteY12" fmla="*/ 7609 h 10000"/>
                <a:gd name="connsiteX13" fmla="*/ 8717 w 10000"/>
                <a:gd name="connsiteY13" fmla="*/ 6587 h 10000"/>
                <a:gd name="connsiteX14" fmla="*/ 7691 w 10000"/>
                <a:gd name="connsiteY14" fmla="*/ 5557 h 10000"/>
                <a:gd name="connsiteX15" fmla="*/ 7949 w 10000"/>
                <a:gd name="connsiteY15" fmla="*/ 4528 h 10000"/>
                <a:gd name="connsiteX16" fmla="*/ 8462 w 10000"/>
                <a:gd name="connsiteY16" fmla="*/ 4528 h 10000"/>
                <a:gd name="connsiteX17" fmla="*/ 8717 w 10000"/>
                <a:gd name="connsiteY17" fmla="*/ 2481 h 10000"/>
                <a:gd name="connsiteX18" fmla="*/ 7556 w 10000"/>
                <a:gd name="connsiteY18" fmla="*/ 61 h 10000"/>
                <a:gd name="connsiteX19" fmla="*/ 6921 w 10000"/>
                <a:gd name="connsiteY19" fmla="*/ 103 h 10000"/>
                <a:gd name="connsiteX20" fmla="*/ 6861 w 10000"/>
                <a:gd name="connsiteY20" fmla="*/ 1361 h 10000"/>
                <a:gd name="connsiteX21" fmla="*/ 6226 w 10000"/>
                <a:gd name="connsiteY21" fmla="*/ 3081 h 10000"/>
                <a:gd name="connsiteX22" fmla="*/ 5412 w 10000"/>
                <a:gd name="connsiteY22" fmla="*/ 2114 h 10000"/>
                <a:gd name="connsiteX23" fmla="*/ 4587 w 10000"/>
                <a:gd name="connsiteY23" fmla="*/ 3435 h 10000"/>
                <a:gd name="connsiteX24" fmla="*/ 2956 w 10000"/>
                <a:gd name="connsiteY24" fmla="*/ 3597 h 10000"/>
                <a:gd name="connsiteX25" fmla="*/ 1641 w 10000"/>
                <a:gd name="connsiteY25" fmla="*/ 3065 h 10000"/>
                <a:gd name="connsiteX26" fmla="*/ 893 w 10000"/>
                <a:gd name="connsiteY26" fmla="*/ 2917 h 10000"/>
                <a:gd name="connsiteX0" fmla="*/ 893 w 10000"/>
                <a:gd name="connsiteY0" fmla="*/ 2917 h 10000"/>
                <a:gd name="connsiteX1" fmla="*/ 1 w 10000"/>
                <a:gd name="connsiteY1" fmla="*/ 3502 h 10000"/>
                <a:gd name="connsiteX2" fmla="*/ 769 w 10000"/>
                <a:gd name="connsiteY2" fmla="*/ 5215 h 10000"/>
                <a:gd name="connsiteX3" fmla="*/ 1794 w 10000"/>
                <a:gd name="connsiteY3" fmla="*/ 5898 h 10000"/>
                <a:gd name="connsiteX4" fmla="*/ 3333 w 10000"/>
                <a:gd name="connsiteY4" fmla="*/ 7949 h 10000"/>
                <a:gd name="connsiteX5" fmla="*/ 3847 w 10000"/>
                <a:gd name="connsiteY5" fmla="*/ 8973 h 10000"/>
                <a:gd name="connsiteX6" fmla="*/ 5129 w 10000"/>
                <a:gd name="connsiteY6" fmla="*/ 8973 h 10000"/>
                <a:gd name="connsiteX7" fmla="*/ 6154 w 10000"/>
                <a:gd name="connsiteY7" fmla="*/ 10000 h 10000"/>
                <a:gd name="connsiteX8" fmla="*/ 7949 w 10000"/>
                <a:gd name="connsiteY8" fmla="*/ 9660 h 10000"/>
                <a:gd name="connsiteX9" fmla="*/ 9233 w 10000"/>
                <a:gd name="connsiteY9" fmla="*/ 8973 h 10000"/>
                <a:gd name="connsiteX10" fmla="*/ 10000 w 10000"/>
                <a:gd name="connsiteY10" fmla="*/ 8973 h 10000"/>
                <a:gd name="connsiteX11" fmla="*/ 10000 w 10000"/>
                <a:gd name="connsiteY11" fmla="*/ 8289 h 10000"/>
                <a:gd name="connsiteX12" fmla="*/ 9487 w 10000"/>
                <a:gd name="connsiteY12" fmla="*/ 7609 h 10000"/>
                <a:gd name="connsiteX13" fmla="*/ 8717 w 10000"/>
                <a:gd name="connsiteY13" fmla="*/ 6587 h 10000"/>
                <a:gd name="connsiteX14" fmla="*/ 7691 w 10000"/>
                <a:gd name="connsiteY14" fmla="*/ 5557 h 10000"/>
                <a:gd name="connsiteX15" fmla="*/ 7949 w 10000"/>
                <a:gd name="connsiteY15" fmla="*/ 4528 h 10000"/>
                <a:gd name="connsiteX16" fmla="*/ 8462 w 10000"/>
                <a:gd name="connsiteY16" fmla="*/ 4528 h 10000"/>
                <a:gd name="connsiteX17" fmla="*/ 8717 w 10000"/>
                <a:gd name="connsiteY17" fmla="*/ 2481 h 10000"/>
                <a:gd name="connsiteX18" fmla="*/ 7556 w 10000"/>
                <a:gd name="connsiteY18" fmla="*/ 61 h 10000"/>
                <a:gd name="connsiteX19" fmla="*/ 6921 w 10000"/>
                <a:gd name="connsiteY19" fmla="*/ 103 h 10000"/>
                <a:gd name="connsiteX20" fmla="*/ 6861 w 10000"/>
                <a:gd name="connsiteY20" fmla="*/ 1361 h 10000"/>
                <a:gd name="connsiteX21" fmla="*/ 6226 w 10000"/>
                <a:gd name="connsiteY21" fmla="*/ 3081 h 10000"/>
                <a:gd name="connsiteX22" fmla="*/ 5412 w 10000"/>
                <a:gd name="connsiteY22" fmla="*/ 2114 h 10000"/>
                <a:gd name="connsiteX23" fmla="*/ 4587 w 10000"/>
                <a:gd name="connsiteY23" fmla="*/ 3435 h 10000"/>
                <a:gd name="connsiteX24" fmla="*/ 2956 w 10000"/>
                <a:gd name="connsiteY24" fmla="*/ 3597 h 10000"/>
                <a:gd name="connsiteX25" fmla="*/ 1641 w 10000"/>
                <a:gd name="connsiteY25" fmla="*/ 3065 h 10000"/>
                <a:gd name="connsiteX26" fmla="*/ 893 w 10000"/>
                <a:gd name="connsiteY26" fmla="*/ 2917 h 10000"/>
                <a:gd name="connsiteX0" fmla="*/ 893 w 10000"/>
                <a:gd name="connsiteY0" fmla="*/ 2818 h 9901"/>
                <a:gd name="connsiteX1" fmla="*/ 1 w 10000"/>
                <a:gd name="connsiteY1" fmla="*/ 3403 h 9901"/>
                <a:gd name="connsiteX2" fmla="*/ 769 w 10000"/>
                <a:gd name="connsiteY2" fmla="*/ 5116 h 9901"/>
                <a:gd name="connsiteX3" fmla="*/ 1794 w 10000"/>
                <a:gd name="connsiteY3" fmla="*/ 5799 h 9901"/>
                <a:gd name="connsiteX4" fmla="*/ 3333 w 10000"/>
                <a:gd name="connsiteY4" fmla="*/ 7850 h 9901"/>
                <a:gd name="connsiteX5" fmla="*/ 3847 w 10000"/>
                <a:gd name="connsiteY5" fmla="*/ 8874 h 9901"/>
                <a:gd name="connsiteX6" fmla="*/ 5129 w 10000"/>
                <a:gd name="connsiteY6" fmla="*/ 8874 h 9901"/>
                <a:gd name="connsiteX7" fmla="*/ 6154 w 10000"/>
                <a:gd name="connsiteY7" fmla="*/ 9901 h 9901"/>
                <a:gd name="connsiteX8" fmla="*/ 7949 w 10000"/>
                <a:gd name="connsiteY8" fmla="*/ 9561 h 9901"/>
                <a:gd name="connsiteX9" fmla="*/ 9233 w 10000"/>
                <a:gd name="connsiteY9" fmla="*/ 8874 h 9901"/>
                <a:gd name="connsiteX10" fmla="*/ 10000 w 10000"/>
                <a:gd name="connsiteY10" fmla="*/ 8874 h 9901"/>
                <a:gd name="connsiteX11" fmla="*/ 10000 w 10000"/>
                <a:gd name="connsiteY11" fmla="*/ 8190 h 9901"/>
                <a:gd name="connsiteX12" fmla="*/ 9487 w 10000"/>
                <a:gd name="connsiteY12" fmla="*/ 7510 h 9901"/>
                <a:gd name="connsiteX13" fmla="*/ 8717 w 10000"/>
                <a:gd name="connsiteY13" fmla="*/ 6488 h 9901"/>
                <a:gd name="connsiteX14" fmla="*/ 7691 w 10000"/>
                <a:gd name="connsiteY14" fmla="*/ 5458 h 9901"/>
                <a:gd name="connsiteX15" fmla="*/ 7949 w 10000"/>
                <a:gd name="connsiteY15" fmla="*/ 4429 h 9901"/>
                <a:gd name="connsiteX16" fmla="*/ 8462 w 10000"/>
                <a:gd name="connsiteY16" fmla="*/ 4429 h 9901"/>
                <a:gd name="connsiteX17" fmla="*/ 8717 w 10000"/>
                <a:gd name="connsiteY17" fmla="*/ 2382 h 9901"/>
                <a:gd name="connsiteX18" fmla="*/ 7868 w 10000"/>
                <a:gd name="connsiteY18" fmla="*/ 1635 h 9901"/>
                <a:gd name="connsiteX19" fmla="*/ 6921 w 10000"/>
                <a:gd name="connsiteY19" fmla="*/ 4 h 9901"/>
                <a:gd name="connsiteX20" fmla="*/ 6861 w 10000"/>
                <a:gd name="connsiteY20" fmla="*/ 1262 h 9901"/>
                <a:gd name="connsiteX21" fmla="*/ 6226 w 10000"/>
                <a:gd name="connsiteY21" fmla="*/ 2982 h 9901"/>
                <a:gd name="connsiteX22" fmla="*/ 5412 w 10000"/>
                <a:gd name="connsiteY22" fmla="*/ 2015 h 9901"/>
                <a:gd name="connsiteX23" fmla="*/ 4587 w 10000"/>
                <a:gd name="connsiteY23" fmla="*/ 3336 h 9901"/>
                <a:gd name="connsiteX24" fmla="*/ 2956 w 10000"/>
                <a:gd name="connsiteY24" fmla="*/ 3498 h 9901"/>
                <a:gd name="connsiteX25" fmla="*/ 1641 w 10000"/>
                <a:gd name="connsiteY25" fmla="*/ 2966 h 9901"/>
                <a:gd name="connsiteX26" fmla="*/ 893 w 10000"/>
                <a:gd name="connsiteY26" fmla="*/ 2818 h 9901"/>
                <a:gd name="connsiteX0" fmla="*/ 893 w 10000"/>
                <a:gd name="connsiteY0" fmla="*/ 3055 h 10209"/>
                <a:gd name="connsiteX1" fmla="*/ 1 w 10000"/>
                <a:gd name="connsiteY1" fmla="*/ 3646 h 10209"/>
                <a:gd name="connsiteX2" fmla="*/ 769 w 10000"/>
                <a:gd name="connsiteY2" fmla="*/ 5376 h 10209"/>
                <a:gd name="connsiteX3" fmla="*/ 1794 w 10000"/>
                <a:gd name="connsiteY3" fmla="*/ 6066 h 10209"/>
                <a:gd name="connsiteX4" fmla="*/ 3333 w 10000"/>
                <a:gd name="connsiteY4" fmla="*/ 8137 h 10209"/>
                <a:gd name="connsiteX5" fmla="*/ 3847 w 10000"/>
                <a:gd name="connsiteY5" fmla="*/ 9172 h 10209"/>
                <a:gd name="connsiteX6" fmla="*/ 5129 w 10000"/>
                <a:gd name="connsiteY6" fmla="*/ 9172 h 10209"/>
                <a:gd name="connsiteX7" fmla="*/ 6154 w 10000"/>
                <a:gd name="connsiteY7" fmla="*/ 10209 h 10209"/>
                <a:gd name="connsiteX8" fmla="*/ 7949 w 10000"/>
                <a:gd name="connsiteY8" fmla="*/ 9866 h 10209"/>
                <a:gd name="connsiteX9" fmla="*/ 9233 w 10000"/>
                <a:gd name="connsiteY9" fmla="*/ 9172 h 10209"/>
                <a:gd name="connsiteX10" fmla="*/ 10000 w 10000"/>
                <a:gd name="connsiteY10" fmla="*/ 9172 h 10209"/>
                <a:gd name="connsiteX11" fmla="*/ 10000 w 10000"/>
                <a:gd name="connsiteY11" fmla="*/ 8481 h 10209"/>
                <a:gd name="connsiteX12" fmla="*/ 9487 w 10000"/>
                <a:gd name="connsiteY12" fmla="*/ 7794 h 10209"/>
                <a:gd name="connsiteX13" fmla="*/ 8717 w 10000"/>
                <a:gd name="connsiteY13" fmla="*/ 6762 h 10209"/>
                <a:gd name="connsiteX14" fmla="*/ 7691 w 10000"/>
                <a:gd name="connsiteY14" fmla="*/ 5722 h 10209"/>
                <a:gd name="connsiteX15" fmla="*/ 7949 w 10000"/>
                <a:gd name="connsiteY15" fmla="*/ 4682 h 10209"/>
                <a:gd name="connsiteX16" fmla="*/ 8462 w 10000"/>
                <a:gd name="connsiteY16" fmla="*/ 4682 h 10209"/>
                <a:gd name="connsiteX17" fmla="*/ 8717 w 10000"/>
                <a:gd name="connsiteY17" fmla="*/ 2615 h 10209"/>
                <a:gd name="connsiteX18" fmla="*/ 7868 w 10000"/>
                <a:gd name="connsiteY18" fmla="*/ 1860 h 10209"/>
                <a:gd name="connsiteX19" fmla="*/ 7546 w 10000"/>
                <a:gd name="connsiteY19" fmla="*/ 2 h 10209"/>
                <a:gd name="connsiteX20" fmla="*/ 6861 w 10000"/>
                <a:gd name="connsiteY20" fmla="*/ 1484 h 10209"/>
                <a:gd name="connsiteX21" fmla="*/ 6226 w 10000"/>
                <a:gd name="connsiteY21" fmla="*/ 3221 h 10209"/>
                <a:gd name="connsiteX22" fmla="*/ 5412 w 10000"/>
                <a:gd name="connsiteY22" fmla="*/ 2244 h 10209"/>
                <a:gd name="connsiteX23" fmla="*/ 4587 w 10000"/>
                <a:gd name="connsiteY23" fmla="*/ 3578 h 10209"/>
                <a:gd name="connsiteX24" fmla="*/ 2956 w 10000"/>
                <a:gd name="connsiteY24" fmla="*/ 3742 h 10209"/>
                <a:gd name="connsiteX25" fmla="*/ 1641 w 10000"/>
                <a:gd name="connsiteY25" fmla="*/ 3205 h 10209"/>
                <a:gd name="connsiteX26" fmla="*/ 893 w 10000"/>
                <a:gd name="connsiteY26" fmla="*/ 3055 h 10209"/>
                <a:gd name="connsiteX0" fmla="*/ 893 w 10000"/>
                <a:gd name="connsiteY0" fmla="*/ 3309 h 10463"/>
                <a:gd name="connsiteX1" fmla="*/ 1 w 10000"/>
                <a:gd name="connsiteY1" fmla="*/ 3900 h 10463"/>
                <a:gd name="connsiteX2" fmla="*/ 769 w 10000"/>
                <a:gd name="connsiteY2" fmla="*/ 5630 h 10463"/>
                <a:gd name="connsiteX3" fmla="*/ 1794 w 10000"/>
                <a:gd name="connsiteY3" fmla="*/ 6320 h 10463"/>
                <a:gd name="connsiteX4" fmla="*/ 3333 w 10000"/>
                <a:gd name="connsiteY4" fmla="*/ 8391 h 10463"/>
                <a:gd name="connsiteX5" fmla="*/ 3847 w 10000"/>
                <a:gd name="connsiteY5" fmla="*/ 9426 h 10463"/>
                <a:gd name="connsiteX6" fmla="*/ 5129 w 10000"/>
                <a:gd name="connsiteY6" fmla="*/ 9426 h 10463"/>
                <a:gd name="connsiteX7" fmla="*/ 6154 w 10000"/>
                <a:gd name="connsiteY7" fmla="*/ 10463 h 10463"/>
                <a:gd name="connsiteX8" fmla="*/ 7949 w 10000"/>
                <a:gd name="connsiteY8" fmla="*/ 10120 h 10463"/>
                <a:gd name="connsiteX9" fmla="*/ 9233 w 10000"/>
                <a:gd name="connsiteY9" fmla="*/ 9426 h 10463"/>
                <a:gd name="connsiteX10" fmla="*/ 10000 w 10000"/>
                <a:gd name="connsiteY10" fmla="*/ 9426 h 10463"/>
                <a:gd name="connsiteX11" fmla="*/ 10000 w 10000"/>
                <a:gd name="connsiteY11" fmla="*/ 8735 h 10463"/>
                <a:gd name="connsiteX12" fmla="*/ 9487 w 10000"/>
                <a:gd name="connsiteY12" fmla="*/ 8048 h 10463"/>
                <a:gd name="connsiteX13" fmla="*/ 8717 w 10000"/>
                <a:gd name="connsiteY13" fmla="*/ 7016 h 10463"/>
                <a:gd name="connsiteX14" fmla="*/ 7691 w 10000"/>
                <a:gd name="connsiteY14" fmla="*/ 5976 h 10463"/>
                <a:gd name="connsiteX15" fmla="*/ 7949 w 10000"/>
                <a:gd name="connsiteY15" fmla="*/ 4936 h 10463"/>
                <a:gd name="connsiteX16" fmla="*/ 8462 w 10000"/>
                <a:gd name="connsiteY16" fmla="*/ 4936 h 10463"/>
                <a:gd name="connsiteX17" fmla="*/ 8717 w 10000"/>
                <a:gd name="connsiteY17" fmla="*/ 2869 h 10463"/>
                <a:gd name="connsiteX18" fmla="*/ 7868 w 10000"/>
                <a:gd name="connsiteY18" fmla="*/ 2114 h 10463"/>
                <a:gd name="connsiteX19" fmla="*/ 7546 w 10000"/>
                <a:gd name="connsiteY19" fmla="*/ 256 h 10463"/>
                <a:gd name="connsiteX20" fmla="*/ 6939 w 10000"/>
                <a:gd name="connsiteY20" fmla="*/ 365 h 10463"/>
                <a:gd name="connsiteX21" fmla="*/ 6226 w 10000"/>
                <a:gd name="connsiteY21" fmla="*/ 3475 h 10463"/>
                <a:gd name="connsiteX22" fmla="*/ 5412 w 10000"/>
                <a:gd name="connsiteY22" fmla="*/ 2498 h 10463"/>
                <a:gd name="connsiteX23" fmla="*/ 4587 w 10000"/>
                <a:gd name="connsiteY23" fmla="*/ 3832 h 10463"/>
                <a:gd name="connsiteX24" fmla="*/ 2956 w 10000"/>
                <a:gd name="connsiteY24" fmla="*/ 3996 h 10463"/>
                <a:gd name="connsiteX25" fmla="*/ 1641 w 10000"/>
                <a:gd name="connsiteY25" fmla="*/ 3459 h 10463"/>
                <a:gd name="connsiteX26" fmla="*/ 893 w 10000"/>
                <a:gd name="connsiteY26" fmla="*/ 3309 h 10463"/>
                <a:gd name="connsiteX0" fmla="*/ 893 w 10000"/>
                <a:gd name="connsiteY0" fmla="*/ 3139 h 10293"/>
                <a:gd name="connsiteX1" fmla="*/ 1 w 10000"/>
                <a:gd name="connsiteY1" fmla="*/ 3730 h 10293"/>
                <a:gd name="connsiteX2" fmla="*/ 769 w 10000"/>
                <a:gd name="connsiteY2" fmla="*/ 5460 h 10293"/>
                <a:gd name="connsiteX3" fmla="*/ 1794 w 10000"/>
                <a:gd name="connsiteY3" fmla="*/ 6150 h 10293"/>
                <a:gd name="connsiteX4" fmla="*/ 3333 w 10000"/>
                <a:gd name="connsiteY4" fmla="*/ 8221 h 10293"/>
                <a:gd name="connsiteX5" fmla="*/ 3847 w 10000"/>
                <a:gd name="connsiteY5" fmla="*/ 9256 h 10293"/>
                <a:gd name="connsiteX6" fmla="*/ 5129 w 10000"/>
                <a:gd name="connsiteY6" fmla="*/ 9256 h 10293"/>
                <a:gd name="connsiteX7" fmla="*/ 6154 w 10000"/>
                <a:gd name="connsiteY7" fmla="*/ 10293 h 10293"/>
                <a:gd name="connsiteX8" fmla="*/ 7949 w 10000"/>
                <a:gd name="connsiteY8" fmla="*/ 9950 h 10293"/>
                <a:gd name="connsiteX9" fmla="*/ 9233 w 10000"/>
                <a:gd name="connsiteY9" fmla="*/ 9256 h 10293"/>
                <a:gd name="connsiteX10" fmla="*/ 10000 w 10000"/>
                <a:gd name="connsiteY10" fmla="*/ 9256 h 10293"/>
                <a:gd name="connsiteX11" fmla="*/ 10000 w 10000"/>
                <a:gd name="connsiteY11" fmla="*/ 8565 h 10293"/>
                <a:gd name="connsiteX12" fmla="*/ 9487 w 10000"/>
                <a:gd name="connsiteY12" fmla="*/ 7878 h 10293"/>
                <a:gd name="connsiteX13" fmla="*/ 8717 w 10000"/>
                <a:gd name="connsiteY13" fmla="*/ 6846 h 10293"/>
                <a:gd name="connsiteX14" fmla="*/ 7691 w 10000"/>
                <a:gd name="connsiteY14" fmla="*/ 5806 h 10293"/>
                <a:gd name="connsiteX15" fmla="*/ 7949 w 10000"/>
                <a:gd name="connsiteY15" fmla="*/ 4766 h 10293"/>
                <a:gd name="connsiteX16" fmla="*/ 8462 w 10000"/>
                <a:gd name="connsiteY16" fmla="*/ 4766 h 10293"/>
                <a:gd name="connsiteX17" fmla="*/ 8717 w 10000"/>
                <a:gd name="connsiteY17" fmla="*/ 2699 h 10293"/>
                <a:gd name="connsiteX18" fmla="*/ 7868 w 10000"/>
                <a:gd name="connsiteY18" fmla="*/ 1944 h 10293"/>
                <a:gd name="connsiteX19" fmla="*/ 7546 w 10000"/>
                <a:gd name="connsiteY19" fmla="*/ 86 h 10293"/>
                <a:gd name="connsiteX20" fmla="*/ 6939 w 10000"/>
                <a:gd name="connsiteY20" fmla="*/ 617 h 10293"/>
                <a:gd name="connsiteX21" fmla="*/ 6226 w 10000"/>
                <a:gd name="connsiteY21" fmla="*/ 3305 h 10293"/>
                <a:gd name="connsiteX22" fmla="*/ 5412 w 10000"/>
                <a:gd name="connsiteY22" fmla="*/ 2328 h 10293"/>
                <a:gd name="connsiteX23" fmla="*/ 4587 w 10000"/>
                <a:gd name="connsiteY23" fmla="*/ 3662 h 10293"/>
                <a:gd name="connsiteX24" fmla="*/ 2956 w 10000"/>
                <a:gd name="connsiteY24" fmla="*/ 3826 h 10293"/>
                <a:gd name="connsiteX25" fmla="*/ 1641 w 10000"/>
                <a:gd name="connsiteY25" fmla="*/ 3289 h 10293"/>
                <a:gd name="connsiteX26" fmla="*/ 893 w 10000"/>
                <a:gd name="connsiteY26" fmla="*/ 3139 h 10293"/>
                <a:gd name="connsiteX0" fmla="*/ 893 w 10000"/>
                <a:gd name="connsiteY0" fmla="*/ 2835 h 9989"/>
                <a:gd name="connsiteX1" fmla="*/ 1 w 10000"/>
                <a:gd name="connsiteY1" fmla="*/ 3426 h 9989"/>
                <a:gd name="connsiteX2" fmla="*/ 769 w 10000"/>
                <a:gd name="connsiteY2" fmla="*/ 5156 h 9989"/>
                <a:gd name="connsiteX3" fmla="*/ 1794 w 10000"/>
                <a:gd name="connsiteY3" fmla="*/ 5846 h 9989"/>
                <a:gd name="connsiteX4" fmla="*/ 3333 w 10000"/>
                <a:gd name="connsiteY4" fmla="*/ 7917 h 9989"/>
                <a:gd name="connsiteX5" fmla="*/ 3847 w 10000"/>
                <a:gd name="connsiteY5" fmla="*/ 8952 h 9989"/>
                <a:gd name="connsiteX6" fmla="*/ 5129 w 10000"/>
                <a:gd name="connsiteY6" fmla="*/ 8952 h 9989"/>
                <a:gd name="connsiteX7" fmla="*/ 6154 w 10000"/>
                <a:gd name="connsiteY7" fmla="*/ 9989 h 9989"/>
                <a:gd name="connsiteX8" fmla="*/ 7949 w 10000"/>
                <a:gd name="connsiteY8" fmla="*/ 9646 h 9989"/>
                <a:gd name="connsiteX9" fmla="*/ 9233 w 10000"/>
                <a:gd name="connsiteY9" fmla="*/ 8952 h 9989"/>
                <a:gd name="connsiteX10" fmla="*/ 10000 w 10000"/>
                <a:gd name="connsiteY10" fmla="*/ 8952 h 9989"/>
                <a:gd name="connsiteX11" fmla="*/ 10000 w 10000"/>
                <a:gd name="connsiteY11" fmla="*/ 8261 h 9989"/>
                <a:gd name="connsiteX12" fmla="*/ 9487 w 10000"/>
                <a:gd name="connsiteY12" fmla="*/ 7574 h 9989"/>
                <a:gd name="connsiteX13" fmla="*/ 8717 w 10000"/>
                <a:gd name="connsiteY13" fmla="*/ 6542 h 9989"/>
                <a:gd name="connsiteX14" fmla="*/ 7691 w 10000"/>
                <a:gd name="connsiteY14" fmla="*/ 5502 h 9989"/>
                <a:gd name="connsiteX15" fmla="*/ 7949 w 10000"/>
                <a:gd name="connsiteY15" fmla="*/ 4462 h 9989"/>
                <a:gd name="connsiteX16" fmla="*/ 8462 w 10000"/>
                <a:gd name="connsiteY16" fmla="*/ 4462 h 9989"/>
                <a:gd name="connsiteX17" fmla="*/ 8717 w 10000"/>
                <a:gd name="connsiteY17" fmla="*/ 2395 h 9989"/>
                <a:gd name="connsiteX18" fmla="*/ 7868 w 10000"/>
                <a:gd name="connsiteY18" fmla="*/ 1640 h 9989"/>
                <a:gd name="connsiteX19" fmla="*/ 7312 w 10000"/>
                <a:gd name="connsiteY19" fmla="*/ 204 h 9989"/>
                <a:gd name="connsiteX20" fmla="*/ 6939 w 10000"/>
                <a:gd name="connsiteY20" fmla="*/ 313 h 9989"/>
                <a:gd name="connsiteX21" fmla="*/ 6226 w 10000"/>
                <a:gd name="connsiteY21" fmla="*/ 3001 h 9989"/>
                <a:gd name="connsiteX22" fmla="*/ 5412 w 10000"/>
                <a:gd name="connsiteY22" fmla="*/ 2024 h 9989"/>
                <a:gd name="connsiteX23" fmla="*/ 4587 w 10000"/>
                <a:gd name="connsiteY23" fmla="*/ 3358 h 9989"/>
                <a:gd name="connsiteX24" fmla="*/ 2956 w 10000"/>
                <a:gd name="connsiteY24" fmla="*/ 3522 h 9989"/>
                <a:gd name="connsiteX25" fmla="*/ 1641 w 10000"/>
                <a:gd name="connsiteY25" fmla="*/ 2985 h 9989"/>
                <a:gd name="connsiteX26" fmla="*/ 893 w 10000"/>
                <a:gd name="connsiteY26" fmla="*/ 2835 h 9989"/>
                <a:gd name="connsiteX0" fmla="*/ 893 w 10000"/>
                <a:gd name="connsiteY0" fmla="*/ 2877 h 10039"/>
                <a:gd name="connsiteX1" fmla="*/ 1 w 10000"/>
                <a:gd name="connsiteY1" fmla="*/ 3469 h 10039"/>
                <a:gd name="connsiteX2" fmla="*/ 769 w 10000"/>
                <a:gd name="connsiteY2" fmla="*/ 5201 h 10039"/>
                <a:gd name="connsiteX3" fmla="*/ 1794 w 10000"/>
                <a:gd name="connsiteY3" fmla="*/ 5891 h 10039"/>
                <a:gd name="connsiteX4" fmla="*/ 3333 w 10000"/>
                <a:gd name="connsiteY4" fmla="*/ 7965 h 10039"/>
                <a:gd name="connsiteX5" fmla="*/ 3847 w 10000"/>
                <a:gd name="connsiteY5" fmla="*/ 9001 h 10039"/>
                <a:gd name="connsiteX6" fmla="*/ 5129 w 10000"/>
                <a:gd name="connsiteY6" fmla="*/ 9001 h 10039"/>
                <a:gd name="connsiteX7" fmla="*/ 6154 w 10000"/>
                <a:gd name="connsiteY7" fmla="*/ 10039 h 10039"/>
                <a:gd name="connsiteX8" fmla="*/ 7949 w 10000"/>
                <a:gd name="connsiteY8" fmla="*/ 9696 h 10039"/>
                <a:gd name="connsiteX9" fmla="*/ 9233 w 10000"/>
                <a:gd name="connsiteY9" fmla="*/ 9001 h 10039"/>
                <a:gd name="connsiteX10" fmla="*/ 10000 w 10000"/>
                <a:gd name="connsiteY10" fmla="*/ 9001 h 10039"/>
                <a:gd name="connsiteX11" fmla="*/ 10000 w 10000"/>
                <a:gd name="connsiteY11" fmla="*/ 8309 h 10039"/>
                <a:gd name="connsiteX12" fmla="*/ 9487 w 10000"/>
                <a:gd name="connsiteY12" fmla="*/ 7621 h 10039"/>
                <a:gd name="connsiteX13" fmla="*/ 8717 w 10000"/>
                <a:gd name="connsiteY13" fmla="*/ 6588 h 10039"/>
                <a:gd name="connsiteX14" fmla="*/ 7691 w 10000"/>
                <a:gd name="connsiteY14" fmla="*/ 5547 h 10039"/>
                <a:gd name="connsiteX15" fmla="*/ 7949 w 10000"/>
                <a:gd name="connsiteY15" fmla="*/ 4506 h 10039"/>
                <a:gd name="connsiteX16" fmla="*/ 8462 w 10000"/>
                <a:gd name="connsiteY16" fmla="*/ 4506 h 10039"/>
                <a:gd name="connsiteX17" fmla="*/ 8717 w 10000"/>
                <a:gd name="connsiteY17" fmla="*/ 2437 h 10039"/>
                <a:gd name="connsiteX18" fmla="*/ 7790 w 10000"/>
                <a:gd name="connsiteY18" fmla="*/ 2315 h 10039"/>
                <a:gd name="connsiteX19" fmla="*/ 7312 w 10000"/>
                <a:gd name="connsiteY19" fmla="*/ 243 h 10039"/>
                <a:gd name="connsiteX20" fmla="*/ 6939 w 10000"/>
                <a:gd name="connsiteY20" fmla="*/ 352 h 10039"/>
                <a:gd name="connsiteX21" fmla="*/ 6226 w 10000"/>
                <a:gd name="connsiteY21" fmla="*/ 3043 h 10039"/>
                <a:gd name="connsiteX22" fmla="*/ 5412 w 10000"/>
                <a:gd name="connsiteY22" fmla="*/ 2065 h 10039"/>
                <a:gd name="connsiteX23" fmla="*/ 4587 w 10000"/>
                <a:gd name="connsiteY23" fmla="*/ 3401 h 10039"/>
                <a:gd name="connsiteX24" fmla="*/ 2956 w 10000"/>
                <a:gd name="connsiteY24" fmla="*/ 3565 h 10039"/>
                <a:gd name="connsiteX25" fmla="*/ 1641 w 10000"/>
                <a:gd name="connsiteY25" fmla="*/ 3027 h 10039"/>
                <a:gd name="connsiteX26" fmla="*/ 893 w 10000"/>
                <a:gd name="connsiteY26" fmla="*/ 2877 h 10039"/>
                <a:gd name="connsiteX0" fmla="*/ 893 w 10000"/>
                <a:gd name="connsiteY0" fmla="*/ 2877 h 10039"/>
                <a:gd name="connsiteX1" fmla="*/ 1 w 10000"/>
                <a:gd name="connsiteY1" fmla="*/ 3469 h 10039"/>
                <a:gd name="connsiteX2" fmla="*/ 769 w 10000"/>
                <a:gd name="connsiteY2" fmla="*/ 5201 h 10039"/>
                <a:gd name="connsiteX3" fmla="*/ 1794 w 10000"/>
                <a:gd name="connsiteY3" fmla="*/ 5891 h 10039"/>
                <a:gd name="connsiteX4" fmla="*/ 3333 w 10000"/>
                <a:gd name="connsiteY4" fmla="*/ 7965 h 10039"/>
                <a:gd name="connsiteX5" fmla="*/ 3847 w 10000"/>
                <a:gd name="connsiteY5" fmla="*/ 9001 h 10039"/>
                <a:gd name="connsiteX6" fmla="*/ 5129 w 10000"/>
                <a:gd name="connsiteY6" fmla="*/ 9001 h 10039"/>
                <a:gd name="connsiteX7" fmla="*/ 6154 w 10000"/>
                <a:gd name="connsiteY7" fmla="*/ 10039 h 10039"/>
                <a:gd name="connsiteX8" fmla="*/ 7949 w 10000"/>
                <a:gd name="connsiteY8" fmla="*/ 9696 h 10039"/>
                <a:gd name="connsiteX9" fmla="*/ 9233 w 10000"/>
                <a:gd name="connsiteY9" fmla="*/ 9001 h 10039"/>
                <a:gd name="connsiteX10" fmla="*/ 10000 w 10000"/>
                <a:gd name="connsiteY10" fmla="*/ 9001 h 10039"/>
                <a:gd name="connsiteX11" fmla="*/ 10000 w 10000"/>
                <a:gd name="connsiteY11" fmla="*/ 8309 h 10039"/>
                <a:gd name="connsiteX12" fmla="*/ 9487 w 10000"/>
                <a:gd name="connsiteY12" fmla="*/ 7621 h 10039"/>
                <a:gd name="connsiteX13" fmla="*/ 8717 w 10000"/>
                <a:gd name="connsiteY13" fmla="*/ 6588 h 10039"/>
                <a:gd name="connsiteX14" fmla="*/ 7691 w 10000"/>
                <a:gd name="connsiteY14" fmla="*/ 5547 h 10039"/>
                <a:gd name="connsiteX15" fmla="*/ 7949 w 10000"/>
                <a:gd name="connsiteY15" fmla="*/ 4506 h 10039"/>
                <a:gd name="connsiteX16" fmla="*/ 8462 w 10000"/>
                <a:gd name="connsiteY16" fmla="*/ 4506 h 10039"/>
                <a:gd name="connsiteX17" fmla="*/ 8717 w 10000"/>
                <a:gd name="connsiteY17" fmla="*/ 2437 h 10039"/>
                <a:gd name="connsiteX18" fmla="*/ 7790 w 10000"/>
                <a:gd name="connsiteY18" fmla="*/ 2315 h 10039"/>
                <a:gd name="connsiteX19" fmla="*/ 7312 w 10000"/>
                <a:gd name="connsiteY19" fmla="*/ 243 h 10039"/>
                <a:gd name="connsiteX20" fmla="*/ 6939 w 10000"/>
                <a:gd name="connsiteY20" fmla="*/ 352 h 10039"/>
                <a:gd name="connsiteX21" fmla="*/ 6226 w 10000"/>
                <a:gd name="connsiteY21" fmla="*/ 3043 h 10039"/>
                <a:gd name="connsiteX22" fmla="*/ 5412 w 10000"/>
                <a:gd name="connsiteY22" fmla="*/ 2065 h 10039"/>
                <a:gd name="connsiteX23" fmla="*/ 4587 w 10000"/>
                <a:gd name="connsiteY23" fmla="*/ 3401 h 10039"/>
                <a:gd name="connsiteX24" fmla="*/ 2956 w 10000"/>
                <a:gd name="connsiteY24" fmla="*/ 3565 h 10039"/>
                <a:gd name="connsiteX25" fmla="*/ 1641 w 10000"/>
                <a:gd name="connsiteY25" fmla="*/ 3027 h 10039"/>
                <a:gd name="connsiteX26" fmla="*/ 893 w 10000"/>
                <a:gd name="connsiteY26" fmla="*/ 2877 h 10039"/>
                <a:gd name="connsiteX0" fmla="*/ 893 w 10000"/>
                <a:gd name="connsiteY0" fmla="*/ 2877 h 10039"/>
                <a:gd name="connsiteX1" fmla="*/ 1 w 10000"/>
                <a:gd name="connsiteY1" fmla="*/ 3469 h 10039"/>
                <a:gd name="connsiteX2" fmla="*/ 769 w 10000"/>
                <a:gd name="connsiteY2" fmla="*/ 5201 h 10039"/>
                <a:gd name="connsiteX3" fmla="*/ 1794 w 10000"/>
                <a:gd name="connsiteY3" fmla="*/ 5891 h 10039"/>
                <a:gd name="connsiteX4" fmla="*/ 3333 w 10000"/>
                <a:gd name="connsiteY4" fmla="*/ 7965 h 10039"/>
                <a:gd name="connsiteX5" fmla="*/ 3847 w 10000"/>
                <a:gd name="connsiteY5" fmla="*/ 9001 h 10039"/>
                <a:gd name="connsiteX6" fmla="*/ 5129 w 10000"/>
                <a:gd name="connsiteY6" fmla="*/ 9001 h 10039"/>
                <a:gd name="connsiteX7" fmla="*/ 6154 w 10000"/>
                <a:gd name="connsiteY7" fmla="*/ 10039 h 10039"/>
                <a:gd name="connsiteX8" fmla="*/ 7949 w 10000"/>
                <a:gd name="connsiteY8" fmla="*/ 9696 h 10039"/>
                <a:gd name="connsiteX9" fmla="*/ 9233 w 10000"/>
                <a:gd name="connsiteY9" fmla="*/ 9001 h 10039"/>
                <a:gd name="connsiteX10" fmla="*/ 10000 w 10000"/>
                <a:gd name="connsiteY10" fmla="*/ 9001 h 10039"/>
                <a:gd name="connsiteX11" fmla="*/ 10000 w 10000"/>
                <a:gd name="connsiteY11" fmla="*/ 8309 h 10039"/>
                <a:gd name="connsiteX12" fmla="*/ 9487 w 10000"/>
                <a:gd name="connsiteY12" fmla="*/ 7621 h 10039"/>
                <a:gd name="connsiteX13" fmla="*/ 8717 w 10000"/>
                <a:gd name="connsiteY13" fmla="*/ 6588 h 10039"/>
                <a:gd name="connsiteX14" fmla="*/ 7691 w 10000"/>
                <a:gd name="connsiteY14" fmla="*/ 5547 h 10039"/>
                <a:gd name="connsiteX15" fmla="*/ 7949 w 10000"/>
                <a:gd name="connsiteY15" fmla="*/ 4506 h 10039"/>
                <a:gd name="connsiteX16" fmla="*/ 8462 w 10000"/>
                <a:gd name="connsiteY16" fmla="*/ 4506 h 10039"/>
                <a:gd name="connsiteX17" fmla="*/ 8717 w 10000"/>
                <a:gd name="connsiteY17" fmla="*/ 2437 h 10039"/>
                <a:gd name="connsiteX18" fmla="*/ 7790 w 10000"/>
                <a:gd name="connsiteY18" fmla="*/ 2315 h 10039"/>
                <a:gd name="connsiteX19" fmla="*/ 7312 w 10000"/>
                <a:gd name="connsiteY19" fmla="*/ 243 h 10039"/>
                <a:gd name="connsiteX20" fmla="*/ 6939 w 10000"/>
                <a:gd name="connsiteY20" fmla="*/ 352 h 10039"/>
                <a:gd name="connsiteX21" fmla="*/ 6226 w 10000"/>
                <a:gd name="connsiteY21" fmla="*/ 3043 h 10039"/>
                <a:gd name="connsiteX22" fmla="*/ 5412 w 10000"/>
                <a:gd name="connsiteY22" fmla="*/ 2065 h 10039"/>
                <a:gd name="connsiteX23" fmla="*/ 4587 w 10000"/>
                <a:gd name="connsiteY23" fmla="*/ 3401 h 10039"/>
                <a:gd name="connsiteX24" fmla="*/ 2956 w 10000"/>
                <a:gd name="connsiteY24" fmla="*/ 3565 h 10039"/>
                <a:gd name="connsiteX25" fmla="*/ 1641 w 10000"/>
                <a:gd name="connsiteY25" fmla="*/ 3027 h 10039"/>
                <a:gd name="connsiteX26" fmla="*/ 893 w 10000"/>
                <a:gd name="connsiteY26" fmla="*/ 2877 h 10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0000" h="10039">
                  <a:moveTo>
                    <a:pt x="893" y="2877"/>
                  </a:moveTo>
                  <a:lnTo>
                    <a:pt x="1" y="3469"/>
                  </a:lnTo>
                  <a:cubicBezTo>
                    <a:pt x="-20" y="3856"/>
                    <a:pt x="512" y="4623"/>
                    <a:pt x="769" y="5201"/>
                  </a:cubicBezTo>
                  <a:lnTo>
                    <a:pt x="1794" y="5891"/>
                  </a:lnTo>
                  <a:lnTo>
                    <a:pt x="3333" y="7965"/>
                  </a:lnTo>
                  <a:lnTo>
                    <a:pt x="3847" y="9001"/>
                  </a:lnTo>
                  <a:lnTo>
                    <a:pt x="5129" y="9001"/>
                  </a:lnTo>
                  <a:lnTo>
                    <a:pt x="6154" y="10039"/>
                  </a:lnTo>
                  <a:lnTo>
                    <a:pt x="7949" y="9696"/>
                  </a:lnTo>
                  <a:lnTo>
                    <a:pt x="9233" y="9001"/>
                  </a:lnTo>
                  <a:lnTo>
                    <a:pt x="10000" y="9001"/>
                  </a:lnTo>
                  <a:lnTo>
                    <a:pt x="10000" y="8309"/>
                  </a:lnTo>
                  <a:lnTo>
                    <a:pt x="9487" y="7621"/>
                  </a:lnTo>
                  <a:lnTo>
                    <a:pt x="8717" y="6588"/>
                  </a:lnTo>
                  <a:lnTo>
                    <a:pt x="7691" y="5547"/>
                  </a:lnTo>
                  <a:cubicBezTo>
                    <a:pt x="7778" y="5200"/>
                    <a:pt x="7863" y="4853"/>
                    <a:pt x="7949" y="4506"/>
                  </a:cubicBezTo>
                  <a:lnTo>
                    <a:pt x="8462" y="4506"/>
                  </a:lnTo>
                  <a:cubicBezTo>
                    <a:pt x="8717" y="2437"/>
                    <a:pt x="8829" y="2802"/>
                    <a:pt x="8717" y="2437"/>
                  </a:cubicBezTo>
                  <a:cubicBezTo>
                    <a:pt x="8605" y="2072"/>
                    <a:pt x="8024" y="2680"/>
                    <a:pt x="7790" y="2315"/>
                  </a:cubicBezTo>
                  <a:cubicBezTo>
                    <a:pt x="7631" y="1624"/>
                    <a:pt x="7471" y="934"/>
                    <a:pt x="7312" y="243"/>
                  </a:cubicBezTo>
                  <a:cubicBezTo>
                    <a:pt x="7170" y="-84"/>
                    <a:pt x="7120" y="-114"/>
                    <a:pt x="6939" y="352"/>
                  </a:cubicBezTo>
                  <a:lnTo>
                    <a:pt x="6226" y="3043"/>
                  </a:lnTo>
                  <a:cubicBezTo>
                    <a:pt x="5972" y="3329"/>
                    <a:pt x="5685" y="2008"/>
                    <a:pt x="5412" y="2065"/>
                  </a:cubicBezTo>
                  <a:lnTo>
                    <a:pt x="4587" y="3401"/>
                  </a:lnTo>
                  <a:lnTo>
                    <a:pt x="2956" y="3565"/>
                  </a:lnTo>
                  <a:lnTo>
                    <a:pt x="1641" y="3027"/>
                  </a:lnTo>
                  <a:lnTo>
                    <a:pt x="893" y="2877"/>
                  </a:ln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261" name="ZM"/>
            <p:cNvSpPr>
              <a:spLocks/>
            </p:cNvSpPr>
            <p:nvPr/>
          </p:nvSpPr>
          <p:spPr bwMode="auto">
            <a:xfrm>
              <a:off x="4823260" y="4622114"/>
              <a:ext cx="272861" cy="248919"/>
            </a:xfrm>
            <a:custGeom>
              <a:avLst/>
              <a:gdLst>
                <a:gd name="T0" fmla="*/ 2147483647 w 43"/>
                <a:gd name="T1" fmla="*/ 2147483647 h 70"/>
                <a:gd name="T2" fmla="*/ 2147483647 w 43"/>
                <a:gd name="T3" fmla="*/ 2147483647 h 70"/>
                <a:gd name="T4" fmla="*/ 2147483647 w 43"/>
                <a:gd name="T5" fmla="*/ 2147483647 h 70"/>
                <a:gd name="T6" fmla="*/ 2147483647 w 43"/>
                <a:gd name="T7" fmla="*/ 2147483647 h 70"/>
                <a:gd name="T8" fmla="*/ 2147483647 w 43"/>
                <a:gd name="T9" fmla="*/ 2147483647 h 70"/>
                <a:gd name="T10" fmla="*/ 2147483647 w 43"/>
                <a:gd name="T11" fmla="*/ 2147483647 h 70"/>
                <a:gd name="T12" fmla="*/ 2147483647 w 43"/>
                <a:gd name="T13" fmla="*/ 2147483647 h 70"/>
                <a:gd name="T14" fmla="*/ 2147483647 w 43"/>
                <a:gd name="T15" fmla="*/ 2147483647 h 70"/>
                <a:gd name="T16" fmla="*/ 2147483647 w 43"/>
                <a:gd name="T17" fmla="*/ 2147483647 h 70"/>
                <a:gd name="T18" fmla="*/ 2147483647 w 43"/>
                <a:gd name="T19" fmla="*/ 2147483647 h 70"/>
                <a:gd name="T20" fmla="*/ 2147483647 w 43"/>
                <a:gd name="T21" fmla="*/ 2147483647 h 70"/>
                <a:gd name="T22" fmla="*/ 2147483647 w 43"/>
                <a:gd name="T23" fmla="*/ 2147483647 h 70"/>
                <a:gd name="T24" fmla="*/ 2147483647 w 43"/>
                <a:gd name="T25" fmla="*/ 2147483647 h 70"/>
                <a:gd name="T26" fmla="*/ 2147483647 w 43"/>
                <a:gd name="T27" fmla="*/ 2147483647 h 70"/>
                <a:gd name="T28" fmla="*/ 2147483647 w 43"/>
                <a:gd name="T29" fmla="*/ 2147483647 h 70"/>
                <a:gd name="T30" fmla="*/ 0 w 43"/>
                <a:gd name="T31" fmla="*/ 2147483647 h 70"/>
                <a:gd name="T32" fmla="*/ 0 w 43"/>
                <a:gd name="T33" fmla="*/ 2147483647 h 70"/>
                <a:gd name="T34" fmla="*/ 2147483647 w 43"/>
                <a:gd name="T35" fmla="*/ 2147483647 h 70"/>
                <a:gd name="T36" fmla="*/ 2147483647 w 43"/>
                <a:gd name="T37" fmla="*/ 2147483647 h 70"/>
                <a:gd name="T38" fmla="*/ 2147483647 w 43"/>
                <a:gd name="T39" fmla="*/ 2147483647 h 70"/>
                <a:gd name="T40" fmla="*/ 2147483647 w 43"/>
                <a:gd name="T41" fmla="*/ 2147483647 h 70"/>
                <a:gd name="T42" fmla="*/ 2147483647 w 43"/>
                <a:gd name="T43" fmla="*/ 2147483647 h 70"/>
                <a:gd name="T44" fmla="*/ 2147483647 w 43"/>
                <a:gd name="T45" fmla="*/ 2147483647 h 70"/>
                <a:gd name="T46" fmla="*/ 2147483647 w 43"/>
                <a:gd name="T47" fmla="*/ 2147483647 h 70"/>
                <a:gd name="T48" fmla="*/ 2147483647 w 43"/>
                <a:gd name="T49" fmla="*/ 2147483647 h 70"/>
                <a:gd name="T50" fmla="*/ 2147483647 w 43"/>
                <a:gd name="T51" fmla="*/ 2147483647 h 70"/>
                <a:gd name="T52" fmla="*/ 2147483647 w 43"/>
                <a:gd name="T53" fmla="*/ 2147483647 h 70"/>
                <a:gd name="T54" fmla="*/ 2147483647 w 43"/>
                <a:gd name="T55" fmla="*/ 2147483647 h 70"/>
                <a:gd name="T56" fmla="*/ 2147483647 w 43"/>
                <a:gd name="T57" fmla="*/ 2147483647 h 70"/>
                <a:gd name="T58" fmla="*/ 2147483647 w 43"/>
                <a:gd name="T59" fmla="*/ 2147483647 h 70"/>
                <a:gd name="T60" fmla="*/ 2147483647 w 43"/>
                <a:gd name="T61" fmla="*/ 2147483647 h 70"/>
                <a:gd name="T62" fmla="*/ 2147483647 w 43"/>
                <a:gd name="T63" fmla="*/ 2147483647 h 70"/>
                <a:gd name="T64" fmla="*/ 2147483647 w 43"/>
                <a:gd name="T65" fmla="*/ 2147483647 h 70"/>
                <a:gd name="T66" fmla="*/ 2147483647 w 43"/>
                <a:gd name="T67" fmla="*/ 2147483647 h 70"/>
                <a:gd name="T68" fmla="*/ 2147483647 w 43"/>
                <a:gd name="T69" fmla="*/ 2147483647 h 70"/>
                <a:gd name="T70" fmla="*/ 2147483647 w 43"/>
                <a:gd name="T71" fmla="*/ 2147483647 h 70"/>
                <a:gd name="T72" fmla="*/ 2147483647 w 43"/>
                <a:gd name="T73" fmla="*/ 2147483647 h 70"/>
                <a:gd name="T74" fmla="*/ 2147483647 w 43"/>
                <a:gd name="T75" fmla="*/ 2147483647 h 70"/>
                <a:gd name="T76" fmla="*/ 2147483647 w 43"/>
                <a:gd name="T77" fmla="*/ 2147483647 h 70"/>
                <a:gd name="T78" fmla="*/ 2147483647 w 43"/>
                <a:gd name="T79" fmla="*/ 2147483647 h 70"/>
                <a:gd name="T80" fmla="*/ 2147483647 w 43"/>
                <a:gd name="T81" fmla="*/ 2147483647 h 70"/>
                <a:gd name="T82" fmla="*/ 2147483647 w 43"/>
                <a:gd name="T83" fmla="*/ 2147483647 h 70"/>
                <a:gd name="T84" fmla="*/ 2147483647 w 43"/>
                <a:gd name="T85" fmla="*/ 2147483647 h 70"/>
                <a:gd name="T86" fmla="*/ 2147483647 w 43"/>
                <a:gd name="T87" fmla="*/ 2147483647 h 70"/>
                <a:gd name="T88" fmla="*/ 2147483647 w 43"/>
                <a:gd name="T89" fmla="*/ 2147483647 h 70"/>
                <a:gd name="T90" fmla="*/ 2147483647 w 43"/>
                <a:gd name="T91" fmla="*/ 2147483647 h 70"/>
                <a:gd name="T92" fmla="*/ 2147483647 w 43"/>
                <a:gd name="T93" fmla="*/ 2147483647 h 70"/>
                <a:gd name="T94" fmla="*/ 2147483647 w 43"/>
                <a:gd name="T95" fmla="*/ 2147483647 h 70"/>
                <a:gd name="T96" fmla="*/ 2147483647 w 43"/>
                <a:gd name="T97" fmla="*/ 2147483647 h 70"/>
                <a:gd name="T98" fmla="*/ 2147483647 w 43"/>
                <a:gd name="T99" fmla="*/ 2147483647 h 70"/>
                <a:gd name="T100" fmla="*/ 2147483647 w 43"/>
                <a:gd name="T101" fmla="*/ 2147483647 h 70"/>
                <a:gd name="T102" fmla="*/ 2147483647 w 43"/>
                <a:gd name="T103" fmla="*/ 2147483647 h 70"/>
                <a:gd name="T104" fmla="*/ 2147483647 w 43"/>
                <a:gd name="T105" fmla="*/ 2147483647 h 70"/>
                <a:gd name="T106" fmla="*/ 2147483647 w 43"/>
                <a:gd name="T107" fmla="*/ 2147483647 h 70"/>
                <a:gd name="T108" fmla="*/ 2147483647 w 43"/>
                <a:gd name="T109" fmla="*/ 2147483647 h 70"/>
                <a:gd name="T110" fmla="*/ 2147483647 w 43"/>
                <a:gd name="T111" fmla="*/ 0 h 70"/>
                <a:gd name="T112" fmla="*/ 2147483647 w 43"/>
                <a:gd name="T113" fmla="*/ 0 h 70"/>
                <a:gd name="T114" fmla="*/ 2147483647 w 43"/>
                <a:gd name="T115" fmla="*/ 2147483647 h 70"/>
                <a:gd name="T116" fmla="*/ 2147483647 w 43"/>
                <a:gd name="T117" fmla="*/ 0 h 70"/>
                <a:gd name="T118" fmla="*/ 2147483647 w 43"/>
                <a:gd name="T119" fmla="*/ 2147483647 h 70"/>
                <a:gd name="T120" fmla="*/ 2147483647 w 43"/>
                <a:gd name="T121" fmla="*/ 2147483647 h 7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connsiteX0" fmla="*/ 6279 w 10000"/>
                <a:gd name="connsiteY0" fmla="*/ 857 h 10000"/>
                <a:gd name="connsiteX1" fmla="*/ 5349 w 10000"/>
                <a:gd name="connsiteY1" fmla="*/ 1857 h 10000"/>
                <a:gd name="connsiteX2" fmla="*/ 4884 w 10000"/>
                <a:gd name="connsiteY2" fmla="*/ 2857 h 10000"/>
                <a:gd name="connsiteX3" fmla="*/ 5116 w 10000"/>
                <a:gd name="connsiteY3" fmla="*/ 3714 h 10000"/>
                <a:gd name="connsiteX4" fmla="*/ 5814 w 10000"/>
                <a:gd name="connsiteY4" fmla="*/ 5429 h 10000"/>
                <a:gd name="connsiteX5" fmla="*/ 5116 w 10000"/>
                <a:gd name="connsiteY5" fmla="*/ 5571 h 10000"/>
                <a:gd name="connsiteX6" fmla="*/ 4884 w 10000"/>
                <a:gd name="connsiteY6" fmla="*/ 6429 h 10000"/>
                <a:gd name="connsiteX7" fmla="*/ 4651 w 10000"/>
                <a:gd name="connsiteY7" fmla="*/ 6857 h 10000"/>
                <a:gd name="connsiteX8" fmla="*/ 5349 w 10000"/>
                <a:gd name="connsiteY8" fmla="*/ 7429 h 10000"/>
                <a:gd name="connsiteX9" fmla="*/ 5349 w 10000"/>
                <a:gd name="connsiteY9" fmla="*/ 7714 h 10000"/>
                <a:gd name="connsiteX10" fmla="*/ 3953 w 10000"/>
                <a:gd name="connsiteY10" fmla="*/ 7286 h 10000"/>
                <a:gd name="connsiteX11" fmla="*/ 2558 w 10000"/>
                <a:gd name="connsiteY11" fmla="*/ 6857 h 10000"/>
                <a:gd name="connsiteX12" fmla="*/ 1395 w 10000"/>
                <a:gd name="connsiteY12" fmla="*/ 6857 h 10000"/>
                <a:gd name="connsiteX13" fmla="*/ 1395 w 10000"/>
                <a:gd name="connsiteY13" fmla="*/ 7429 h 10000"/>
                <a:gd name="connsiteX14" fmla="*/ 0 w 10000"/>
                <a:gd name="connsiteY14" fmla="*/ 7571 h 10000"/>
                <a:gd name="connsiteX15" fmla="*/ 0 w 10000"/>
                <a:gd name="connsiteY15" fmla="*/ 9143 h 10000"/>
                <a:gd name="connsiteX16" fmla="*/ 465 w 10000"/>
                <a:gd name="connsiteY16" fmla="*/ 9714 h 10000"/>
                <a:gd name="connsiteX17" fmla="*/ 1395 w 10000"/>
                <a:gd name="connsiteY17" fmla="*/ 9714 h 10000"/>
                <a:gd name="connsiteX18" fmla="*/ 1860 w 10000"/>
                <a:gd name="connsiteY18" fmla="*/ 9857 h 10000"/>
                <a:gd name="connsiteX19" fmla="*/ 1628 w 10000"/>
                <a:gd name="connsiteY19" fmla="*/ 9857 h 10000"/>
                <a:gd name="connsiteX20" fmla="*/ 2093 w 10000"/>
                <a:gd name="connsiteY20" fmla="*/ 10000 h 10000"/>
                <a:gd name="connsiteX21" fmla="*/ 2558 w 10000"/>
                <a:gd name="connsiteY21" fmla="*/ 9857 h 10000"/>
                <a:gd name="connsiteX22" fmla="*/ 3488 w 10000"/>
                <a:gd name="connsiteY22" fmla="*/ 10000 h 10000"/>
                <a:gd name="connsiteX23" fmla="*/ 4186 w 10000"/>
                <a:gd name="connsiteY23" fmla="*/ 9571 h 10000"/>
                <a:gd name="connsiteX24" fmla="*/ 5116 w 10000"/>
                <a:gd name="connsiteY24" fmla="*/ 9000 h 10000"/>
                <a:gd name="connsiteX25" fmla="*/ 5814 w 10000"/>
                <a:gd name="connsiteY25" fmla="*/ 8857 h 10000"/>
                <a:gd name="connsiteX26" fmla="*/ 5581 w 10000"/>
                <a:gd name="connsiteY26" fmla="*/ 8857 h 10000"/>
                <a:gd name="connsiteX27" fmla="*/ 5581 w 10000"/>
                <a:gd name="connsiteY27" fmla="*/ 8714 h 10000"/>
                <a:gd name="connsiteX28" fmla="*/ 7674 w 10000"/>
                <a:gd name="connsiteY28" fmla="*/ 8143 h 10000"/>
                <a:gd name="connsiteX29" fmla="*/ 8605 w 10000"/>
                <a:gd name="connsiteY29" fmla="*/ 8429 h 10000"/>
                <a:gd name="connsiteX30" fmla="*/ 9070 w 10000"/>
                <a:gd name="connsiteY30" fmla="*/ 8857 h 10000"/>
                <a:gd name="connsiteX31" fmla="*/ 9302 w 10000"/>
                <a:gd name="connsiteY31" fmla="*/ 9143 h 10000"/>
                <a:gd name="connsiteX32" fmla="*/ 10000 w 10000"/>
                <a:gd name="connsiteY32" fmla="*/ 8857 h 10000"/>
                <a:gd name="connsiteX33" fmla="*/ 10000 w 10000"/>
                <a:gd name="connsiteY33" fmla="*/ 8429 h 10000"/>
                <a:gd name="connsiteX34" fmla="*/ 9302 w 10000"/>
                <a:gd name="connsiteY34" fmla="*/ 7714 h 10000"/>
                <a:gd name="connsiteX35" fmla="*/ 9302 w 10000"/>
                <a:gd name="connsiteY35" fmla="*/ 7000 h 10000"/>
                <a:gd name="connsiteX36" fmla="*/ 9535 w 10000"/>
                <a:gd name="connsiteY36" fmla="*/ 7000 h 10000"/>
                <a:gd name="connsiteX37" fmla="*/ 9070 w 10000"/>
                <a:gd name="connsiteY37" fmla="*/ 6286 h 10000"/>
                <a:gd name="connsiteX38" fmla="*/ 8837 w 10000"/>
                <a:gd name="connsiteY38" fmla="*/ 6000 h 10000"/>
                <a:gd name="connsiteX39" fmla="*/ 7674 w 10000"/>
                <a:gd name="connsiteY39" fmla="*/ 5857 h 10000"/>
                <a:gd name="connsiteX40" fmla="*/ 6512 w 10000"/>
                <a:gd name="connsiteY40" fmla="*/ 5571 h 10000"/>
                <a:gd name="connsiteX41" fmla="*/ 6047 w 10000"/>
                <a:gd name="connsiteY41" fmla="*/ 4857 h 10000"/>
                <a:gd name="connsiteX42" fmla="*/ 5581 w 10000"/>
                <a:gd name="connsiteY42" fmla="*/ 3714 h 10000"/>
                <a:gd name="connsiteX43" fmla="*/ 6047 w 10000"/>
                <a:gd name="connsiteY43" fmla="*/ 3286 h 10000"/>
                <a:gd name="connsiteX44" fmla="*/ 5814 w 10000"/>
                <a:gd name="connsiteY44" fmla="*/ 2286 h 10000"/>
                <a:gd name="connsiteX45" fmla="*/ 6977 w 10000"/>
                <a:gd name="connsiteY45" fmla="*/ 2286 h 10000"/>
                <a:gd name="connsiteX46" fmla="*/ 7442 w 10000"/>
                <a:gd name="connsiteY46" fmla="*/ 2857 h 10000"/>
                <a:gd name="connsiteX47" fmla="*/ 8372 w 10000"/>
                <a:gd name="connsiteY47" fmla="*/ 2857 h 10000"/>
                <a:gd name="connsiteX48" fmla="*/ 8372 w 10000"/>
                <a:gd name="connsiteY48" fmla="*/ 2429 h 10000"/>
                <a:gd name="connsiteX49" fmla="*/ 8605 w 10000"/>
                <a:gd name="connsiteY49" fmla="*/ 2143 h 10000"/>
                <a:gd name="connsiteX50" fmla="*/ 8837 w 10000"/>
                <a:gd name="connsiteY50" fmla="*/ 2286 h 10000"/>
                <a:gd name="connsiteX51" fmla="*/ 8605 w 10000"/>
                <a:gd name="connsiteY51" fmla="*/ 1429 h 10000"/>
                <a:gd name="connsiteX52" fmla="*/ 9070 w 10000"/>
                <a:gd name="connsiteY52" fmla="*/ 857 h 10000"/>
                <a:gd name="connsiteX53" fmla="*/ 9070 w 10000"/>
                <a:gd name="connsiteY53" fmla="*/ 286 h 10000"/>
                <a:gd name="connsiteX54" fmla="*/ 8605 w 10000"/>
                <a:gd name="connsiteY54" fmla="*/ 0 h 10000"/>
                <a:gd name="connsiteX55" fmla="*/ 8140 w 10000"/>
                <a:gd name="connsiteY55" fmla="*/ 0 h 10000"/>
                <a:gd name="connsiteX56" fmla="*/ 6512 w 10000"/>
                <a:gd name="connsiteY56" fmla="*/ 143 h 10000"/>
                <a:gd name="connsiteX57" fmla="*/ 6279 w 10000"/>
                <a:gd name="connsiteY57" fmla="*/ 0 h 10000"/>
                <a:gd name="connsiteX58" fmla="*/ 6279 w 10000"/>
                <a:gd name="connsiteY58" fmla="*/ 714 h 10000"/>
                <a:gd name="connsiteX59" fmla="*/ 6279 w 10000"/>
                <a:gd name="connsiteY59" fmla="*/ 857 h 10000"/>
                <a:gd name="connsiteX0" fmla="*/ 6279 w 10000"/>
                <a:gd name="connsiteY0" fmla="*/ 857 h 10000"/>
                <a:gd name="connsiteX1" fmla="*/ 5349 w 10000"/>
                <a:gd name="connsiteY1" fmla="*/ 1857 h 10000"/>
                <a:gd name="connsiteX2" fmla="*/ 4884 w 10000"/>
                <a:gd name="connsiteY2" fmla="*/ 2857 h 10000"/>
                <a:gd name="connsiteX3" fmla="*/ 5814 w 10000"/>
                <a:gd name="connsiteY3" fmla="*/ 5429 h 10000"/>
                <a:gd name="connsiteX4" fmla="*/ 5116 w 10000"/>
                <a:gd name="connsiteY4" fmla="*/ 5571 h 10000"/>
                <a:gd name="connsiteX5" fmla="*/ 4884 w 10000"/>
                <a:gd name="connsiteY5" fmla="*/ 6429 h 10000"/>
                <a:gd name="connsiteX6" fmla="*/ 4651 w 10000"/>
                <a:gd name="connsiteY6" fmla="*/ 6857 h 10000"/>
                <a:gd name="connsiteX7" fmla="*/ 5349 w 10000"/>
                <a:gd name="connsiteY7" fmla="*/ 7429 h 10000"/>
                <a:gd name="connsiteX8" fmla="*/ 5349 w 10000"/>
                <a:gd name="connsiteY8" fmla="*/ 7714 h 10000"/>
                <a:gd name="connsiteX9" fmla="*/ 3953 w 10000"/>
                <a:gd name="connsiteY9" fmla="*/ 7286 h 10000"/>
                <a:gd name="connsiteX10" fmla="*/ 2558 w 10000"/>
                <a:gd name="connsiteY10" fmla="*/ 6857 h 10000"/>
                <a:gd name="connsiteX11" fmla="*/ 1395 w 10000"/>
                <a:gd name="connsiteY11" fmla="*/ 6857 h 10000"/>
                <a:gd name="connsiteX12" fmla="*/ 1395 w 10000"/>
                <a:gd name="connsiteY12" fmla="*/ 7429 h 10000"/>
                <a:gd name="connsiteX13" fmla="*/ 0 w 10000"/>
                <a:gd name="connsiteY13" fmla="*/ 7571 h 10000"/>
                <a:gd name="connsiteX14" fmla="*/ 0 w 10000"/>
                <a:gd name="connsiteY14" fmla="*/ 9143 h 10000"/>
                <a:gd name="connsiteX15" fmla="*/ 465 w 10000"/>
                <a:gd name="connsiteY15" fmla="*/ 9714 h 10000"/>
                <a:gd name="connsiteX16" fmla="*/ 1395 w 10000"/>
                <a:gd name="connsiteY16" fmla="*/ 9714 h 10000"/>
                <a:gd name="connsiteX17" fmla="*/ 1860 w 10000"/>
                <a:gd name="connsiteY17" fmla="*/ 9857 h 10000"/>
                <a:gd name="connsiteX18" fmla="*/ 1628 w 10000"/>
                <a:gd name="connsiteY18" fmla="*/ 9857 h 10000"/>
                <a:gd name="connsiteX19" fmla="*/ 2093 w 10000"/>
                <a:gd name="connsiteY19" fmla="*/ 10000 h 10000"/>
                <a:gd name="connsiteX20" fmla="*/ 2558 w 10000"/>
                <a:gd name="connsiteY20" fmla="*/ 9857 h 10000"/>
                <a:gd name="connsiteX21" fmla="*/ 3488 w 10000"/>
                <a:gd name="connsiteY21" fmla="*/ 10000 h 10000"/>
                <a:gd name="connsiteX22" fmla="*/ 4186 w 10000"/>
                <a:gd name="connsiteY22" fmla="*/ 9571 h 10000"/>
                <a:gd name="connsiteX23" fmla="*/ 5116 w 10000"/>
                <a:gd name="connsiteY23" fmla="*/ 9000 h 10000"/>
                <a:gd name="connsiteX24" fmla="*/ 5814 w 10000"/>
                <a:gd name="connsiteY24" fmla="*/ 8857 h 10000"/>
                <a:gd name="connsiteX25" fmla="*/ 5581 w 10000"/>
                <a:gd name="connsiteY25" fmla="*/ 8857 h 10000"/>
                <a:gd name="connsiteX26" fmla="*/ 5581 w 10000"/>
                <a:gd name="connsiteY26" fmla="*/ 8714 h 10000"/>
                <a:gd name="connsiteX27" fmla="*/ 7674 w 10000"/>
                <a:gd name="connsiteY27" fmla="*/ 8143 h 10000"/>
                <a:gd name="connsiteX28" fmla="*/ 8605 w 10000"/>
                <a:gd name="connsiteY28" fmla="*/ 8429 h 10000"/>
                <a:gd name="connsiteX29" fmla="*/ 9070 w 10000"/>
                <a:gd name="connsiteY29" fmla="*/ 8857 h 10000"/>
                <a:gd name="connsiteX30" fmla="*/ 9302 w 10000"/>
                <a:gd name="connsiteY30" fmla="*/ 9143 h 10000"/>
                <a:gd name="connsiteX31" fmla="*/ 10000 w 10000"/>
                <a:gd name="connsiteY31" fmla="*/ 8857 h 10000"/>
                <a:gd name="connsiteX32" fmla="*/ 10000 w 10000"/>
                <a:gd name="connsiteY32" fmla="*/ 8429 h 10000"/>
                <a:gd name="connsiteX33" fmla="*/ 9302 w 10000"/>
                <a:gd name="connsiteY33" fmla="*/ 7714 h 10000"/>
                <a:gd name="connsiteX34" fmla="*/ 9302 w 10000"/>
                <a:gd name="connsiteY34" fmla="*/ 7000 h 10000"/>
                <a:gd name="connsiteX35" fmla="*/ 9535 w 10000"/>
                <a:gd name="connsiteY35" fmla="*/ 7000 h 10000"/>
                <a:gd name="connsiteX36" fmla="*/ 9070 w 10000"/>
                <a:gd name="connsiteY36" fmla="*/ 6286 h 10000"/>
                <a:gd name="connsiteX37" fmla="*/ 8837 w 10000"/>
                <a:gd name="connsiteY37" fmla="*/ 6000 h 10000"/>
                <a:gd name="connsiteX38" fmla="*/ 7674 w 10000"/>
                <a:gd name="connsiteY38" fmla="*/ 5857 h 10000"/>
                <a:gd name="connsiteX39" fmla="*/ 6512 w 10000"/>
                <a:gd name="connsiteY39" fmla="*/ 5571 h 10000"/>
                <a:gd name="connsiteX40" fmla="*/ 6047 w 10000"/>
                <a:gd name="connsiteY40" fmla="*/ 4857 h 10000"/>
                <a:gd name="connsiteX41" fmla="*/ 5581 w 10000"/>
                <a:gd name="connsiteY41" fmla="*/ 3714 h 10000"/>
                <a:gd name="connsiteX42" fmla="*/ 6047 w 10000"/>
                <a:gd name="connsiteY42" fmla="*/ 3286 h 10000"/>
                <a:gd name="connsiteX43" fmla="*/ 5814 w 10000"/>
                <a:gd name="connsiteY43" fmla="*/ 2286 h 10000"/>
                <a:gd name="connsiteX44" fmla="*/ 6977 w 10000"/>
                <a:gd name="connsiteY44" fmla="*/ 2286 h 10000"/>
                <a:gd name="connsiteX45" fmla="*/ 7442 w 10000"/>
                <a:gd name="connsiteY45" fmla="*/ 2857 h 10000"/>
                <a:gd name="connsiteX46" fmla="*/ 8372 w 10000"/>
                <a:gd name="connsiteY46" fmla="*/ 2857 h 10000"/>
                <a:gd name="connsiteX47" fmla="*/ 8372 w 10000"/>
                <a:gd name="connsiteY47" fmla="*/ 2429 h 10000"/>
                <a:gd name="connsiteX48" fmla="*/ 8605 w 10000"/>
                <a:gd name="connsiteY48" fmla="*/ 2143 h 10000"/>
                <a:gd name="connsiteX49" fmla="*/ 8837 w 10000"/>
                <a:gd name="connsiteY49" fmla="*/ 2286 h 10000"/>
                <a:gd name="connsiteX50" fmla="*/ 8605 w 10000"/>
                <a:gd name="connsiteY50" fmla="*/ 1429 h 10000"/>
                <a:gd name="connsiteX51" fmla="*/ 9070 w 10000"/>
                <a:gd name="connsiteY51" fmla="*/ 857 h 10000"/>
                <a:gd name="connsiteX52" fmla="*/ 9070 w 10000"/>
                <a:gd name="connsiteY52" fmla="*/ 286 h 10000"/>
                <a:gd name="connsiteX53" fmla="*/ 8605 w 10000"/>
                <a:gd name="connsiteY53" fmla="*/ 0 h 10000"/>
                <a:gd name="connsiteX54" fmla="*/ 8140 w 10000"/>
                <a:gd name="connsiteY54" fmla="*/ 0 h 10000"/>
                <a:gd name="connsiteX55" fmla="*/ 6512 w 10000"/>
                <a:gd name="connsiteY55" fmla="*/ 143 h 10000"/>
                <a:gd name="connsiteX56" fmla="*/ 6279 w 10000"/>
                <a:gd name="connsiteY56" fmla="*/ 0 h 10000"/>
                <a:gd name="connsiteX57" fmla="*/ 6279 w 10000"/>
                <a:gd name="connsiteY57" fmla="*/ 714 h 10000"/>
                <a:gd name="connsiteX58" fmla="*/ 6279 w 10000"/>
                <a:gd name="connsiteY58" fmla="*/ 857 h 10000"/>
                <a:gd name="connsiteX0" fmla="*/ 6279 w 10000"/>
                <a:gd name="connsiteY0" fmla="*/ 857 h 10000"/>
                <a:gd name="connsiteX1" fmla="*/ 5349 w 10000"/>
                <a:gd name="connsiteY1" fmla="*/ 1857 h 10000"/>
                <a:gd name="connsiteX2" fmla="*/ 5814 w 10000"/>
                <a:gd name="connsiteY2" fmla="*/ 5429 h 10000"/>
                <a:gd name="connsiteX3" fmla="*/ 5116 w 10000"/>
                <a:gd name="connsiteY3" fmla="*/ 5571 h 10000"/>
                <a:gd name="connsiteX4" fmla="*/ 4884 w 10000"/>
                <a:gd name="connsiteY4" fmla="*/ 6429 h 10000"/>
                <a:gd name="connsiteX5" fmla="*/ 4651 w 10000"/>
                <a:gd name="connsiteY5" fmla="*/ 6857 h 10000"/>
                <a:gd name="connsiteX6" fmla="*/ 5349 w 10000"/>
                <a:gd name="connsiteY6" fmla="*/ 7429 h 10000"/>
                <a:gd name="connsiteX7" fmla="*/ 5349 w 10000"/>
                <a:gd name="connsiteY7" fmla="*/ 7714 h 10000"/>
                <a:gd name="connsiteX8" fmla="*/ 3953 w 10000"/>
                <a:gd name="connsiteY8" fmla="*/ 7286 h 10000"/>
                <a:gd name="connsiteX9" fmla="*/ 2558 w 10000"/>
                <a:gd name="connsiteY9" fmla="*/ 6857 h 10000"/>
                <a:gd name="connsiteX10" fmla="*/ 1395 w 10000"/>
                <a:gd name="connsiteY10" fmla="*/ 6857 h 10000"/>
                <a:gd name="connsiteX11" fmla="*/ 1395 w 10000"/>
                <a:gd name="connsiteY11" fmla="*/ 7429 h 10000"/>
                <a:gd name="connsiteX12" fmla="*/ 0 w 10000"/>
                <a:gd name="connsiteY12" fmla="*/ 7571 h 10000"/>
                <a:gd name="connsiteX13" fmla="*/ 0 w 10000"/>
                <a:gd name="connsiteY13" fmla="*/ 9143 h 10000"/>
                <a:gd name="connsiteX14" fmla="*/ 465 w 10000"/>
                <a:gd name="connsiteY14" fmla="*/ 9714 h 10000"/>
                <a:gd name="connsiteX15" fmla="*/ 1395 w 10000"/>
                <a:gd name="connsiteY15" fmla="*/ 9714 h 10000"/>
                <a:gd name="connsiteX16" fmla="*/ 1860 w 10000"/>
                <a:gd name="connsiteY16" fmla="*/ 9857 h 10000"/>
                <a:gd name="connsiteX17" fmla="*/ 1628 w 10000"/>
                <a:gd name="connsiteY17" fmla="*/ 9857 h 10000"/>
                <a:gd name="connsiteX18" fmla="*/ 2093 w 10000"/>
                <a:gd name="connsiteY18" fmla="*/ 10000 h 10000"/>
                <a:gd name="connsiteX19" fmla="*/ 2558 w 10000"/>
                <a:gd name="connsiteY19" fmla="*/ 9857 h 10000"/>
                <a:gd name="connsiteX20" fmla="*/ 3488 w 10000"/>
                <a:gd name="connsiteY20" fmla="*/ 10000 h 10000"/>
                <a:gd name="connsiteX21" fmla="*/ 4186 w 10000"/>
                <a:gd name="connsiteY21" fmla="*/ 9571 h 10000"/>
                <a:gd name="connsiteX22" fmla="*/ 5116 w 10000"/>
                <a:gd name="connsiteY22" fmla="*/ 9000 h 10000"/>
                <a:gd name="connsiteX23" fmla="*/ 5814 w 10000"/>
                <a:gd name="connsiteY23" fmla="*/ 8857 h 10000"/>
                <a:gd name="connsiteX24" fmla="*/ 5581 w 10000"/>
                <a:gd name="connsiteY24" fmla="*/ 8857 h 10000"/>
                <a:gd name="connsiteX25" fmla="*/ 5581 w 10000"/>
                <a:gd name="connsiteY25" fmla="*/ 8714 h 10000"/>
                <a:gd name="connsiteX26" fmla="*/ 7674 w 10000"/>
                <a:gd name="connsiteY26" fmla="*/ 8143 h 10000"/>
                <a:gd name="connsiteX27" fmla="*/ 8605 w 10000"/>
                <a:gd name="connsiteY27" fmla="*/ 8429 h 10000"/>
                <a:gd name="connsiteX28" fmla="*/ 9070 w 10000"/>
                <a:gd name="connsiteY28" fmla="*/ 8857 h 10000"/>
                <a:gd name="connsiteX29" fmla="*/ 9302 w 10000"/>
                <a:gd name="connsiteY29" fmla="*/ 9143 h 10000"/>
                <a:gd name="connsiteX30" fmla="*/ 10000 w 10000"/>
                <a:gd name="connsiteY30" fmla="*/ 8857 h 10000"/>
                <a:gd name="connsiteX31" fmla="*/ 10000 w 10000"/>
                <a:gd name="connsiteY31" fmla="*/ 8429 h 10000"/>
                <a:gd name="connsiteX32" fmla="*/ 9302 w 10000"/>
                <a:gd name="connsiteY32" fmla="*/ 7714 h 10000"/>
                <a:gd name="connsiteX33" fmla="*/ 9302 w 10000"/>
                <a:gd name="connsiteY33" fmla="*/ 7000 h 10000"/>
                <a:gd name="connsiteX34" fmla="*/ 9535 w 10000"/>
                <a:gd name="connsiteY34" fmla="*/ 7000 h 10000"/>
                <a:gd name="connsiteX35" fmla="*/ 9070 w 10000"/>
                <a:gd name="connsiteY35" fmla="*/ 6286 h 10000"/>
                <a:gd name="connsiteX36" fmla="*/ 8837 w 10000"/>
                <a:gd name="connsiteY36" fmla="*/ 6000 h 10000"/>
                <a:gd name="connsiteX37" fmla="*/ 7674 w 10000"/>
                <a:gd name="connsiteY37" fmla="*/ 5857 h 10000"/>
                <a:gd name="connsiteX38" fmla="*/ 6512 w 10000"/>
                <a:gd name="connsiteY38" fmla="*/ 5571 h 10000"/>
                <a:gd name="connsiteX39" fmla="*/ 6047 w 10000"/>
                <a:gd name="connsiteY39" fmla="*/ 4857 h 10000"/>
                <a:gd name="connsiteX40" fmla="*/ 5581 w 10000"/>
                <a:gd name="connsiteY40" fmla="*/ 3714 h 10000"/>
                <a:gd name="connsiteX41" fmla="*/ 6047 w 10000"/>
                <a:gd name="connsiteY41" fmla="*/ 3286 h 10000"/>
                <a:gd name="connsiteX42" fmla="*/ 5814 w 10000"/>
                <a:gd name="connsiteY42" fmla="*/ 2286 h 10000"/>
                <a:gd name="connsiteX43" fmla="*/ 6977 w 10000"/>
                <a:gd name="connsiteY43" fmla="*/ 2286 h 10000"/>
                <a:gd name="connsiteX44" fmla="*/ 7442 w 10000"/>
                <a:gd name="connsiteY44" fmla="*/ 2857 h 10000"/>
                <a:gd name="connsiteX45" fmla="*/ 8372 w 10000"/>
                <a:gd name="connsiteY45" fmla="*/ 2857 h 10000"/>
                <a:gd name="connsiteX46" fmla="*/ 8372 w 10000"/>
                <a:gd name="connsiteY46" fmla="*/ 2429 h 10000"/>
                <a:gd name="connsiteX47" fmla="*/ 8605 w 10000"/>
                <a:gd name="connsiteY47" fmla="*/ 2143 h 10000"/>
                <a:gd name="connsiteX48" fmla="*/ 8837 w 10000"/>
                <a:gd name="connsiteY48" fmla="*/ 2286 h 10000"/>
                <a:gd name="connsiteX49" fmla="*/ 8605 w 10000"/>
                <a:gd name="connsiteY49" fmla="*/ 1429 h 10000"/>
                <a:gd name="connsiteX50" fmla="*/ 9070 w 10000"/>
                <a:gd name="connsiteY50" fmla="*/ 857 h 10000"/>
                <a:gd name="connsiteX51" fmla="*/ 9070 w 10000"/>
                <a:gd name="connsiteY51" fmla="*/ 286 h 10000"/>
                <a:gd name="connsiteX52" fmla="*/ 8605 w 10000"/>
                <a:gd name="connsiteY52" fmla="*/ 0 h 10000"/>
                <a:gd name="connsiteX53" fmla="*/ 8140 w 10000"/>
                <a:gd name="connsiteY53" fmla="*/ 0 h 10000"/>
                <a:gd name="connsiteX54" fmla="*/ 6512 w 10000"/>
                <a:gd name="connsiteY54" fmla="*/ 143 h 10000"/>
                <a:gd name="connsiteX55" fmla="*/ 6279 w 10000"/>
                <a:gd name="connsiteY55" fmla="*/ 0 h 10000"/>
                <a:gd name="connsiteX56" fmla="*/ 6279 w 10000"/>
                <a:gd name="connsiteY56" fmla="*/ 714 h 10000"/>
                <a:gd name="connsiteX57" fmla="*/ 6279 w 10000"/>
                <a:gd name="connsiteY57" fmla="*/ 857 h 10000"/>
                <a:gd name="connsiteX0" fmla="*/ 6279 w 10000"/>
                <a:gd name="connsiteY0" fmla="*/ 857 h 10000"/>
                <a:gd name="connsiteX1" fmla="*/ 5814 w 10000"/>
                <a:gd name="connsiteY1" fmla="*/ 5429 h 10000"/>
                <a:gd name="connsiteX2" fmla="*/ 5116 w 10000"/>
                <a:gd name="connsiteY2" fmla="*/ 5571 h 10000"/>
                <a:gd name="connsiteX3" fmla="*/ 4884 w 10000"/>
                <a:gd name="connsiteY3" fmla="*/ 6429 h 10000"/>
                <a:gd name="connsiteX4" fmla="*/ 4651 w 10000"/>
                <a:gd name="connsiteY4" fmla="*/ 6857 h 10000"/>
                <a:gd name="connsiteX5" fmla="*/ 5349 w 10000"/>
                <a:gd name="connsiteY5" fmla="*/ 7429 h 10000"/>
                <a:gd name="connsiteX6" fmla="*/ 5349 w 10000"/>
                <a:gd name="connsiteY6" fmla="*/ 7714 h 10000"/>
                <a:gd name="connsiteX7" fmla="*/ 3953 w 10000"/>
                <a:gd name="connsiteY7" fmla="*/ 7286 h 10000"/>
                <a:gd name="connsiteX8" fmla="*/ 2558 w 10000"/>
                <a:gd name="connsiteY8" fmla="*/ 6857 h 10000"/>
                <a:gd name="connsiteX9" fmla="*/ 1395 w 10000"/>
                <a:gd name="connsiteY9" fmla="*/ 6857 h 10000"/>
                <a:gd name="connsiteX10" fmla="*/ 1395 w 10000"/>
                <a:gd name="connsiteY10" fmla="*/ 7429 h 10000"/>
                <a:gd name="connsiteX11" fmla="*/ 0 w 10000"/>
                <a:gd name="connsiteY11" fmla="*/ 7571 h 10000"/>
                <a:gd name="connsiteX12" fmla="*/ 0 w 10000"/>
                <a:gd name="connsiteY12" fmla="*/ 9143 h 10000"/>
                <a:gd name="connsiteX13" fmla="*/ 465 w 10000"/>
                <a:gd name="connsiteY13" fmla="*/ 9714 h 10000"/>
                <a:gd name="connsiteX14" fmla="*/ 1395 w 10000"/>
                <a:gd name="connsiteY14" fmla="*/ 9714 h 10000"/>
                <a:gd name="connsiteX15" fmla="*/ 1860 w 10000"/>
                <a:gd name="connsiteY15" fmla="*/ 9857 h 10000"/>
                <a:gd name="connsiteX16" fmla="*/ 1628 w 10000"/>
                <a:gd name="connsiteY16" fmla="*/ 9857 h 10000"/>
                <a:gd name="connsiteX17" fmla="*/ 2093 w 10000"/>
                <a:gd name="connsiteY17" fmla="*/ 10000 h 10000"/>
                <a:gd name="connsiteX18" fmla="*/ 2558 w 10000"/>
                <a:gd name="connsiteY18" fmla="*/ 9857 h 10000"/>
                <a:gd name="connsiteX19" fmla="*/ 3488 w 10000"/>
                <a:gd name="connsiteY19" fmla="*/ 10000 h 10000"/>
                <a:gd name="connsiteX20" fmla="*/ 4186 w 10000"/>
                <a:gd name="connsiteY20" fmla="*/ 9571 h 10000"/>
                <a:gd name="connsiteX21" fmla="*/ 5116 w 10000"/>
                <a:gd name="connsiteY21" fmla="*/ 9000 h 10000"/>
                <a:gd name="connsiteX22" fmla="*/ 5814 w 10000"/>
                <a:gd name="connsiteY22" fmla="*/ 8857 h 10000"/>
                <a:gd name="connsiteX23" fmla="*/ 5581 w 10000"/>
                <a:gd name="connsiteY23" fmla="*/ 8857 h 10000"/>
                <a:gd name="connsiteX24" fmla="*/ 5581 w 10000"/>
                <a:gd name="connsiteY24" fmla="*/ 8714 h 10000"/>
                <a:gd name="connsiteX25" fmla="*/ 7674 w 10000"/>
                <a:gd name="connsiteY25" fmla="*/ 8143 h 10000"/>
                <a:gd name="connsiteX26" fmla="*/ 8605 w 10000"/>
                <a:gd name="connsiteY26" fmla="*/ 8429 h 10000"/>
                <a:gd name="connsiteX27" fmla="*/ 9070 w 10000"/>
                <a:gd name="connsiteY27" fmla="*/ 8857 h 10000"/>
                <a:gd name="connsiteX28" fmla="*/ 9302 w 10000"/>
                <a:gd name="connsiteY28" fmla="*/ 9143 h 10000"/>
                <a:gd name="connsiteX29" fmla="*/ 10000 w 10000"/>
                <a:gd name="connsiteY29" fmla="*/ 8857 h 10000"/>
                <a:gd name="connsiteX30" fmla="*/ 10000 w 10000"/>
                <a:gd name="connsiteY30" fmla="*/ 8429 h 10000"/>
                <a:gd name="connsiteX31" fmla="*/ 9302 w 10000"/>
                <a:gd name="connsiteY31" fmla="*/ 7714 h 10000"/>
                <a:gd name="connsiteX32" fmla="*/ 9302 w 10000"/>
                <a:gd name="connsiteY32" fmla="*/ 7000 h 10000"/>
                <a:gd name="connsiteX33" fmla="*/ 9535 w 10000"/>
                <a:gd name="connsiteY33" fmla="*/ 7000 h 10000"/>
                <a:gd name="connsiteX34" fmla="*/ 9070 w 10000"/>
                <a:gd name="connsiteY34" fmla="*/ 6286 h 10000"/>
                <a:gd name="connsiteX35" fmla="*/ 8837 w 10000"/>
                <a:gd name="connsiteY35" fmla="*/ 6000 h 10000"/>
                <a:gd name="connsiteX36" fmla="*/ 7674 w 10000"/>
                <a:gd name="connsiteY36" fmla="*/ 5857 h 10000"/>
                <a:gd name="connsiteX37" fmla="*/ 6512 w 10000"/>
                <a:gd name="connsiteY37" fmla="*/ 5571 h 10000"/>
                <a:gd name="connsiteX38" fmla="*/ 6047 w 10000"/>
                <a:gd name="connsiteY38" fmla="*/ 4857 h 10000"/>
                <a:gd name="connsiteX39" fmla="*/ 5581 w 10000"/>
                <a:gd name="connsiteY39" fmla="*/ 3714 h 10000"/>
                <a:gd name="connsiteX40" fmla="*/ 6047 w 10000"/>
                <a:gd name="connsiteY40" fmla="*/ 3286 h 10000"/>
                <a:gd name="connsiteX41" fmla="*/ 5814 w 10000"/>
                <a:gd name="connsiteY41" fmla="*/ 2286 h 10000"/>
                <a:gd name="connsiteX42" fmla="*/ 6977 w 10000"/>
                <a:gd name="connsiteY42" fmla="*/ 2286 h 10000"/>
                <a:gd name="connsiteX43" fmla="*/ 7442 w 10000"/>
                <a:gd name="connsiteY43" fmla="*/ 2857 h 10000"/>
                <a:gd name="connsiteX44" fmla="*/ 8372 w 10000"/>
                <a:gd name="connsiteY44" fmla="*/ 2857 h 10000"/>
                <a:gd name="connsiteX45" fmla="*/ 8372 w 10000"/>
                <a:gd name="connsiteY45" fmla="*/ 2429 h 10000"/>
                <a:gd name="connsiteX46" fmla="*/ 8605 w 10000"/>
                <a:gd name="connsiteY46" fmla="*/ 2143 h 10000"/>
                <a:gd name="connsiteX47" fmla="*/ 8837 w 10000"/>
                <a:gd name="connsiteY47" fmla="*/ 2286 h 10000"/>
                <a:gd name="connsiteX48" fmla="*/ 8605 w 10000"/>
                <a:gd name="connsiteY48" fmla="*/ 1429 h 10000"/>
                <a:gd name="connsiteX49" fmla="*/ 9070 w 10000"/>
                <a:gd name="connsiteY49" fmla="*/ 857 h 10000"/>
                <a:gd name="connsiteX50" fmla="*/ 9070 w 10000"/>
                <a:gd name="connsiteY50" fmla="*/ 286 h 10000"/>
                <a:gd name="connsiteX51" fmla="*/ 8605 w 10000"/>
                <a:gd name="connsiteY51" fmla="*/ 0 h 10000"/>
                <a:gd name="connsiteX52" fmla="*/ 8140 w 10000"/>
                <a:gd name="connsiteY52" fmla="*/ 0 h 10000"/>
                <a:gd name="connsiteX53" fmla="*/ 6512 w 10000"/>
                <a:gd name="connsiteY53" fmla="*/ 143 h 10000"/>
                <a:gd name="connsiteX54" fmla="*/ 6279 w 10000"/>
                <a:gd name="connsiteY54" fmla="*/ 0 h 10000"/>
                <a:gd name="connsiteX55" fmla="*/ 6279 w 10000"/>
                <a:gd name="connsiteY55" fmla="*/ 714 h 10000"/>
                <a:gd name="connsiteX56" fmla="*/ 6279 w 10000"/>
                <a:gd name="connsiteY56" fmla="*/ 857 h 10000"/>
                <a:gd name="connsiteX0" fmla="*/ 6279 w 10000"/>
                <a:gd name="connsiteY0" fmla="*/ 714 h 10000"/>
                <a:gd name="connsiteX1" fmla="*/ 5814 w 10000"/>
                <a:gd name="connsiteY1" fmla="*/ 5429 h 10000"/>
                <a:gd name="connsiteX2" fmla="*/ 5116 w 10000"/>
                <a:gd name="connsiteY2" fmla="*/ 5571 h 10000"/>
                <a:gd name="connsiteX3" fmla="*/ 4884 w 10000"/>
                <a:gd name="connsiteY3" fmla="*/ 6429 h 10000"/>
                <a:gd name="connsiteX4" fmla="*/ 4651 w 10000"/>
                <a:gd name="connsiteY4" fmla="*/ 6857 h 10000"/>
                <a:gd name="connsiteX5" fmla="*/ 5349 w 10000"/>
                <a:gd name="connsiteY5" fmla="*/ 7429 h 10000"/>
                <a:gd name="connsiteX6" fmla="*/ 5349 w 10000"/>
                <a:gd name="connsiteY6" fmla="*/ 7714 h 10000"/>
                <a:gd name="connsiteX7" fmla="*/ 3953 w 10000"/>
                <a:gd name="connsiteY7" fmla="*/ 7286 h 10000"/>
                <a:gd name="connsiteX8" fmla="*/ 2558 w 10000"/>
                <a:gd name="connsiteY8" fmla="*/ 6857 h 10000"/>
                <a:gd name="connsiteX9" fmla="*/ 1395 w 10000"/>
                <a:gd name="connsiteY9" fmla="*/ 6857 h 10000"/>
                <a:gd name="connsiteX10" fmla="*/ 1395 w 10000"/>
                <a:gd name="connsiteY10" fmla="*/ 7429 h 10000"/>
                <a:gd name="connsiteX11" fmla="*/ 0 w 10000"/>
                <a:gd name="connsiteY11" fmla="*/ 7571 h 10000"/>
                <a:gd name="connsiteX12" fmla="*/ 0 w 10000"/>
                <a:gd name="connsiteY12" fmla="*/ 9143 h 10000"/>
                <a:gd name="connsiteX13" fmla="*/ 465 w 10000"/>
                <a:gd name="connsiteY13" fmla="*/ 9714 h 10000"/>
                <a:gd name="connsiteX14" fmla="*/ 1395 w 10000"/>
                <a:gd name="connsiteY14" fmla="*/ 9714 h 10000"/>
                <a:gd name="connsiteX15" fmla="*/ 1860 w 10000"/>
                <a:gd name="connsiteY15" fmla="*/ 9857 h 10000"/>
                <a:gd name="connsiteX16" fmla="*/ 1628 w 10000"/>
                <a:gd name="connsiteY16" fmla="*/ 9857 h 10000"/>
                <a:gd name="connsiteX17" fmla="*/ 2093 w 10000"/>
                <a:gd name="connsiteY17" fmla="*/ 10000 h 10000"/>
                <a:gd name="connsiteX18" fmla="*/ 2558 w 10000"/>
                <a:gd name="connsiteY18" fmla="*/ 9857 h 10000"/>
                <a:gd name="connsiteX19" fmla="*/ 3488 w 10000"/>
                <a:gd name="connsiteY19" fmla="*/ 10000 h 10000"/>
                <a:gd name="connsiteX20" fmla="*/ 4186 w 10000"/>
                <a:gd name="connsiteY20" fmla="*/ 9571 h 10000"/>
                <a:gd name="connsiteX21" fmla="*/ 5116 w 10000"/>
                <a:gd name="connsiteY21" fmla="*/ 9000 h 10000"/>
                <a:gd name="connsiteX22" fmla="*/ 5814 w 10000"/>
                <a:gd name="connsiteY22" fmla="*/ 8857 h 10000"/>
                <a:gd name="connsiteX23" fmla="*/ 5581 w 10000"/>
                <a:gd name="connsiteY23" fmla="*/ 8857 h 10000"/>
                <a:gd name="connsiteX24" fmla="*/ 5581 w 10000"/>
                <a:gd name="connsiteY24" fmla="*/ 8714 h 10000"/>
                <a:gd name="connsiteX25" fmla="*/ 7674 w 10000"/>
                <a:gd name="connsiteY25" fmla="*/ 8143 h 10000"/>
                <a:gd name="connsiteX26" fmla="*/ 8605 w 10000"/>
                <a:gd name="connsiteY26" fmla="*/ 8429 h 10000"/>
                <a:gd name="connsiteX27" fmla="*/ 9070 w 10000"/>
                <a:gd name="connsiteY27" fmla="*/ 8857 h 10000"/>
                <a:gd name="connsiteX28" fmla="*/ 9302 w 10000"/>
                <a:gd name="connsiteY28" fmla="*/ 9143 h 10000"/>
                <a:gd name="connsiteX29" fmla="*/ 10000 w 10000"/>
                <a:gd name="connsiteY29" fmla="*/ 8857 h 10000"/>
                <a:gd name="connsiteX30" fmla="*/ 10000 w 10000"/>
                <a:gd name="connsiteY30" fmla="*/ 8429 h 10000"/>
                <a:gd name="connsiteX31" fmla="*/ 9302 w 10000"/>
                <a:gd name="connsiteY31" fmla="*/ 7714 h 10000"/>
                <a:gd name="connsiteX32" fmla="*/ 9302 w 10000"/>
                <a:gd name="connsiteY32" fmla="*/ 7000 h 10000"/>
                <a:gd name="connsiteX33" fmla="*/ 9535 w 10000"/>
                <a:gd name="connsiteY33" fmla="*/ 7000 h 10000"/>
                <a:gd name="connsiteX34" fmla="*/ 9070 w 10000"/>
                <a:gd name="connsiteY34" fmla="*/ 6286 h 10000"/>
                <a:gd name="connsiteX35" fmla="*/ 8837 w 10000"/>
                <a:gd name="connsiteY35" fmla="*/ 6000 h 10000"/>
                <a:gd name="connsiteX36" fmla="*/ 7674 w 10000"/>
                <a:gd name="connsiteY36" fmla="*/ 5857 h 10000"/>
                <a:gd name="connsiteX37" fmla="*/ 6512 w 10000"/>
                <a:gd name="connsiteY37" fmla="*/ 5571 h 10000"/>
                <a:gd name="connsiteX38" fmla="*/ 6047 w 10000"/>
                <a:gd name="connsiteY38" fmla="*/ 4857 h 10000"/>
                <a:gd name="connsiteX39" fmla="*/ 5581 w 10000"/>
                <a:gd name="connsiteY39" fmla="*/ 3714 h 10000"/>
                <a:gd name="connsiteX40" fmla="*/ 6047 w 10000"/>
                <a:gd name="connsiteY40" fmla="*/ 3286 h 10000"/>
                <a:gd name="connsiteX41" fmla="*/ 5814 w 10000"/>
                <a:gd name="connsiteY41" fmla="*/ 2286 h 10000"/>
                <a:gd name="connsiteX42" fmla="*/ 6977 w 10000"/>
                <a:gd name="connsiteY42" fmla="*/ 2286 h 10000"/>
                <a:gd name="connsiteX43" fmla="*/ 7442 w 10000"/>
                <a:gd name="connsiteY43" fmla="*/ 2857 h 10000"/>
                <a:gd name="connsiteX44" fmla="*/ 8372 w 10000"/>
                <a:gd name="connsiteY44" fmla="*/ 2857 h 10000"/>
                <a:gd name="connsiteX45" fmla="*/ 8372 w 10000"/>
                <a:gd name="connsiteY45" fmla="*/ 2429 h 10000"/>
                <a:gd name="connsiteX46" fmla="*/ 8605 w 10000"/>
                <a:gd name="connsiteY46" fmla="*/ 2143 h 10000"/>
                <a:gd name="connsiteX47" fmla="*/ 8837 w 10000"/>
                <a:gd name="connsiteY47" fmla="*/ 2286 h 10000"/>
                <a:gd name="connsiteX48" fmla="*/ 8605 w 10000"/>
                <a:gd name="connsiteY48" fmla="*/ 1429 h 10000"/>
                <a:gd name="connsiteX49" fmla="*/ 9070 w 10000"/>
                <a:gd name="connsiteY49" fmla="*/ 857 h 10000"/>
                <a:gd name="connsiteX50" fmla="*/ 9070 w 10000"/>
                <a:gd name="connsiteY50" fmla="*/ 286 h 10000"/>
                <a:gd name="connsiteX51" fmla="*/ 8605 w 10000"/>
                <a:gd name="connsiteY51" fmla="*/ 0 h 10000"/>
                <a:gd name="connsiteX52" fmla="*/ 8140 w 10000"/>
                <a:gd name="connsiteY52" fmla="*/ 0 h 10000"/>
                <a:gd name="connsiteX53" fmla="*/ 6512 w 10000"/>
                <a:gd name="connsiteY53" fmla="*/ 143 h 10000"/>
                <a:gd name="connsiteX54" fmla="*/ 6279 w 10000"/>
                <a:gd name="connsiteY54" fmla="*/ 0 h 10000"/>
                <a:gd name="connsiteX55" fmla="*/ 6279 w 10000"/>
                <a:gd name="connsiteY55" fmla="*/ 714 h 10000"/>
                <a:gd name="connsiteX0" fmla="*/ 6279 w 10000"/>
                <a:gd name="connsiteY0" fmla="*/ 0 h 10000"/>
                <a:gd name="connsiteX1" fmla="*/ 5814 w 10000"/>
                <a:gd name="connsiteY1" fmla="*/ 5429 h 10000"/>
                <a:gd name="connsiteX2" fmla="*/ 5116 w 10000"/>
                <a:gd name="connsiteY2" fmla="*/ 5571 h 10000"/>
                <a:gd name="connsiteX3" fmla="*/ 4884 w 10000"/>
                <a:gd name="connsiteY3" fmla="*/ 6429 h 10000"/>
                <a:gd name="connsiteX4" fmla="*/ 4651 w 10000"/>
                <a:gd name="connsiteY4" fmla="*/ 6857 h 10000"/>
                <a:gd name="connsiteX5" fmla="*/ 5349 w 10000"/>
                <a:gd name="connsiteY5" fmla="*/ 7429 h 10000"/>
                <a:gd name="connsiteX6" fmla="*/ 5349 w 10000"/>
                <a:gd name="connsiteY6" fmla="*/ 7714 h 10000"/>
                <a:gd name="connsiteX7" fmla="*/ 3953 w 10000"/>
                <a:gd name="connsiteY7" fmla="*/ 7286 h 10000"/>
                <a:gd name="connsiteX8" fmla="*/ 2558 w 10000"/>
                <a:gd name="connsiteY8" fmla="*/ 6857 h 10000"/>
                <a:gd name="connsiteX9" fmla="*/ 1395 w 10000"/>
                <a:gd name="connsiteY9" fmla="*/ 6857 h 10000"/>
                <a:gd name="connsiteX10" fmla="*/ 1395 w 10000"/>
                <a:gd name="connsiteY10" fmla="*/ 7429 h 10000"/>
                <a:gd name="connsiteX11" fmla="*/ 0 w 10000"/>
                <a:gd name="connsiteY11" fmla="*/ 7571 h 10000"/>
                <a:gd name="connsiteX12" fmla="*/ 0 w 10000"/>
                <a:gd name="connsiteY12" fmla="*/ 9143 h 10000"/>
                <a:gd name="connsiteX13" fmla="*/ 465 w 10000"/>
                <a:gd name="connsiteY13" fmla="*/ 9714 h 10000"/>
                <a:gd name="connsiteX14" fmla="*/ 1395 w 10000"/>
                <a:gd name="connsiteY14" fmla="*/ 9714 h 10000"/>
                <a:gd name="connsiteX15" fmla="*/ 1860 w 10000"/>
                <a:gd name="connsiteY15" fmla="*/ 9857 h 10000"/>
                <a:gd name="connsiteX16" fmla="*/ 1628 w 10000"/>
                <a:gd name="connsiteY16" fmla="*/ 9857 h 10000"/>
                <a:gd name="connsiteX17" fmla="*/ 2093 w 10000"/>
                <a:gd name="connsiteY17" fmla="*/ 10000 h 10000"/>
                <a:gd name="connsiteX18" fmla="*/ 2558 w 10000"/>
                <a:gd name="connsiteY18" fmla="*/ 9857 h 10000"/>
                <a:gd name="connsiteX19" fmla="*/ 3488 w 10000"/>
                <a:gd name="connsiteY19" fmla="*/ 10000 h 10000"/>
                <a:gd name="connsiteX20" fmla="*/ 4186 w 10000"/>
                <a:gd name="connsiteY20" fmla="*/ 9571 h 10000"/>
                <a:gd name="connsiteX21" fmla="*/ 5116 w 10000"/>
                <a:gd name="connsiteY21" fmla="*/ 9000 h 10000"/>
                <a:gd name="connsiteX22" fmla="*/ 5814 w 10000"/>
                <a:gd name="connsiteY22" fmla="*/ 8857 h 10000"/>
                <a:gd name="connsiteX23" fmla="*/ 5581 w 10000"/>
                <a:gd name="connsiteY23" fmla="*/ 8857 h 10000"/>
                <a:gd name="connsiteX24" fmla="*/ 5581 w 10000"/>
                <a:gd name="connsiteY24" fmla="*/ 8714 h 10000"/>
                <a:gd name="connsiteX25" fmla="*/ 7674 w 10000"/>
                <a:gd name="connsiteY25" fmla="*/ 8143 h 10000"/>
                <a:gd name="connsiteX26" fmla="*/ 8605 w 10000"/>
                <a:gd name="connsiteY26" fmla="*/ 8429 h 10000"/>
                <a:gd name="connsiteX27" fmla="*/ 9070 w 10000"/>
                <a:gd name="connsiteY27" fmla="*/ 8857 h 10000"/>
                <a:gd name="connsiteX28" fmla="*/ 9302 w 10000"/>
                <a:gd name="connsiteY28" fmla="*/ 9143 h 10000"/>
                <a:gd name="connsiteX29" fmla="*/ 10000 w 10000"/>
                <a:gd name="connsiteY29" fmla="*/ 8857 h 10000"/>
                <a:gd name="connsiteX30" fmla="*/ 10000 w 10000"/>
                <a:gd name="connsiteY30" fmla="*/ 8429 h 10000"/>
                <a:gd name="connsiteX31" fmla="*/ 9302 w 10000"/>
                <a:gd name="connsiteY31" fmla="*/ 7714 h 10000"/>
                <a:gd name="connsiteX32" fmla="*/ 9302 w 10000"/>
                <a:gd name="connsiteY32" fmla="*/ 7000 h 10000"/>
                <a:gd name="connsiteX33" fmla="*/ 9535 w 10000"/>
                <a:gd name="connsiteY33" fmla="*/ 7000 h 10000"/>
                <a:gd name="connsiteX34" fmla="*/ 9070 w 10000"/>
                <a:gd name="connsiteY34" fmla="*/ 6286 h 10000"/>
                <a:gd name="connsiteX35" fmla="*/ 8837 w 10000"/>
                <a:gd name="connsiteY35" fmla="*/ 6000 h 10000"/>
                <a:gd name="connsiteX36" fmla="*/ 7674 w 10000"/>
                <a:gd name="connsiteY36" fmla="*/ 5857 h 10000"/>
                <a:gd name="connsiteX37" fmla="*/ 6512 w 10000"/>
                <a:gd name="connsiteY37" fmla="*/ 5571 h 10000"/>
                <a:gd name="connsiteX38" fmla="*/ 6047 w 10000"/>
                <a:gd name="connsiteY38" fmla="*/ 4857 h 10000"/>
                <a:gd name="connsiteX39" fmla="*/ 5581 w 10000"/>
                <a:gd name="connsiteY39" fmla="*/ 3714 h 10000"/>
                <a:gd name="connsiteX40" fmla="*/ 6047 w 10000"/>
                <a:gd name="connsiteY40" fmla="*/ 3286 h 10000"/>
                <a:gd name="connsiteX41" fmla="*/ 5814 w 10000"/>
                <a:gd name="connsiteY41" fmla="*/ 2286 h 10000"/>
                <a:gd name="connsiteX42" fmla="*/ 6977 w 10000"/>
                <a:gd name="connsiteY42" fmla="*/ 2286 h 10000"/>
                <a:gd name="connsiteX43" fmla="*/ 7442 w 10000"/>
                <a:gd name="connsiteY43" fmla="*/ 2857 h 10000"/>
                <a:gd name="connsiteX44" fmla="*/ 8372 w 10000"/>
                <a:gd name="connsiteY44" fmla="*/ 2857 h 10000"/>
                <a:gd name="connsiteX45" fmla="*/ 8372 w 10000"/>
                <a:gd name="connsiteY45" fmla="*/ 2429 h 10000"/>
                <a:gd name="connsiteX46" fmla="*/ 8605 w 10000"/>
                <a:gd name="connsiteY46" fmla="*/ 2143 h 10000"/>
                <a:gd name="connsiteX47" fmla="*/ 8837 w 10000"/>
                <a:gd name="connsiteY47" fmla="*/ 2286 h 10000"/>
                <a:gd name="connsiteX48" fmla="*/ 8605 w 10000"/>
                <a:gd name="connsiteY48" fmla="*/ 1429 h 10000"/>
                <a:gd name="connsiteX49" fmla="*/ 9070 w 10000"/>
                <a:gd name="connsiteY49" fmla="*/ 857 h 10000"/>
                <a:gd name="connsiteX50" fmla="*/ 9070 w 10000"/>
                <a:gd name="connsiteY50" fmla="*/ 286 h 10000"/>
                <a:gd name="connsiteX51" fmla="*/ 8605 w 10000"/>
                <a:gd name="connsiteY51" fmla="*/ 0 h 10000"/>
                <a:gd name="connsiteX52" fmla="*/ 8140 w 10000"/>
                <a:gd name="connsiteY52" fmla="*/ 0 h 10000"/>
                <a:gd name="connsiteX53" fmla="*/ 6512 w 10000"/>
                <a:gd name="connsiteY53" fmla="*/ 143 h 10000"/>
                <a:gd name="connsiteX54" fmla="*/ 6279 w 10000"/>
                <a:gd name="connsiteY54" fmla="*/ 0 h 10000"/>
                <a:gd name="connsiteX0" fmla="*/ 6279 w 10000"/>
                <a:gd name="connsiteY0" fmla="*/ 0 h 10000"/>
                <a:gd name="connsiteX1" fmla="*/ 5814 w 10000"/>
                <a:gd name="connsiteY1" fmla="*/ 5429 h 10000"/>
                <a:gd name="connsiteX2" fmla="*/ 5116 w 10000"/>
                <a:gd name="connsiteY2" fmla="*/ 5571 h 10000"/>
                <a:gd name="connsiteX3" fmla="*/ 4884 w 10000"/>
                <a:gd name="connsiteY3" fmla="*/ 6429 h 10000"/>
                <a:gd name="connsiteX4" fmla="*/ 4651 w 10000"/>
                <a:gd name="connsiteY4" fmla="*/ 6857 h 10000"/>
                <a:gd name="connsiteX5" fmla="*/ 5349 w 10000"/>
                <a:gd name="connsiteY5" fmla="*/ 7429 h 10000"/>
                <a:gd name="connsiteX6" fmla="*/ 5349 w 10000"/>
                <a:gd name="connsiteY6" fmla="*/ 7714 h 10000"/>
                <a:gd name="connsiteX7" fmla="*/ 3953 w 10000"/>
                <a:gd name="connsiteY7" fmla="*/ 7286 h 10000"/>
                <a:gd name="connsiteX8" fmla="*/ 2558 w 10000"/>
                <a:gd name="connsiteY8" fmla="*/ 6857 h 10000"/>
                <a:gd name="connsiteX9" fmla="*/ 1395 w 10000"/>
                <a:gd name="connsiteY9" fmla="*/ 6857 h 10000"/>
                <a:gd name="connsiteX10" fmla="*/ 1395 w 10000"/>
                <a:gd name="connsiteY10" fmla="*/ 7429 h 10000"/>
                <a:gd name="connsiteX11" fmla="*/ 0 w 10000"/>
                <a:gd name="connsiteY11" fmla="*/ 7571 h 10000"/>
                <a:gd name="connsiteX12" fmla="*/ 0 w 10000"/>
                <a:gd name="connsiteY12" fmla="*/ 9143 h 10000"/>
                <a:gd name="connsiteX13" fmla="*/ 465 w 10000"/>
                <a:gd name="connsiteY13" fmla="*/ 9714 h 10000"/>
                <a:gd name="connsiteX14" fmla="*/ 1395 w 10000"/>
                <a:gd name="connsiteY14" fmla="*/ 9714 h 10000"/>
                <a:gd name="connsiteX15" fmla="*/ 1860 w 10000"/>
                <a:gd name="connsiteY15" fmla="*/ 9857 h 10000"/>
                <a:gd name="connsiteX16" fmla="*/ 1628 w 10000"/>
                <a:gd name="connsiteY16" fmla="*/ 9857 h 10000"/>
                <a:gd name="connsiteX17" fmla="*/ 2093 w 10000"/>
                <a:gd name="connsiteY17" fmla="*/ 10000 h 10000"/>
                <a:gd name="connsiteX18" fmla="*/ 2558 w 10000"/>
                <a:gd name="connsiteY18" fmla="*/ 9857 h 10000"/>
                <a:gd name="connsiteX19" fmla="*/ 3488 w 10000"/>
                <a:gd name="connsiteY19" fmla="*/ 10000 h 10000"/>
                <a:gd name="connsiteX20" fmla="*/ 4186 w 10000"/>
                <a:gd name="connsiteY20" fmla="*/ 9571 h 10000"/>
                <a:gd name="connsiteX21" fmla="*/ 5116 w 10000"/>
                <a:gd name="connsiteY21" fmla="*/ 9000 h 10000"/>
                <a:gd name="connsiteX22" fmla="*/ 5814 w 10000"/>
                <a:gd name="connsiteY22" fmla="*/ 8857 h 10000"/>
                <a:gd name="connsiteX23" fmla="*/ 5581 w 10000"/>
                <a:gd name="connsiteY23" fmla="*/ 8857 h 10000"/>
                <a:gd name="connsiteX24" fmla="*/ 5581 w 10000"/>
                <a:gd name="connsiteY24" fmla="*/ 8714 h 10000"/>
                <a:gd name="connsiteX25" fmla="*/ 7674 w 10000"/>
                <a:gd name="connsiteY25" fmla="*/ 8143 h 10000"/>
                <a:gd name="connsiteX26" fmla="*/ 8605 w 10000"/>
                <a:gd name="connsiteY26" fmla="*/ 8429 h 10000"/>
                <a:gd name="connsiteX27" fmla="*/ 9070 w 10000"/>
                <a:gd name="connsiteY27" fmla="*/ 8857 h 10000"/>
                <a:gd name="connsiteX28" fmla="*/ 9302 w 10000"/>
                <a:gd name="connsiteY28" fmla="*/ 9143 h 10000"/>
                <a:gd name="connsiteX29" fmla="*/ 10000 w 10000"/>
                <a:gd name="connsiteY29" fmla="*/ 8857 h 10000"/>
                <a:gd name="connsiteX30" fmla="*/ 10000 w 10000"/>
                <a:gd name="connsiteY30" fmla="*/ 8429 h 10000"/>
                <a:gd name="connsiteX31" fmla="*/ 9302 w 10000"/>
                <a:gd name="connsiteY31" fmla="*/ 7714 h 10000"/>
                <a:gd name="connsiteX32" fmla="*/ 9302 w 10000"/>
                <a:gd name="connsiteY32" fmla="*/ 7000 h 10000"/>
                <a:gd name="connsiteX33" fmla="*/ 9535 w 10000"/>
                <a:gd name="connsiteY33" fmla="*/ 7000 h 10000"/>
                <a:gd name="connsiteX34" fmla="*/ 9070 w 10000"/>
                <a:gd name="connsiteY34" fmla="*/ 6286 h 10000"/>
                <a:gd name="connsiteX35" fmla="*/ 8837 w 10000"/>
                <a:gd name="connsiteY35" fmla="*/ 6000 h 10000"/>
                <a:gd name="connsiteX36" fmla="*/ 7674 w 10000"/>
                <a:gd name="connsiteY36" fmla="*/ 5857 h 10000"/>
                <a:gd name="connsiteX37" fmla="*/ 6512 w 10000"/>
                <a:gd name="connsiteY37" fmla="*/ 5571 h 10000"/>
                <a:gd name="connsiteX38" fmla="*/ 6047 w 10000"/>
                <a:gd name="connsiteY38" fmla="*/ 4857 h 10000"/>
                <a:gd name="connsiteX39" fmla="*/ 5581 w 10000"/>
                <a:gd name="connsiteY39" fmla="*/ 3714 h 10000"/>
                <a:gd name="connsiteX40" fmla="*/ 6047 w 10000"/>
                <a:gd name="connsiteY40" fmla="*/ 3286 h 10000"/>
                <a:gd name="connsiteX41" fmla="*/ 5814 w 10000"/>
                <a:gd name="connsiteY41" fmla="*/ 2286 h 10000"/>
                <a:gd name="connsiteX42" fmla="*/ 6977 w 10000"/>
                <a:gd name="connsiteY42" fmla="*/ 2286 h 10000"/>
                <a:gd name="connsiteX43" fmla="*/ 7442 w 10000"/>
                <a:gd name="connsiteY43" fmla="*/ 2857 h 10000"/>
                <a:gd name="connsiteX44" fmla="*/ 8372 w 10000"/>
                <a:gd name="connsiteY44" fmla="*/ 2857 h 10000"/>
                <a:gd name="connsiteX45" fmla="*/ 8372 w 10000"/>
                <a:gd name="connsiteY45" fmla="*/ 2429 h 10000"/>
                <a:gd name="connsiteX46" fmla="*/ 8605 w 10000"/>
                <a:gd name="connsiteY46" fmla="*/ 2143 h 10000"/>
                <a:gd name="connsiteX47" fmla="*/ 8837 w 10000"/>
                <a:gd name="connsiteY47" fmla="*/ 2286 h 10000"/>
                <a:gd name="connsiteX48" fmla="*/ 8605 w 10000"/>
                <a:gd name="connsiteY48" fmla="*/ 1429 h 10000"/>
                <a:gd name="connsiteX49" fmla="*/ 9070 w 10000"/>
                <a:gd name="connsiteY49" fmla="*/ 857 h 10000"/>
                <a:gd name="connsiteX50" fmla="*/ 9070 w 10000"/>
                <a:gd name="connsiteY50" fmla="*/ 286 h 10000"/>
                <a:gd name="connsiteX51" fmla="*/ 8605 w 10000"/>
                <a:gd name="connsiteY51" fmla="*/ 0 h 10000"/>
                <a:gd name="connsiteX52" fmla="*/ 8140 w 10000"/>
                <a:gd name="connsiteY52" fmla="*/ 0 h 10000"/>
                <a:gd name="connsiteX53" fmla="*/ 6279 w 10000"/>
                <a:gd name="connsiteY53" fmla="*/ 0 h 10000"/>
                <a:gd name="connsiteX0" fmla="*/ 8140 w 10000"/>
                <a:gd name="connsiteY0" fmla="*/ 0 h 10000"/>
                <a:gd name="connsiteX1" fmla="*/ 5814 w 10000"/>
                <a:gd name="connsiteY1" fmla="*/ 5429 h 10000"/>
                <a:gd name="connsiteX2" fmla="*/ 5116 w 10000"/>
                <a:gd name="connsiteY2" fmla="*/ 5571 h 10000"/>
                <a:gd name="connsiteX3" fmla="*/ 4884 w 10000"/>
                <a:gd name="connsiteY3" fmla="*/ 6429 h 10000"/>
                <a:gd name="connsiteX4" fmla="*/ 4651 w 10000"/>
                <a:gd name="connsiteY4" fmla="*/ 6857 h 10000"/>
                <a:gd name="connsiteX5" fmla="*/ 5349 w 10000"/>
                <a:gd name="connsiteY5" fmla="*/ 7429 h 10000"/>
                <a:gd name="connsiteX6" fmla="*/ 5349 w 10000"/>
                <a:gd name="connsiteY6" fmla="*/ 7714 h 10000"/>
                <a:gd name="connsiteX7" fmla="*/ 3953 w 10000"/>
                <a:gd name="connsiteY7" fmla="*/ 7286 h 10000"/>
                <a:gd name="connsiteX8" fmla="*/ 2558 w 10000"/>
                <a:gd name="connsiteY8" fmla="*/ 6857 h 10000"/>
                <a:gd name="connsiteX9" fmla="*/ 1395 w 10000"/>
                <a:gd name="connsiteY9" fmla="*/ 6857 h 10000"/>
                <a:gd name="connsiteX10" fmla="*/ 1395 w 10000"/>
                <a:gd name="connsiteY10" fmla="*/ 7429 h 10000"/>
                <a:gd name="connsiteX11" fmla="*/ 0 w 10000"/>
                <a:gd name="connsiteY11" fmla="*/ 7571 h 10000"/>
                <a:gd name="connsiteX12" fmla="*/ 0 w 10000"/>
                <a:gd name="connsiteY12" fmla="*/ 9143 h 10000"/>
                <a:gd name="connsiteX13" fmla="*/ 465 w 10000"/>
                <a:gd name="connsiteY13" fmla="*/ 9714 h 10000"/>
                <a:gd name="connsiteX14" fmla="*/ 1395 w 10000"/>
                <a:gd name="connsiteY14" fmla="*/ 9714 h 10000"/>
                <a:gd name="connsiteX15" fmla="*/ 1860 w 10000"/>
                <a:gd name="connsiteY15" fmla="*/ 9857 h 10000"/>
                <a:gd name="connsiteX16" fmla="*/ 1628 w 10000"/>
                <a:gd name="connsiteY16" fmla="*/ 9857 h 10000"/>
                <a:gd name="connsiteX17" fmla="*/ 2093 w 10000"/>
                <a:gd name="connsiteY17" fmla="*/ 10000 h 10000"/>
                <a:gd name="connsiteX18" fmla="*/ 2558 w 10000"/>
                <a:gd name="connsiteY18" fmla="*/ 9857 h 10000"/>
                <a:gd name="connsiteX19" fmla="*/ 3488 w 10000"/>
                <a:gd name="connsiteY19" fmla="*/ 10000 h 10000"/>
                <a:gd name="connsiteX20" fmla="*/ 4186 w 10000"/>
                <a:gd name="connsiteY20" fmla="*/ 9571 h 10000"/>
                <a:gd name="connsiteX21" fmla="*/ 5116 w 10000"/>
                <a:gd name="connsiteY21" fmla="*/ 9000 h 10000"/>
                <a:gd name="connsiteX22" fmla="*/ 5814 w 10000"/>
                <a:gd name="connsiteY22" fmla="*/ 8857 h 10000"/>
                <a:gd name="connsiteX23" fmla="*/ 5581 w 10000"/>
                <a:gd name="connsiteY23" fmla="*/ 8857 h 10000"/>
                <a:gd name="connsiteX24" fmla="*/ 5581 w 10000"/>
                <a:gd name="connsiteY24" fmla="*/ 8714 h 10000"/>
                <a:gd name="connsiteX25" fmla="*/ 7674 w 10000"/>
                <a:gd name="connsiteY25" fmla="*/ 8143 h 10000"/>
                <a:gd name="connsiteX26" fmla="*/ 8605 w 10000"/>
                <a:gd name="connsiteY26" fmla="*/ 8429 h 10000"/>
                <a:gd name="connsiteX27" fmla="*/ 9070 w 10000"/>
                <a:gd name="connsiteY27" fmla="*/ 8857 h 10000"/>
                <a:gd name="connsiteX28" fmla="*/ 9302 w 10000"/>
                <a:gd name="connsiteY28" fmla="*/ 9143 h 10000"/>
                <a:gd name="connsiteX29" fmla="*/ 10000 w 10000"/>
                <a:gd name="connsiteY29" fmla="*/ 8857 h 10000"/>
                <a:gd name="connsiteX30" fmla="*/ 10000 w 10000"/>
                <a:gd name="connsiteY30" fmla="*/ 8429 h 10000"/>
                <a:gd name="connsiteX31" fmla="*/ 9302 w 10000"/>
                <a:gd name="connsiteY31" fmla="*/ 7714 h 10000"/>
                <a:gd name="connsiteX32" fmla="*/ 9302 w 10000"/>
                <a:gd name="connsiteY32" fmla="*/ 7000 h 10000"/>
                <a:gd name="connsiteX33" fmla="*/ 9535 w 10000"/>
                <a:gd name="connsiteY33" fmla="*/ 7000 h 10000"/>
                <a:gd name="connsiteX34" fmla="*/ 9070 w 10000"/>
                <a:gd name="connsiteY34" fmla="*/ 6286 h 10000"/>
                <a:gd name="connsiteX35" fmla="*/ 8837 w 10000"/>
                <a:gd name="connsiteY35" fmla="*/ 6000 h 10000"/>
                <a:gd name="connsiteX36" fmla="*/ 7674 w 10000"/>
                <a:gd name="connsiteY36" fmla="*/ 5857 h 10000"/>
                <a:gd name="connsiteX37" fmla="*/ 6512 w 10000"/>
                <a:gd name="connsiteY37" fmla="*/ 5571 h 10000"/>
                <a:gd name="connsiteX38" fmla="*/ 6047 w 10000"/>
                <a:gd name="connsiteY38" fmla="*/ 4857 h 10000"/>
                <a:gd name="connsiteX39" fmla="*/ 5581 w 10000"/>
                <a:gd name="connsiteY39" fmla="*/ 3714 h 10000"/>
                <a:gd name="connsiteX40" fmla="*/ 6047 w 10000"/>
                <a:gd name="connsiteY40" fmla="*/ 3286 h 10000"/>
                <a:gd name="connsiteX41" fmla="*/ 5814 w 10000"/>
                <a:gd name="connsiteY41" fmla="*/ 2286 h 10000"/>
                <a:gd name="connsiteX42" fmla="*/ 6977 w 10000"/>
                <a:gd name="connsiteY42" fmla="*/ 2286 h 10000"/>
                <a:gd name="connsiteX43" fmla="*/ 7442 w 10000"/>
                <a:gd name="connsiteY43" fmla="*/ 2857 h 10000"/>
                <a:gd name="connsiteX44" fmla="*/ 8372 w 10000"/>
                <a:gd name="connsiteY44" fmla="*/ 2857 h 10000"/>
                <a:gd name="connsiteX45" fmla="*/ 8372 w 10000"/>
                <a:gd name="connsiteY45" fmla="*/ 2429 h 10000"/>
                <a:gd name="connsiteX46" fmla="*/ 8605 w 10000"/>
                <a:gd name="connsiteY46" fmla="*/ 2143 h 10000"/>
                <a:gd name="connsiteX47" fmla="*/ 8837 w 10000"/>
                <a:gd name="connsiteY47" fmla="*/ 2286 h 10000"/>
                <a:gd name="connsiteX48" fmla="*/ 8605 w 10000"/>
                <a:gd name="connsiteY48" fmla="*/ 1429 h 10000"/>
                <a:gd name="connsiteX49" fmla="*/ 9070 w 10000"/>
                <a:gd name="connsiteY49" fmla="*/ 857 h 10000"/>
                <a:gd name="connsiteX50" fmla="*/ 9070 w 10000"/>
                <a:gd name="connsiteY50" fmla="*/ 286 h 10000"/>
                <a:gd name="connsiteX51" fmla="*/ 8605 w 10000"/>
                <a:gd name="connsiteY51" fmla="*/ 0 h 10000"/>
                <a:gd name="connsiteX52" fmla="*/ 8140 w 10000"/>
                <a:gd name="connsiteY52" fmla="*/ 0 h 10000"/>
                <a:gd name="connsiteX0" fmla="*/ 8140 w 10000"/>
                <a:gd name="connsiteY0" fmla="*/ 0 h 10000"/>
                <a:gd name="connsiteX1" fmla="*/ 5814 w 10000"/>
                <a:gd name="connsiteY1" fmla="*/ 5429 h 10000"/>
                <a:gd name="connsiteX2" fmla="*/ 5116 w 10000"/>
                <a:gd name="connsiteY2" fmla="*/ 5571 h 10000"/>
                <a:gd name="connsiteX3" fmla="*/ 4884 w 10000"/>
                <a:gd name="connsiteY3" fmla="*/ 6429 h 10000"/>
                <a:gd name="connsiteX4" fmla="*/ 4651 w 10000"/>
                <a:gd name="connsiteY4" fmla="*/ 6857 h 10000"/>
                <a:gd name="connsiteX5" fmla="*/ 5349 w 10000"/>
                <a:gd name="connsiteY5" fmla="*/ 7429 h 10000"/>
                <a:gd name="connsiteX6" fmla="*/ 5349 w 10000"/>
                <a:gd name="connsiteY6" fmla="*/ 7714 h 10000"/>
                <a:gd name="connsiteX7" fmla="*/ 3953 w 10000"/>
                <a:gd name="connsiteY7" fmla="*/ 7286 h 10000"/>
                <a:gd name="connsiteX8" fmla="*/ 2558 w 10000"/>
                <a:gd name="connsiteY8" fmla="*/ 6857 h 10000"/>
                <a:gd name="connsiteX9" fmla="*/ 1395 w 10000"/>
                <a:gd name="connsiteY9" fmla="*/ 6857 h 10000"/>
                <a:gd name="connsiteX10" fmla="*/ 1395 w 10000"/>
                <a:gd name="connsiteY10" fmla="*/ 7429 h 10000"/>
                <a:gd name="connsiteX11" fmla="*/ 0 w 10000"/>
                <a:gd name="connsiteY11" fmla="*/ 7571 h 10000"/>
                <a:gd name="connsiteX12" fmla="*/ 0 w 10000"/>
                <a:gd name="connsiteY12" fmla="*/ 9143 h 10000"/>
                <a:gd name="connsiteX13" fmla="*/ 465 w 10000"/>
                <a:gd name="connsiteY13" fmla="*/ 9714 h 10000"/>
                <a:gd name="connsiteX14" fmla="*/ 1395 w 10000"/>
                <a:gd name="connsiteY14" fmla="*/ 9714 h 10000"/>
                <a:gd name="connsiteX15" fmla="*/ 1860 w 10000"/>
                <a:gd name="connsiteY15" fmla="*/ 9857 h 10000"/>
                <a:gd name="connsiteX16" fmla="*/ 1628 w 10000"/>
                <a:gd name="connsiteY16" fmla="*/ 9857 h 10000"/>
                <a:gd name="connsiteX17" fmla="*/ 2093 w 10000"/>
                <a:gd name="connsiteY17" fmla="*/ 10000 h 10000"/>
                <a:gd name="connsiteX18" fmla="*/ 2558 w 10000"/>
                <a:gd name="connsiteY18" fmla="*/ 9857 h 10000"/>
                <a:gd name="connsiteX19" fmla="*/ 3488 w 10000"/>
                <a:gd name="connsiteY19" fmla="*/ 10000 h 10000"/>
                <a:gd name="connsiteX20" fmla="*/ 4186 w 10000"/>
                <a:gd name="connsiteY20" fmla="*/ 9571 h 10000"/>
                <a:gd name="connsiteX21" fmla="*/ 5116 w 10000"/>
                <a:gd name="connsiteY21" fmla="*/ 9000 h 10000"/>
                <a:gd name="connsiteX22" fmla="*/ 5814 w 10000"/>
                <a:gd name="connsiteY22" fmla="*/ 8857 h 10000"/>
                <a:gd name="connsiteX23" fmla="*/ 5581 w 10000"/>
                <a:gd name="connsiteY23" fmla="*/ 8857 h 10000"/>
                <a:gd name="connsiteX24" fmla="*/ 5581 w 10000"/>
                <a:gd name="connsiteY24" fmla="*/ 8714 h 10000"/>
                <a:gd name="connsiteX25" fmla="*/ 7674 w 10000"/>
                <a:gd name="connsiteY25" fmla="*/ 8143 h 10000"/>
                <a:gd name="connsiteX26" fmla="*/ 8605 w 10000"/>
                <a:gd name="connsiteY26" fmla="*/ 8429 h 10000"/>
                <a:gd name="connsiteX27" fmla="*/ 9070 w 10000"/>
                <a:gd name="connsiteY27" fmla="*/ 8857 h 10000"/>
                <a:gd name="connsiteX28" fmla="*/ 9302 w 10000"/>
                <a:gd name="connsiteY28" fmla="*/ 9143 h 10000"/>
                <a:gd name="connsiteX29" fmla="*/ 10000 w 10000"/>
                <a:gd name="connsiteY29" fmla="*/ 8857 h 10000"/>
                <a:gd name="connsiteX30" fmla="*/ 10000 w 10000"/>
                <a:gd name="connsiteY30" fmla="*/ 8429 h 10000"/>
                <a:gd name="connsiteX31" fmla="*/ 9302 w 10000"/>
                <a:gd name="connsiteY31" fmla="*/ 7714 h 10000"/>
                <a:gd name="connsiteX32" fmla="*/ 9302 w 10000"/>
                <a:gd name="connsiteY32" fmla="*/ 7000 h 10000"/>
                <a:gd name="connsiteX33" fmla="*/ 9535 w 10000"/>
                <a:gd name="connsiteY33" fmla="*/ 7000 h 10000"/>
                <a:gd name="connsiteX34" fmla="*/ 9070 w 10000"/>
                <a:gd name="connsiteY34" fmla="*/ 6286 h 10000"/>
                <a:gd name="connsiteX35" fmla="*/ 8837 w 10000"/>
                <a:gd name="connsiteY35" fmla="*/ 6000 h 10000"/>
                <a:gd name="connsiteX36" fmla="*/ 7674 w 10000"/>
                <a:gd name="connsiteY36" fmla="*/ 5857 h 10000"/>
                <a:gd name="connsiteX37" fmla="*/ 6512 w 10000"/>
                <a:gd name="connsiteY37" fmla="*/ 5571 h 10000"/>
                <a:gd name="connsiteX38" fmla="*/ 6047 w 10000"/>
                <a:gd name="connsiteY38" fmla="*/ 4857 h 10000"/>
                <a:gd name="connsiteX39" fmla="*/ 5581 w 10000"/>
                <a:gd name="connsiteY39" fmla="*/ 3714 h 10000"/>
                <a:gd name="connsiteX40" fmla="*/ 6047 w 10000"/>
                <a:gd name="connsiteY40" fmla="*/ 3286 h 10000"/>
                <a:gd name="connsiteX41" fmla="*/ 5814 w 10000"/>
                <a:gd name="connsiteY41" fmla="*/ 2286 h 10000"/>
                <a:gd name="connsiteX42" fmla="*/ 6977 w 10000"/>
                <a:gd name="connsiteY42" fmla="*/ 2286 h 10000"/>
                <a:gd name="connsiteX43" fmla="*/ 7442 w 10000"/>
                <a:gd name="connsiteY43" fmla="*/ 2857 h 10000"/>
                <a:gd name="connsiteX44" fmla="*/ 8372 w 10000"/>
                <a:gd name="connsiteY44" fmla="*/ 2857 h 10000"/>
                <a:gd name="connsiteX45" fmla="*/ 8372 w 10000"/>
                <a:gd name="connsiteY45" fmla="*/ 2429 h 10000"/>
                <a:gd name="connsiteX46" fmla="*/ 8605 w 10000"/>
                <a:gd name="connsiteY46" fmla="*/ 2143 h 10000"/>
                <a:gd name="connsiteX47" fmla="*/ 8837 w 10000"/>
                <a:gd name="connsiteY47" fmla="*/ 2286 h 10000"/>
                <a:gd name="connsiteX48" fmla="*/ 8605 w 10000"/>
                <a:gd name="connsiteY48" fmla="*/ 1429 h 10000"/>
                <a:gd name="connsiteX49" fmla="*/ 9070 w 10000"/>
                <a:gd name="connsiteY49" fmla="*/ 857 h 10000"/>
                <a:gd name="connsiteX50" fmla="*/ 9070 w 10000"/>
                <a:gd name="connsiteY50" fmla="*/ 286 h 10000"/>
                <a:gd name="connsiteX51" fmla="*/ 8140 w 10000"/>
                <a:gd name="connsiteY51" fmla="*/ 0 h 10000"/>
                <a:gd name="connsiteX0" fmla="*/ 9070 w 10000"/>
                <a:gd name="connsiteY0" fmla="*/ 0 h 9714"/>
                <a:gd name="connsiteX1" fmla="*/ 5814 w 10000"/>
                <a:gd name="connsiteY1" fmla="*/ 5143 h 9714"/>
                <a:gd name="connsiteX2" fmla="*/ 5116 w 10000"/>
                <a:gd name="connsiteY2" fmla="*/ 5285 h 9714"/>
                <a:gd name="connsiteX3" fmla="*/ 4884 w 10000"/>
                <a:gd name="connsiteY3" fmla="*/ 6143 h 9714"/>
                <a:gd name="connsiteX4" fmla="*/ 4651 w 10000"/>
                <a:gd name="connsiteY4" fmla="*/ 6571 h 9714"/>
                <a:gd name="connsiteX5" fmla="*/ 5349 w 10000"/>
                <a:gd name="connsiteY5" fmla="*/ 7143 h 9714"/>
                <a:gd name="connsiteX6" fmla="*/ 5349 w 10000"/>
                <a:gd name="connsiteY6" fmla="*/ 7428 h 9714"/>
                <a:gd name="connsiteX7" fmla="*/ 3953 w 10000"/>
                <a:gd name="connsiteY7" fmla="*/ 7000 h 9714"/>
                <a:gd name="connsiteX8" fmla="*/ 2558 w 10000"/>
                <a:gd name="connsiteY8" fmla="*/ 6571 h 9714"/>
                <a:gd name="connsiteX9" fmla="*/ 1395 w 10000"/>
                <a:gd name="connsiteY9" fmla="*/ 6571 h 9714"/>
                <a:gd name="connsiteX10" fmla="*/ 1395 w 10000"/>
                <a:gd name="connsiteY10" fmla="*/ 7143 h 9714"/>
                <a:gd name="connsiteX11" fmla="*/ 0 w 10000"/>
                <a:gd name="connsiteY11" fmla="*/ 7285 h 9714"/>
                <a:gd name="connsiteX12" fmla="*/ 0 w 10000"/>
                <a:gd name="connsiteY12" fmla="*/ 8857 h 9714"/>
                <a:gd name="connsiteX13" fmla="*/ 465 w 10000"/>
                <a:gd name="connsiteY13" fmla="*/ 9428 h 9714"/>
                <a:gd name="connsiteX14" fmla="*/ 1395 w 10000"/>
                <a:gd name="connsiteY14" fmla="*/ 9428 h 9714"/>
                <a:gd name="connsiteX15" fmla="*/ 1860 w 10000"/>
                <a:gd name="connsiteY15" fmla="*/ 9571 h 9714"/>
                <a:gd name="connsiteX16" fmla="*/ 1628 w 10000"/>
                <a:gd name="connsiteY16" fmla="*/ 9571 h 9714"/>
                <a:gd name="connsiteX17" fmla="*/ 2093 w 10000"/>
                <a:gd name="connsiteY17" fmla="*/ 9714 h 9714"/>
                <a:gd name="connsiteX18" fmla="*/ 2558 w 10000"/>
                <a:gd name="connsiteY18" fmla="*/ 9571 h 9714"/>
                <a:gd name="connsiteX19" fmla="*/ 3488 w 10000"/>
                <a:gd name="connsiteY19" fmla="*/ 9714 h 9714"/>
                <a:gd name="connsiteX20" fmla="*/ 4186 w 10000"/>
                <a:gd name="connsiteY20" fmla="*/ 9285 h 9714"/>
                <a:gd name="connsiteX21" fmla="*/ 5116 w 10000"/>
                <a:gd name="connsiteY21" fmla="*/ 8714 h 9714"/>
                <a:gd name="connsiteX22" fmla="*/ 5814 w 10000"/>
                <a:gd name="connsiteY22" fmla="*/ 8571 h 9714"/>
                <a:gd name="connsiteX23" fmla="*/ 5581 w 10000"/>
                <a:gd name="connsiteY23" fmla="*/ 8571 h 9714"/>
                <a:gd name="connsiteX24" fmla="*/ 5581 w 10000"/>
                <a:gd name="connsiteY24" fmla="*/ 8428 h 9714"/>
                <a:gd name="connsiteX25" fmla="*/ 7674 w 10000"/>
                <a:gd name="connsiteY25" fmla="*/ 7857 h 9714"/>
                <a:gd name="connsiteX26" fmla="*/ 8605 w 10000"/>
                <a:gd name="connsiteY26" fmla="*/ 8143 h 9714"/>
                <a:gd name="connsiteX27" fmla="*/ 9070 w 10000"/>
                <a:gd name="connsiteY27" fmla="*/ 8571 h 9714"/>
                <a:gd name="connsiteX28" fmla="*/ 9302 w 10000"/>
                <a:gd name="connsiteY28" fmla="*/ 8857 h 9714"/>
                <a:gd name="connsiteX29" fmla="*/ 10000 w 10000"/>
                <a:gd name="connsiteY29" fmla="*/ 8571 h 9714"/>
                <a:gd name="connsiteX30" fmla="*/ 10000 w 10000"/>
                <a:gd name="connsiteY30" fmla="*/ 8143 h 9714"/>
                <a:gd name="connsiteX31" fmla="*/ 9302 w 10000"/>
                <a:gd name="connsiteY31" fmla="*/ 7428 h 9714"/>
                <a:gd name="connsiteX32" fmla="*/ 9302 w 10000"/>
                <a:gd name="connsiteY32" fmla="*/ 6714 h 9714"/>
                <a:gd name="connsiteX33" fmla="*/ 9535 w 10000"/>
                <a:gd name="connsiteY33" fmla="*/ 6714 h 9714"/>
                <a:gd name="connsiteX34" fmla="*/ 9070 w 10000"/>
                <a:gd name="connsiteY34" fmla="*/ 6000 h 9714"/>
                <a:gd name="connsiteX35" fmla="*/ 8837 w 10000"/>
                <a:gd name="connsiteY35" fmla="*/ 5714 h 9714"/>
                <a:gd name="connsiteX36" fmla="*/ 7674 w 10000"/>
                <a:gd name="connsiteY36" fmla="*/ 5571 h 9714"/>
                <a:gd name="connsiteX37" fmla="*/ 6512 w 10000"/>
                <a:gd name="connsiteY37" fmla="*/ 5285 h 9714"/>
                <a:gd name="connsiteX38" fmla="*/ 6047 w 10000"/>
                <a:gd name="connsiteY38" fmla="*/ 4571 h 9714"/>
                <a:gd name="connsiteX39" fmla="*/ 5581 w 10000"/>
                <a:gd name="connsiteY39" fmla="*/ 3428 h 9714"/>
                <a:gd name="connsiteX40" fmla="*/ 6047 w 10000"/>
                <a:gd name="connsiteY40" fmla="*/ 3000 h 9714"/>
                <a:gd name="connsiteX41" fmla="*/ 5814 w 10000"/>
                <a:gd name="connsiteY41" fmla="*/ 2000 h 9714"/>
                <a:gd name="connsiteX42" fmla="*/ 6977 w 10000"/>
                <a:gd name="connsiteY42" fmla="*/ 2000 h 9714"/>
                <a:gd name="connsiteX43" fmla="*/ 7442 w 10000"/>
                <a:gd name="connsiteY43" fmla="*/ 2571 h 9714"/>
                <a:gd name="connsiteX44" fmla="*/ 8372 w 10000"/>
                <a:gd name="connsiteY44" fmla="*/ 2571 h 9714"/>
                <a:gd name="connsiteX45" fmla="*/ 8372 w 10000"/>
                <a:gd name="connsiteY45" fmla="*/ 2143 h 9714"/>
                <a:gd name="connsiteX46" fmla="*/ 8605 w 10000"/>
                <a:gd name="connsiteY46" fmla="*/ 1857 h 9714"/>
                <a:gd name="connsiteX47" fmla="*/ 8837 w 10000"/>
                <a:gd name="connsiteY47" fmla="*/ 2000 h 9714"/>
                <a:gd name="connsiteX48" fmla="*/ 8605 w 10000"/>
                <a:gd name="connsiteY48" fmla="*/ 1143 h 9714"/>
                <a:gd name="connsiteX49" fmla="*/ 9070 w 10000"/>
                <a:gd name="connsiteY49" fmla="*/ 571 h 9714"/>
                <a:gd name="connsiteX50" fmla="*/ 9070 w 10000"/>
                <a:gd name="connsiteY50" fmla="*/ 0 h 9714"/>
                <a:gd name="connsiteX0" fmla="*/ 9070 w 10000"/>
                <a:gd name="connsiteY0" fmla="*/ 0 h 9412"/>
                <a:gd name="connsiteX1" fmla="*/ 5814 w 10000"/>
                <a:gd name="connsiteY1" fmla="*/ 4706 h 9412"/>
                <a:gd name="connsiteX2" fmla="*/ 5116 w 10000"/>
                <a:gd name="connsiteY2" fmla="*/ 4853 h 9412"/>
                <a:gd name="connsiteX3" fmla="*/ 4884 w 10000"/>
                <a:gd name="connsiteY3" fmla="*/ 5736 h 9412"/>
                <a:gd name="connsiteX4" fmla="*/ 4651 w 10000"/>
                <a:gd name="connsiteY4" fmla="*/ 6176 h 9412"/>
                <a:gd name="connsiteX5" fmla="*/ 5349 w 10000"/>
                <a:gd name="connsiteY5" fmla="*/ 6765 h 9412"/>
                <a:gd name="connsiteX6" fmla="*/ 5349 w 10000"/>
                <a:gd name="connsiteY6" fmla="*/ 7059 h 9412"/>
                <a:gd name="connsiteX7" fmla="*/ 3953 w 10000"/>
                <a:gd name="connsiteY7" fmla="*/ 6618 h 9412"/>
                <a:gd name="connsiteX8" fmla="*/ 2558 w 10000"/>
                <a:gd name="connsiteY8" fmla="*/ 6176 h 9412"/>
                <a:gd name="connsiteX9" fmla="*/ 1395 w 10000"/>
                <a:gd name="connsiteY9" fmla="*/ 6176 h 9412"/>
                <a:gd name="connsiteX10" fmla="*/ 1395 w 10000"/>
                <a:gd name="connsiteY10" fmla="*/ 6765 h 9412"/>
                <a:gd name="connsiteX11" fmla="*/ 0 w 10000"/>
                <a:gd name="connsiteY11" fmla="*/ 6911 h 9412"/>
                <a:gd name="connsiteX12" fmla="*/ 0 w 10000"/>
                <a:gd name="connsiteY12" fmla="*/ 8530 h 9412"/>
                <a:gd name="connsiteX13" fmla="*/ 465 w 10000"/>
                <a:gd name="connsiteY13" fmla="*/ 9118 h 9412"/>
                <a:gd name="connsiteX14" fmla="*/ 1395 w 10000"/>
                <a:gd name="connsiteY14" fmla="*/ 9118 h 9412"/>
                <a:gd name="connsiteX15" fmla="*/ 1860 w 10000"/>
                <a:gd name="connsiteY15" fmla="*/ 9265 h 9412"/>
                <a:gd name="connsiteX16" fmla="*/ 1628 w 10000"/>
                <a:gd name="connsiteY16" fmla="*/ 9265 h 9412"/>
                <a:gd name="connsiteX17" fmla="*/ 2093 w 10000"/>
                <a:gd name="connsiteY17" fmla="*/ 9412 h 9412"/>
                <a:gd name="connsiteX18" fmla="*/ 2558 w 10000"/>
                <a:gd name="connsiteY18" fmla="*/ 9265 h 9412"/>
                <a:gd name="connsiteX19" fmla="*/ 3488 w 10000"/>
                <a:gd name="connsiteY19" fmla="*/ 9412 h 9412"/>
                <a:gd name="connsiteX20" fmla="*/ 4186 w 10000"/>
                <a:gd name="connsiteY20" fmla="*/ 8970 h 9412"/>
                <a:gd name="connsiteX21" fmla="*/ 5116 w 10000"/>
                <a:gd name="connsiteY21" fmla="*/ 8383 h 9412"/>
                <a:gd name="connsiteX22" fmla="*/ 5814 w 10000"/>
                <a:gd name="connsiteY22" fmla="*/ 8235 h 9412"/>
                <a:gd name="connsiteX23" fmla="*/ 5581 w 10000"/>
                <a:gd name="connsiteY23" fmla="*/ 8235 h 9412"/>
                <a:gd name="connsiteX24" fmla="*/ 5581 w 10000"/>
                <a:gd name="connsiteY24" fmla="*/ 8088 h 9412"/>
                <a:gd name="connsiteX25" fmla="*/ 7674 w 10000"/>
                <a:gd name="connsiteY25" fmla="*/ 7500 h 9412"/>
                <a:gd name="connsiteX26" fmla="*/ 8605 w 10000"/>
                <a:gd name="connsiteY26" fmla="*/ 7795 h 9412"/>
                <a:gd name="connsiteX27" fmla="*/ 9070 w 10000"/>
                <a:gd name="connsiteY27" fmla="*/ 8235 h 9412"/>
                <a:gd name="connsiteX28" fmla="*/ 9302 w 10000"/>
                <a:gd name="connsiteY28" fmla="*/ 8530 h 9412"/>
                <a:gd name="connsiteX29" fmla="*/ 10000 w 10000"/>
                <a:gd name="connsiteY29" fmla="*/ 8235 h 9412"/>
                <a:gd name="connsiteX30" fmla="*/ 10000 w 10000"/>
                <a:gd name="connsiteY30" fmla="*/ 7795 h 9412"/>
                <a:gd name="connsiteX31" fmla="*/ 9302 w 10000"/>
                <a:gd name="connsiteY31" fmla="*/ 7059 h 9412"/>
                <a:gd name="connsiteX32" fmla="*/ 9302 w 10000"/>
                <a:gd name="connsiteY32" fmla="*/ 6324 h 9412"/>
                <a:gd name="connsiteX33" fmla="*/ 9535 w 10000"/>
                <a:gd name="connsiteY33" fmla="*/ 6324 h 9412"/>
                <a:gd name="connsiteX34" fmla="*/ 9070 w 10000"/>
                <a:gd name="connsiteY34" fmla="*/ 5589 h 9412"/>
                <a:gd name="connsiteX35" fmla="*/ 8837 w 10000"/>
                <a:gd name="connsiteY35" fmla="*/ 5294 h 9412"/>
                <a:gd name="connsiteX36" fmla="*/ 7674 w 10000"/>
                <a:gd name="connsiteY36" fmla="*/ 5147 h 9412"/>
                <a:gd name="connsiteX37" fmla="*/ 6512 w 10000"/>
                <a:gd name="connsiteY37" fmla="*/ 4853 h 9412"/>
                <a:gd name="connsiteX38" fmla="*/ 6047 w 10000"/>
                <a:gd name="connsiteY38" fmla="*/ 4118 h 9412"/>
                <a:gd name="connsiteX39" fmla="*/ 5581 w 10000"/>
                <a:gd name="connsiteY39" fmla="*/ 2941 h 9412"/>
                <a:gd name="connsiteX40" fmla="*/ 6047 w 10000"/>
                <a:gd name="connsiteY40" fmla="*/ 2500 h 9412"/>
                <a:gd name="connsiteX41" fmla="*/ 5814 w 10000"/>
                <a:gd name="connsiteY41" fmla="*/ 1471 h 9412"/>
                <a:gd name="connsiteX42" fmla="*/ 6977 w 10000"/>
                <a:gd name="connsiteY42" fmla="*/ 1471 h 9412"/>
                <a:gd name="connsiteX43" fmla="*/ 7442 w 10000"/>
                <a:gd name="connsiteY43" fmla="*/ 2059 h 9412"/>
                <a:gd name="connsiteX44" fmla="*/ 8372 w 10000"/>
                <a:gd name="connsiteY44" fmla="*/ 2059 h 9412"/>
                <a:gd name="connsiteX45" fmla="*/ 8372 w 10000"/>
                <a:gd name="connsiteY45" fmla="*/ 1618 h 9412"/>
                <a:gd name="connsiteX46" fmla="*/ 8605 w 10000"/>
                <a:gd name="connsiteY46" fmla="*/ 1324 h 9412"/>
                <a:gd name="connsiteX47" fmla="*/ 8837 w 10000"/>
                <a:gd name="connsiteY47" fmla="*/ 1471 h 9412"/>
                <a:gd name="connsiteX48" fmla="*/ 8605 w 10000"/>
                <a:gd name="connsiteY48" fmla="*/ 589 h 9412"/>
                <a:gd name="connsiteX49" fmla="*/ 9070 w 10000"/>
                <a:gd name="connsiteY49" fmla="*/ 0 h 9412"/>
                <a:gd name="connsiteX0" fmla="*/ 8605 w 10000"/>
                <a:gd name="connsiteY0" fmla="*/ 0 h 9374"/>
                <a:gd name="connsiteX1" fmla="*/ 5814 w 10000"/>
                <a:gd name="connsiteY1" fmla="*/ 4374 h 9374"/>
                <a:gd name="connsiteX2" fmla="*/ 5116 w 10000"/>
                <a:gd name="connsiteY2" fmla="*/ 4530 h 9374"/>
                <a:gd name="connsiteX3" fmla="*/ 4884 w 10000"/>
                <a:gd name="connsiteY3" fmla="*/ 5468 h 9374"/>
                <a:gd name="connsiteX4" fmla="*/ 4651 w 10000"/>
                <a:gd name="connsiteY4" fmla="*/ 5936 h 9374"/>
                <a:gd name="connsiteX5" fmla="*/ 5349 w 10000"/>
                <a:gd name="connsiteY5" fmla="*/ 6562 h 9374"/>
                <a:gd name="connsiteX6" fmla="*/ 5349 w 10000"/>
                <a:gd name="connsiteY6" fmla="*/ 6874 h 9374"/>
                <a:gd name="connsiteX7" fmla="*/ 3953 w 10000"/>
                <a:gd name="connsiteY7" fmla="*/ 6405 h 9374"/>
                <a:gd name="connsiteX8" fmla="*/ 2558 w 10000"/>
                <a:gd name="connsiteY8" fmla="*/ 5936 h 9374"/>
                <a:gd name="connsiteX9" fmla="*/ 1395 w 10000"/>
                <a:gd name="connsiteY9" fmla="*/ 5936 h 9374"/>
                <a:gd name="connsiteX10" fmla="*/ 1395 w 10000"/>
                <a:gd name="connsiteY10" fmla="*/ 6562 h 9374"/>
                <a:gd name="connsiteX11" fmla="*/ 0 w 10000"/>
                <a:gd name="connsiteY11" fmla="*/ 6717 h 9374"/>
                <a:gd name="connsiteX12" fmla="*/ 0 w 10000"/>
                <a:gd name="connsiteY12" fmla="*/ 8437 h 9374"/>
                <a:gd name="connsiteX13" fmla="*/ 465 w 10000"/>
                <a:gd name="connsiteY13" fmla="*/ 9062 h 9374"/>
                <a:gd name="connsiteX14" fmla="*/ 1395 w 10000"/>
                <a:gd name="connsiteY14" fmla="*/ 9062 h 9374"/>
                <a:gd name="connsiteX15" fmla="*/ 1860 w 10000"/>
                <a:gd name="connsiteY15" fmla="*/ 9218 h 9374"/>
                <a:gd name="connsiteX16" fmla="*/ 1628 w 10000"/>
                <a:gd name="connsiteY16" fmla="*/ 9218 h 9374"/>
                <a:gd name="connsiteX17" fmla="*/ 2093 w 10000"/>
                <a:gd name="connsiteY17" fmla="*/ 9374 h 9374"/>
                <a:gd name="connsiteX18" fmla="*/ 2558 w 10000"/>
                <a:gd name="connsiteY18" fmla="*/ 9218 h 9374"/>
                <a:gd name="connsiteX19" fmla="*/ 3488 w 10000"/>
                <a:gd name="connsiteY19" fmla="*/ 9374 h 9374"/>
                <a:gd name="connsiteX20" fmla="*/ 4186 w 10000"/>
                <a:gd name="connsiteY20" fmla="*/ 8904 h 9374"/>
                <a:gd name="connsiteX21" fmla="*/ 5116 w 10000"/>
                <a:gd name="connsiteY21" fmla="*/ 8281 h 9374"/>
                <a:gd name="connsiteX22" fmla="*/ 5814 w 10000"/>
                <a:gd name="connsiteY22" fmla="*/ 8123 h 9374"/>
                <a:gd name="connsiteX23" fmla="*/ 5581 w 10000"/>
                <a:gd name="connsiteY23" fmla="*/ 8123 h 9374"/>
                <a:gd name="connsiteX24" fmla="*/ 5581 w 10000"/>
                <a:gd name="connsiteY24" fmla="*/ 7967 h 9374"/>
                <a:gd name="connsiteX25" fmla="*/ 7674 w 10000"/>
                <a:gd name="connsiteY25" fmla="*/ 7343 h 9374"/>
                <a:gd name="connsiteX26" fmla="*/ 8605 w 10000"/>
                <a:gd name="connsiteY26" fmla="*/ 7656 h 9374"/>
                <a:gd name="connsiteX27" fmla="*/ 9070 w 10000"/>
                <a:gd name="connsiteY27" fmla="*/ 8123 h 9374"/>
                <a:gd name="connsiteX28" fmla="*/ 9302 w 10000"/>
                <a:gd name="connsiteY28" fmla="*/ 8437 h 9374"/>
                <a:gd name="connsiteX29" fmla="*/ 10000 w 10000"/>
                <a:gd name="connsiteY29" fmla="*/ 8123 h 9374"/>
                <a:gd name="connsiteX30" fmla="*/ 10000 w 10000"/>
                <a:gd name="connsiteY30" fmla="*/ 7656 h 9374"/>
                <a:gd name="connsiteX31" fmla="*/ 9302 w 10000"/>
                <a:gd name="connsiteY31" fmla="*/ 6874 h 9374"/>
                <a:gd name="connsiteX32" fmla="*/ 9302 w 10000"/>
                <a:gd name="connsiteY32" fmla="*/ 6093 h 9374"/>
                <a:gd name="connsiteX33" fmla="*/ 9535 w 10000"/>
                <a:gd name="connsiteY33" fmla="*/ 6093 h 9374"/>
                <a:gd name="connsiteX34" fmla="*/ 9070 w 10000"/>
                <a:gd name="connsiteY34" fmla="*/ 5312 h 9374"/>
                <a:gd name="connsiteX35" fmla="*/ 8837 w 10000"/>
                <a:gd name="connsiteY35" fmla="*/ 4999 h 9374"/>
                <a:gd name="connsiteX36" fmla="*/ 7674 w 10000"/>
                <a:gd name="connsiteY36" fmla="*/ 4843 h 9374"/>
                <a:gd name="connsiteX37" fmla="*/ 6512 w 10000"/>
                <a:gd name="connsiteY37" fmla="*/ 4530 h 9374"/>
                <a:gd name="connsiteX38" fmla="*/ 6047 w 10000"/>
                <a:gd name="connsiteY38" fmla="*/ 3749 h 9374"/>
                <a:gd name="connsiteX39" fmla="*/ 5581 w 10000"/>
                <a:gd name="connsiteY39" fmla="*/ 2499 h 9374"/>
                <a:gd name="connsiteX40" fmla="*/ 6047 w 10000"/>
                <a:gd name="connsiteY40" fmla="*/ 2030 h 9374"/>
                <a:gd name="connsiteX41" fmla="*/ 5814 w 10000"/>
                <a:gd name="connsiteY41" fmla="*/ 937 h 9374"/>
                <a:gd name="connsiteX42" fmla="*/ 6977 w 10000"/>
                <a:gd name="connsiteY42" fmla="*/ 937 h 9374"/>
                <a:gd name="connsiteX43" fmla="*/ 7442 w 10000"/>
                <a:gd name="connsiteY43" fmla="*/ 1562 h 9374"/>
                <a:gd name="connsiteX44" fmla="*/ 8372 w 10000"/>
                <a:gd name="connsiteY44" fmla="*/ 1562 h 9374"/>
                <a:gd name="connsiteX45" fmla="*/ 8372 w 10000"/>
                <a:gd name="connsiteY45" fmla="*/ 1093 h 9374"/>
                <a:gd name="connsiteX46" fmla="*/ 8605 w 10000"/>
                <a:gd name="connsiteY46" fmla="*/ 781 h 9374"/>
                <a:gd name="connsiteX47" fmla="*/ 8837 w 10000"/>
                <a:gd name="connsiteY47" fmla="*/ 937 h 9374"/>
                <a:gd name="connsiteX48" fmla="*/ 8605 w 10000"/>
                <a:gd name="connsiteY48" fmla="*/ 0 h 9374"/>
                <a:gd name="connsiteX0" fmla="*/ 8837 w 10000"/>
                <a:gd name="connsiteY0" fmla="*/ 320 h 9320"/>
                <a:gd name="connsiteX1" fmla="*/ 5814 w 10000"/>
                <a:gd name="connsiteY1" fmla="*/ 3986 h 9320"/>
                <a:gd name="connsiteX2" fmla="*/ 5116 w 10000"/>
                <a:gd name="connsiteY2" fmla="*/ 4153 h 9320"/>
                <a:gd name="connsiteX3" fmla="*/ 4884 w 10000"/>
                <a:gd name="connsiteY3" fmla="*/ 5153 h 9320"/>
                <a:gd name="connsiteX4" fmla="*/ 4651 w 10000"/>
                <a:gd name="connsiteY4" fmla="*/ 5652 h 9320"/>
                <a:gd name="connsiteX5" fmla="*/ 5349 w 10000"/>
                <a:gd name="connsiteY5" fmla="*/ 6320 h 9320"/>
                <a:gd name="connsiteX6" fmla="*/ 5349 w 10000"/>
                <a:gd name="connsiteY6" fmla="*/ 6653 h 9320"/>
                <a:gd name="connsiteX7" fmla="*/ 3953 w 10000"/>
                <a:gd name="connsiteY7" fmla="*/ 6153 h 9320"/>
                <a:gd name="connsiteX8" fmla="*/ 2558 w 10000"/>
                <a:gd name="connsiteY8" fmla="*/ 5652 h 9320"/>
                <a:gd name="connsiteX9" fmla="*/ 1395 w 10000"/>
                <a:gd name="connsiteY9" fmla="*/ 5652 h 9320"/>
                <a:gd name="connsiteX10" fmla="*/ 1395 w 10000"/>
                <a:gd name="connsiteY10" fmla="*/ 6320 h 9320"/>
                <a:gd name="connsiteX11" fmla="*/ 0 w 10000"/>
                <a:gd name="connsiteY11" fmla="*/ 6486 h 9320"/>
                <a:gd name="connsiteX12" fmla="*/ 0 w 10000"/>
                <a:gd name="connsiteY12" fmla="*/ 8320 h 9320"/>
                <a:gd name="connsiteX13" fmla="*/ 465 w 10000"/>
                <a:gd name="connsiteY13" fmla="*/ 8987 h 9320"/>
                <a:gd name="connsiteX14" fmla="*/ 1395 w 10000"/>
                <a:gd name="connsiteY14" fmla="*/ 8987 h 9320"/>
                <a:gd name="connsiteX15" fmla="*/ 1860 w 10000"/>
                <a:gd name="connsiteY15" fmla="*/ 9154 h 9320"/>
                <a:gd name="connsiteX16" fmla="*/ 1628 w 10000"/>
                <a:gd name="connsiteY16" fmla="*/ 9154 h 9320"/>
                <a:gd name="connsiteX17" fmla="*/ 2093 w 10000"/>
                <a:gd name="connsiteY17" fmla="*/ 9320 h 9320"/>
                <a:gd name="connsiteX18" fmla="*/ 2558 w 10000"/>
                <a:gd name="connsiteY18" fmla="*/ 9154 h 9320"/>
                <a:gd name="connsiteX19" fmla="*/ 3488 w 10000"/>
                <a:gd name="connsiteY19" fmla="*/ 9320 h 9320"/>
                <a:gd name="connsiteX20" fmla="*/ 4186 w 10000"/>
                <a:gd name="connsiteY20" fmla="*/ 8819 h 9320"/>
                <a:gd name="connsiteX21" fmla="*/ 5116 w 10000"/>
                <a:gd name="connsiteY21" fmla="*/ 8154 h 9320"/>
                <a:gd name="connsiteX22" fmla="*/ 5814 w 10000"/>
                <a:gd name="connsiteY22" fmla="*/ 7985 h 9320"/>
                <a:gd name="connsiteX23" fmla="*/ 5581 w 10000"/>
                <a:gd name="connsiteY23" fmla="*/ 7985 h 9320"/>
                <a:gd name="connsiteX24" fmla="*/ 5581 w 10000"/>
                <a:gd name="connsiteY24" fmla="*/ 7819 h 9320"/>
                <a:gd name="connsiteX25" fmla="*/ 7674 w 10000"/>
                <a:gd name="connsiteY25" fmla="*/ 7153 h 9320"/>
                <a:gd name="connsiteX26" fmla="*/ 8605 w 10000"/>
                <a:gd name="connsiteY26" fmla="*/ 7487 h 9320"/>
                <a:gd name="connsiteX27" fmla="*/ 9070 w 10000"/>
                <a:gd name="connsiteY27" fmla="*/ 7985 h 9320"/>
                <a:gd name="connsiteX28" fmla="*/ 9302 w 10000"/>
                <a:gd name="connsiteY28" fmla="*/ 8320 h 9320"/>
                <a:gd name="connsiteX29" fmla="*/ 10000 w 10000"/>
                <a:gd name="connsiteY29" fmla="*/ 7985 h 9320"/>
                <a:gd name="connsiteX30" fmla="*/ 10000 w 10000"/>
                <a:gd name="connsiteY30" fmla="*/ 7487 h 9320"/>
                <a:gd name="connsiteX31" fmla="*/ 9302 w 10000"/>
                <a:gd name="connsiteY31" fmla="*/ 6653 h 9320"/>
                <a:gd name="connsiteX32" fmla="*/ 9302 w 10000"/>
                <a:gd name="connsiteY32" fmla="*/ 5820 h 9320"/>
                <a:gd name="connsiteX33" fmla="*/ 9535 w 10000"/>
                <a:gd name="connsiteY33" fmla="*/ 5820 h 9320"/>
                <a:gd name="connsiteX34" fmla="*/ 9070 w 10000"/>
                <a:gd name="connsiteY34" fmla="*/ 4987 h 9320"/>
                <a:gd name="connsiteX35" fmla="*/ 8837 w 10000"/>
                <a:gd name="connsiteY35" fmla="*/ 4653 h 9320"/>
                <a:gd name="connsiteX36" fmla="*/ 7674 w 10000"/>
                <a:gd name="connsiteY36" fmla="*/ 4486 h 9320"/>
                <a:gd name="connsiteX37" fmla="*/ 6512 w 10000"/>
                <a:gd name="connsiteY37" fmla="*/ 4153 h 9320"/>
                <a:gd name="connsiteX38" fmla="*/ 6047 w 10000"/>
                <a:gd name="connsiteY38" fmla="*/ 3319 h 9320"/>
                <a:gd name="connsiteX39" fmla="*/ 5581 w 10000"/>
                <a:gd name="connsiteY39" fmla="*/ 1986 h 9320"/>
                <a:gd name="connsiteX40" fmla="*/ 6047 w 10000"/>
                <a:gd name="connsiteY40" fmla="*/ 1486 h 9320"/>
                <a:gd name="connsiteX41" fmla="*/ 5814 w 10000"/>
                <a:gd name="connsiteY41" fmla="*/ 320 h 9320"/>
                <a:gd name="connsiteX42" fmla="*/ 6977 w 10000"/>
                <a:gd name="connsiteY42" fmla="*/ 320 h 9320"/>
                <a:gd name="connsiteX43" fmla="*/ 7442 w 10000"/>
                <a:gd name="connsiteY43" fmla="*/ 986 h 9320"/>
                <a:gd name="connsiteX44" fmla="*/ 8372 w 10000"/>
                <a:gd name="connsiteY44" fmla="*/ 986 h 9320"/>
                <a:gd name="connsiteX45" fmla="*/ 8372 w 10000"/>
                <a:gd name="connsiteY45" fmla="*/ 486 h 9320"/>
                <a:gd name="connsiteX46" fmla="*/ 8605 w 10000"/>
                <a:gd name="connsiteY46" fmla="*/ 153 h 9320"/>
                <a:gd name="connsiteX47" fmla="*/ 8837 w 10000"/>
                <a:gd name="connsiteY47" fmla="*/ 320 h 9320"/>
                <a:gd name="connsiteX0" fmla="*/ 8837 w 10000"/>
                <a:gd name="connsiteY0" fmla="*/ 0 h 9657"/>
                <a:gd name="connsiteX1" fmla="*/ 5814 w 10000"/>
                <a:gd name="connsiteY1" fmla="*/ 3934 h 9657"/>
                <a:gd name="connsiteX2" fmla="*/ 5116 w 10000"/>
                <a:gd name="connsiteY2" fmla="*/ 4113 h 9657"/>
                <a:gd name="connsiteX3" fmla="*/ 4884 w 10000"/>
                <a:gd name="connsiteY3" fmla="*/ 5186 h 9657"/>
                <a:gd name="connsiteX4" fmla="*/ 4651 w 10000"/>
                <a:gd name="connsiteY4" fmla="*/ 5721 h 9657"/>
                <a:gd name="connsiteX5" fmla="*/ 5349 w 10000"/>
                <a:gd name="connsiteY5" fmla="*/ 6438 h 9657"/>
                <a:gd name="connsiteX6" fmla="*/ 5349 w 10000"/>
                <a:gd name="connsiteY6" fmla="*/ 6795 h 9657"/>
                <a:gd name="connsiteX7" fmla="*/ 3953 w 10000"/>
                <a:gd name="connsiteY7" fmla="*/ 6259 h 9657"/>
                <a:gd name="connsiteX8" fmla="*/ 2558 w 10000"/>
                <a:gd name="connsiteY8" fmla="*/ 5721 h 9657"/>
                <a:gd name="connsiteX9" fmla="*/ 1395 w 10000"/>
                <a:gd name="connsiteY9" fmla="*/ 5721 h 9657"/>
                <a:gd name="connsiteX10" fmla="*/ 1395 w 10000"/>
                <a:gd name="connsiteY10" fmla="*/ 6438 h 9657"/>
                <a:gd name="connsiteX11" fmla="*/ 0 w 10000"/>
                <a:gd name="connsiteY11" fmla="*/ 6616 h 9657"/>
                <a:gd name="connsiteX12" fmla="*/ 0 w 10000"/>
                <a:gd name="connsiteY12" fmla="*/ 8584 h 9657"/>
                <a:gd name="connsiteX13" fmla="*/ 465 w 10000"/>
                <a:gd name="connsiteY13" fmla="*/ 9300 h 9657"/>
                <a:gd name="connsiteX14" fmla="*/ 1395 w 10000"/>
                <a:gd name="connsiteY14" fmla="*/ 9300 h 9657"/>
                <a:gd name="connsiteX15" fmla="*/ 1860 w 10000"/>
                <a:gd name="connsiteY15" fmla="*/ 9479 h 9657"/>
                <a:gd name="connsiteX16" fmla="*/ 1628 w 10000"/>
                <a:gd name="connsiteY16" fmla="*/ 9479 h 9657"/>
                <a:gd name="connsiteX17" fmla="*/ 2093 w 10000"/>
                <a:gd name="connsiteY17" fmla="*/ 9657 h 9657"/>
                <a:gd name="connsiteX18" fmla="*/ 2558 w 10000"/>
                <a:gd name="connsiteY18" fmla="*/ 9479 h 9657"/>
                <a:gd name="connsiteX19" fmla="*/ 3488 w 10000"/>
                <a:gd name="connsiteY19" fmla="*/ 9657 h 9657"/>
                <a:gd name="connsiteX20" fmla="*/ 4186 w 10000"/>
                <a:gd name="connsiteY20" fmla="*/ 9119 h 9657"/>
                <a:gd name="connsiteX21" fmla="*/ 5116 w 10000"/>
                <a:gd name="connsiteY21" fmla="*/ 8406 h 9657"/>
                <a:gd name="connsiteX22" fmla="*/ 5814 w 10000"/>
                <a:gd name="connsiteY22" fmla="*/ 8225 h 9657"/>
                <a:gd name="connsiteX23" fmla="*/ 5581 w 10000"/>
                <a:gd name="connsiteY23" fmla="*/ 8225 h 9657"/>
                <a:gd name="connsiteX24" fmla="*/ 5581 w 10000"/>
                <a:gd name="connsiteY24" fmla="*/ 8046 h 9657"/>
                <a:gd name="connsiteX25" fmla="*/ 7674 w 10000"/>
                <a:gd name="connsiteY25" fmla="*/ 7332 h 9657"/>
                <a:gd name="connsiteX26" fmla="*/ 8605 w 10000"/>
                <a:gd name="connsiteY26" fmla="*/ 7690 h 9657"/>
                <a:gd name="connsiteX27" fmla="*/ 9070 w 10000"/>
                <a:gd name="connsiteY27" fmla="*/ 8225 h 9657"/>
                <a:gd name="connsiteX28" fmla="*/ 9302 w 10000"/>
                <a:gd name="connsiteY28" fmla="*/ 8584 h 9657"/>
                <a:gd name="connsiteX29" fmla="*/ 10000 w 10000"/>
                <a:gd name="connsiteY29" fmla="*/ 8225 h 9657"/>
                <a:gd name="connsiteX30" fmla="*/ 10000 w 10000"/>
                <a:gd name="connsiteY30" fmla="*/ 7690 h 9657"/>
                <a:gd name="connsiteX31" fmla="*/ 9302 w 10000"/>
                <a:gd name="connsiteY31" fmla="*/ 6795 h 9657"/>
                <a:gd name="connsiteX32" fmla="*/ 9302 w 10000"/>
                <a:gd name="connsiteY32" fmla="*/ 5902 h 9657"/>
                <a:gd name="connsiteX33" fmla="*/ 9535 w 10000"/>
                <a:gd name="connsiteY33" fmla="*/ 5902 h 9657"/>
                <a:gd name="connsiteX34" fmla="*/ 9070 w 10000"/>
                <a:gd name="connsiteY34" fmla="*/ 5008 h 9657"/>
                <a:gd name="connsiteX35" fmla="*/ 8837 w 10000"/>
                <a:gd name="connsiteY35" fmla="*/ 4649 h 9657"/>
                <a:gd name="connsiteX36" fmla="*/ 7674 w 10000"/>
                <a:gd name="connsiteY36" fmla="*/ 4470 h 9657"/>
                <a:gd name="connsiteX37" fmla="*/ 6512 w 10000"/>
                <a:gd name="connsiteY37" fmla="*/ 4113 h 9657"/>
                <a:gd name="connsiteX38" fmla="*/ 6047 w 10000"/>
                <a:gd name="connsiteY38" fmla="*/ 3218 h 9657"/>
                <a:gd name="connsiteX39" fmla="*/ 5581 w 10000"/>
                <a:gd name="connsiteY39" fmla="*/ 1788 h 9657"/>
                <a:gd name="connsiteX40" fmla="*/ 6047 w 10000"/>
                <a:gd name="connsiteY40" fmla="*/ 1251 h 9657"/>
                <a:gd name="connsiteX41" fmla="*/ 5814 w 10000"/>
                <a:gd name="connsiteY41" fmla="*/ 0 h 9657"/>
                <a:gd name="connsiteX42" fmla="*/ 6977 w 10000"/>
                <a:gd name="connsiteY42" fmla="*/ 0 h 9657"/>
                <a:gd name="connsiteX43" fmla="*/ 7442 w 10000"/>
                <a:gd name="connsiteY43" fmla="*/ 715 h 9657"/>
                <a:gd name="connsiteX44" fmla="*/ 8372 w 10000"/>
                <a:gd name="connsiteY44" fmla="*/ 715 h 9657"/>
                <a:gd name="connsiteX45" fmla="*/ 8372 w 10000"/>
                <a:gd name="connsiteY45" fmla="*/ 178 h 9657"/>
                <a:gd name="connsiteX46" fmla="*/ 8837 w 10000"/>
                <a:gd name="connsiteY46" fmla="*/ 0 h 9657"/>
                <a:gd name="connsiteX0" fmla="*/ 8837 w 10000"/>
                <a:gd name="connsiteY0" fmla="*/ 0 h 10000"/>
                <a:gd name="connsiteX1" fmla="*/ 5814 w 10000"/>
                <a:gd name="connsiteY1" fmla="*/ 4074 h 10000"/>
                <a:gd name="connsiteX2" fmla="*/ 5116 w 10000"/>
                <a:gd name="connsiteY2" fmla="*/ 4259 h 10000"/>
                <a:gd name="connsiteX3" fmla="*/ 4884 w 10000"/>
                <a:gd name="connsiteY3" fmla="*/ 5370 h 10000"/>
                <a:gd name="connsiteX4" fmla="*/ 4651 w 10000"/>
                <a:gd name="connsiteY4" fmla="*/ 5924 h 10000"/>
                <a:gd name="connsiteX5" fmla="*/ 5349 w 10000"/>
                <a:gd name="connsiteY5" fmla="*/ 6667 h 10000"/>
                <a:gd name="connsiteX6" fmla="*/ 5349 w 10000"/>
                <a:gd name="connsiteY6" fmla="*/ 7036 h 10000"/>
                <a:gd name="connsiteX7" fmla="*/ 3953 w 10000"/>
                <a:gd name="connsiteY7" fmla="*/ 6481 h 10000"/>
                <a:gd name="connsiteX8" fmla="*/ 2558 w 10000"/>
                <a:gd name="connsiteY8" fmla="*/ 5924 h 10000"/>
                <a:gd name="connsiteX9" fmla="*/ 1395 w 10000"/>
                <a:gd name="connsiteY9" fmla="*/ 5924 h 10000"/>
                <a:gd name="connsiteX10" fmla="*/ 1395 w 10000"/>
                <a:gd name="connsiteY10" fmla="*/ 6667 h 10000"/>
                <a:gd name="connsiteX11" fmla="*/ 0 w 10000"/>
                <a:gd name="connsiteY11" fmla="*/ 6851 h 10000"/>
                <a:gd name="connsiteX12" fmla="*/ 0 w 10000"/>
                <a:gd name="connsiteY12" fmla="*/ 8889 h 10000"/>
                <a:gd name="connsiteX13" fmla="*/ 465 w 10000"/>
                <a:gd name="connsiteY13" fmla="*/ 9630 h 10000"/>
                <a:gd name="connsiteX14" fmla="*/ 1395 w 10000"/>
                <a:gd name="connsiteY14" fmla="*/ 9630 h 10000"/>
                <a:gd name="connsiteX15" fmla="*/ 1860 w 10000"/>
                <a:gd name="connsiteY15" fmla="*/ 9816 h 10000"/>
                <a:gd name="connsiteX16" fmla="*/ 1628 w 10000"/>
                <a:gd name="connsiteY16" fmla="*/ 9816 h 10000"/>
                <a:gd name="connsiteX17" fmla="*/ 2093 w 10000"/>
                <a:gd name="connsiteY17" fmla="*/ 10000 h 10000"/>
                <a:gd name="connsiteX18" fmla="*/ 2558 w 10000"/>
                <a:gd name="connsiteY18" fmla="*/ 9816 h 10000"/>
                <a:gd name="connsiteX19" fmla="*/ 3488 w 10000"/>
                <a:gd name="connsiteY19" fmla="*/ 10000 h 10000"/>
                <a:gd name="connsiteX20" fmla="*/ 4186 w 10000"/>
                <a:gd name="connsiteY20" fmla="*/ 9443 h 10000"/>
                <a:gd name="connsiteX21" fmla="*/ 5116 w 10000"/>
                <a:gd name="connsiteY21" fmla="*/ 8705 h 10000"/>
                <a:gd name="connsiteX22" fmla="*/ 5814 w 10000"/>
                <a:gd name="connsiteY22" fmla="*/ 8517 h 10000"/>
                <a:gd name="connsiteX23" fmla="*/ 5581 w 10000"/>
                <a:gd name="connsiteY23" fmla="*/ 8517 h 10000"/>
                <a:gd name="connsiteX24" fmla="*/ 5581 w 10000"/>
                <a:gd name="connsiteY24" fmla="*/ 8332 h 10000"/>
                <a:gd name="connsiteX25" fmla="*/ 7674 w 10000"/>
                <a:gd name="connsiteY25" fmla="*/ 7592 h 10000"/>
                <a:gd name="connsiteX26" fmla="*/ 8605 w 10000"/>
                <a:gd name="connsiteY26" fmla="*/ 7963 h 10000"/>
                <a:gd name="connsiteX27" fmla="*/ 9070 w 10000"/>
                <a:gd name="connsiteY27" fmla="*/ 8517 h 10000"/>
                <a:gd name="connsiteX28" fmla="*/ 9302 w 10000"/>
                <a:gd name="connsiteY28" fmla="*/ 8889 h 10000"/>
                <a:gd name="connsiteX29" fmla="*/ 10000 w 10000"/>
                <a:gd name="connsiteY29" fmla="*/ 8517 h 10000"/>
                <a:gd name="connsiteX30" fmla="*/ 10000 w 10000"/>
                <a:gd name="connsiteY30" fmla="*/ 7963 h 10000"/>
                <a:gd name="connsiteX31" fmla="*/ 9302 w 10000"/>
                <a:gd name="connsiteY31" fmla="*/ 7036 h 10000"/>
                <a:gd name="connsiteX32" fmla="*/ 9302 w 10000"/>
                <a:gd name="connsiteY32" fmla="*/ 6112 h 10000"/>
                <a:gd name="connsiteX33" fmla="*/ 9535 w 10000"/>
                <a:gd name="connsiteY33" fmla="*/ 6112 h 10000"/>
                <a:gd name="connsiteX34" fmla="*/ 9070 w 10000"/>
                <a:gd name="connsiteY34" fmla="*/ 5186 h 10000"/>
                <a:gd name="connsiteX35" fmla="*/ 8837 w 10000"/>
                <a:gd name="connsiteY35" fmla="*/ 4814 h 10000"/>
                <a:gd name="connsiteX36" fmla="*/ 7674 w 10000"/>
                <a:gd name="connsiteY36" fmla="*/ 4629 h 10000"/>
                <a:gd name="connsiteX37" fmla="*/ 6512 w 10000"/>
                <a:gd name="connsiteY37" fmla="*/ 4259 h 10000"/>
                <a:gd name="connsiteX38" fmla="*/ 6047 w 10000"/>
                <a:gd name="connsiteY38" fmla="*/ 3332 h 10000"/>
                <a:gd name="connsiteX39" fmla="*/ 5581 w 10000"/>
                <a:gd name="connsiteY39" fmla="*/ 1852 h 10000"/>
                <a:gd name="connsiteX40" fmla="*/ 6047 w 10000"/>
                <a:gd name="connsiteY40" fmla="*/ 1295 h 10000"/>
                <a:gd name="connsiteX41" fmla="*/ 5814 w 10000"/>
                <a:gd name="connsiteY41" fmla="*/ 0 h 10000"/>
                <a:gd name="connsiteX42" fmla="*/ 6977 w 10000"/>
                <a:gd name="connsiteY42" fmla="*/ 0 h 10000"/>
                <a:gd name="connsiteX43" fmla="*/ 7442 w 10000"/>
                <a:gd name="connsiteY43" fmla="*/ 740 h 10000"/>
                <a:gd name="connsiteX44" fmla="*/ 8372 w 10000"/>
                <a:gd name="connsiteY44" fmla="*/ 740 h 10000"/>
                <a:gd name="connsiteX45" fmla="*/ 8837 w 10000"/>
                <a:gd name="connsiteY45" fmla="*/ 0 h 10000"/>
                <a:gd name="connsiteX0" fmla="*/ 8837 w 10000"/>
                <a:gd name="connsiteY0" fmla="*/ 0 h 10000"/>
                <a:gd name="connsiteX1" fmla="*/ 5814 w 10000"/>
                <a:gd name="connsiteY1" fmla="*/ 4074 h 10000"/>
                <a:gd name="connsiteX2" fmla="*/ 5116 w 10000"/>
                <a:gd name="connsiteY2" fmla="*/ 4259 h 10000"/>
                <a:gd name="connsiteX3" fmla="*/ 4884 w 10000"/>
                <a:gd name="connsiteY3" fmla="*/ 5370 h 10000"/>
                <a:gd name="connsiteX4" fmla="*/ 4651 w 10000"/>
                <a:gd name="connsiteY4" fmla="*/ 5924 h 10000"/>
                <a:gd name="connsiteX5" fmla="*/ 5349 w 10000"/>
                <a:gd name="connsiteY5" fmla="*/ 6667 h 10000"/>
                <a:gd name="connsiteX6" fmla="*/ 5349 w 10000"/>
                <a:gd name="connsiteY6" fmla="*/ 7036 h 10000"/>
                <a:gd name="connsiteX7" fmla="*/ 3953 w 10000"/>
                <a:gd name="connsiteY7" fmla="*/ 6481 h 10000"/>
                <a:gd name="connsiteX8" fmla="*/ 2558 w 10000"/>
                <a:gd name="connsiteY8" fmla="*/ 5924 h 10000"/>
                <a:gd name="connsiteX9" fmla="*/ 1395 w 10000"/>
                <a:gd name="connsiteY9" fmla="*/ 5924 h 10000"/>
                <a:gd name="connsiteX10" fmla="*/ 1395 w 10000"/>
                <a:gd name="connsiteY10" fmla="*/ 6667 h 10000"/>
                <a:gd name="connsiteX11" fmla="*/ 0 w 10000"/>
                <a:gd name="connsiteY11" fmla="*/ 6851 h 10000"/>
                <a:gd name="connsiteX12" fmla="*/ 0 w 10000"/>
                <a:gd name="connsiteY12" fmla="*/ 8889 h 10000"/>
                <a:gd name="connsiteX13" fmla="*/ 465 w 10000"/>
                <a:gd name="connsiteY13" fmla="*/ 9630 h 10000"/>
                <a:gd name="connsiteX14" fmla="*/ 1395 w 10000"/>
                <a:gd name="connsiteY14" fmla="*/ 9630 h 10000"/>
                <a:gd name="connsiteX15" fmla="*/ 1860 w 10000"/>
                <a:gd name="connsiteY15" fmla="*/ 9816 h 10000"/>
                <a:gd name="connsiteX16" fmla="*/ 1628 w 10000"/>
                <a:gd name="connsiteY16" fmla="*/ 9816 h 10000"/>
                <a:gd name="connsiteX17" fmla="*/ 2093 w 10000"/>
                <a:gd name="connsiteY17" fmla="*/ 10000 h 10000"/>
                <a:gd name="connsiteX18" fmla="*/ 2558 w 10000"/>
                <a:gd name="connsiteY18" fmla="*/ 9816 h 10000"/>
                <a:gd name="connsiteX19" fmla="*/ 3488 w 10000"/>
                <a:gd name="connsiteY19" fmla="*/ 10000 h 10000"/>
                <a:gd name="connsiteX20" fmla="*/ 4186 w 10000"/>
                <a:gd name="connsiteY20" fmla="*/ 9443 h 10000"/>
                <a:gd name="connsiteX21" fmla="*/ 5116 w 10000"/>
                <a:gd name="connsiteY21" fmla="*/ 8705 h 10000"/>
                <a:gd name="connsiteX22" fmla="*/ 5814 w 10000"/>
                <a:gd name="connsiteY22" fmla="*/ 8517 h 10000"/>
                <a:gd name="connsiteX23" fmla="*/ 5581 w 10000"/>
                <a:gd name="connsiteY23" fmla="*/ 8517 h 10000"/>
                <a:gd name="connsiteX24" fmla="*/ 5581 w 10000"/>
                <a:gd name="connsiteY24" fmla="*/ 8332 h 10000"/>
                <a:gd name="connsiteX25" fmla="*/ 7674 w 10000"/>
                <a:gd name="connsiteY25" fmla="*/ 7592 h 10000"/>
                <a:gd name="connsiteX26" fmla="*/ 8605 w 10000"/>
                <a:gd name="connsiteY26" fmla="*/ 7963 h 10000"/>
                <a:gd name="connsiteX27" fmla="*/ 9070 w 10000"/>
                <a:gd name="connsiteY27" fmla="*/ 8517 h 10000"/>
                <a:gd name="connsiteX28" fmla="*/ 9302 w 10000"/>
                <a:gd name="connsiteY28" fmla="*/ 8889 h 10000"/>
                <a:gd name="connsiteX29" fmla="*/ 10000 w 10000"/>
                <a:gd name="connsiteY29" fmla="*/ 8517 h 10000"/>
                <a:gd name="connsiteX30" fmla="*/ 10000 w 10000"/>
                <a:gd name="connsiteY30" fmla="*/ 7963 h 10000"/>
                <a:gd name="connsiteX31" fmla="*/ 9302 w 10000"/>
                <a:gd name="connsiteY31" fmla="*/ 7036 h 10000"/>
                <a:gd name="connsiteX32" fmla="*/ 9302 w 10000"/>
                <a:gd name="connsiteY32" fmla="*/ 6112 h 10000"/>
                <a:gd name="connsiteX33" fmla="*/ 9535 w 10000"/>
                <a:gd name="connsiteY33" fmla="*/ 6112 h 10000"/>
                <a:gd name="connsiteX34" fmla="*/ 9070 w 10000"/>
                <a:gd name="connsiteY34" fmla="*/ 5186 h 10000"/>
                <a:gd name="connsiteX35" fmla="*/ 8837 w 10000"/>
                <a:gd name="connsiteY35" fmla="*/ 4814 h 10000"/>
                <a:gd name="connsiteX36" fmla="*/ 7674 w 10000"/>
                <a:gd name="connsiteY36" fmla="*/ 4629 h 10000"/>
                <a:gd name="connsiteX37" fmla="*/ 6512 w 10000"/>
                <a:gd name="connsiteY37" fmla="*/ 4259 h 10000"/>
                <a:gd name="connsiteX38" fmla="*/ 6047 w 10000"/>
                <a:gd name="connsiteY38" fmla="*/ 3332 h 10000"/>
                <a:gd name="connsiteX39" fmla="*/ 5581 w 10000"/>
                <a:gd name="connsiteY39" fmla="*/ 1852 h 10000"/>
                <a:gd name="connsiteX40" fmla="*/ 6047 w 10000"/>
                <a:gd name="connsiteY40" fmla="*/ 1295 h 10000"/>
                <a:gd name="connsiteX41" fmla="*/ 5814 w 10000"/>
                <a:gd name="connsiteY41" fmla="*/ 0 h 10000"/>
                <a:gd name="connsiteX42" fmla="*/ 6977 w 10000"/>
                <a:gd name="connsiteY42" fmla="*/ 0 h 10000"/>
                <a:gd name="connsiteX43" fmla="*/ 7442 w 10000"/>
                <a:gd name="connsiteY43" fmla="*/ 740 h 10000"/>
                <a:gd name="connsiteX44" fmla="*/ 8837 w 10000"/>
                <a:gd name="connsiteY44" fmla="*/ 0 h 10000"/>
                <a:gd name="connsiteX0" fmla="*/ 7442 w 10000"/>
                <a:gd name="connsiteY0" fmla="*/ 740 h 10000"/>
                <a:gd name="connsiteX1" fmla="*/ 5814 w 10000"/>
                <a:gd name="connsiteY1" fmla="*/ 4074 h 10000"/>
                <a:gd name="connsiteX2" fmla="*/ 5116 w 10000"/>
                <a:gd name="connsiteY2" fmla="*/ 4259 h 10000"/>
                <a:gd name="connsiteX3" fmla="*/ 4884 w 10000"/>
                <a:gd name="connsiteY3" fmla="*/ 5370 h 10000"/>
                <a:gd name="connsiteX4" fmla="*/ 4651 w 10000"/>
                <a:gd name="connsiteY4" fmla="*/ 5924 h 10000"/>
                <a:gd name="connsiteX5" fmla="*/ 5349 w 10000"/>
                <a:gd name="connsiteY5" fmla="*/ 6667 h 10000"/>
                <a:gd name="connsiteX6" fmla="*/ 5349 w 10000"/>
                <a:gd name="connsiteY6" fmla="*/ 7036 h 10000"/>
                <a:gd name="connsiteX7" fmla="*/ 3953 w 10000"/>
                <a:gd name="connsiteY7" fmla="*/ 6481 h 10000"/>
                <a:gd name="connsiteX8" fmla="*/ 2558 w 10000"/>
                <a:gd name="connsiteY8" fmla="*/ 5924 h 10000"/>
                <a:gd name="connsiteX9" fmla="*/ 1395 w 10000"/>
                <a:gd name="connsiteY9" fmla="*/ 5924 h 10000"/>
                <a:gd name="connsiteX10" fmla="*/ 1395 w 10000"/>
                <a:gd name="connsiteY10" fmla="*/ 6667 h 10000"/>
                <a:gd name="connsiteX11" fmla="*/ 0 w 10000"/>
                <a:gd name="connsiteY11" fmla="*/ 6851 h 10000"/>
                <a:gd name="connsiteX12" fmla="*/ 0 w 10000"/>
                <a:gd name="connsiteY12" fmla="*/ 8889 h 10000"/>
                <a:gd name="connsiteX13" fmla="*/ 465 w 10000"/>
                <a:gd name="connsiteY13" fmla="*/ 9630 h 10000"/>
                <a:gd name="connsiteX14" fmla="*/ 1395 w 10000"/>
                <a:gd name="connsiteY14" fmla="*/ 9630 h 10000"/>
                <a:gd name="connsiteX15" fmla="*/ 1860 w 10000"/>
                <a:gd name="connsiteY15" fmla="*/ 9816 h 10000"/>
                <a:gd name="connsiteX16" fmla="*/ 1628 w 10000"/>
                <a:gd name="connsiteY16" fmla="*/ 9816 h 10000"/>
                <a:gd name="connsiteX17" fmla="*/ 2093 w 10000"/>
                <a:gd name="connsiteY17" fmla="*/ 10000 h 10000"/>
                <a:gd name="connsiteX18" fmla="*/ 2558 w 10000"/>
                <a:gd name="connsiteY18" fmla="*/ 9816 h 10000"/>
                <a:gd name="connsiteX19" fmla="*/ 3488 w 10000"/>
                <a:gd name="connsiteY19" fmla="*/ 10000 h 10000"/>
                <a:gd name="connsiteX20" fmla="*/ 4186 w 10000"/>
                <a:gd name="connsiteY20" fmla="*/ 9443 h 10000"/>
                <a:gd name="connsiteX21" fmla="*/ 5116 w 10000"/>
                <a:gd name="connsiteY21" fmla="*/ 8705 h 10000"/>
                <a:gd name="connsiteX22" fmla="*/ 5814 w 10000"/>
                <a:gd name="connsiteY22" fmla="*/ 8517 h 10000"/>
                <a:gd name="connsiteX23" fmla="*/ 5581 w 10000"/>
                <a:gd name="connsiteY23" fmla="*/ 8517 h 10000"/>
                <a:gd name="connsiteX24" fmla="*/ 5581 w 10000"/>
                <a:gd name="connsiteY24" fmla="*/ 8332 h 10000"/>
                <a:gd name="connsiteX25" fmla="*/ 7674 w 10000"/>
                <a:gd name="connsiteY25" fmla="*/ 7592 h 10000"/>
                <a:gd name="connsiteX26" fmla="*/ 8605 w 10000"/>
                <a:gd name="connsiteY26" fmla="*/ 7963 h 10000"/>
                <a:gd name="connsiteX27" fmla="*/ 9070 w 10000"/>
                <a:gd name="connsiteY27" fmla="*/ 8517 h 10000"/>
                <a:gd name="connsiteX28" fmla="*/ 9302 w 10000"/>
                <a:gd name="connsiteY28" fmla="*/ 8889 h 10000"/>
                <a:gd name="connsiteX29" fmla="*/ 10000 w 10000"/>
                <a:gd name="connsiteY29" fmla="*/ 8517 h 10000"/>
                <a:gd name="connsiteX30" fmla="*/ 10000 w 10000"/>
                <a:gd name="connsiteY30" fmla="*/ 7963 h 10000"/>
                <a:gd name="connsiteX31" fmla="*/ 9302 w 10000"/>
                <a:gd name="connsiteY31" fmla="*/ 7036 h 10000"/>
                <a:gd name="connsiteX32" fmla="*/ 9302 w 10000"/>
                <a:gd name="connsiteY32" fmla="*/ 6112 h 10000"/>
                <a:gd name="connsiteX33" fmla="*/ 9535 w 10000"/>
                <a:gd name="connsiteY33" fmla="*/ 6112 h 10000"/>
                <a:gd name="connsiteX34" fmla="*/ 9070 w 10000"/>
                <a:gd name="connsiteY34" fmla="*/ 5186 h 10000"/>
                <a:gd name="connsiteX35" fmla="*/ 8837 w 10000"/>
                <a:gd name="connsiteY35" fmla="*/ 4814 h 10000"/>
                <a:gd name="connsiteX36" fmla="*/ 7674 w 10000"/>
                <a:gd name="connsiteY36" fmla="*/ 4629 h 10000"/>
                <a:gd name="connsiteX37" fmla="*/ 6512 w 10000"/>
                <a:gd name="connsiteY37" fmla="*/ 4259 h 10000"/>
                <a:gd name="connsiteX38" fmla="*/ 6047 w 10000"/>
                <a:gd name="connsiteY38" fmla="*/ 3332 h 10000"/>
                <a:gd name="connsiteX39" fmla="*/ 5581 w 10000"/>
                <a:gd name="connsiteY39" fmla="*/ 1852 h 10000"/>
                <a:gd name="connsiteX40" fmla="*/ 6047 w 10000"/>
                <a:gd name="connsiteY40" fmla="*/ 1295 h 10000"/>
                <a:gd name="connsiteX41" fmla="*/ 5814 w 10000"/>
                <a:gd name="connsiteY41" fmla="*/ 0 h 10000"/>
                <a:gd name="connsiteX42" fmla="*/ 6977 w 10000"/>
                <a:gd name="connsiteY42" fmla="*/ 0 h 10000"/>
                <a:gd name="connsiteX43" fmla="*/ 7442 w 10000"/>
                <a:gd name="connsiteY43" fmla="*/ 740 h 10000"/>
                <a:gd name="connsiteX0" fmla="*/ 6977 w 10000"/>
                <a:gd name="connsiteY0" fmla="*/ 0 h 10000"/>
                <a:gd name="connsiteX1" fmla="*/ 5814 w 10000"/>
                <a:gd name="connsiteY1" fmla="*/ 4074 h 10000"/>
                <a:gd name="connsiteX2" fmla="*/ 5116 w 10000"/>
                <a:gd name="connsiteY2" fmla="*/ 4259 h 10000"/>
                <a:gd name="connsiteX3" fmla="*/ 4884 w 10000"/>
                <a:gd name="connsiteY3" fmla="*/ 5370 h 10000"/>
                <a:gd name="connsiteX4" fmla="*/ 4651 w 10000"/>
                <a:gd name="connsiteY4" fmla="*/ 5924 h 10000"/>
                <a:gd name="connsiteX5" fmla="*/ 5349 w 10000"/>
                <a:gd name="connsiteY5" fmla="*/ 6667 h 10000"/>
                <a:gd name="connsiteX6" fmla="*/ 5349 w 10000"/>
                <a:gd name="connsiteY6" fmla="*/ 7036 h 10000"/>
                <a:gd name="connsiteX7" fmla="*/ 3953 w 10000"/>
                <a:gd name="connsiteY7" fmla="*/ 6481 h 10000"/>
                <a:gd name="connsiteX8" fmla="*/ 2558 w 10000"/>
                <a:gd name="connsiteY8" fmla="*/ 5924 h 10000"/>
                <a:gd name="connsiteX9" fmla="*/ 1395 w 10000"/>
                <a:gd name="connsiteY9" fmla="*/ 5924 h 10000"/>
                <a:gd name="connsiteX10" fmla="*/ 1395 w 10000"/>
                <a:gd name="connsiteY10" fmla="*/ 6667 h 10000"/>
                <a:gd name="connsiteX11" fmla="*/ 0 w 10000"/>
                <a:gd name="connsiteY11" fmla="*/ 6851 h 10000"/>
                <a:gd name="connsiteX12" fmla="*/ 0 w 10000"/>
                <a:gd name="connsiteY12" fmla="*/ 8889 h 10000"/>
                <a:gd name="connsiteX13" fmla="*/ 465 w 10000"/>
                <a:gd name="connsiteY13" fmla="*/ 9630 h 10000"/>
                <a:gd name="connsiteX14" fmla="*/ 1395 w 10000"/>
                <a:gd name="connsiteY14" fmla="*/ 9630 h 10000"/>
                <a:gd name="connsiteX15" fmla="*/ 1860 w 10000"/>
                <a:gd name="connsiteY15" fmla="*/ 9816 h 10000"/>
                <a:gd name="connsiteX16" fmla="*/ 1628 w 10000"/>
                <a:gd name="connsiteY16" fmla="*/ 9816 h 10000"/>
                <a:gd name="connsiteX17" fmla="*/ 2093 w 10000"/>
                <a:gd name="connsiteY17" fmla="*/ 10000 h 10000"/>
                <a:gd name="connsiteX18" fmla="*/ 2558 w 10000"/>
                <a:gd name="connsiteY18" fmla="*/ 9816 h 10000"/>
                <a:gd name="connsiteX19" fmla="*/ 3488 w 10000"/>
                <a:gd name="connsiteY19" fmla="*/ 10000 h 10000"/>
                <a:gd name="connsiteX20" fmla="*/ 4186 w 10000"/>
                <a:gd name="connsiteY20" fmla="*/ 9443 h 10000"/>
                <a:gd name="connsiteX21" fmla="*/ 5116 w 10000"/>
                <a:gd name="connsiteY21" fmla="*/ 8705 h 10000"/>
                <a:gd name="connsiteX22" fmla="*/ 5814 w 10000"/>
                <a:gd name="connsiteY22" fmla="*/ 8517 h 10000"/>
                <a:gd name="connsiteX23" fmla="*/ 5581 w 10000"/>
                <a:gd name="connsiteY23" fmla="*/ 8517 h 10000"/>
                <a:gd name="connsiteX24" fmla="*/ 5581 w 10000"/>
                <a:gd name="connsiteY24" fmla="*/ 8332 h 10000"/>
                <a:gd name="connsiteX25" fmla="*/ 7674 w 10000"/>
                <a:gd name="connsiteY25" fmla="*/ 7592 h 10000"/>
                <a:gd name="connsiteX26" fmla="*/ 8605 w 10000"/>
                <a:gd name="connsiteY26" fmla="*/ 7963 h 10000"/>
                <a:gd name="connsiteX27" fmla="*/ 9070 w 10000"/>
                <a:gd name="connsiteY27" fmla="*/ 8517 h 10000"/>
                <a:gd name="connsiteX28" fmla="*/ 9302 w 10000"/>
                <a:gd name="connsiteY28" fmla="*/ 8889 h 10000"/>
                <a:gd name="connsiteX29" fmla="*/ 10000 w 10000"/>
                <a:gd name="connsiteY29" fmla="*/ 8517 h 10000"/>
                <a:gd name="connsiteX30" fmla="*/ 10000 w 10000"/>
                <a:gd name="connsiteY30" fmla="*/ 7963 h 10000"/>
                <a:gd name="connsiteX31" fmla="*/ 9302 w 10000"/>
                <a:gd name="connsiteY31" fmla="*/ 7036 h 10000"/>
                <a:gd name="connsiteX32" fmla="*/ 9302 w 10000"/>
                <a:gd name="connsiteY32" fmla="*/ 6112 h 10000"/>
                <a:gd name="connsiteX33" fmla="*/ 9535 w 10000"/>
                <a:gd name="connsiteY33" fmla="*/ 6112 h 10000"/>
                <a:gd name="connsiteX34" fmla="*/ 9070 w 10000"/>
                <a:gd name="connsiteY34" fmla="*/ 5186 h 10000"/>
                <a:gd name="connsiteX35" fmla="*/ 8837 w 10000"/>
                <a:gd name="connsiteY35" fmla="*/ 4814 h 10000"/>
                <a:gd name="connsiteX36" fmla="*/ 7674 w 10000"/>
                <a:gd name="connsiteY36" fmla="*/ 4629 h 10000"/>
                <a:gd name="connsiteX37" fmla="*/ 6512 w 10000"/>
                <a:gd name="connsiteY37" fmla="*/ 4259 h 10000"/>
                <a:gd name="connsiteX38" fmla="*/ 6047 w 10000"/>
                <a:gd name="connsiteY38" fmla="*/ 3332 h 10000"/>
                <a:gd name="connsiteX39" fmla="*/ 5581 w 10000"/>
                <a:gd name="connsiteY39" fmla="*/ 1852 h 10000"/>
                <a:gd name="connsiteX40" fmla="*/ 6047 w 10000"/>
                <a:gd name="connsiteY40" fmla="*/ 1295 h 10000"/>
                <a:gd name="connsiteX41" fmla="*/ 5814 w 10000"/>
                <a:gd name="connsiteY41" fmla="*/ 0 h 10000"/>
                <a:gd name="connsiteX42" fmla="*/ 6977 w 10000"/>
                <a:gd name="connsiteY42" fmla="*/ 0 h 10000"/>
                <a:gd name="connsiteX0" fmla="*/ 5814 w 10000"/>
                <a:gd name="connsiteY0" fmla="*/ 0 h 10000"/>
                <a:gd name="connsiteX1" fmla="*/ 5814 w 10000"/>
                <a:gd name="connsiteY1" fmla="*/ 4074 h 10000"/>
                <a:gd name="connsiteX2" fmla="*/ 5116 w 10000"/>
                <a:gd name="connsiteY2" fmla="*/ 4259 h 10000"/>
                <a:gd name="connsiteX3" fmla="*/ 4884 w 10000"/>
                <a:gd name="connsiteY3" fmla="*/ 5370 h 10000"/>
                <a:gd name="connsiteX4" fmla="*/ 4651 w 10000"/>
                <a:gd name="connsiteY4" fmla="*/ 5924 h 10000"/>
                <a:gd name="connsiteX5" fmla="*/ 5349 w 10000"/>
                <a:gd name="connsiteY5" fmla="*/ 6667 h 10000"/>
                <a:gd name="connsiteX6" fmla="*/ 5349 w 10000"/>
                <a:gd name="connsiteY6" fmla="*/ 7036 h 10000"/>
                <a:gd name="connsiteX7" fmla="*/ 3953 w 10000"/>
                <a:gd name="connsiteY7" fmla="*/ 6481 h 10000"/>
                <a:gd name="connsiteX8" fmla="*/ 2558 w 10000"/>
                <a:gd name="connsiteY8" fmla="*/ 5924 h 10000"/>
                <a:gd name="connsiteX9" fmla="*/ 1395 w 10000"/>
                <a:gd name="connsiteY9" fmla="*/ 5924 h 10000"/>
                <a:gd name="connsiteX10" fmla="*/ 1395 w 10000"/>
                <a:gd name="connsiteY10" fmla="*/ 6667 h 10000"/>
                <a:gd name="connsiteX11" fmla="*/ 0 w 10000"/>
                <a:gd name="connsiteY11" fmla="*/ 6851 h 10000"/>
                <a:gd name="connsiteX12" fmla="*/ 0 w 10000"/>
                <a:gd name="connsiteY12" fmla="*/ 8889 h 10000"/>
                <a:gd name="connsiteX13" fmla="*/ 465 w 10000"/>
                <a:gd name="connsiteY13" fmla="*/ 9630 h 10000"/>
                <a:gd name="connsiteX14" fmla="*/ 1395 w 10000"/>
                <a:gd name="connsiteY14" fmla="*/ 9630 h 10000"/>
                <a:gd name="connsiteX15" fmla="*/ 1860 w 10000"/>
                <a:gd name="connsiteY15" fmla="*/ 9816 h 10000"/>
                <a:gd name="connsiteX16" fmla="*/ 1628 w 10000"/>
                <a:gd name="connsiteY16" fmla="*/ 9816 h 10000"/>
                <a:gd name="connsiteX17" fmla="*/ 2093 w 10000"/>
                <a:gd name="connsiteY17" fmla="*/ 10000 h 10000"/>
                <a:gd name="connsiteX18" fmla="*/ 2558 w 10000"/>
                <a:gd name="connsiteY18" fmla="*/ 9816 h 10000"/>
                <a:gd name="connsiteX19" fmla="*/ 3488 w 10000"/>
                <a:gd name="connsiteY19" fmla="*/ 10000 h 10000"/>
                <a:gd name="connsiteX20" fmla="*/ 4186 w 10000"/>
                <a:gd name="connsiteY20" fmla="*/ 9443 h 10000"/>
                <a:gd name="connsiteX21" fmla="*/ 5116 w 10000"/>
                <a:gd name="connsiteY21" fmla="*/ 8705 h 10000"/>
                <a:gd name="connsiteX22" fmla="*/ 5814 w 10000"/>
                <a:gd name="connsiteY22" fmla="*/ 8517 h 10000"/>
                <a:gd name="connsiteX23" fmla="*/ 5581 w 10000"/>
                <a:gd name="connsiteY23" fmla="*/ 8517 h 10000"/>
                <a:gd name="connsiteX24" fmla="*/ 5581 w 10000"/>
                <a:gd name="connsiteY24" fmla="*/ 8332 h 10000"/>
                <a:gd name="connsiteX25" fmla="*/ 7674 w 10000"/>
                <a:gd name="connsiteY25" fmla="*/ 7592 h 10000"/>
                <a:gd name="connsiteX26" fmla="*/ 8605 w 10000"/>
                <a:gd name="connsiteY26" fmla="*/ 7963 h 10000"/>
                <a:gd name="connsiteX27" fmla="*/ 9070 w 10000"/>
                <a:gd name="connsiteY27" fmla="*/ 8517 h 10000"/>
                <a:gd name="connsiteX28" fmla="*/ 9302 w 10000"/>
                <a:gd name="connsiteY28" fmla="*/ 8889 h 10000"/>
                <a:gd name="connsiteX29" fmla="*/ 10000 w 10000"/>
                <a:gd name="connsiteY29" fmla="*/ 8517 h 10000"/>
                <a:gd name="connsiteX30" fmla="*/ 10000 w 10000"/>
                <a:gd name="connsiteY30" fmla="*/ 7963 h 10000"/>
                <a:gd name="connsiteX31" fmla="*/ 9302 w 10000"/>
                <a:gd name="connsiteY31" fmla="*/ 7036 h 10000"/>
                <a:gd name="connsiteX32" fmla="*/ 9302 w 10000"/>
                <a:gd name="connsiteY32" fmla="*/ 6112 h 10000"/>
                <a:gd name="connsiteX33" fmla="*/ 9535 w 10000"/>
                <a:gd name="connsiteY33" fmla="*/ 6112 h 10000"/>
                <a:gd name="connsiteX34" fmla="*/ 9070 w 10000"/>
                <a:gd name="connsiteY34" fmla="*/ 5186 h 10000"/>
                <a:gd name="connsiteX35" fmla="*/ 8837 w 10000"/>
                <a:gd name="connsiteY35" fmla="*/ 4814 h 10000"/>
                <a:gd name="connsiteX36" fmla="*/ 7674 w 10000"/>
                <a:gd name="connsiteY36" fmla="*/ 4629 h 10000"/>
                <a:gd name="connsiteX37" fmla="*/ 6512 w 10000"/>
                <a:gd name="connsiteY37" fmla="*/ 4259 h 10000"/>
                <a:gd name="connsiteX38" fmla="*/ 6047 w 10000"/>
                <a:gd name="connsiteY38" fmla="*/ 3332 h 10000"/>
                <a:gd name="connsiteX39" fmla="*/ 5581 w 10000"/>
                <a:gd name="connsiteY39" fmla="*/ 1852 h 10000"/>
                <a:gd name="connsiteX40" fmla="*/ 6047 w 10000"/>
                <a:gd name="connsiteY40" fmla="*/ 1295 h 10000"/>
                <a:gd name="connsiteX41" fmla="*/ 5814 w 10000"/>
                <a:gd name="connsiteY41" fmla="*/ 0 h 10000"/>
                <a:gd name="connsiteX0" fmla="*/ 6047 w 10000"/>
                <a:gd name="connsiteY0" fmla="*/ 103 h 8808"/>
                <a:gd name="connsiteX1" fmla="*/ 5814 w 10000"/>
                <a:gd name="connsiteY1" fmla="*/ 2882 h 8808"/>
                <a:gd name="connsiteX2" fmla="*/ 5116 w 10000"/>
                <a:gd name="connsiteY2" fmla="*/ 3067 h 8808"/>
                <a:gd name="connsiteX3" fmla="*/ 4884 w 10000"/>
                <a:gd name="connsiteY3" fmla="*/ 4178 h 8808"/>
                <a:gd name="connsiteX4" fmla="*/ 4651 w 10000"/>
                <a:gd name="connsiteY4" fmla="*/ 4732 h 8808"/>
                <a:gd name="connsiteX5" fmla="*/ 5349 w 10000"/>
                <a:gd name="connsiteY5" fmla="*/ 5475 h 8808"/>
                <a:gd name="connsiteX6" fmla="*/ 5349 w 10000"/>
                <a:gd name="connsiteY6" fmla="*/ 5844 h 8808"/>
                <a:gd name="connsiteX7" fmla="*/ 3953 w 10000"/>
                <a:gd name="connsiteY7" fmla="*/ 5289 h 8808"/>
                <a:gd name="connsiteX8" fmla="*/ 2558 w 10000"/>
                <a:gd name="connsiteY8" fmla="*/ 4732 h 8808"/>
                <a:gd name="connsiteX9" fmla="*/ 1395 w 10000"/>
                <a:gd name="connsiteY9" fmla="*/ 4732 h 8808"/>
                <a:gd name="connsiteX10" fmla="*/ 1395 w 10000"/>
                <a:gd name="connsiteY10" fmla="*/ 5475 h 8808"/>
                <a:gd name="connsiteX11" fmla="*/ 0 w 10000"/>
                <a:gd name="connsiteY11" fmla="*/ 5659 h 8808"/>
                <a:gd name="connsiteX12" fmla="*/ 0 w 10000"/>
                <a:gd name="connsiteY12" fmla="*/ 7697 h 8808"/>
                <a:gd name="connsiteX13" fmla="*/ 465 w 10000"/>
                <a:gd name="connsiteY13" fmla="*/ 8438 h 8808"/>
                <a:gd name="connsiteX14" fmla="*/ 1395 w 10000"/>
                <a:gd name="connsiteY14" fmla="*/ 8438 h 8808"/>
                <a:gd name="connsiteX15" fmla="*/ 1860 w 10000"/>
                <a:gd name="connsiteY15" fmla="*/ 8624 h 8808"/>
                <a:gd name="connsiteX16" fmla="*/ 1628 w 10000"/>
                <a:gd name="connsiteY16" fmla="*/ 8624 h 8808"/>
                <a:gd name="connsiteX17" fmla="*/ 2093 w 10000"/>
                <a:gd name="connsiteY17" fmla="*/ 8808 h 8808"/>
                <a:gd name="connsiteX18" fmla="*/ 2558 w 10000"/>
                <a:gd name="connsiteY18" fmla="*/ 8624 h 8808"/>
                <a:gd name="connsiteX19" fmla="*/ 3488 w 10000"/>
                <a:gd name="connsiteY19" fmla="*/ 8808 h 8808"/>
                <a:gd name="connsiteX20" fmla="*/ 4186 w 10000"/>
                <a:gd name="connsiteY20" fmla="*/ 8251 h 8808"/>
                <a:gd name="connsiteX21" fmla="*/ 5116 w 10000"/>
                <a:gd name="connsiteY21" fmla="*/ 7513 h 8808"/>
                <a:gd name="connsiteX22" fmla="*/ 5814 w 10000"/>
                <a:gd name="connsiteY22" fmla="*/ 7325 h 8808"/>
                <a:gd name="connsiteX23" fmla="*/ 5581 w 10000"/>
                <a:gd name="connsiteY23" fmla="*/ 7325 h 8808"/>
                <a:gd name="connsiteX24" fmla="*/ 5581 w 10000"/>
                <a:gd name="connsiteY24" fmla="*/ 7140 h 8808"/>
                <a:gd name="connsiteX25" fmla="*/ 7674 w 10000"/>
                <a:gd name="connsiteY25" fmla="*/ 6400 h 8808"/>
                <a:gd name="connsiteX26" fmla="*/ 8605 w 10000"/>
                <a:gd name="connsiteY26" fmla="*/ 6771 h 8808"/>
                <a:gd name="connsiteX27" fmla="*/ 9070 w 10000"/>
                <a:gd name="connsiteY27" fmla="*/ 7325 h 8808"/>
                <a:gd name="connsiteX28" fmla="*/ 9302 w 10000"/>
                <a:gd name="connsiteY28" fmla="*/ 7697 h 8808"/>
                <a:gd name="connsiteX29" fmla="*/ 10000 w 10000"/>
                <a:gd name="connsiteY29" fmla="*/ 7325 h 8808"/>
                <a:gd name="connsiteX30" fmla="*/ 10000 w 10000"/>
                <a:gd name="connsiteY30" fmla="*/ 6771 h 8808"/>
                <a:gd name="connsiteX31" fmla="*/ 9302 w 10000"/>
                <a:gd name="connsiteY31" fmla="*/ 5844 h 8808"/>
                <a:gd name="connsiteX32" fmla="*/ 9302 w 10000"/>
                <a:gd name="connsiteY32" fmla="*/ 4920 h 8808"/>
                <a:gd name="connsiteX33" fmla="*/ 9535 w 10000"/>
                <a:gd name="connsiteY33" fmla="*/ 4920 h 8808"/>
                <a:gd name="connsiteX34" fmla="*/ 9070 w 10000"/>
                <a:gd name="connsiteY34" fmla="*/ 3994 h 8808"/>
                <a:gd name="connsiteX35" fmla="*/ 8837 w 10000"/>
                <a:gd name="connsiteY35" fmla="*/ 3622 h 8808"/>
                <a:gd name="connsiteX36" fmla="*/ 7674 w 10000"/>
                <a:gd name="connsiteY36" fmla="*/ 3437 h 8808"/>
                <a:gd name="connsiteX37" fmla="*/ 6512 w 10000"/>
                <a:gd name="connsiteY37" fmla="*/ 3067 h 8808"/>
                <a:gd name="connsiteX38" fmla="*/ 6047 w 10000"/>
                <a:gd name="connsiteY38" fmla="*/ 2140 h 8808"/>
                <a:gd name="connsiteX39" fmla="*/ 5581 w 10000"/>
                <a:gd name="connsiteY39" fmla="*/ 660 h 8808"/>
                <a:gd name="connsiteX40" fmla="*/ 6047 w 10000"/>
                <a:gd name="connsiteY40" fmla="*/ 103 h 8808"/>
                <a:gd name="connsiteX0" fmla="*/ 5581 w 10000"/>
                <a:gd name="connsiteY0" fmla="*/ 0 h 9251"/>
                <a:gd name="connsiteX1" fmla="*/ 5814 w 10000"/>
                <a:gd name="connsiteY1" fmla="*/ 2523 h 9251"/>
                <a:gd name="connsiteX2" fmla="*/ 5116 w 10000"/>
                <a:gd name="connsiteY2" fmla="*/ 2733 h 9251"/>
                <a:gd name="connsiteX3" fmla="*/ 4884 w 10000"/>
                <a:gd name="connsiteY3" fmla="*/ 3994 h 9251"/>
                <a:gd name="connsiteX4" fmla="*/ 4651 w 10000"/>
                <a:gd name="connsiteY4" fmla="*/ 4623 h 9251"/>
                <a:gd name="connsiteX5" fmla="*/ 5349 w 10000"/>
                <a:gd name="connsiteY5" fmla="*/ 5467 h 9251"/>
                <a:gd name="connsiteX6" fmla="*/ 5349 w 10000"/>
                <a:gd name="connsiteY6" fmla="*/ 5886 h 9251"/>
                <a:gd name="connsiteX7" fmla="*/ 3953 w 10000"/>
                <a:gd name="connsiteY7" fmla="*/ 5256 h 9251"/>
                <a:gd name="connsiteX8" fmla="*/ 2558 w 10000"/>
                <a:gd name="connsiteY8" fmla="*/ 4623 h 9251"/>
                <a:gd name="connsiteX9" fmla="*/ 1395 w 10000"/>
                <a:gd name="connsiteY9" fmla="*/ 4623 h 9251"/>
                <a:gd name="connsiteX10" fmla="*/ 1395 w 10000"/>
                <a:gd name="connsiteY10" fmla="*/ 5467 h 9251"/>
                <a:gd name="connsiteX11" fmla="*/ 0 w 10000"/>
                <a:gd name="connsiteY11" fmla="*/ 5676 h 9251"/>
                <a:gd name="connsiteX12" fmla="*/ 0 w 10000"/>
                <a:gd name="connsiteY12" fmla="*/ 7990 h 9251"/>
                <a:gd name="connsiteX13" fmla="*/ 465 w 10000"/>
                <a:gd name="connsiteY13" fmla="*/ 8831 h 9251"/>
                <a:gd name="connsiteX14" fmla="*/ 1395 w 10000"/>
                <a:gd name="connsiteY14" fmla="*/ 8831 h 9251"/>
                <a:gd name="connsiteX15" fmla="*/ 1860 w 10000"/>
                <a:gd name="connsiteY15" fmla="*/ 9042 h 9251"/>
                <a:gd name="connsiteX16" fmla="*/ 1628 w 10000"/>
                <a:gd name="connsiteY16" fmla="*/ 9042 h 9251"/>
                <a:gd name="connsiteX17" fmla="*/ 2093 w 10000"/>
                <a:gd name="connsiteY17" fmla="*/ 9251 h 9251"/>
                <a:gd name="connsiteX18" fmla="*/ 2558 w 10000"/>
                <a:gd name="connsiteY18" fmla="*/ 9042 h 9251"/>
                <a:gd name="connsiteX19" fmla="*/ 3488 w 10000"/>
                <a:gd name="connsiteY19" fmla="*/ 9251 h 9251"/>
                <a:gd name="connsiteX20" fmla="*/ 4186 w 10000"/>
                <a:gd name="connsiteY20" fmla="*/ 8619 h 9251"/>
                <a:gd name="connsiteX21" fmla="*/ 5116 w 10000"/>
                <a:gd name="connsiteY21" fmla="*/ 7781 h 9251"/>
                <a:gd name="connsiteX22" fmla="*/ 5814 w 10000"/>
                <a:gd name="connsiteY22" fmla="*/ 7567 h 9251"/>
                <a:gd name="connsiteX23" fmla="*/ 5581 w 10000"/>
                <a:gd name="connsiteY23" fmla="*/ 7567 h 9251"/>
                <a:gd name="connsiteX24" fmla="*/ 5581 w 10000"/>
                <a:gd name="connsiteY24" fmla="*/ 7357 h 9251"/>
                <a:gd name="connsiteX25" fmla="*/ 7674 w 10000"/>
                <a:gd name="connsiteY25" fmla="*/ 6517 h 9251"/>
                <a:gd name="connsiteX26" fmla="*/ 8605 w 10000"/>
                <a:gd name="connsiteY26" fmla="*/ 6938 h 9251"/>
                <a:gd name="connsiteX27" fmla="*/ 9070 w 10000"/>
                <a:gd name="connsiteY27" fmla="*/ 7567 h 9251"/>
                <a:gd name="connsiteX28" fmla="*/ 9302 w 10000"/>
                <a:gd name="connsiteY28" fmla="*/ 7990 h 9251"/>
                <a:gd name="connsiteX29" fmla="*/ 10000 w 10000"/>
                <a:gd name="connsiteY29" fmla="*/ 7567 h 9251"/>
                <a:gd name="connsiteX30" fmla="*/ 10000 w 10000"/>
                <a:gd name="connsiteY30" fmla="*/ 6938 h 9251"/>
                <a:gd name="connsiteX31" fmla="*/ 9302 w 10000"/>
                <a:gd name="connsiteY31" fmla="*/ 5886 h 9251"/>
                <a:gd name="connsiteX32" fmla="*/ 9302 w 10000"/>
                <a:gd name="connsiteY32" fmla="*/ 4837 h 9251"/>
                <a:gd name="connsiteX33" fmla="*/ 9535 w 10000"/>
                <a:gd name="connsiteY33" fmla="*/ 4837 h 9251"/>
                <a:gd name="connsiteX34" fmla="*/ 9070 w 10000"/>
                <a:gd name="connsiteY34" fmla="*/ 3786 h 9251"/>
                <a:gd name="connsiteX35" fmla="*/ 8837 w 10000"/>
                <a:gd name="connsiteY35" fmla="*/ 3363 h 9251"/>
                <a:gd name="connsiteX36" fmla="*/ 7674 w 10000"/>
                <a:gd name="connsiteY36" fmla="*/ 3153 h 9251"/>
                <a:gd name="connsiteX37" fmla="*/ 6512 w 10000"/>
                <a:gd name="connsiteY37" fmla="*/ 2733 h 9251"/>
                <a:gd name="connsiteX38" fmla="*/ 6047 w 10000"/>
                <a:gd name="connsiteY38" fmla="*/ 1681 h 9251"/>
                <a:gd name="connsiteX39" fmla="*/ 5581 w 10000"/>
                <a:gd name="connsiteY39" fmla="*/ 0 h 9251"/>
                <a:gd name="connsiteX0" fmla="*/ 6047 w 10000"/>
                <a:gd name="connsiteY0" fmla="*/ 2 h 8185"/>
                <a:gd name="connsiteX1" fmla="*/ 5814 w 10000"/>
                <a:gd name="connsiteY1" fmla="*/ 912 h 8185"/>
                <a:gd name="connsiteX2" fmla="*/ 5116 w 10000"/>
                <a:gd name="connsiteY2" fmla="*/ 1139 h 8185"/>
                <a:gd name="connsiteX3" fmla="*/ 4884 w 10000"/>
                <a:gd name="connsiteY3" fmla="*/ 2502 h 8185"/>
                <a:gd name="connsiteX4" fmla="*/ 4651 w 10000"/>
                <a:gd name="connsiteY4" fmla="*/ 3182 h 8185"/>
                <a:gd name="connsiteX5" fmla="*/ 5349 w 10000"/>
                <a:gd name="connsiteY5" fmla="*/ 4095 h 8185"/>
                <a:gd name="connsiteX6" fmla="*/ 5349 w 10000"/>
                <a:gd name="connsiteY6" fmla="*/ 4548 h 8185"/>
                <a:gd name="connsiteX7" fmla="*/ 3953 w 10000"/>
                <a:gd name="connsiteY7" fmla="*/ 3867 h 8185"/>
                <a:gd name="connsiteX8" fmla="*/ 2558 w 10000"/>
                <a:gd name="connsiteY8" fmla="*/ 3182 h 8185"/>
                <a:gd name="connsiteX9" fmla="*/ 1395 w 10000"/>
                <a:gd name="connsiteY9" fmla="*/ 3182 h 8185"/>
                <a:gd name="connsiteX10" fmla="*/ 1395 w 10000"/>
                <a:gd name="connsiteY10" fmla="*/ 4095 h 8185"/>
                <a:gd name="connsiteX11" fmla="*/ 0 w 10000"/>
                <a:gd name="connsiteY11" fmla="*/ 4321 h 8185"/>
                <a:gd name="connsiteX12" fmla="*/ 0 w 10000"/>
                <a:gd name="connsiteY12" fmla="*/ 6822 h 8185"/>
                <a:gd name="connsiteX13" fmla="*/ 465 w 10000"/>
                <a:gd name="connsiteY13" fmla="*/ 7731 h 8185"/>
                <a:gd name="connsiteX14" fmla="*/ 1395 w 10000"/>
                <a:gd name="connsiteY14" fmla="*/ 7731 h 8185"/>
                <a:gd name="connsiteX15" fmla="*/ 1860 w 10000"/>
                <a:gd name="connsiteY15" fmla="*/ 7959 h 8185"/>
                <a:gd name="connsiteX16" fmla="*/ 1628 w 10000"/>
                <a:gd name="connsiteY16" fmla="*/ 7959 h 8185"/>
                <a:gd name="connsiteX17" fmla="*/ 2093 w 10000"/>
                <a:gd name="connsiteY17" fmla="*/ 8185 h 8185"/>
                <a:gd name="connsiteX18" fmla="*/ 2558 w 10000"/>
                <a:gd name="connsiteY18" fmla="*/ 7959 h 8185"/>
                <a:gd name="connsiteX19" fmla="*/ 3488 w 10000"/>
                <a:gd name="connsiteY19" fmla="*/ 8185 h 8185"/>
                <a:gd name="connsiteX20" fmla="*/ 4186 w 10000"/>
                <a:gd name="connsiteY20" fmla="*/ 7502 h 8185"/>
                <a:gd name="connsiteX21" fmla="*/ 5116 w 10000"/>
                <a:gd name="connsiteY21" fmla="*/ 6596 h 8185"/>
                <a:gd name="connsiteX22" fmla="*/ 5814 w 10000"/>
                <a:gd name="connsiteY22" fmla="*/ 6365 h 8185"/>
                <a:gd name="connsiteX23" fmla="*/ 5581 w 10000"/>
                <a:gd name="connsiteY23" fmla="*/ 6365 h 8185"/>
                <a:gd name="connsiteX24" fmla="*/ 5581 w 10000"/>
                <a:gd name="connsiteY24" fmla="*/ 6138 h 8185"/>
                <a:gd name="connsiteX25" fmla="*/ 7674 w 10000"/>
                <a:gd name="connsiteY25" fmla="*/ 5230 h 8185"/>
                <a:gd name="connsiteX26" fmla="*/ 8605 w 10000"/>
                <a:gd name="connsiteY26" fmla="*/ 5685 h 8185"/>
                <a:gd name="connsiteX27" fmla="*/ 9070 w 10000"/>
                <a:gd name="connsiteY27" fmla="*/ 6365 h 8185"/>
                <a:gd name="connsiteX28" fmla="*/ 9302 w 10000"/>
                <a:gd name="connsiteY28" fmla="*/ 6822 h 8185"/>
                <a:gd name="connsiteX29" fmla="*/ 10000 w 10000"/>
                <a:gd name="connsiteY29" fmla="*/ 6365 h 8185"/>
                <a:gd name="connsiteX30" fmla="*/ 10000 w 10000"/>
                <a:gd name="connsiteY30" fmla="*/ 5685 h 8185"/>
                <a:gd name="connsiteX31" fmla="*/ 9302 w 10000"/>
                <a:gd name="connsiteY31" fmla="*/ 4548 h 8185"/>
                <a:gd name="connsiteX32" fmla="*/ 9302 w 10000"/>
                <a:gd name="connsiteY32" fmla="*/ 3414 h 8185"/>
                <a:gd name="connsiteX33" fmla="*/ 9535 w 10000"/>
                <a:gd name="connsiteY33" fmla="*/ 3414 h 8185"/>
                <a:gd name="connsiteX34" fmla="*/ 9070 w 10000"/>
                <a:gd name="connsiteY34" fmla="*/ 2278 h 8185"/>
                <a:gd name="connsiteX35" fmla="*/ 8837 w 10000"/>
                <a:gd name="connsiteY35" fmla="*/ 1820 h 8185"/>
                <a:gd name="connsiteX36" fmla="*/ 7674 w 10000"/>
                <a:gd name="connsiteY36" fmla="*/ 1593 h 8185"/>
                <a:gd name="connsiteX37" fmla="*/ 6512 w 10000"/>
                <a:gd name="connsiteY37" fmla="*/ 1139 h 8185"/>
                <a:gd name="connsiteX38" fmla="*/ 6047 w 10000"/>
                <a:gd name="connsiteY38" fmla="*/ 2 h 8185"/>
                <a:gd name="connsiteX0" fmla="*/ 6512 w 10000"/>
                <a:gd name="connsiteY0" fmla="*/ 278 h 8886"/>
                <a:gd name="connsiteX1" fmla="*/ 5814 w 10000"/>
                <a:gd name="connsiteY1" fmla="*/ 0 h 8886"/>
                <a:gd name="connsiteX2" fmla="*/ 5116 w 10000"/>
                <a:gd name="connsiteY2" fmla="*/ 278 h 8886"/>
                <a:gd name="connsiteX3" fmla="*/ 4884 w 10000"/>
                <a:gd name="connsiteY3" fmla="*/ 1943 h 8886"/>
                <a:gd name="connsiteX4" fmla="*/ 4651 w 10000"/>
                <a:gd name="connsiteY4" fmla="*/ 2774 h 8886"/>
                <a:gd name="connsiteX5" fmla="*/ 5349 w 10000"/>
                <a:gd name="connsiteY5" fmla="*/ 3889 h 8886"/>
                <a:gd name="connsiteX6" fmla="*/ 5349 w 10000"/>
                <a:gd name="connsiteY6" fmla="*/ 4443 h 8886"/>
                <a:gd name="connsiteX7" fmla="*/ 3953 w 10000"/>
                <a:gd name="connsiteY7" fmla="*/ 3610 h 8886"/>
                <a:gd name="connsiteX8" fmla="*/ 2558 w 10000"/>
                <a:gd name="connsiteY8" fmla="*/ 2774 h 8886"/>
                <a:gd name="connsiteX9" fmla="*/ 1395 w 10000"/>
                <a:gd name="connsiteY9" fmla="*/ 2774 h 8886"/>
                <a:gd name="connsiteX10" fmla="*/ 1395 w 10000"/>
                <a:gd name="connsiteY10" fmla="*/ 3889 h 8886"/>
                <a:gd name="connsiteX11" fmla="*/ 0 w 10000"/>
                <a:gd name="connsiteY11" fmla="*/ 4165 h 8886"/>
                <a:gd name="connsiteX12" fmla="*/ 0 w 10000"/>
                <a:gd name="connsiteY12" fmla="*/ 7221 h 8886"/>
                <a:gd name="connsiteX13" fmla="*/ 465 w 10000"/>
                <a:gd name="connsiteY13" fmla="*/ 8331 h 8886"/>
                <a:gd name="connsiteX14" fmla="*/ 1395 w 10000"/>
                <a:gd name="connsiteY14" fmla="*/ 8331 h 8886"/>
                <a:gd name="connsiteX15" fmla="*/ 1860 w 10000"/>
                <a:gd name="connsiteY15" fmla="*/ 8610 h 8886"/>
                <a:gd name="connsiteX16" fmla="*/ 1628 w 10000"/>
                <a:gd name="connsiteY16" fmla="*/ 8610 h 8886"/>
                <a:gd name="connsiteX17" fmla="*/ 2093 w 10000"/>
                <a:gd name="connsiteY17" fmla="*/ 8886 h 8886"/>
                <a:gd name="connsiteX18" fmla="*/ 2558 w 10000"/>
                <a:gd name="connsiteY18" fmla="*/ 8610 h 8886"/>
                <a:gd name="connsiteX19" fmla="*/ 3488 w 10000"/>
                <a:gd name="connsiteY19" fmla="*/ 8886 h 8886"/>
                <a:gd name="connsiteX20" fmla="*/ 4186 w 10000"/>
                <a:gd name="connsiteY20" fmla="*/ 8052 h 8886"/>
                <a:gd name="connsiteX21" fmla="*/ 5116 w 10000"/>
                <a:gd name="connsiteY21" fmla="*/ 6945 h 8886"/>
                <a:gd name="connsiteX22" fmla="*/ 5814 w 10000"/>
                <a:gd name="connsiteY22" fmla="*/ 6662 h 8886"/>
                <a:gd name="connsiteX23" fmla="*/ 5581 w 10000"/>
                <a:gd name="connsiteY23" fmla="*/ 6662 h 8886"/>
                <a:gd name="connsiteX24" fmla="*/ 5581 w 10000"/>
                <a:gd name="connsiteY24" fmla="*/ 6385 h 8886"/>
                <a:gd name="connsiteX25" fmla="*/ 7674 w 10000"/>
                <a:gd name="connsiteY25" fmla="*/ 5276 h 8886"/>
                <a:gd name="connsiteX26" fmla="*/ 8605 w 10000"/>
                <a:gd name="connsiteY26" fmla="*/ 5832 h 8886"/>
                <a:gd name="connsiteX27" fmla="*/ 9070 w 10000"/>
                <a:gd name="connsiteY27" fmla="*/ 6662 h 8886"/>
                <a:gd name="connsiteX28" fmla="*/ 9302 w 10000"/>
                <a:gd name="connsiteY28" fmla="*/ 7221 h 8886"/>
                <a:gd name="connsiteX29" fmla="*/ 10000 w 10000"/>
                <a:gd name="connsiteY29" fmla="*/ 6662 h 8886"/>
                <a:gd name="connsiteX30" fmla="*/ 10000 w 10000"/>
                <a:gd name="connsiteY30" fmla="*/ 5832 h 8886"/>
                <a:gd name="connsiteX31" fmla="*/ 9302 w 10000"/>
                <a:gd name="connsiteY31" fmla="*/ 4443 h 8886"/>
                <a:gd name="connsiteX32" fmla="*/ 9302 w 10000"/>
                <a:gd name="connsiteY32" fmla="*/ 3057 h 8886"/>
                <a:gd name="connsiteX33" fmla="*/ 9535 w 10000"/>
                <a:gd name="connsiteY33" fmla="*/ 3057 h 8886"/>
                <a:gd name="connsiteX34" fmla="*/ 9070 w 10000"/>
                <a:gd name="connsiteY34" fmla="*/ 1669 h 8886"/>
                <a:gd name="connsiteX35" fmla="*/ 8837 w 10000"/>
                <a:gd name="connsiteY35" fmla="*/ 1110 h 8886"/>
                <a:gd name="connsiteX36" fmla="*/ 7674 w 10000"/>
                <a:gd name="connsiteY36" fmla="*/ 832 h 8886"/>
                <a:gd name="connsiteX37" fmla="*/ 6512 w 10000"/>
                <a:gd name="connsiteY37" fmla="*/ 278 h 8886"/>
                <a:gd name="connsiteX0" fmla="*/ 6512 w 10000"/>
                <a:gd name="connsiteY0" fmla="*/ 313 h 10000"/>
                <a:gd name="connsiteX1" fmla="*/ 5814 w 10000"/>
                <a:gd name="connsiteY1" fmla="*/ 0 h 10000"/>
                <a:gd name="connsiteX2" fmla="*/ 5116 w 10000"/>
                <a:gd name="connsiteY2" fmla="*/ 313 h 10000"/>
                <a:gd name="connsiteX3" fmla="*/ 4884 w 10000"/>
                <a:gd name="connsiteY3" fmla="*/ 2187 h 10000"/>
                <a:gd name="connsiteX4" fmla="*/ 4651 w 10000"/>
                <a:gd name="connsiteY4" fmla="*/ 3122 h 10000"/>
                <a:gd name="connsiteX5" fmla="*/ 5349 w 10000"/>
                <a:gd name="connsiteY5" fmla="*/ 4377 h 10000"/>
                <a:gd name="connsiteX6" fmla="*/ 5349 w 10000"/>
                <a:gd name="connsiteY6" fmla="*/ 5000 h 10000"/>
                <a:gd name="connsiteX7" fmla="*/ 3953 w 10000"/>
                <a:gd name="connsiteY7" fmla="*/ 4063 h 10000"/>
                <a:gd name="connsiteX8" fmla="*/ 2558 w 10000"/>
                <a:gd name="connsiteY8" fmla="*/ 3122 h 10000"/>
                <a:gd name="connsiteX9" fmla="*/ 1395 w 10000"/>
                <a:gd name="connsiteY9" fmla="*/ 3122 h 10000"/>
                <a:gd name="connsiteX10" fmla="*/ 1395 w 10000"/>
                <a:gd name="connsiteY10" fmla="*/ 4377 h 10000"/>
                <a:gd name="connsiteX11" fmla="*/ 0 w 10000"/>
                <a:gd name="connsiteY11" fmla="*/ 4687 h 10000"/>
                <a:gd name="connsiteX12" fmla="*/ 0 w 10000"/>
                <a:gd name="connsiteY12" fmla="*/ 8126 h 10000"/>
                <a:gd name="connsiteX13" fmla="*/ 465 w 10000"/>
                <a:gd name="connsiteY13" fmla="*/ 9375 h 10000"/>
                <a:gd name="connsiteX14" fmla="*/ 1395 w 10000"/>
                <a:gd name="connsiteY14" fmla="*/ 9375 h 10000"/>
                <a:gd name="connsiteX15" fmla="*/ 1860 w 10000"/>
                <a:gd name="connsiteY15" fmla="*/ 9689 h 10000"/>
                <a:gd name="connsiteX16" fmla="*/ 1628 w 10000"/>
                <a:gd name="connsiteY16" fmla="*/ 9689 h 10000"/>
                <a:gd name="connsiteX17" fmla="*/ 2093 w 10000"/>
                <a:gd name="connsiteY17" fmla="*/ 10000 h 10000"/>
                <a:gd name="connsiteX18" fmla="*/ 2558 w 10000"/>
                <a:gd name="connsiteY18" fmla="*/ 9689 h 10000"/>
                <a:gd name="connsiteX19" fmla="*/ 3488 w 10000"/>
                <a:gd name="connsiteY19" fmla="*/ 10000 h 10000"/>
                <a:gd name="connsiteX20" fmla="*/ 4186 w 10000"/>
                <a:gd name="connsiteY20" fmla="*/ 9061 h 10000"/>
                <a:gd name="connsiteX21" fmla="*/ 5116 w 10000"/>
                <a:gd name="connsiteY21" fmla="*/ 7816 h 10000"/>
                <a:gd name="connsiteX22" fmla="*/ 5814 w 10000"/>
                <a:gd name="connsiteY22" fmla="*/ 7497 h 10000"/>
                <a:gd name="connsiteX23" fmla="*/ 5581 w 10000"/>
                <a:gd name="connsiteY23" fmla="*/ 7497 h 10000"/>
                <a:gd name="connsiteX24" fmla="*/ 5581 w 10000"/>
                <a:gd name="connsiteY24" fmla="*/ 7185 h 10000"/>
                <a:gd name="connsiteX25" fmla="*/ 7674 w 10000"/>
                <a:gd name="connsiteY25" fmla="*/ 5937 h 10000"/>
                <a:gd name="connsiteX26" fmla="*/ 8605 w 10000"/>
                <a:gd name="connsiteY26" fmla="*/ 6563 h 10000"/>
                <a:gd name="connsiteX27" fmla="*/ 9070 w 10000"/>
                <a:gd name="connsiteY27" fmla="*/ 7497 h 10000"/>
                <a:gd name="connsiteX28" fmla="*/ 9302 w 10000"/>
                <a:gd name="connsiteY28" fmla="*/ 8126 h 10000"/>
                <a:gd name="connsiteX29" fmla="*/ 10000 w 10000"/>
                <a:gd name="connsiteY29" fmla="*/ 7497 h 10000"/>
                <a:gd name="connsiteX30" fmla="*/ 10000 w 10000"/>
                <a:gd name="connsiteY30" fmla="*/ 6563 h 10000"/>
                <a:gd name="connsiteX31" fmla="*/ 9302 w 10000"/>
                <a:gd name="connsiteY31" fmla="*/ 5000 h 10000"/>
                <a:gd name="connsiteX32" fmla="*/ 9302 w 10000"/>
                <a:gd name="connsiteY32" fmla="*/ 3440 h 10000"/>
                <a:gd name="connsiteX33" fmla="*/ 9535 w 10000"/>
                <a:gd name="connsiteY33" fmla="*/ 3440 h 10000"/>
                <a:gd name="connsiteX34" fmla="*/ 9070 w 10000"/>
                <a:gd name="connsiteY34" fmla="*/ 1878 h 10000"/>
                <a:gd name="connsiteX35" fmla="*/ 8056 w 10000"/>
                <a:gd name="connsiteY35" fmla="*/ 2110 h 10000"/>
                <a:gd name="connsiteX36" fmla="*/ 7674 w 10000"/>
                <a:gd name="connsiteY36" fmla="*/ 936 h 10000"/>
                <a:gd name="connsiteX37" fmla="*/ 6512 w 10000"/>
                <a:gd name="connsiteY37" fmla="*/ 313 h 10000"/>
                <a:gd name="connsiteX0" fmla="*/ 6512 w 10000"/>
                <a:gd name="connsiteY0" fmla="*/ 313 h 10000"/>
                <a:gd name="connsiteX1" fmla="*/ 5814 w 10000"/>
                <a:gd name="connsiteY1" fmla="*/ 0 h 10000"/>
                <a:gd name="connsiteX2" fmla="*/ 5116 w 10000"/>
                <a:gd name="connsiteY2" fmla="*/ 313 h 10000"/>
                <a:gd name="connsiteX3" fmla="*/ 4884 w 10000"/>
                <a:gd name="connsiteY3" fmla="*/ 2187 h 10000"/>
                <a:gd name="connsiteX4" fmla="*/ 4651 w 10000"/>
                <a:gd name="connsiteY4" fmla="*/ 3122 h 10000"/>
                <a:gd name="connsiteX5" fmla="*/ 5349 w 10000"/>
                <a:gd name="connsiteY5" fmla="*/ 4377 h 10000"/>
                <a:gd name="connsiteX6" fmla="*/ 5349 w 10000"/>
                <a:gd name="connsiteY6" fmla="*/ 5000 h 10000"/>
                <a:gd name="connsiteX7" fmla="*/ 3953 w 10000"/>
                <a:gd name="connsiteY7" fmla="*/ 4063 h 10000"/>
                <a:gd name="connsiteX8" fmla="*/ 2558 w 10000"/>
                <a:gd name="connsiteY8" fmla="*/ 3122 h 10000"/>
                <a:gd name="connsiteX9" fmla="*/ 1395 w 10000"/>
                <a:gd name="connsiteY9" fmla="*/ 3122 h 10000"/>
                <a:gd name="connsiteX10" fmla="*/ 1395 w 10000"/>
                <a:gd name="connsiteY10" fmla="*/ 4377 h 10000"/>
                <a:gd name="connsiteX11" fmla="*/ 0 w 10000"/>
                <a:gd name="connsiteY11" fmla="*/ 4687 h 10000"/>
                <a:gd name="connsiteX12" fmla="*/ 0 w 10000"/>
                <a:gd name="connsiteY12" fmla="*/ 8126 h 10000"/>
                <a:gd name="connsiteX13" fmla="*/ 465 w 10000"/>
                <a:gd name="connsiteY13" fmla="*/ 9375 h 10000"/>
                <a:gd name="connsiteX14" fmla="*/ 1395 w 10000"/>
                <a:gd name="connsiteY14" fmla="*/ 9375 h 10000"/>
                <a:gd name="connsiteX15" fmla="*/ 1860 w 10000"/>
                <a:gd name="connsiteY15" fmla="*/ 9689 h 10000"/>
                <a:gd name="connsiteX16" fmla="*/ 1628 w 10000"/>
                <a:gd name="connsiteY16" fmla="*/ 9689 h 10000"/>
                <a:gd name="connsiteX17" fmla="*/ 2093 w 10000"/>
                <a:gd name="connsiteY17" fmla="*/ 10000 h 10000"/>
                <a:gd name="connsiteX18" fmla="*/ 2558 w 10000"/>
                <a:gd name="connsiteY18" fmla="*/ 9689 h 10000"/>
                <a:gd name="connsiteX19" fmla="*/ 3488 w 10000"/>
                <a:gd name="connsiteY19" fmla="*/ 10000 h 10000"/>
                <a:gd name="connsiteX20" fmla="*/ 4186 w 10000"/>
                <a:gd name="connsiteY20" fmla="*/ 9061 h 10000"/>
                <a:gd name="connsiteX21" fmla="*/ 5116 w 10000"/>
                <a:gd name="connsiteY21" fmla="*/ 7816 h 10000"/>
                <a:gd name="connsiteX22" fmla="*/ 5814 w 10000"/>
                <a:gd name="connsiteY22" fmla="*/ 7497 h 10000"/>
                <a:gd name="connsiteX23" fmla="*/ 5581 w 10000"/>
                <a:gd name="connsiteY23" fmla="*/ 7497 h 10000"/>
                <a:gd name="connsiteX24" fmla="*/ 5581 w 10000"/>
                <a:gd name="connsiteY24" fmla="*/ 7185 h 10000"/>
                <a:gd name="connsiteX25" fmla="*/ 7674 w 10000"/>
                <a:gd name="connsiteY25" fmla="*/ 5937 h 10000"/>
                <a:gd name="connsiteX26" fmla="*/ 8605 w 10000"/>
                <a:gd name="connsiteY26" fmla="*/ 6563 h 10000"/>
                <a:gd name="connsiteX27" fmla="*/ 9070 w 10000"/>
                <a:gd name="connsiteY27" fmla="*/ 7497 h 10000"/>
                <a:gd name="connsiteX28" fmla="*/ 9302 w 10000"/>
                <a:gd name="connsiteY28" fmla="*/ 8126 h 10000"/>
                <a:gd name="connsiteX29" fmla="*/ 10000 w 10000"/>
                <a:gd name="connsiteY29" fmla="*/ 7497 h 10000"/>
                <a:gd name="connsiteX30" fmla="*/ 10000 w 10000"/>
                <a:gd name="connsiteY30" fmla="*/ 6563 h 10000"/>
                <a:gd name="connsiteX31" fmla="*/ 9302 w 10000"/>
                <a:gd name="connsiteY31" fmla="*/ 5000 h 10000"/>
                <a:gd name="connsiteX32" fmla="*/ 9302 w 10000"/>
                <a:gd name="connsiteY32" fmla="*/ 3440 h 10000"/>
                <a:gd name="connsiteX33" fmla="*/ 9535 w 10000"/>
                <a:gd name="connsiteY33" fmla="*/ 3440 h 10000"/>
                <a:gd name="connsiteX34" fmla="*/ 8005 w 10000"/>
                <a:gd name="connsiteY34" fmla="*/ 4270 h 10000"/>
                <a:gd name="connsiteX35" fmla="*/ 8056 w 10000"/>
                <a:gd name="connsiteY35" fmla="*/ 2110 h 10000"/>
                <a:gd name="connsiteX36" fmla="*/ 7674 w 10000"/>
                <a:gd name="connsiteY36" fmla="*/ 936 h 10000"/>
                <a:gd name="connsiteX37" fmla="*/ 6512 w 10000"/>
                <a:gd name="connsiteY37" fmla="*/ 313 h 10000"/>
                <a:gd name="connsiteX0" fmla="*/ 6512 w 10000"/>
                <a:gd name="connsiteY0" fmla="*/ 313 h 10000"/>
                <a:gd name="connsiteX1" fmla="*/ 5814 w 10000"/>
                <a:gd name="connsiteY1" fmla="*/ 0 h 10000"/>
                <a:gd name="connsiteX2" fmla="*/ 5116 w 10000"/>
                <a:gd name="connsiteY2" fmla="*/ 313 h 10000"/>
                <a:gd name="connsiteX3" fmla="*/ 4884 w 10000"/>
                <a:gd name="connsiteY3" fmla="*/ 2187 h 10000"/>
                <a:gd name="connsiteX4" fmla="*/ 4651 w 10000"/>
                <a:gd name="connsiteY4" fmla="*/ 3122 h 10000"/>
                <a:gd name="connsiteX5" fmla="*/ 5349 w 10000"/>
                <a:gd name="connsiteY5" fmla="*/ 4377 h 10000"/>
                <a:gd name="connsiteX6" fmla="*/ 5349 w 10000"/>
                <a:gd name="connsiteY6" fmla="*/ 5000 h 10000"/>
                <a:gd name="connsiteX7" fmla="*/ 3953 w 10000"/>
                <a:gd name="connsiteY7" fmla="*/ 4063 h 10000"/>
                <a:gd name="connsiteX8" fmla="*/ 2558 w 10000"/>
                <a:gd name="connsiteY8" fmla="*/ 3122 h 10000"/>
                <a:gd name="connsiteX9" fmla="*/ 1395 w 10000"/>
                <a:gd name="connsiteY9" fmla="*/ 3122 h 10000"/>
                <a:gd name="connsiteX10" fmla="*/ 1395 w 10000"/>
                <a:gd name="connsiteY10" fmla="*/ 4377 h 10000"/>
                <a:gd name="connsiteX11" fmla="*/ 0 w 10000"/>
                <a:gd name="connsiteY11" fmla="*/ 4687 h 10000"/>
                <a:gd name="connsiteX12" fmla="*/ 0 w 10000"/>
                <a:gd name="connsiteY12" fmla="*/ 8126 h 10000"/>
                <a:gd name="connsiteX13" fmla="*/ 465 w 10000"/>
                <a:gd name="connsiteY13" fmla="*/ 9375 h 10000"/>
                <a:gd name="connsiteX14" fmla="*/ 1395 w 10000"/>
                <a:gd name="connsiteY14" fmla="*/ 9375 h 10000"/>
                <a:gd name="connsiteX15" fmla="*/ 1860 w 10000"/>
                <a:gd name="connsiteY15" fmla="*/ 9689 h 10000"/>
                <a:gd name="connsiteX16" fmla="*/ 1628 w 10000"/>
                <a:gd name="connsiteY16" fmla="*/ 9689 h 10000"/>
                <a:gd name="connsiteX17" fmla="*/ 2093 w 10000"/>
                <a:gd name="connsiteY17" fmla="*/ 10000 h 10000"/>
                <a:gd name="connsiteX18" fmla="*/ 2558 w 10000"/>
                <a:gd name="connsiteY18" fmla="*/ 9689 h 10000"/>
                <a:gd name="connsiteX19" fmla="*/ 3488 w 10000"/>
                <a:gd name="connsiteY19" fmla="*/ 10000 h 10000"/>
                <a:gd name="connsiteX20" fmla="*/ 4186 w 10000"/>
                <a:gd name="connsiteY20" fmla="*/ 9061 h 10000"/>
                <a:gd name="connsiteX21" fmla="*/ 5116 w 10000"/>
                <a:gd name="connsiteY21" fmla="*/ 7816 h 10000"/>
                <a:gd name="connsiteX22" fmla="*/ 5814 w 10000"/>
                <a:gd name="connsiteY22" fmla="*/ 7497 h 10000"/>
                <a:gd name="connsiteX23" fmla="*/ 5581 w 10000"/>
                <a:gd name="connsiteY23" fmla="*/ 7497 h 10000"/>
                <a:gd name="connsiteX24" fmla="*/ 5581 w 10000"/>
                <a:gd name="connsiteY24" fmla="*/ 7185 h 10000"/>
                <a:gd name="connsiteX25" fmla="*/ 7674 w 10000"/>
                <a:gd name="connsiteY25" fmla="*/ 5937 h 10000"/>
                <a:gd name="connsiteX26" fmla="*/ 8605 w 10000"/>
                <a:gd name="connsiteY26" fmla="*/ 6563 h 10000"/>
                <a:gd name="connsiteX27" fmla="*/ 9070 w 10000"/>
                <a:gd name="connsiteY27" fmla="*/ 7497 h 10000"/>
                <a:gd name="connsiteX28" fmla="*/ 9302 w 10000"/>
                <a:gd name="connsiteY28" fmla="*/ 8126 h 10000"/>
                <a:gd name="connsiteX29" fmla="*/ 10000 w 10000"/>
                <a:gd name="connsiteY29" fmla="*/ 7497 h 10000"/>
                <a:gd name="connsiteX30" fmla="*/ 10000 w 10000"/>
                <a:gd name="connsiteY30" fmla="*/ 6563 h 10000"/>
                <a:gd name="connsiteX31" fmla="*/ 9302 w 10000"/>
                <a:gd name="connsiteY31" fmla="*/ 5000 h 10000"/>
                <a:gd name="connsiteX32" fmla="*/ 9302 w 10000"/>
                <a:gd name="connsiteY32" fmla="*/ 3440 h 10000"/>
                <a:gd name="connsiteX33" fmla="*/ 8005 w 10000"/>
                <a:gd name="connsiteY33" fmla="*/ 4270 h 10000"/>
                <a:gd name="connsiteX34" fmla="*/ 8056 w 10000"/>
                <a:gd name="connsiteY34" fmla="*/ 2110 h 10000"/>
                <a:gd name="connsiteX35" fmla="*/ 7674 w 10000"/>
                <a:gd name="connsiteY35" fmla="*/ 936 h 10000"/>
                <a:gd name="connsiteX36" fmla="*/ 6512 w 10000"/>
                <a:gd name="connsiteY36" fmla="*/ 313 h 10000"/>
                <a:gd name="connsiteX0" fmla="*/ 9302 w 12028"/>
                <a:gd name="connsiteY0" fmla="*/ 3440 h 10000"/>
                <a:gd name="connsiteX1" fmla="*/ 8005 w 12028"/>
                <a:gd name="connsiteY1" fmla="*/ 4270 h 10000"/>
                <a:gd name="connsiteX2" fmla="*/ 8056 w 12028"/>
                <a:gd name="connsiteY2" fmla="*/ 2110 h 10000"/>
                <a:gd name="connsiteX3" fmla="*/ 7674 w 12028"/>
                <a:gd name="connsiteY3" fmla="*/ 936 h 10000"/>
                <a:gd name="connsiteX4" fmla="*/ 6512 w 12028"/>
                <a:gd name="connsiteY4" fmla="*/ 313 h 10000"/>
                <a:gd name="connsiteX5" fmla="*/ 5814 w 12028"/>
                <a:gd name="connsiteY5" fmla="*/ 0 h 10000"/>
                <a:gd name="connsiteX6" fmla="*/ 5116 w 12028"/>
                <a:gd name="connsiteY6" fmla="*/ 313 h 10000"/>
                <a:gd name="connsiteX7" fmla="*/ 4884 w 12028"/>
                <a:gd name="connsiteY7" fmla="*/ 2187 h 10000"/>
                <a:gd name="connsiteX8" fmla="*/ 4651 w 12028"/>
                <a:gd name="connsiteY8" fmla="*/ 3122 h 10000"/>
                <a:gd name="connsiteX9" fmla="*/ 5349 w 12028"/>
                <a:gd name="connsiteY9" fmla="*/ 4377 h 10000"/>
                <a:gd name="connsiteX10" fmla="*/ 5349 w 12028"/>
                <a:gd name="connsiteY10" fmla="*/ 5000 h 10000"/>
                <a:gd name="connsiteX11" fmla="*/ 3953 w 12028"/>
                <a:gd name="connsiteY11" fmla="*/ 4063 h 10000"/>
                <a:gd name="connsiteX12" fmla="*/ 2558 w 12028"/>
                <a:gd name="connsiteY12" fmla="*/ 3122 h 10000"/>
                <a:gd name="connsiteX13" fmla="*/ 1395 w 12028"/>
                <a:gd name="connsiteY13" fmla="*/ 3122 h 10000"/>
                <a:gd name="connsiteX14" fmla="*/ 1395 w 12028"/>
                <a:gd name="connsiteY14" fmla="*/ 4377 h 10000"/>
                <a:gd name="connsiteX15" fmla="*/ 0 w 12028"/>
                <a:gd name="connsiteY15" fmla="*/ 4687 h 10000"/>
                <a:gd name="connsiteX16" fmla="*/ 0 w 12028"/>
                <a:gd name="connsiteY16" fmla="*/ 8126 h 10000"/>
                <a:gd name="connsiteX17" fmla="*/ 465 w 12028"/>
                <a:gd name="connsiteY17" fmla="*/ 9375 h 10000"/>
                <a:gd name="connsiteX18" fmla="*/ 1395 w 12028"/>
                <a:gd name="connsiteY18" fmla="*/ 9375 h 10000"/>
                <a:gd name="connsiteX19" fmla="*/ 1860 w 12028"/>
                <a:gd name="connsiteY19" fmla="*/ 9689 h 10000"/>
                <a:gd name="connsiteX20" fmla="*/ 1628 w 12028"/>
                <a:gd name="connsiteY20" fmla="*/ 9689 h 10000"/>
                <a:gd name="connsiteX21" fmla="*/ 2093 w 12028"/>
                <a:gd name="connsiteY21" fmla="*/ 10000 h 10000"/>
                <a:gd name="connsiteX22" fmla="*/ 2558 w 12028"/>
                <a:gd name="connsiteY22" fmla="*/ 9689 h 10000"/>
                <a:gd name="connsiteX23" fmla="*/ 3488 w 12028"/>
                <a:gd name="connsiteY23" fmla="*/ 10000 h 10000"/>
                <a:gd name="connsiteX24" fmla="*/ 4186 w 12028"/>
                <a:gd name="connsiteY24" fmla="*/ 9061 h 10000"/>
                <a:gd name="connsiteX25" fmla="*/ 5116 w 12028"/>
                <a:gd name="connsiteY25" fmla="*/ 7816 h 10000"/>
                <a:gd name="connsiteX26" fmla="*/ 5814 w 12028"/>
                <a:gd name="connsiteY26" fmla="*/ 7497 h 10000"/>
                <a:gd name="connsiteX27" fmla="*/ 5581 w 12028"/>
                <a:gd name="connsiteY27" fmla="*/ 7497 h 10000"/>
                <a:gd name="connsiteX28" fmla="*/ 5581 w 12028"/>
                <a:gd name="connsiteY28" fmla="*/ 7185 h 10000"/>
                <a:gd name="connsiteX29" fmla="*/ 7674 w 12028"/>
                <a:gd name="connsiteY29" fmla="*/ 5937 h 10000"/>
                <a:gd name="connsiteX30" fmla="*/ 8605 w 12028"/>
                <a:gd name="connsiteY30" fmla="*/ 6563 h 10000"/>
                <a:gd name="connsiteX31" fmla="*/ 9070 w 12028"/>
                <a:gd name="connsiteY31" fmla="*/ 7497 h 10000"/>
                <a:gd name="connsiteX32" fmla="*/ 9302 w 12028"/>
                <a:gd name="connsiteY32" fmla="*/ 8126 h 10000"/>
                <a:gd name="connsiteX33" fmla="*/ 10000 w 12028"/>
                <a:gd name="connsiteY33" fmla="*/ 7497 h 10000"/>
                <a:gd name="connsiteX34" fmla="*/ 10000 w 12028"/>
                <a:gd name="connsiteY34" fmla="*/ 6563 h 10000"/>
                <a:gd name="connsiteX35" fmla="*/ 12028 w 12028"/>
                <a:gd name="connsiteY35" fmla="*/ 8673 h 10000"/>
                <a:gd name="connsiteX0" fmla="*/ 9302 w 12028"/>
                <a:gd name="connsiteY0" fmla="*/ 3440 h 10000"/>
                <a:gd name="connsiteX1" fmla="*/ 8005 w 12028"/>
                <a:gd name="connsiteY1" fmla="*/ 4270 h 10000"/>
                <a:gd name="connsiteX2" fmla="*/ 8056 w 12028"/>
                <a:gd name="connsiteY2" fmla="*/ 2110 h 10000"/>
                <a:gd name="connsiteX3" fmla="*/ 7674 w 12028"/>
                <a:gd name="connsiteY3" fmla="*/ 936 h 10000"/>
                <a:gd name="connsiteX4" fmla="*/ 6512 w 12028"/>
                <a:gd name="connsiteY4" fmla="*/ 313 h 10000"/>
                <a:gd name="connsiteX5" fmla="*/ 5814 w 12028"/>
                <a:gd name="connsiteY5" fmla="*/ 0 h 10000"/>
                <a:gd name="connsiteX6" fmla="*/ 5116 w 12028"/>
                <a:gd name="connsiteY6" fmla="*/ 313 h 10000"/>
                <a:gd name="connsiteX7" fmla="*/ 4884 w 12028"/>
                <a:gd name="connsiteY7" fmla="*/ 2187 h 10000"/>
                <a:gd name="connsiteX8" fmla="*/ 4651 w 12028"/>
                <a:gd name="connsiteY8" fmla="*/ 3122 h 10000"/>
                <a:gd name="connsiteX9" fmla="*/ 5349 w 12028"/>
                <a:gd name="connsiteY9" fmla="*/ 4377 h 10000"/>
                <a:gd name="connsiteX10" fmla="*/ 5349 w 12028"/>
                <a:gd name="connsiteY10" fmla="*/ 5000 h 10000"/>
                <a:gd name="connsiteX11" fmla="*/ 3953 w 12028"/>
                <a:gd name="connsiteY11" fmla="*/ 4063 h 10000"/>
                <a:gd name="connsiteX12" fmla="*/ 2558 w 12028"/>
                <a:gd name="connsiteY12" fmla="*/ 3122 h 10000"/>
                <a:gd name="connsiteX13" fmla="*/ 1395 w 12028"/>
                <a:gd name="connsiteY13" fmla="*/ 3122 h 10000"/>
                <a:gd name="connsiteX14" fmla="*/ 1395 w 12028"/>
                <a:gd name="connsiteY14" fmla="*/ 4377 h 10000"/>
                <a:gd name="connsiteX15" fmla="*/ 0 w 12028"/>
                <a:gd name="connsiteY15" fmla="*/ 4687 h 10000"/>
                <a:gd name="connsiteX16" fmla="*/ 0 w 12028"/>
                <a:gd name="connsiteY16" fmla="*/ 8126 h 10000"/>
                <a:gd name="connsiteX17" fmla="*/ 465 w 12028"/>
                <a:gd name="connsiteY17" fmla="*/ 9375 h 10000"/>
                <a:gd name="connsiteX18" fmla="*/ 1395 w 12028"/>
                <a:gd name="connsiteY18" fmla="*/ 9375 h 10000"/>
                <a:gd name="connsiteX19" fmla="*/ 1860 w 12028"/>
                <a:gd name="connsiteY19" fmla="*/ 9689 h 10000"/>
                <a:gd name="connsiteX20" fmla="*/ 1628 w 12028"/>
                <a:gd name="connsiteY20" fmla="*/ 9689 h 10000"/>
                <a:gd name="connsiteX21" fmla="*/ 2093 w 12028"/>
                <a:gd name="connsiteY21" fmla="*/ 10000 h 10000"/>
                <a:gd name="connsiteX22" fmla="*/ 2558 w 12028"/>
                <a:gd name="connsiteY22" fmla="*/ 9689 h 10000"/>
                <a:gd name="connsiteX23" fmla="*/ 3488 w 12028"/>
                <a:gd name="connsiteY23" fmla="*/ 10000 h 10000"/>
                <a:gd name="connsiteX24" fmla="*/ 4186 w 12028"/>
                <a:gd name="connsiteY24" fmla="*/ 9061 h 10000"/>
                <a:gd name="connsiteX25" fmla="*/ 5116 w 12028"/>
                <a:gd name="connsiteY25" fmla="*/ 7816 h 10000"/>
                <a:gd name="connsiteX26" fmla="*/ 5814 w 12028"/>
                <a:gd name="connsiteY26" fmla="*/ 7497 h 10000"/>
                <a:gd name="connsiteX27" fmla="*/ 5581 w 12028"/>
                <a:gd name="connsiteY27" fmla="*/ 7497 h 10000"/>
                <a:gd name="connsiteX28" fmla="*/ 5581 w 12028"/>
                <a:gd name="connsiteY28" fmla="*/ 7185 h 10000"/>
                <a:gd name="connsiteX29" fmla="*/ 7674 w 12028"/>
                <a:gd name="connsiteY29" fmla="*/ 5937 h 10000"/>
                <a:gd name="connsiteX30" fmla="*/ 8605 w 12028"/>
                <a:gd name="connsiteY30" fmla="*/ 6563 h 10000"/>
                <a:gd name="connsiteX31" fmla="*/ 9070 w 12028"/>
                <a:gd name="connsiteY31" fmla="*/ 7497 h 10000"/>
                <a:gd name="connsiteX32" fmla="*/ 9302 w 12028"/>
                <a:gd name="connsiteY32" fmla="*/ 8126 h 10000"/>
                <a:gd name="connsiteX33" fmla="*/ 10000 w 12028"/>
                <a:gd name="connsiteY33" fmla="*/ 7497 h 10000"/>
                <a:gd name="connsiteX34" fmla="*/ 10000 w 12028"/>
                <a:gd name="connsiteY34" fmla="*/ 6563 h 10000"/>
                <a:gd name="connsiteX35" fmla="*/ 12028 w 12028"/>
                <a:gd name="connsiteY35" fmla="*/ 8673 h 10000"/>
                <a:gd name="connsiteX36" fmla="*/ 9302 w 12028"/>
                <a:gd name="connsiteY36" fmla="*/ 3440 h 10000"/>
                <a:gd name="connsiteX0" fmla="*/ 12028 w 12028"/>
                <a:gd name="connsiteY0" fmla="*/ 8673 h 10000"/>
                <a:gd name="connsiteX1" fmla="*/ 8005 w 12028"/>
                <a:gd name="connsiteY1" fmla="*/ 4270 h 10000"/>
                <a:gd name="connsiteX2" fmla="*/ 8056 w 12028"/>
                <a:gd name="connsiteY2" fmla="*/ 2110 h 10000"/>
                <a:gd name="connsiteX3" fmla="*/ 7674 w 12028"/>
                <a:gd name="connsiteY3" fmla="*/ 936 h 10000"/>
                <a:gd name="connsiteX4" fmla="*/ 6512 w 12028"/>
                <a:gd name="connsiteY4" fmla="*/ 313 h 10000"/>
                <a:gd name="connsiteX5" fmla="*/ 5814 w 12028"/>
                <a:gd name="connsiteY5" fmla="*/ 0 h 10000"/>
                <a:gd name="connsiteX6" fmla="*/ 5116 w 12028"/>
                <a:gd name="connsiteY6" fmla="*/ 313 h 10000"/>
                <a:gd name="connsiteX7" fmla="*/ 4884 w 12028"/>
                <a:gd name="connsiteY7" fmla="*/ 2187 h 10000"/>
                <a:gd name="connsiteX8" fmla="*/ 4651 w 12028"/>
                <a:gd name="connsiteY8" fmla="*/ 3122 h 10000"/>
                <a:gd name="connsiteX9" fmla="*/ 5349 w 12028"/>
                <a:gd name="connsiteY9" fmla="*/ 4377 h 10000"/>
                <a:gd name="connsiteX10" fmla="*/ 5349 w 12028"/>
                <a:gd name="connsiteY10" fmla="*/ 5000 h 10000"/>
                <a:gd name="connsiteX11" fmla="*/ 3953 w 12028"/>
                <a:gd name="connsiteY11" fmla="*/ 4063 h 10000"/>
                <a:gd name="connsiteX12" fmla="*/ 2558 w 12028"/>
                <a:gd name="connsiteY12" fmla="*/ 3122 h 10000"/>
                <a:gd name="connsiteX13" fmla="*/ 1395 w 12028"/>
                <a:gd name="connsiteY13" fmla="*/ 3122 h 10000"/>
                <a:gd name="connsiteX14" fmla="*/ 1395 w 12028"/>
                <a:gd name="connsiteY14" fmla="*/ 4377 h 10000"/>
                <a:gd name="connsiteX15" fmla="*/ 0 w 12028"/>
                <a:gd name="connsiteY15" fmla="*/ 4687 h 10000"/>
                <a:gd name="connsiteX16" fmla="*/ 0 w 12028"/>
                <a:gd name="connsiteY16" fmla="*/ 8126 h 10000"/>
                <a:gd name="connsiteX17" fmla="*/ 465 w 12028"/>
                <a:gd name="connsiteY17" fmla="*/ 9375 h 10000"/>
                <a:gd name="connsiteX18" fmla="*/ 1395 w 12028"/>
                <a:gd name="connsiteY18" fmla="*/ 9375 h 10000"/>
                <a:gd name="connsiteX19" fmla="*/ 1860 w 12028"/>
                <a:gd name="connsiteY19" fmla="*/ 9689 h 10000"/>
                <a:gd name="connsiteX20" fmla="*/ 1628 w 12028"/>
                <a:gd name="connsiteY20" fmla="*/ 9689 h 10000"/>
                <a:gd name="connsiteX21" fmla="*/ 2093 w 12028"/>
                <a:gd name="connsiteY21" fmla="*/ 10000 h 10000"/>
                <a:gd name="connsiteX22" fmla="*/ 2558 w 12028"/>
                <a:gd name="connsiteY22" fmla="*/ 9689 h 10000"/>
                <a:gd name="connsiteX23" fmla="*/ 3488 w 12028"/>
                <a:gd name="connsiteY23" fmla="*/ 10000 h 10000"/>
                <a:gd name="connsiteX24" fmla="*/ 4186 w 12028"/>
                <a:gd name="connsiteY24" fmla="*/ 9061 h 10000"/>
                <a:gd name="connsiteX25" fmla="*/ 5116 w 12028"/>
                <a:gd name="connsiteY25" fmla="*/ 7816 h 10000"/>
                <a:gd name="connsiteX26" fmla="*/ 5814 w 12028"/>
                <a:gd name="connsiteY26" fmla="*/ 7497 h 10000"/>
                <a:gd name="connsiteX27" fmla="*/ 5581 w 12028"/>
                <a:gd name="connsiteY27" fmla="*/ 7497 h 10000"/>
                <a:gd name="connsiteX28" fmla="*/ 5581 w 12028"/>
                <a:gd name="connsiteY28" fmla="*/ 7185 h 10000"/>
                <a:gd name="connsiteX29" fmla="*/ 7674 w 12028"/>
                <a:gd name="connsiteY29" fmla="*/ 5937 h 10000"/>
                <a:gd name="connsiteX30" fmla="*/ 8605 w 12028"/>
                <a:gd name="connsiteY30" fmla="*/ 6563 h 10000"/>
                <a:gd name="connsiteX31" fmla="*/ 9070 w 12028"/>
                <a:gd name="connsiteY31" fmla="*/ 7497 h 10000"/>
                <a:gd name="connsiteX32" fmla="*/ 9302 w 12028"/>
                <a:gd name="connsiteY32" fmla="*/ 8126 h 10000"/>
                <a:gd name="connsiteX33" fmla="*/ 10000 w 12028"/>
                <a:gd name="connsiteY33" fmla="*/ 7497 h 10000"/>
                <a:gd name="connsiteX34" fmla="*/ 10000 w 12028"/>
                <a:gd name="connsiteY34" fmla="*/ 6563 h 10000"/>
                <a:gd name="connsiteX35" fmla="*/ 12028 w 12028"/>
                <a:gd name="connsiteY35" fmla="*/ 8673 h 10000"/>
                <a:gd name="connsiteX0" fmla="*/ 10000 w 10148"/>
                <a:gd name="connsiteY0" fmla="*/ 6563 h 10000"/>
                <a:gd name="connsiteX1" fmla="*/ 8005 w 10148"/>
                <a:gd name="connsiteY1" fmla="*/ 4270 h 10000"/>
                <a:gd name="connsiteX2" fmla="*/ 8056 w 10148"/>
                <a:gd name="connsiteY2" fmla="*/ 2110 h 10000"/>
                <a:gd name="connsiteX3" fmla="*/ 7674 w 10148"/>
                <a:gd name="connsiteY3" fmla="*/ 936 h 10000"/>
                <a:gd name="connsiteX4" fmla="*/ 6512 w 10148"/>
                <a:gd name="connsiteY4" fmla="*/ 313 h 10000"/>
                <a:gd name="connsiteX5" fmla="*/ 5814 w 10148"/>
                <a:gd name="connsiteY5" fmla="*/ 0 h 10000"/>
                <a:gd name="connsiteX6" fmla="*/ 5116 w 10148"/>
                <a:gd name="connsiteY6" fmla="*/ 313 h 10000"/>
                <a:gd name="connsiteX7" fmla="*/ 4884 w 10148"/>
                <a:gd name="connsiteY7" fmla="*/ 2187 h 10000"/>
                <a:gd name="connsiteX8" fmla="*/ 4651 w 10148"/>
                <a:gd name="connsiteY8" fmla="*/ 3122 h 10000"/>
                <a:gd name="connsiteX9" fmla="*/ 5349 w 10148"/>
                <a:gd name="connsiteY9" fmla="*/ 4377 h 10000"/>
                <a:gd name="connsiteX10" fmla="*/ 5349 w 10148"/>
                <a:gd name="connsiteY10" fmla="*/ 5000 h 10000"/>
                <a:gd name="connsiteX11" fmla="*/ 3953 w 10148"/>
                <a:gd name="connsiteY11" fmla="*/ 4063 h 10000"/>
                <a:gd name="connsiteX12" fmla="*/ 2558 w 10148"/>
                <a:gd name="connsiteY12" fmla="*/ 3122 h 10000"/>
                <a:gd name="connsiteX13" fmla="*/ 1395 w 10148"/>
                <a:gd name="connsiteY13" fmla="*/ 3122 h 10000"/>
                <a:gd name="connsiteX14" fmla="*/ 1395 w 10148"/>
                <a:gd name="connsiteY14" fmla="*/ 4377 h 10000"/>
                <a:gd name="connsiteX15" fmla="*/ 0 w 10148"/>
                <a:gd name="connsiteY15" fmla="*/ 4687 h 10000"/>
                <a:gd name="connsiteX16" fmla="*/ 0 w 10148"/>
                <a:gd name="connsiteY16" fmla="*/ 8126 h 10000"/>
                <a:gd name="connsiteX17" fmla="*/ 465 w 10148"/>
                <a:gd name="connsiteY17" fmla="*/ 9375 h 10000"/>
                <a:gd name="connsiteX18" fmla="*/ 1395 w 10148"/>
                <a:gd name="connsiteY18" fmla="*/ 9375 h 10000"/>
                <a:gd name="connsiteX19" fmla="*/ 1860 w 10148"/>
                <a:gd name="connsiteY19" fmla="*/ 9689 h 10000"/>
                <a:gd name="connsiteX20" fmla="*/ 1628 w 10148"/>
                <a:gd name="connsiteY20" fmla="*/ 9689 h 10000"/>
                <a:gd name="connsiteX21" fmla="*/ 2093 w 10148"/>
                <a:gd name="connsiteY21" fmla="*/ 10000 h 10000"/>
                <a:gd name="connsiteX22" fmla="*/ 2558 w 10148"/>
                <a:gd name="connsiteY22" fmla="*/ 9689 h 10000"/>
                <a:gd name="connsiteX23" fmla="*/ 3488 w 10148"/>
                <a:gd name="connsiteY23" fmla="*/ 10000 h 10000"/>
                <a:gd name="connsiteX24" fmla="*/ 4186 w 10148"/>
                <a:gd name="connsiteY24" fmla="*/ 9061 h 10000"/>
                <a:gd name="connsiteX25" fmla="*/ 5116 w 10148"/>
                <a:gd name="connsiteY25" fmla="*/ 7816 h 10000"/>
                <a:gd name="connsiteX26" fmla="*/ 5814 w 10148"/>
                <a:gd name="connsiteY26" fmla="*/ 7497 h 10000"/>
                <a:gd name="connsiteX27" fmla="*/ 5581 w 10148"/>
                <a:gd name="connsiteY27" fmla="*/ 7497 h 10000"/>
                <a:gd name="connsiteX28" fmla="*/ 5581 w 10148"/>
                <a:gd name="connsiteY28" fmla="*/ 7185 h 10000"/>
                <a:gd name="connsiteX29" fmla="*/ 7674 w 10148"/>
                <a:gd name="connsiteY29" fmla="*/ 5937 h 10000"/>
                <a:gd name="connsiteX30" fmla="*/ 8605 w 10148"/>
                <a:gd name="connsiteY30" fmla="*/ 6563 h 10000"/>
                <a:gd name="connsiteX31" fmla="*/ 9070 w 10148"/>
                <a:gd name="connsiteY31" fmla="*/ 7497 h 10000"/>
                <a:gd name="connsiteX32" fmla="*/ 9302 w 10148"/>
                <a:gd name="connsiteY32" fmla="*/ 8126 h 10000"/>
                <a:gd name="connsiteX33" fmla="*/ 10000 w 10148"/>
                <a:gd name="connsiteY33" fmla="*/ 7497 h 10000"/>
                <a:gd name="connsiteX34" fmla="*/ 10000 w 10148"/>
                <a:gd name="connsiteY34" fmla="*/ 6563 h 10000"/>
                <a:gd name="connsiteX0" fmla="*/ 10000 w 10000"/>
                <a:gd name="connsiteY0" fmla="*/ 7497 h 10000"/>
                <a:gd name="connsiteX1" fmla="*/ 8005 w 10000"/>
                <a:gd name="connsiteY1" fmla="*/ 4270 h 10000"/>
                <a:gd name="connsiteX2" fmla="*/ 8056 w 10000"/>
                <a:gd name="connsiteY2" fmla="*/ 2110 h 10000"/>
                <a:gd name="connsiteX3" fmla="*/ 7674 w 10000"/>
                <a:gd name="connsiteY3" fmla="*/ 936 h 10000"/>
                <a:gd name="connsiteX4" fmla="*/ 6512 w 10000"/>
                <a:gd name="connsiteY4" fmla="*/ 313 h 10000"/>
                <a:gd name="connsiteX5" fmla="*/ 5814 w 10000"/>
                <a:gd name="connsiteY5" fmla="*/ 0 h 10000"/>
                <a:gd name="connsiteX6" fmla="*/ 5116 w 10000"/>
                <a:gd name="connsiteY6" fmla="*/ 313 h 10000"/>
                <a:gd name="connsiteX7" fmla="*/ 4884 w 10000"/>
                <a:gd name="connsiteY7" fmla="*/ 2187 h 10000"/>
                <a:gd name="connsiteX8" fmla="*/ 4651 w 10000"/>
                <a:gd name="connsiteY8" fmla="*/ 3122 h 10000"/>
                <a:gd name="connsiteX9" fmla="*/ 5349 w 10000"/>
                <a:gd name="connsiteY9" fmla="*/ 4377 h 10000"/>
                <a:gd name="connsiteX10" fmla="*/ 5349 w 10000"/>
                <a:gd name="connsiteY10" fmla="*/ 5000 h 10000"/>
                <a:gd name="connsiteX11" fmla="*/ 3953 w 10000"/>
                <a:gd name="connsiteY11" fmla="*/ 4063 h 10000"/>
                <a:gd name="connsiteX12" fmla="*/ 2558 w 10000"/>
                <a:gd name="connsiteY12" fmla="*/ 3122 h 10000"/>
                <a:gd name="connsiteX13" fmla="*/ 1395 w 10000"/>
                <a:gd name="connsiteY13" fmla="*/ 3122 h 10000"/>
                <a:gd name="connsiteX14" fmla="*/ 1395 w 10000"/>
                <a:gd name="connsiteY14" fmla="*/ 4377 h 10000"/>
                <a:gd name="connsiteX15" fmla="*/ 0 w 10000"/>
                <a:gd name="connsiteY15" fmla="*/ 4687 h 10000"/>
                <a:gd name="connsiteX16" fmla="*/ 0 w 10000"/>
                <a:gd name="connsiteY16" fmla="*/ 8126 h 10000"/>
                <a:gd name="connsiteX17" fmla="*/ 465 w 10000"/>
                <a:gd name="connsiteY17" fmla="*/ 9375 h 10000"/>
                <a:gd name="connsiteX18" fmla="*/ 1395 w 10000"/>
                <a:gd name="connsiteY18" fmla="*/ 9375 h 10000"/>
                <a:gd name="connsiteX19" fmla="*/ 1860 w 10000"/>
                <a:gd name="connsiteY19" fmla="*/ 9689 h 10000"/>
                <a:gd name="connsiteX20" fmla="*/ 1628 w 10000"/>
                <a:gd name="connsiteY20" fmla="*/ 9689 h 10000"/>
                <a:gd name="connsiteX21" fmla="*/ 2093 w 10000"/>
                <a:gd name="connsiteY21" fmla="*/ 10000 h 10000"/>
                <a:gd name="connsiteX22" fmla="*/ 2558 w 10000"/>
                <a:gd name="connsiteY22" fmla="*/ 9689 h 10000"/>
                <a:gd name="connsiteX23" fmla="*/ 3488 w 10000"/>
                <a:gd name="connsiteY23" fmla="*/ 10000 h 10000"/>
                <a:gd name="connsiteX24" fmla="*/ 4186 w 10000"/>
                <a:gd name="connsiteY24" fmla="*/ 9061 h 10000"/>
                <a:gd name="connsiteX25" fmla="*/ 5116 w 10000"/>
                <a:gd name="connsiteY25" fmla="*/ 7816 h 10000"/>
                <a:gd name="connsiteX26" fmla="*/ 5814 w 10000"/>
                <a:gd name="connsiteY26" fmla="*/ 7497 h 10000"/>
                <a:gd name="connsiteX27" fmla="*/ 5581 w 10000"/>
                <a:gd name="connsiteY27" fmla="*/ 7497 h 10000"/>
                <a:gd name="connsiteX28" fmla="*/ 5581 w 10000"/>
                <a:gd name="connsiteY28" fmla="*/ 7185 h 10000"/>
                <a:gd name="connsiteX29" fmla="*/ 7674 w 10000"/>
                <a:gd name="connsiteY29" fmla="*/ 5937 h 10000"/>
                <a:gd name="connsiteX30" fmla="*/ 8605 w 10000"/>
                <a:gd name="connsiteY30" fmla="*/ 6563 h 10000"/>
                <a:gd name="connsiteX31" fmla="*/ 9070 w 10000"/>
                <a:gd name="connsiteY31" fmla="*/ 7497 h 10000"/>
                <a:gd name="connsiteX32" fmla="*/ 9302 w 10000"/>
                <a:gd name="connsiteY32" fmla="*/ 8126 h 10000"/>
                <a:gd name="connsiteX33" fmla="*/ 10000 w 10000"/>
                <a:gd name="connsiteY33" fmla="*/ 7497 h 10000"/>
                <a:gd name="connsiteX0" fmla="*/ 9302 w 9302"/>
                <a:gd name="connsiteY0" fmla="*/ 8126 h 10000"/>
                <a:gd name="connsiteX1" fmla="*/ 8005 w 9302"/>
                <a:gd name="connsiteY1" fmla="*/ 4270 h 10000"/>
                <a:gd name="connsiteX2" fmla="*/ 8056 w 9302"/>
                <a:gd name="connsiteY2" fmla="*/ 2110 h 10000"/>
                <a:gd name="connsiteX3" fmla="*/ 7674 w 9302"/>
                <a:gd name="connsiteY3" fmla="*/ 936 h 10000"/>
                <a:gd name="connsiteX4" fmla="*/ 6512 w 9302"/>
                <a:gd name="connsiteY4" fmla="*/ 313 h 10000"/>
                <a:gd name="connsiteX5" fmla="*/ 5814 w 9302"/>
                <a:gd name="connsiteY5" fmla="*/ 0 h 10000"/>
                <a:gd name="connsiteX6" fmla="*/ 5116 w 9302"/>
                <a:gd name="connsiteY6" fmla="*/ 313 h 10000"/>
                <a:gd name="connsiteX7" fmla="*/ 4884 w 9302"/>
                <a:gd name="connsiteY7" fmla="*/ 2187 h 10000"/>
                <a:gd name="connsiteX8" fmla="*/ 4651 w 9302"/>
                <a:gd name="connsiteY8" fmla="*/ 3122 h 10000"/>
                <a:gd name="connsiteX9" fmla="*/ 5349 w 9302"/>
                <a:gd name="connsiteY9" fmla="*/ 4377 h 10000"/>
                <a:gd name="connsiteX10" fmla="*/ 5349 w 9302"/>
                <a:gd name="connsiteY10" fmla="*/ 5000 h 10000"/>
                <a:gd name="connsiteX11" fmla="*/ 3953 w 9302"/>
                <a:gd name="connsiteY11" fmla="*/ 4063 h 10000"/>
                <a:gd name="connsiteX12" fmla="*/ 2558 w 9302"/>
                <a:gd name="connsiteY12" fmla="*/ 3122 h 10000"/>
                <a:gd name="connsiteX13" fmla="*/ 1395 w 9302"/>
                <a:gd name="connsiteY13" fmla="*/ 3122 h 10000"/>
                <a:gd name="connsiteX14" fmla="*/ 1395 w 9302"/>
                <a:gd name="connsiteY14" fmla="*/ 4377 h 10000"/>
                <a:gd name="connsiteX15" fmla="*/ 0 w 9302"/>
                <a:gd name="connsiteY15" fmla="*/ 4687 h 10000"/>
                <a:gd name="connsiteX16" fmla="*/ 0 w 9302"/>
                <a:gd name="connsiteY16" fmla="*/ 8126 h 10000"/>
                <a:gd name="connsiteX17" fmla="*/ 465 w 9302"/>
                <a:gd name="connsiteY17" fmla="*/ 9375 h 10000"/>
                <a:gd name="connsiteX18" fmla="*/ 1395 w 9302"/>
                <a:gd name="connsiteY18" fmla="*/ 9375 h 10000"/>
                <a:gd name="connsiteX19" fmla="*/ 1860 w 9302"/>
                <a:gd name="connsiteY19" fmla="*/ 9689 h 10000"/>
                <a:gd name="connsiteX20" fmla="*/ 1628 w 9302"/>
                <a:gd name="connsiteY20" fmla="*/ 9689 h 10000"/>
                <a:gd name="connsiteX21" fmla="*/ 2093 w 9302"/>
                <a:gd name="connsiteY21" fmla="*/ 10000 h 10000"/>
                <a:gd name="connsiteX22" fmla="*/ 2558 w 9302"/>
                <a:gd name="connsiteY22" fmla="*/ 9689 h 10000"/>
                <a:gd name="connsiteX23" fmla="*/ 3488 w 9302"/>
                <a:gd name="connsiteY23" fmla="*/ 10000 h 10000"/>
                <a:gd name="connsiteX24" fmla="*/ 4186 w 9302"/>
                <a:gd name="connsiteY24" fmla="*/ 9061 h 10000"/>
                <a:gd name="connsiteX25" fmla="*/ 5116 w 9302"/>
                <a:gd name="connsiteY25" fmla="*/ 7816 h 10000"/>
                <a:gd name="connsiteX26" fmla="*/ 5814 w 9302"/>
                <a:gd name="connsiteY26" fmla="*/ 7497 h 10000"/>
                <a:gd name="connsiteX27" fmla="*/ 5581 w 9302"/>
                <a:gd name="connsiteY27" fmla="*/ 7497 h 10000"/>
                <a:gd name="connsiteX28" fmla="*/ 5581 w 9302"/>
                <a:gd name="connsiteY28" fmla="*/ 7185 h 10000"/>
                <a:gd name="connsiteX29" fmla="*/ 7674 w 9302"/>
                <a:gd name="connsiteY29" fmla="*/ 5937 h 10000"/>
                <a:gd name="connsiteX30" fmla="*/ 8605 w 9302"/>
                <a:gd name="connsiteY30" fmla="*/ 6563 h 10000"/>
                <a:gd name="connsiteX31" fmla="*/ 9070 w 9302"/>
                <a:gd name="connsiteY31" fmla="*/ 7497 h 10000"/>
                <a:gd name="connsiteX32" fmla="*/ 9302 w 9302"/>
                <a:gd name="connsiteY32" fmla="*/ 8126 h 10000"/>
                <a:gd name="connsiteX0" fmla="*/ 9751 w 9751"/>
                <a:gd name="connsiteY0" fmla="*/ 7497 h 10000"/>
                <a:gd name="connsiteX1" fmla="*/ 8606 w 9751"/>
                <a:gd name="connsiteY1" fmla="*/ 4270 h 10000"/>
                <a:gd name="connsiteX2" fmla="*/ 8661 w 9751"/>
                <a:gd name="connsiteY2" fmla="*/ 2110 h 10000"/>
                <a:gd name="connsiteX3" fmla="*/ 8250 w 9751"/>
                <a:gd name="connsiteY3" fmla="*/ 936 h 10000"/>
                <a:gd name="connsiteX4" fmla="*/ 7001 w 9751"/>
                <a:gd name="connsiteY4" fmla="*/ 313 h 10000"/>
                <a:gd name="connsiteX5" fmla="*/ 6250 w 9751"/>
                <a:gd name="connsiteY5" fmla="*/ 0 h 10000"/>
                <a:gd name="connsiteX6" fmla="*/ 5500 w 9751"/>
                <a:gd name="connsiteY6" fmla="*/ 313 h 10000"/>
                <a:gd name="connsiteX7" fmla="*/ 5250 w 9751"/>
                <a:gd name="connsiteY7" fmla="*/ 2187 h 10000"/>
                <a:gd name="connsiteX8" fmla="*/ 5000 w 9751"/>
                <a:gd name="connsiteY8" fmla="*/ 3122 h 10000"/>
                <a:gd name="connsiteX9" fmla="*/ 5750 w 9751"/>
                <a:gd name="connsiteY9" fmla="*/ 4377 h 10000"/>
                <a:gd name="connsiteX10" fmla="*/ 5750 w 9751"/>
                <a:gd name="connsiteY10" fmla="*/ 5000 h 10000"/>
                <a:gd name="connsiteX11" fmla="*/ 4250 w 9751"/>
                <a:gd name="connsiteY11" fmla="*/ 4063 h 10000"/>
                <a:gd name="connsiteX12" fmla="*/ 2750 w 9751"/>
                <a:gd name="connsiteY12" fmla="*/ 3122 h 10000"/>
                <a:gd name="connsiteX13" fmla="*/ 1500 w 9751"/>
                <a:gd name="connsiteY13" fmla="*/ 3122 h 10000"/>
                <a:gd name="connsiteX14" fmla="*/ 1500 w 9751"/>
                <a:gd name="connsiteY14" fmla="*/ 4377 h 10000"/>
                <a:gd name="connsiteX15" fmla="*/ 0 w 9751"/>
                <a:gd name="connsiteY15" fmla="*/ 4687 h 10000"/>
                <a:gd name="connsiteX16" fmla="*/ 0 w 9751"/>
                <a:gd name="connsiteY16" fmla="*/ 8126 h 10000"/>
                <a:gd name="connsiteX17" fmla="*/ 500 w 9751"/>
                <a:gd name="connsiteY17" fmla="*/ 9375 h 10000"/>
                <a:gd name="connsiteX18" fmla="*/ 1500 w 9751"/>
                <a:gd name="connsiteY18" fmla="*/ 9375 h 10000"/>
                <a:gd name="connsiteX19" fmla="*/ 2000 w 9751"/>
                <a:gd name="connsiteY19" fmla="*/ 9689 h 10000"/>
                <a:gd name="connsiteX20" fmla="*/ 1750 w 9751"/>
                <a:gd name="connsiteY20" fmla="*/ 9689 h 10000"/>
                <a:gd name="connsiteX21" fmla="*/ 2250 w 9751"/>
                <a:gd name="connsiteY21" fmla="*/ 10000 h 10000"/>
                <a:gd name="connsiteX22" fmla="*/ 2750 w 9751"/>
                <a:gd name="connsiteY22" fmla="*/ 9689 h 10000"/>
                <a:gd name="connsiteX23" fmla="*/ 3750 w 9751"/>
                <a:gd name="connsiteY23" fmla="*/ 10000 h 10000"/>
                <a:gd name="connsiteX24" fmla="*/ 4500 w 9751"/>
                <a:gd name="connsiteY24" fmla="*/ 9061 h 10000"/>
                <a:gd name="connsiteX25" fmla="*/ 5500 w 9751"/>
                <a:gd name="connsiteY25" fmla="*/ 7816 h 10000"/>
                <a:gd name="connsiteX26" fmla="*/ 6250 w 9751"/>
                <a:gd name="connsiteY26" fmla="*/ 7497 h 10000"/>
                <a:gd name="connsiteX27" fmla="*/ 6000 w 9751"/>
                <a:gd name="connsiteY27" fmla="*/ 7497 h 10000"/>
                <a:gd name="connsiteX28" fmla="*/ 6000 w 9751"/>
                <a:gd name="connsiteY28" fmla="*/ 7185 h 10000"/>
                <a:gd name="connsiteX29" fmla="*/ 8250 w 9751"/>
                <a:gd name="connsiteY29" fmla="*/ 5937 h 10000"/>
                <a:gd name="connsiteX30" fmla="*/ 9251 w 9751"/>
                <a:gd name="connsiteY30" fmla="*/ 6563 h 10000"/>
                <a:gd name="connsiteX31" fmla="*/ 9751 w 9751"/>
                <a:gd name="connsiteY31" fmla="*/ 7497 h 10000"/>
                <a:gd name="connsiteX0" fmla="*/ 10000 w 10000"/>
                <a:gd name="connsiteY0" fmla="*/ 7497 h 10000"/>
                <a:gd name="connsiteX1" fmla="*/ 8826 w 10000"/>
                <a:gd name="connsiteY1" fmla="*/ 4270 h 10000"/>
                <a:gd name="connsiteX2" fmla="*/ 8882 w 10000"/>
                <a:gd name="connsiteY2" fmla="*/ 2110 h 10000"/>
                <a:gd name="connsiteX3" fmla="*/ 8461 w 10000"/>
                <a:gd name="connsiteY3" fmla="*/ 936 h 10000"/>
                <a:gd name="connsiteX4" fmla="*/ 7180 w 10000"/>
                <a:gd name="connsiteY4" fmla="*/ 313 h 10000"/>
                <a:gd name="connsiteX5" fmla="*/ 6410 w 10000"/>
                <a:gd name="connsiteY5" fmla="*/ 0 h 10000"/>
                <a:gd name="connsiteX6" fmla="*/ 5640 w 10000"/>
                <a:gd name="connsiteY6" fmla="*/ 313 h 10000"/>
                <a:gd name="connsiteX7" fmla="*/ 5384 w 10000"/>
                <a:gd name="connsiteY7" fmla="*/ 2187 h 10000"/>
                <a:gd name="connsiteX8" fmla="*/ 5128 w 10000"/>
                <a:gd name="connsiteY8" fmla="*/ 3122 h 10000"/>
                <a:gd name="connsiteX9" fmla="*/ 5897 w 10000"/>
                <a:gd name="connsiteY9" fmla="*/ 4377 h 10000"/>
                <a:gd name="connsiteX10" fmla="*/ 5897 w 10000"/>
                <a:gd name="connsiteY10" fmla="*/ 5000 h 10000"/>
                <a:gd name="connsiteX11" fmla="*/ 4359 w 10000"/>
                <a:gd name="connsiteY11" fmla="*/ 4063 h 10000"/>
                <a:gd name="connsiteX12" fmla="*/ 2820 w 10000"/>
                <a:gd name="connsiteY12" fmla="*/ 3122 h 10000"/>
                <a:gd name="connsiteX13" fmla="*/ 1538 w 10000"/>
                <a:gd name="connsiteY13" fmla="*/ 3122 h 10000"/>
                <a:gd name="connsiteX14" fmla="*/ 1538 w 10000"/>
                <a:gd name="connsiteY14" fmla="*/ 4377 h 10000"/>
                <a:gd name="connsiteX15" fmla="*/ 0 w 10000"/>
                <a:gd name="connsiteY15" fmla="*/ 4687 h 10000"/>
                <a:gd name="connsiteX16" fmla="*/ 0 w 10000"/>
                <a:gd name="connsiteY16" fmla="*/ 8126 h 10000"/>
                <a:gd name="connsiteX17" fmla="*/ 513 w 10000"/>
                <a:gd name="connsiteY17" fmla="*/ 9375 h 10000"/>
                <a:gd name="connsiteX18" fmla="*/ 1538 w 10000"/>
                <a:gd name="connsiteY18" fmla="*/ 9375 h 10000"/>
                <a:gd name="connsiteX19" fmla="*/ 2051 w 10000"/>
                <a:gd name="connsiteY19" fmla="*/ 9689 h 10000"/>
                <a:gd name="connsiteX20" fmla="*/ 1795 w 10000"/>
                <a:gd name="connsiteY20" fmla="*/ 9689 h 10000"/>
                <a:gd name="connsiteX21" fmla="*/ 2307 w 10000"/>
                <a:gd name="connsiteY21" fmla="*/ 10000 h 10000"/>
                <a:gd name="connsiteX22" fmla="*/ 2820 w 10000"/>
                <a:gd name="connsiteY22" fmla="*/ 9689 h 10000"/>
                <a:gd name="connsiteX23" fmla="*/ 3846 w 10000"/>
                <a:gd name="connsiteY23" fmla="*/ 10000 h 10000"/>
                <a:gd name="connsiteX24" fmla="*/ 4615 w 10000"/>
                <a:gd name="connsiteY24" fmla="*/ 9061 h 10000"/>
                <a:gd name="connsiteX25" fmla="*/ 5640 w 10000"/>
                <a:gd name="connsiteY25" fmla="*/ 7816 h 10000"/>
                <a:gd name="connsiteX26" fmla="*/ 6410 w 10000"/>
                <a:gd name="connsiteY26" fmla="*/ 7497 h 10000"/>
                <a:gd name="connsiteX27" fmla="*/ 6153 w 10000"/>
                <a:gd name="connsiteY27" fmla="*/ 7497 h 10000"/>
                <a:gd name="connsiteX28" fmla="*/ 6153 w 10000"/>
                <a:gd name="connsiteY28" fmla="*/ 7185 h 10000"/>
                <a:gd name="connsiteX29" fmla="*/ 8461 w 10000"/>
                <a:gd name="connsiteY29" fmla="*/ 5937 h 10000"/>
                <a:gd name="connsiteX30" fmla="*/ 10000 w 10000"/>
                <a:gd name="connsiteY30" fmla="*/ 7497 h 10000"/>
                <a:gd name="connsiteX0" fmla="*/ 8461 w 8887"/>
                <a:gd name="connsiteY0" fmla="*/ 5937 h 10000"/>
                <a:gd name="connsiteX1" fmla="*/ 8826 w 8887"/>
                <a:gd name="connsiteY1" fmla="*/ 4270 h 10000"/>
                <a:gd name="connsiteX2" fmla="*/ 8882 w 8887"/>
                <a:gd name="connsiteY2" fmla="*/ 2110 h 10000"/>
                <a:gd name="connsiteX3" fmla="*/ 8461 w 8887"/>
                <a:gd name="connsiteY3" fmla="*/ 936 h 10000"/>
                <a:gd name="connsiteX4" fmla="*/ 7180 w 8887"/>
                <a:gd name="connsiteY4" fmla="*/ 313 h 10000"/>
                <a:gd name="connsiteX5" fmla="*/ 6410 w 8887"/>
                <a:gd name="connsiteY5" fmla="*/ 0 h 10000"/>
                <a:gd name="connsiteX6" fmla="*/ 5640 w 8887"/>
                <a:gd name="connsiteY6" fmla="*/ 313 h 10000"/>
                <a:gd name="connsiteX7" fmla="*/ 5384 w 8887"/>
                <a:gd name="connsiteY7" fmla="*/ 2187 h 10000"/>
                <a:gd name="connsiteX8" fmla="*/ 5128 w 8887"/>
                <a:gd name="connsiteY8" fmla="*/ 3122 h 10000"/>
                <a:gd name="connsiteX9" fmla="*/ 5897 w 8887"/>
                <a:gd name="connsiteY9" fmla="*/ 4377 h 10000"/>
                <a:gd name="connsiteX10" fmla="*/ 5897 w 8887"/>
                <a:gd name="connsiteY10" fmla="*/ 5000 h 10000"/>
                <a:gd name="connsiteX11" fmla="*/ 4359 w 8887"/>
                <a:gd name="connsiteY11" fmla="*/ 4063 h 10000"/>
                <a:gd name="connsiteX12" fmla="*/ 2820 w 8887"/>
                <a:gd name="connsiteY12" fmla="*/ 3122 h 10000"/>
                <a:gd name="connsiteX13" fmla="*/ 1538 w 8887"/>
                <a:gd name="connsiteY13" fmla="*/ 3122 h 10000"/>
                <a:gd name="connsiteX14" fmla="*/ 1538 w 8887"/>
                <a:gd name="connsiteY14" fmla="*/ 4377 h 10000"/>
                <a:gd name="connsiteX15" fmla="*/ 0 w 8887"/>
                <a:gd name="connsiteY15" fmla="*/ 4687 h 10000"/>
                <a:gd name="connsiteX16" fmla="*/ 0 w 8887"/>
                <a:gd name="connsiteY16" fmla="*/ 8126 h 10000"/>
                <a:gd name="connsiteX17" fmla="*/ 513 w 8887"/>
                <a:gd name="connsiteY17" fmla="*/ 9375 h 10000"/>
                <a:gd name="connsiteX18" fmla="*/ 1538 w 8887"/>
                <a:gd name="connsiteY18" fmla="*/ 9375 h 10000"/>
                <a:gd name="connsiteX19" fmla="*/ 2051 w 8887"/>
                <a:gd name="connsiteY19" fmla="*/ 9689 h 10000"/>
                <a:gd name="connsiteX20" fmla="*/ 1795 w 8887"/>
                <a:gd name="connsiteY20" fmla="*/ 9689 h 10000"/>
                <a:gd name="connsiteX21" fmla="*/ 2307 w 8887"/>
                <a:gd name="connsiteY21" fmla="*/ 10000 h 10000"/>
                <a:gd name="connsiteX22" fmla="*/ 2820 w 8887"/>
                <a:gd name="connsiteY22" fmla="*/ 9689 h 10000"/>
                <a:gd name="connsiteX23" fmla="*/ 3846 w 8887"/>
                <a:gd name="connsiteY23" fmla="*/ 10000 h 10000"/>
                <a:gd name="connsiteX24" fmla="*/ 4615 w 8887"/>
                <a:gd name="connsiteY24" fmla="*/ 9061 h 10000"/>
                <a:gd name="connsiteX25" fmla="*/ 5640 w 8887"/>
                <a:gd name="connsiteY25" fmla="*/ 7816 h 10000"/>
                <a:gd name="connsiteX26" fmla="*/ 6410 w 8887"/>
                <a:gd name="connsiteY26" fmla="*/ 7497 h 10000"/>
                <a:gd name="connsiteX27" fmla="*/ 6153 w 8887"/>
                <a:gd name="connsiteY27" fmla="*/ 7497 h 10000"/>
                <a:gd name="connsiteX28" fmla="*/ 6153 w 8887"/>
                <a:gd name="connsiteY28" fmla="*/ 7185 h 10000"/>
                <a:gd name="connsiteX29" fmla="*/ 8461 w 8887"/>
                <a:gd name="connsiteY29" fmla="*/ 5937 h 10000"/>
                <a:gd name="connsiteX0" fmla="*/ 9521 w 9994"/>
                <a:gd name="connsiteY0" fmla="*/ 5937 h 10000"/>
                <a:gd name="connsiteX1" fmla="*/ 9931 w 9994"/>
                <a:gd name="connsiteY1" fmla="*/ 4270 h 10000"/>
                <a:gd name="connsiteX2" fmla="*/ 9994 w 9994"/>
                <a:gd name="connsiteY2" fmla="*/ 2110 h 10000"/>
                <a:gd name="connsiteX3" fmla="*/ 9521 w 9994"/>
                <a:gd name="connsiteY3" fmla="*/ 936 h 10000"/>
                <a:gd name="connsiteX4" fmla="*/ 8079 w 9994"/>
                <a:gd name="connsiteY4" fmla="*/ 313 h 10000"/>
                <a:gd name="connsiteX5" fmla="*/ 7213 w 9994"/>
                <a:gd name="connsiteY5" fmla="*/ 0 h 10000"/>
                <a:gd name="connsiteX6" fmla="*/ 6346 w 9994"/>
                <a:gd name="connsiteY6" fmla="*/ 313 h 10000"/>
                <a:gd name="connsiteX7" fmla="*/ 6058 w 9994"/>
                <a:gd name="connsiteY7" fmla="*/ 2187 h 10000"/>
                <a:gd name="connsiteX8" fmla="*/ 5770 w 9994"/>
                <a:gd name="connsiteY8" fmla="*/ 3122 h 10000"/>
                <a:gd name="connsiteX9" fmla="*/ 6636 w 9994"/>
                <a:gd name="connsiteY9" fmla="*/ 4377 h 10000"/>
                <a:gd name="connsiteX10" fmla="*/ 6636 w 9994"/>
                <a:gd name="connsiteY10" fmla="*/ 5000 h 10000"/>
                <a:gd name="connsiteX11" fmla="*/ 4905 w 9994"/>
                <a:gd name="connsiteY11" fmla="*/ 4063 h 10000"/>
                <a:gd name="connsiteX12" fmla="*/ 3173 w 9994"/>
                <a:gd name="connsiteY12" fmla="*/ 3122 h 10000"/>
                <a:gd name="connsiteX13" fmla="*/ 1731 w 9994"/>
                <a:gd name="connsiteY13" fmla="*/ 3122 h 10000"/>
                <a:gd name="connsiteX14" fmla="*/ 1731 w 9994"/>
                <a:gd name="connsiteY14" fmla="*/ 4377 h 10000"/>
                <a:gd name="connsiteX15" fmla="*/ 0 w 9994"/>
                <a:gd name="connsiteY15" fmla="*/ 4687 h 10000"/>
                <a:gd name="connsiteX16" fmla="*/ 0 w 9994"/>
                <a:gd name="connsiteY16" fmla="*/ 8126 h 10000"/>
                <a:gd name="connsiteX17" fmla="*/ 577 w 9994"/>
                <a:gd name="connsiteY17" fmla="*/ 9375 h 10000"/>
                <a:gd name="connsiteX18" fmla="*/ 1731 w 9994"/>
                <a:gd name="connsiteY18" fmla="*/ 9375 h 10000"/>
                <a:gd name="connsiteX19" fmla="*/ 2308 w 9994"/>
                <a:gd name="connsiteY19" fmla="*/ 9689 h 10000"/>
                <a:gd name="connsiteX20" fmla="*/ 2020 w 9994"/>
                <a:gd name="connsiteY20" fmla="*/ 9689 h 10000"/>
                <a:gd name="connsiteX21" fmla="*/ 2596 w 9994"/>
                <a:gd name="connsiteY21" fmla="*/ 10000 h 10000"/>
                <a:gd name="connsiteX22" fmla="*/ 3173 w 9994"/>
                <a:gd name="connsiteY22" fmla="*/ 9689 h 10000"/>
                <a:gd name="connsiteX23" fmla="*/ 4328 w 9994"/>
                <a:gd name="connsiteY23" fmla="*/ 10000 h 10000"/>
                <a:gd name="connsiteX24" fmla="*/ 5193 w 9994"/>
                <a:gd name="connsiteY24" fmla="*/ 9061 h 10000"/>
                <a:gd name="connsiteX25" fmla="*/ 6346 w 9994"/>
                <a:gd name="connsiteY25" fmla="*/ 7816 h 10000"/>
                <a:gd name="connsiteX26" fmla="*/ 7213 w 9994"/>
                <a:gd name="connsiteY26" fmla="*/ 7497 h 10000"/>
                <a:gd name="connsiteX27" fmla="*/ 6924 w 9994"/>
                <a:gd name="connsiteY27" fmla="*/ 7497 h 10000"/>
                <a:gd name="connsiteX28" fmla="*/ 6924 w 9994"/>
                <a:gd name="connsiteY28" fmla="*/ 7185 h 10000"/>
                <a:gd name="connsiteX29" fmla="*/ 9521 w 9994"/>
                <a:gd name="connsiteY29" fmla="*/ 5937 h 10000"/>
                <a:gd name="connsiteX0" fmla="*/ 9527 w 10264"/>
                <a:gd name="connsiteY0" fmla="*/ 5937 h 10000"/>
                <a:gd name="connsiteX1" fmla="*/ 9937 w 10264"/>
                <a:gd name="connsiteY1" fmla="*/ 4270 h 10000"/>
                <a:gd name="connsiteX2" fmla="*/ 10264 w 10264"/>
                <a:gd name="connsiteY2" fmla="*/ 2206 h 10000"/>
                <a:gd name="connsiteX3" fmla="*/ 9527 w 10264"/>
                <a:gd name="connsiteY3" fmla="*/ 936 h 10000"/>
                <a:gd name="connsiteX4" fmla="*/ 8084 w 10264"/>
                <a:gd name="connsiteY4" fmla="*/ 313 h 10000"/>
                <a:gd name="connsiteX5" fmla="*/ 7217 w 10264"/>
                <a:gd name="connsiteY5" fmla="*/ 0 h 10000"/>
                <a:gd name="connsiteX6" fmla="*/ 6350 w 10264"/>
                <a:gd name="connsiteY6" fmla="*/ 313 h 10000"/>
                <a:gd name="connsiteX7" fmla="*/ 6062 w 10264"/>
                <a:gd name="connsiteY7" fmla="*/ 2187 h 10000"/>
                <a:gd name="connsiteX8" fmla="*/ 5773 w 10264"/>
                <a:gd name="connsiteY8" fmla="*/ 3122 h 10000"/>
                <a:gd name="connsiteX9" fmla="*/ 6640 w 10264"/>
                <a:gd name="connsiteY9" fmla="*/ 4377 h 10000"/>
                <a:gd name="connsiteX10" fmla="*/ 6640 w 10264"/>
                <a:gd name="connsiteY10" fmla="*/ 5000 h 10000"/>
                <a:gd name="connsiteX11" fmla="*/ 4908 w 10264"/>
                <a:gd name="connsiteY11" fmla="*/ 4063 h 10000"/>
                <a:gd name="connsiteX12" fmla="*/ 3175 w 10264"/>
                <a:gd name="connsiteY12" fmla="*/ 3122 h 10000"/>
                <a:gd name="connsiteX13" fmla="*/ 1732 w 10264"/>
                <a:gd name="connsiteY13" fmla="*/ 3122 h 10000"/>
                <a:gd name="connsiteX14" fmla="*/ 1732 w 10264"/>
                <a:gd name="connsiteY14" fmla="*/ 4377 h 10000"/>
                <a:gd name="connsiteX15" fmla="*/ 0 w 10264"/>
                <a:gd name="connsiteY15" fmla="*/ 4687 h 10000"/>
                <a:gd name="connsiteX16" fmla="*/ 0 w 10264"/>
                <a:gd name="connsiteY16" fmla="*/ 8126 h 10000"/>
                <a:gd name="connsiteX17" fmla="*/ 577 w 10264"/>
                <a:gd name="connsiteY17" fmla="*/ 9375 h 10000"/>
                <a:gd name="connsiteX18" fmla="*/ 1732 w 10264"/>
                <a:gd name="connsiteY18" fmla="*/ 9375 h 10000"/>
                <a:gd name="connsiteX19" fmla="*/ 2309 w 10264"/>
                <a:gd name="connsiteY19" fmla="*/ 9689 h 10000"/>
                <a:gd name="connsiteX20" fmla="*/ 2021 w 10264"/>
                <a:gd name="connsiteY20" fmla="*/ 9689 h 10000"/>
                <a:gd name="connsiteX21" fmla="*/ 2598 w 10264"/>
                <a:gd name="connsiteY21" fmla="*/ 10000 h 10000"/>
                <a:gd name="connsiteX22" fmla="*/ 3175 w 10264"/>
                <a:gd name="connsiteY22" fmla="*/ 9689 h 10000"/>
                <a:gd name="connsiteX23" fmla="*/ 4331 w 10264"/>
                <a:gd name="connsiteY23" fmla="*/ 10000 h 10000"/>
                <a:gd name="connsiteX24" fmla="*/ 5196 w 10264"/>
                <a:gd name="connsiteY24" fmla="*/ 9061 h 10000"/>
                <a:gd name="connsiteX25" fmla="*/ 6350 w 10264"/>
                <a:gd name="connsiteY25" fmla="*/ 7816 h 10000"/>
                <a:gd name="connsiteX26" fmla="*/ 7217 w 10264"/>
                <a:gd name="connsiteY26" fmla="*/ 7497 h 10000"/>
                <a:gd name="connsiteX27" fmla="*/ 6928 w 10264"/>
                <a:gd name="connsiteY27" fmla="*/ 7497 h 10000"/>
                <a:gd name="connsiteX28" fmla="*/ 6928 w 10264"/>
                <a:gd name="connsiteY28" fmla="*/ 7185 h 10000"/>
                <a:gd name="connsiteX29" fmla="*/ 9527 w 10264"/>
                <a:gd name="connsiteY29" fmla="*/ 5937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0264" h="10000">
                  <a:moveTo>
                    <a:pt x="9527" y="5937"/>
                  </a:moveTo>
                  <a:cubicBezTo>
                    <a:pt x="9664" y="5381"/>
                    <a:pt x="9814" y="4892"/>
                    <a:pt x="9937" y="4270"/>
                  </a:cubicBezTo>
                  <a:cubicBezTo>
                    <a:pt x="10060" y="3648"/>
                    <a:pt x="10155" y="2894"/>
                    <a:pt x="10264" y="2206"/>
                  </a:cubicBezTo>
                  <a:cubicBezTo>
                    <a:pt x="10196" y="1650"/>
                    <a:pt x="9890" y="1252"/>
                    <a:pt x="9527" y="936"/>
                  </a:cubicBezTo>
                  <a:cubicBezTo>
                    <a:pt x="9164" y="621"/>
                    <a:pt x="8468" y="469"/>
                    <a:pt x="8084" y="313"/>
                  </a:cubicBezTo>
                  <a:cubicBezTo>
                    <a:pt x="7698" y="156"/>
                    <a:pt x="7507" y="0"/>
                    <a:pt x="7217" y="0"/>
                  </a:cubicBezTo>
                  <a:lnTo>
                    <a:pt x="6350" y="313"/>
                  </a:lnTo>
                  <a:cubicBezTo>
                    <a:pt x="6255" y="936"/>
                    <a:pt x="6158" y="1561"/>
                    <a:pt x="6062" y="2187"/>
                  </a:cubicBezTo>
                  <a:cubicBezTo>
                    <a:pt x="5967" y="2498"/>
                    <a:pt x="5871" y="2810"/>
                    <a:pt x="5773" y="3122"/>
                  </a:cubicBezTo>
                  <a:lnTo>
                    <a:pt x="6640" y="4377"/>
                  </a:lnTo>
                  <a:lnTo>
                    <a:pt x="6640" y="5000"/>
                  </a:lnTo>
                  <a:lnTo>
                    <a:pt x="4908" y="4063"/>
                  </a:lnTo>
                  <a:lnTo>
                    <a:pt x="3175" y="3122"/>
                  </a:lnTo>
                  <a:lnTo>
                    <a:pt x="1732" y="3122"/>
                  </a:lnTo>
                  <a:lnTo>
                    <a:pt x="1732" y="4377"/>
                  </a:lnTo>
                  <a:lnTo>
                    <a:pt x="0" y="4687"/>
                  </a:lnTo>
                  <a:lnTo>
                    <a:pt x="0" y="8126"/>
                  </a:lnTo>
                  <a:lnTo>
                    <a:pt x="577" y="9375"/>
                  </a:lnTo>
                  <a:lnTo>
                    <a:pt x="1732" y="9375"/>
                  </a:lnTo>
                  <a:lnTo>
                    <a:pt x="2309" y="9689"/>
                  </a:lnTo>
                  <a:lnTo>
                    <a:pt x="2021" y="9689"/>
                  </a:lnTo>
                  <a:lnTo>
                    <a:pt x="2598" y="10000"/>
                  </a:lnTo>
                  <a:lnTo>
                    <a:pt x="3175" y="9689"/>
                  </a:lnTo>
                  <a:cubicBezTo>
                    <a:pt x="3175" y="9689"/>
                    <a:pt x="4040" y="10000"/>
                    <a:pt x="4331" y="10000"/>
                  </a:cubicBezTo>
                  <a:lnTo>
                    <a:pt x="5196" y="9061"/>
                  </a:lnTo>
                  <a:lnTo>
                    <a:pt x="6350" y="7816"/>
                  </a:lnTo>
                  <a:lnTo>
                    <a:pt x="7217" y="7497"/>
                  </a:lnTo>
                  <a:lnTo>
                    <a:pt x="6928" y="7497"/>
                  </a:lnTo>
                  <a:lnTo>
                    <a:pt x="6928" y="7185"/>
                  </a:lnTo>
                  <a:lnTo>
                    <a:pt x="9527" y="5937"/>
                  </a:ln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262" name="RW"/>
            <p:cNvSpPr>
              <a:spLocks/>
            </p:cNvSpPr>
            <p:nvPr/>
          </p:nvSpPr>
          <p:spPr bwMode="auto">
            <a:xfrm>
              <a:off x="4987440" y="4449809"/>
              <a:ext cx="33175" cy="57156"/>
            </a:xfrm>
            <a:custGeom>
              <a:avLst/>
              <a:gdLst>
                <a:gd name="T0" fmla="*/ 2147483647 w 43"/>
                <a:gd name="T1" fmla="*/ 2147483647 h 70"/>
                <a:gd name="T2" fmla="*/ 2147483647 w 43"/>
                <a:gd name="T3" fmla="*/ 2147483647 h 70"/>
                <a:gd name="T4" fmla="*/ 2147483647 w 43"/>
                <a:gd name="T5" fmla="*/ 2147483647 h 70"/>
                <a:gd name="T6" fmla="*/ 2147483647 w 43"/>
                <a:gd name="T7" fmla="*/ 2147483647 h 70"/>
                <a:gd name="T8" fmla="*/ 2147483647 w 43"/>
                <a:gd name="T9" fmla="*/ 2147483647 h 70"/>
                <a:gd name="T10" fmla="*/ 2147483647 w 43"/>
                <a:gd name="T11" fmla="*/ 2147483647 h 70"/>
                <a:gd name="T12" fmla="*/ 2147483647 w 43"/>
                <a:gd name="T13" fmla="*/ 2147483647 h 70"/>
                <a:gd name="T14" fmla="*/ 2147483647 w 43"/>
                <a:gd name="T15" fmla="*/ 2147483647 h 70"/>
                <a:gd name="T16" fmla="*/ 2147483647 w 43"/>
                <a:gd name="T17" fmla="*/ 2147483647 h 70"/>
                <a:gd name="T18" fmla="*/ 2147483647 w 43"/>
                <a:gd name="T19" fmla="*/ 2147483647 h 70"/>
                <a:gd name="T20" fmla="*/ 2147483647 w 43"/>
                <a:gd name="T21" fmla="*/ 2147483647 h 70"/>
                <a:gd name="T22" fmla="*/ 2147483647 w 43"/>
                <a:gd name="T23" fmla="*/ 2147483647 h 70"/>
                <a:gd name="T24" fmla="*/ 2147483647 w 43"/>
                <a:gd name="T25" fmla="*/ 2147483647 h 70"/>
                <a:gd name="T26" fmla="*/ 2147483647 w 43"/>
                <a:gd name="T27" fmla="*/ 2147483647 h 70"/>
                <a:gd name="T28" fmla="*/ 2147483647 w 43"/>
                <a:gd name="T29" fmla="*/ 2147483647 h 70"/>
                <a:gd name="T30" fmla="*/ 0 w 43"/>
                <a:gd name="T31" fmla="*/ 2147483647 h 70"/>
                <a:gd name="T32" fmla="*/ 0 w 43"/>
                <a:gd name="T33" fmla="*/ 2147483647 h 70"/>
                <a:gd name="T34" fmla="*/ 2147483647 w 43"/>
                <a:gd name="T35" fmla="*/ 2147483647 h 70"/>
                <a:gd name="T36" fmla="*/ 2147483647 w 43"/>
                <a:gd name="T37" fmla="*/ 2147483647 h 70"/>
                <a:gd name="T38" fmla="*/ 2147483647 w 43"/>
                <a:gd name="T39" fmla="*/ 2147483647 h 70"/>
                <a:gd name="T40" fmla="*/ 2147483647 w 43"/>
                <a:gd name="T41" fmla="*/ 2147483647 h 70"/>
                <a:gd name="T42" fmla="*/ 2147483647 w 43"/>
                <a:gd name="T43" fmla="*/ 2147483647 h 70"/>
                <a:gd name="T44" fmla="*/ 2147483647 w 43"/>
                <a:gd name="T45" fmla="*/ 2147483647 h 70"/>
                <a:gd name="T46" fmla="*/ 2147483647 w 43"/>
                <a:gd name="T47" fmla="*/ 2147483647 h 70"/>
                <a:gd name="T48" fmla="*/ 2147483647 w 43"/>
                <a:gd name="T49" fmla="*/ 2147483647 h 70"/>
                <a:gd name="T50" fmla="*/ 2147483647 w 43"/>
                <a:gd name="T51" fmla="*/ 2147483647 h 70"/>
                <a:gd name="T52" fmla="*/ 2147483647 w 43"/>
                <a:gd name="T53" fmla="*/ 2147483647 h 70"/>
                <a:gd name="T54" fmla="*/ 2147483647 w 43"/>
                <a:gd name="T55" fmla="*/ 2147483647 h 70"/>
                <a:gd name="T56" fmla="*/ 2147483647 w 43"/>
                <a:gd name="T57" fmla="*/ 2147483647 h 70"/>
                <a:gd name="T58" fmla="*/ 2147483647 w 43"/>
                <a:gd name="T59" fmla="*/ 2147483647 h 70"/>
                <a:gd name="T60" fmla="*/ 2147483647 w 43"/>
                <a:gd name="T61" fmla="*/ 2147483647 h 70"/>
                <a:gd name="T62" fmla="*/ 2147483647 w 43"/>
                <a:gd name="T63" fmla="*/ 2147483647 h 70"/>
                <a:gd name="T64" fmla="*/ 2147483647 w 43"/>
                <a:gd name="T65" fmla="*/ 2147483647 h 70"/>
                <a:gd name="T66" fmla="*/ 2147483647 w 43"/>
                <a:gd name="T67" fmla="*/ 2147483647 h 70"/>
                <a:gd name="T68" fmla="*/ 2147483647 w 43"/>
                <a:gd name="T69" fmla="*/ 2147483647 h 70"/>
                <a:gd name="T70" fmla="*/ 2147483647 w 43"/>
                <a:gd name="T71" fmla="*/ 2147483647 h 70"/>
                <a:gd name="T72" fmla="*/ 2147483647 w 43"/>
                <a:gd name="T73" fmla="*/ 2147483647 h 70"/>
                <a:gd name="T74" fmla="*/ 2147483647 w 43"/>
                <a:gd name="T75" fmla="*/ 2147483647 h 70"/>
                <a:gd name="T76" fmla="*/ 2147483647 w 43"/>
                <a:gd name="T77" fmla="*/ 2147483647 h 70"/>
                <a:gd name="T78" fmla="*/ 2147483647 w 43"/>
                <a:gd name="T79" fmla="*/ 2147483647 h 70"/>
                <a:gd name="T80" fmla="*/ 2147483647 w 43"/>
                <a:gd name="T81" fmla="*/ 2147483647 h 70"/>
                <a:gd name="T82" fmla="*/ 2147483647 w 43"/>
                <a:gd name="T83" fmla="*/ 2147483647 h 70"/>
                <a:gd name="T84" fmla="*/ 2147483647 w 43"/>
                <a:gd name="T85" fmla="*/ 2147483647 h 70"/>
                <a:gd name="T86" fmla="*/ 2147483647 w 43"/>
                <a:gd name="T87" fmla="*/ 2147483647 h 70"/>
                <a:gd name="T88" fmla="*/ 2147483647 w 43"/>
                <a:gd name="T89" fmla="*/ 2147483647 h 70"/>
                <a:gd name="T90" fmla="*/ 2147483647 w 43"/>
                <a:gd name="T91" fmla="*/ 2147483647 h 70"/>
                <a:gd name="T92" fmla="*/ 2147483647 w 43"/>
                <a:gd name="T93" fmla="*/ 2147483647 h 70"/>
                <a:gd name="T94" fmla="*/ 2147483647 w 43"/>
                <a:gd name="T95" fmla="*/ 2147483647 h 70"/>
                <a:gd name="T96" fmla="*/ 2147483647 w 43"/>
                <a:gd name="T97" fmla="*/ 2147483647 h 70"/>
                <a:gd name="T98" fmla="*/ 2147483647 w 43"/>
                <a:gd name="T99" fmla="*/ 2147483647 h 70"/>
                <a:gd name="T100" fmla="*/ 2147483647 w 43"/>
                <a:gd name="T101" fmla="*/ 2147483647 h 70"/>
                <a:gd name="T102" fmla="*/ 2147483647 w 43"/>
                <a:gd name="T103" fmla="*/ 2147483647 h 70"/>
                <a:gd name="T104" fmla="*/ 2147483647 w 43"/>
                <a:gd name="T105" fmla="*/ 2147483647 h 70"/>
                <a:gd name="T106" fmla="*/ 2147483647 w 43"/>
                <a:gd name="T107" fmla="*/ 2147483647 h 70"/>
                <a:gd name="T108" fmla="*/ 2147483647 w 43"/>
                <a:gd name="T109" fmla="*/ 2147483647 h 70"/>
                <a:gd name="T110" fmla="*/ 2147483647 w 43"/>
                <a:gd name="T111" fmla="*/ 0 h 70"/>
                <a:gd name="T112" fmla="*/ 2147483647 w 43"/>
                <a:gd name="T113" fmla="*/ 0 h 70"/>
                <a:gd name="T114" fmla="*/ 2147483647 w 43"/>
                <a:gd name="T115" fmla="*/ 2147483647 h 70"/>
                <a:gd name="T116" fmla="*/ 2147483647 w 43"/>
                <a:gd name="T117" fmla="*/ 0 h 70"/>
                <a:gd name="T118" fmla="*/ 2147483647 w 43"/>
                <a:gd name="T119" fmla="*/ 2147483647 h 70"/>
                <a:gd name="T120" fmla="*/ 2147483647 w 43"/>
                <a:gd name="T121" fmla="*/ 2147483647 h 7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connsiteX0" fmla="*/ 6279 w 10000"/>
                <a:gd name="connsiteY0" fmla="*/ 857 h 10000"/>
                <a:gd name="connsiteX1" fmla="*/ 5349 w 10000"/>
                <a:gd name="connsiteY1" fmla="*/ 1857 h 10000"/>
                <a:gd name="connsiteX2" fmla="*/ 4884 w 10000"/>
                <a:gd name="connsiteY2" fmla="*/ 2857 h 10000"/>
                <a:gd name="connsiteX3" fmla="*/ 5116 w 10000"/>
                <a:gd name="connsiteY3" fmla="*/ 3714 h 10000"/>
                <a:gd name="connsiteX4" fmla="*/ 5814 w 10000"/>
                <a:gd name="connsiteY4" fmla="*/ 5429 h 10000"/>
                <a:gd name="connsiteX5" fmla="*/ 5116 w 10000"/>
                <a:gd name="connsiteY5" fmla="*/ 5571 h 10000"/>
                <a:gd name="connsiteX6" fmla="*/ 4884 w 10000"/>
                <a:gd name="connsiteY6" fmla="*/ 6429 h 10000"/>
                <a:gd name="connsiteX7" fmla="*/ 4651 w 10000"/>
                <a:gd name="connsiteY7" fmla="*/ 6857 h 10000"/>
                <a:gd name="connsiteX8" fmla="*/ 5349 w 10000"/>
                <a:gd name="connsiteY8" fmla="*/ 7429 h 10000"/>
                <a:gd name="connsiteX9" fmla="*/ 5349 w 10000"/>
                <a:gd name="connsiteY9" fmla="*/ 7714 h 10000"/>
                <a:gd name="connsiteX10" fmla="*/ 3953 w 10000"/>
                <a:gd name="connsiteY10" fmla="*/ 7286 h 10000"/>
                <a:gd name="connsiteX11" fmla="*/ 2558 w 10000"/>
                <a:gd name="connsiteY11" fmla="*/ 6857 h 10000"/>
                <a:gd name="connsiteX12" fmla="*/ 1395 w 10000"/>
                <a:gd name="connsiteY12" fmla="*/ 6857 h 10000"/>
                <a:gd name="connsiteX13" fmla="*/ 1395 w 10000"/>
                <a:gd name="connsiteY13" fmla="*/ 7429 h 10000"/>
                <a:gd name="connsiteX14" fmla="*/ 0 w 10000"/>
                <a:gd name="connsiteY14" fmla="*/ 7571 h 10000"/>
                <a:gd name="connsiteX15" fmla="*/ 0 w 10000"/>
                <a:gd name="connsiteY15" fmla="*/ 9143 h 10000"/>
                <a:gd name="connsiteX16" fmla="*/ 465 w 10000"/>
                <a:gd name="connsiteY16" fmla="*/ 9714 h 10000"/>
                <a:gd name="connsiteX17" fmla="*/ 1395 w 10000"/>
                <a:gd name="connsiteY17" fmla="*/ 9714 h 10000"/>
                <a:gd name="connsiteX18" fmla="*/ 1860 w 10000"/>
                <a:gd name="connsiteY18" fmla="*/ 9857 h 10000"/>
                <a:gd name="connsiteX19" fmla="*/ 1628 w 10000"/>
                <a:gd name="connsiteY19" fmla="*/ 9857 h 10000"/>
                <a:gd name="connsiteX20" fmla="*/ 2093 w 10000"/>
                <a:gd name="connsiteY20" fmla="*/ 10000 h 10000"/>
                <a:gd name="connsiteX21" fmla="*/ 2558 w 10000"/>
                <a:gd name="connsiteY21" fmla="*/ 9857 h 10000"/>
                <a:gd name="connsiteX22" fmla="*/ 3488 w 10000"/>
                <a:gd name="connsiteY22" fmla="*/ 10000 h 10000"/>
                <a:gd name="connsiteX23" fmla="*/ 4186 w 10000"/>
                <a:gd name="connsiteY23" fmla="*/ 9571 h 10000"/>
                <a:gd name="connsiteX24" fmla="*/ 5116 w 10000"/>
                <a:gd name="connsiteY24" fmla="*/ 9000 h 10000"/>
                <a:gd name="connsiteX25" fmla="*/ 5814 w 10000"/>
                <a:gd name="connsiteY25" fmla="*/ 8857 h 10000"/>
                <a:gd name="connsiteX26" fmla="*/ 5581 w 10000"/>
                <a:gd name="connsiteY26" fmla="*/ 8857 h 10000"/>
                <a:gd name="connsiteX27" fmla="*/ 5581 w 10000"/>
                <a:gd name="connsiteY27" fmla="*/ 8714 h 10000"/>
                <a:gd name="connsiteX28" fmla="*/ 7674 w 10000"/>
                <a:gd name="connsiteY28" fmla="*/ 8143 h 10000"/>
                <a:gd name="connsiteX29" fmla="*/ 8605 w 10000"/>
                <a:gd name="connsiteY29" fmla="*/ 8429 h 10000"/>
                <a:gd name="connsiteX30" fmla="*/ 9070 w 10000"/>
                <a:gd name="connsiteY30" fmla="*/ 8857 h 10000"/>
                <a:gd name="connsiteX31" fmla="*/ 9302 w 10000"/>
                <a:gd name="connsiteY31" fmla="*/ 9143 h 10000"/>
                <a:gd name="connsiteX32" fmla="*/ 10000 w 10000"/>
                <a:gd name="connsiteY32" fmla="*/ 8857 h 10000"/>
                <a:gd name="connsiteX33" fmla="*/ 10000 w 10000"/>
                <a:gd name="connsiteY33" fmla="*/ 8429 h 10000"/>
                <a:gd name="connsiteX34" fmla="*/ 9302 w 10000"/>
                <a:gd name="connsiteY34" fmla="*/ 7714 h 10000"/>
                <a:gd name="connsiteX35" fmla="*/ 9302 w 10000"/>
                <a:gd name="connsiteY35" fmla="*/ 7000 h 10000"/>
                <a:gd name="connsiteX36" fmla="*/ 9535 w 10000"/>
                <a:gd name="connsiteY36" fmla="*/ 7000 h 10000"/>
                <a:gd name="connsiteX37" fmla="*/ 9070 w 10000"/>
                <a:gd name="connsiteY37" fmla="*/ 6286 h 10000"/>
                <a:gd name="connsiteX38" fmla="*/ 8837 w 10000"/>
                <a:gd name="connsiteY38" fmla="*/ 6000 h 10000"/>
                <a:gd name="connsiteX39" fmla="*/ 7674 w 10000"/>
                <a:gd name="connsiteY39" fmla="*/ 5857 h 10000"/>
                <a:gd name="connsiteX40" fmla="*/ 6512 w 10000"/>
                <a:gd name="connsiteY40" fmla="*/ 5571 h 10000"/>
                <a:gd name="connsiteX41" fmla="*/ 6047 w 10000"/>
                <a:gd name="connsiteY41" fmla="*/ 4857 h 10000"/>
                <a:gd name="connsiteX42" fmla="*/ 5581 w 10000"/>
                <a:gd name="connsiteY42" fmla="*/ 3714 h 10000"/>
                <a:gd name="connsiteX43" fmla="*/ 6047 w 10000"/>
                <a:gd name="connsiteY43" fmla="*/ 3286 h 10000"/>
                <a:gd name="connsiteX44" fmla="*/ 5814 w 10000"/>
                <a:gd name="connsiteY44" fmla="*/ 2286 h 10000"/>
                <a:gd name="connsiteX45" fmla="*/ 6977 w 10000"/>
                <a:gd name="connsiteY45" fmla="*/ 2286 h 10000"/>
                <a:gd name="connsiteX46" fmla="*/ 7442 w 10000"/>
                <a:gd name="connsiteY46" fmla="*/ 2857 h 10000"/>
                <a:gd name="connsiteX47" fmla="*/ 8372 w 10000"/>
                <a:gd name="connsiteY47" fmla="*/ 2857 h 10000"/>
                <a:gd name="connsiteX48" fmla="*/ 8372 w 10000"/>
                <a:gd name="connsiteY48" fmla="*/ 2429 h 10000"/>
                <a:gd name="connsiteX49" fmla="*/ 8605 w 10000"/>
                <a:gd name="connsiteY49" fmla="*/ 2143 h 10000"/>
                <a:gd name="connsiteX50" fmla="*/ 8837 w 10000"/>
                <a:gd name="connsiteY50" fmla="*/ 2286 h 10000"/>
                <a:gd name="connsiteX51" fmla="*/ 8605 w 10000"/>
                <a:gd name="connsiteY51" fmla="*/ 1429 h 10000"/>
                <a:gd name="connsiteX52" fmla="*/ 9070 w 10000"/>
                <a:gd name="connsiteY52" fmla="*/ 857 h 10000"/>
                <a:gd name="connsiteX53" fmla="*/ 9070 w 10000"/>
                <a:gd name="connsiteY53" fmla="*/ 286 h 10000"/>
                <a:gd name="connsiteX54" fmla="*/ 8605 w 10000"/>
                <a:gd name="connsiteY54" fmla="*/ 0 h 10000"/>
                <a:gd name="connsiteX55" fmla="*/ 8140 w 10000"/>
                <a:gd name="connsiteY55" fmla="*/ 0 h 10000"/>
                <a:gd name="connsiteX56" fmla="*/ 6512 w 10000"/>
                <a:gd name="connsiteY56" fmla="*/ 143 h 10000"/>
                <a:gd name="connsiteX57" fmla="*/ 6279 w 10000"/>
                <a:gd name="connsiteY57" fmla="*/ 0 h 10000"/>
                <a:gd name="connsiteX58" fmla="*/ 6279 w 10000"/>
                <a:gd name="connsiteY58" fmla="*/ 714 h 10000"/>
                <a:gd name="connsiteX59" fmla="*/ 6279 w 10000"/>
                <a:gd name="connsiteY59" fmla="*/ 857 h 10000"/>
                <a:gd name="connsiteX0" fmla="*/ 6279 w 10000"/>
                <a:gd name="connsiteY0" fmla="*/ 857 h 10000"/>
                <a:gd name="connsiteX1" fmla="*/ 5349 w 10000"/>
                <a:gd name="connsiteY1" fmla="*/ 1857 h 10000"/>
                <a:gd name="connsiteX2" fmla="*/ 4884 w 10000"/>
                <a:gd name="connsiteY2" fmla="*/ 2857 h 10000"/>
                <a:gd name="connsiteX3" fmla="*/ 5116 w 10000"/>
                <a:gd name="connsiteY3" fmla="*/ 3714 h 10000"/>
                <a:gd name="connsiteX4" fmla="*/ 5116 w 10000"/>
                <a:gd name="connsiteY4" fmla="*/ 5571 h 10000"/>
                <a:gd name="connsiteX5" fmla="*/ 4884 w 10000"/>
                <a:gd name="connsiteY5" fmla="*/ 6429 h 10000"/>
                <a:gd name="connsiteX6" fmla="*/ 4651 w 10000"/>
                <a:gd name="connsiteY6" fmla="*/ 6857 h 10000"/>
                <a:gd name="connsiteX7" fmla="*/ 5349 w 10000"/>
                <a:gd name="connsiteY7" fmla="*/ 7429 h 10000"/>
                <a:gd name="connsiteX8" fmla="*/ 5349 w 10000"/>
                <a:gd name="connsiteY8" fmla="*/ 7714 h 10000"/>
                <a:gd name="connsiteX9" fmla="*/ 3953 w 10000"/>
                <a:gd name="connsiteY9" fmla="*/ 7286 h 10000"/>
                <a:gd name="connsiteX10" fmla="*/ 2558 w 10000"/>
                <a:gd name="connsiteY10" fmla="*/ 6857 h 10000"/>
                <a:gd name="connsiteX11" fmla="*/ 1395 w 10000"/>
                <a:gd name="connsiteY11" fmla="*/ 6857 h 10000"/>
                <a:gd name="connsiteX12" fmla="*/ 1395 w 10000"/>
                <a:gd name="connsiteY12" fmla="*/ 7429 h 10000"/>
                <a:gd name="connsiteX13" fmla="*/ 0 w 10000"/>
                <a:gd name="connsiteY13" fmla="*/ 7571 h 10000"/>
                <a:gd name="connsiteX14" fmla="*/ 0 w 10000"/>
                <a:gd name="connsiteY14" fmla="*/ 9143 h 10000"/>
                <a:gd name="connsiteX15" fmla="*/ 465 w 10000"/>
                <a:gd name="connsiteY15" fmla="*/ 9714 h 10000"/>
                <a:gd name="connsiteX16" fmla="*/ 1395 w 10000"/>
                <a:gd name="connsiteY16" fmla="*/ 9714 h 10000"/>
                <a:gd name="connsiteX17" fmla="*/ 1860 w 10000"/>
                <a:gd name="connsiteY17" fmla="*/ 9857 h 10000"/>
                <a:gd name="connsiteX18" fmla="*/ 1628 w 10000"/>
                <a:gd name="connsiteY18" fmla="*/ 9857 h 10000"/>
                <a:gd name="connsiteX19" fmla="*/ 2093 w 10000"/>
                <a:gd name="connsiteY19" fmla="*/ 10000 h 10000"/>
                <a:gd name="connsiteX20" fmla="*/ 2558 w 10000"/>
                <a:gd name="connsiteY20" fmla="*/ 9857 h 10000"/>
                <a:gd name="connsiteX21" fmla="*/ 3488 w 10000"/>
                <a:gd name="connsiteY21" fmla="*/ 10000 h 10000"/>
                <a:gd name="connsiteX22" fmla="*/ 4186 w 10000"/>
                <a:gd name="connsiteY22" fmla="*/ 9571 h 10000"/>
                <a:gd name="connsiteX23" fmla="*/ 5116 w 10000"/>
                <a:gd name="connsiteY23" fmla="*/ 9000 h 10000"/>
                <a:gd name="connsiteX24" fmla="*/ 5814 w 10000"/>
                <a:gd name="connsiteY24" fmla="*/ 8857 h 10000"/>
                <a:gd name="connsiteX25" fmla="*/ 5581 w 10000"/>
                <a:gd name="connsiteY25" fmla="*/ 8857 h 10000"/>
                <a:gd name="connsiteX26" fmla="*/ 5581 w 10000"/>
                <a:gd name="connsiteY26" fmla="*/ 8714 h 10000"/>
                <a:gd name="connsiteX27" fmla="*/ 7674 w 10000"/>
                <a:gd name="connsiteY27" fmla="*/ 8143 h 10000"/>
                <a:gd name="connsiteX28" fmla="*/ 8605 w 10000"/>
                <a:gd name="connsiteY28" fmla="*/ 8429 h 10000"/>
                <a:gd name="connsiteX29" fmla="*/ 9070 w 10000"/>
                <a:gd name="connsiteY29" fmla="*/ 8857 h 10000"/>
                <a:gd name="connsiteX30" fmla="*/ 9302 w 10000"/>
                <a:gd name="connsiteY30" fmla="*/ 9143 h 10000"/>
                <a:gd name="connsiteX31" fmla="*/ 10000 w 10000"/>
                <a:gd name="connsiteY31" fmla="*/ 8857 h 10000"/>
                <a:gd name="connsiteX32" fmla="*/ 10000 w 10000"/>
                <a:gd name="connsiteY32" fmla="*/ 8429 h 10000"/>
                <a:gd name="connsiteX33" fmla="*/ 9302 w 10000"/>
                <a:gd name="connsiteY33" fmla="*/ 7714 h 10000"/>
                <a:gd name="connsiteX34" fmla="*/ 9302 w 10000"/>
                <a:gd name="connsiteY34" fmla="*/ 7000 h 10000"/>
                <a:gd name="connsiteX35" fmla="*/ 9535 w 10000"/>
                <a:gd name="connsiteY35" fmla="*/ 7000 h 10000"/>
                <a:gd name="connsiteX36" fmla="*/ 9070 w 10000"/>
                <a:gd name="connsiteY36" fmla="*/ 6286 h 10000"/>
                <a:gd name="connsiteX37" fmla="*/ 8837 w 10000"/>
                <a:gd name="connsiteY37" fmla="*/ 6000 h 10000"/>
                <a:gd name="connsiteX38" fmla="*/ 7674 w 10000"/>
                <a:gd name="connsiteY38" fmla="*/ 5857 h 10000"/>
                <a:gd name="connsiteX39" fmla="*/ 6512 w 10000"/>
                <a:gd name="connsiteY39" fmla="*/ 5571 h 10000"/>
                <a:gd name="connsiteX40" fmla="*/ 6047 w 10000"/>
                <a:gd name="connsiteY40" fmla="*/ 4857 h 10000"/>
                <a:gd name="connsiteX41" fmla="*/ 5581 w 10000"/>
                <a:gd name="connsiteY41" fmla="*/ 3714 h 10000"/>
                <a:gd name="connsiteX42" fmla="*/ 6047 w 10000"/>
                <a:gd name="connsiteY42" fmla="*/ 3286 h 10000"/>
                <a:gd name="connsiteX43" fmla="*/ 5814 w 10000"/>
                <a:gd name="connsiteY43" fmla="*/ 2286 h 10000"/>
                <a:gd name="connsiteX44" fmla="*/ 6977 w 10000"/>
                <a:gd name="connsiteY44" fmla="*/ 2286 h 10000"/>
                <a:gd name="connsiteX45" fmla="*/ 7442 w 10000"/>
                <a:gd name="connsiteY45" fmla="*/ 2857 h 10000"/>
                <a:gd name="connsiteX46" fmla="*/ 8372 w 10000"/>
                <a:gd name="connsiteY46" fmla="*/ 2857 h 10000"/>
                <a:gd name="connsiteX47" fmla="*/ 8372 w 10000"/>
                <a:gd name="connsiteY47" fmla="*/ 2429 h 10000"/>
                <a:gd name="connsiteX48" fmla="*/ 8605 w 10000"/>
                <a:gd name="connsiteY48" fmla="*/ 2143 h 10000"/>
                <a:gd name="connsiteX49" fmla="*/ 8837 w 10000"/>
                <a:gd name="connsiteY49" fmla="*/ 2286 h 10000"/>
                <a:gd name="connsiteX50" fmla="*/ 8605 w 10000"/>
                <a:gd name="connsiteY50" fmla="*/ 1429 h 10000"/>
                <a:gd name="connsiteX51" fmla="*/ 9070 w 10000"/>
                <a:gd name="connsiteY51" fmla="*/ 857 h 10000"/>
                <a:gd name="connsiteX52" fmla="*/ 9070 w 10000"/>
                <a:gd name="connsiteY52" fmla="*/ 286 h 10000"/>
                <a:gd name="connsiteX53" fmla="*/ 8605 w 10000"/>
                <a:gd name="connsiteY53" fmla="*/ 0 h 10000"/>
                <a:gd name="connsiteX54" fmla="*/ 8140 w 10000"/>
                <a:gd name="connsiteY54" fmla="*/ 0 h 10000"/>
                <a:gd name="connsiteX55" fmla="*/ 6512 w 10000"/>
                <a:gd name="connsiteY55" fmla="*/ 143 h 10000"/>
                <a:gd name="connsiteX56" fmla="*/ 6279 w 10000"/>
                <a:gd name="connsiteY56" fmla="*/ 0 h 10000"/>
                <a:gd name="connsiteX57" fmla="*/ 6279 w 10000"/>
                <a:gd name="connsiteY57" fmla="*/ 714 h 10000"/>
                <a:gd name="connsiteX58" fmla="*/ 6279 w 10000"/>
                <a:gd name="connsiteY58" fmla="*/ 857 h 10000"/>
                <a:gd name="connsiteX0" fmla="*/ 6279 w 10000"/>
                <a:gd name="connsiteY0" fmla="*/ 857 h 10000"/>
                <a:gd name="connsiteX1" fmla="*/ 5349 w 10000"/>
                <a:gd name="connsiteY1" fmla="*/ 1857 h 10000"/>
                <a:gd name="connsiteX2" fmla="*/ 4884 w 10000"/>
                <a:gd name="connsiteY2" fmla="*/ 2857 h 10000"/>
                <a:gd name="connsiteX3" fmla="*/ 5116 w 10000"/>
                <a:gd name="connsiteY3" fmla="*/ 3714 h 10000"/>
                <a:gd name="connsiteX4" fmla="*/ 4884 w 10000"/>
                <a:gd name="connsiteY4" fmla="*/ 6429 h 10000"/>
                <a:gd name="connsiteX5" fmla="*/ 4651 w 10000"/>
                <a:gd name="connsiteY5" fmla="*/ 6857 h 10000"/>
                <a:gd name="connsiteX6" fmla="*/ 5349 w 10000"/>
                <a:gd name="connsiteY6" fmla="*/ 7429 h 10000"/>
                <a:gd name="connsiteX7" fmla="*/ 5349 w 10000"/>
                <a:gd name="connsiteY7" fmla="*/ 7714 h 10000"/>
                <a:gd name="connsiteX8" fmla="*/ 3953 w 10000"/>
                <a:gd name="connsiteY8" fmla="*/ 7286 h 10000"/>
                <a:gd name="connsiteX9" fmla="*/ 2558 w 10000"/>
                <a:gd name="connsiteY9" fmla="*/ 6857 h 10000"/>
                <a:gd name="connsiteX10" fmla="*/ 1395 w 10000"/>
                <a:gd name="connsiteY10" fmla="*/ 6857 h 10000"/>
                <a:gd name="connsiteX11" fmla="*/ 1395 w 10000"/>
                <a:gd name="connsiteY11" fmla="*/ 7429 h 10000"/>
                <a:gd name="connsiteX12" fmla="*/ 0 w 10000"/>
                <a:gd name="connsiteY12" fmla="*/ 7571 h 10000"/>
                <a:gd name="connsiteX13" fmla="*/ 0 w 10000"/>
                <a:gd name="connsiteY13" fmla="*/ 9143 h 10000"/>
                <a:gd name="connsiteX14" fmla="*/ 465 w 10000"/>
                <a:gd name="connsiteY14" fmla="*/ 9714 h 10000"/>
                <a:gd name="connsiteX15" fmla="*/ 1395 w 10000"/>
                <a:gd name="connsiteY15" fmla="*/ 9714 h 10000"/>
                <a:gd name="connsiteX16" fmla="*/ 1860 w 10000"/>
                <a:gd name="connsiteY16" fmla="*/ 9857 h 10000"/>
                <a:gd name="connsiteX17" fmla="*/ 1628 w 10000"/>
                <a:gd name="connsiteY17" fmla="*/ 9857 h 10000"/>
                <a:gd name="connsiteX18" fmla="*/ 2093 w 10000"/>
                <a:gd name="connsiteY18" fmla="*/ 10000 h 10000"/>
                <a:gd name="connsiteX19" fmla="*/ 2558 w 10000"/>
                <a:gd name="connsiteY19" fmla="*/ 9857 h 10000"/>
                <a:gd name="connsiteX20" fmla="*/ 3488 w 10000"/>
                <a:gd name="connsiteY20" fmla="*/ 10000 h 10000"/>
                <a:gd name="connsiteX21" fmla="*/ 4186 w 10000"/>
                <a:gd name="connsiteY21" fmla="*/ 9571 h 10000"/>
                <a:gd name="connsiteX22" fmla="*/ 5116 w 10000"/>
                <a:gd name="connsiteY22" fmla="*/ 9000 h 10000"/>
                <a:gd name="connsiteX23" fmla="*/ 5814 w 10000"/>
                <a:gd name="connsiteY23" fmla="*/ 8857 h 10000"/>
                <a:gd name="connsiteX24" fmla="*/ 5581 w 10000"/>
                <a:gd name="connsiteY24" fmla="*/ 8857 h 10000"/>
                <a:gd name="connsiteX25" fmla="*/ 5581 w 10000"/>
                <a:gd name="connsiteY25" fmla="*/ 8714 h 10000"/>
                <a:gd name="connsiteX26" fmla="*/ 7674 w 10000"/>
                <a:gd name="connsiteY26" fmla="*/ 8143 h 10000"/>
                <a:gd name="connsiteX27" fmla="*/ 8605 w 10000"/>
                <a:gd name="connsiteY27" fmla="*/ 8429 h 10000"/>
                <a:gd name="connsiteX28" fmla="*/ 9070 w 10000"/>
                <a:gd name="connsiteY28" fmla="*/ 8857 h 10000"/>
                <a:gd name="connsiteX29" fmla="*/ 9302 w 10000"/>
                <a:gd name="connsiteY29" fmla="*/ 9143 h 10000"/>
                <a:gd name="connsiteX30" fmla="*/ 10000 w 10000"/>
                <a:gd name="connsiteY30" fmla="*/ 8857 h 10000"/>
                <a:gd name="connsiteX31" fmla="*/ 10000 w 10000"/>
                <a:gd name="connsiteY31" fmla="*/ 8429 h 10000"/>
                <a:gd name="connsiteX32" fmla="*/ 9302 w 10000"/>
                <a:gd name="connsiteY32" fmla="*/ 7714 h 10000"/>
                <a:gd name="connsiteX33" fmla="*/ 9302 w 10000"/>
                <a:gd name="connsiteY33" fmla="*/ 7000 h 10000"/>
                <a:gd name="connsiteX34" fmla="*/ 9535 w 10000"/>
                <a:gd name="connsiteY34" fmla="*/ 7000 h 10000"/>
                <a:gd name="connsiteX35" fmla="*/ 9070 w 10000"/>
                <a:gd name="connsiteY35" fmla="*/ 6286 h 10000"/>
                <a:gd name="connsiteX36" fmla="*/ 8837 w 10000"/>
                <a:gd name="connsiteY36" fmla="*/ 6000 h 10000"/>
                <a:gd name="connsiteX37" fmla="*/ 7674 w 10000"/>
                <a:gd name="connsiteY37" fmla="*/ 5857 h 10000"/>
                <a:gd name="connsiteX38" fmla="*/ 6512 w 10000"/>
                <a:gd name="connsiteY38" fmla="*/ 5571 h 10000"/>
                <a:gd name="connsiteX39" fmla="*/ 6047 w 10000"/>
                <a:gd name="connsiteY39" fmla="*/ 4857 h 10000"/>
                <a:gd name="connsiteX40" fmla="*/ 5581 w 10000"/>
                <a:gd name="connsiteY40" fmla="*/ 3714 h 10000"/>
                <a:gd name="connsiteX41" fmla="*/ 6047 w 10000"/>
                <a:gd name="connsiteY41" fmla="*/ 3286 h 10000"/>
                <a:gd name="connsiteX42" fmla="*/ 5814 w 10000"/>
                <a:gd name="connsiteY42" fmla="*/ 2286 h 10000"/>
                <a:gd name="connsiteX43" fmla="*/ 6977 w 10000"/>
                <a:gd name="connsiteY43" fmla="*/ 2286 h 10000"/>
                <a:gd name="connsiteX44" fmla="*/ 7442 w 10000"/>
                <a:gd name="connsiteY44" fmla="*/ 2857 h 10000"/>
                <a:gd name="connsiteX45" fmla="*/ 8372 w 10000"/>
                <a:gd name="connsiteY45" fmla="*/ 2857 h 10000"/>
                <a:gd name="connsiteX46" fmla="*/ 8372 w 10000"/>
                <a:gd name="connsiteY46" fmla="*/ 2429 h 10000"/>
                <a:gd name="connsiteX47" fmla="*/ 8605 w 10000"/>
                <a:gd name="connsiteY47" fmla="*/ 2143 h 10000"/>
                <a:gd name="connsiteX48" fmla="*/ 8837 w 10000"/>
                <a:gd name="connsiteY48" fmla="*/ 2286 h 10000"/>
                <a:gd name="connsiteX49" fmla="*/ 8605 w 10000"/>
                <a:gd name="connsiteY49" fmla="*/ 1429 h 10000"/>
                <a:gd name="connsiteX50" fmla="*/ 9070 w 10000"/>
                <a:gd name="connsiteY50" fmla="*/ 857 h 10000"/>
                <a:gd name="connsiteX51" fmla="*/ 9070 w 10000"/>
                <a:gd name="connsiteY51" fmla="*/ 286 h 10000"/>
                <a:gd name="connsiteX52" fmla="*/ 8605 w 10000"/>
                <a:gd name="connsiteY52" fmla="*/ 0 h 10000"/>
                <a:gd name="connsiteX53" fmla="*/ 8140 w 10000"/>
                <a:gd name="connsiteY53" fmla="*/ 0 h 10000"/>
                <a:gd name="connsiteX54" fmla="*/ 6512 w 10000"/>
                <a:gd name="connsiteY54" fmla="*/ 143 h 10000"/>
                <a:gd name="connsiteX55" fmla="*/ 6279 w 10000"/>
                <a:gd name="connsiteY55" fmla="*/ 0 h 10000"/>
                <a:gd name="connsiteX56" fmla="*/ 6279 w 10000"/>
                <a:gd name="connsiteY56" fmla="*/ 714 h 10000"/>
                <a:gd name="connsiteX57" fmla="*/ 6279 w 10000"/>
                <a:gd name="connsiteY57" fmla="*/ 857 h 10000"/>
                <a:gd name="connsiteX0" fmla="*/ 6279 w 10000"/>
                <a:gd name="connsiteY0" fmla="*/ 857 h 10000"/>
                <a:gd name="connsiteX1" fmla="*/ 5349 w 10000"/>
                <a:gd name="connsiteY1" fmla="*/ 1857 h 10000"/>
                <a:gd name="connsiteX2" fmla="*/ 4884 w 10000"/>
                <a:gd name="connsiteY2" fmla="*/ 2857 h 10000"/>
                <a:gd name="connsiteX3" fmla="*/ 5116 w 10000"/>
                <a:gd name="connsiteY3" fmla="*/ 3714 h 10000"/>
                <a:gd name="connsiteX4" fmla="*/ 4651 w 10000"/>
                <a:gd name="connsiteY4" fmla="*/ 6857 h 10000"/>
                <a:gd name="connsiteX5" fmla="*/ 5349 w 10000"/>
                <a:gd name="connsiteY5" fmla="*/ 7429 h 10000"/>
                <a:gd name="connsiteX6" fmla="*/ 5349 w 10000"/>
                <a:gd name="connsiteY6" fmla="*/ 7714 h 10000"/>
                <a:gd name="connsiteX7" fmla="*/ 3953 w 10000"/>
                <a:gd name="connsiteY7" fmla="*/ 7286 h 10000"/>
                <a:gd name="connsiteX8" fmla="*/ 2558 w 10000"/>
                <a:gd name="connsiteY8" fmla="*/ 6857 h 10000"/>
                <a:gd name="connsiteX9" fmla="*/ 1395 w 10000"/>
                <a:gd name="connsiteY9" fmla="*/ 6857 h 10000"/>
                <a:gd name="connsiteX10" fmla="*/ 1395 w 10000"/>
                <a:gd name="connsiteY10" fmla="*/ 7429 h 10000"/>
                <a:gd name="connsiteX11" fmla="*/ 0 w 10000"/>
                <a:gd name="connsiteY11" fmla="*/ 7571 h 10000"/>
                <a:gd name="connsiteX12" fmla="*/ 0 w 10000"/>
                <a:gd name="connsiteY12" fmla="*/ 9143 h 10000"/>
                <a:gd name="connsiteX13" fmla="*/ 465 w 10000"/>
                <a:gd name="connsiteY13" fmla="*/ 9714 h 10000"/>
                <a:gd name="connsiteX14" fmla="*/ 1395 w 10000"/>
                <a:gd name="connsiteY14" fmla="*/ 9714 h 10000"/>
                <a:gd name="connsiteX15" fmla="*/ 1860 w 10000"/>
                <a:gd name="connsiteY15" fmla="*/ 9857 h 10000"/>
                <a:gd name="connsiteX16" fmla="*/ 1628 w 10000"/>
                <a:gd name="connsiteY16" fmla="*/ 9857 h 10000"/>
                <a:gd name="connsiteX17" fmla="*/ 2093 w 10000"/>
                <a:gd name="connsiteY17" fmla="*/ 10000 h 10000"/>
                <a:gd name="connsiteX18" fmla="*/ 2558 w 10000"/>
                <a:gd name="connsiteY18" fmla="*/ 9857 h 10000"/>
                <a:gd name="connsiteX19" fmla="*/ 3488 w 10000"/>
                <a:gd name="connsiteY19" fmla="*/ 10000 h 10000"/>
                <a:gd name="connsiteX20" fmla="*/ 4186 w 10000"/>
                <a:gd name="connsiteY20" fmla="*/ 9571 h 10000"/>
                <a:gd name="connsiteX21" fmla="*/ 5116 w 10000"/>
                <a:gd name="connsiteY21" fmla="*/ 9000 h 10000"/>
                <a:gd name="connsiteX22" fmla="*/ 5814 w 10000"/>
                <a:gd name="connsiteY22" fmla="*/ 8857 h 10000"/>
                <a:gd name="connsiteX23" fmla="*/ 5581 w 10000"/>
                <a:gd name="connsiteY23" fmla="*/ 8857 h 10000"/>
                <a:gd name="connsiteX24" fmla="*/ 5581 w 10000"/>
                <a:gd name="connsiteY24" fmla="*/ 8714 h 10000"/>
                <a:gd name="connsiteX25" fmla="*/ 7674 w 10000"/>
                <a:gd name="connsiteY25" fmla="*/ 8143 h 10000"/>
                <a:gd name="connsiteX26" fmla="*/ 8605 w 10000"/>
                <a:gd name="connsiteY26" fmla="*/ 8429 h 10000"/>
                <a:gd name="connsiteX27" fmla="*/ 9070 w 10000"/>
                <a:gd name="connsiteY27" fmla="*/ 8857 h 10000"/>
                <a:gd name="connsiteX28" fmla="*/ 9302 w 10000"/>
                <a:gd name="connsiteY28" fmla="*/ 9143 h 10000"/>
                <a:gd name="connsiteX29" fmla="*/ 10000 w 10000"/>
                <a:gd name="connsiteY29" fmla="*/ 8857 h 10000"/>
                <a:gd name="connsiteX30" fmla="*/ 10000 w 10000"/>
                <a:gd name="connsiteY30" fmla="*/ 8429 h 10000"/>
                <a:gd name="connsiteX31" fmla="*/ 9302 w 10000"/>
                <a:gd name="connsiteY31" fmla="*/ 7714 h 10000"/>
                <a:gd name="connsiteX32" fmla="*/ 9302 w 10000"/>
                <a:gd name="connsiteY32" fmla="*/ 7000 h 10000"/>
                <a:gd name="connsiteX33" fmla="*/ 9535 w 10000"/>
                <a:gd name="connsiteY33" fmla="*/ 7000 h 10000"/>
                <a:gd name="connsiteX34" fmla="*/ 9070 w 10000"/>
                <a:gd name="connsiteY34" fmla="*/ 6286 h 10000"/>
                <a:gd name="connsiteX35" fmla="*/ 8837 w 10000"/>
                <a:gd name="connsiteY35" fmla="*/ 6000 h 10000"/>
                <a:gd name="connsiteX36" fmla="*/ 7674 w 10000"/>
                <a:gd name="connsiteY36" fmla="*/ 5857 h 10000"/>
                <a:gd name="connsiteX37" fmla="*/ 6512 w 10000"/>
                <a:gd name="connsiteY37" fmla="*/ 5571 h 10000"/>
                <a:gd name="connsiteX38" fmla="*/ 6047 w 10000"/>
                <a:gd name="connsiteY38" fmla="*/ 4857 h 10000"/>
                <a:gd name="connsiteX39" fmla="*/ 5581 w 10000"/>
                <a:gd name="connsiteY39" fmla="*/ 3714 h 10000"/>
                <a:gd name="connsiteX40" fmla="*/ 6047 w 10000"/>
                <a:gd name="connsiteY40" fmla="*/ 3286 h 10000"/>
                <a:gd name="connsiteX41" fmla="*/ 5814 w 10000"/>
                <a:gd name="connsiteY41" fmla="*/ 2286 h 10000"/>
                <a:gd name="connsiteX42" fmla="*/ 6977 w 10000"/>
                <a:gd name="connsiteY42" fmla="*/ 2286 h 10000"/>
                <a:gd name="connsiteX43" fmla="*/ 7442 w 10000"/>
                <a:gd name="connsiteY43" fmla="*/ 2857 h 10000"/>
                <a:gd name="connsiteX44" fmla="*/ 8372 w 10000"/>
                <a:gd name="connsiteY44" fmla="*/ 2857 h 10000"/>
                <a:gd name="connsiteX45" fmla="*/ 8372 w 10000"/>
                <a:gd name="connsiteY45" fmla="*/ 2429 h 10000"/>
                <a:gd name="connsiteX46" fmla="*/ 8605 w 10000"/>
                <a:gd name="connsiteY46" fmla="*/ 2143 h 10000"/>
                <a:gd name="connsiteX47" fmla="*/ 8837 w 10000"/>
                <a:gd name="connsiteY47" fmla="*/ 2286 h 10000"/>
                <a:gd name="connsiteX48" fmla="*/ 8605 w 10000"/>
                <a:gd name="connsiteY48" fmla="*/ 1429 h 10000"/>
                <a:gd name="connsiteX49" fmla="*/ 9070 w 10000"/>
                <a:gd name="connsiteY49" fmla="*/ 857 h 10000"/>
                <a:gd name="connsiteX50" fmla="*/ 9070 w 10000"/>
                <a:gd name="connsiteY50" fmla="*/ 286 h 10000"/>
                <a:gd name="connsiteX51" fmla="*/ 8605 w 10000"/>
                <a:gd name="connsiteY51" fmla="*/ 0 h 10000"/>
                <a:gd name="connsiteX52" fmla="*/ 8140 w 10000"/>
                <a:gd name="connsiteY52" fmla="*/ 0 h 10000"/>
                <a:gd name="connsiteX53" fmla="*/ 6512 w 10000"/>
                <a:gd name="connsiteY53" fmla="*/ 143 h 10000"/>
                <a:gd name="connsiteX54" fmla="*/ 6279 w 10000"/>
                <a:gd name="connsiteY54" fmla="*/ 0 h 10000"/>
                <a:gd name="connsiteX55" fmla="*/ 6279 w 10000"/>
                <a:gd name="connsiteY55" fmla="*/ 714 h 10000"/>
                <a:gd name="connsiteX56" fmla="*/ 6279 w 10000"/>
                <a:gd name="connsiteY56" fmla="*/ 857 h 10000"/>
                <a:gd name="connsiteX0" fmla="*/ 6279 w 10000"/>
                <a:gd name="connsiteY0" fmla="*/ 857 h 10000"/>
                <a:gd name="connsiteX1" fmla="*/ 5349 w 10000"/>
                <a:gd name="connsiteY1" fmla="*/ 1857 h 10000"/>
                <a:gd name="connsiteX2" fmla="*/ 4884 w 10000"/>
                <a:gd name="connsiteY2" fmla="*/ 2857 h 10000"/>
                <a:gd name="connsiteX3" fmla="*/ 5116 w 10000"/>
                <a:gd name="connsiteY3" fmla="*/ 3714 h 10000"/>
                <a:gd name="connsiteX4" fmla="*/ 5349 w 10000"/>
                <a:gd name="connsiteY4" fmla="*/ 7429 h 10000"/>
                <a:gd name="connsiteX5" fmla="*/ 5349 w 10000"/>
                <a:gd name="connsiteY5" fmla="*/ 7714 h 10000"/>
                <a:gd name="connsiteX6" fmla="*/ 3953 w 10000"/>
                <a:gd name="connsiteY6" fmla="*/ 7286 h 10000"/>
                <a:gd name="connsiteX7" fmla="*/ 2558 w 10000"/>
                <a:gd name="connsiteY7" fmla="*/ 6857 h 10000"/>
                <a:gd name="connsiteX8" fmla="*/ 1395 w 10000"/>
                <a:gd name="connsiteY8" fmla="*/ 6857 h 10000"/>
                <a:gd name="connsiteX9" fmla="*/ 1395 w 10000"/>
                <a:gd name="connsiteY9" fmla="*/ 7429 h 10000"/>
                <a:gd name="connsiteX10" fmla="*/ 0 w 10000"/>
                <a:gd name="connsiteY10" fmla="*/ 7571 h 10000"/>
                <a:gd name="connsiteX11" fmla="*/ 0 w 10000"/>
                <a:gd name="connsiteY11" fmla="*/ 9143 h 10000"/>
                <a:gd name="connsiteX12" fmla="*/ 465 w 10000"/>
                <a:gd name="connsiteY12" fmla="*/ 9714 h 10000"/>
                <a:gd name="connsiteX13" fmla="*/ 1395 w 10000"/>
                <a:gd name="connsiteY13" fmla="*/ 9714 h 10000"/>
                <a:gd name="connsiteX14" fmla="*/ 1860 w 10000"/>
                <a:gd name="connsiteY14" fmla="*/ 9857 h 10000"/>
                <a:gd name="connsiteX15" fmla="*/ 1628 w 10000"/>
                <a:gd name="connsiteY15" fmla="*/ 9857 h 10000"/>
                <a:gd name="connsiteX16" fmla="*/ 2093 w 10000"/>
                <a:gd name="connsiteY16" fmla="*/ 10000 h 10000"/>
                <a:gd name="connsiteX17" fmla="*/ 2558 w 10000"/>
                <a:gd name="connsiteY17" fmla="*/ 9857 h 10000"/>
                <a:gd name="connsiteX18" fmla="*/ 3488 w 10000"/>
                <a:gd name="connsiteY18" fmla="*/ 10000 h 10000"/>
                <a:gd name="connsiteX19" fmla="*/ 4186 w 10000"/>
                <a:gd name="connsiteY19" fmla="*/ 9571 h 10000"/>
                <a:gd name="connsiteX20" fmla="*/ 5116 w 10000"/>
                <a:gd name="connsiteY20" fmla="*/ 9000 h 10000"/>
                <a:gd name="connsiteX21" fmla="*/ 5814 w 10000"/>
                <a:gd name="connsiteY21" fmla="*/ 8857 h 10000"/>
                <a:gd name="connsiteX22" fmla="*/ 5581 w 10000"/>
                <a:gd name="connsiteY22" fmla="*/ 8857 h 10000"/>
                <a:gd name="connsiteX23" fmla="*/ 5581 w 10000"/>
                <a:gd name="connsiteY23" fmla="*/ 8714 h 10000"/>
                <a:gd name="connsiteX24" fmla="*/ 7674 w 10000"/>
                <a:gd name="connsiteY24" fmla="*/ 8143 h 10000"/>
                <a:gd name="connsiteX25" fmla="*/ 8605 w 10000"/>
                <a:gd name="connsiteY25" fmla="*/ 8429 h 10000"/>
                <a:gd name="connsiteX26" fmla="*/ 9070 w 10000"/>
                <a:gd name="connsiteY26" fmla="*/ 8857 h 10000"/>
                <a:gd name="connsiteX27" fmla="*/ 9302 w 10000"/>
                <a:gd name="connsiteY27" fmla="*/ 9143 h 10000"/>
                <a:gd name="connsiteX28" fmla="*/ 10000 w 10000"/>
                <a:gd name="connsiteY28" fmla="*/ 8857 h 10000"/>
                <a:gd name="connsiteX29" fmla="*/ 10000 w 10000"/>
                <a:gd name="connsiteY29" fmla="*/ 8429 h 10000"/>
                <a:gd name="connsiteX30" fmla="*/ 9302 w 10000"/>
                <a:gd name="connsiteY30" fmla="*/ 7714 h 10000"/>
                <a:gd name="connsiteX31" fmla="*/ 9302 w 10000"/>
                <a:gd name="connsiteY31" fmla="*/ 7000 h 10000"/>
                <a:gd name="connsiteX32" fmla="*/ 9535 w 10000"/>
                <a:gd name="connsiteY32" fmla="*/ 7000 h 10000"/>
                <a:gd name="connsiteX33" fmla="*/ 9070 w 10000"/>
                <a:gd name="connsiteY33" fmla="*/ 6286 h 10000"/>
                <a:gd name="connsiteX34" fmla="*/ 8837 w 10000"/>
                <a:gd name="connsiteY34" fmla="*/ 6000 h 10000"/>
                <a:gd name="connsiteX35" fmla="*/ 7674 w 10000"/>
                <a:gd name="connsiteY35" fmla="*/ 5857 h 10000"/>
                <a:gd name="connsiteX36" fmla="*/ 6512 w 10000"/>
                <a:gd name="connsiteY36" fmla="*/ 5571 h 10000"/>
                <a:gd name="connsiteX37" fmla="*/ 6047 w 10000"/>
                <a:gd name="connsiteY37" fmla="*/ 4857 h 10000"/>
                <a:gd name="connsiteX38" fmla="*/ 5581 w 10000"/>
                <a:gd name="connsiteY38" fmla="*/ 3714 h 10000"/>
                <a:gd name="connsiteX39" fmla="*/ 6047 w 10000"/>
                <a:gd name="connsiteY39" fmla="*/ 3286 h 10000"/>
                <a:gd name="connsiteX40" fmla="*/ 5814 w 10000"/>
                <a:gd name="connsiteY40" fmla="*/ 2286 h 10000"/>
                <a:gd name="connsiteX41" fmla="*/ 6977 w 10000"/>
                <a:gd name="connsiteY41" fmla="*/ 2286 h 10000"/>
                <a:gd name="connsiteX42" fmla="*/ 7442 w 10000"/>
                <a:gd name="connsiteY42" fmla="*/ 2857 h 10000"/>
                <a:gd name="connsiteX43" fmla="*/ 8372 w 10000"/>
                <a:gd name="connsiteY43" fmla="*/ 2857 h 10000"/>
                <a:gd name="connsiteX44" fmla="*/ 8372 w 10000"/>
                <a:gd name="connsiteY44" fmla="*/ 2429 h 10000"/>
                <a:gd name="connsiteX45" fmla="*/ 8605 w 10000"/>
                <a:gd name="connsiteY45" fmla="*/ 2143 h 10000"/>
                <a:gd name="connsiteX46" fmla="*/ 8837 w 10000"/>
                <a:gd name="connsiteY46" fmla="*/ 2286 h 10000"/>
                <a:gd name="connsiteX47" fmla="*/ 8605 w 10000"/>
                <a:gd name="connsiteY47" fmla="*/ 1429 h 10000"/>
                <a:gd name="connsiteX48" fmla="*/ 9070 w 10000"/>
                <a:gd name="connsiteY48" fmla="*/ 857 h 10000"/>
                <a:gd name="connsiteX49" fmla="*/ 9070 w 10000"/>
                <a:gd name="connsiteY49" fmla="*/ 286 h 10000"/>
                <a:gd name="connsiteX50" fmla="*/ 8605 w 10000"/>
                <a:gd name="connsiteY50" fmla="*/ 0 h 10000"/>
                <a:gd name="connsiteX51" fmla="*/ 8140 w 10000"/>
                <a:gd name="connsiteY51" fmla="*/ 0 h 10000"/>
                <a:gd name="connsiteX52" fmla="*/ 6512 w 10000"/>
                <a:gd name="connsiteY52" fmla="*/ 143 h 10000"/>
                <a:gd name="connsiteX53" fmla="*/ 6279 w 10000"/>
                <a:gd name="connsiteY53" fmla="*/ 0 h 10000"/>
                <a:gd name="connsiteX54" fmla="*/ 6279 w 10000"/>
                <a:gd name="connsiteY54" fmla="*/ 714 h 10000"/>
                <a:gd name="connsiteX55" fmla="*/ 6279 w 10000"/>
                <a:gd name="connsiteY55" fmla="*/ 857 h 10000"/>
                <a:gd name="connsiteX0" fmla="*/ 6279 w 10000"/>
                <a:gd name="connsiteY0" fmla="*/ 857 h 10000"/>
                <a:gd name="connsiteX1" fmla="*/ 5349 w 10000"/>
                <a:gd name="connsiteY1" fmla="*/ 1857 h 10000"/>
                <a:gd name="connsiteX2" fmla="*/ 4884 w 10000"/>
                <a:gd name="connsiteY2" fmla="*/ 2857 h 10000"/>
                <a:gd name="connsiteX3" fmla="*/ 5116 w 10000"/>
                <a:gd name="connsiteY3" fmla="*/ 3714 h 10000"/>
                <a:gd name="connsiteX4" fmla="*/ 5349 w 10000"/>
                <a:gd name="connsiteY4" fmla="*/ 7714 h 10000"/>
                <a:gd name="connsiteX5" fmla="*/ 3953 w 10000"/>
                <a:gd name="connsiteY5" fmla="*/ 7286 h 10000"/>
                <a:gd name="connsiteX6" fmla="*/ 2558 w 10000"/>
                <a:gd name="connsiteY6" fmla="*/ 6857 h 10000"/>
                <a:gd name="connsiteX7" fmla="*/ 1395 w 10000"/>
                <a:gd name="connsiteY7" fmla="*/ 6857 h 10000"/>
                <a:gd name="connsiteX8" fmla="*/ 1395 w 10000"/>
                <a:gd name="connsiteY8" fmla="*/ 7429 h 10000"/>
                <a:gd name="connsiteX9" fmla="*/ 0 w 10000"/>
                <a:gd name="connsiteY9" fmla="*/ 7571 h 10000"/>
                <a:gd name="connsiteX10" fmla="*/ 0 w 10000"/>
                <a:gd name="connsiteY10" fmla="*/ 9143 h 10000"/>
                <a:gd name="connsiteX11" fmla="*/ 465 w 10000"/>
                <a:gd name="connsiteY11" fmla="*/ 9714 h 10000"/>
                <a:gd name="connsiteX12" fmla="*/ 1395 w 10000"/>
                <a:gd name="connsiteY12" fmla="*/ 9714 h 10000"/>
                <a:gd name="connsiteX13" fmla="*/ 1860 w 10000"/>
                <a:gd name="connsiteY13" fmla="*/ 9857 h 10000"/>
                <a:gd name="connsiteX14" fmla="*/ 1628 w 10000"/>
                <a:gd name="connsiteY14" fmla="*/ 9857 h 10000"/>
                <a:gd name="connsiteX15" fmla="*/ 2093 w 10000"/>
                <a:gd name="connsiteY15" fmla="*/ 10000 h 10000"/>
                <a:gd name="connsiteX16" fmla="*/ 2558 w 10000"/>
                <a:gd name="connsiteY16" fmla="*/ 9857 h 10000"/>
                <a:gd name="connsiteX17" fmla="*/ 3488 w 10000"/>
                <a:gd name="connsiteY17" fmla="*/ 10000 h 10000"/>
                <a:gd name="connsiteX18" fmla="*/ 4186 w 10000"/>
                <a:gd name="connsiteY18" fmla="*/ 9571 h 10000"/>
                <a:gd name="connsiteX19" fmla="*/ 5116 w 10000"/>
                <a:gd name="connsiteY19" fmla="*/ 9000 h 10000"/>
                <a:gd name="connsiteX20" fmla="*/ 5814 w 10000"/>
                <a:gd name="connsiteY20" fmla="*/ 8857 h 10000"/>
                <a:gd name="connsiteX21" fmla="*/ 5581 w 10000"/>
                <a:gd name="connsiteY21" fmla="*/ 8857 h 10000"/>
                <a:gd name="connsiteX22" fmla="*/ 5581 w 10000"/>
                <a:gd name="connsiteY22" fmla="*/ 8714 h 10000"/>
                <a:gd name="connsiteX23" fmla="*/ 7674 w 10000"/>
                <a:gd name="connsiteY23" fmla="*/ 8143 h 10000"/>
                <a:gd name="connsiteX24" fmla="*/ 8605 w 10000"/>
                <a:gd name="connsiteY24" fmla="*/ 8429 h 10000"/>
                <a:gd name="connsiteX25" fmla="*/ 9070 w 10000"/>
                <a:gd name="connsiteY25" fmla="*/ 8857 h 10000"/>
                <a:gd name="connsiteX26" fmla="*/ 9302 w 10000"/>
                <a:gd name="connsiteY26" fmla="*/ 9143 h 10000"/>
                <a:gd name="connsiteX27" fmla="*/ 10000 w 10000"/>
                <a:gd name="connsiteY27" fmla="*/ 8857 h 10000"/>
                <a:gd name="connsiteX28" fmla="*/ 10000 w 10000"/>
                <a:gd name="connsiteY28" fmla="*/ 8429 h 10000"/>
                <a:gd name="connsiteX29" fmla="*/ 9302 w 10000"/>
                <a:gd name="connsiteY29" fmla="*/ 7714 h 10000"/>
                <a:gd name="connsiteX30" fmla="*/ 9302 w 10000"/>
                <a:gd name="connsiteY30" fmla="*/ 7000 h 10000"/>
                <a:gd name="connsiteX31" fmla="*/ 9535 w 10000"/>
                <a:gd name="connsiteY31" fmla="*/ 7000 h 10000"/>
                <a:gd name="connsiteX32" fmla="*/ 9070 w 10000"/>
                <a:gd name="connsiteY32" fmla="*/ 6286 h 10000"/>
                <a:gd name="connsiteX33" fmla="*/ 8837 w 10000"/>
                <a:gd name="connsiteY33" fmla="*/ 6000 h 10000"/>
                <a:gd name="connsiteX34" fmla="*/ 7674 w 10000"/>
                <a:gd name="connsiteY34" fmla="*/ 5857 h 10000"/>
                <a:gd name="connsiteX35" fmla="*/ 6512 w 10000"/>
                <a:gd name="connsiteY35" fmla="*/ 5571 h 10000"/>
                <a:gd name="connsiteX36" fmla="*/ 6047 w 10000"/>
                <a:gd name="connsiteY36" fmla="*/ 4857 h 10000"/>
                <a:gd name="connsiteX37" fmla="*/ 5581 w 10000"/>
                <a:gd name="connsiteY37" fmla="*/ 3714 h 10000"/>
                <a:gd name="connsiteX38" fmla="*/ 6047 w 10000"/>
                <a:gd name="connsiteY38" fmla="*/ 3286 h 10000"/>
                <a:gd name="connsiteX39" fmla="*/ 5814 w 10000"/>
                <a:gd name="connsiteY39" fmla="*/ 2286 h 10000"/>
                <a:gd name="connsiteX40" fmla="*/ 6977 w 10000"/>
                <a:gd name="connsiteY40" fmla="*/ 2286 h 10000"/>
                <a:gd name="connsiteX41" fmla="*/ 7442 w 10000"/>
                <a:gd name="connsiteY41" fmla="*/ 2857 h 10000"/>
                <a:gd name="connsiteX42" fmla="*/ 8372 w 10000"/>
                <a:gd name="connsiteY42" fmla="*/ 2857 h 10000"/>
                <a:gd name="connsiteX43" fmla="*/ 8372 w 10000"/>
                <a:gd name="connsiteY43" fmla="*/ 2429 h 10000"/>
                <a:gd name="connsiteX44" fmla="*/ 8605 w 10000"/>
                <a:gd name="connsiteY44" fmla="*/ 2143 h 10000"/>
                <a:gd name="connsiteX45" fmla="*/ 8837 w 10000"/>
                <a:gd name="connsiteY45" fmla="*/ 2286 h 10000"/>
                <a:gd name="connsiteX46" fmla="*/ 8605 w 10000"/>
                <a:gd name="connsiteY46" fmla="*/ 1429 h 10000"/>
                <a:gd name="connsiteX47" fmla="*/ 9070 w 10000"/>
                <a:gd name="connsiteY47" fmla="*/ 857 h 10000"/>
                <a:gd name="connsiteX48" fmla="*/ 9070 w 10000"/>
                <a:gd name="connsiteY48" fmla="*/ 286 h 10000"/>
                <a:gd name="connsiteX49" fmla="*/ 8605 w 10000"/>
                <a:gd name="connsiteY49" fmla="*/ 0 h 10000"/>
                <a:gd name="connsiteX50" fmla="*/ 8140 w 10000"/>
                <a:gd name="connsiteY50" fmla="*/ 0 h 10000"/>
                <a:gd name="connsiteX51" fmla="*/ 6512 w 10000"/>
                <a:gd name="connsiteY51" fmla="*/ 143 h 10000"/>
                <a:gd name="connsiteX52" fmla="*/ 6279 w 10000"/>
                <a:gd name="connsiteY52" fmla="*/ 0 h 10000"/>
                <a:gd name="connsiteX53" fmla="*/ 6279 w 10000"/>
                <a:gd name="connsiteY53" fmla="*/ 714 h 10000"/>
                <a:gd name="connsiteX54" fmla="*/ 6279 w 10000"/>
                <a:gd name="connsiteY54" fmla="*/ 857 h 10000"/>
                <a:gd name="connsiteX0" fmla="*/ 6279 w 10000"/>
                <a:gd name="connsiteY0" fmla="*/ 857 h 10000"/>
                <a:gd name="connsiteX1" fmla="*/ 5349 w 10000"/>
                <a:gd name="connsiteY1" fmla="*/ 1857 h 10000"/>
                <a:gd name="connsiteX2" fmla="*/ 4884 w 10000"/>
                <a:gd name="connsiteY2" fmla="*/ 2857 h 10000"/>
                <a:gd name="connsiteX3" fmla="*/ 5116 w 10000"/>
                <a:gd name="connsiteY3" fmla="*/ 3714 h 10000"/>
                <a:gd name="connsiteX4" fmla="*/ 3953 w 10000"/>
                <a:gd name="connsiteY4" fmla="*/ 7286 h 10000"/>
                <a:gd name="connsiteX5" fmla="*/ 2558 w 10000"/>
                <a:gd name="connsiteY5" fmla="*/ 6857 h 10000"/>
                <a:gd name="connsiteX6" fmla="*/ 1395 w 10000"/>
                <a:gd name="connsiteY6" fmla="*/ 6857 h 10000"/>
                <a:gd name="connsiteX7" fmla="*/ 1395 w 10000"/>
                <a:gd name="connsiteY7" fmla="*/ 7429 h 10000"/>
                <a:gd name="connsiteX8" fmla="*/ 0 w 10000"/>
                <a:gd name="connsiteY8" fmla="*/ 7571 h 10000"/>
                <a:gd name="connsiteX9" fmla="*/ 0 w 10000"/>
                <a:gd name="connsiteY9" fmla="*/ 9143 h 10000"/>
                <a:gd name="connsiteX10" fmla="*/ 465 w 10000"/>
                <a:gd name="connsiteY10" fmla="*/ 9714 h 10000"/>
                <a:gd name="connsiteX11" fmla="*/ 1395 w 10000"/>
                <a:gd name="connsiteY11" fmla="*/ 9714 h 10000"/>
                <a:gd name="connsiteX12" fmla="*/ 1860 w 10000"/>
                <a:gd name="connsiteY12" fmla="*/ 9857 h 10000"/>
                <a:gd name="connsiteX13" fmla="*/ 1628 w 10000"/>
                <a:gd name="connsiteY13" fmla="*/ 9857 h 10000"/>
                <a:gd name="connsiteX14" fmla="*/ 2093 w 10000"/>
                <a:gd name="connsiteY14" fmla="*/ 10000 h 10000"/>
                <a:gd name="connsiteX15" fmla="*/ 2558 w 10000"/>
                <a:gd name="connsiteY15" fmla="*/ 9857 h 10000"/>
                <a:gd name="connsiteX16" fmla="*/ 3488 w 10000"/>
                <a:gd name="connsiteY16" fmla="*/ 10000 h 10000"/>
                <a:gd name="connsiteX17" fmla="*/ 4186 w 10000"/>
                <a:gd name="connsiteY17" fmla="*/ 9571 h 10000"/>
                <a:gd name="connsiteX18" fmla="*/ 5116 w 10000"/>
                <a:gd name="connsiteY18" fmla="*/ 9000 h 10000"/>
                <a:gd name="connsiteX19" fmla="*/ 5814 w 10000"/>
                <a:gd name="connsiteY19" fmla="*/ 8857 h 10000"/>
                <a:gd name="connsiteX20" fmla="*/ 5581 w 10000"/>
                <a:gd name="connsiteY20" fmla="*/ 8857 h 10000"/>
                <a:gd name="connsiteX21" fmla="*/ 5581 w 10000"/>
                <a:gd name="connsiteY21" fmla="*/ 8714 h 10000"/>
                <a:gd name="connsiteX22" fmla="*/ 7674 w 10000"/>
                <a:gd name="connsiteY22" fmla="*/ 8143 h 10000"/>
                <a:gd name="connsiteX23" fmla="*/ 8605 w 10000"/>
                <a:gd name="connsiteY23" fmla="*/ 8429 h 10000"/>
                <a:gd name="connsiteX24" fmla="*/ 9070 w 10000"/>
                <a:gd name="connsiteY24" fmla="*/ 8857 h 10000"/>
                <a:gd name="connsiteX25" fmla="*/ 9302 w 10000"/>
                <a:gd name="connsiteY25" fmla="*/ 9143 h 10000"/>
                <a:gd name="connsiteX26" fmla="*/ 10000 w 10000"/>
                <a:gd name="connsiteY26" fmla="*/ 8857 h 10000"/>
                <a:gd name="connsiteX27" fmla="*/ 10000 w 10000"/>
                <a:gd name="connsiteY27" fmla="*/ 8429 h 10000"/>
                <a:gd name="connsiteX28" fmla="*/ 9302 w 10000"/>
                <a:gd name="connsiteY28" fmla="*/ 7714 h 10000"/>
                <a:gd name="connsiteX29" fmla="*/ 9302 w 10000"/>
                <a:gd name="connsiteY29" fmla="*/ 7000 h 10000"/>
                <a:gd name="connsiteX30" fmla="*/ 9535 w 10000"/>
                <a:gd name="connsiteY30" fmla="*/ 7000 h 10000"/>
                <a:gd name="connsiteX31" fmla="*/ 9070 w 10000"/>
                <a:gd name="connsiteY31" fmla="*/ 6286 h 10000"/>
                <a:gd name="connsiteX32" fmla="*/ 8837 w 10000"/>
                <a:gd name="connsiteY32" fmla="*/ 6000 h 10000"/>
                <a:gd name="connsiteX33" fmla="*/ 7674 w 10000"/>
                <a:gd name="connsiteY33" fmla="*/ 5857 h 10000"/>
                <a:gd name="connsiteX34" fmla="*/ 6512 w 10000"/>
                <a:gd name="connsiteY34" fmla="*/ 5571 h 10000"/>
                <a:gd name="connsiteX35" fmla="*/ 6047 w 10000"/>
                <a:gd name="connsiteY35" fmla="*/ 4857 h 10000"/>
                <a:gd name="connsiteX36" fmla="*/ 5581 w 10000"/>
                <a:gd name="connsiteY36" fmla="*/ 3714 h 10000"/>
                <a:gd name="connsiteX37" fmla="*/ 6047 w 10000"/>
                <a:gd name="connsiteY37" fmla="*/ 3286 h 10000"/>
                <a:gd name="connsiteX38" fmla="*/ 5814 w 10000"/>
                <a:gd name="connsiteY38" fmla="*/ 2286 h 10000"/>
                <a:gd name="connsiteX39" fmla="*/ 6977 w 10000"/>
                <a:gd name="connsiteY39" fmla="*/ 2286 h 10000"/>
                <a:gd name="connsiteX40" fmla="*/ 7442 w 10000"/>
                <a:gd name="connsiteY40" fmla="*/ 2857 h 10000"/>
                <a:gd name="connsiteX41" fmla="*/ 8372 w 10000"/>
                <a:gd name="connsiteY41" fmla="*/ 2857 h 10000"/>
                <a:gd name="connsiteX42" fmla="*/ 8372 w 10000"/>
                <a:gd name="connsiteY42" fmla="*/ 2429 h 10000"/>
                <a:gd name="connsiteX43" fmla="*/ 8605 w 10000"/>
                <a:gd name="connsiteY43" fmla="*/ 2143 h 10000"/>
                <a:gd name="connsiteX44" fmla="*/ 8837 w 10000"/>
                <a:gd name="connsiteY44" fmla="*/ 2286 h 10000"/>
                <a:gd name="connsiteX45" fmla="*/ 8605 w 10000"/>
                <a:gd name="connsiteY45" fmla="*/ 1429 h 10000"/>
                <a:gd name="connsiteX46" fmla="*/ 9070 w 10000"/>
                <a:gd name="connsiteY46" fmla="*/ 857 h 10000"/>
                <a:gd name="connsiteX47" fmla="*/ 9070 w 10000"/>
                <a:gd name="connsiteY47" fmla="*/ 286 h 10000"/>
                <a:gd name="connsiteX48" fmla="*/ 8605 w 10000"/>
                <a:gd name="connsiteY48" fmla="*/ 0 h 10000"/>
                <a:gd name="connsiteX49" fmla="*/ 8140 w 10000"/>
                <a:gd name="connsiteY49" fmla="*/ 0 h 10000"/>
                <a:gd name="connsiteX50" fmla="*/ 6512 w 10000"/>
                <a:gd name="connsiteY50" fmla="*/ 143 h 10000"/>
                <a:gd name="connsiteX51" fmla="*/ 6279 w 10000"/>
                <a:gd name="connsiteY51" fmla="*/ 0 h 10000"/>
                <a:gd name="connsiteX52" fmla="*/ 6279 w 10000"/>
                <a:gd name="connsiteY52" fmla="*/ 714 h 10000"/>
                <a:gd name="connsiteX53" fmla="*/ 6279 w 10000"/>
                <a:gd name="connsiteY53" fmla="*/ 857 h 10000"/>
                <a:gd name="connsiteX0" fmla="*/ 6279 w 10000"/>
                <a:gd name="connsiteY0" fmla="*/ 857 h 10000"/>
                <a:gd name="connsiteX1" fmla="*/ 5349 w 10000"/>
                <a:gd name="connsiteY1" fmla="*/ 1857 h 10000"/>
                <a:gd name="connsiteX2" fmla="*/ 4884 w 10000"/>
                <a:gd name="connsiteY2" fmla="*/ 2857 h 10000"/>
                <a:gd name="connsiteX3" fmla="*/ 5116 w 10000"/>
                <a:gd name="connsiteY3" fmla="*/ 3714 h 10000"/>
                <a:gd name="connsiteX4" fmla="*/ 2558 w 10000"/>
                <a:gd name="connsiteY4" fmla="*/ 6857 h 10000"/>
                <a:gd name="connsiteX5" fmla="*/ 1395 w 10000"/>
                <a:gd name="connsiteY5" fmla="*/ 6857 h 10000"/>
                <a:gd name="connsiteX6" fmla="*/ 1395 w 10000"/>
                <a:gd name="connsiteY6" fmla="*/ 7429 h 10000"/>
                <a:gd name="connsiteX7" fmla="*/ 0 w 10000"/>
                <a:gd name="connsiteY7" fmla="*/ 7571 h 10000"/>
                <a:gd name="connsiteX8" fmla="*/ 0 w 10000"/>
                <a:gd name="connsiteY8" fmla="*/ 9143 h 10000"/>
                <a:gd name="connsiteX9" fmla="*/ 465 w 10000"/>
                <a:gd name="connsiteY9" fmla="*/ 9714 h 10000"/>
                <a:gd name="connsiteX10" fmla="*/ 1395 w 10000"/>
                <a:gd name="connsiteY10" fmla="*/ 9714 h 10000"/>
                <a:gd name="connsiteX11" fmla="*/ 1860 w 10000"/>
                <a:gd name="connsiteY11" fmla="*/ 9857 h 10000"/>
                <a:gd name="connsiteX12" fmla="*/ 1628 w 10000"/>
                <a:gd name="connsiteY12" fmla="*/ 9857 h 10000"/>
                <a:gd name="connsiteX13" fmla="*/ 2093 w 10000"/>
                <a:gd name="connsiteY13" fmla="*/ 10000 h 10000"/>
                <a:gd name="connsiteX14" fmla="*/ 2558 w 10000"/>
                <a:gd name="connsiteY14" fmla="*/ 9857 h 10000"/>
                <a:gd name="connsiteX15" fmla="*/ 3488 w 10000"/>
                <a:gd name="connsiteY15" fmla="*/ 10000 h 10000"/>
                <a:gd name="connsiteX16" fmla="*/ 4186 w 10000"/>
                <a:gd name="connsiteY16" fmla="*/ 9571 h 10000"/>
                <a:gd name="connsiteX17" fmla="*/ 5116 w 10000"/>
                <a:gd name="connsiteY17" fmla="*/ 9000 h 10000"/>
                <a:gd name="connsiteX18" fmla="*/ 5814 w 10000"/>
                <a:gd name="connsiteY18" fmla="*/ 8857 h 10000"/>
                <a:gd name="connsiteX19" fmla="*/ 5581 w 10000"/>
                <a:gd name="connsiteY19" fmla="*/ 8857 h 10000"/>
                <a:gd name="connsiteX20" fmla="*/ 5581 w 10000"/>
                <a:gd name="connsiteY20" fmla="*/ 8714 h 10000"/>
                <a:gd name="connsiteX21" fmla="*/ 7674 w 10000"/>
                <a:gd name="connsiteY21" fmla="*/ 8143 h 10000"/>
                <a:gd name="connsiteX22" fmla="*/ 8605 w 10000"/>
                <a:gd name="connsiteY22" fmla="*/ 8429 h 10000"/>
                <a:gd name="connsiteX23" fmla="*/ 9070 w 10000"/>
                <a:gd name="connsiteY23" fmla="*/ 8857 h 10000"/>
                <a:gd name="connsiteX24" fmla="*/ 9302 w 10000"/>
                <a:gd name="connsiteY24" fmla="*/ 9143 h 10000"/>
                <a:gd name="connsiteX25" fmla="*/ 10000 w 10000"/>
                <a:gd name="connsiteY25" fmla="*/ 8857 h 10000"/>
                <a:gd name="connsiteX26" fmla="*/ 10000 w 10000"/>
                <a:gd name="connsiteY26" fmla="*/ 8429 h 10000"/>
                <a:gd name="connsiteX27" fmla="*/ 9302 w 10000"/>
                <a:gd name="connsiteY27" fmla="*/ 7714 h 10000"/>
                <a:gd name="connsiteX28" fmla="*/ 9302 w 10000"/>
                <a:gd name="connsiteY28" fmla="*/ 7000 h 10000"/>
                <a:gd name="connsiteX29" fmla="*/ 9535 w 10000"/>
                <a:gd name="connsiteY29" fmla="*/ 7000 h 10000"/>
                <a:gd name="connsiteX30" fmla="*/ 9070 w 10000"/>
                <a:gd name="connsiteY30" fmla="*/ 6286 h 10000"/>
                <a:gd name="connsiteX31" fmla="*/ 8837 w 10000"/>
                <a:gd name="connsiteY31" fmla="*/ 6000 h 10000"/>
                <a:gd name="connsiteX32" fmla="*/ 7674 w 10000"/>
                <a:gd name="connsiteY32" fmla="*/ 5857 h 10000"/>
                <a:gd name="connsiteX33" fmla="*/ 6512 w 10000"/>
                <a:gd name="connsiteY33" fmla="*/ 5571 h 10000"/>
                <a:gd name="connsiteX34" fmla="*/ 6047 w 10000"/>
                <a:gd name="connsiteY34" fmla="*/ 4857 h 10000"/>
                <a:gd name="connsiteX35" fmla="*/ 5581 w 10000"/>
                <a:gd name="connsiteY35" fmla="*/ 3714 h 10000"/>
                <a:gd name="connsiteX36" fmla="*/ 6047 w 10000"/>
                <a:gd name="connsiteY36" fmla="*/ 3286 h 10000"/>
                <a:gd name="connsiteX37" fmla="*/ 5814 w 10000"/>
                <a:gd name="connsiteY37" fmla="*/ 2286 h 10000"/>
                <a:gd name="connsiteX38" fmla="*/ 6977 w 10000"/>
                <a:gd name="connsiteY38" fmla="*/ 2286 h 10000"/>
                <a:gd name="connsiteX39" fmla="*/ 7442 w 10000"/>
                <a:gd name="connsiteY39" fmla="*/ 2857 h 10000"/>
                <a:gd name="connsiteX40" fmla="*/ 8372 w 10000"/>
                <a:gd name="connsiteY40" fmla="*/ 2857 h 10000"/>
                <a:gd name="connsiteX41" fmla="*/ 8372 w 10000"/>
                <a:gd name="connsiteY41" fmla="*/ 2429 h 10000"/>
                <a:gd name="connsiteX42" fmla="*/ 8605 w 10000"/>
                <a:gd name="connsiteY42" fmla="*/ 2143 h 10000"/>
                <a:gd name="connsiteX43" fmla="*/ 8837 w 10000"/>
                <a:gd name="connsiteY43" fmla="*/ 2286 h 10000"/>
                <a:gd name="connsiteX44" fmla="*/ 8605 w 10000"/>
                <a:gd name="connsiteY44" fmla="*/ 1429 h 10000"/>
                <a:gd name="connsiteX45" fmla="*/ 9070 w 10000"/>
                <a:gd name="connsiteY45" fmla="*/ 857 h 10000"/>
                <a:gd name="connsiteX46" fmla="*/ 9070 w 10000"/>
                <a:gd name="connsiteY46" fmla="*/ 286 h 10000"/>
                <a:gd name="connsiteX47" fmla="*/ 8605 w 10000"/>
                <a:gd name="connsiteY47" fmla="*/ 0 h 10000"/>
                <a:gd name="connsiteX48" fmla="*/ 8140 w 10000"/>
                <a:gd name="connsiteY48" fmla="*/ 0 h 10000"/>
                <a:gd name="connsiteX49" fmla="*/ 6512 w 10000"/>
                <a:gd name="connsiteY49" fmla="*/ 143 h 10000"/>
                <a:gd name="connsiteX50" fmla="*/ 6279 w 10000"/>
                <a:gd name="connsiteY50" fmla="*/ 0 h 10000"/>
                <a:gd name="connsiteX51" fmla="*/ 6279 w 10000"/>
                <a:gd name="connsiteY51" fmla="*/ 714 h 10000"/>
                <a:gd name="connsiteX52" fmla="*/ 6279 w 10000"/>
                <a:gd name="connsiteY52" fmla="*/ 857 h 10000"/>
                <a:gd name="connsiteX0" fmla="*/ 6279 w 10000"/>
                <a:gd name="connsiteY0" fmla="*/ 857 h 10000"/>
                <a:gd name="connsiteX1" fmla="*/ 5349 w 10000"/>
                <a:gd name="connsiteY1" fmla="*/ 1857 h 10000"/>
                <a:gd name="connsiteX2" fmla="*/ 4884 w 10000"/>
                <a:gd name="connsiteY2" fmla="*/ 2857 h 10000"/>
                <a:gd name="connsiteX3" fmla="*/ 5116 w 10000"/>
                <a:gd name="connsiteY3" fmla="*/ 3714 h 10000"/>
                <a:gd name="connsiteX4" fmla="*/ 1395 w 10000"/>
                <a:gd name="connsiteY4" fmla="*/ 6857 h 10000"/>
                <a:gd name="connsiteX5" fmla="*/ 1395 w 10000"/>
                <a:gd name="connsiteY5" fmla="*/ 7429 h 10000"/>
                <a:gd name="connsiteX6" fmla="*/ 0 w 10000"/>
                <a:gd name="connsiteY6" fmla="*/ 7571 h 10000"/>
                <a:gd name="connsiteX7" fmla="*/ 0 w 10000"/>
                <a:gd name="connsiteY7" fmla="*/ 9143 h 10000"/>
                <a:gd name="connsiteX8" fmla="*/ 465 w 10000"/>
                <a:gd name="connsiteY8" fmla="*/ 9714 h 10000"/>
                <a:gd name="connsiteX9" fmla="*/ 1395 w 10000"/>
                <a:gd name="connsiteY9" fmla="*/ 9714 h 10000"/>
                <a:gd name="connsiteX10" fmla="*/ 1860 w 10000"/>
                <a:gd name="connsiteY10" fmla="*/ 9857 h 10000"/>
                <a:gd name="connsiteX11" fmla="*/ 1628 w 10000"/>
                <a:gd name="connsiteY11" fmla="*/ 9857 h 10000"/>
                <a:gd name="connsiteX12" fmla="*/ 2093 w 10000"/>
                <a:gd name="connsiteY12" fmla="*/ 10000 h 10000"/>
                <a:gd name="connsiteX13" fmla="*/ 2558 w 10000"/>
                <a:gd name="connsiteY13" fmla="*/ 9857 h 10000"/>
                <a:gd name="connsiteX14" fmla="*/ 3488 w 10000"/>
                <a:gd name="connsiteY14" fmla="*/ 10000 h 10000"/>
                <a:gd name="connsiteX15" fmla="*/ 4186 w 10000"/>
                <a:gd name="connsiteY15" fmla="*/ 9571 h 10000"/>
                <a:gd name="connsiteX16" fmla="*/ 5116 w 10000"/>
                <a:gd name="connsiteY16" fmla="*/ 9000 h 10000"/>
                <a:gd name="connsiteX17" fmla="*/ 5814 w 10000"/>
                <a:gd name="connsiteY17" fmla="*/ 8857 h 10000"/>
                <a:gd name="connsiteX18" fmla="*/ 5581 w 10000"/>
                <a:gd name="connsiteY18" fmla="*/ 8857 h 10000"/>
                <a:gd name="connsiteX19" fmla="*/ 5581 w 10000"/>
                <a:gd name="connsiteY19" fmla="*/ 8714 h 10000"/>
                <a:gd name="connsiteX20" fmla="*/ 7674 w 10000"/>
                <a:gd name="connsiteY20" fmla="*/ 8143 h 10000"/>
                <a:gd name="connsiteX21" fmla="*/ 8605 w 10000"/>
                <a:gd name="connsiteY21" fmla="*/ 8429 h 10000"/>
                <a:gd name="connsiteX22" fmla="*/ 9070 w 10000"/>
                <a:gd name="connsiteY22" fmla="*/ 8857 h 10000"/>
                <a:gd name="connsiteX23" fmla="*/ 9302 w 10000"/>
                <a:gd name="connsiteY23" fmla="*/ 9143 h 10000"/>
                <a:gd name="connsiteX24" fmla="*/ 10000 w 10000"/>
                <a:gd name="connsiteY24" fmla="*/ 8857 h 10000"/>
                <a:gd name="connsiteX25" fmla="*/ 10000 w 10000"/>
                <a:gd name="connsiteY25" fmla="*/ 8429 h 10000"/>
                <a:gd name="connsiteX26" fmla="*/ 9302 w 10000"/>
                <a:gd name="connsiteY26" fmla="*/ 7714 h 10000"/>
                <a:gd name="connsiteX27" fmla="*/ 9302 w 10000"/>
                <a:gd name="connsiteY27" fmla="*/ 7000 h 10000"/>
                <a:gd name="connsiteX28" fmla="*/ 9535 w 10000"/>
                <a:gd name="connsiteY28" fmla="*/ 7000 h 10000"/>
                <a:gd name="connsiteX29" fmla="*/ 9070 w 10000"/>
                <a:gd name="connsiteY29" fmla="*/ 6286 h 10000"/>
                <a:gd name="connsiteX30" fmla="*/ 8837 w 10000"/>
                <a:gd name="connsiteY30" fmla="*/ 6000 h 10000"/>
                <a:gd name="connsiteX31" fmla="*/ 7674 w 10000"/>
                <a:gd name="connsiteY31" fmla="*/ 5857 h 10000"/>
                <a:gd name="connsiteX32" fmla="*/ 6512 w 10000"/>
                <a:gd name="connsiteY32" fmla="*/ 5571 h 10000"/>
                <a:gd name="connsiteX33" fmla="*/ 6047 w 10000"/>
                <a:gd name="connsiteY33" fmla="*/ 4857 h 10000"/>
                <a:gd name="connsiteX34" fmla="*/ 5581 w 10000"/>
                <a:gd name="connsiteY34" fmla="*/ 3714 h 10000"/>
                <a:gd name="connsiteX35" fmla="*/ 6047 w 10000"/>
                <a:gd name="connsiteY35" fmla="*/ 3286 h 10000"/>
                <a:gd name="connsiteX36" fmla="*/ 5814 w 10000"/>
                <a:gd name="connsiteY36" fmla="*/ 2286 h 10000"/>
                <a:gd name="connsiteX37" fmla="*/ 6977 w 10000"/>
                <a:gd name="connsiteY37" fmla="*/ 2286 h 10000"/>
                <a:gd name="connsiteX38" fmla="*/ 7442 w 10000"/>
                <a:gd name="connsiteY38" fmla="*/ 2857 h 10000"/>
                <a:gd name="connsiteX39" fmla="*/ 8372 w 10000"/>
                <a:gd name="connsiteY39" fmla="*/ 2857 h 10000"/>
                <a:gd name="connsiteX40" fmla="*/ 8372 w 10000"/>
                <a:gd name="connsiteY40" fmla="*/ 2429 h 10000"/>
                <a:gd name="connsiteX41" fmla="*/ 8605 w 10000"/>
                <a:gd name="connsiteY41" fmla="*/ 2143 h 10000"/>
                <a:gd name="connsiteX42" fmla="*/ 8837 w 10000"/>
                <a:gd name="connsiteY42" fmla="*/ 2286 h 10000"/>
                <a:gd name="connsiteX43" fmla="*/ 8605 w 10000"/>
                <a:gd name="connsiteY43" fmla="*/ 1429 h 10000"/>
                <a:gd name="connsiteX44" fmla="*/ 9070 w 10000"/>
                <a:gd name="connsiteY44" fmla="*/ 857 h 10000"/>
                <a:gd name="connsiteX45" fmla="*/ 9070 w 10000"/>
                <a:gd name="connsiteY45" fmla="*/ 286 h 10000"/>
                <a:gd name="connsiteX46" fmla="*/ 8605 w 10000"/>
                <a:gd name="connsiteY46" fmla="*/ 0 h 10000"/>
                <a:gd name="connsiteX47" fmla="*/ 8140 w 10000"/>
                <a:gd name="connsiteY47" fmla="*/ 0 h 10000"/>
                <a:gd name="connsiteX48" fmla="*/ 6512 w 10000"/>
                <a:gd name="connsiteY48" fmla="*/ 143 h 10000"/>
                <a:gd name="connsiteX49" fmla="*/ 6279 w 10000"/>
                <a:gd name="connsiteY49" fmla="*/ 0 h 10000"/>
                <a:gd name="connsiteX50" fmla="*/ 6279 w 10000"/>
                <a:gd name="connsiteY50" fmla="*/ 714 h 10000"/>
                <a:gd name="connsiteX51" fmla="*/ 6279 w 10000"/>
                <a:gd name="connsiteY51" fmla="*/ 857 h 10000"/>
                <a:gd name="connsiteX0" fmla="*/ 6279 w 10000"/>
                <a:gd name="connsiteY0" fmla="*/ 857 h 10000"/>
                <a:gd name="connsiteX1" fmla="*/ 5349 w 10000"/>
                <a:gd name="connsiteY1" fmla="*/ 1857 h 10000"/>
                <a:gd name="connsiteX2" fmla="*/ 4884 w 10000"/>
                <a:gd name="connsiteY2" fmla="*/ 2857 h 10000"/>
                <a:gd name="connsiteX3" fmla="*/ 5116 w 10000"/>
                <a:gd name="connsiteY3" fmla="*/ 3714 h 10000"/>
                <a:gd name="connsiteX4" fmla="*/ 1395 w 10000"/>
                <a:gd name="connsiteY4" fmla="*/ 7429 h 10000"/>
                <a:gd name="connsiteX5" fmla="*/ 0 w 10000"/>
                <a:gd name="connsiteY5" fmla="*/ 7571 h 10000"/>
                <a:gd name="connsiteX6" fmla="*/ 0 w 10000"/>
                <a:gd name="connsiteY6" fmla="*/ 9143 h 10000"/>
                <a:gd name="connsiteX7" fmla="*/ 465 w 10000"/>
                <a:gd name="connsiteY7" fmla="*/ 9714 h 10000"/>
                <a:gd name="connsiteX8" fmla="*/ 1395 w 10000"/>
                <a:gd name="connsiteY8" fmla="*/ 9714 h 10000"/>
                <a:gd name="connsiteX9" fmla="*/ 1860 w 10000"/>
                <a:gd name="connsiteY9" fmla="*/ 9857 h 10000"/>
                <a:gd name="connsiteX10" fmla="*/ 1628 w 10000"/>
                <a:gd name="connsiteY10" fmla="*/ 9857 h 10000"/>
                <a:gd name="connsiteX11" fmla="*/ 2093 w 10000"/>
                <a:gd name="connsiteY11" fmla="*/ 10000 h 10000"/>
                <a:gd name="connsiteX12" fmla="*/ 2558 w 10000"/>
                <a:gd name="connsiteY12" fmla="*/ 9857 h 10000"/>
                <a:gd name="connsiteX13" fmla="*/ 3488 w 10000"/>
                <a:gd name="connsiteY13" fmla="*/ 10000 h 10000"/>
                <a:gd name="connsiteX14" fmla="*/ 4186 w 10000"/>
                <a:gd name="connsiteY14" fmla="*/ 9571 h 10000"/>
                <a:gd name="connsiteX15" fmla="*/ 5116 w 10000"/>
                <a:gd name="connsiteY15" fmla="*/ 9000 h 10000"/>
                <a:gd name="connsiteX16" fmla="*/ 5814 w 10000"/>
                <a:gd name="connsiteY16" fmla="*/ 8857 h 10000"/>
                <a:gd name="connsiteX17" fmla="*/ 5581 w 10000"/>
                <a:gd name="connsiteY17" fmla="*/ 8857 h 10000"/>
                <a:gd name="connsiteX18" fmla="*/ 5581 w 10000"/>
                <a:gd name="connsiteY18" fmla="*/ 8714 h 10000"/>
                <a:gd name="connsiteX19" fmla="*/ 7674 w 10000"/>
                <a:gd name="connsiteY19" fmla="*/ 8143 h 10000"/>
                <a:gd name="connsiteX20" fmla="*/ 8605 w 10000"/>
                <a:gd name="connsiteY20" fmla="*/ 8429 h 10000"/>
                <a:gd name="connsiteX21" fmla="*/ 9070 w 10000"/>
                <a:gd name="connsiteY21" fmla="*/ 8857 h 10000"/>
                <a:gd name="connsiteX22" fmla="*/ 9302 w 10000"/>
                <a:gd name="connsiteY22" fmla="*/ 9143 h 10000"/>
                <a:gd name="connsiteX23" fmla="*/ 10000 w 10000"/>
                <a:gd name="connsiteY23" fmla="*/ 8857 h 10000"/>
                <a:gd name="connsiteX24" fmla="*/ 10000 w 10000"/>
                <a:gd name="connsiteY24" fmla="*/ 8429 h 10000"/>
                <a:gd name="connsiteX25" fmla="*/ 9302 w 10000"/>
                <a:gd name="connsiteY25" fmla="*/ 7714 h 10000"/>
                <a:gd name="connsiteX26" fmla="*/ 9302 w 10000"/>
                <a:gd name="connsiteY26" fmla="*/ 7000 h 10000"/>
                <a:gd name="connsiteX27" fmla="*/ 9535 w 10000"/>
                <a:gd name="connsiteY27" fmla="*/ 7000 h 10000"/>
                <a:gd name="connsiteX28" fmla="*/ 9070 w 10000"/>
                <a:gd name="connsiteY28" fmla="*/ 6286 h 10000"/>
                <a:gd name="connsiteX29" fmla="*/ 8837 w 10000"/>
                <a:gd name="connsiteY29" fmla="*/ 6000 h 10000"/>
                <a:gd name="connsiteX30" fmla="*/ 7674 w 10000"/>
                <a:gd name="connsiteY30" fmla="*/ 5857 h 10000"/>
                <a:gd name="connsiteX31" fmla="*/ 6512 w 10000"/>
                <a:gd name="connsiteY31" fmla="*/ 5571 h 10000"/>
                <a:gd name="connsiteX32" fmla="*/ 6047 w 10000"/>
                <a:gd name="connsiteY32" fmla="*/ 4857 h 10000"/>
                <a:gd name="connsiteX33" fmla="*/ 5581 w 10000"/>
                <a:gd name="connsiteY33" fmla="*/ 3714 h 10000"/>
                <a:gd name="connsiteX34" fmla="*/ 6047 w 10000"/>
                <a:gd name="connsiteY34" fmla="*/ 3286 h 10000"/>
                <a:gd name="connsiteX35" fmla="*/ 5814 w 10000"/>
                <a:gd name="connsiteY35" fmla="*/ 2286 h 10000"/>
                <a:gd name="connsiteX36" fmla="*/ 6977 w 10000"/>
                <a:gd name="connsiteY36" fmla="*/ 2286 h 10000"/>
                <a:gd name="connsiteX37" fmla="*/ 7442 w 10000"/>
                <a:gd name="connsiteY37" fmla="*/ 2857 h 10000"/>
                <a:gd name="connsiteX38" fmla="*/ 8372 w 10000"/>
                <a:gd name="connsiteY38" fmla="*/ 2857 h 10000"/>
                <a:gd name="connsiteX39" fmla="*/ 8372 w 10000"/>
                <a:gd name="connsiteY39" fmla="*/ 2429 h 10000"/>
                <a:gd name="connsiteX40" fmla="*/ 8605 w 10000"/>
                <a:gd name="connsiteY40" fmla="*/ 2143 h 10000"/>
                <a:gd name="connsiteX41" fmla="*/ 8837 w 10000"/>
                <a:gd name="connsiteY41" fmla="*/ 2286 h 10000"/>
                <a:gd name="connsiteX42" fmla="*/ 8605 w 10000"/>
                <a:gd name="connsiteY42" fmla="*/ 1429 h 10000"/>
                <a:gd name="connsiteX43" fmla="*/ 9070 w 10000"/>
                <a:gd name="connsiteY43" fmla="*/ 857 h 10000"/>
                <a:gd name="connsiteX44" fmla="*/ 9070 w 10000"/>
                <a:gd name="connsiteY44" fmla="*/ 286 h 10000"/>
                <a:gd name="connsiteX45" fmla="*/ 8605 w 10000"/>
                <a:gd name="connsiteY45" fmla="*/ 0 h 10000"/>
                <a:gd name="connsiteX46" fmla="*/ 8140 w 10000"/>
                <a:gd name="connsiteY46" fmla="*/ 0 h 10000"/>
                <a:gd name="connsiteX47" fmla="*/ 6512 w 10000"/>
                <a:gd name="connsiteY47" fmla="*/ 143 h 10000"/>
                <a:gd name="connsiteX48" fmla="*/ 6279 w 10000"/>
                <a:gd name="connsiteY48" fmla="*/ 0 h 10000"/>
                <a:gd name="connsiteX49" fmla="*/ 6279 w 10000"/>
                <a:gd name="connsiteY49" fmla="*/ 714 h 10000"/>
                <a:gd name="connsiteX50" fmla="*/ 6279 w 10000"/>
                <a:gd name="connsiteY50" fmla="*/ 857 h 10000"/>
                <a:gd name="connsiteX0" fmla="*/ 6658 w 10379"/>
                <a:gd name="connsiteY0" fmla="*/ 857 h 10000"/>
                <a:gd name="connsiteX1" fmla="*/ 5728 w 10379"/>
                <a:gd name="connsiteY1" fmla="*/ 1857 h 10000"/>
                <a:gd name="connsiteX2" fmla="*/ 5263 w 10379"/>
                <a:gd name="connsiteY2" fmla="*/ 2857 h 10000"/>
                <a:gd name="connsiteX3" fmla="*/ 5495 w 10379"/>
                <a:gd name="connsiteY3" fmla="*/ 3714 h 10000"/>
                <a:gd name="connsiteX4" fmla="*/ 379 w 10379"/>
                <a:gd name="connsiteY4" fmla="*/ 7571 h 10000"/>
                <a:gd name="connsiteX5" fmla="*/ 379 w 10379"/>
                <a:gd name="connsiteY5" fmla="*/ 9143 h 10000"/>
                <a:gd name="connsiteX6" fmla="*/ 844 w 10379"/>
                <a:gd name="connsiteY6" fmla="*/ 9714 h 10000"/>
                <a:gd name="connsiteX7" fmla="*/ 1774 w 10379"/>
                <a:gd name="connsiteY7" fmla="*/ 9714 h 10000"/>
                <a:gd name="connsiteX8" fmla="*/ 2239 w 10379"/>
                <a:gd name="connsiteY8" fmla="*/ 9857 h 10000"/>
                <a:gd name="connsiteX9" fmla="*/ 2007 w 10379"/>
                <a:gd name="connsiteY9" fmla="*/ 9857 h 10000"/>
                <a:gd name="connsiteX10" fmla="*/ 2472 w 10379"/>
                <a:gd name="connsiteY10" fmla="*/ 10000 h 10000"/>
                <a:gd name="connsiteX11" fmla="*/ 2937 w 10379"/>
                <a:gd name="connsiteY11" fmla="*/ 9857 h 10000"/>
                <a:gd name="connsiteX12" fmla="*/ 3867 w 10379"/>
                <a:gd name="connsiteY12" fmla="*/ 10000 h 10000"/>
                <a:gd name="connsiteX13" fmla="*/ 4565 w 10379"/>
                <a:gd name="connsiteY13" fmla="*/ 9571 h 10000"/>
                <a:gd name="connsiteX14" fmla="*/ 5495 w 10379"/>
                <a:gd name="connsiteY14" fmla="*/ 9000 h 10000"/>
                <a:gd name="connsiteX15" fmla="*/ 6193 w 10379"/>
                <a:gd name="connsiteY15" fmla="*/ 8857 h 10000"/>
                <a:gd name="connsiteX16" fmla="*/ 5960 w 10379"/>
                <a:gd name="connsiteY16" fmla="*/ 8857 h 10000"/>
                <a:gd name="connsiteX17" fmla="*/ 5960 w 10379"/>
                <a:gd name="connsiteY17" fmla="*/ 8714 h 10000"/>
                <a:gd name="connsiteX18" fmla="*/ 8053 w 10379"/>
                <a:gd name="connsiteY18" fmla="*/ 8143 h 10000"/>
                <a:gd name="connsiteX19" fmla="*/ 8984 w 10379"/>
                <a:gd name="connsiteY19" fmla="*/ 8429 h 10000"/>
                <a:gd name="connsiteX20" fmla="*/ 9449 w 10379"/>
                <a:gd name="connsiteY20" fmla="*/ 8857 h 10000"/>
                <a:gd name="connsiteX21" fmla="*/ 9681 w 10379"/>
                <a:gd name="connsiteY21" fmla="*/ 9143 h 10000"/>
                <a:gd name="connsiteX22" fmla="*/ 10379 w 10379"/>
                <a:gd name="connsiteY22" fmla="*/ 8857 h 10000"/>
                <a:gd name="connsiteX23" fmla="*/ 10379 w 10379"/>
                <a:gd name="connsiteY23" fmla="*/ 8429 h 10000"/>
                <a:gd name="connsiteX24" fmla="*/ 9681 w 10379"/>
                <a:gd name="connsiteY24" fmla="*/ 7714 h 10000"/>
                <a:gd name="connsiteX25" fmla="*/ 9681 w 10379"/>
                <a:gd name="connsiteY25" fmla="*/ 7000 h 10000"/>
                <a:gd name="connsiteX26" fmla="*/ 9914 w 10379"/>
                <a:gd name="connsiteY26" fmla="*/ 7000 h 10000"/>
                <a:gd name="connsiteX27" fmla="*/ 9449 w 10379"/>
                <a:gd name="connsiteY27" fmla="*/ 6286 h 10000"/>
                <a:gd name="connsiteX28" fmla="*/ 9216 w 10379"/>
                <a:gd name="connsiteY28" fmla="*/ 6000 h 10000"/>
                <a:gd name="connsiteX29" fmla="*/ 8053 w 10379"/>
                <a:gd name="connsiteY29" fmla="*/ 5857 h 10000"/>
                <a:gd name="connsiteX30" fmla="*/ 6891 w 10379"/>
                <a:gd name="connsiteY30" fmla="*/ 5571 h 10000"/>
                <a:gd name="connsiteX31" fmla="*/ 6426 w 10379"/>
                <a:gd name="connsiteY31" fmla="*/ 4857 h 10000"/>
                <a:gd name="connsiteX32" fmla="*/ 5960 w 10379"/>
                <a:gd name="connsiteY32" fmla="*/ 3714 h 10000"/>
                <a:gd name="connsiteX33" fmla="*/ 6426 w 10379"/>
                <a:gd name="connsiteY33" fmla="*/ 3286 h 10000"/>
                <a:gd name="connsiteX34" fmla="*/ 6193 w 10379"/>
                <a:gd name="connsiteY34" fmla="*/ 2286 h 10000"/>
                <a:gd name="connsiteX35" fmla="*/ 7356 w 10379"/>
                <a:gd name="connsiteY35" fmla="*/ 2286 h 10000"/>
                <a:gd name="connsiteX36" fmla="*/ 7821 w 10379"/>
                <a:gd name="connsiteY36" fmla="*/ 2857 h 10000"/>
                <a:gd name="connsiteX37" fmla="*/ 8751 w 10379"/>
                <a:gd name="connsiteY37" fmla="*/ 2857 h 10000"/>
                <a:gd name="connsiteX38" fmla="*/ 8751 w 10379"/>
                <a:gd name="connsiteY38" fmla="*/ 2429 h 10000"/>
                <a:gd name="connsiteX39" fmla="*/ 8984 w 10379"/>
                <a:gd name="connsiteY39" fmla="*/ 2143 h 10000"/>
                <a:gd name="connsiteX40" fmla="*/ 9216 w 10379"/>
                <a:gd name="connsiteY40" fmla="*/ 2286 h 10000"/>
                <a:gd name="connsiteX41" fmla="*/ 8984 w 10379"/>
                <a:gd name="connsiteY41" fmla="*/ 1429 h 10000"/>
                <a:gd name="connsiteX42" fmla="*/ 9449 w 10379"/>
                <a:gd name="connsiteY42" fmla="*/ 857 h 10000"/>
                <a:gd name="connsiteX43" fmla="*/ 9449 w 10379"/>
                <a:gd name="connsiteY43" fmla="*/ 286 h 10000"/>
                <a:gd name="connsiteX44" fmla="*/ 8984 w 10379"/>
                <a:gd name="connsiteY44" fmla="*/ 0 h 10000"/>
                <a:gd name="connsiteX45" fmla="*/ 8519 w 10379"/>
                <a:gd name="connsiteY45" fmla="*/ 0 h 10000"/>
                <a:gd name="connsiteX46" fmla="*/ 6891 w 10379"/>
                <a:gd name="connsiteY46" fmla="*/ 143 h 10000"/>
                <a:gd name="connsiteX47" fmla="*/ 6658 w 10379"/>
                <a:gd name="connsiteY47" fmla="*/ 0 h 10000"/>
                <a:gd name="connsiteX48" fmla="*/ 6658 w 10379"/>
                <a:gd name="connsiteY48" fmla="*/ 714 h 10000"/>
                <a:gd name="connsiteX49" fmla="*/ 6658 w 10379"/>
                <a:gd name="connsiteY49" fmla="*/ 857 h 10000"/>
                <a:gd name="connsiteX0" fmla="*/ 6556 w 10277"/>
                <a:gd name="connsiteY0" fmla="*/ 857 h 10000"/>
                <a:gd name="connsiteX1" fmla="*/ 5626 w 10277"/>
                <a:gd name="connsiteY1" fmla="*/ 1857 h 10000"/>
                <a:gd name="connsiteX2" fmla="*/ 5161 w 10277"/>
                <a:gd name="connsiteY2" fmla="*/ 2857 h 10000"/>
                <a:gd name="connsiteX3" fmla="*/ 5393 w 10277"/>
                <a:gd name="connsiteY3" fmla="*/ 3714 h 10000"/>
                <a:gd name="connsiteX4" fmla="*/ 277 w 10277"/>
                <a:gd name="connsiteY4" fmla="*/ 9143 h 10000"/>
                <a:gd name="connsiteX5" fmla="*/ 742 w 10277"/>
                <a:gd name="connsiteY5" fmla="*/ 9714 h 10000"/>
                <a:gd name="connsiteX6" fmla="*/ 1672 w 10277"/>
                <a:gd name="connsiteY6" fmla="*/ 9714 h 10000"/>
                <a:gd name="connsiteX7" fmla="*/ 2137 w 10277"/>
                <a:gd name="connsiteY7" fmla="*/ 9857 h 10000"/>
                <a:gd name="connsiteX8" fmla="*/ 1905 w 10277"/>
                <a:gd name="connsiteY8" fmla="*/ 9857 h 10000"/>
                <a:gd name="connsiteX9" fmla="*/ 2370 w 10277"/>
                <a:gd name="connsiteY9" fmla="*/ 10000 h 10000"/>
                <a:gd name="connsiteX10" fmla="*/ 2835 w 10277"/>
                <a:gd name="connsiteY10" fmla="*/ 9857 h 10000"/>
                <a:gd name="connsiteX11" fmla="*/ 3765 w 10277"/>
                <a:gd name="connsiteY11" fmla="*/ 10000 h 10000"/>
                <a:gd name="connsiteX12" fmla="*/ 4463 w 10277"/>
                <a:gd name="connsiteY12" fmla="*/ 9571 h 10000"/>
                <a:gd name="connsiteX13" fmla="*/ 5393 w 10277"/>
                <a:gd name="connsiteY13" fmla="*/ 9000 h 10000"/>
                <a:gd name="connsiteX14" fmla="*/ 6091 w 10277"/>
                <a:gd name="connsiteY14" fmla="*/ 8857 h 10000"/>
                <a:gd name="connsiteX15" fmla="*/ 5858 w 10277"/>
                <a:gd name="connsiteY15" fmla="*/ 8857 h 10000"/>
                <a:gd name="connsiteX16" fmla="*/ 5858 w 10277"/>
                <a:gd name="connsiteY16" fmla="*/ 8714 h 10000"/>
                <a:gd name="connsiteX17" fmla="*/ 7951 w 10277"/>
                <a:gd name="connsiteY17" fmla="*/ 8143 h 10000"/>
                <a:gd name="connsiteX18" fmla="*/ 8882 w 10277"/>
                <a:gd name="connsiteY18" fmla="*/ 8429 h 10000"/>
                <a:gd name="connsiteX19" fmla="*/ 9347 w 10277"/>
                <a:gd name="connsiteY19" fmla="*/ 8857 h 10000"/>
                <a:gd name="connsiteX20" fmla="*/ 9579 w 10277"/>
                <a:gd name="connsiteY20" fmla="*/ 9143 h 10000"/>
                <a:gd name="connsiteX21" fmla="*/ 10277 w 10277"/>
                <a:gd name="connsiteY21" fmla="*/ 8857 h 10000"/>
                <a:gd name="connsiteX22" fmla="*/ 10277 w 10277"/>
                <a:gd name="connsiteY22" fmla="*/ 8429 h 10000"/>
                <a:gd name="connsiteX23" fmla="*/ 9579 w 10277"/>
                <a:gd name="connsiteY23" fmla="*/ 7714 h 10000"/>
                <a:gd name="connsiteX24" fmla="*/ 9579 w 10277"/>
                <a:gd name="connsiteY24" fmla="*/ 7000 h 10000"/>
                <a:gd name="connsiteX25" fmla="*/ 9812 w 10277"/>
                <a:gd name="connsiteY25" fmla="*/ 7000 h 10000"/>
                <a:gd name="connsiteX26" fmla="*/ 9347 w 10277"/>
                <a:gd name="connsiteY26" fmla="*/ 6286 h 10000"/>
                <a:gd name="connsiteX27" fmla="*/ 9114 w 10277"/>
                <a:gd name="connsiteY27" fmla="*/ 6000 h 10000"/>
                <a:gd name="connsiteX28" fmla="*/ 7951 w 10277"/>
                <a:gd name="connsiteY28" fmla="*/ 5857 h 10000"/>
                <a:gd name="connsiteX29" fmla="*/ 6789 w 10277"/>
                <a:gd name="connsiteY29" fmla="*/ 5571 h 10000"/>
                <a:gd name="connsiteX30" fmla="*/ 6324 w 10277"/>
                <a:gd name="connsiteY30" fmla="*/ 4857 h 10000"/>
                <a:gd name="connsiteX31" fmla="*/ 5858 w 10277"/>
                <a:gd name="connsiteY31" fmla="*/ 3714 h 10000"/>
                <a:gd name="connsiteX32" fmla="*/ 6324 w 10277"/>
                <a:gd name="connsiteY32" fmla="*/ 3286 h 10000"/>
                <a:gd name="connsiteX33" fmla="*/ 6091 w 10277"/>
                <a:gd name="connsiteY33" fmla="*/ 2286 h 10000"/>
                <a:gd name="connsiteX34" fmla="*/ 7254 w 10277"/>
                <a:gd name="connsiteY34" fmla="*/ 2286 h 10000"/>
                <a:gd name="connsiteX35" fmla="*/ 7719 w 10277"/>
                <a:gd name="connsiteY35" fmla="*/ 2857 h 10000"/>
                <a:gd name="connsiteX36" fmla="*/ 8649 w 10277"/>
                <a:gd name="connsiteY36" fmla="*/ 2857 h 10000"/>
                <a:gd name="connsiteX37" fmla="*/ 8649 w 10277"/>
                <a:gd name="connsiteY37" fmla="*/ 2429 h 10000"/>
                <a:gd name="connsiteX38" fmla="*/ 8882 w 10277"/>
                <a:gd name="connsiteY38" fmla="*/ 2143 h 10000"/>
                <a:gd name="connsiteX39" fmla="*/ 9114 w 10277"/>
                <a:gd name="connsiteY39" fmla="*/ 2286 h 10000"/>
                <a:gd name="connsiteX40" fmla="*/ 8882 w 10277"/>
                <a:gd name="connsiteY40" fmla="*/ 1429 h 10000"/>
                <a:gd name="connsiteX41" fmla="*/ 9347 w 10277"/>
                <a:gd name="connsiteY41" fmla="*/ 857 h 10000"/>
                <a:gd name="connsiteX42" fmla="*/ 9347 w 10277"/>
                <a:gd name="connsiteY42" fmla="*/ 286 h 10000"/>
                <a:gd name="connsiteX43" fmla="*/ 8882 w 10277"/>
                <a:gd name="connsiteY43" fmla="*/ 0 h 10000"/>
                <a:gd name="connsiteX44" fmla="*/ 8417 w 10277"/>
                <a:gd name="connsiteY44" fmla="*/ 0 h 10000"/>
                <a:gd name="connsiteX45" fmla="*/ 6789 w 10277"/>
                <a:gd name="connsiteY45" fmla="*/ 143 h 10000"/>
                <a:gd name="connsiteX46" fmla="*/ 6556 w 10277"/>
                <a:gd name="connsiteY46" fmla="*/ 0 h 10000"/>
                <a:gd name="connsiteX47" fmla="*/ 6556 w 10277"/>
                <a:gd name="connsiteY47" fmla="*/ 714 h 10000"/>
                <a:gd name="connsiteX48" fmla="*/ 6556 w 10277"/>
                <a:gd name="connsiteY48" fmla="*/ 857 h 10000"/>
                <a:gd name="connsiteX0" fmla="*/ 5986 w 9707"/>
                <a:gd name="connsiteY0" fmla="*/ 857 h 10158"/>
                <a:gd name="connsiteX1" fmla="*/ 5056 w 9707"/>
                <a:gd name="connsiteY1" fmla="*/ 1857 h 10158"/>
                <a:gd name="connsiteX2" fmla="*/ 4591 w 9707"/>
                <a:gd name="connsiteY2" fmla="*/ 2857 h 10158"/>
                <a:gd name="connsiteX3" fmla="*/ 4823 w 9707"/>
                <a:gd name="connsiteY3" fmla="*/ 3714 h 10158"/>
                <a:gd name="connsiteX4" fmla="*/ 172 w 9707"/>
                <a:gd name="connsiteY4" fmla="*/ 9714 h 10158"/>
                <a:gd name="connsiteX5" fmla="*/ 1102 w 9707"/>
                <a:gd name="connsiteY5" fmla="*/ 9714 h 10158"/>
                <a:gd name="connsiteX6" fmla="*/ 1567 w 9707"/>
                <a:gd name="connsiteY6" fmla="*/ 9857 h 10158"/>
                <a:gd name="connsiteX7" fmla="*/ 1335 w 9707"/>
                <a:gd name="connsiteY7" fmla="*/ 9857 h 10158"/>
                <a:gd name="connsiteX8" fmla="*/ 1800 w 9707"/>
                <a:gd name="connsiteY8" fmla="*/ 10000 h 10158"/>
                <a:gd name="connsiteX9" fmla="*/ 2265 w 9707"/>
                <a:gd name="connsiteY9" fmla="*/ 9857 h 10158"/>
                <a:gd name="connsiteX10" fmla="*/ 3195 w 9707"/>
                <a:gd name="connsiteY10" fmla="*/ 10000 h 10158"/>
                <a:gd name="connsiteX11" fmla="*/ 3893 w 9707"/>
                <a:gd name="connsiteY11" fmla="*/ 9571 h 10158"/>
                <a:gd name="connsiteX12" fmla="*/ 4823 w 9707"/>
                <a:gd name="connsiteY12" fmla="*/ 9000 h 10158"/>
                <a:gd name="connsiteX13" fmla="*/ 5521 w 9707"/>
                <a:gd name="connsiteY13" fmla="*/ 8857 h 10158"/>
                <a:gd name="connsiteX14" fmla="*/ 5288 w 9707"/>
                <a:gd name="connsiteY14" fmla="*/ 8857 h 10158"/>
                <a:gd name="connsiteX15" fmla="*/ 5288 w 9707"/>
                <a:gd name="connsiteY15" fmla="*/ 8714 h 10158"/>
                <a:gd name="connsiteX16" fmla="*/ 7381 w 9707"/>
                <a:gd name="connsiteY16" fmla="*/ 8143 h 10158"/>
                <a:gd name="connsiteX17" fmla="*/ 8312 w 9707"/>
                <a:gd name="connsiteY17" fmla="*/ 8429 h 10158"/>
                <a:gd name="connsiteX18" fmla="*/ 8777 w 9707"/>
                <a:gd name="connsiteY18" fmla="*/ 8857 h 10158"/>
                <a:gd name="connsiteX19" fmla="*/ 9009 w 9707"/>
                <a:gd name="connsiteY19" fmla="*/ 9143 h 10158"/>
                <a:gd name="connsiteX20" fmla="*/ 9707 w 9707"/>
                <a:gd name="connsiteY20" fmla="*/ 8857 h 10158"/>
                <a:gd name="connsiteX21" fmla="*/ 9707 w 9707"/>
                <a:gd name="connsiteY21" fmla="*/ 8429 h 10158"/>
                <a:gd name="connsiteX22" fmla="*/ 9009 w 9707"/>
                <a:gd name="connsiteY22" fmla="*/ 7714 h 10158"/>
                <a:gd name="connsiteX23" fmla="*/ 9009 w 9707"/>
                <a:gd name="connsiteY23" fmla="*/ 7000 h 10158"/>
                <a:gd name="connsiteX24" fmla="*/ 9242 w 9707"/>
                <a:gd name="connsiteY24" fmla="*/ 7000 h 10158"/>
                <a:gd name="connsiteX25" fmla="*/ 8777 w 9707"/>
                <a:gd name="connsiteY25" fmla="*/ 6286 h 10158"/>
                <a:gd name="connsiteX26" fmla="*/ 8544 w 9707"/>
                <a:gd name="connsiteY26" fmla="*/ 6000 h 10158"/>
                <a:gd name="connsiteX27" fmla="*/ 7381 w 9707"/>
                <a:gd name="connsiteY27" fmla="*/ 5857 h 10158"/>
                <a:gd name="connsiteX28" fmla="*/ 6219 w 9707"/>
                <a:gd name="connsiteY28" fmla="*/ 5571 h 10158"/>
                <a:gd name="connsiteX29" fmla="*/ 5754 w 9707"/>
                <a:gd name="connsiteY29" fmla="*/ 4857 h 10158"/>
                <a:gd name="connsiteX30" fmla="*/ 5288 w 9707"/>
                <a:gd name="connsiteY30" fmla="*/ 3714 h 10158"/>
                <a:gd name="connsiteX31" fmla="*/ 5754 w 9707"/>
                <a:gd name="connsiteY31" fmla="*/ 3286 h 10158"/>
                <a:gd name="connsiteX32" fmla="*/ 5521 w 9707"/>
                <a:gd name="connsiteY32" fmla="*/ 2286 h 10158"/>
                <a:gd name="connsiteX33" fmla="*/ 6684 w 9707"/>
                <a:gd name="connsiteY33" fmla="*/ 2286 h 10158"/>
                <a:gd name="connsiteX34" fmla="*/ 7149 w 9707"/>
                <a:gd name="connsiteY34" fmla="*/ 2857 h 10158"/>
                <a:gd name="connsiteX35" fmla="*/ 8079 w 9707"/>
                <a:gd name="connsiteY35" fmla="*/ 2857 h 10158"/>
                <a:gd name="connsiteX36" fmla="*/ 8079 w 9707"/>
                <a:gd name="connsiteY36" fmla="*/ 2429 h 10158"/>
                <a:gd name="connsiteX37" fmla="*/ 8312 w 9707"/>
                <a:gd name="connsiteY37" fmla="*/ 2143 h 10158"/>
                <a:gd name="connsiteX38" fmla="*/ 8544 w 9707"/>
                <a:gd name="connsiteY38" fmla="*/ 2286 h 10158"/>
                <a:gd name="connsiteX39" fmla="*/ 8312 w 9707"/>
                <a:gd name="connsiteY39" fmla="*/ 1429 h 10158"/>
                <a:gd name="connsiteX40" fmla="*/ 8777 w 9707"/>
                <a:gd name="connsiteY40" fmla="*/ 857 h 10158"/>
                <a:gd name="connsiteX41" fmla="*/ 8777 w 9707"/>
                <a:gd name="connsiteY41" fmla="*/ 286 h 10158"/>
                <a:gd name="connsiteX42" fmla="*/ 8312 w 9707"/>
                <a:gd name="connsiteY42" fmla="*/ 0 h 10158"/>
                <a:gd name="connsiteX43" fmla="*/ 7847 w 9707"/>
                <a:gd name="connsiteY43" fmla="*/ 0 h 10158"/>
                <a:gd name="connsiteX44" fmla="*/ 6219 w 9707"/>
                <a:gd name="connsiteY44" fmla="*/ 143 h 10158"/>
                <a:gd name="connsiteX45" fmla="*/ 5986 w 9707"/>
                <a:gd name="connsiteY45" fmla="*/ 0 h 10158"/>
                <a:gd name="connsiteX46" fmla="*/ 5986 w 9707"/>
                <a:gd name="connsiteY46" fmla="*/ 714 h 10158"/>
                <a:gd name="connsiteX47" fmla="*/ 5986 w 9707"/>
                <a:gd name="connsiteY47" fmla="*/ 857 h 10158"/>
                <a:gd name="connsiteX0" fmla="*/ 5032 w 8865"/>
                <a:gd name="connsiteY0" fmla="*/ 844 h 9844"/>
                <a:gd name="connsiteX1" fmla="*/ 4074 w 8865"/>
                <a:gd name="connsiteY1" fmla="*/ 1828 h 9844"/>
                <a:gd name="connsiteX2" fmla="*/ 3595 w 8865"/>
                <a:gd name="connsiteY2" fmla="*/ 2813 h 9844"/>
                <a:gd name="connsiteX3" fmla="*/ 3834 w 8865"/>
                <a:gd name="connsiteY3" fmla="*/ 3656 h 9844"/>
                <a:gd name="connsiteX4" fmla="*/ 0 w 8865"/>
                <a:gd name="connsiteY4" fmla="*/ 9563 h 9844"/>
                <a:gd name="connsiteX5" fmla="*/ 479 w 8865"/>
                <a:gd name="connsiteY5" fmla="*/ 9704 h 9844"/>
                <a:gd name="connsiteX6" fmla="*/ 240 w 8865"/>
                <a:gd name="connsiteY6" fmla="*/ 9704 h 9844"/>
                <a:gd name="connsiteX7" fmla="*/ 719 w 8865"/>
                <a:gd name="connsiteY7" fmla="*/ 9844 h 9844"/>
                <a:gd name="connsiteX8" fmla="*/ 1198 w 8865"/>
                <a:gd name="connsiteY8" fmla="*/ 9704 h 9844"/>
                <a:gd name="connsiteX9" fmla="*/ 2156 w 8865"/>
                <a:gd name="connsiteY9" fmla="*/ 9844 h 9844"/>
                <a:gd name="connsiteX10" fmla="*/ 2876 w 8865"/>
                <a:gd name="connsiteY10" fmla="*/ 9422 h 9844"/>
                <a:gd name="connsiteX11" fmla="*/ 3834 w 8865"/>
                <a:gd name="connsiteY11" fmla="*/ 8860 h 9844"/>
                <a:gd name="connsiteX12" fmla="*/ 4553 w 8865"/>
                <a:gd name="connsiteY12" fmla="*/ 8719 h 9844"/>
                <a:gd name="connsiteX13" fmla="*/ 4313 w 8865"/>
                <a:gd name="connsiteY13" fmla="*/ 8719 h 9844"/>
                <a:gd name="connsiteX14" fmla="*/ 4313 w 8865"/>
                <a:gd name="connsiteY14" fmla="*/ 8578 h 9844"/>
                <a:gd name="connsiteX15" fmla="*/ 6469 w 8865"/>
                <a:gd name="connsiteY15" fmla="*/ 8016 h 9844"/>
                <a:gd name="connsiteX16" fmla="*/ 7428 w 8865"/>
                <a:gd name="connsiteY16" fmla="*/ 8298 h 9844"/>
                <a:gd name="connsiteX17" fmla="*/ 7907 w 8865"/>
                <a:gd name="connsiteY17" fmla="*/ 8719 h 9844"/>
                <a:gd name="connsiteX18" fmla="*/ 8146 w 8865"/>
                <a:gd name="connsiteY18" fmla="*/ 9001 h 9844"/>
                <a:gd name="connsiteX19" fmla="*/ 8865 w 8865"/>
                <a:gd name="connsiteY19" fmla="*/ 8719 h 9844"/>
                <a:gd name="connsiteX20" fmla="*/ 8865 w 8865"/>
                <a:gd name="connsiteY20" fmla="*/ 8298 h 9844"/>
                <a:gd name="connsiteX21" fmla="*/ 8146 w 8865"/>
                <a:gd name="connsiteY21" fmla="*/ 7594 h 9844"/>
                <a:gd name="connsiteX22" fmla="*/ 8146 w 8865"/>
                <a:gd name="connsiteY22" fmla="*/ 6891 h 9844"/>
                <a:gd name="connsiteX23" fmla="*/ 8386 w 8865"/>
                <a:gd name="connsiteY23" fmla="*/ 6891 h 9844"/>
                <a:gd name="connsiteX24" fmla="*/ 7907 w 8865"/>
                <a:gd name="connsiteY24" fmla="*/ 6188 h 9844"/>
                <a:gd name="connsiteX25" fmla="*/ 7667 w 8865"/>
                <a:gd name="connsiteY25" fmla="*/ 5907 h 9844"/>
                <a:gd name="connsiteX26" fmla="*/ 6469 w 8865"/>
                <a:gd name="connsiteY26" fmla="*/ 5766 h 9844"/>
                <a:gd name="connsiteX27" fmla="*/ 5272 w 8865"/>
                <a:gd name="connsiteY27" fmla="*/ 5484 h 9844"/>
                <a:gd name="connsiteX28" fmla="*/ 4793 w 8865"/>
                <a:gd name="connsiteY28" fmla="*/ 4781 h 9844"/>
                <a:gd name="connsiteX29" fmla="*/ 4313 w 8865"/>
                <a:gd name="connsiteY29" fmla="*/ 3656 h 9844"/>
                <a:gd name="connsiteX30" fmla="*/ 4793 w 8865"/>
                <a:gd name="connsiteY30" fmla="*/ 3235 h 9844"/>
                <a:gd name="connsiteX31" fmla="*/ 4553 w 8865"/>
                <a:gd name="connsiteY31" fmla="*/ 2250 h 9844"/>
                <a:gd name="connsiteX32" fmla="*/ 5751 w 8865"/>
                <a:gd name="connsiteY32" fmla="*/ 2250 h 9844"/>
                <a:gd name="connsiteX33" fmla="*/ 6230 w 8865"/>
                <a:gd name="connsiteY33" fmla="*/ 2813 h 9844"/>
                <a:gd name="connsiteX34" fmla="*/ 7188 w 8865"/>
                <a:gd name="connsiteY34" fmla="*/ 2813 h 9844"/>
                <a:gd name="connsiteX35" fmla="*/ 7188 w 8865"/>
                <a:gd name="connsiteY35" fmla="*/ 2391 h 9844"/>
                <a:gd name="connsiteX36" fmla="*/ 7428 w 8865"/>
                <a:gd name="connsiteY36" fmla="*/ 2110 h 9844"/>
                <a:gd name="connsiteX37" fmla="*/ 7667 w 8865"/>
                <a:gd name="connsiteY37" fmla="*/ 2250 h 9844"/>
                <a:gd name="connsiteX38" fmla="*/ 7428 w 8865"/>
                <a:gd name="connsiteY38" fmla="*/ 1407 h 9844"/>
                <a:gd name="connsiteX39" fmla="*/ 7907 w 8865"/>
                <a:gd name="connsiteY39" fmla="*/ 844 h 9844"/>
                <a:gd name="connsiteX40" fmla="*/ 7907 w 8865"/>
                <a:gd name="connsiteY40" fmla="*/ 282 h 9844"/>
                <a:gd name="connsiteX41" fmla="*/ 7428 w 8865"/>
                <a:gd name="connsiteY41" fmla="*/ 0 h 9844"/>
                <a:gd name="connsiteX42" fmla="*/ 6949 w 8865"/>
                <a:gd name="connsiteY42" fmla="*/ 0 h 9844"/>
                <a:gd name="connsiteX43" fmla="*/ 5272 w 8865"/>
                <a:gd name="connsiteY43" fmla="*/ 141 h 9844"/>
                <a:gd name="connsiteX44" fmla="*/ 5032 w 8865"/>
                <a:gd name="connsiteY44" fmla="*/ 0 h 9844"/>
                <a:gd name="connsiteX45" fmla="*/ 5032 w 8865"/>
                <a:gd name="connsiteY45" fmla="*/ 703 h 9844"/>
                <a:gd name="connsiteX46" fmla="*/ 5032 w 8865"/>
                <a:gd name="connsiteY46" fmla="*/ 844 h 9844"/>
                <a:gd name="connsiteX0" fmla="*/ 5405 w 9729"/>
                <a:gd name="connsiteY0" fmla="*/ 857 h 10000"/>
                <a:gd name="connsiteX1" fmla="*/ 4325 w 9729"/>
                <a:gd name="connsiteY1" fmla="*/ 1857 h 10000"/>
                <a:gd name="connsiteX2" fmla="*/ 3784 w 9729"/>
                <a:gd name="connsiteY2" fmla="*/ 2858 h 10000"/>
                <a:gd name="connsiteX3" fmla="*/ 4054 w 9729"/>
                <a:gd name="connsiteY3" fmla="*/ 3714 h 10000"/>
                <a:gd name="connsiteX4" fmla="*/ 269 w 9729"/>
                <a:gd name="connsiteY4" fmla="*/ 9858 h 10000"/>
                <a:gd name="connsiteX5" fmla="*/ 0 w 9729"/>
                <a:gd name="connsiteY5" fmla="*/ 9858 h 10000"/>
                <a:gd name="connsiteX6" fmla="*/ 540 w 9729"/>
                <a:gd name="connsiteY6" fmla="*/ 10000 h 10000"/>
                <a:gd name="connsiteX7" fmla="*/ 1080 w 9729"/>
                <a:gd name="connsiteY7" fmla="*/ 9858 h 10000"/>
                <a:gd name="connsiteX8" fmla="*/ 2161 w 9729"/>
                <a:gd name="connsiteY8" fmla="*/ 10000 h 10000"/>
                <a:gd name="connsiteX9" fmla="*/ 2973 w 9729"/>
                <a:gd name="connsiteY9" fmla="*/ 9571 h 10000"/>
                <a:gd name="connsiteX10" fmla="*/ 4054 w 9729"/>
                <a:gd name="connsiteY10" fmla="*/ 9000 h 10000"/>
                <a:gd name="connsiteX11" fmla="*/ 4865 w 9729"/>
                <a:gd name="connsiteY11" fmla="*/ 8857 h 10000"/>
                <a:gd name="connsiteX12" fmla="*/ 4594 w 9729"/>
                <a:gd name="connsiteY12" fmla="*/ 8857 h 10000"/>
                <a:gd name="connsiteX13" fmla="*/ 4594 w 9729"/>
                <a:gd name="connsiteY13" fmla="*/ 8714 h 10000"/>
                <a:gd name="connsiteX14" fmla="*/ 7026 w 9729"/>
                <a:gd name="connsiteY14" fmla="*/ 8143 h 10000"/>
                <a:gd name="connsiteX15" fmla="*/ 8108 w 9729"/>
                <a:gd name="connsiteY15" fmla="*/ 8430 h 10000"/>
                <a:gd name="connsiteX16" fmla="*/ 8648 w 9729"/>
                <a:gd name="connsiteY16" fmla="*/ 8857 h 10000"/>
                <a:gd name="connsiteX17" fmla="*/ 8918 w 9729"/>
                <a:gd name="connsiteY17" fmla="*/ 9144 h 10000"/>
                <a:gd name="connsiteX18" fmla="*/ 9729 w 9729"/>
                <a:gd name="connsiteY18" fmla="*/ 8857 h 10000"/>
                <a:gd name="connsiteX19" fmla="*/ 9729 w 9729"/>
                <a:gd name="connsiteY19" fmla="*/ 8430 h 10000"/>
                <a:gd name="connsiteX20" fmla="*/ 8918 w 9729"/>
                <a:gd name="connsiteY20" fmla="*/ 7714 h 10000"/>
                <a:gd name="connsiteX21" fmla="*/ 8918 w 9729"/>
                <a:gd name="connsiteY21" fmla="*/ 7000 h 10000"/>
                <a:gd name="connsiteX22" fmla="*/ 9189 w 9729"/>
                <a:gd name="connsiteY22" fmla="*/ 7000 h 10000"/>
                <a:gd name="connsiteX23" fmla="*/ 8648 w 9729"/>
                <a:gd name="connsiteY23" fmla="*/ 6286 h 10000"/>
                <a:gd name="connsiteX24" fmla="*/ 8378 w 9729"/>
                <a:gd name="connsiteY24" fmla="*/ 6001 h 10000"/>
                <a:gd name="connsiteX25" fmla="*/ 7026 w 9729"/>
                <a:gd name="connsiteY25" fmla="*/ 5857 h 10000"/>
                <a:gd name="connsiteX26" fmla="*/ 5676 w 9729"/>
                <a:gd name="connsiteY26" fmla="*/ 5571 h 10000"/>
                <a:gd name="connsiteX27" fmla="*/ 5136 w 9729"/>
                <a:gd name="connsiteY27" fmla="*/ 4857 h 10000"/>
                <a:gd name="connsiteX28" fmla="*/ 4594 w 9729"/>
                <a:gd name="connsiteY28" fmla="*/ 3714 h 10000"/>
                <a:gd name="connsiteX29" fmla="*/ 5136 w 9729"/>
                <a:gd name="connsiteY29" fmla="*/ 3286 h 10000"/>
                <a:gd name="connsiteX30" fmla="*/ 4865 w 9729"/>
                <a:gd name="connsiteY30" fmla="*/ 2286 h 10000"/>
                <a:gd name="connsiteX31" fmla="*/ 6216 w 9729"/>
                <a:gd name="connsiteY31" fmla="*/ 2286 h 10000"/>
                <a:gd name="connsiteX32" fmla="*/ 6757 w 9729"/>
                <a:gd name="connsiteY32" fmla="*/ 2858 h 10000"/>
                <a:gd name="connsiteX33" fmla="*/ 7837 w 9729"/>
                <a:gd name="connsiteY33" fmla="*/ 2858 h 10000"/>
                <a:gd name="connsiteX34" fmla="*/ 7837 w 9729"/>
                <a:gd name="connsiteY34" fmla="*/ 2429 h 10000"/>
                <a:gd name="connsiteX35" fmla="*/ 8108 w 9729"/>
                <a:gd name="connsiteY35" fmla="*/ 2143 h 10000"/>
                <a:gd name="connsiteX36" fmla="*/ 8378 w 9729"/>
                <a:gd name="connsiteY36" fmla="*/ 2286 h 10000"/>
                <a:gd name="connsiteX37" fmla="*/ 8108 w 9729"/>
                <a:gd name="connsiteY37" fmla="*/ 1429 h 10000"/>
                <a:gd name="connsiteX38" fmla="*/ 8648 w 9729"/>
                <a:gd name="connsiteY38" fmla="*/ 857 h 10000"/>
                <a:gd name="connsiteX39" fmla="*/ 8648 w 9729"/>
                <a:gd name="connsiteY39" fmla="*/ 286 h 10000"/>
                <a:gd name="connsiteX40" fmla="*/ 8108 w 9729"/>
                <a:gd name="connsiteY40" fmla="*/ 0 h 10000"/>
                <a:gd name="connsiteX41" fmla="*/ 7568 w 9729"/>
                <a:gd name="connsiteY41" fmla="*/ 0 h 10000"/>
                <a:gd name="connsiteX42" fmla="*/ 5676 w 9729"/>
                <a:gd name="connsiteY42" fmla="*/ 143 h 10000"/>
                <a:gd name="connsiteX43" fmla="*/ 5405 w 9729"/>
                <a:gd name="connsiteY43" fmla="*/ 0 h 10000"/>
                <a:gd name="connsiteX44" fmla="*/ 5405 w 9729"/>
                <a:gd name="connsiteY44" fmla="*/ 714 h 10000"/>
                <a:gd name="connsiteX45" fmla="*/ 5405 w 9729"/>
                <a:gd name="connsiteY45" fmla="*/ 857 h 10000"/>
                <a:gd name="connsiteX0" fmla="*/ 5280 w 9724"/>
                <a:gd name="connsiteY0" fmla="*/ 857 h 10000"/>
                <a:gd name="connsiteX1" fmla="*/ 4169 w 9724"/>
                <a:gd name="connsiteY1" fmla="*/ 1857 h 10000"/>
                <a:gd name="connsiteX2" fmla="*/ 3613 w 9724"/>
                <a:gd name="connsiteY2" fmla="*/ 2858 h 10000"/>
                <a:gd name="connsiteX3" fmla="*/ 3891 w 9724"/>
                <a:gd name="connsiteY3" fmla="*/ 3714 h 10000"/>
                <a:gd name="connsiteX4" fmla="*/ 0 w 9724"/>
                <a:gd name="connsiteY4" fmla="*/ 9858 h 10000"/>
                <a:gd name="connsiteX5" fmla="*/ 279 w 9724"/>
                <a:gd name="connsiteY5" fmla="*/ 10000 h 10000"/>
                <a:gd name="connsiteX6" fmla="*/ 834 w 9724"/>
                <a:gd name="connsiteY6" fmla="*/ 9858 h 10000"/>
                <a:gd name="connsiteX7" fmla="*/ 1945 w 9724"/>
                <a:gd name="connsiteY7" fmla="*/ 10000 h 10000"/>
                <a:gd name="connsiteX8" fmla="*/ 2780 w 9724"/>
                <a:gd name="connsiteY8" fmla="*/ 9571 h 10000"/>
                <a:gd name="connsiteX9" fmla="*/ 3891 w 9724"/>
                <a:gd name="connsiteY9" fmla="*/ 9000 h 10000"/>
                <a:gd name="connsiteX10" fmla="*/ 4725 w 9724"/>
                <a:gd name="connsiteY10" fmla="*/ 8857 h 10000"/>
                <a:gd name="connsiteX11" fmla="*/ 4446 w 9724"/>
                <a:gd name="connsiteY11" fmla="*/ 8857 h 10000"/>
                <a:gd name="connsiteX12" fmla="*/ 4446 w 9724"/>
                <a:gd name="connsiteY12" fmla="*/ 8714 h 10000"/>
                <a:gd name="connsiteX13" fmla="*/ 6946 w 9724"/>
                <a:gd name="connsiteY13" fmla="*/ 8143 h 10000"/>
                <a:gd name="connsiteX14" fmla="*/ 8058 w 9724"/>
                <a:gd name="connsiteY14" fmla="*/ 8430 h 10000"/>
                <a:gd name="connsiteX15" fmla="*/ 8613 w 9724"/>
                <a:gd name="connsiteY15" fmla="*/ 8857 h 10000"/>
                <a:gd name="connsiteX16" fmla="*/ 8890 w 9724"/>
                <a:gd name="connsiteY16" fmla="*/ 9144 h 10000"/>
                <a:gd name="connsiteX17" fmla="*/ 9724 w 9724"/>
                <a:gd name="connsiteY17" fmla="*/ 8857 h 10000"/>
                <a:gd name="connsiteX18" fmla="*/ 9724 w 9724"/>
                <a:gd name="connsiteY18" fmla="*/ 8430 h 10000"/>
                <a:gd name="connsiteX19" fmla="*/ 8890 w 9724"/>
                <a:gd name="connsiteY19" fmla="*/ 7714 h 10000"/>
                <a:gd name="connsiteX20" fmla="*/ 8890 w 9724"/>
                <a:gd name="connsiteY20" fmla="*/ 7000 h 10000"/>
                <a:gd name="connsiteX21" fmla="*/ 9169 w 9724"/>
                <a:gd name="connsiteY21" fmla="*/ 7000 h 10000"/>
                <a:gd name="connsiteX22" fmla="*/ 8613 w 9724"/>
                <a:gd name="connsiteY22" fmla="*/ 6286 h 10000"/>
                <a:gd name="connsiteX23" fmla="*/ 8335 w 9724"/>
                <a:gd name="connsiteY23" fmla="*/ 6001 h 10000"/>
                <a:gd name="connsiteX24" fmla="*/ 6946 w 9724"/>
                <a:gd name="connsiteY24" fmla="*/ 5857 h 10000"/>
                <a:gd name="connsiteX25" fmla="*/ 5558 w 9724"/>
                <a:gd name="connsiteY25" fmla="*/ 5571 h 10000"/>
                <a:gd name="connsiteX26" fmla="*/ 5003 w 9724"/>
                <a:gd name="connsiteY26" fmla="*/ 4857 h 10000"/>
                <a:gd name="connsiteX27" fmla="*/ 4446 w 9724"/>
                <a:gd name="connsiteY27" fmla="*/ 3714 h 10000"/>
                <a:gd name="connsiteX28" fmla="*/ 5003 w 9724"/>
                <a:gd name="connsiteY28" fmla="*/ 3286 h 10000"/>
                <a:gd name="connsiteX29" fmla="*/ 4725 w 9724"/>
                <a:gd name="connsiteY29" fmla="*/ 2286 h 10000"/>
                <a:gd name="connsiteX30" fmla="*/ 6113 w 9724"/>
                <a:gd name="connsiteY30" fmla="*/ 2286 h 10000"/>
                <a:gd name="connsiteX31" fmla="*/ 6669 w 9724"/>
                <a:gd name="connsiteY31" fmla="*/ 2858 h 10000"/>
                <a:gd name="connsiteX32" fmla="*/ 7779 w 9724"/>
                <a:gd name="connsiteY32" fmla="*/ 2858 h 10000"/>
                <a:gd name="connsiteX33" fmla="*/ 7779 w 9724"/>
                <a:gd name="connsiteY33" fmla="*/ 2429 h 10000"/>
                <a:gd name="connsiteX34" fmla="*/ 8058 w 9724"/>
                <a:gd name="connsiteY34" fmla="*/ 2143 h 10000"/>
                <a:gd name="connsiteX35" fmla="*/ 8335 w 9724"/>
                <a:gd name="connsiteY35" fmla="*/ 2286 h 10000"/>
                <a:gd name="connsiteX36" fmla="*/ 8058 w 9724"/>
                <a:gd name="connsiteY36" fmla="*/ 1429 h 10000"/>
                <a:gd name="connsiteX37" fmla="*/ 8613 w 9724"/>
                <a:gd name="connsiteY37" fmla="*/ 857 h 10000"/>
                <a:gd name="connsiteX38" fmla="*/ 8613 w 9724"/>
                <a:gd name="connsiteY38" fmla="*/ 286 h 10000"/>
                <a:gd name="connsiteX39" fmla="*/ 8058 w 9724"/>
                <a:gd name="connsiteY39" fmla="*/ 0 h 10000"/>
                <a:gd name="connsiteX40" fmla="*/ 7503 w 9724"/>
                <a:gd name="connsiteY40" fmla="*/ 0 h 10000"/>
                <a:gd name="connsiteX41" fmla="*/ 5558 w 9724"/>
                <a:gd name="connsiteY41" fmla="*/ 143 h 10000"/>
                <a:gd name="connsiteX42" fmla="*/ 5280 w 9724"/>
                <a:gd name="connsiteY42" fmla="*/ 0 h 10000"/>
                <a:gd name="connsiteX43" fmla="*/ 5280 w 9724"/>
                <a:gd name="connsiteY43" fmla="*/ 714 h 10000"/>
                <a:gd name="connsiteX44" fmla="*/ 5280 w 9724"/>
                <a:gd name="connsiteY44" fmla="*/ 857 h 10000"/>
                <a:gd name="connsiteX0" fmla="*/ 5430 w 10000"/>
                <a:gd name="connsiteY0" fmla="*/ 857 h 10000"/>
                <a:gd name="connsiteX1" fmla="*/ 4287 w 10000"/>
                <a:gd name="connsiteY1" fmla="*/ 1857 h 10000"/>
                <a:gd name="connsiteX2" fmla="*/ 3716 w 10000"/>
                <a:gd name="connsiteY2" fmla="*/ 2858 h 10000"/>
                <a:gd name="connsiteX3" fmla="*/ 4001 w 10000"/>
                <a:gd name="connsiteY3" fmla="*/ 3714 h 10000"/>
                <a:gd name="connsiteX4" fmla="*/ 0 w 10000"/>
                <a:gd name="connsiteY4" fmla="*/ 9858 h 10000"/>
                <a:gd name="connsiteX5" fmla="*/ 858 w 10000"/>
                <a:gd name="connsiteY5" fmla="*/ 9858 h 10000"/>
                <a:gd name="connsiteX6" fmla="*/ 2000 w 10000"/>
                <a:gd name="connsiteY6" fmla="*/ 10000 h 10000"/>
                <a:gd name="connsiteX7" fmla="*/ 2859 w 10000"/>
                <a:gd name="connsiteY7" fmla="*/ 9571 h 10000"/>
                <a:gd name="connsiteX8" fmla="*/ 4001 w 10000"/>
                <a:gd name="connsiteY8" fmla="*/ 9000 h 10000"/>
                <a:gd name="connsiteX9" fmla="*/ 4859 w 10000"/>
                <a:gd name="connsiteY9" fmla="*/ 8857 h 10000"/>
                <a:gd name="connsiteX10" fmla="*/ 4572 w 10000"/>
                <a:gd name="connsiteY10" fmla="*/ 8857 h 10000"/>
                <a:gd name="connsiteX11" fmla="*/ 4572 w 10000"/>
                <a:gd name="connsiteY11" fmla="*/ 8714 h 10000"/>
                <a:gd name="connsiteX12" fmla="*/ 7143 w 10000"/>
                <a:gd name="connsiteY12" fmla="*/ 8143 h 10000"/>
                <a:gd name="connsiteX13" fmla="*/ 8287 w 10000"/>
                <a:gd name="connsiteY13" fmla="*/ 8430 h 10000"/>
                <a:gd name="connsiteX14" fmla="*/ 8857 w 10000"/>
                <a:gd name="connsiteY14" fmla="*/ 8857 h 10000"/>
                <a:gd name="connsiteX15" fmla="*/ 9142 w 10000"/>
                <a:gd name="connsiteY15" fmla="*/ 9144 h 10000"/>
                <a:gd name="connsiteX16" fmla="*/ 10000 w 10000"/>
                <a:gd name="connsiteY16" fmla="*/ 8857 h 10000"/>
                <a:gd name="connsiteX17" fmla="*/ 10000 w 10000"/>
                <a:gd name="connsiteY17" fmla="*/ 8430 h 10000"/>
                <a:gd name="connsiteX18" fmla="*/ 9142 w 10000"/>
                <a:gd name="connsiteY18" fmla="*/ 7714 h 10000"/>
                <a:gd name="connsiteX19" fmla="*/ 9142 w 10000"/>
                <a:gd name="connsiteY19" fmla="*/ 7000 h 10000"/>
                <a:gd name="connsiteX20" fmla="*/ 9429 w 10000"/>
                <a:gd name="connsiteY20" fmla="*/ 7000 h 10000"/>
                <a:gd name="connsiteX21" fmla="*/ 8857 w 10000"/>
                <a:gd name="connsiteY21" fmla="*/ 6286 h 10000"/>
                <a:gd name="connsiteX22" fmla="*/ 8572 w 10000"/>
                <a:gd name="connsiteY22" fmla="*/ 6001 h 10000"/>
                <a:gd name="connsiteX23" fmla="*/ 7143 w 10000"/>
                <a:gd name="connsiteY23" fmla="*/ 5857 h 10000"/>
                <a:gd name="connsiteX24" fmla="*/ 5716 w 10000"/>
                <a:gd name="connsiteY24" fmla="*/ 5571 h 10000"/>
                <a:gd name="connsiteX25" fmla="*/ 5145 w 10000"/>
                <a:gd name="connsiteY25" fmla="*/ 4857 h 10000"/>
                <a:gd name="connsiteX26" fmla="*/ 4572 w 10000"/>
                <a:gd name="connsiteY26" fmla="*/ 3714 h 10000"/>
                <a:gd name="connsiteX27" fmla="*/ 5145 w 10000"/>
                <a:gd name="connsiteY27" fmla="*/ 3286 h 10000"/>
                <a:gd name="connsiteX28" fmla="*/ 4859 w 10000"/>
                <a:gd name="connsiteY28" fmla="*/ 2286 h 10000"/>
                <a:gd name="connsiteX29" fmla="*/ 6287 w 10000"/>
                <a:gd name="connsiteY29" fmla="*/ 2286 h 10000"/>
                <a:gd name="connsiteX30" fmla="*/ 6858 w 10000"/>
                <a:gd name="connsiteY30" fmla="*/ 2858 h 10000"/>
                <a:gd name="connsiteX31" fmla="*/ 8000 w 10000"/>
                <a:gd name="connsiteY31" fmla="*/ 2858 h 10000"/>
                <a:gd name="connsiteX32" fmla="*/ 8000 w 10000"/>
                <a:gd name="connsiteY32" fmla="*/ 2429 h 10000"/>
                <a:gd name="connsiteX33" fmla="*/ 8287 w 10000"/>
                <a:gd name="connsiteY33" fmla="*/ 2143 h 10000"/>
                <a:gd name="connsiteX34" fmla="*/ 8572 w 10000"/>
                <a:gd name="connsiteY34" fmla="*/ 2286 h 10000"/>
                <a:gd name="connsiteX35" fmla="*/ 8287 w 10000"/>
                <a:gd name="connsiteY35" fmla="*/ 1429 h 10000"/>
                <a:gd name="connsiteX36" fmla="*/ 8857 w 10000"/>
                <a:gd name="connsiteY36" fmla="*/ 857 h 10000"/>
                <a:gd name="connsiteX37" fmla="*/ 8857 w 10000"/>
                <a:gd name="connsiteY37" fmla="*/ 286 h 10000"/>
                <a:gd name="connsiteX38" fmla="*/ 8287 w 10000"/>
                <a:gd name="connsiteY38" fmla="*/ 0 h 10000"/>
                <a:gd name="connsiteX39" fmla="*/ 7716 w 10000"/>
                <a:gd name="connsiteY39" fmla="*/ 0 h 10000"/>
                <a:gd name="connsiteX40" fmla="*/ 5716 w 10000"/>
                <a:gd name="connsiteY40" fmla="*/ 143 h 10000"/>
                <a:gd name="connsiteX41" fmla="*/ 5430 w 10000"/>
                <a:gd name="connsiteY41" fmla="*/ 0 h 10000"/>
                <a:gd name="connsiteX42" fmla="*/ 5430 w 10000"/>
                <a:gd name="connsiteY42" fmla="*/ 714 h 10000"/>
                <a:gd name="connsiteX43" fmla="*/ 5430 w 10000"/>
                <a:gd name="connsiteY43" fmla="*/ 857 h 10000"/>
                <a:gd name="connsiteX0" fmla="*/ 5430 w 10000"/>
                <a:gd name="connsiteY0" fmla="*/ 857 h 10000"/>
                <a:gd name="connsiteX1" fmla="*/ 4287 w 10000"/>
                <a:gd name="connsiteY1" fmla="*/ 1857 h 10000"/>
                <a:gd name="connsiteX2" fmla="*/ 3716 w 10000"/>
                <a:gd name="connsiteY2" fmla="*/ 2858 h 10000"/>
                <a:gd name="connsiteX3" fmla="*/ 4001 w 10000"/>
                <a:gd name="connsiteY3" fmla="*/ 3714 h 10000"/>
                <a:gd name="connsiteX4" fmla="*/ 0 w 10000"/>
                <a:gd name="connsiteY4" fmla="*/ 9858 h 10000"/>
                <a:gd name="connsiteX5" fmla="*/ 2000 w 10000"/>
                <a:gd name="connsiteY5" fmla="*/ 10000 h 10000"/>
                <a:gd name="connsiteX6" fmla="*/ 2859 w 10000"/>
                <a:gd name="connsiteY6" fmla="*/ 9571 h 10000"/>
                <a:gd name="connsiteX7" fmla="*/ 4001 w 10000"/>
                <a:gd name="connsiteY7" fmla="*/ 9000 h 10000"/>
                <a:gd name="connsiteX8" fmla="*/ 4859 w 10000"/>
                <a:gd name="connsiteY8" fmla="*/ 8857 h 10000"/>
                <a:gd name="connsiteX9" fmla="*/ 4572 w 10000"/>
                <a:gd name="connsiteY9" fmla="*/ 8857 h 10000"/>
                <a:gd name="connsiteX10" fmla="*/ 4572 w 10000"/>
                <a:gd name="connsiteY10" fmla="*/ 8714 h 10000"/>
                <a:gd name="connsiteX11" fmla="*/ 7143 w 10000"/>
                <a:gd name="connsiteY11" fmla="*/ 8143 h 10000"/>
                <a:gd name="connsiteX12" fmla="*/ 8287 w 10000"/>
                <a:gd name="connsiteY12" fmla="*/ 8430 h 10000"/>
                <a:gd name="connsiteX13" fmla="*/ 8857 w 10000"/>
                <a:gd name="connsiteY13" fmla="*/ 8857 h 10000"/>
                <a:gd name="connsiteX14" fmla="*/ 9142 w 10000"/>
                <a:gd name="connsiteY14" fmla="*/ 9144 h 10000"/>
                <a:gd name="connsiteX15" fmla="*/ 10000 w 10000"/>
                <a:gd name="connsiteY15" fmla="*/ 8857 h 10000"/>
                <a:gd name="connsiteX16" fmla="*/ 10000 w 10000"/>
                <a:gd name="connsiteY16" fmla="*/ 8430 h 10000"/>
                <a:gd name="connsiteX17" fmla="*/ 9142 w 10000"/>
                <a:gd name="connsiteY17" fmla="*/ 7714 h 10000"/>
                <a:gd name="connsiteX18" fmla="*/ 9142 w 10000"/>
                <a:gd name="connsiteY18" fmla="*/ 7000 h 10000"/>
                <a:gd name="connsiteX19" fmla="*/ 9429 w 10000"/>
                <a:gd name="connsiteY19" fmla="*/ 7000 h 10000"/>
                <a:gd name="connsiteX20" fmla="*/ 8857 w 10000"/>
                <a:gd name="connsiteY20" fmla="*/ 6286 h 10000"/>
                <a:gd name="connsiteX21" fmla="*/ 8572 w 10000"/>
                <a:gd name="connsiteY21" fmla="*/ 6001 h 10000"/>
                <a:gd name="connsiteX22" fmla="*/ 7143 w 10000"/>
                <a:gd name="connsiteY22" fmla="*/ 5857 h 10000"/>
                <a:gd name="connsiteX23" fmla="*/ 5716 w 10000"/>
                <a:gd name="connsiteY23" fmla="*/ 5571 h 10000"/>
                <a:gd name="connsiteX24" fmla="*/ 5145 w 10000"/>
                <a:gd name="connsiteY24" fmla="*/ 4857 h 10000"/>
                <a:gd name="connsiteX25" fmla="*/ 4572 w 10000"/>
                <a:gd name="connsiteY25" fmla="*/ 3714 h 10000"/>
                <a:gd name="connsiteX26" fmla="*/ 5145 w 10000"/>
                <a:gd name="connsiteY26" fmla="*/ 3286 h 10000"/>
                <a:gd name="connsiteX27" fmla="*/ 4859 w 10000"/>
                <a:gd name="connsiteY27" fmla="*/ 2286 h 10000"/>
                <a:gd name="connsiteX28" fmla="*/ 6287 w 10000"/>
                <a:gd name="connsiteY28" fmla="*/ 2286 h 10000"/>
                <a:gd name="connsiteX29" fmla="*/ 6858 w 10000"/>
                <a:gd name="connsiteY29" fmla="*/ 2858 h 10000"/>
                <a:gd name="connsiteX30" fmla="*/ 8000 w 10000"/>
                <a:gd name="connsiteY30" fmla="*/ 2858 h 10000"/>
                <a:gd name="connsiteX31" fmla="*/ 8000 w 10000"/>
                <a:gd name="connsiteY31" fmla="*/ 2429 h 10000"/>
                <a:gd name="connsiteX32" fmla="*/ 8287 w 10000"/>
                <a:gd name="connsiteY32" fmla="*/ 2143 h 10000"/>
                <a:gd name="connsiteX33" fmla="*/ 8572 w 10000"/>
                <a:gd name="connsiteY33" fmla="*/ 2286 h 10000"/>
                <a:gd name="connsiteX34" fmla="*/ 8287 w 10000"/>
                <a:gd name="connsiteY34" fmla="*/ 1429 h 10000"/>
                <a:gd name="connsiteX35" fmla="*/ 8857 w 10000"/>
                <a:gd name="connsiteY35" fmla="*/ 857 h 10000"/>
                <a:gd name="connsiteX36" fmla="*/ 8857 w 10000"/>
                <a:gd name="connsiteY36" fmla="*/ 286 h 10000"/>
                <a:gd name="connsiteX37" fmla="*/ 8287 w 10000"/>
                <a:gd name="connsiteY37" fmla="*/ 0 h 10000"/>
                <a:gd name="connsiteX38" fmla="*/ 7716 w 10000"/>
                <a:gd name="connsiteY38" fmla="*/ 0 h 10000"/>
                <a:gd name="connsiteX39" fmla="*/ 5716 w 10000"/>
                <a:gd name="connsiteY39" fmla="*/ 143 h 10000"/>
                <a:gd name="connsiteX40" fmla="*/ 5430 w 10000"/>
                <a:gd name="connsiteY40" fmla="*/ 0 h 10000"/>
                <a:gd name="connsiteX41" fmla="*/ 5430 w 10000"/>
                <a:gd name="connsiteY41" fmla="*/ 714 h 10000"/>
                <a:gd name="connsiteX42" fmla="*/ 5430 w 10000"/>
                <a:gd name="connsiteY42" fmla="*/ 857 h 10000"/>
                <a:gd name="connsiteX0" fmla="*/ 3430 w 8000"/>
                <a:gd name="connsiteY0" fmla="*/ 857 h 10000"/>
                <a:gd name="connsiteX1" fmla="*/ 2287 w 8000"/>
                <a:gd name="connsiteY1" fmla="*/ 1857 h 10000"/>
                <a:gd name="connsiteX2" fmla="*/ 1716 w 8000"/>
                <a:gd name="connsiteY2" fmla="*/ 2858 h 10000"/>
                <a:gd name="connsiteX3" fmla="*/ 2001 w 8000"/>
                <a:gd name="connsiteY3" fmla="*/ 3714 h 10000"/>
                <a:gd name="connsiteX4" fmla="*/ 0 w 8000"/>
                <a:gd name="connsiteY4" fmla="*/ 10000 h 10000"/>
                <a:gd name="connsiteX5" fmla="*/ 859 w 8000"/>
                <a:gd name="connsiteY5" fmla="*/ 9571 h 10000"/>
                <a:gd name="connsiteX6" fmla="*/ 2001 w 8000"/>
                <a:gd name="connsiteY6" fmla="*/ 9000 h 10000"/>
                <a:gd name="connsiteX7" fmla="*/ 2859 w 8000"/>
                <a:gd name="connsiteY7" fmla="*/ 8857 h 10000"/>
                <a:gd name="connsiteX8" fmla="*/ 2572 w 8000"/>
                <a:gd name="connsiteY8" fmla="*/ 8857 h 10000"/>
                <a:gd name="connsiteX9" fmla="*/ 2572 w 8000"/>
                <a:gd name="connsiteY9" fmla="*/ 8714 h 10000"/>
                <a:gd name="connsiteX10" fmla="*/ 5143 w 8000"/>
                <a:gd name="connsiteY10" fmla="*/ 8143 h 10000"/>
                <a:gd name="connsiteX11" fmla="*/ 6287 w 8000"/>
                <a:gd name="connsiteY11" fmla="*/ 8430 h 10000"/>
                <a:gd name="connsiteX12" fmla="*/ 6857 w 8000"/>
                <a:gd name="connsiteY12" fmla="*/ 8857 h 10000"/>
                <a:gd name="connsiteX13" fmla="*/ 7142 w 8000"/>
                <a:gd name="connsiteY13" fmla="*/ 9144 h 10000"/>
                <a:gd name="connsiteX14" fmla="*/ 8000 w 8000"/>
                <a:gd name="connsiteY14" fmla="*/ 8857 h 10000"/>
                <a:gd name="connsiteX15" fmla="*/ 8000 w 8000"/>
                <a:gd name="connsiteY15" fmla="*/ 8430 h 10000"/>
                <a:gd name="connsiteX16" fmla="*/ 7142 w 8000"/>
                <a:gd name="connsiteY16" fmla="*/ 7714 h 10000"/>
                <a:gd name="connsiteX17" fmla="*/ 7142 w 8000"/>
                <a:gd name="connsiteY17" fmla="*/ 7000 h 10000"/>
                <a:gd name="connsiteX18" fmla="*/ 7429 w 8000"/>
                <a:gd name="connsiteY18" fmla="*/ 7000 h 10000"/>
                <a:gd name="connsiteX19" fmla="*/ 6857 w 8000"/>
                <a:gd name="connsiteY19" fmla="*/ 6286 h 10000"/>
                <a:gd name="connsiteX20" fmla="*/ 6572 w 8000"/>
                <a:gd name="connsiteY20" fmla="*/ 6001 h 10000"/>
                <a:gd name="connsiteX21" fmla="*/ 5143 w 8000"/>
                <a:gd name="connsiteY21" fmla="*/ 5857 h 10000"/>
                <a:gd name="connsiteX22" fmla="*/ 3716 w 8000"/>
                <a:gd name="connsiteY22" fmla="*/ 5571 h 10000"/>
                <a:gd name="connsiteX23" fmla="*/ 3145 w 8000"/>
                <a:gd name="connsiteY23" fmla="*/ 4857 h 10000"/>
                <a:gd name="connsiteX24" fmla="*/ 2572 w 8000"/>
                <a:gd name="connsiteY24" fmla="*/ 3714 h 10000"/>
                <a:gd name="connsiteX25" fmla="*/ 3145 w 8000"/>
                <a:gd name="connsiteY25" fmla="*/ 3286 h 10000"/>
                <a:gd name="connsiteX26" fmla="*/ 2859 w 8000"/>
                <a:gd name="connsiteY26" fmla="*/ 2286 h 10000"/>
                <a:gd name="connsiteX27" fmla="*/ 4287 w 8000"/>
                <a:gd name="connsiteY27" fmla="*/ 2286 h 10000"/>
                <a:gd name="connsiteX28" fmla="*/ 4858 w 8000"/>
                <a:gd name="connsiteY28" fmla="*/ 2858 h 10000"/>
                <a:gd name="connsiteX29" fmla="*/ 6000 w 8000"/>
                <a:gd name="connsiteY29" fmla="*/ 2858 h 10000"/>
                <a:gd name="connsiteX30" fmla="*/ 6000 w 8000"/>
                <a:gd name="connsiteY30" fmla="*/ 2429 h 10000"/>
                <a:gd name="connsiteX31" fmla="*/ 6287 w 8000"/>
                <a:gd name="connsiteY31" fmla="*/ 2143 h 10000"/>
                <a:gd name="connsiteX32" fmla="*/ 6572 w 8000"/>
                <a:gd name="connsiteY32" fmla="*/ 2286 h 10000"/>
                <a:gd name="connsiteX33" fmla="*/ 6287 w 8000"/>
                <a:gd name="connsiteY33" fmla="*/ 1429 h 10000"/>
                <a:gd name="connsiteX34" fmla="*/ 6857 w 8000"/>
                <a:gd name="connsiteY34" fmla="*/ 857 h 10000"/>
                <a:gd name="connsiteX35" fmla="*/ 6857 w 8000"/>
                <a:gd name="connsiteY35" fmla="*/ 286 h 10000"/>
                <a:gd name="connsiteX36" fmla="*/ 6287 w 8000"/>
                <a:gd name="connsiteY36" fmla="*/ 0 h 10000"/>
                <a:gd name="connsiteX37" fmla="*/ 5716 w 8000"/>
                <a:gd name="connsiteY37" fmla="*/ 0 h 10000"/>
                <a:gd name="connsiteX38" fmla="*/ 3716 w 8000"/>
                <a:gd name="connsiteY38" fmla="*/ 143 h 10000"/>
                <a:gd name="connsiteX39" fmla="*/ 3430 w 8000"/>
                <a:gd name="connsiteY39" fmla="*/ 0 h 10000"/>
                <a:gd name="connsiteX40" fmla="*/ 3430 w 8000"/>
                <a:gd name="connsiteY40" fmla="*/ 714 h 10000"/>
                <a:gd name="connsiteX41" fmla="*/ 3430 w 8000"/>
                <a:gd name="connsiteY41" fmla="*/ 857 h 10000"/>
                <a:gd name="connsiteX0" fmla="*/ 3214 w 8926"/>
                <a:gd name="connsiteY0" fmla="*/ 857 h 9880"/>
                <a:gd name="connsiteX1" fmla="*/ 1785 w 8926"/>
                <a:gd name="connsiteY1" fmla="*/ 1857 h 9880"/>
                <a:gd name="connsiteX2" fmla="*/ 1071 w 8926"/>
                <a:gd name="connsiteY2" fmla="*/ 2858 h 9880"/>
                <a:gd name="connsiteX3" fmla="*/ 1427 w 8926"/>
                <a:gd name="connsiteY3" fmla="*/ 3714 h 9880"/>
                <a:gd name="connsiteX4" fmla="*/ 0 w 8926"/>
                <a:gd name="connsiteY4" fmla="*/ 9571 h 9880"/>
                <a:gd name="connsiteX5" fmla="*/ 1427 w 8926"/>
                <a:gd name="connsiteY5" fmla="*/ 9000 h 9880"/>
                <a:gd name="connsiteX6" fmla="*/ 2500 w 8926"/>
                <a:gd name="connsiteY6" fmla="*/ 8857 h 9880"/>
                <a:gd name="connsiteX7" fmla="*/ 2141 w 8926"/>
                <a:gd name="connsiteY7" fmla="*/ 8857 h 9880"/>
                <a:gd name="connsiteX8" fmla="*/ 2141 w 8926"/>
                <a:gd name="connsiteY8" fmla="*/ 8714 h 9880"/>
                <a:gd name="connsiteX9" fmla="*/ 5355 w 8926"/>
                <a:gd name="connsiteY9" fmla="*/ 8143 h 9880"/>
                <a:gd name="connsiteX10" fmla="*/ 6785 w 8926"/>
                <a:gd name="connsiteY10" fmla="*/ 8430 h 9880"/>
                <a:gd name="connsiteX11" fmla="*/ 7497 w 8926"/>
                <a:gd name="connsiteY11" fmla="*/ 8857 h 9880"/>
                <a:gd name="connsiteX12" fmla="*/ 7854 w 8926"/>
                <a:gd name="connsiteY12" fmla="*/ 9144 h 9880"/>
                <a:gd name="connsiteX13" fmla="*/ 8926 w 8926"/>
                <a:gd name="connsiteY13" fmla="*/ 8857 h 9880"/>
                <a:gd name="connsiteX14" fmla="*/ 8926 w 8926"/>
                <a:gd name="connsiteY14" fmla="*/ 8430 h 9880"/>
                <a:gd name="connsiteX15" fmla="*/ 7854 w 8926"/>
                <a:gd name="connsiteY15" fmla="*/ 7714 h 9880"/>
                <a:gd name="connsiteX16" fmla="*/ 7854 w 8926"/>
                <a:gd name="connsiteY16" fmla="*/ 7000 h 9880"/>
                <a:gd name="connsiteX17" fmla="*/ 8212 w 8926"/>
                <a:gd name="connsiteY17" fmla="*/ 7000 h 9880"/>
                <a:gd name="connsiteX18" fmla="*/ 7497 w 8926"/>
                <a:gd name="connsiteY18" fmla="*/ 6286 h 9880"/>
                <a:gd name="connsiteX19" fmla="*/ 7141 w 8926"/>
                <a:gd name="connsiteY19" fmla="*/ 6001 h 9880"/>
                <a:gd name="connsiteX20" fmla="*/ 5355 w 8926"/>
                <a:gd name="connsiteY20" fmla="*/ 5857 h 9880"/>
                <a:gd name="connsiteX21" fmla="*/ 3571 w 8926"/>
                <a:gd name="connsiteY21" fmla="*/ 5571 h 9880"/>
                <a:gd name="connsiteX22" fmla="*/ 2857 w 8926"/>
                <a:gd name="connsiteY22" fmla="*/ 4857 h 9880"/>
                <a:gd name="connsiteX23" fmla="*/ 2141 w 8926"/>
                <a:gd name="connsiteY23" fmla="*/ 3714 h 9880"/>
                <a:gd name="connsiteX24" fmla="*/ 2857 w 8926"/>
                <a:gd name="connsiteY24" fmla="*/ 3286 h 9880"/>
                <a:gd name="connsiteX25" fmla="*/ 2500 w 8926"/>
                <a:gd name="connsiteY25" fmla="*/ 2286 h 9880"/>
                <a:gd name="connsiteX26" fmla="*/ 4285 w 8926"/>
                <a:gd name="connsiteY26" fmla="*/ 2286 h 9880"/>
                <a:gd name="connsiteX27" fmla="*/ 4999 w 8926"/>
                <a:gd name="connsiteY27" fmla="*/ 2858 h 9880"/>
                <a:gd name="connsiteX28" fmla="*/ 6426 w 8926"/>
                <a:gd name="connsiteY28" fmla="*/ 2858 h 9880"/>
                <a:gd name="connsiteX29" fmla="*/ 6426 w 8926"/>
                <a:gd name="connsiteY29" fmla="*/ 2429 h 9880"/>
                <a:gd name="connsiteX30" fmla="*/ 6785 w 8926"/>
                <a:gd name="connsiteY30" fmla="*/ 2143 h 9880"/>
                <a:gd name="connsiteX31" fmla="*/ 7141 w 8926"/>
                <a:gd name="connsiteY31" fmla="*/ 2286 h 9880"/>
                <a:gd name="connsiteX32" fmla="*/ 6785 w 8926"/>
                <a:gd name="connsiteY32" fmla="*/ 1429 h 9880"/>
                <a:gd name="connsiteX33" fmla="*/ 7497 w 8926"/>
                <a:gd name="connsiteY33" fmla="*/ 857 h 9880"/>
                <a:gd name="connsiteX34" fmla="*/ 7497 w 8926"/>
                <a:gd name="connsiteY34" fmla="*/ 286 h 9880"/>
                <a:gd name="connsiteX35" fmla="*/ 6785 w 8926"/>
                <a:gd name="connsiteY35" fmla="*/ 0 h 9880"/>
                <a:gd name="connsiteX36" fmla="*/ 6071 w 8926"/>
                <a:gd name="connsiteY36" fmla="*/ 0 h 9880"/>
                <a:gd name="connsiteX37" fmla="*/ 3571 w 8926"/>
                <a:gd name="connsiteY37" fmla="*/ 143 h 9880"/>
                <a:gd name="connsiteX38" fmla="*/ 3214 w 8926"/>
                <a:gd name="connsiteY38" fmla="*/ 0 h 9880"/>
                <a:gd name="connsiteX39" fmla="*/ 3214 w 8926"/>
                <a:gd name="connsiteY39" fmla="*/ 714 h 9880"/>
                <a:gd name="connsiteX40" fmla="*/ 3214 w 8926"/>
                <a:gd name="connsiteY40" fmla="*/ 857 h 9880"/>
                <a:gd name="connsiteX0" fmla="*/ 2401 w 8800"/>
                <a:gd name="connsiteY0" fmla="*/ 867 h 9255"/>
                <a:gd name="connsiteX1" fmla="*/ 800 w 8800"/>
                <a:gd name="connsiteY1" fmla="*/ 1880 h 9255"/>
                <a:gd name="connsiteX2" fmla="*/ 0 w 8800"/>
                <a:gd name="connsiteY2" fmla="*/ 2893 h 9255"/>
                <a:gd name="connsiteX3" fmla="*/ 399 w 8800"/>
                <a:gd name="connsiteY3" fmla="*/ 3759 h 9255"/>
                <a:gd name="connsiteX4" fmla="*/ 399 w 8800"/>
                <a:gd name="connsiteY4" fmla="*/ 9109 h 9255"/>
                <a:gd name="connsiteX5" fmla="*/ 1601 w 8800"/>
                <a:gd name="connsiteY5" fmla="*/ 8965 h 9255"/>
                <a:gd name="connsiteX6" fmla="*/ 1199 w 8800"/>
                <a:gd name="connsiteY6" fmla="*/ 8965 h 9255"/>
                <a:gd name="connsiteX7" fmla="*/ 1199 w 8800"/>
                <a:gd name="connsiteY7" fmla="*/ 8820 h 9255"/>
                <a:gd name="connsiteX8" fmla="*/ 4799 w 8800"/>
                <a:gd name="connsiteY8" fmla="*/ 8242 h 9255"/>
                <a:gd name="connsiteX9" fmla="*/ 6401 w 8800"/>
                <a:gd name="connsiteY9" fmla="*/ 8532 h 9255"/>
                <a:gd name="connsiteX10" fmla="*/ 7199 w 8800"/>
                <a:gd name="connsiteY10" fmla="*/ 8965 h 9255"/>
                <a:gd name="connsiteX11" fmla="*/ 7599 w 8800"/>
                <a:gd name="connsiteY11" fmla="*/ 9255 h 9255"/>
                <a:gd name="connsiteX12" fmla="*/ 8800 w 8800"/>
                <a:gd name="connsiteY12" fmla="*/ 8965 h 9255"/>
                <a:gd name="connsiteX13" fmla="*/ 8800 w 8800"/>
                <a:gd name="connsiteY13" fmla="*/ 8532 h 9255"/>
                <a:gd name="connsiteX14" fmla="*/ 7599 w 8800"/>
                <a:gd name="connsiteY14" fmla="*/ 7808 h 9255"/>
                <a:gd name="connsiteX15" fmla="*/ 7599 w 8800"/>
                <a:gd name="connsiteY15" fmla="*/ 7085 h 9255"/>
                <a:gd name="connsiteX16" fmla="*/ 8000 w 8800"/>
                <a:gd name="connsiteY16" fmla="*/ 7085 h 9255"/>
                <a:gd name="connsiteX17" fmla="*/ 7199 w 8800"/>
                <a:gd name="connsiteY17" fmla="*/ 6362 h 9255"/>
                <a:gd name="connsiteX18" fmla="*/ 6800 w 8800"/>
                <a:gd name="connsiteY18" fmla="*/ 6074 h 9255"/>
                <a:gd name="connsiteX19" fmla="*/ 4799 w 8800"/>
                <a:gd name="connsiteY19" fmla="*/ 5928 h 9255"/>
                <a:gd name="connsiteX20" fmla="*/ 2801 w 8800"/>
                <a:gd name="connsiteY20" fmla="*/ 5639 h 9255"/>
                <a:gd name="connsiteX21" fmla="*/ 2001 w 8800"/>
                <a:gd name="connsiteY21" fmla="*/ 4916 h 9255"/>
                <a:gd name="connsiteX22" fmla="*/ 1199 w 8800"/>
                <a:gd name="connsiteY22" fmla="*/ 3759 h 9255"/>
                <a:gd name="connsiteX23" fmla="*/ 2001 w 8800"/>
                <a:gd name="connsiteY23" fmla="*/ 3326 h 9255"/>
                <a:gd name="connsiteX24" fmla="*/ 1601 w 8800"/>
                <a:gd name="connsiteY24" fmla="*/ 2314 h 9255"/>
                <a:gd name="connsiteX25" fmla="*/ 3601 w 8800"/>
                <a:gd name="connsiteY25" fmla="*/ 2314 h 9255"/>
                <a:gd name="connsiteX26" fmla="*/ 4400 w 8800"/>
                <a:gd name="connsiteY26" fmla="*/ 2893 h 9255"/>
                <a:gd name="connsiteX27" fmla="*/ 5999 w 8800"/>
                <a:gd name="connsiteY27" fmla="*/ 2893 h 9255"/>
                <a:gd name="connsiteX28" fmla="*/ 5999 w 8800"/>
                <a:gd name="connsiteY28" fmla="*/ 2459 h 9255"/>
                <a:gd name="connsiteX29" fmla="*/ 6401 w 8800"/>
                <a:gd name="connsiteY29" fmla="*/ 2169 h 9255"/>
                <a:gd name="connsiteX30" fmla="*/ 6800 w 8800"/>
                <a:gd name="connsiteY30" fmla="*/ 2314 h 9255"/>
                <a:gd name="connsiteX31" fmla="*/ 6401 w 8800"/>
                <a:gd name="connsiteY31" fmla="*/ 1446 h 9255"/>
                <a:gd name="connsiteX32" fmla="*/ 7199 w 8800"/>
                <a:gd name="connsiteY32" fmla="*/ 867 h 9255"/>
                <a:gd name="connsiteX33" fmla="*/ 7199 w 8800"/>
                <a:gd name="connsiteY33" fmla="*/ 289 h 9255"/>
                <a:gd name="connsiteX34" fmla="*/ 6401 w 8800"/>
                <a:gd name="connsiteY34" fmla="*/ 0 h 9255"/>
                <a:gd name="connsiteX35" fmla="*/ 5601 w 8800"/>
                <a:gd name="connsiteY35" fmla="*/ 0 h 9255"/>
                <a:gd name="connsiteX36" fmla="*/ 2801 w 8800"/>
                <a:gd name="connsiteY36" fmla="*/ 145 h 9255"/>
                <a:gd name="connsiteX37" fmla="*/ 2401 w 8800"/>
                <a:gd name="connsiteY37" fmla="*/ 0 h 9255"/>
                <a:gd name="connsiteX38" fmla="*/ 2401 w 8800"/>
                <a:gd name="connsiteY38" fmla="*/ 723 h 9255"/>
                <a:gd name="connsiteX39" fmla="*/ 2401 w 8800"/>
                <a:gd name="connsiteY39" fmla="*/ 867 h 9255"/>
                <a:gd name="connsiteX0" fmla="*/ 2728 w 10000"/>
                <a:gd name="connsiteY0" fmla="*/ 937 h 10000"/>
                <a:gd name="connsiteX1" fmla="*/ 909 w 10000"/>
                <a:gd name="connsiteY1" fmla="*/ 2031 h 10000"/>
                <a:gd name="connsiteX2" fmla="*/ 0 w 10000"/>
                <a:gd name="connsiteY2" fmla="*/ 3126 h 10000"/>
                <a:gd name="connsiteX3" fmla="*/ 453 w 10000"/>
                <a:gd name="connsiteY3" fmla="*/ 4062 h 10000"/>
                <a:gd name="connsiteX4" fmla="*/ 1819 w 10000"/>
                <a:gd name="connsiteY4" fmla="*/ 9687 h 10000"/>
                <a:gd name="connsiteX5" fmla="*/ 1363 w 10000"/>
                <a:gd name="connsiteY5" fmla="*/ 9687 h 10000"/>
                <a:gd name="connsiteX6" fmla="*/ 1363 w 10000"/>
                <a:gd name="connsiteY6" fmla="*/ 9530 h 10000"/>
                <a:gd name="connsiteX7" fmla="*/ 5453 w 10000"/>
                <a:gd name="connsiteY7" fmla="*/ 8905 h 10000"/>
                <a:gd name="connsiteX8" fmla="*/ 7274 w 10000"/>
                <a:gd name="connsiteY8" fmla="*/ 9219 h 10000"/>
                <a:gd name="connsiteX9" fmla="*/ 8181 w 10000"/>
                <a:gd name="connsiteY9" fmla="*/ 9687 h 10000"/>
                <a:gd name="connsiteX10" fmla="*/ 8635 w 10000"/>
                <a:gd name="connsiteY10" fmla="*/ 10000 h 10000"/>
                <a:gd name="connsiteX11" fmla="*/ 10000 w 10000"/>
                <a:gd name="connsiteY11" fmla="*/ 9687 h 10000"/>
                <a:gd name="connsiteX12" fmla="*/ 10000 w 10000"/>
                <a:gd name="connsiteY12" fmla="*/ 9219 h 10000"/>
                <a:gd name="connsiteX13" fmla="*/ 8635 w 10000"/>
                <a:gd name="connsiteY13" fmla="*/ 8437 h 10000"/>
                <a:gd name="connsiteX14" fmla="*/ 8635 w 10000"/>
                <a:gd name="connsiteY14" fmla="*/ 7655 h 10000"/>
                <a:gd name="connsiteX15" fmla="*/ 9091 w 10000"/>
                <a:gd name="connsiteY15" fmla="*/ 7655 h 10000"/>
                <a:gd name="connsiteX16" fmla="*/ 8181 w 10000"/>
                <a:gd name="connsiteY16" fmla="*/ 6874 h 10000"/>
                <a:gd name="connsiteX17" fmla="*/ 7727 w 10000"/>
                <a:gd name="connsiteY17" fmla="*/ 6563 h 10000"/>
                <a:gd name="connsiteX18" fmla="*/ 5453 w 10000"/>
                <a:gd name="connsiteY18" fmla="*/ 6405 h 10000"/>
                <a:gd name="connsiteX19" fmla="*/ 3183 w 10000"/>
                <a:gd name="connsiteY19" fmla="*/ 6093 h 10000"/>
                <a:gd name="connsiteX20" fmla="*/ 2274 w 10000"/>
                <a:gd name="connsiteY20" fmla="*/ 5312 h 10000"/>
                <a:gd name="connsiteX21" fmla="*/ 1363 w 10000"/>
                <a:gd name="connsiteY21" fmla="*/ 4062 h 10000"/>
                <a:gd name="connsiteX22" fmla="*/ 2274 w 10000"/>
                <a:gd name="connsiteY22" fmla="*/ 3594 h 10000"/>
                <a:gd name="connsiteX23" fmla="*/ 1819 w 10000"/>
                <a:gd name="connsiteY23" fmla="*/ 2500 h 10000"/>
                <a:gd name="connsiteX24" fmla="*/ 4092 w 10000"/>
                <a:gd name="connsiteY24" fmla="*/ 2500 h 10000"/>
                <a:gd name="connsiteX25" fmla="*/ 5000 w 10000"/>
                <a:gd name="connsiteY25" fmla="*/ 3126 h 10000"/>
                <a:gd name="connsiteX26" fmla="*/ 6817 w 10000"/>
                <a:gd name="connsiteY26" fmla="*/ 3126 h 10000"/>
                <a:gd name="connsiteX27" fmla="*/ 6817 w 10000"/>
                <a:gd name="connsiteY27" fmla="*/ 2657 h 10000"/>
                <a:gd name="connsiteX28" fmla="*/ 7274 w 10000"/>
                <a:gd name="connsiteY28" fmla="*/ 2344 h 10000"/>
                <a:gd name="connsiteX29" fmla="*/ 7727 w 10000"/>
                <a:gd name="connsiteY29" fmla="*/ 2500 h 10000"/>
                <a:gd name="connsiteX30" fmla="*/ 7274 w 10000"/>
                <a:gd name="connsiteY30" fmla="*/ 1562 h 10000"/>
                <a:gd name="connsiteX31" fmla="*/ 8181 w 10000"/>
                <a:gd name="connsiteY31" fmla="*/ 937 h 10000"/>
                <a:gd name="connsiteX32" fmla="*/ 8181 w 10000"/>
                <a:gd name="connsiteY32" fmla="*/ 312 h 10000"/>
                <a:gd name="connsiteX33" fmla="*/ 7274 w 10000"/>
                <a:gd name="connsiteY33" fmla="*/ 0 h 10000"/>
                <a:gd name="connsiteX34" fmla="*/ 6365 w 10000"/>
                <a:gd name="connsiteY34" fmla="*/ 0 h 10000"/>
                <a:gd name="connsiteX35" fmla="*/ 3183 w 10000"/>
                <a:gd name="connsiteY35" fmla="*/ 157 h 10000"/>
                <a:gd name="connsiteX36" fmla="*/ 2728 w 10000"/>
                <a:gd name="connsiteY36" fmla="*/ 0 h 10000"/>
                <a:gd name="connsiteX37" fmla="*/ 2728 w 10000"/>
                <a:gd name="connsiteY37" fmla="*/ 781 h 10000"/>
                <a:gd name="connsiteX38" fmla="*/ 2728 w 10000"/>
                <a:gd name="connsiteY38" fmla="*/ 937 h 10000"/>
                <a:gd name="connsiteX0" fmla="*/ 2728 w 10000"/>
                <a:gd name="connsiteY0" fmla="*/ 937 h 10000"/>
                <a:gd name="connsiteX1" fmla="*/ 909 w 10000"/>
                <a:gd name="connsiteY1" fmla="*/ 2031 h 10000"/>
                <a:gd name="connsiteX2" fmla="*/ 0 w 10000"/>
                <a:gd name="connsiteY2" fmla="*/ 3126 h 10000"/>
                <a:gd name="connsiteX3" fmla="*/ 453 w 10000"/>
                <a:gd name="connsiteY3" fmla="*/ 4062 h 10000"/>
                <a:gd name="connsiteX4" fmla="*/ 1819 w 10000"/>
                <a:gd name="connsiteY4" fmla="*/ 9687 h 10000"/>
                <a:gd name="connsiteX5" fmla="*/ 1363 w 10000"/>
                <a:gd name="connsiteY5" fmla="*/ 9530 h 10000"/>
                <a:gd name="connsiteX6" fmla="*/ 5453 w 10000"/>
                <a:gd name="connsiteY6" fmla="*/ 8905 h 10000"/>
                <a:gd name="connsiteX7" fmla="*/ 7274 w 10000"/>
                <a:gd name="connsiteY7" fmla="*/ 9219 h 10000"/>
                <a:gd name="connsiteX8" fmla="*/ 8181 w 10000"/>
                <a:gd name="connsiteY8" fmla="*/ 9687 h 10000"/>
                <a:gd name="connsiteX9" fmla="*/ 8635 w 10000"/>
                <a:gd name="connsiteY9" fmla="*/ 10000 h 10000"/>
                <a:gd name="connsiteX10" fmla="*/ 10000 w 10000"/>
                <a:gd name="connsiteY10" fmla="*/ 9687 h 10000"/>
                <a:gd name="connsiteX11" fmla="*/ 10000 w 10000"/>
                <a:gd name="connsiteY11" fmla="*/ 9219 h 10000"/>
                <a:gd name="connsiteX12" fmla="*/ 8635 w 10000"/>
                <a:gd name="connsiteY12" fmla="*/ 8437 h 10000"/>
                <a:gd name="connsiteX13" fmla="*/ 8635 w 10000"/>
                <a:gd name="connsiteY13" fmla="*/ 7655 h 10000"/>
                <a:gd name="connsiteX14" fmla="*/ 9091 w 10000"/>
                <a:gd name="connsiteY14" fmla="*/ 7655 h 10000"/>
                <a:gd name="connsiteX15" fmla="*/ 8181 w 10000"/>
                <a:gd name="connsiteY15" fmla="*/ 6874 h 10000"/>
                <a:gd name="connsiteX16" fmla="*/ 7727 w 10000"/>
                <a:gd name="connsiteY16" fmla="*/ 6563 h 10000"/>
                <a:gd name="connsiteX17" fmla="*/ 5453 w 10000"/>
                <a:gd name="connsiteY17" fmla="*/ 6405 h 10000"/>
                <a:gd name="connsiteX18" fmla="*/ 3183 w 10000"/>
                <a:gd name="connsiteY18" fmla="*/ 6093 h 10000"/>
                <a:gd name="connsiteX19" fmla="*/ 2274 w 10000"/>
                <a:gd name="connsiteY19" fmla="*/ 5312 h 10000"/>
                <a:gd name="connsiteX20" fmla="*/ 1363 w 10000"/>
                <a:gd name="connsiteY20" fmla="*/ 4062 h 10000"/>
                <a:gd name="connsiteX21" fmla="*/ 2274 w 10000"/>
                <a:gd name="connsiteY21" fmla="*/ 3594 h 10000"/>
                <a:gd name="connsiteX22" fmla="*/ 1819 w 10000"/>
                <a:gd name="connsiteY22" fmla="*/ 2500 h 10000"/>
                <a:gd name="connsiteX23" fmla="*/ 4092 w 10000"/>
                <a:gd name="connsiteY23" fmla="*/ 2500 h 10000"/>
                <a:gd name="connsiteX24" fmla="*/ 5000 w 10000"/>
                <a:gd name="connsiteY24" fmla="*/ 3126 h 10000"/>
                <a:gd name="connsiteX25" fmla="*/ 6817 w 10000"/>
                <a:gd name="connsiteY25" fmla="*/ 3126 h 10000"/>
                <a:gd name="connsiteX26" fmla="*/ 6817 w 10000"/>
                <a:gd name="connsiteY26" fmla="*/ 2657 h 10000"/>
                <a:gd name="connsiteX27" fmla="*/ 7274 w 10000"/>
                <a:gd name="connsiteY27" fmla="*/ 2344 h 10000"/>
                <a:gd name="connsiteX28" fmla="*/ 7727 w 10000"/>
                <a:gd name="connsiteY28" fmla="*/ 2500 h 10000"/>
                <a:gd name="connsiteX29" fmla="*/ 7274 w 10000"/>
                <a:gd name="connsiteY29" fmla="*/ 1562 h 10000"/>
                <a:gd name="connsiteX30" fmla="*/ 8181 w 10000"/>
                <a:gd name="connsiteY30" fmla="*/ 937 h 10000"/>
                <a:gd name="connsiteX31" fmla="*/ 8181 w 10000"/>
                <a:gd name="connsiteY31" fmla="*/ 312 h 10000"/>
                <a:gd name="connsiteX32" fmla="*/ 7274 w 10000"/>
                <a:gd name="connsiteY32" fmla="*/ 0 h 10000"/>
                <a:gd name="connsiteX33" fmla="*/ 6365 w 10000"/>
                <a:gd name="connsiteY33" fmla="*/ 0 h 10000"/>
                <a:gd name="connsiteX34" fmla="*/ 3183 w 10000"/>
                <a:gd name="connsiteY34" fmla="*/ 157 h 10000"/>
                <a:gd name="connsiteX35" fmla="*/ 2728 w 10000"/>
                <a:gd name="connsiteY35" fmla="*/ 0 h 10000"/>
                <a:gd name="connsiteX36" fmla="*/ 2728 w 10000"/>
                <a:gd name="connsiteY36" fmla="*/ 781 h 10000"/>
                <a:gd name="connsiteX37" fmla="*/ 2728 w 10000"/>
                <a:gd name="connsiteY37" fmla="*/ 937 h 10000"/>
                <a:gd name="connsiteX0" fmla="*/ 2728 w 10000"/>
                <a:gd name="connsiteY0" fmla="*/ 937 h 10000"/>
                <a:gd name="connsiteX1" fmla="*/ 909 w 10000"/>
                <a:gd name="connsiteY1" fmla="*/ 2031 h 10000"/>
                <a:gd name="connsiteX2" fmla="*/ 0 w 10000"/>
                <a:gd name="connsiteY2" fmla="*/ 3126 h 10000"/>
                <a:gd name="connsiteX3" fmla="*/ 453 w 10000"/>
                <a:gd name="connsiteY3" fmla="*/ 4062 h 10000"/>
                <a:gd name="connsiteX4" fmla="*/ 1819 w 10000"/>
                <a:gd name="connsiteY4" fmla="*/ 9687 h 10000"/>
                <a:gd name="connsiteX5" fmla="*/ 5453 w 10000"/>
                <a:gd name="connsiteY5" fmla="*/ 8905 h 10000"/>
                <a:gd name="connsiteX6" fmla="*/ 7274 w 10000"/>
                <a:gd name="connsiteY6" fmla="*/ 9219 h 10000"/>
                <a:gd name="connsiteX7" fmla="*/ 8181 w 10000"/>
                <a:gd name="connsiteY7" fmla="*/ 9687 h 10000"/>
                <a:gd name="connsiteX8" fmla="*/ 8635 w 10000"/>
                <a:gd name="connsiteY8" fmla="*/ 10000 h 10000"/>
                <a:gd name="connsiteX9" fmla="*/ 10000 w 10000"/>
                <a:gd name="connsiteY9" fmla="*/ 9687 h 10000"/>
                <a:gd name="connsiteX10" fmla="*/ 10000 w 10000"/>
                <a:gd name="connsiteY10" fmla="*/ 9219 h 10000"/>
                <a:gd name="connsiteX11" fmla="*/ 8635 w 10000"/>
                <a:gd name="connsiteY11" fmla="*/ 8437 h 10000"/>
                <a:gd name="connsiteX12" fmla="*/ 8635 w 10000"/>
                <a:gd name="connsiteY12" fmla="*/ 7655 h 10000"/>
                <a:gd name="connsiteX13" fmla="*/ 9091 w 10000"/>
                <a:gd name="connsiteY13" fmla="*/ 7655 h 10000"/>
                <a:gd name="connsiteX14" fmla="*/ 8181 w 10000"/>
                <a:gd name="connsiteY14" fmla="*/ 6874 h 10000"/>
                <a:gd name="connsiteX15" fmla="*/ 7727 w 10000"/>
                <a:gd name="connsiteY15" fmla="*/ 6563 h 10000"/>
                <a:gd name="connsiteX16" fmla="*/ 5453 w 10000"/>
                <a:gd name="connsiteY16" fmla="*/ 6405 h 10000"/>
                <a:gd name="connsiteX17" fmla="*/ 3183 w 10000"/>
                <a:gd name="connsiteY17" fmla="*/ 6093 h 10000"/>
                <a:gd name="connsiteX18" fmla="*/ 2274 w 10000"/>
                <a:gd name="connsiteY18" fmla="*/ 5312 h 10000"/>
                <a:gd name="connsiteX19" fmla="*/ 1363 w 10000"/>
                <a:gd name="connsiteY19" fmla="*/ 4062 h 10000"/>
                <a:gd name="connsiteX20" fmla="*/ 2274 w 10000"/>
                <a:gd name="connsiteY20" fmla="*/ 3594 h 10000"/>
                <a:gd name="connsiteX21" fmla="*/ 1819 w 10000"/>
                <a:gd name="connsiteY21" fmla="*/ 2500 h 10000"/>
                <a:gd name="connsiteX22" fmla="*/ 4092 w 10000"/>
                <a:gd name="connsiteY22" fmla="*/ 2500 h 10000"/>
                <a:gd name="connsiteX23" fmla="*/ 5000 w 10000"/>
                <a:gd name="connsiteY23" fmla="*/ 3126 h 10000"/>
                <a:gd name="connsiteX24" fmla="*/ 6817 w 10000"/>
                <a:gd name="connsiteY24" fmla="*/ 3126 h 10000"/>
                <a:gd name="connsiteX25" fmla="*/ 6817 w 10000"/>
                <a:gd name="connsiteY25" fmla="*/ 2657 h 10000"/>
                <a:gd name="connsiteX26" fmla="*/ 7274 w 10000"/>
                <a:gd name="connsiteY26" fmla="*/ 2344 h 10000"/>
                <a:gd name="connsiteX27" fmla="*/ 7727 w 10000"/>
                <a:gd name="connsiteY27" fmla="*/ 2500 h 10000"/>
                <a:gd name="connsiteX28" fmla="*/ 7274 w 10000"/>
                <a:gd name="connsiteY28" fmla="*/ 1562 h 10000"/>
                <a:gd name="connsiteX29" fmla="*/ 8181 w 10000"/>
                <a:gd name="connsiteY29" fmla="*/ 937 h 10000"/>
                <a:gd name="connsiteX30" fmla="*/ 8181 w 10000"/>
                <a:gd name="connsiteY30" fmla="*/ 312 h 10000"/>
                <a:gd name="connsiteX31" fmla="*/ 7274 w 10000"/>
                <a:gd name="connsiteY31" fmla="*/ 0 h 10000"/>
                <a:gd name="connsiteX32" fmla="*/ 6365 w 10000"/>
                <a:gd name="connsiteY32" fmla="*/ 0 h 10000"/>
                <a:gd name="connsiteX33" fmla="*/ 3183 w 10000"/>
                <a:gd name="connsiteY33" fmla="*/ 157 h 10000"/>
                <a:gd name="connsiteX34" fmla="*/ 2728 w 10000"/>
                <a:gd name="connsiteY34" fmla="*/ 0 h 10000"/>
                <a:gd name="connsiteX35" fmla="*/ 2728 w 10000"/>
                <a:gd name="connsiteY35" fmla="*/ 781 h 10000"/>
                <a:gd name="connsiteX36" fmla="*/ 2728 w 10000"/>
                <a:gd name="connsiteY36" fmla="*/ 937 h 10000"/>
                <a:gd name="connsiteX0" fmla="*/ 2788 w 10060"/>
                <a:gd name="connsiteY0" fmla="*/ 937 h 10000"/>
                <a:gd name="connsiteX1" fmla="*/ 969 w 10060"/>
                <a:gd name="connsiteY1" fmla="*/ 2031 h 10000"/>
                <a:gd name="connsiteX2" fmla="*/ 60 w 10060"/>
                <a:gd name="connsiteY2" fmla="*/ 3126 h 10000"/>
                <a:gd name="connsiteX3" fmla="*/ 513 w 10060"/>
                <a:gd name="connsiteY3" fmla="*/ 4062 h 10000"/>
                <a:gd name="connsiteX4" fmla="*/ 5513 w 10060"/>
                <a:gd name="connsiteY4" fmla="*/ 8905 h 10000"/>
                <a:gd name="connsiteX5" fmla="*/ 7334 w 10060"/>
                <a:gd name="connsiteY5" fmla="*/ 9219 h 10000"/>
                <a:gd name="connsiteX6" fmla="*/ 8241 w 10060"/>
                <a:gd name="connsiteY6" fmla="*/ 9687 h 10000"/>
                <a:gd name="connsiteX7" fmla="*/ 8695 w 10060"/>
                <a:gd name="connsiteY7" fmla="*/ 10000 h 10000"/>
                <a:gd name="connsiteX8" fmla="*/ 10060 w 10060"/>
                <a:gd name="connsiteY8" fmla="*/ 9687 h 10000"/>
                <a:gd name="connsiteX9" fmla="*/ 10060 w 10060"/>
                <a:gd name="connsiteY9" fmla="*/ 9219 h 10000"/>
                <a:gd name="connsiteX10" fmla="*/ 8695 w 10060"/>
                <a:gd name="connsiteY10" fmla="*/ 8437 h 10000"/>
                <a:gd name="connsiteX11" fmla="*/ 8695 w 10060"/>
                <a:gd name="connsiteY11" fmla="*/ 7655 h 10000"/>
                <a:gd name="connsiteX12" fmla="*/ 9151 w 10060"/>
                <a:gd name="connsiteY12" fmla="*/ 7655 h 10000"/>
                <a:gd name="connsiteX13" fmla="*/ 8241 w 10060"/>
                <a:gd name="connsiteY13" fmla="*/ 6874 h 10000"/>
                <a:gd name="connsiteX14" fmla="*/ 7787 w 10060"/>
                <a:gd name="connsiteY14" fmla="*/ 6563 h 10000"/>
                <a:gd name="connsiteX15" fmla="*/ 5513 w 10060"/>
                <a:gd name="connsiteY15" fmla="*/ 6405 h 10000"/>
                <a:gd name="connsiteX16" fmla="*/ 3243 w 10060"/>
                <a:gd name="connsiteY16" fmla="*/ 6093 h 10000"/>
                <a:gd name="connsiteX17" fmla="*/ 2334 w 10060"/>
                <a:gd name="connsiteY17" fmla="*/ 5312 h 10000"/>
                <a:gd name="connsiteX18" fmla="*/ 1423 w 10060"/>
                <a:gd name="connsiteY18" fmla="*/ 4062 h 10000"/>
                <a:gd name="connsiteX19" fmla="*/ 2334 w 10060"/>
                <a:gd name="connsiteY19" fmla="*/ 3594 h 10000"/>
                <a:gd name="connsiteX20" fmla="*/ 1879 w 10060"/>
                <a:gd name="connsiteY20" fmla="*/ 2500 h 10000"/>
                <a:gd name="connsiteX21" fmla="*/ 4152 w 10060"/>
                <a:gd name="connsiteY21" fmla="*/ 2500 h 10000"/>
                <a:gd name="connsiteX22" fmla="*/ 5060 w 10060"/>
                <a:gd name="connsiteY22" fmla="*/ 3126 h 10000"/>
                <a:gd name="connsiteX23" fmla="*/ 6877 w 10060"/>
                <a:gd name="connsiteY23" fmla="*/ 3126 h 10000"/>
                <a:gd name="connsiteX24" fmla="*/ 6877 w 10060"/>
                <a:gd name="connsiteY24" fmla="*/ 2657 h 10000"/>
                <a:gd name="connsiteX25" fmla="*/ 7334 w 10060"/>
                <a:gd name="connsiteY25" fmla="*/ 2344 h 10000"/>
                <a:gd name="connsiteX26" fmla="*/ 7787 w 10060"/>
                <a:gd name="connsiteY26" fmla="*/ 2500 h 10000"/>
                <a:gd name="connsiteX27" fmla="*/ 7334 w 10060"/>
                <a:gd name="connsiteY27" fmla="*/ 1562 h 10000"/>
                <a:gd name="connsiteX28" fmla="*/ 8241 w 10060"/>
                <a:gd name="connsiteY28" fmla="*/ 937 h 10000"/>
                <a:gd name="connsiteX29" fmla="*/ 8241 w 10060"/>
                <a:gd name="connsiteY29" fmla="*/ 312 h 10000"/>
                <a:gd name="connsiteX30" fmla="*/ 7334 w 10060"/>
                <a:gd name="connsiteY30" fmla="*/ 0 h 10000"/>
                <a:gd name="connsiteX31" fmla="*/ 6425 w 10060"/>
                <a:gd name="connsiteY31" fmla="*/ 0 h 10000"/>
                <a:gd name="connsiteX32" fmla="*/ 3243 w 10060"/>
                <a:gd name="connsiteY32" fmla="*/ 157 h 10000"/>
                <a:gd name="connsiteX33" fmla="*/ 2788 w 10060"/>
                <a:gd name="connsiteY33" fmla="*/ 0 h 10000"/>
                <a:gd name="connsiteX34" fmla="*/ 2788 w 10060"/>
                <a:gd name="connsiteY34" fmla="*/ 781 h 10000"/>
                <a:gd name="connsiteX35" fmla="*/ 2788 w 10060"/>
                <a:gd name="connsiteY35" fmla="*/ 937 h 10000"/>
                <a:gd name="connsiteX0" fmla="*/ 2915 w 10187"/>
                <a:gd name="connsiteY0" fmla="*/ 937 h 10000"/>
                <a:gd name="connsiteX1" fmla="*/ 1096 w 10187"/>
                <a:gd name="connsiteY1" fmla="*/ 2031 h 10000"/>
                <a:gd name="connsiteX2" fmla="*/ 187 w 10187"/>
                <a:gd name="connsiteY2" fmla="*/ 3126 h 10000"/>
                <a:gd name="connsiteX3" fmla="*/ 640 w 10187"/>
                <a:gd name="connsiteY3" fmla="*/ 4062 h 10000"/>
                <a:gd name="connsiteX4" fmla="*/ 7461 w 10187"/>
                <a:gd name="connsiteY4" fmla="*/ 9219 h 10000"/>
                <a:gd name="connsiteX5" fmla="*/ 8368 w 10187"/>
                <a:gd name="connsiteY5" fmla="*/ 9687 h 10000"/>
                <a:gd name="connsiteX6" fmla="*/ 8822 w 10187"/>
                <a:gd name="connsiteY6" fmla="*/ 10000 h 10000"/>
                <a:gd name="connsiteX7" fmla="*/ 10187 w 10187"/>
                <a:gd name="connsiteY7" fmla="*/ 9687 h 10000"/>
                <a:gd name="connsiteX8" fmla="*/ 10187 w 10187"/>
                <a:gd name="connsiteY8" fmla="*/ 9219 h 10000"/>
                <a:gd name="connsiteX9" fmla="*/ 8822 w 10187"/>
                <a:gd name="connsiteY9" fmla="*/ 8437 h 10000"/>
                <a:gd name="connsiteX10" fmla="*/ 8822 w 10187"/>
                <a:gd name="connsiteY10" fmla="*/ 7655 h 10000"/>
                <a:gd name="connsiteX11" fmla="*/ 9278 w 10187"/>
                <a:gd name="connsiteY11" fmla="*/ 7655 h 10000"/>
                <a:gd name="connsiteX12" fmla="*/ 8368 w 10187"/>
                <a:gd name="connsiteY12" fmla="*/ 6874 h 10000"/>
                <a:gd name="connsiteX13" fmla="*/ 7914 w 10187"/>
                <a:gd name="connsiteY13" fmla="*/ 6563 h 10000"/>
                <a:gd name="connsiteX14" fmla="*/ 5640 w 10187"/>
                <a:gd name="connsiteY14" fmla="*/ 6405 h 10000"/>
                <a:gd name="connsiteX15" fmla="*/ 3370 w 10187"/>
                <a:gd name="connsiteY15" fmla="*/ 6093 h 10000"/>
                <a:gd name="connsiteX16" fmla="*/ 2461 w 10187"/>
                <a:gd name="connsiteY16" fmla="*/ 5312 h 10000"/>
                <a:gd name="connsiteX17" fmla="*/ 1550 w 10187"/>
                <a:gd name="connsiteY17" fmla="*/ 4062 h 10000"/>
                <a:gd name="connsiteX18" fmla="*/ 2461 w 10187"/>
                <a:gd name="connsiteY18" fmla="*/ 3594 h 10000"/>
                <a:gd name="connsiteX19" fmla="*/ 2006 w 10187"/>
                <a:gd name="connsiteY19" fmla="*/ 2500 h 10000"/>
                <a:gd name="connsiteX20" fmla="*/ 4279 w 10187"/>
                <a:gd name="connsiteY20" fmla="*/ 2500 h 10000"/>
                <a:gd name="connsiteX21" fmla="*/ 5187 w 10187"/>
                <a:gd name="connsiteY21" fmla="*/ 3126 h 10000"/>
                <a:gd name="connsiteX22" fmla="*/ 7004 w 10187"/>
                <a:gd name="connsiteY22" fmla="*/ 3126 h 10000"/>
                <a:gd name="connsiteX23" fmla="*/ 7004 w 10187"/>
                <a:gd name="connsiteY23" fmla="*/ 2657 h 10000"/>
                <a:gd name="connsiteX24" fmla="*/ 7461 w 10187"/>
                <a:gd name="connsiteY24" fmla="*/ 2344 h 10000"/>
                <a:gd name="connsiteX25" fmla="*/ 7914 w 10187"/>
                <a:gd name="connsiteY25" fmla="*/ 2500 h 10000"/>
                <a:gd name="connsiteX26" fmla="*/ 7461 w 10187"/>
                <a:gd name="connsiteY26" fmla="*/ 1562 h 10000"/>
                <a:gd name="connsiteX27" fmla="*/ 8368 w 10187"/>
                <a:gd name="connsiteY27" fmla="*/ 937 h 10000"/>
                <a:gd name="connsiteX28" fmla="*/ 8368 w 10187"/>
                <a:gd name="connsiteY28" fmla="*/ 312 h 10000"/>
                <a:gd name="connsiteX29" fmla="*/ 7461 w 10187"/>
                <a:gd name="connsiteY29" fmla="*/ 0 h 10000"/>
                <a:gd name="connsiteX30" fmla="*/ 6552 w 10187"/>
                <a:gd name="connsiteY30" fmla="*/ 0 h 10000"/>
                <a:gd name="connsiteX31" fmla="*/ 3370 w 10187"/>
                <a:gd name="connsiteY31" fmla="*/ 157 h 10000"/>
                <a:gd name="connsiteX32" fmla="*/ 2915 w 10187"/>
                <a:gd name="connsiteY32" fmla="*/ 0 h 10000"/>
                <a:gd name="connsiteX33" fmla="*/ 2915 w 10187"/>
                <a:gd name="connsiteY33" fmla="*/ 781 h 10000"/>
                <a:gd name="connsiteX34" fmla="*/ 2915 w 10187"/>
                <a:gd name="connsiteY34" fmla="*/ 937 h 10000"/>
                <a:gd name="connsiteX0" fmla="*/ 2980 w 10252"/>
                <a:gd name="connsiteY0" fmla="*/ 937 h 10000"/>
                <a:gd name="connsiteX1" fmla="*/ 1161 w 10252"/>
                <a:gd name="connsiteY1" fmla="*/ 2031 h 10000"/>
                <a:gd name="connsiteX2" fmla="*/ 252 w 10252"/>
                <a:gd name="connsiteY2" fmla="*/ 3126 h 10000"/>
                <a:gd name="connsiteX3" fmla="*/ 705 w 10252"/>
                <a:gd name="connsiteY3" fmla="*/ 4062 h 10000"/>
                <a:gd name="connsiteX4" fmla="*/ 8433 w 10252"/>
                <a:gd name="connsiteY4" fmla="*/ 9687 h 10000"/>
                <a:gd name="connsiteX5" fmla="*/ 8887 w 10252"/>
                <a:gd name="connsiteY5" fmla="*/ 10000 h 10000"/>
                <a:gd name="connsiteX6" fmla="*/ 10252 w 10252"/>
                <a:gd name="connsiteY6" fmla="*/ 9687 h 10000"/>
                <a:gd name="connsiteX7" fmla="*/ 10252 w 10252"/>
                <a:gd name="connsiteY7" fmla="*/ 9219 h 10000"/>
                <a:gd name="connsiteX8" fmla="*/ 8887 w 10252"/>
                <a:gd name="connsiteY8" fmla="*/ 8437 h 10000"/>
                <a:gd name="connsiteX9" fmla="*/ 8887 w 10252"/>
                <a:gd name="connsiteY9" fmla="*/ 7655 h 10000"/>
                <a:gd name="connsiteX10" fmla="*/ 9343 w 10252"/>
                <a:gd name="connsiteY10" fmla="*/ 7655 h 10000"/>
                <a:gd name="connsiteX11" fmla="*/ 8433 w 10252"/>
                <a:gd name="connsiteY11" fmla="*/ 6874 h 10000"/>
                <a:gd name="connsiteX12" fmla="*/ 7979 w 10252"/>
                <a:gd name="connsiteY12" fmla="*/ 6563 h 10000"/>
                <a:gd name="connsiteX13" fmla="*/ 5705 w 10252"/>
                <a:gd name="connsiteY13" fmla="*/ 6405 h 10000"/>
                <a:gd name="connsiteX14" fmla="*/ 3435 w 10252"/>
                <a:gd name="connsiteY14" fmla="*/ 6093 h 10000"/>
                <a:gd name="connsiteX15" fmla="*/ 2526 w 10252"/>
                <a:gd name="connsiteY15" fmla="*/ 5312 h 10000"/>
                <a:gd name="connsiteX16" fmla="*/ 1615 w 10252"/>
                <a:gd name="connsiteY16" fmla="*/ 4062 h 10000"/>
                <a:gd name="connsiteX17" fmla="*/ 2526 w 10252"/>
                <a:gd name="connsiteY17" fmla="*/ 3594 h 10000"/>
                <a:gd name="connsiteX18" fmla="*/ 2071 w 10252"/>
                <a:gd name="connsiteY18" fmla="*/ 2500 h 10000"/>
                <a:gd name="connsiteX19" fmla="*/ 4344 w 10252"/>
                <a:gd name="connsiteY19" fmla="*/ 2500 h 10000"/>
                <a:gd name="connsiteX20" fmla="*/ 5252 w 10252"/>
                <a:gd name="connsiteY20" fmla="*/ 3126 h 10000"/>
                <a:gd name="connsiteX21" fmla="*/ 7069 w 10252"/>
                <a:gd name="connsiteY21" fmla="*/ 3126 h 10000"/>
                <a:gd name="connsiteX22" fmla="*/ 7069 w 10252"/>
                <a:gd name="connsiteY22" fmla="*/ 2657 h 10000"/>
                <a:gd name="connsiteX23" fmla="*/ 7526 w 10252"/>
                <a:gd name="connsiteY23" fmla="*/ 2344 h 10000"/>
                <a:gd name="connsiteX24" fmla="*/ 7979 w 10252"/>
                <a:gd name="connsiteY24" fmla="*/ 2500 h 10000"/>
                <a:gd name="connsiteX25" fmla="*/ 7526 w 10252"/>
                <a:gd name="connsiteY25" fmla="*/ 1562 h 10000"/>
                <a:gd name="connsiteX26" fmla="*/ 8433 w 10252"/>
                <a:gd name="connsiteY26" fmla="*/ 937 h 10000"/>
                <a:gd name="connsiteX27" fmla="*/ 8433 w 10252"/>
                <a:gd name="connsiteY27" fmla="*/ 312 h 10000"/>
                <a:gd name="connsiteX28" fmla="*/ 7526 w 10252"/>
                <a:gd name="connsiteY28" fmla="*/ 0 h 10000"/>
                <a:gd name="connsiteX29" fmla="*/ 6617 w 10252"/>
                <a:gd name="connsiteY29" fmla="*/ 0 h 10000"/>
                <a:gd name="connsiteX30" fmla="*/ 3435 w 10252"/>
                <a:gd name="connsiteY30" fmla="*/ 157 h 10000"/>
                <a:gd name="connsiteX31" fmla="*/ 2980 w 10252"/>
                <a:gd name="connsiteY31" fmla="*/ 0 h 10000"/>
                <a:gd name="connsiteX32" fmla="*/ 2980 w 10252"/>
                <a:gd name="connsiteY32" fmla="*/ 781 h 10000"/>
                <a:gd name="connsiteX33" fmla="*/ 2980 w 10252"/>
                <a:gd name="connsiteY33" fmla="*/ 937 h 10000"/>
                <a:gd name="connsiteX0" fmla="*/ 3012 w 10284"/>
                <a:gd name="connsiteY0" fmla="*/ 937 h 10000"/>
                <a:gd name="connsiteX1" fmla="*/ 1193 w 10284"/>
                <a:gd name="connsiteY1" fmla="*/ 2031 h 10000"/>
                <a:gd name="connsiteX2" fmla="*/ 284 w 10284"/>
                <a:gd name="connsiteY2" fmla="*/ 3126 h 10000"/>
                <a:gd name="connsiteX3" fmla="*/ 737 w 10284"/>
                <a:gd name="connsiteY3" fmla="*/ 4062 h 10000"/>
                <a:gd name="connsiteX4" fmla="*/ 8919 w 10284"/>
                <a:gd name="connsiteY4" fmla="*/ 10000 h 10000"/>
                <a:gd name="connsiteX5" fmla="*/ 10284 w 10284"/>
                <a:gd name="connsiteY5" fmla="*/ 9687 h 10000"/>
                <a:gd name="connsiteX6" fmla="*/ 10284 w 10284"/>
                <a:gd name="connsiteY6" fmla="*/ 9219 h 10000"/>
                <a:gd name="connsiteX7" fmla="*/ 8919 w 10284"/>
                <a:gd name="connsiteY7" fmla="*/ 8437 h 10000"/>
                <a:gd name="connsiteX8" fmla="*/ 8919 w 10284"/>
                <a:gd name="connsiteY8" fmla="*/ 7655 h 10000"/>
                <a:gd name="connsiteX9" fmla="*/ 9375 w 10284"/>
                <a:gd name="connsiteY9" fmla="*/ 7655 h 10000"/>
                <a:gd name="connsiteX10" fmla="*/ 8465 w 10284"/>
                <a:gd name="connsiteY10" fmla="*/ 6874 h 10000"/>
                <a:gd name="connsiteX11" fmla="*/ 8011 w 10284"/>
                <a:gd name="connsiteY11" fmla="*/ 6563 h 10000"/>
                <a:gd name="connsiteX12" fmla="*/ 5737 w 10284"/>
                <a:gd name="connsiteY12" fmla="*/ 6405 h 10000"/>
                <a:gd name="connsiteX13" fmla="*/ 3467 w 10284"/>
                <a:gd name="connsiteY13" fmla="*/ 6093 h 10000"/>
                <a:gd name="connsiteX14" fmla="*/ 2558 w 10284"/>
                <a:gd name="connsiteY14" fmla="*/ 5312 h 10000"/>
                <a:gd name="connsiteX15" fmla="*/ 1647 w 10284"/>
                <a:gd name="connsiteY15" fmla="*/ 4062 h 10000"/>
                <a:gd name="connsiteX16" fmla="*/ 2558 w 10284"/>
                <a:gd name="connsiteY16" fmla="*/ 3594 h 10000"/>
                <a:gd name="connsiteX17" fmla="*/ 2103 w 10284"/>
                <a:gd name="connsiteY17" fmla="*/ 2500 h 10000"/>
                <a:gd name="connsiteX18" fmla="*/ 4376 w 10284"/>
                <a:gd name="connsiteY18" fmla="*/ 2500 h 10000"/>
                <a:gd name="connsiteX19" fmla="*/ 5284 w 10284"/>
                <a:gd name="connsiteY19" fmla="*/ 3126 h 10000"/>
                <a:gd name="connsiteX20" fmla="*/ 7101 w 10284"/>
                <a:gd name="connsiteY20" fmla="*/ 3126 h 10000"/>
                <a:gd name="connsiteX21" fmla="*/ 7101 w 10284"/>
                <a:gd name="connsiteY21" fmla="*/ 2657 h 10000"/>
                <a:gd name="connsiteX22" fmla="*/ 7558 w 10284"/>
                <a:gd name="connsiteY22" fmla="*/ 2344 h 10000"/>
                <a:gd name="connsiteX23" fmla="*/ 8011 w 10284"/>
                <a:gd name="connsiteY23" fmla="*/ 2500 h 10000"/>
                <a:gd name="connsiteX24" fmla="*/ 7558 w 10284"/>
                <a:gd name="connsiteY24" fmla="*/ 1562 h 10000"/>
                <a:gd name="connsiteX25" fmla="*/ 8465 w 10284"/>
                <a:gd name="connsiteY25" fmla="*/ 937 h 10000"/>
                <a:gd name="connsiteX26" fmla="*/ 8465 w 10284"/>
                <a:gd name="connsiteY26" fmla="*/ 312 h 10000"/>
                <a:gd name="connsiteX27" fmla="*/ 7558 w 10284"/>
                <a:gd name="connsiteY27" fmla="*/ 0 h 10000"/>
                <a:gd name="connsiteX28" fmla="*/ 6649 w 10284"/>
                <a:gd name="connsiteY28" fmla="*/ 0 h 10000"/>
                <a:gd name="connsiteX29" fmla="*/ 3467 w 10284"/>
                <a:gd name="connsiteY29" fmla="*/ 157 h 10000"/>
                <a:gd name="connsiteX30" fmla="*/ 3012 w 10284"/>
                <a:gd name="connsiteY30" fmla="*/ 0 h 10000"/>
                <a:gd name="connsiteX31" fmla="*/ 3012 w 10284"/>
                <a:gd name="connsiteY31" fmla="*/ 781 h 10000"/>
                <a:gd name="connsiteX32" fmla="*/ 3012 w 10284"/>
                <a:gd name="connsiteY32" fmla="*/ 937 h 10000"/>
                <a:gd name="connsiteX0" fmla="*/ 3111 w 10383"/>
                <a:gd name="connsiteY0" fmla="*/ 937 h 9687"/>
                <a:gd name="connsiteX1" fmla="*/ 1292 w 10383"/>
                <a:gd name="connsiteY1" fmla="*/ 2031 h 9687"/>
                <a:gd name="connsiteX2" fmla="*/ 383 w 10383"/>
                <a:gd name="connsiteY2" fmla="*/ 3126 h 9687"/>
                <a:gd name="connsiteX3" fmla="*/ 836 w 10383"/>
                <a:gd name="connsiteY3" fmla="*/ 4062 h 9687"/>
                <a:gd name="connsiteX4" fmla="*/ 10383 w 10383"/>
                <a:gd name="connsiteY4" fmla="*/ 9687 h 9687"/>
                <a:gd name="connsiteX5" fmla="*/ 10383 w 10383"/>
                <a:gd name="connsiteY5" fmla="*/ 9219 h 9687"/>
                <a:gd name="connsiteX6" fmla="*/ 9018 w 10383"/>
                <a:gd name="connsiteY6" fmla="*/ 8437 h 9687"/>
                <a:gd name="connsiteX7" fmla="*/ 9018 w 10383"/>
                <a:gd name="connsiteY7" fmla="*/ 7655 h 9687"/>
                <a:gd name="connsiteX8" fmla="*/ 9474 w 10383"/>
                <a:gd name="connsiteY8" fmla="*/ 7655 h 9687"/>
                <a:gd name="connsiteX9" fmla="*/ 8564 w 10383"/>
                <a:gd name="connsiteY9" fmla="*/ 6874 h 9687"/>
                <a:gd name="connsiteX10" fmla="*/ 8110 w 10383"/>
                <a:gd name="connsiteY10" fmla="*/ 6563 h 9687"/>
                <a:gd name="connsiteX11" fmla="*/ 5836 w 10383"/>
                <a:gd name="connsiteY11" fmla="*/ 6405 h 9687"/>
                <a:gd name="connsiteX12" fmla="*/ 3566 w 10383"/>
                <a:gd name="connsiteY12" fmla="*/ 6093 h 9687"/>
                <a:gd name="connsiteX13" fmla="*/ 2657 w 10383"/>
                <a:gd name="connsiteY13" fmla="*/ 5312 h 9687"/>
                <a:gd name="connsiteX14" fmla="*/ 1746 w 10383"/>
                <a:gd name="connsiteY14" fmla="*/ 4062 h 9687"/>
                <a:gd name="connsiteX15" fmla="*/ 2657 w 10383"/>
                <a:gd name="connsiteY15" fmla="*/ 3594 h 9687"/>
                <a:gd name="connsiteX16" fmla="*/ 2202 w 10383"/>
                <a:gd name="connsiteY16" fmla="*/ 2500 h 9687"/>
                <a:gd name="connsiteX17" fmla="*/ 4475 w 10383"/>
                <a:gd name="connsiteY17" fmla="*/ 2500 h 9687"/>
                <a:gd name="connsiteX18" fmla="*/ 5383 w 10383"/>
                <a:gd name="connsiteY18" fmla="*/ 3126 h 9687"/>
                <a:gd name="connsiteX19" fmla="*/ 7200 w 10383"/>
                <a:gd name="connsiteY19" fmla="*/ 3126 h 9687"/>
                <a:gd name="connsiteX20" fmla="*/ 7200 w 10383"/>
                <a:gd name="connsiteY20" fmla="*/ 2657 h 9687"/>
                <a:gd name="connsiteX21" fmla="*/ 7657 w 10383"/>
                <a:gd name="connsiteY21" fmla="*/ 2344 h 9687"/>
                <a:gd name="connsiteX22" fmla="*/ 8110 w 10383"/>
                <a:gd name="connsiteY22" fmla="*/ 2500 h 9687"/>
                <a:gd name="connsiteX23" fmla="*/ 7657 w 10383"/>
                <a:gd name="connsiteY23" fmla="*/ 1562 h 9687"/>
                <a:gd name="connsiteX24" fmla="*/ 8564 w 10383"/>
                <a:gd name="connsiteY24" fmla="*/ 937 h 9687"/>
                <a:gd name="connsiteX25" fmla="*/ 8564 w 10383"/>
                <a:gd name="connsiteY25" fmla="*/ 312 h 9687"/>
                <a:gd name="connsiteX26" fmla="*/ 7657 w 10383"/>
                <a:gd name="connsiteY26" fmla="*/ 0 h 9687"/>
                <a:gd name="connsiteX27" fmla="*/ 6748 w 10383"/>
                <a:gd name="connsiteY27" fmla="*/ 0 h 9687"/>
                <a:gd name="connsiteX28" fmla="*/ 3566 w 10383"/>
                <a:gd name="connsiteY28" fmla="*/ 157 h 9687"/>
                <a:gd name="connsiteX29" fmla="*/ 3111 w 10383"/>
                <a:gd name="connsiteY29" fmla="*/ 0 h 9687"/>
                <a:gd name="connsiteX30" fmla="*/ 3111 w 10383"/>
                <a:gd name="connsiteY30" fmla="*/ 781 h 9687"/>
                <a:gd name="connsiteX31" fmla="*/ 3111 w 10383"/>
                <a:gd name="connsiteY31" fmla="*/ 937 h 9687"/>
                <a:gd name="connsiteX0" fmla="*/ 2996 w 10414"/>
                <a:gd name="connsiteY0" fmla="*/ 967 h 9749"/>
                <a:gd name="connsiteX1" fmla="*/ 1244 w 10414"/>
                <a:gd name="connsiteY1" fmla="*/ 2097 h 9749"/>
                <a:gd name="connsiteX2" fmla="*/ 369 w 10414"/>
                <a:gd name="connsiteY2" fmla="*/ 3227 h 9749"/>
                <a:gd name="connsiteX3" fmla="*/ 805 w 10414"/>
                <a:gd name="connsiteY3" fmla="*/ 4193 h 9749"/>
                <a:gd name="connsiteX4" fmla="*/ 10000 w 10414"/>
                <a:gd name="connsiteY4" fmla="*/ 9517 h 9749"/>
                <a:gd name="connsiteX5" fmla="*/ 8685 w 10414"/>
                <a:gd name="connsiteY5" fmla="*/ 8710 h 9749"/>
                <a:gd name="connsiteX6" fmla="*/ 8685 w 10414"/>
                <a:gd name="connsiteY6" fmla="*/ 7902 h 9749"/>
                <a:gd name="connsiteX7" fmla="*/ 9125 w 10414"/>
                <a:gd name="connsiteY7" fmla="*/ 7902 h 9749"/>
                <a:gd name="connsiteX8" fmla="*/ 8248 w 10414"/>
                <a:gd name="connsiteY8" fmla="*/ 7096 h 9749"/>
                <a:gd name="connsiteX9" fmla="*/ 7811 w 10414"/>
                <a:gd name="connsiteY9" fmla="*/ 6775 h 9749"/>
                <a:gd name="connsiteX10" fmla="*/ 5621 w 10414"/>
                <a:gd name="connsiteY10" fmla="*/ 6612 h 9749"/>
                <a:gd name="connsiteX11" fmla="*/ 3434 w 10414"/>
                <a:gd name="connsiteY11" fmla="*/ 6290 h 9749"/>
                <a:gd name="connsiteX12" fmla="*/ 2559 w 10414"/>
                <a:gd name="connsiteY12" fmla="*/ 5484 h 9749"/>
                <a:gd name="connsiteX13" fmla="*/ 1682 w 10414"/>
                <a:gd name="connsiteY13" fmla="*/ 4193 h 9749"/>
                <a:gd name="connsiteX14" fmla="*/ 2559 w 10414"/>
                <a:gd name="connsiteY14" fmla="*/ 3710 h 9749"/>
                <a:gd name="connsiteX15" fmla="*/ 2121 w 10414"/>
                <a:gd name="connsiteY15" fmla="*/ 2581 h 9749"/>
                <a:gd name="connsiteX16" fmla="*/ 4310 w 10414"/>
                <a:gd name="connsiteY16" fmla="*/ 2581 h 9749"/>
                <a:gd name="connsiteX17" fmla="*/ 5184 w 10414"/>
                <a:gd name="connsiteY17" fmla="*/ 3227 h 9749"/>
                <a:gd name="connsiteX18" fmla="*/ 6934 w 10414"/>
                <a:gd name="connsiteY18" fmla="*/ 3227 h 9749"/>
                <a:gd name="connsiteX19" fmla="*/ 6934 w 10414"/>
                <a:gd name="connsiteY19" fmla="*/ 2743 h 9749"/>
                <a:gd name="connsiteX20" fmla="*/ 7375 w 10414"/>
                <a:gd name="connsiteY20" fmla="*/ 2420 h 9749"/>
                <a:gd name="connsiteX21" fmla="*/ 7811 w 10414"/>
                <a:gd name="connsiteY21" fmla="*/ 2581 h 9749"/>
                <a:gd name="connsiteX22" fmla="*/ 7375 w 10414"/>
                <a:gd name="connsiteY22" fmla="*/ 1612 h 9749"/>
                <a:gd name="connsiteX23" fmla="*/ 8248 w 10414"/>
                <a:gd name="connsiteY23" fmla="*/ 967 h 9749"/>
                <a:gd name="connsiteX24" fmla="*/ 8248 w 10414"/>
                <a:gd name="connsiteY24" fmla="*/ 322 h 9749"/>
                <a:gd name="connsiteX25" fmla="*/ 7375 w 10414"/>
                <a:gd name="connsiteY25" fmla="*/ 0 h 9749"/>
                <a:gd name="connsiteX26" fmla="*/ 6499 w 10414"/>
                <a:gd name="connsiteY26" fmla="*/ 0 h 9749"/>
                <a:gd name="connsiteX27" fmla="*/ 3434 w 10414"/>
                <a:gd name="connsiteY27" fmla="*/ 162 h 9749"/>
                <a:gd name="connsiteX28" fmla="*/ 2996 w 10414"/>
                <a:gd name="connsiteY28" fmla="*/ 0 h 9749"/>
                <a:gd name="connsiteX29" fmla="*/ 2996 w 10414"/>
                <a:gd name="connsiteY29" fmla="*/ 806 h 9749"/>
                <a:gd name="connsiteX30" fmla="*/ 2996 w 10414"/>
                <a:gd name="connsiteY30" fmla="*/ 967 h 9749"/>
                <a:gd name="connsiteX0" fmla="*/ 2787 w 8810"/>
                <a:gd name="connsiteY0" fmla="*/ 992 h 9117"/>
                <a:gd name="connsiteX1" fmla="*/ 1105 w 8810"/>
                <a:gd name="connsiteY1" fmla="*/ 2151 h 9117"/>
                <a:gd name="connsiteX2" fmla="*/ 264 w 8810"/>
                <a:gd name="connsiteY2" fmla="*/ 3310 h 9117"/>
                <a:gd name="connsiteX3" fmla="*/ 683 w 8810"/>
                <a:gd name="connsiteY3" fmla="*/ 4301 h 9117"/>
                <a:gd name="connsiteX4" fmla="*/ 8250 w 8810"/>
                <a:gd name="connsiteY4" fmla="*/ 8934 h 9117"/>
                <a:gd name="connsiteX5" fmla="*/ 8250 w 8810"/>
                <a:gd name="connsiteY5" fmla="*/ 8105 h 9117"/>
                <a:gd name="connsiteX6" fmla="*/ 8672 w 8810"/>
                <a:gd name="connsiteY6" fmla="*/ 8105 h 9117"/>
                <a:gd name="connsiteX7" fmla="*/ 7830 w 8810"/>
                <a:gd name="connsiteY7" fmla="*/ 7279 h 9117"/>
                <a:gd name="connsiteX8" fmla="*/ 7410 w 8810"/>
                <a:gd name="connsiteY8" fmla="*/ 6949 h 9117"/>
                <a:gd name="connsiteX9" fmla="*/ 5308 w 8810"/>
                <a:gd name="connsiteY9" fmla="*/ 6782 h 9117"/>
                <a:gd name="connsiteX10" fmla="*/ 3207 w 8810"/>
                <a:gd name="connsiteY10" fmla="*/ 6452 h 9117"/>
                <a:gd name="connsiteX11" fmla="*/ 2367 w 8810"/>
                <a:gd name="connsiteY11" fmla="*/ 5625 h 9117"/>
                <a:gd name="connsiteX12" fmla="*/ 1525 w 8810"/>
                <a:gd name="connsiteY12" fmla="*/ 4301 h 9117"/>
                <a:gd name="connsiteX13" fmla="*/ 2367 w 8810"/>
                <a:gd name="connsiteY13" fmla="*/ 3806 h 9117"/>
                <a:gd name="connsiteX14" fmla="*/ 1947 w 8810"/>
                <a:gd name="connsiteY14" fmla="*/ 2647 h 9117"/>
                <a:gd name="connsiteX15" fmla="*/ 4049 w 8810"/>
                <a:gd name="connsiteY15" fmla="*/ 2647 h 9117"/>
                <a:gd name="connsiteX16" fmla="*/ 4888 w 8810"/>
                <a:gd name="connsiteY16" fmla="*/ 3310 h 9117"/>
                <a:gd name="connsiteX17" fmla="*/ 6568 w 8810"/>
                <a:gd name="connsiteY17" fmla="*/ 3310 h 9117"/>
                <a:gd name="connsiteX18" fmla="*/ 6568 w 8810"/>
                <a:gd name="connsiteY18" fmla="*/ 2814 h 9117"/>
                <a:gd name="connsiteX19" fmla="*/ 6992 w 8810"/>
                <a:gd name="connsiteY19" fmla="*/ 2482 h 9117"/>
                <a:gd name="connsiteX20" fmla="*/ 7410 w 8810"/>
                <a:gd name="connsiteY20" fmla="*/ 2647 h 9117"/>
                <a:gd name="connsiteX21" fmla="*/ 6992 w 8810"/>
                <a:gd name="connsiteY21" fmla="*/ 1654 h 9117"/>
                <a:gd name="connsiteX22" fmla="*/ 7830 w 8810"/>
                <a:gd name="connsiteY22" fmla="*/ 992 h 9117"/>
                <a:gd name="connsiteX23" fmla="*/ 7830 w 8810"/>
                <a:gd name="connsiteY23" fmla="*/ 330 h 9117"/>
                <a:gd name="connsiteX24" fmla="*/ 6992 w 8810"/>
                <a:gd name="connsiteY24" fmla="*/ 0 h 9117"/>
                <a:gd name="connsiteX25" fmla="*/ 6151 w 8810"/>
                <a:gd name="connsiteY25" fmla="*/ 0 h 9117"/>
                <a:gd name="connsiteX26" fmla="*/ 3207 w 8810"/>
                <a:gd name="connsiteY26" fmla="*/ 166 h 9117"/>
                <a:gd name="connsiteX27" fmla="*/ 2787 w 8810"/>
                <a:gd name="connsiteY27" fmla="*/ 0 h 9117"/>
                <a:gd name="connsiteX28" fmla="*/ 2787 w 8810"/>
                <a:gd name="connsiteY28" fmla="*/ 827 h 9117"/>
                <a:gd name="connsiteX29" fmla="*/ 2787 w 8810"/>
                <a:gd name="connsiteY29" fmla="*/ 992 h 9117"/>
                <a:gd name="connsiteX0" fmla="*/ 3163 w 9843"/>
                <a:gd name="connsiteY0" fmla="*/ 1088 h 8890"/>
                <a:gd name="connsiteX1" fmla="*/ 1254 w 9843"/>
                <a:gd name="connsiteY1" fmla="*/ 2359 h 8890"/>
                <a:gd name="connsiteX2" fmla="*/ 300 w 9843"/>
                <a:gd name="connsiteY2" fmla="*/ 3631 h 8890"/>
                <a:gd name="connsiteX3" fmla="*/ 775 w 9843"/>
                <a:gd name="connsiteY3" fmla="*/ 4718 h 8890"/>
                <a:gd name="connsiteX4" fmla="*/ 9364 w 9843"/>
                <a:gd name="connsiteY4" fmla="*/ 8890 h 8890"/>
                <a:gd name="connsiteX5" fmla="*/ 9843 w 9843"/>
                <a:gd name="connsiteY5" fmla="*/ 8890 h 8890"/>
                <a:gd name="connsiteX6" fmla="*/ 8888 w 9843"/>
                <a:gd name="connsiteY6" fmla="*/ 7984 h 8890"/>
                <a:gd name="connsiteX7" fmla="*/ 8411 w 9843"/>
                <a:gd name="connsiteY7" fmla="*/ 7622 h 8890"/>
                <a:gd name="connsiteX8" fmla="*/ 6025 w 9843"/>
                <a:gd name="connsiteY8" fmla="*/ 7439 h 8890"/>
                <a:gd name="connsiteX9" fmla="*/ 3640 w 9843"/>
                <a:gd name="connsiteY9" fmla="*/ 7077 h 8890"/>
                <a:gd name="connsiteX10" fmla="*/ 2687 w 9843"/>
                <a:gd name="connsiteY10" fmla="*/ 6170 h 8890"/>
                <a:gd name="connsiteX11" fmla="*/ 1731 w 9843"/>
                <a:gd name="connsiteY11" fmla="*/ 4718 h 8890"/>
                <a:gd name="connsiteX12" fmla="*/ 2687 w 9843"/>
                <a:gd name="connsiteY12" fmla="*/ 4175 h 8890"/>
                <a:gd name="connsiteX13" fmla="*/ 2210 w 9843"/>
                <a:gd name="connsiteY13" fmla="*/ 2903 h 8890"/>
                <a:gd name="connsiteX14" fmla="*/ 4596 w 9843"/>
                <a:gd name="connsiteY14" fmla="*/ 2903 h 8890"/>
                <a:gd name="connsiteX15" fmla="*/ 5548 w 9843"/>
                <a:gd name="connsiteY15" fmla="*/ 3631 h 8890"/>
                <a:gd name="connsiteX16" fmla="*/ 7455 w 9843"/>
                <a:gd name="connsiteY16" fmla="*/ 3631 h 8890"/>
                <a:gd name="connsiteX17" fmla="*/ 7455 w 9843"/>
                <a:gd name="connsiteY17" fmla="*/ 3087 h 8890"/>
                <a:gd name="connsiteX18" fmla="*/ 7936 w 9843"/>
                <a:gd name="connsiteY18" fmla="*/ 2722 h 8890"/>
                <a:gd name="connsiteX19" fmla="*/ 8411 w 9843"/>
                <a:gd name="connsiteY19" fmla="*/ 2903 h 8890"/>
                <a:gd name="connsiteX20" fmla="*/ 7936 w 9843"/>
                <a:gd name="connsiteY20" fmla="*/ 1814 h 8890"/>
                <a:gd name="connsiteX21" fmla="*/ 8888 w 9843"/>
                <a:gd name="connsiteY21" fmla="*/ 1088 h 8890"/>
                <a:gd name="connsiteX22" fmla="*/ 8888 w 9843"/>
                <a:gd name="connsiteY22" fmla="*/ 362 h 8890"/>
                <a:gd name="connsiteX23" fmla="*/ 7936 w 9843"/>
                <a:gd name="connsiteY23" fmla="*/ 0 h 8890"/>
                <a:gd name="connsiteX24" fmla="*/ 6982 w 9843"/>
                <a:gd name="connsiteY24" fmla="*/ 0 h 8890"/>
                <a:gd name="connsiteX25" fmla="*/ 3640 w 9843"/>
                <a:gd name="connsiteY25" fmla="*/ 182 h 8890"/>
                <a:gd name="connsiteX26" fmla="*/ 3163 w 9843"/>
                <a:gd name="connsiteY26" fmla="*/ 0 h 8890"/>
                <a:gd name="connsiteX27" fmla="*/ 3163 w 9843"/>
                <a:gd name="connsiteY27" fmla="*/ 907 h 8890"/>
                <a:gd name="connsiteX28" fmla="*/ 3163 w 9843"/>
                <a:gd name="connsiteY28" fmla="*/ 1088 h 8890"/>
                <a:gd name="connsiteX0" fmla="*/ 3213 w 9513"/>
                <a:gd name="connsiteY0" fmla="*/ 1224 h 10000"/>
                <a:gd name="connsiteX1" fmla="*/ 1274 w 9513"/>
                <a:gd name="connsiteY1" fmla="*/ 2654 h 10000"/>
                <a:gd name="connsiteX2" fmla="*/ 305 w 9513"/>
                <a:gd name="connsiteY2" fmla="*/ 4084 h 10000"/>
                <a:gd name="connsiteX3" fmla="*/ 787 w 9513"/>
                <a:gd name="connsiteY3" fmla="*/ 5307 h 10000"/>
                <a:gd name="connsiteX4" fmla="*/ 9513 w 9513"/>
                <a:gd name="connsiteY4" fmla="*/ 10000 h 10000"/>
                <a:gd name="connsiteX5" fmla="*/ 9030 w 9513"/>
                <a:gd name="connsiteY5" fmla="*/ 8981 h 10000"/>
                <a:gd name="connsiteX6" fmla="*/ 8545 w 9513"/>
                <a:gd name="connsiteY6" fmla="*/ 8574 h 10000"/>
                <a:gd name="connsiteX7" fmla="*/ 6121 w 9513"/>
                <a:gd name="connsiteY7" fmla="*/ 8368 h 10000"/>
                <a:gd name="connsiteX8" fmla="*/ 3698 w 9513"/>
                <a:gd name="connsiteY8" fmla="*/ 7961 h 10000"/>
                <a:gd name="connsiteX9" fmla="*/ 2730 w 9513"/>
                <a:gd name="connsiteY9" fmla="*/ 6940 h 10000"/>
                <a:gd name="connsiteX10" fmla="*/ 1759 w 9513"/>
                <a:gd name="connsiteY10" fmla="*/ 5307 h 10000"/>
                <a:gd name="connsiteX11" fmla="*/ 2730 w 9513"/>
                <a:gd name="connsiteY11" fmla="*/ 4696 h 10000"/>
                <a:gd name="connsiteX12" fmla="*/ 2245 w 9513"/>
                <a:gd name="connsiteY12" fmla="*/ 3265 h 10000"/>
                <a:gd name="connsiteX13" fmla="*/ 4669 w 9513"/>
                <a:gd name="connsiteY13" fmla="*/ 3265 h 10000"/>
                <a:gd name="connsiteX14" fmla="*/ 5636 w 9513"/>
                <a:gd name="connsiteY14" fmla="*/ 4084 h 10000"/>
                <a:gd name="connsiteX15" fmla="*/ 7574 w 9513"/>
                <a:gd name="connsiteY15" fmla="*/ 4084 h 10000"/>
                <a:gd name="connsiteX16" fmla="*/ 7574 w 9513"/>
                <a:gd name="connsiteY16" fmla="*/ 3472 h 10000"/>
                <a:gd name="connsiteX17" fmla="*/ 8063 w 9513"/>
                <a:gd name="connsiteY17" fmla="*/ 3062 h 10000"/>
                <a:gd name="connsiteX18" fmla="*/ 8545 w 9513"/>
                <a:gd name="connsiteY18" fmla="*/ 3265 h 10000"/>
                <a:gd name="connsiteX19" fmla="*/ 8063 w 9513"/>
                <a:gd name="connsiteY19" fmla="*/ 2040 h 10000"/>
                <a:gd name="connsiteX20" fmla="*/ 9030 w 9513"/>
                <a:gd name="connsiteY20" fmla="*/ 1224 h 10000"/>
                <a:gd name="connsiteX21" fmla="*/ 9030 w 9513"/>
                <a:gd name="connsiteY21" fmla="*/ 407 h 10000"/>
                <a:gd name="connsiteX22" fmla="*/ 8063 w 9513"/>
                <a:gd name="connsiteY22" fmla="*/ 0 h 10000"/>
                <a:gd name="connsiteX23" fmla="*/ 7093 w 9513"/>
                <a:gd name="connsiteY23" fmla="*/ 0 h 10000"/>
                <a:gd name="connsiteX24" fmla="*/ 3698 w 9513"/>
                <a:gd name="connsiteY24" fmla="*/ 205 h 10000"/>
                <a:gd name="connsiteX25" fmla="*/ 3213 w 9513"/>
                <a:gd name="connsiteY25" fmla="*/ 0 h 10000"/>
                <a:gd name="connsiteX26" fmla="*/ 3213 w 9513"/>
                <a:gd name="connsiteY26" fmla="*/ 1020 h 10000"/>
                <a:gd name="connsiteX27" fmla="*/ 3213 w 9513"/>
                <a:gd name="connsiteY27" fmla="*/ 1224 h 10000"/>
                <a:gd name="connsiteX0" fmla="*/ 3377 w 10000"/>
                <a:gd name="connsiteY0" fmla="*/ 1224 h 10000"/>
                <a:gd name="connsiteX1" fmla="*/ 1339 w 10000"/>
                <a:gd name="connsiteY1" fmla="*/ 2654 h 10000"/>
                <a:gd name="connsiteX2" fmla="*/ 321 w 10000"/>
                <a:gd name="connsiteY2" fmla="*/ 4084 h 10000"/>
                <a:gd name="connsiteX3" fmla="*/ 827 w 10000"/>
                <a:gd name="connsiteY3" fmla="*/ 5307 h 10000"/>
                <a:gd name="connsiteX4" fmla="*/ 10000 w 10000"/>
                <a:gd name="connsiteY4" fmla="*/ 10000 h 10000"/>
                <a:gd name="connsiteX5" fmla="*/ 8982 w 10000"/>
                <a:gd name="connsiteY5" fmla="*/ 8574 h 10000"/>
                <a:gd name="connsiteX6" fmla="*/ 6434 w 10000"/>
                <a:gd name="connsiteY6" fmla="*/ 8368 h 10000"/>
                <a:gd name="connsiteX7" fmla="*/ 3887 w 10000"/>
                <a:gd name="connsiteY7" fmla="*/ 7961 h 10000"/>
                <a:gd name="connsiteX8" fmla="*/ 2870 w 10000"/>
                <a:gd name="connsiteY8" fmla="*/ 6940 h 10000"/>
                <a:gd name="connsiteX9" fmla="*/ 1849 w 10000"/>
                <a:gd name="connsiteY9" fmla="*/ 5307 h 10000"/>
                <a:gd name="connsiteX10" fmla="*/ 2870 w 10000"/>
                <a:gd name="connsiteY10" fmla="*/ 4696 h 10000"/>
                <a:gd name="connsiteX11" fmla="*/ 2360 w 10000"/>
                <a:gd name="connsiteY11" fmla="*/ 3265 h 10000"/>
                <a:gd name="connsiteX12" fmla="*/ 4908 w 10000"/>
                <a:gd name="connsiteY12" fmla="*/ 3265 h 10000"/>
                <a:gd name="connsiteX13" fmla="*/ 5925 w 10000"/>
                <a:gd name="connsiteY13" fmla="*/ 4084 h 10000"/>
                <a:gd name="connsiteX14" fmla="*/ 7962 w 10000"/>
                <a:gd name="connsiteY14" fmla="*/ 4084 h 10000"/>
                <a:gd name="connsiteX15" fmla="*/ 7962 w 10000"/>
                <a:gd name="connsiteY15" fmla="*/ 3472 h 10000"/>
                <a:gd name="connsiteX16" fmla="*/ 8476 w 10000"/>
                <a:gd name="connsiteY16" fmla="*/ 3062 h 10000"/>
                <a:gd name="connsiteX17" fmla="*/ 8982 w 10000"/>
                <a:gd name="connsiteY17" fmla="*/ 3265 h 10000"/>
                <a:gd name="connsiteX18" fmla="*/ 8476 w 10000"/>
                <a:gd name="connsiteY18" fmla="*/ 2040 h 10000"/>
                <a:gd name="connsiteX19" fmla="*/ 9492 w 10000"/>
                <a:gd name="connsiteY19" fmla="*/ 1224 h 10000"/>
                <a:gd name="connsiteX20" fmla="*/ 9492 w 10000"/>
                <a:gd name="connsiteY20" fmla="*/ 407 h 10000"/>
                <a:gd name="connsiteX21" fmla="*/ 8476 w 10000"/>
                <a:gd name="connsiteY21" fmla="*/ 0 h 10000"/>
                <a:gd name="connsiteX22" fmla="*/ 7456 w 10000"/>
                <a:gd name="connsiteY22" fmla="*/ 0 h 10000"/>
                <a:gd name="connsiteX23" fmla="*/ 3887 w 10000"/>
                <a:gd name="connsiteY23" fmla="*/ 205 h 10000"/>
                <a:gd name="connsiteX24" fmla="*/ 3377 w 10000"/>
                <a:gd name="connsiteY24" fmla="*/ 0 h 10000"/>
                <a:gd name="connsiteX25" fmla="*/ 3377 w 10000"/>
                <a:gd name="connsiteY25" fmla="*/ 1020 h 10000"/>
                <a:gd name="connsiteX26" fmla="*/ 3377 w 10000"/>
                <a:gd name="connsiteY26" fmla="*/ 1224 h 10000"/>
                <a:gd name="connsiteX0" fmla="*/ 3377 w 10000"/>
                <a:gd name="connsiteY0" fmla="*/ 1224 h 10000"/>
                <a:gd name="connsiteX1" fmla="*/ 1339 w 10000"/>
                <a:gd name="connsiteY1" fmla="*/ 2654 h 10000"/>
                <a:gd name="connsiteX2" fmla="*/ 321 w 10000"/>
                <a:gd name="connsiteY2" fmla="*/ 4084 h 10000"/>
                <a:gd name="connsiteX3" fmla="*/ 827 w 10000"/>
                <a:gd name="connsiteY3" fmla="*/ 5307 h 10000"/>
                <a:gd name="connsiteX4" fmla="*/ 10000 w 10000"/>
                <a:gd name="connsiteY4" fmla="*/ 10000 h 10000"/>
                <a:gd name="connsiteX5" fmla="*/ 6434 w 10000"/>
                <a:gd name="connsiteY5" fmla="*/ 8368 h 10000"/>
                <a:gd name="connsiteX6" fmla="*/ 3887 w 10000"/>
                <a:gd name="connsiteY6" fmla="*/ 7961 h 10000"/>
                <a:gd name="connsiteX7" fmla="*/ 2870 w 10000"/>
                <a:gd name="connsiteY7" fmla="*/ 6940 h 10000"/>
                <a:gd name="connsiteX8" fmla="*/ 1849 w 10000"/>
                <a:gd name="connsiteY8" fmla="*/ 5307 h 10000"/>
                <a:gd name="connsiteX9" fmla="*/ 2870 w 10000"/>
                <a:gd name="connsiteY9" fmla="*/ 4696 h 10000"/>
                <a:gd name="connsiteX10" fmla="*/ 2360 w 10000"/>
                <a:gd name="connsiteY10" fmla="*/ 3265 h 10000"/>
                <a:gd name="connsiteX11" fmla="*/ 4908 w 10000"/>
                <a:gd name="connsiteY11" fmla="*/ 3265 h 10000"/>
                <a:gd name="connsiteX12" fmla="*/ 5925 w 10000"/>
                <a:gd name="connsiteY12" fmla="*/ 4084 h 10000"/>
                <a:gd name="connsiteX13" fmla="*/ 7962 w 10000"/>
                <a:gd name="connsiteY13" fmla="*/ 4084 h 10000"/>
                <a:gd name="connsiteX14" fmla="*/ 7962 w 10000"/>
                <a:gd name="connsiteY14" fmla="*/ 3472 h 10000"/>
                <a:gd name="connsiteX15" fmla="*/ 8476 w 10000"/>
                <a:gd name="connsiteY15" fmla="*/ 3062 h 10000"/>
                <a:gd name="connsiteX16" fmla="*/ 8982 w 10000"/>
                <a:gd name="connsiteY16" fmla="*/ 3265 h 10000"/>
                <a:gd name="connsiteX17" fmla="*/ 8476 w 10000"/>
                <a:gd name="connsiteY17" fmla="*/ 2040 h 10000"/>
                <a:gd name="connsiteX18" fmla="*/ 9492 w 10000"/>
                <a:gd name="connsiteY18" fmla="*/ 1224 h 10000"/>
                <a:gd name="connsiteX19" fmla="*/ 9492 w 10000"/>
                <a:gd name="connsiteY19" fmla="*/ 407 h 10000"/>
                <a:gd name="connsiteX20" fmla="*/ 8476 w 10000"/>
                <a:gd name="connsiteY20" fmla="*/ 0 h 10000"/>
                <a:gd name="connsiteX21" fmla="*/ 7456 w 10000"/>
                <a:gd name="connsiteY21" fmla="*/ 0 h 10000"/>
                <a:gd name="connsiteX22" fmla="*/ 3887 w 10000"/>
                <a:gd name="connsiteY22" fmla="*/ 205 h 10000"/>
                <a:gd name="connsiteX23" fmla="*/ 3377 w 10000"/>
                <a:gd name="connsiteY23" fmla="*/ 0 h 10000"/>
                <a:gd name="connsiteX24" fmla="*/ 3377 w 10000"/>
                <a:gd name="connsiteY24" fmla="*/ 1020 h 10000"/>
                <a:gd name="connsiteX25" fmla="*/ 3377 w 10000"/>
                <a:gd name="connsiteY25" fmla="*/ 1224 h 10000"/>
                <a:gd name="connsiteX0" fmla="*/ 3377 w 10000"/>
                <a:gd name="connsiteY0" fmla="*/ 1224 h 10000"/>
                <a:gd name="connsiteX1" fmla="*/ 1339 w 10000"/>
                <a:gd name="connsiteY1" fmla="*/ 2654 h 10000"/>
                <a:gd name="connsiteX2" fmla="*/ 321 w 10000"/>
                <a:gd name="connsiteY2" fmla="*/ 4084 h 10000"/>
                <a:gd name="connsiteX3" fmla="*/ 827 w 10000"/>
                <a:gd name="connsiteY3" fmla="*/ 5307 h 10000"/>
                <a:gd name="connsiteX4" fmla="*/ 10000 w 10000"/>
                <a:gd name="connsiteY4" fmla="*/ 10000 h 10000"/>
                <a:gd name="connsiteX5" fmla="*/ 3887 w 10000"/>
                <a:gd name="connsiteY5" fmla="*/ 7961 h 10000"/>
                <a:gd name="connsiteX6" fmla="*/ 2870 w 10000"/>
                <a:gd name="connsiteY6" fmla="*/ 6940 h 10000"/>
                <a:gd name="connsiteX7" fmla="*/ 1849 w 10000"/>
                <a:gd name="connsiteY7" fmla="*/ 5307 h 10000"/>
                <a:gd name="connsiteX8" fmla="*/ 2870 w 10000"/>
                <a:gd name="connsiteY8" fmla="*/ 4696 h 10000"/>
                <a:gd name="connsiteX9" fmla="*/ 2360 w 10000"/>
                <a:gd name="connsiteY9" fmla="*/ 3265 h 10000"/>
                <a:gd name="connsiteX10" fmla="*/ 4908 w 10000"/>
                <a:gd name="connsiteY10" fmla="*/ 3265 h 10000"/>
                <a:gd name="connsiteX11" fmla="*/ 5925 w 10000"/>
                <a:gd name="connsiteY11" fmla="*/ 4084 h 10000"/>
                <a:gd name="connsiteX12" fmla="*/ 7962 w 10000"/>
                <a:gd name="connsiteY12" fmla="*/ 4084 h 10000"/>
                <a:gd name="connsiteX13" fmla="*/ 7962 w 10000"/>
                <a:gd name="connsiteY13" fmla="*/ 3472 h 10000"/>
                <a:gd name="connsiteX14" fmla="*/ 8476 w 10000"/>
                <a:gd name="connsiteY14" fmla="*/ 3062 h 10000"/>
                <a:gd name="connsiteX15" fmla="*/ 8982 w 10000"/>
                <a:gd name="connsiteY15" fmla="*/ 3265 h 10000"/>
                <a:gd name="connsiteX16" fmla="*/ 8476 w 10000"/>
                <a:gd name="connsiteY16" fmla="*/ 2040 h 10000"/>
                <a:gd name="connsiteX17" fmla="*/ 9492 w 10000"/>
                <a:gd name="connsiteY17" fmla="*/ 1224 h 10000"/>
                <a:gd name="connsiteX18" fmla="*/ 9492 w 10000"/>
                <a:gd name="connsiteY18" fmla="*/ 407 h 10000"/>
                <a:gd name="connsiteX19" fmla="*/ 8476 w 10000"/>
                <a:gd name="connsiteY19" fmla="*/ 0 h 10000"/>
                <a:gd name="connsiteX20" fmla="*/ 7456 w 10000"/>
                <a:gd name="connsiteY20" fmla="*/ 0 h 10000"/>
                <a:gd name="connsiteX21" fmla="*/ 3887 w 10000"/>
                <a:gd name="connsiteY21" fmla="*/ 205 h 10000"/>
                <a:gd name="connsiteX22" fmla="*/ 3377 w 10000"/>
                <a:gd name="connsiteY22" fmla="*/ 0 h 10000"/>
                <a:gd name="connsiteX23" fmla="*/ 3377 w 10000"/>
                <a:gd name="connsiteY23" fmla="*/ 1020 h 10000"/>
                <a:gd name="connsiteX24" fmla="*/ 3377 w 10000"/>
                <a:gd name="connsiteY24" fmla="*/ 1224 h 10000"/>
                <a:gd name="connsiteX0" fmla="*/ 3377 w 10000"/>
                <a:gd name="connsiteY0" fmla="*/ 1224 h 10000"/>
                <a:gd name="connsiteX1" fmla="*/ 1339 w 10000"/>
                <a:gd name="connsiteY1" fmla="*/ 2654 h 10000"/>
                <a:gd name="connsiteX2" fmla="*/ 321 w 10000"/>
                <a:gd name="connsiteY2" fmla="*/ 4084 h 10000"/>
                <a:gd name="connsiteX3" fmla="*/ 827 w 10000"/>
                <a:gd name="connsiteY3" fmla="*/ 5307 h 10000"/>
                <a:gd name="connsiteX4" fmla="*/ 10000 w 10000"/>
                <a:gd name="connsiteY4" fmla="*/ 10000 h 10000"/>
                <a:gd name="connsiteX5" fmla="*/ 3887 w 10000"/>
                <a:gd name="connsiteY5" fmla="*/ 7961 h 10000"/>
                <a:gd name="connsiteX6" fmla="*/ 1849 w 10000"/>
                <a:gd name="connsiteY6" fmla="*/ 5307 h 10000"/>
                <a:gd name="connsiteX7" fmla="*/ 2870 w 10000"/>
                <a:gd name="connsiteY7" fmla="*/ 4696 h 10000"/>
                <a:gd name="connsiteX8" fmla="*/ 2360 w 10000"/>
                <a:gd name="connsiteY8" fmla="*/ 3265 h 10000"/>
                <a:gd name="connsiteX9" fmla="*/ 4908 w 10000"/>
                <a:gd name="connsiteY9" fmla="*/ 3265 h 10000"/>
                <a:gd name="connsiteX10" fmla="*/ 5925 w 10000"/>
                <a:gd name="connsiteY10" fmla="*/ 4084 h 10000"/>
                <a:gd name="connsiteX11" fmla="*/ 7962 w 10000"/>
                <a:gd name="connsiteY11" fmla="*/ 4084 h 10000"/>
                <a:gd name="connsiteX12" fmla="*/ 7962 w 10000"/>
                <a:gd name="connsiteY12" fmla="*/ 3472 h 10000"/>
                <a:gd name="connsiteX13" fmla="*/ 8476 w 10000"/>
                <a:gd name="connsiteY13" fmla="*/ 3062 h 10000"/>
                <a:gd name="connsiteX14" fmla="*/ 8982 w 10000"/>
                <a:gd name="connsiteY14" fmla="*/ 3265 h 10000"/>
                <a:gd name="connsiteX15" fmla="*/ 8476 w 10000"/>
                <a:gd name="connsiteY15" fmla="*/ 2040 h 10000"/>
                <a:gd name="connsiteX16" fmla="*/ 9492 w 10000"/>
                <a:gd name="connsiteY16" fmla="*/ 1224 h 10000"/>
                <a:gd name="connsiteX17" fmla="*/ 9492 w 10000"/>
                <a:gd name="connsiteY17" fmla="*/ 407 h 10000"/>
                <a:gd name="connsiteX18" fmla="*/ 8476 w 10000"/>
                <a:gd name="connsiteY18" fmla="*/ 0 h 10000"/>
                <a:gd name="connsiteX19" fmla="*/ 7456 w 10000"/>
                <a:gd name="connsiteY19" fmla="*/ 0 h 10000"/>
                <a:gd name="connsiteX20" fmla="*/ 3887 w 10000"/>
                <a:gd name="connsiteY20" fmla="*/ 205 h 10000"/>
                <a:gd name="connsiteX21" fmla="*/ 3377 w 10000"/>
                <a:gd name="connsiteY21" fmla="*/ 0 h 10000"/>
                <a:gd name="connsiteX22" fmla="*/ 3377 w 10000"/>
                <a:gd name="connsiteY22" fmla="*/ 1020 h 10000"/>
                <a:gd name="connsiteX23" fmla="*/ 3377 w 10000"/>
                <a:gd name="connsiteY23" fmla="*/ 1224 h 10000"/>
                <a:gd name="connsiteX0" fmla="*/ 3377 w 10000"/>
                <a:gd name="connsiteY0" fmla="*/ 1224 h 10000"/>
                <a:gd name="connsiteX1" fmla="*/ 1339 w 10000"/>
                <a:gd name="connsiteY1" fmla="*/ 2654 h 10000"/>
                <a:gd name="connsiteX2" fmla="*/ 321 w 10000"/>
                <a:gd name="connsiteY2" fmla="*/ 4084 h 10000"/>
                <a:gd name="connsiteX3" fmla="*/ 827 w 10000"/>
                <a:gd name="connsiteY3" fmla="*/ 5307 h 10000"/>
                <a:gd name="connsiteX4" fmla="*/ 10000 w 10000"/>
                <a:gd name="connsiteY4" fmla="*/ 10000 h 10000"/>
                <a:gd name="connsiteX5" fmla="*/ 1849 w 10000"/>
                <a:gd name="connsiteY5" fmla="*/ 5307 h 10000"/>
                <a:gd name="connsiteX6" fmla="*/ 2870 w 10000"/>
                <a:gd name="connsiteY6" fmla="*/ 4696 h 10000"/>
                <a:gd name="connsiteX7" fmla="*/ 2360 w 10000"/>
                <a:gd name="connsiteY7" fmla="*/ 3265 h 10000"/>
                <a:gd name="connsiteX8" fmla="*/ 4908 w 10000"/>
                <a:gd name="connsiteY8" fmla="*/ 3265 h 10000"/>
                <a:gd name="connsiteX9" fmla="*/ 5925 w 10000"/>
                <a:gd name="connsiteY9" fmla="*/ 4084 h 10000"/>
                <a:gd name="connsiteX10" fmla="*/ 7962 w 10000"/>
                <a:gd name="connsiteY10" fmla="*/ 4084 h 10000"/>
                <a:gd name="connsiteX11" fmla="*/ 7962 w 10000"/>
                <a:gd name="connsiteY11" fmla="*/ 3472 h 10000"/>
                <a:gd name="connsiteX12" fmla="*/ 8476 w 10000"/>
                <a:gd name="connsiteY12" fmla="*/ 3062 h 10000"/>
                <a:gd name="connsiteX13" fmla="*/ 8982 w 10000"/>
                <a:gd name="connsiteY13" fmla="*/ 3265 h 10000"/>
                <a:gd name="connsiteX14" fmla="*/ 8476 w 10000"/>
                <a:gd name="connsiteY14" fmla="*/ 2040 h 10000"/>
                <a:gd name="connsiteX15" fmla="*/ 9492 w 10000"/>
                <a:gd name="connsiteY15" fmla="*/ 1224 h 10000"/>
                <a:gd name="connsiteX16" fmla="*/ 9492 w 10000"/>
                <a:gd name="connsiteY16" fmla="*/ 407 h 10000"/>
                <a:gd name="connsiteX17" fmla="*/ 8476 w 10000"/>
                <a:gd name="connsiteY17" fmla="*/ 0 h 10000"/>
                <a:gd name="connsiteX18" fmla="*/ 7456 w 10000"/>
                <a:gd name="connsiteY18" fmla="*/ 0 h 10000"/>
                <a:gd name="connsiteX19" fmla="*/ 3887 w 10000"/>
                <a:gd name="connsiteY19" fmla="*/ 205 h 10000"/>
                <a:gd name="connsiteX20" fmla="*/ 3377 w 10000"/>
                <a:gd name="connsiteY20" fmla="*/ 0 h 10000"/>
                <a:gd name="connsiteX21" fmla="*/ 3377 w 10000"/>
                <a:gd name="connsiteY21" fmla="*/ 1020 h 10000"/>
                <a:gd name="connsiteX22" fmla="*/ 3377 w 10000"/>
                <a:gd name="connsiteY22" fmla="*/ 1224 h 10000"/>
                <a:gd name="connsiteX0" fmla="*/ 3056 w 9171"/>
                <a:gd name="connsiteY0" fmla="*/ 1224 h 5424"/>
                <a:gd name="connsiteX1" fmla="*/ 1018 w 9171"/>
                <a:gd name="connsiteY1" fmla="*/ 2654 h 5424"/>
                <a:gd name="connsiteX2" fmla="*/ 0 w 9171"/>
                <a:gd name="connsiteY2" fmla="*/ 4084 h 5424"/>
                <a:gd name="connsiteX3" fmla="*/ 506 w 9171"/>
                <a:gd name="connsiteY3" fmla="*/ 5307 h 5424"/>
                <a:gd name="connsiteX4" fmla="*/ 1528 w 9171"/>
                <a:gd name="connsiteY4" fmla="*/ 5307 h 5424"/>
                <a:gd name="connsiteX5" fmla="*/ 2549 w 9171"/>
                <a:gd name="connsiteY5" fmla="*/ 4696 h 5424"/>
                <a:gd name="connsiteX6" fmla="*/ 2039 w 9171"/>
                <a:gd name="connsiteY6" fmla="*/ 3265 h 5424"/>
                <a:gd name="connsiteX7" fmla="*/ 4587 w 9171"/>
                <a:gd name="connsiteY7" fmla="*/ 3265 h 5424"/>
                <a:gd name="connsiteX8" fmla="*/ 5604 w 9171"/>
                <a:gd name="connsiteY8" fmla="*/ 4084 h 5424"/>
                <a:gd name="connsiteX9" fmla="*/ 7641 w 9171"/>
                <a:gd name="connsiteY9" fmla="*/ 4084 h 5424"/>
                <a:gd name="connsiteX10" fmla="*/ 7641 w 9171"/>
                <a:gd name="connsiteY10" fmla="*/ 3472 h 5424"/>
                <a:gd name="connsiteX11" fmla="*/ 8155 w 9171"/>
                <a:gd name="connsiteY11" fmla="*/ 3062 h 5424"/>
                <a:gd name="connsiteX12" fmla="*/ 8661 w 9171"/>
                <a:gd name="connsiteY12" fmla="*/ 3265 h 5424"/>
                <a:gd name="connsiteX13" fmla="*/ 8155 w 9171"/>
                <a:gd name="connsiteY13" fmla="*/ 2040 h 5424"/>
                <a:gd name="connsiteX14" fmla="*/ 9171 w 9171"/>
                <a:gd name="connsiteY14" fmla="*/ 1224 h 5424"/>
                <a:gd name="connsiteX15" fmla="*/ 9171 w 9171"/>
                <a:gd name="connsiteY15" fmla="*/ 407 h 5424"/>
                <a:gd name="connsiteX16" fmla="*/ 8155 w 9171"/>
                <a:gd name="connsiteY16" fmla="*/ 0 h 5424"/>
                <a:gd name="connsiteX17" fmla="*/ 7135 w 9171"/>
                <a:gd name="connsiteY17" fmla="*/ 0 h 5424"/>
                <a:gd name="connsiteX18" fmla="*/ 3566 w 9171"/>
                <a:gd name="connsiteY18" fmla="*/ 205 h 5424"/>
                <a:gd name="connsiteX19" fmla="*/ 3056 w 9171"/>
                <a:gd name="connsiteY19" fmla="*/ 0 h 5424"/>
                <a:gd name="connsiteX20" fmla="*/ 3056 w 9171"/>
                <a:gd name="connsiteY20" fmla="*/ 1020 h 5424"/>
                <a:gd name="connsiteX21" fmla="*/ 3056 w 9171"/>
                <a:gd name="connsiteY21" fmla="*/ 1224 h 5424"/>
                <a:gd name="connsiteX0" fmla="*/ 3332 w 10000"/>
                <a:gd name="connsiteY0" fmla="*/ 1881 h 10001"/>
                <a:gd name="connsiteX1" fmla="*/ 1110 w 10000"/>
                <a:gd name="connsiteY1" fmla="*/ 4893 h 10001"/>
                <a:gd name="connsiteX2" fmla="*/ 0 w 10000"/>
                <a:gd name="connsiteY2" fmla="*/ 7529 h 10001"/>
                <a:gd name="connsiteX3" fmla="*/ 552 w 10000"/>
                <a:gd name="connsiteY3" fmla="*/ 9784 h 10001"/>
                <a:gd name="connsiteX4" fmla="*/ 1666 w 10000"/>
                <a:gd name="connsiteY4" fmla="*/ 9784 h 10001"/>
                <a:gd name="connsiteX5" fmla="*/ 2779 w 10000"/>
                <a:gd name="connsiteY5" fmla="*/ 8658 h 10001"/>
                <a:gd name="connsiteX6" fmla="*/ 2223 w 10000"/>
                <a:gd name="connsiteY6" fmla="*/ 6020 h 10001"/>
                <a:gd name="connsiteX7" fmla="*/ 5002 w 10000"/>
                <a:gd name="connsiteY7" fmla="*/ 6020 h 10001"/>
                <a:gd name="connsiteX8" fmla="*/ 6111 w 10000"/>
                <a:gd name="connsiteY8" fmla="*/ 7529 h 10001"/>
                <a:gd name="connsiteX9" fmla="*/ 8332 w 10000"/>
                <a:gd name="connsiteY9" fmla="*/ 7529 h 10001"/>
                <a:gd name="connsiteX10" fmla="*/ 8332 w 10000"/>
                <a:gd name="connsiteY10" fmla="*/ 6401 h 10001"/>
                <a:gd name="connsiteX11" fmla="*/ 8892 w 10000"/>
                <a:gd name="connsiteY11" fmla="*/ 5645 h 10001"/>
                <a:gd name="connsiteX12" fmla="*/ 9444 w 10000"/>
                <a:gd name="connsiteY12" fmla="*/ 6020 h 10001"/>
                <a:gd name="connsiteX13" fmla="*/ 8892 w 10000"/>
                <a:gd name="connsiteY13" fmla="*/ 3761 h 10001"/>
                <a:gd name="connsiteX14" fmla="*/ 10000 w 10000"/>
                <a:gd name="connsiteY14" fmla="*/ 2257 h 10001"/>
                <a:gd name="connsiteX15" fmla="*/ 10000 w 10000"/>
                <a:gd name="connsiteY15" fmla="*/ 750 h 10001"/>
                <a:gd name="connsiteX16" fmla="*/ 8892 w 10000"/>
                <a:gd name="connsiteY16" fmla="*/ 0 h 10001"/>
                <a:gd name="connsiteX17" fmla="*/ 7780 w 10000"/>
                <a:gd name="connsiteY17" fmla="*/ 0 h 10001"/>
                <a:gd name="connsiteX18" fmla="*/ 3888 w 10000"/>
                <a:gd name="connsiteY18" fmla="*/ 378 h 10001"/>
                <a:gd name="connsiteX19" fmla="*/ 3332 w 10000"/>
                <a:gd name="connsiteY19" fmla="*/ 0 h 10001"/>
                <a:gd name="connsiteX20" fmla="*/ 3332 w 10000"/>
                <a:gd name="connsiteY20" fmla="*/ 1881 h 10001"/>
                <a:gd name="connsiteX0" fmla="*/ 1110 w 10000"/>
                <a:gd name="connsiteY0" fmla="*/ 4893 h 10001"/>
                <a:gd name="connsiteX1" fmla="*/ 0 w 10000"/>
                <a:gd name="connsiteY1" fmla="*/ 7529 h 10001"/>
                <a:gd name="connsiteX2" fmla="*/ 552 w 10000"/>
                <a:gd name="connsiteY2" fmla="*/ 9784 h 10001"/>
                <a:gd name="connsiteX3" fmla="*/ 1666 w 10000"/>
                <a:gd name="connsiteY3" fmla="*/ 9784 h 10001"/>
                <a:gd name="connsiteX4" fmla="*/ 2779 w 10000"/>
                <a:gd name="connsiteY4" fmla="*/ 8658 h 10001"/>
                <a:gd name="connsiteX5" fmla="*/ 2223 w 10000"/>
                <a:gd name="connsiteY5" fmla="*/ 6020 h 10001"/>
                <a:gd name="connsiteX6" fmla="*/ 5002 w 10000"/>
                <a:gd name="connsiteY6" fmla="*/ 6020 h 10001"/>
                <a:gd name="connsiteX7" fmla="*/ 6111 w 10000"/>
                <a:gd name="connsiteY7" fmla="*/ 7529 h 10001"/>
                <a:gd name="connsiteX8" fmla="*/ 8332 w 10000"/>
                <a:gd name="connsiteY8" fmla="*/ 7529 h 10001"/>
                <a:gd name="connsiteX9" fmla="*/ 8332 w 10000"/>
                <a:gd name="connsiteY9" fmla="*/ 6401 h 10001"/>
                <a:gd name="connsiteX10" fmla="*/ 8892 w 10000"/>
                <a:gd name="connsiteY10" fmla="*/ 5645 h 10001"/>
                <a:gd name="connsiteX11" fmla="*/ 9444 w 10000"/>
                <a:gd name="connsiteY11" fmla="*/ 6020 h 10001"/>
                <a:gd name="connsiteX12" fmla="*/ 8892 w 10000"/>
                <a:gd name="connsiteY12" fmla="*/ 3761 h 10001"/>
                <a:gd name="connsiteX13" fmla="*/ 10000 w 10000"/>
                <a:gd name="connsiteY13" fmla="*/ 2257 h 10001"/>
                <a:gd name="connsiteX14" fmla="*/ 10000 w 10000"/>
                <a:gd name="connsiteY14" fmla="*/ 750 h 10001"/>
                <a:gd name="connsiteX15" fmla="*/ 8892 w 10000"/>
                <a:gd name="connsiteY15" fmla="*/ 0 h 10001"/>
                <a:gd name="connsiteX16" fmla="*/ 7780 w 10000"/>
                <a:gd name="connsiteY16" fmla="*/ 0 h 10001"/>
                <a:gd name="connsiteX17" fmla="*/ 3888 w 10000"/>
                <a:gd name="connsiteY17" fmla="*/ 378 h 10001"/>
                <a:gd name="connsiteX18" fmla="*/ 3332 w 10000"/>
                <a:gd name="connsiteY18" fmla="*/ 0 h 10001"/>
                <a:gd name="connsiteX19" fmla="*/ 9846 w 10000"/>
                <a:gd name="connsiteY19" fmla="*/ 6305 h 10001"/>
                <a:gd name="connsiteX0" fmla="*/ 1110 w 10000"/>
                <a:gd name="connsiteY0" fmla="*/ 4893 h 10001"/>
                <a:gd name="connsiteX1" fmla="*/ 0 w 10000"/>
                <a:gd name="connsiteY1" fmla="*/ 7529 h 10001"/>
                <a:gd name="connsiteX2" fmla="*/ 552 w 10000"/>
                <a:gd name="connsiteY2" fmla="*/ 9784 h 10001"/>
                <a:gd name="connsiteX3" fmla="*/ 1666 w 10000"/>
                <a:gd name="connsiteY3" fmla="*/ 9784 h 10001"/>
                <a:gd name="connsiteX4" fmla="*/ 2779 w 10000"/>
                <a:gd name="connsiteY4" fmla="*/ 8658 h 10001"/>
                <a:gd name="connsiteX5" fmla="*/ 2223 w 10000"/>
                <a:gd name="connsiteY5" fmla="*/ 6020 h 10001"/>
                <a:gd name="connsiteX6" fmla="*/ 5002 w 10000"/>
                <a:gd name="connsiteY6" fmla="*/ 6020 h 10001"/>
                <a:gd name="connsiteX7" fmla="*/ 6111 w 10000"/>
                <a:gd name="connsiteY7" fmla="*/ 7529 h 10001"/>
                <a:gd name="connsiteX8" fmla="*/ 8332 w 10000"/>
                <a:gd name="connsiteY8" fmla="*/ 7529 h 10001"/>
                <a:gd name="connsiteX9" fmla="*/ 8332 w 10000"/>
                <a:gd name="connsiteY9" fmla="*/ 6401 h 10001"/>
                <a:gd name="connsiteX10" fmla="*/ 8892 w 10000"/>
                <a:gd name="connsiteY10" fmla="*/ 5645 h 10001"/>
                <a:gd name="connsiteX11" fmla="*/ 9444 w 10000"/>
                <a:gd name="connsiteY11" fmla="*/ 6020 h 10001"/>
                <a:gd name="connsiteX12" fmla="*/ 8892 w 10000"/>
                <a:gd name="connsiteY12" fmla="*/ 3761 h 10001"/>
                <a:gd name="connsiteX13" fmla="*/ 10000 w 10000"/>
                <a:gd name="connsiteY13" fmla="*/ 2257 h 10001"/>
                <a:gd name="connsiteX14" fmla="*/ 10000 w 10000"/>
                <a:gd name="connsiteY14" fmla="*/ 750 h 10001"/>
                <a:gd name="connsiteX15" fmla="*/ 8892 w 10000"/>
                <a:gd name="connsiteY15" fmla="*/ 0 h 10001"/>
                <a:gd name="connsiteX16" fmla="*/ 7780 w 10000"/>
                <a:gd name="connsiteY16" fmla="*/ 0 h 10001"/>
                <a:gd name="connsiteX17" fmla="*/ 3888 w 10000"/>
                <a:gd name="connsiteY17" fmla="*/ 378 h 10001"/>
                <a:gd name="connsiteX18" fmla="*/ 9846 w 10000"/>
                <a:gd name="connsiteY18" fmla="*/ 6305 h 10001"/>
                <a:gd name="connsiteX0" fmla="*/ 1110 w 10000"/>
                <a:gd name="connsiteY0" fmla="*/ 4893 h 10001"/>
                <a:gd name="connsiteX1" fmla="*/ 0 w 10000"/>
                <a:gd name="connsiteY1" fmla="*/ 7529 h 10001"/>
                <a:gd name="connsiteX2" fmla="*/ 552 w 10000"/>
                <a:gd name="connsiteY2" fmla="*/ 9784 h 10001"/>
                <a:gd name="connsiteX3" fmla="*/ 1666 w 10000"/>
                <a:gd name="connsiteY3" fmla="*/ 9784 h 10001"/>
                <a:gd name="connsiteX4" fmla="*/ 2779 w 10000"/>
                <a:gd name="connsiteY4" fmla="*/ 8658 h 10001"/>
                <a:gd name="connsiteX5" fmla="*/ 2223 w 10000"/>
                <a:gd name="connsiteY5" fmla="*/ 6020 h 10001"/>
                <a:gd name="connsiteX6" fmla="*/ 5002 w 10000"/>
                <a:gd name="connsiteY6" fmla="*/ 6020 h 10001"/>
                <a:gd name="connsiteX7" fmla="*/ 6111 w 10000"/>
                <a:gd name="connsiteY7" fmla="*/ 7529 h 10001"/>
                <a:gd name="connsiteX8" fmla="*/ 8332 w 10000"/>
                <a:gd name="connsiteY8" fmla="*/ 7529 h 10001"/>
                <a:gd name="connsiteX9" fmla="*/ 8332 w 10000"/>
                <a:gd name="connsiteY9" fmla="*/ 6401 h 10001"/>
                <a:gd name="connsiteX10" fmla="*/ 8892 w 10000"/>
                <a:gd name="connsiteY10" fmla="*/ 5645 h 10001"/>
                <a:gd name="connsiteX11" fmla="*/ 9444 w 10000"/>
                <a:gd name="connsiteY11" fmla="*/ 6020 h 10001"/>
                <a:gd name="connsiteX12" fmla="*/ 8892 w 10000"/>
                <a:gd name="connsiteY12" fmla="*/ 3761 h 10001"/>
                <a:gd name="connsiteX13" fmla="*/ 10000 w 10000"/>
                <a:gd name="connsiteY13" fmla="*/ 2257 h 10001"/>
                <a:gd name="connsiteX14" fmla="*/ 10000 w 10000"/>
                <a:gd name="connsiteY14" fmla="*/ 750 h 10001"/>
                <a:gd name="connsiteX15" fmla="*/ 8892 w 10000"/>
                <a:gd name="connsiteY15" fmla="*/ 0 h 10001"/>
                <a:gd name="connsiteX16" fmla="*/ 7780 w 10000"/>
                <a:gd name="connsiteY16" fmla="*/ 0 h 10001"/>
                <a:gd name="connsiteX17" fmla="*/ 9846 w 10000"/>
                <a:gd name="connsiteY17" fmla="*/ 6305 h 10001"/>
                <a:gd name="connsiteX0" fmla="*/ 1110 w 10041"/>
                <a:gd name="connsiteY0" fmla="*/ 4893 h 10001"/>
                <a:gd name="connsiteX1" fmla="*/ 0 w 10041"/>
                <a:gd name="connsiteY1" fmla="*/ 7529 h 10001"/>
                <a:gd name="connsiteX2" fmla="*/ 552 w 10041"/>
                <a:gd name="connsiteY2" fmla="*/ 9784 h 10001"/>
                <a:gd name="connsiteX3" fmla="*/ 1666 w 10041"/>
                <a:gd name="connsiteY3" fmla="*/ 9784 h 10001"/>
                <a:gd name="connsiteX4" fmla="*/ 2779 w 10041"/>
                <a:gd name="connsiteY4" fmla="*/ 8658 h 10001"/>
                <a:gd name="connsiteX5" fmla="*/ 2223 w 10041"/>
                <a:gd name="connsiteY5" fmla="*/ 6020 h 10001"/>
                <a:gd name="connsiteX6" fmla="*/ 5002 w 10041"/>
                <a:gd name="connsiteY6" fmla="*/ 6020 h 10001"/>
                <a:gd name="connsiteX7" fmla="*/ 6111 w 10041"/>
                <a:gd name="connsiteY7" fmla="*/ 7529 h 10001"/>
                <a:gd name="connsiteX8" fmla="*/ 8332 w 10041"/>
                <a:gd name="connsiteY8" fmla="*/ 7529 h 10001"/>
                <a:gd name="connsiteX9" fmla="*/ 8332 w 10041"/>
                <a:gd name="connsiteY9" fmla="*/ 6401 h 10001"/>
                <a:gd name="connsiteX10" fmla="*/ 8892 w 10041"/>
                <a:gd name="connsiteY10" fmla="*/ 5645 h 10001"/>
                <a:gd name="connsiteX11" fmla="*/ 9444 w 10041"/>
                <a:gd name="connsiteY11" fmla="*/ 6020 h 10001"/>
                <a:gd name="connsiteX12" fmla="*/ 10000 w 10041"/>
                <a:gd name="connsiteY12" fmla="*/ 2257 h 10001"/>
                <a:gd name="connsiteX13" fmla="*/ 10000 w 10041"/>
                <a:gd name="connsiteY13" fmla="*/ 750 h 10001"/>
                <a:gd name="connsiteX14" fmla="*/ 8892 w 10041"/>
                <a:gd name="connsiteY14" fmla="*/ 0 h 10001"/>
                <a:gd name="connsiteX15" fmla="*/ 7780 w 10041"/>
                <a:gd name="connsiteY15" fmla="*/ 0 h 10001"/>
                <a:gd name="connsiteX16" fmla="*/ 9846 w 10041"/>
                <a:gd name="connsiteY16" fmla="*/ 6305 h 10001"/>
                <a:gd name="connsiteX0" fmla="*/ 1110 w 10011"/>
                <a:gd name="connsiteY0" fmla="*/ 4893 h 10001"/>
                <a:gd name="connsiteX1" fmla="*/ 0 w 10011"/>
                <a:gd name="connsiteY1" fmla="*/ 7529 h 10001"/>
                <a:gd name="connsiteX2" fmla="*/ 552 w 10011"/>
                <a:gd name="connsiteY2" fmla="*/ 9784 h 10001"/>
                <a:gd name="connsiteX3" fmla="*/ 1666 w 10011"/>
                <a:gd name="connsiteY3" fmla="*/ 9784 h 10001"/>
                <a:gd name="connsiteX4" fmla="*/ 2779 w 10011"/>
                <a:gd name="connsiteY4" fmla="*/ 8658 h 10001"/>
                <a:gd name="connsiteX5" fmla="*/ 2223 w 10011"/>
                <a:gd name="connsiteY5" fmla="*/ 6020 h 10001"/>
                <a:gd name="connsiteX6" fmla="*/ 5002 w 10011"/>
                <a:gd name="connsiteY6" fmla="*/ 6020 h 10001"/>
                <a:gd name="connsiteX7" fmla="*/ 6111 w 10011"/>
                <a:gd name="connsiteY7" fmla="*/ 7529 h 10001"/>
                <a:gd name="connsiteX8" fmla="*/ 8332 w 10011"/>
                <a:gd name="connsiteY8" fmla="*/ 7529 h 10001"/>
                <a:gd name="connsiteX9" fmla="*/ 8332 w 10011"/>
                <a:gd name="connsiteY9" fmla="*/ 6401 h 10001"/>
                <a:gd name="connsiteX10" fmla="*/ 8892 w 10011"/>
                <a:gd name="connsiteY10" fmla="*/ 5645 h 10001"/>
                <a:gd name="connsiteX11" fmla="*/ 9444 w 10011"/>
                <a:gd name="connsiteY11" fmla="*/ 6020 h 10001"/>
                <a:gd name="connsiteX12" fmla="*/ 10000 w 10011"/>
                <a:gd name="connsiteY12" fmla="*/ 2257 h 10001"/>
                <a:gd name="connsiteX13" fmla="*/ 8892 w 10011"/>
                <a:gd name="connsiteY13" fmla="*/ 0 h 10001"/>
                <a:gd name="connsiteX14" fmla="*/ 7780 w 10011"/>
                <a:gd name="connsiteY14" fmla="*/ 0 h 10001"/>
                <a:gd name="connsiteX15" fmla="*/ 9846 w 10011"/>
                <a:gd name="connsiteY15" fmla="*/ 6305 h 10001"/>
                <a:gd name="connsiteX0" fmla="*/ 1110 w 10067"/>
                <a:gd name="connsiteY0" fmla="*/ 5033 h 10141"/>
                <a:gd name="connsiteX1" fmla="*/ 0 w 10067"/>
                <a:gd name="connsiteY1" fmla="*/ 7669 h 10141"/>
                <a:gd name="connsiteX2" fmla="*/ 552 w 10067"/>
                <a:gd name="connsiteY2" fmla="*/ 9924 h 10141"/>
                <a:gd name="connsiteX3" fmla="*/ 1666 w 10067"/>
                <a:gd name="connsiteY3" fmla="*/ 9924 h 10141"/>
                <a:gd name="connsiteX4" fmla="*/ 2779 w 10067"/>
                <a:gd name="connsiteY4" fmla="*/ 8798 h 10141"/>
                <a:gd name="connsiteX5" fmla="*/ 2223 w 10067"/>
                <a:gd name="connsiteY5" fmla="*/ 6160 h 10141"/>
                <a:gd name="connsiteX6" fmla="*/ 5002 w 10067"/>
                <a:gd name="connsiteY6" fmla="*/ 6160 h 10141"/>
                <a:gd name="connsiteX7" fmla="*/ 6111 w 10067"/>
                <a:gd name="connsiteY7" fmla="*/ 7669 h 10141"/>
                <a:gd name="connsiteX8" fmla="*/ 8332 w 10067"/>
                <a:gd name="connsiteY8" fmla="*/ 7669 h 10141"/>
                <a:gd name="connsiteX9" fmla="*/ 8332 w 10067"/>
                <a:gd name="connsiteY9" fmla="*/ 6541 h 10141"/>
                <a:gd name="connsiteX10" fmla="*/ 8892 w 10067"/>
                <a:gd name="connsiteY10" fmla="*/ 5785 h 10141"/>
                <a:gd name="connsiteX11" fmla="*/ 9444 w 10067"/>
                <a:gd name="connsiteY11" fmla="*/ 6160 h 10141"/>
                <a:gd name="connsiteX12" fmla="*/ 10000 w 10067"/>
                <a:gd name="connsiteY12" fmla="*/ 2397 h 10141"/>
                <a:gd name="connsiteX13" fmla="*/ 7780 w 10067"/>
                <a:gd name="connsiteY13" fmla="*/ 140 h 10141"/>
                <a:gd name="connsiteX14" fmla="*/ 9846 w 10067"/>
                <a:gd name="connsiteY14" fmla="*/ 6445 h 10141"/>
                <a:gd name="connsiteX0" fmla="*/ 1110 w 10067"/>
                <a:gd name="connsiteY0" fmla="*/ 5033 h 10141"/>
                <a:gd name="connsiteX1" fmla="*/ 0 w 10067"/>
                <a:gd name="connsiteY1" fmla="*/ 7669 h 10141"/>
                <a:gd name="connsiteX2" fmla="*/ 552 w 10067"/>
                <a:gd name="connsiteY2" fmla="*/ 9924 h 10141"/>
                <a:gd name="connsiteX3" fmla="*/ 1666 w 10067"/>
                <a:gd name="connsiteY3" fmla="*/ 9924 h 10141"/>
                <a:gd name="connsiteX4" fmla="*/ 2779 w 10067"/>
                <a:gd name="connsiteY4" fmla="*/ 8798 h 10141"/>
                <a:gd name="connsiteX5" fmla="*/ 2223 w 10067"/>
                <a:gd name="connsiteY5" fmla="*/ 6160 h 10141"/>
                <a:gd name="connsiteX6" fmla="*/ 5002 w 10067"/>
                <a:gd name="connsiteY6" fmla="*/ 6160 h 10141"/>
                <a:gd name="connsiteX7" fmla="*/ 6111 w 10067"/>
                <a:gd name="connsiteY7" fmla="*/ 7669 h 10141"/>
                <a:gd name="connsiteX8" fmla="*/ 8332 w 10067"/>
                <a:gd name="connsiteY8" fmla="*/ 7669 h 10141"/>
                <a:gd name="connsiteX9" fmla="*/ 8332 w 10067"/>
                <a:gd name="connsiteY9" fmla="*/ 6541 h 10141"/>
                <a:gd name="connsiteX10" fmla="*/ 8892 w 10067"/>
                <a:gd name="connsiteY10" fmla="*/ 5785 h 10141"/>
                <a:gd name="connsiteX11" fmla="*/ 9444 w 10067"/>
                <a:gd name="connsiteY11" fmla="*/ 6160 h 10141"/>
                <a:gd name="connsiteX12" fmla="*/ 10000 w 10067"/>
                <a:gd name="connsiteY12" fmla="*/ 2397 h 10141"/>
                <a:gd name="connsiteX13" fmla="*/ 7780 w 10067"/>
                <a:gd name="connsiteY13" fmla="*/ 140 h 10141"/>
                <a:gd name="connsiteX14" fmla="*/ 9846 w 10067"/>
                <a:gd name="connsiteY14" fmla="*/ 6445 h 10141"/>
                <a:gd name="connsiteX15" fmla="*/ 1110 w 10067"/>
                <a:gd name="connsiteY15" fmla="*/ 5033 h 10141"/>
                <a:gd name="connsiteX0" fmla="*/ 7780 w 16514"/>
                <a:gd name="connsiteY0" fmla="*/ 0 h 10001"/>
                <a:gd name="connsiteX1" fmla="*/ 9846 w 16514"/>
                <a:gd name="connsiteY1" fmla="*/ 6305 h 10001"/>
                <a:gd name="connsiteX2" fmla="*/ 1110 w 16514"/>
                <a:gd name="connsiteY2" fmla="*/ 4893 h 10001"/>
                <a:gd name="connsiteX3" fmla="*/ 0 w 16514"/>
                <a:gd name="connsiteY3" fmla="*/ 7529 h 10001"/>
                <a:gd name="connsiteX4" fmla="*/ 552 w 16514"/>
                <a:gd name="connsiteY4" fmla="*/ 9784 h 10001"/>
                <a:gd name="connsiteX5" fmla="*/ 1666 w 16514"/>
                <a:gd name="connsiteY5" fmla="*/ 9784 h 10001"/>
                <a:gd name="connsiteX6" fmla="*/ 2779 w 16514"/>
                <a:gd name="connsiteY6" fmla="*/ 8658 h 10001"/>
                <a:gd name="connsiteX7" fmla="*/ 2223 w 16514"/>
                <a:gd name="connsiteY7" fmla="*/ 6020 h 10001"/>
                <a:gd name="connsiteX8" fmla="*/ 5002 w 16514"/>
                <a:gd name="connsiteY8" fmla="*/ 6020 h 10001"/>
                <a:gd name="connsiteX9" fmla="*/ 6111 w 16514"/>
                <a:gd name="connsiteY9" fmla="*/ 7529 h 10001"/>
                <a:gd name="connsiteX10" fmla="*/ 8332 w 16514"/>
                <a:gd name="connsiteY10" fmla="*/ 7529 h 10001"/>
                <a:gd name="connsiteX11" fmla="*/ 8332 w 16514"/>
                <a:gd name="connsiteY11" fmla="*/ 6401 h 10001"/>
                <a:gd name="connsiteX12" fmla="*/ 8892 w 16514"/>
                <a:gd name="connsiteY12" fmla="*/ 5645 h 10001"/>
                <a:gd name="connsiteX13" fmla="*/ 9444 w 16514"/>
                <a:gd name="connsiteY13" fmla="*/ 6020 h 10001"/>
                <a:gd name="connsiteX14" fmla="*/ 16514 w 16514"/>
                <a:gd name="connsiteY14" fmla="*/ 6681 h 10001"/>
                <a:gd name="connsiteX0" fmla="*/ 7780 w 16514"/>
                <a:gd name="connsiteY0" fmla="*/ 445 h 10446"/>
                <a:gd name="connsiteX1" fmla="*/ 7465 w 16514"/>
                <a:gd name="connsiteY1" fmla="*/ 473 h 10446"/>
                <a:gd name="connsiteX2" fmla="*/ 9846 w 16514"/>
                <a:gd name="connsiteY2" fmla="*/ 6750 h 10446"/>
                <a:gd name="connsiteX3" fmla="*/ 1110 w 16514"/>
                <a:gd name="connsiteY3" fmla="*/ 5338 h 10446"/>
                <a:gd name="connsiteX4" fmla="*/ 0 w 16514"/>
                <a:gd name="connsiteY4" fmla="*/ 7974 h 10446"/>
                <a:gd name="connsiteX5" fmla="*/ 552 w 16514"/>
                <a:gd name="connsiteY5" fmla="*/ 10229 h 10446"/>
                <a:gd name="connsiteX6" fmla="*/ 1666 w 16514"/>
                <a:gd name="connsiteY6" fmla="*/ 10229 h 10446"/>
                <a:gd name="connsiteX7" fmla="*/ 2779 w 16514"/>
                <a:gd name="connsiteY7" fmla="*/ 9103 h 10446"/>
                <a:gd name="connsiteX8" fmla="*/ 2223 w 16514"/>
                <a:gd name="connsiteY8" fmla="*/ 6465 h 10446"/>
                <a:gd name="connsiteX9" fmla="*/ 5002 w 16514"/>
                <a:gd name="connsiteY9" fmla="*/ 6465 h 10446"/>
                <a:gd name="connsiteX10" fmla="*/ 6111 w 16514"/>
                <a:gd name="connsiteY10" fmla="*/ 7974 h 10446"/>
                <a:gd name="connsiteX11" fmla="*/ 8332 w 16514"/>
                <a:gd name="connsiteY11" fmla="*/ 7974 h 10446"/>
                <a:gd name="connsiteX12" fmla="*/ 8332 w 16514"/>
                <a:gd name="connsiteY12" fmla="*/ 6846 h 10446"/>
                <a:gd name="connsiteX13" fmla="*/ 8892 w 16514"/>
                <a:gd name="connsiteY13" fmla="*/ 6090 h 10446"/>
                <a:gd name="connsiteX14" fmla="*/ 9444 w 16514"/>
                <a:gd name="connsiteY14" fmla="*/ 6465 h 10446"/>
                <a:gd name="connsiteX15" fmla="*/ 16514 w 16514"/>
                <a:gd name="connsiteY15" fmla="*/ 7126 h 10446"/>
                <a:gd name="connsiteX0" fmla="*/ 7465 w 16514"/>
                <a:gd name="connsiteY0" fmla="*/ 0 h 9973"/>
                <a:gd name="connsiteX1" fmla="*/ 9846 w 16514"/>
                <a:gd name="connsiteY1" fmla="*/ 6277 h 9973"/>
                <a:gd name="connsiteX2" fmla="*/ 1110 w 16514"/>
                <a:gd name="connsiteY2" fmla="*/ 4865 h 9973"/>
                <a:gd name="connsiteX3" fmla="*/ 0 w 16514"/>
                <a:gd name="connsiteY3" fmla="*/ 7501 h 9973"/>
                <a:gd name="connsiteX4" fmla="*/ 552 w 16514"/>
                <a:gd name="connsiteY4" fmla="*/ 9756 h 9973"/>
                <a:gd name="connsiteX5" fmla="*/ 1666 w 16514"/>
                <a:gd name="connsiteY5" fmla="*/ 9756 h 9973"/>
                <a:gd name="connsiteX6" fmla="*/ 2779 w 16514"/>
                <a:gd name="connsiteY6" fmla="*/ 8630 h 9973"/>
                <a:gd name="connsiteX7" fmla="*/ 2223 w 16514"/>
                <a:gd name="connsiteY7" fmla="*/ 5992 h 9973"/>
                <a:gd name="connsiteX8" fmla="*/ 5002 w 16514"/>
                <a:gd name="connsiteY8" fmla="*/ 5992 h 9973"/>
                <a:gd name="connsiteX9" fmla="*/ 6111 w 16514"/>
                <a:gd name="connsiteY9" fmla="*/ 7501 h 9973"/>
                <a:gd name="connsiteX10" fmla="*/ 8332 w 16514"/>
                <a:gd name="connsiteY10" fmla="*/ 7501 h 9973"/>
                <a:gd name="connsiteX11" fmla="*/ 8332 w 16514"/>
                <a:gd name="connsiteY11" fmla="*/ 6373 h 9973"/>
                <a:gd name="connsiteX12" fmla="*/ 8892 w 16514"/>
                <a:gd name="connsiteY12" fmla="*/ 5617 h 9973"/>
                <a:gd name="connsiteX13" fmla="*/ 9444 w 16514"/>
                <a:gd name="connsiteY13" fmla="*/ 5992 h 9973"/>
                <a:gd name="connsiteX14" fmla="*/ 16514 w 16514"/>
                <a:gd name="connsiteY14" fmla="*/ 6653 h 9973"/>
                <a:gd name="connsiteX0" fmla="*/ 5962 w 10000"/>
                <a:gd name="connsiteY0" fmla="*/ 1504 h 5209"/>
                <a:gd name="connsiteX1" fmla="*/ 672 w 10000"/>
                <a:gd name="connsiteY1" fmla="*/ 88 h 5209"/>
                <a:gd name="connsiteX2" fmla="*/ 0 w 10000"/>
                <a:gd name="connsiteY2" fmla="*/ 2731 h 5209"/>
                <a:gd name="connsiteX3" fmla="*/ 334 w 10000"/>
                <a:gd name="connsiteY3" fmla="*/ 4992 h 5209"/>
                <a:gd name="connsiteX4" fmla="*/ 1009 w 10000"/>
                <a:gd name="connsiteY4" fmla="*/ 4992 h 5209"/>
                <a:gd name="connsiteX5" fmla="*/ 1683 w 10000"/>
                <a:gd name="connsiteY5" fmla="*/ 3863 h 5209"/>
                <a:gd name="connsiteX6" fmla="*/ 1346 w 10000"/>
                <a:gd name="connsiteY6" fmla="*/ 1218 h 5209"/>
                <a:gd name="connsiteX7" fmla="*/ 3029 w 10000"/>
                <a:gd name="connsiteY7" fmla="*/ 1218 h 5209"/>
                <a:gd name="connsiteX8" fmla="*/ 3700 w 10000"/>
                <a:gd name="connsiteY8" fmla="*/ 2731 h 5209"/>
                <a:gd name="connsiteX9" fmla="*/ 5045 w 10000"/>
                <a:gd name="connsiteY9" fmla="*/ 2731 h 5209"/>
                <a:gd name="connsiteX10" fmla="*/ 5045 w 10000"/>
                <a:gd name="connsiteY10" fmla="*/ 1600 h 5209"/>
                <a:gd name="connsiteX11" fmla="*/ 5385 w 10000"/>
                <a:gd name="connsiteY11" fmla="*/ 842 h 5209"/>
                <a:gd name="connsiteX12" fmla="*/ 5719 w 10000"/>
                <a:gd name="connsiteY12" fmla="*/ 1218 h 5209"/>
                <a:gd name="connsiteX13" fmla="*/ 10000 w 10000"/>
                <a:gd name="connsiteY13" fmla="*/ 1881 h 5209"/>
                <a:gd name="connsiteX0" fmla="*/ 5962 w 5962"/>
                <a:gd name="connsiteY0" fmla="*/ 2718 h 9832"/>
                <a:gd name="connsiteX1" fmla="*/ 672 w 5962"/>
                <a:gd name="connsiteY1" fmla="*/ 0 h 9832"/>
                <a:gd name="connsiteX2" fmla="*/ 0 w 5962"/>
                <a:gd name="connsiteY2" fmla="*/ 5074 h 9832"/>
                <a:gd name="connsiteX3" fmla="*/ 334 w 5962"/>
                <a:gd name="connsiteY3" fmla="*/ 9414 h 9832"/>
                <a:gd name="connsiteX4" fmla="*/ 1009 w 5962"/>
                <a:gd name="connsiteY4" fmla="*/ 9414 h 9832"/>
                <a:gd name="connsiteX5" fmla="*/ 1683 w 5962"/>
                <a:gd name="connsiteY5" fmla="*/ 7247 h 9832"/>
                <a:gd name="connsiteX6" fmla="*/ 1346 w 5962"/>
                <a:gd name="connsiteY6" fmla="*/ 2169 h 9832"/>
                <a:gd name="connsiteX7" fmla="*/ 3029 w 5962"/>
                <a:gd name="connsiteY7" fmla="*/ 2169 h 9832"/>
                <a:gd name="connsiteX8" fmla="*/ 3700 w 5962"/>
                <a:gd name="connsiteY8" fmla="*/ 5074 h 9832"/>
                <a:gd name="connsiteX9" fmla="*/ 5045 w 5962"/>
                <a:gd name="connsiteY9" fmla="*/ 5074 h 9832"/>
                <a:gd name="connsiteX10" fmla="*/ 5045 w 5962"/>
                <a:gd name="connsiteY10" fmla="*/ 2903 h 9832"/>
                <a:gd name="connsiteX11" fmla="*/ 5385 w 5962"/>
                <a:gd name="connsiteY11" fmla="*/ 1447 h 9832"/>
                <a:gd name="connsiteX12" fmla="*/ 5719 w 5962"/>
                <a:gd name="connsiteY12" fmla="*/ 2169 h 9832"/>
                <a:gd name="connsiteX0" fmla="*/ 10000 w 10000"/>
                <a:gd name="connsiteY0" fmla="*/ 2764 h 10000"/>
                <a:gd name="connsiteX1" fmla="*/ 1127 w 10000"/>
                <a:gd name="connsiteY1" fmla="*/ 0 h 10000"/>
                <a:gd name="connsiteX2" fmla="*/ 0 w 10000"/>
                <a:gd name="connsiteY2" fmla="*/ 5161 h 10000"/>
                <a:gd name="connsiteX3" fmla="*/ 560 w 10000"/>
                <a:gd name="connsiteY3" fmla="*/ 9575 h 10000"/>
                <a:gd name="connsiteX4" fmla="*/ 1692 w 10000"/>
                <a:gd name="connsiteY4" fmla="*/ 9575 h 10000"/>
                <a:gd name="connsiteX5" fmla="*/ 2823 w 10000"/>
                <a:gd name="connsiteY5" fmla="*/ 7371 h 10000"/>
                <a:gd name="connsiteX6" fmla="*/ 2258 w 10000"/>
                <a:gd name="connsiteY6" fmla="*/ 2206 h 10000"/>
                <a:gd name="connsiteX7" fmla="*/ 5081 w 10000"/>
                <a:gd name="connsiteY7" fmla="*/ 2206 h 10000"/>
                <a:gd name="connsiteX8" fmla="*/ 6206 w 10000"/>
                <a:gd name="connsiteY8" fmla="*/ 5161 h 10000"/>
                <a:gd name="connsiteX9" fmla="*/ 8462 w 10000"/>
                <a:gd name="connsiteY9" fmla="*/ 5161 h 10000"/>
                <a:gd name="connsiteX10" fmla="*/ 8462 w 10000"/>
                <a:gd name="connsiteY10" fmla="*/ 2953 h 10000"/>
                <a:gd name="connsiteX11" fmla="*/ 9032 w 10000"/>
                <a:gd name="connsiteY11" fmla="*/ 1472 h 10000"/>
                <a:gd name="connsiteX0" fmla="*/ 10000 w 10000"/>
                <a:gd name="connsiteY0" fmla="*/ 2764 h 10000"/>
                <a:gd name="connsiteX1" fmla="*/ 1127 w 10000"/>
                <a:gd name="connsiteY1" fmla="*/ 0 h 10000"/>
                <a:gd name="connsiteX2" fmla="*/ 0 w 10000"/>
                <a:gd name="connsiteY2" fmla="*/ 5161 h 10000"/>
                <a:gd name="connsiteX3" fmla="*/ 560 w 10000"/>
                <a:gd name="connsiteY3" fmla="*/ 9575 h 10000"/>
                <a:gd name="connsiteX4" fmla="*/ 1692 w 10000"/>
                <a:gd name="connsiteY4" fmla="*/ 9575 h 10000"/>
                <a:gd name="connsiteX5" fmla="*/ 2823 w 10000"/>
                <a:gd name="connsiteY5" fmla="*/ 7371 h 10000"/>
                <a:gd name="connsiteX6" fmla="*/ 2258 w 10000"/>
                <a:gd name="connsiteY6" fmla="*/ 2206 h 10000"/>
                <a:gd name="connsiteX7" fmla="*/ 5081 w 10000"/>
                <a:gd name="connsiteY7" fmla="*/ 2206 h 10000"/>
                <a:gd name="connsiteX8" fmla="*/ 6206 w 10000"/>
                <a:gd name="connsiteY8" fmla="*/ 5161 h 10000"/>
                <a:gd name="connsiteX9" fmla="*/ 8462 w 10000"/>
                <a:gd name="connsiteY9" fmla="*/ 5161 h 10000"/>
                <a:gd name="connsiteX10" fmla="*/ 8462 w 10000"/>
                <a:gd name="connsiteY10" fmla="*/ 2953 h 10000"/>
                <a:gd name="connsiteX0" fmla="*/ 1127 w 8462"/>
                <a:gd name="connsiteY0" fmla="*/ 0 h 10000"/>
                <a:gd name="connsiteX1" fmla="*/ 0 w 8462"/>
                <a:gd name="connsiteY1" fmla="*/ 5161 h 10000"/>
                <a:gd name="connsiteX2" fmla="*/ 560 w 8462"/>
                <a:gd name="connsiteY2" fmla="*/ 9575 h 10000"/>
                <a:gd name="connsiteX3" fmla="*/ 1692 w 8462"/>
                <a:gd name="connsiteY3" fmla="*/ 9575 h 10000"/>
                <a:gd name="connsiteX4" fmla="*/ 2823 w 8462"/>
                <a:gd name="connsiteY4" fmla="*/ 7371 h 10000"/>
                <a:gd name="connsiteX5" fmla="*/ 2258 w 8462"/>
                <a:gd name="connsiteY5" fmla="*/ 2206 h 10000"/>
                <a:gd name="connsiteX6" fmla="*/ 5081 w 8462"/>
                <a:gd name="connsiteY6" fmla="*/ 2206 h 10000"/>
                <a:gd name="connsiteX7" fmla="*/ 6206 w 8462"/>
                <a:gd name="connsiteY7" fmla="*/ 5161 h 10000"/>
                <a:gd name="connsiteX8" fmla="*/ 8462 w 8462"/>
                <a:gd name="connsiteY8" fmla="*/ 5161 h 10000"/>
                <a:gd name="connsiteX9" fmla="*/ 8462 w 8462"/>
                <a:gd name="connsiteY9" fmla="*/ 2953 h 10000"/>
                <a:gd name="connsiteX0" fmla="*/ 1332 w 10000"/>
                <a:gd name="connsiteY0" fmla="*/ 0 h 10000"/>
                <a:gd name="connsiteX1" fmla="*/ 0 w 10000"/>
                <a:gd name="connsiteY1" fmla="*/ 5161 h 10000"/>
                <a:gd name="connsiteX2" fmla="*/ 662 w 10000"/>
                <a:gd name="connsiteY2" fmla="*/ 9575 h 10000"/>
                <a:gd name="connsiteX3" fmla="*/ 2000 w 10000"/>
                <a:gd name="connsiteY3" fmla="*/ 9575 h 10000"/>
                <a:gd name="connsiteX4" fmla="*/ 3336 w 10000"/>
                <a:gd name="connsiteY4" fmla="*/ 7371 h 10000"/>
                <a:gd name="connsiteX5" fmla="*/ 2668 w 10000"/>
                <a:gd name="connsiteY5" fmla="*/ 2206 h 10000"/>
                <a:gd name="connsiteX6" fmla="*/ 6004 w 10000"/>
                <a:gd name="connsiteY6" fmla="*/ 2206 h 10000"/>
                <a:gd name="connsiteX7" fmla="*/ 7334 w 10000"/>
                <a:gd name="connsiteY7" fmla="*/ 5161 h 10000"/>
                <a:gd name="connsiteX8" fmla="*/ 10000 w 10000"/>
                <a:gd name="connsiteY8" fmla="*/ 5161 h 10000"/>
                <a:gd name="connsiteX0" fmla="*/ 1332 w 7334"/>
                <a:gd name="connsiteY0" fmla="*/ 0 h 10000"/>
                <a:gd name="connsiteX1" fmla="*/ 0 w 7334"/>
                <a:gd name="connsiteY1" fmla="*/ 5161 h 10000"/>
                <a:gd name="connsiteX2" fmla="*/ 662 w 7334"/>
                <a:gd name="connsiteY2" fmla="*/ 9575 h 10000"/>
                <a:gd name="connsiteX3" fmla="*/ 2000 w 7334"/>
                <a:gd name="connsiteY3" fmla="*/ 9575 h 10000"/>
                <a:gd name="connsiteX4" fmla="*/ 3336 w 7334"/>
                <a:gd name="connsiteY4" fmla="*/ 7371 h 10000"/>
                <a:gd name="connsiteX5" fmla="*/ 2668 w 7334"/>
                <a:gd name="connsiteY5" fmla="*/ 2206 h 10000"/>
                <a:gd name="connsiteX6" fmla="*/ 6004 w 7334"/>
                <a:gd name="connsiteY6" fmla="*/ 2206 h 10000"/>
                <a:gd name="connsiteX7" fmla="*/ 7334 w 7334"/>
                <a:gd name="connsiteY7" fmla="*/ 5161 h 10000"/>
                <a:gd name="connsiteX0" fmla="*/ 1816 w 8187"/>
                <a:gd name="connsiteY0" fmla="*/ 0 h 10000"/>
                <a:gd name="connsiteX1" fmla="*/ 0 w 8187"/>
                <a:gd name="connsiteY1" fmla="*/ 5161 h 10000"/>
                <a:gd name="connsiteX2" fmla="*/ 903 w 8187"/>
                <a:gd name="connsiteY2" fmla="*/ 9575 h 10000"/>
                <a:gd name="connsiteX3" fmla="*/ 2727 w 8187"/>
                <a:gd name="connsiteY3" fmla="*/ 9575 h 10000"/>
                <a:gd name="connsiteX4" fmla="*/ 4549 w 8187"/>
                <a:gd name="connsiteY4" fmla="*/ 7371 h 10000"/>
                <a:gd name="connsiteX5" fmla="*/ 3638 w 8187"/>
                <a:gd name="connsiteY5" fmla="*/ 2206 h 10000"/>
                <a:gd name="connsiteX6" fmla="*/ 8187 w 8187"/>
                <a:gd name="connsiteY6" fmla="*/ 2206 h 10000"/>
                <a:gd name="connsiteX0" fmla="*/ 2218 w 5556"/>
                <a:gd name="connsiteY0" fmla="*/ 0 h 10000"/>
                <a:gd name="connsiteX1" fmla="*/ 0 w 5556"/>
                <a:gd name="connsiteY1" fmla="*/ 5161 h 10000"/>
                <a:gd name="connsiteX2" fmla="*/ 1103 w 5556"/>
                <a:gd name="connsiteY2" fmla="*/ 9575 h 10000"/>
                <a:gd name="connsiteX3" fmla="*/ 3331 w 5556"/>
                <a:gd name="connsiteY3" fmla="*/ 9575 h 10000"/>
                <a:gd name="connsiteX4" fmla="*/ 5556 w 5556"/>
                <a:gd name="connsiteY4" fmla="*/ 7371 h 10000"/>
                <a:gd name="connsiteX5" fmla="*/ 4444 w 5556"/>
                <a:gd name="connsiteY5" fmla="*/ 2206 h 10000"/>
                <a:gd name="connsiteX0" fmla="*/ 2781 w 10010"/>
                <a:gd name="connsiteY0" fmla="*/ 50 h 7794"/>
                <a:gd name="connsiteX1" fmla="*/ 10 w 10010"/>
                <a:gd name="connsiteY1" fmla="*/ 2955 h 7794"/>
                <a:gd name="connsiteX2" fmla="*/ 1995 w 10010"/>
                <a:gd name="connsiteY2" fmla="*/ 7369 h 7794"/>
                <a:gd name="connsiteX3" fmla="*/ 6005 w 10010"/>
                <a:gd name="connsiteY3" fmla="*/ 7369 h 7794"/>
                <a:gd name="connsiteX4" fmla="*/ 10010 w 10010"/>
                <a:gd name="connsiteY4" fmla="*/ 5165 h 7794"/>
                <a:gd name="connsiteX5" fmla="*/ 8009 w 10010"/>
                <a:gd name="connsiteY5" fmla="*/ 0 h 7794"/>
                <a:gd name="connsiteX0" fmla="*/ 2778 w 10000"/>
                <a:gd name="connsiteY0" fmla="*/ 64 h 10000"/>
                <a:gd name="connsiteX1" fmla="*/ 10 w 10000"/>
                <a:gd name="connsiteY1" fmla="*/ 3791 h 10000"/>
                <a:gd name="connsiteX2" fmla="*/ 1993 w 10000"/>
                <a:gd name="connsiteY2" fmla="*/ 9455 h 10000"/>
                <a:gd name="connsiteX3" fmla="*/ 5999 w 10000"/>
                <a:gd name="connsiteY3" fmla="*/ 9455 h 10000"/>
                <a:gd name="connsiteX4" fmla="*/ 10000 w 10000"/>
                <a:gd name="connsiteY4" fmla="*/ 6627 h 10000"/>
                <a:gd name="connsiteX5" fmla="*/ 8001 w 10000"/>
                <a:gd name="connsiteY5" fmla="*/ 0 h 10000"/>
                <a:gd name="connsiteX6" fmla="*/ 2778 w 10000"/>
                <a:gd name="connsiteY6" fmla="*/ 64 h 10000"/>
                <a:gd name="connsiteX0" fmla="*/ 2940 w 10162"/>
                <a:gd name="connsiteY0" fmla="*/ 64 h 9455"/>
                <a:gd name="connsiteX1" fmla="*/ 172 w 10162"/>
                <a:gd name="connsiteY1" fmla="*/ 3791 h 9455"/>
                <a:gd name="connsiteX2" fmla="*/ 936 w 10162"/>
                <a:gd name="connsiteY2" fmla="*/ 6561 h 9455"/>
                <a:gd name="connsiteX3" fmla="*/ 6161 w 10162"/>
                <a:gd name="connsiteY3" fmla="*/ 9455 h 9455"/>
                <a:gd name="connsiteX4" fmla="*/ 10162 w 10162"/>
                <a:gd name="connsiteY4" fmla="*/ 6627 h 9455"/>
                <a:gd name="connsiteX5" fmla="*/ 8163 w 10162"/>
                <a:gd name="connsiteY5" fmla="*/ 0 h 9455"/>
                <a:gd name="connsiteX6" fmla="*/ 2940 w 10162"/>
                <a:gd name="connsiteY6" fmla="*/ 64 h 9455"/>
                <a:gd name="connsiteX0" fmla="*/ 2893 w 10042"/>
                <a:gd name="connsiteY0" fmla="*/ 68 h 7245"/>
                <a:gd name="connsiteX1" fmla="*/ 169 w 10042"/>
                <a:gd name="connsiteY1" fmla="*/ 4010 h 7245"/>
                <a:gd name="connsiteX2" fmla="*/ 921 w 10042"/>
                <a:gd name="connsiteY2" fmla="*/ 6939 h 7245"/>
                <a:gd name="connsiteX3" fmla="*/ 6063 w 10042"/>
                <a:gd name="connsiteY3" fmla="*/ 5715 h 7245"/>
                <a:gd name="connsiteX4" fmla="*/ 10000 w 10042"/>
                <a:gd name="connsiteY4" fmla="*/ 7009 h 7245"/>
                <a:gd name="connsiteX5" fmla="*/ 8033 w 10042"/>
                <a:gd name="connsiteY5" fmla="*/ 0 h 7245"/>
                <a:gd name="connsiteX6" fmla="*/ 2893 w 10042"/>
                <a:gd name="connsiteY6" fmla="*/ 68 h 7245"/>
                <a:gd name="connsiteX0" fmla="*/ 2881 w 9449"/>
                <a:gd name="connsiteY0" fmla="*/ 598 h 10140"/>
                <a:gd name="connsiteX1" fmla="*/ 168 w 9449"/>
                <a:gd name="connsiteY1" fmla="*/ 6039 h 10140"/>
                <a:gd name="connsiteX2" fmla="*/ 917 w 9449"/>
                <a:gd name="connsiteY2" fmla="*/ 10082 h 10140"/>
                <a:gd name="connsiteX3" fmla="*/ 6038 w 9449"/>
                <a:gd name="connsiteY3" fmla="*/ 8392 h 10140"/>
                <a:gd name="connsiteX4" fmla="*/ 9361 w 9449"/>
                <a:gd name="connsiteY4" fmla="*/ 7643 h 10140"/>
                <a:gd name="connsiteX5" fmla="*/ 7999 w 9449"/>
                <a:gd name="connsiteY5" fmla="*/ 504 h 10140"/>
                <a:gd name="connsiteX6" fmla="*/ 2881 w 9449"/>
                <a:gd name="connsiteY6" fmla="*/ 598 h 10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49" h="10140">
                  <a:moveTo>
                    <a:pt x="2881" y="598"/>
                  </a:moveTo>
                  <a:cubicBezTo>
                    <a:pt x="1977" y="2410"/>
                    <a:pt x="496" y="4457"/>
                    <a:pt x="168" y="6039"/>
                  </a:cubicBezTo>
                  <a:cubicBezTo>
                    <a:pt x="-158" y="7619"/>
                    <a:pt x="-61" y="9690"/>
                    <a:pt x="917" y="10082"/>
                  </a:cubicBezTo>
                  <a:cubicBezTo>
                    <a:pt x="1895" y="10474"/>
                    <a:pt x="4631" y="8799"/>
                    <a:pt x="6038" y="8392"/>
                  </a:cubicBezTo>
                  <a:cubicBezTo>
                    <a:pt x="7445" y="7986"/>
                    <a:pt x="9035" y="8957"/>
                    <a:pt x="9361" y="7643"/>
                  </a:cubicBezTo>
                  <a:cubicBezTo>
                    <a:pt x="9688" y="6329"/>
                    <a:pt x="9079" y="1678"/>
                    <a:pt x="7999" y="504"/>
                  </a:cubicBezTo>
                  <a:cubicBezTo>
                    <a:pt x="6919" y="-670"/>
                    <a:pt x="4587" y="567"/>
                    <a:pt x="2881" y="598"/>
                  </a:cubicBezTo>
                  <a:close/>
                </a:path>
              </a:pathLst>
            </a:custGeom>
            <a:solidFill>
              <a:schemeClr val="accent5"/>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263" name="BI"/>
            <p:cNvSpPr>
              <a:spLocks/>
            </p:cNvSpPr>
            <p:nvPr/>
          </p:nvSpPr>
          <p:spPr bwMode="auto">
            <a:xfrm>
              <a:off x="4992349" y="4483246"/>
              <a:ext cx="30496" cy="50703"/>
            </a:xfrm>
            <a:custGeom>
              <a:avLst/>
              <a:gdLst>
                <a:gd name="T0" fmla="*/ 2147483647 w 43"/>
                <a:gd name="T1" fmla="*/ 2147483647 h 70"/>
                <a:gd name="T2" fmla="*/ 2147483647 w 43"/>
                <a:gd name="T3" fmla="*/ 2147483647 h 70"/>
                <a:gd name="T4" fmla="*/ 2147483647 w 43"/>
                <a:gd name="T5" fmla="*/ 2147483647 h 70"/>
                <a:gd name="T6" fmla="*/ 2147483647 w 43"/>
                <a:gd name="T7" fmla="*/ 2147483647 h 70"/>
                <a:gd name="T8" fmla="*/ 2147483647 w 43"/>
                <a:gd name="T9" fmla="*/ 2147483647 h 70"/>
                <a:gd name="T10" fmla="*/ 2147483647 w 43"/>
                <a:gd name="T11" fmla="*/ 2147483647 h 70"/>
                <a:gd name="T12" fmla="*/ 2147483647 w 43"/>
                <a:gd name="T13" fmla="*/ 2147483647 h 70"/>
                <a:gd name="T14" fmla="*/ 2147483647 w 43"/>
                <a:gd name="T15" fmla="*/ 2147483647 h 70"/>
                <a:gd name="T16" fmla="*/ 2147483647 w 43"/>
                <a:gd name="T17" fmla="*/ 2147483647 h 70"/>
                <a:gd name="T18" fmla="*/ 2147483647 w 43"/>
                <a:gd name="T19" fmla="*/ 2147483647 h 70"/>
                <a:gd name="T20" fmla="*/ 2147483647 w 43"/>
                <a:gd name="T21" fmla="*/ 2147483647 h 70"/>
                <a:gd name="T22" fmla="*/ 2147483647 w 43"/>
                <a:gd name="T23" fmla="*/ 2147483647 h 70"/>
                <a:gd name="T24" fmla="*/ 2147483647 w 43"/>
                <a:gd name="T25" fmla="*/ 2147483647 h 70"/>
                <a:gd name="T26" fmla="*/ 2147483647 w 43"/>
                <a:gd name="T27" fmla="*/ 2147483647 h 70"/>
                <a:gd name="T28" fmla="*/ 2147483647 w 43"/>
                <a:gd name="T29" fmla="*/ 2147483647 h 70"/>
                <a:gd name="T30" fmla="*/ 0 w 43"/>
                <a:gd name="T31" fmla="*/ 2147483647 h 70"/>
                <a:gd name="T32" fmla="*/ 0 w 43"/>
                <a:gd name="T33" fmla="*/ 2147483647 h 70"/>
                <a:gd name="T34" fmla="*/ 2147483647 w 43"/>
                <a:gd name="T35" fmla="*/ 2147483647 h 70"/>
                <a:gd name="T36" fmla="*/ 2147483647 w 43"/>
                <a:gd name="T37" fmla="*/ 2147483647 h 70"/>
                <a:gd name="T38" fmla="*/ 2147483647 w 43"/>
                <a:gd name="T39" fmla="*/ 2147483647 h 70"/>
                <a:gd name="T40" fmla="*/ 2147483647 w 43"/>
                <a:gd name="T41" fmla="*/ 2147483647 h 70"/>
                <a:gd name="T42" fmla="*/ 2147483647 w 43"/>
                <a:gd name="T43" fmla="*/ 2147483647 h 70"/>
                <a:gd name="T44" fmla="*/ 2147483647 w 43"/>
                <a:gd name="T45" fmla="*/ 2147483647 h 70"/>
                <a:gd name="T46" fmla="*/ 2147483647 w 43"/>
                <a:gd name="T47" fmla="*/ 2147483647 h 70"/>
                <a:gd name="T48" fmla="*/ 2147483647 w 43"/>
                <a:gd name="T49" fmla="*/ 2147483647 h 70"/>
                <a:gd name="T50" fmla="*/ 2147483647 w 43"/>
                <a:gd name="T51" fmla="*/ 2147483647 h 70"/>
                <a:gd name="T52" fmla="*/ 2147483647 w 43"/>
                <a:gd name="T53" fmla="*/ 2147483647 h 70"/>
                <a:gd name="T54" fmla="*/ 2147483647 w 43"/>
                <a:gd name="T55" fmla="*/ 2147483647 h 70"/>
                <a:gd name="T56" fmla="*/ 2147483647 w 43"/>
                <a:gd name="T57" fmla="*/ 2147483647 h 70"/>
                <a:gd name="T58" fmla="*/ 2147483647 w 43"/>
                <a:gd name="T59" fmla="*/ 2147483647 h 70"/>
                <a:gd name="T60" fmla="*/ 2147483647 w 43"/>
                <a:gd name="T61" fmla="*/ 2147483647 h 70"/>
                <a:gd name="T62" fmla="*/ 2147483647 w 43"/>
                <a:gd name="T63" fmla="*/ 2147483647 h 70"/>
                <a:gd name="T64" fmla="*/ 2147483647 w 43"/>
                <a:gd name="T65" fmla="*/ 2147483647 h 70"/>
                <a:gd name="T66" fmla="*/ 2147483647 w 43"/>
                <a:gd name="T67" fmla="*/ 2147483647 h 70"/>
                <a:gd name="T68" fmla="*/ 2147483647 w 43"/>
                <a:gd name="T69" fmla="*/ 2147483647 h 70"/>
                <a:gd name="T70" fmla="*/ 2147483647 w 43"/>
                <a:gd name="T71" fmla="*/ 2147483647 h 70"/>
                <a:gd name="T72" fmla="*/ 2147483647 w 43"/>
                <a:gd name="T73" fmla="*/ 2147483647 h 70"/>
                <a:gd name="T74" fmla="*/ 2147483647 w 43"/>
                <a:gd name="T75" fmla="*/ 2147483647 h 70"/>
                <a:gd name="T76" fmla="*/ 2147483647 w 43"/>
                <a:gd name="T77" fmla="*/ 2147483647 h 70"/>
                <a:gd name="T78" fmla="*/ 2147483647 w 43"/>
                <a:gd name="T79" fmla="*/ 2147483647 h 70"/>
                <a:gd name="T80" fmla="*/ 2147483647 w 43"/>
                <a:gd name="T81" fmla="*/ 2147483647 h 70"/>
                <a:gd name="T82" fmla="*/ 2147483647 w 43"/>
                <a:gd name="T83" fmla="*/ 2147483647 h 70"/>
                <a:gd name="T84" fmla="*/ 2147483647 w 43"/>
                <a:gd name="T85" fmla="*/ 2147483647 h 70"/>
                <a:gd name="T86" fmla="*/ 2147483647 w 43"/>
                <a:gd name="T87" fmla="*/ 2147483647 h 70"/>
                <a:gd name="T88" fmla="*/ 2147483647 w 43"/>
                <a:gd name="T89" fmla="*/ 2147483647 h 70"/>
                <a:gd name="T90" fmla="*/ 2147483647 w 43"/>
                <a:gd name="T91" fmla="*/ 2147483647 h 70"/>
                <a:gd name="T92" fmla="*/ 2147483647 w 43"/>
                <a:gd name="T93" fmla="*/ 2147483647 h 70"/>
                <a:gd name="T94" fmla="*/ 2147483647 w 43"/>
                <a:gd name="T95" fmla="*/ 2147483647 h 70"/>
                <a:gd name="T96" fmla="*/ 2147483647 w 43"/>
                <a:gd name="T97" fmla="*/ 2147483647 h 70"/>
                <a:gd name="T98" fmla="*/ 2147483647 w 43"/>
                <a:gd name="T99" fmla="*/ 2147483647 h 70"/>
                <a:gd name="T100" fmla="*/ 2147483647 w 43"/>
                <a:gd name="T101" fmla="*/ 2147483647 h 70"/>
                <a:gd name="T102" fmla="*/ 2147483647 w 43"/>
                <a:gd name="T103" fmla="*/ 2147483647 h 70"/>
                <a:gd name="T104" fmla="*/ 2147483647 w 43"/>
                <a:gd name="T105" fmla="*/ 2147483647 h 70"/>
                <a:gd name="T106" fmla="*/ 2147483647 w 43"/>
                <a:gd name="T107" fmla="*/ 2147483647 h 70"/>
                <a:gd name="T108" fmla="*/ 2147483647 w 43"/>
                <a:gd name="T109" fmla="*/ 2147483647 h 70"/>
                <a:gd name="T110" fmla="*/ 2147483647 w 43"/>
                <a:gd name="T111" fmla="*/ 0 h 70"/>
                <a:gd name="T112" fmla="*/ 2147483647 w 43"/>
                <a:gd name="T113" fmla="*/ 0 h 70"/>
                <a:gd name="T114" fmla="*/ 2147483647 w 43"/>
                <a:gd name="T115" fmla="*/ 2147483647 h 70"/>
                <a:gd name="T116" fmla="*/ 2147483647 w 43"/>
                <a:gd name="T117" fmla="*/ 0 h 70"/>
                <a:gd name="T118" fmla="*/ 2147483647 w 43"/>
                <a:gd name="T119" fmla="*/ 2147483647 h 70"/>
                <a:gd name="T120" fmla="*/ 2147483647 w 43"/>
                <a:gd name="T121" fmla="*/ 2147483647 h 7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connsiteX0" fmla="*/ 6279 w 10000"/>
                <a:gd name="connsiteY0" fmla="*/ 857 h 10000"/>
                <a:gd name="connsiteX1" fmla="*/ 5349 w 10000"/>
                <a:gd name="connsiteY1" fmla="*/ 1857 h 10000"/>
                <a:gd name="connsiteX2" fmla="*/ 4884 w 10000"/>
                <a:gd name="connsiteY2" fmla="*/ 2857 h 10000"/>
                <a:gd name="connsiteX3" fmla="*/ 5116 w 10000"/>
                <a:gd name="connsiteY3" fmla="*/ 3714 h 10000"/>
                <a:gd name="connsiteX4" fmla="*/ 5814 w 10000"/>
                <a:gd name="connsiteY4" fmla="*/ 5429 h 10000"/>
                <a:gd name="connsiteX5" fmla="*/ 5116 w 10000"/>
                <a:gd name="connsiteY5" fmla="*/ 5571 h 10000"/>
                <a:gd name="connsiteX6" fmla="*/ 4884 w 10000"/>
                <a:gd name="connsiteY6" fmla="*/ 6429 h 10000"/>
                <a:gd name="connsiteX7" fmla="*/ 4651 w 10000"/>
                <a:gd name="connsiteY7" fmla="*/ 6857 h 10000"/>
                <a:gd name="connsiteX8" fmla="*/ 5349 w 10000"/>
                <a:gd name="connsiteY8" fmla="*/ 7429 h 10000"/>
                <a:gd name="connsiteX9" fmla="*/ 5349 w 10000"/>
                <a:gd name="connsiteY9" fmla="*/ 7714 h 10000"/>
                <a:gd name="connsiteX10" fmla="*/ 3953 w 10000"/>
                <a:gd name="connsiteY10" fmla="*/ 7286 h 10000"/>
                <a:gd name="connsiteX11" fmla="*/ 2558 w 10000"/>
                <a:gd name="connsiteY11" fmla="*/ 6857 h 10000"/>
                <a:gd name="connsiteX12" fmla="*/ 1395 w 10000"/>
                <a:gd name="connsiteY12" fmla="*/ 6857 h 10000"/>
                <a:gd name="connsiteX13" fmla="*/ 1395 w 10000"/>
                <a:gd name="connsiteY13" fmla="*/ 7429 h 10000"/>
                <a:gd name="connsiteX14" fmla="*/ 0 w 10000"/>
                <a:gd name="connsiteY14" fmla="*/ 7571 h 10000"/>
                <a:gd name="connsiteX15" fmla="*/ 0 w 10000"/>
                <a:gd name="connsiteY15" fmla="*/ 9143 h 10000"/>
                <a:gd name="connsiteX16" fmla="*/ 465 w 10000"/>
                <a:gd name="connsiteY16" fmla="*/ 9714 h 10000"/>
                <a:gd name="connsiteX17" fmla="*/ 1395 w 10000"/>
                <a:gd name="connsiteY17" fmla="*/ 9714 h 10000"/>
                <a:gd name="connsiteX18" fmla="*/ 1860 w 10000"/>
                <a:gd name="connsiteY18" fmla="*/ 9857 h 10000"/>
                <a:gd name="connsiteX19" fmla="*/ 1628 w 10000"/>
                <a:gd name="connsiteY19" fmla="*/ 9857 h 10000"/>
                <a:gd name="connsiteX20" fmla="*/ 2093 w 10000"/>
                <a:gd name="connsiteY20" fmla="*/ 10000 h 10000"/>
                <a:gd name="connsiteX21" fmla="*/ 2558 w 10000"/>
                <a:gd name="connsiteY21" fmla="*/ 9857 h 10000"/>
                <a:gd name="connsiteX22" fmla="*/ 3488 w 10000"/>
                <a:gd name="connsiteY22" fmla="*/ 10000 h 10000"/>
                <a:gd name="connsiteX23" fmla="*/ 4186 w 10000"/>
                <a:gd name="connsiteY23" fmla="*/ 9571 h 10000"/>
                <a:gd name="connsiteX24" fmla="*/ 5116 w 10000"/>
                <a:gd name="connsiteY24" fmla="*/ 9000 h 10000"/>
                <a:gd name="connsiteX25" fmla="*/ 5814 w 10000"/>
                <a:gd name="connsiteY25" fmla="*/ 8857 h 10000"/>
                <a:gd name="connsiteX26" fmla="*/ 5581 w 10000"/>
                <a:gd name="connsiteY26" fmla="*/ 8857 h 10000"/>
                <a:gd name="connsiteX27" fmla="*/ 5581 w 10000"/>
                <a:gd name="connsiteY27" fmla="*/ 8714 h 10000"/>
                <a:gd name="connsiteX28" fmla="*/ 7674 w 10000"/>
                <a:gd name="connsiteY28" fmla="*/ 8143 h 10000"/>
                <a:gd name="connsiteX29" fmla="*/ 8605 w 10000"/>
                <a:gd name="connsiteY29" fmla="*/ 8429 h 10000"/>
                <a:gd name="connsiteX30" fmla="*/ 9070 w 10000"/>
                <a:gd name="connsiteY30" fmla="*/ 8857 h 10000"/>
                <a:gd name="connsiteX31" fmla="*/ 9302 w 10000"/>
                <a:gd name="connsiteY31" fmla="*/ 9143 h 10000"/>
                <a:gd name="connsiteX32" fmla="*/ 10000 w 10000"/>
                <a:gd name="connsiteY32" fmla="*/ 8857 h 10000"/>
                <a:gd name="connsiteX33" fmla="*/ 10000 w 10000"/>
                <a:gd name="connsiteY33" fmla="*/ 8429 h 10000"/>
                <a:gd name="connsiteX34" fmla="*/ 9302 w 10000"/>
                <a:gd name="connsiteY34" fmla="*/ 7714 h 10000"/>
                <a:gd name="connsiteX35" fmla="*/ 9302 w 10000"/>
                <a:gd name="connsiteY35" fmla="*/ 7000 h 10000"/>
                <a:gd name="connsiteX36" fmla="*/ 9535 w 10000"/>
                <a:gd name="connsiteY36" fmla="*/ 7000 h 10000"/>
                <a:gd name="connsiteX37" fmla="*/ 9070 w 10000"/>
                <a:gd name="connsiteY37" fmla="*/ 6286 h 10000"/>
                <a:gd name="connsiteX38" fmla="*/ 8837 w 10000"/>
                <a:gd name="connsiteY38" fmla="*/ 6000 h 10000"/>
                <a:gd name="connsiteX39" fmla="*/ 7674 w 10000"/>
                <a:gd name="connsiteY39" fmla="*/ 5857 h 10000"/>
                <a:gd name="connsiteX40" fmla="*/ 6512 w 10000"/>
                <a:gd name="connsiteY40" fmla="*/ 5571 h 10000"/>
                <a:gd name="connsiteX41" fmla="*/ 6047 w 10000"/>
                <a:gd name="connsiteY41" fmla="*/ 4857 h 10000"/>
                <a:gd name="connsiteX42" fmla="*/ 5581 w 10000"/>
                <a:gd name="connsiteY42" fmla="*/ 3714 h 10000"/>
                <a:gd name="connsiteX43" fmla="*/ 6047 w 10000"/>
                <a:gd name="connsiteY43" fmla="*/ 3286 h 10000"/>
                <a:gd name="connsiteX44" fmla="*/ 5814 w 10000"/>
                <a:gd name="connsiteY44" fmla="*/ 2286 h 10000"/>
                <a:gd name="connsiteX45" fmla="*/ 6977 w 10000"/>
                <a:gd name="connsiteY45" fmla="*/ 2286 h 10000"/>
                <a:gd name="connsiteX46" fmla="*/ 7442 w 10000"/>
                <a:gd name="connsiteY46" fmla="*/ 2857 h 10000"/>
                <a:gd name="connsiteX47" fmla="*/ 8372 w 10000"/>
                <a:gd name="connsiteY47" fmla="*/ 2857 h 10000"/>
                <a:gd name="connsiteX48" fmla="*/ 8372 w 10000"/>
                <a:gd name="connsiteY48" fmla="*/ 2429 h 10000"/>
                <a:gd name="connsiteX49" fmla="*/ 8605 w 10000"/>
                <a:gd name="connsiteY49" fmla="*/ 2143 h 10000"/>
                <a:gd name="connsiteX50" fmla="*/ 8837 w 10000"/>
                <a:gd name="connsiteY50" fmla="*/ 2286 h 10000"/>
                <a:gd name="connsiteX51" fmla="*/ 8605 w 10000"/>
                <a:gd name="connsiteY51" fmla="*/ 1429 h 10000"/>
                <a:gd name="connsiteX52" fmla="*/ 9070 w 10000"/>
                <a:gd name="connsiteY52" fmla="*/ 857 h 10000"/>
                <a:gd name="connsiteX53" fmla="*/ 9070 w 10000"/>
                <a:gd name="connsiteY53" fmla="*/ 286 h 10000"/>
                <a:gd name="connsiteX54" fmla="*/ 8605 w 10000"/>
                <a:gd name="connsiteY54" fmla="*/ 0 h 10000"/>
                <a:gd name="connsiteX55" fmla="*/ 8140 w 10000"/>
                <a:gd name="connsiteY55" fmla="*/ 0 h 10000"/>
                <a:gd name="connsiteX56" fmla="*/ 6512 w 10000"/>
                <a:gd name="connsiteY56" fmla="*/ 143 h 10000"/>
                <a:gd name="connsiteX57" fmla="*/ 6279 w 10000"/>
                <a:gd name="connsiteY57" fmla="*/ 0 h 10000"/>
                <a:gd name="connsiteX58" fmla="*/ 6279 w 10000"/>
                <a:gd name="connsiteY58" fmla="*/ 714 h 10000"/>
                <a:gd name="connsiteX59" fmla="*/ 6279 w 10000"/>
                <a:gd name="connsiteY59" fmla="*/ 857 h 10000"/>
                <a:gd name="connsiteX0" fmla="*/ 6279 w 10000"/>
                <a:gd name="connsiteY0" fmla="*/ 857 h 10000"/>
                <a:gd name="connsiteX1" fmla="*/ 5349 w 10000"/>
                <a:gd name="connsiteY1" fmla="*/ 1857 h 10000"/>
                <a:gd name="connsiteX2" fmla="*/ 4884 w 10000"/>
                <a:gd name="connsiteY2" fmla="*/ 2857 h 10000"/>
                <a:gd name="connsiteX3" fmla="*/ 5116 w 10000"/>
                <a:gd name="connsiteY3" fmla="*/ 3714 h 10000"/>
                <a:gd name="connsiteX4" fmla="*/ 5116 w 10000"/>
                <a:gd name="connsiteY4" fmla="*/ 5571 h 10000"/>
                <a:gd name="connsiteX5" fmla="*/ 4884 w 10000"/>
                <a:gd name="connsiteY5" fmla="*/ 6429 h 10000"/>
                <a:gd name="connsiteX6" fmla="*/ 4651 w 10000"/>
                <a:gd name="connsiteY6" fmla="*/ 6857 h 10000"/>
                <a:gd name="connsiteX7" fmla="*/ 5349 w 10000"/>
                <a:gd name="connsiteY7" fmla="*/ 7429 h 10000"/>
                <a:gd name="connsiteX8" fmla="*/ 5349 w 10000"/>
                <a:gd name="connsiteY8" fmla="*/ 7714 h 10000"/>
                <a:gd name="connsiteX9" fmla="*/ 3953 w 10000"/>
                <a:gd name="connsiteY9" fmla="*/ 7286 h 10000"/>
                <a:gd name="connsiteX10" fmla="*/ 2558 w 10000"/>
                <a:gd name="connsiteY10" fmla="*/ 6857 h 10000"/>
                <a:gd name="connsiteX11" fmla="*/ 1395 w 10000"/>
                <a:gd name="connsiteY11" fmla="*/ 6857 h 10000"/>
                <a:gd name="connsiteX12" fmla="*/ 1395 w 10000"/>
                <a:gd name="connsiteY12" fmla="*/ 7429 h 10000"/>
                <a:gd name="connsiteX13" fmla="*/ 0 w 10000"/>
                <a:gd name="connsiteY13" fmla="*/ 7571 h 10000"/>
                <a:gd name="connsiteX14" fmla="*/ 0 w 10000"/>
                <a:gd name="connsiteY14" fmla="*/ 9143 h 10000"/>
                <a:gd name="connsiteX15" fmla="*/ 465 w 10000"/>
                <a:gd name="connsiteY15" fmla="*/ 9714 h 10000"/>
                <a:gd name="connsiteX16" fmla="*/ 1395 w 10000"/>
                <a:gd name="connsiteY16" fmla="*/ 9714 h 10000"/>
                <a:gd name="connsiteX17" fmla="*/ 1860 w 10000"/>
                <a:gd name="connsiteY17" fmla="*/ 9857 h 10000"/>
                <a:gd name="connsiteX18" fmla="*/ 1628 w 10000"/>
                <a:gd name="connsiteY18" fmla="*/ 9857 h 10000"/>
                <a:gd name="connsiteX19" fmla="*/ 2093 w 10000"/>
                <a:gd name="connsiteY19" fmla="*/ 10000 h 10000"/>
                <a:gd name="connsiteX20" fmla="*/ 2558 w 10000"/>
                <a:gd name="connsiteY20" fmla="*/ 9857 h 10000"/>
                <a:gd name="connsiteX21" fmla="*/ 3488 w 10000"/>
                <a:gd name="connsiteY21" fmla="*/ 10000 h 10000"/>
                <a:gd name="connsiteX22" fmla="*/ 4186 w 10000"/>
                <a:gd name="connsiteY22" fmla="*/ 9571 h 10000"/>
                <a:gd name="connsiteX23" fmla="*/ 5116 w 10000"/>
                <a:gd name="connsiteY23" fmla="*/ 9000 h 10000"/>
                <a:gd name="connsiteX24" fmla="*/ 5814 w 10000"/>
                <a:gd name="connsiteY24" fmla="*/ 8857 h 10000"/>
                <a:gd name="connsiteX25" fmla="*/ 5581 w 10000"/>
                <a:gd name="connsiteY25" fmla="*/ 8857 h 10000"/>
                <a:gd name="connsiteX26" fmla="*/ 5581 w 10000"/>
                <a:gd name="connsiteY26" fmla="*/ 8714 h 10000"/>
                <a:gd name="connsiteX27" fmla="*/ 7674 w 10000"/>
                <a:gd name="connsiteY27" fmla="*/ 8143 h 10000"/>
                <a:gd name="connsiteX28" fmla="*/ 8605 w 10000"/>
                <a:gd name="connsiteY28" fmla="*/ 8429 h 10000"/>
                <a:gd name="connsiteX29" fmla="*/ 9070 w 10000"/>
                <a:gd name="connsiteY29" fmla="*/ 8857 h 10000"/>
                <a:gd name="connsiteX30" fmla="*/ 9302 w 10000"/>
                <a:gd name="connsiteY30" fmla="*/ 9143 h 10000"/>
                <a:gd name="connsiteX31" fmla="*/ 10000 w 10000"/>
                <a:gd name="connsiteY31" fmla="*/ 8857 h 10000"/>
                <a:gd name="connsiteX32" fmla="*/ 10000 w 10000"/>
                <a:gd name="connsiteY32" fmla="*/ 8429 h 10000"/>
                <a:gd name="connsiteX33" fmla="*/ 9302 w 10000"/>
                <a:gd name="connsiteY33" fmla="*/ 7714 h 10000"/>
                <a:gd name="connsiteX34" fmla="*/ 9302 w 10000"/>
                <a:gd name="connsiteY34" fmla="*/ 7000 h 10000"/>
                <a:gd name="connsiteX35" fmla="*/ 9535 w 10000"/>
                <a:gd name="connsiteY35" fmla="*/ 7000 h 10000"/>
                <a:gd name="connsiteX36" fmla="*/ 9070 w 10000"/>
                <a:gd name="connsiteY36" fmla="*/ 6286 h 10000"/>
                <a:gd name="connsiteX37" fmla="*/ 8837 w 10000"/>
                <a:gd name="connsiteY37" fmla="*/ 6000 h 10000"/>
                <a:gd name="connsiteX38" fmla="*/ 7674 w 10000"/>
                <a:gd name="connsiteY38" fmla="*/ 5857 h 10000"/>
                <a:gd name="connsiteX39" fmla="*/ 6512 w 10000"/>
                <a:gd name="connsiteY39" fmla="*/ 5571 h 10000"/>
                <a:gd name="connsiteX40" fmla="*/ 6047 w 10000"/>
                <a:gd name="connsiteY40" fmla="*/ 4857 h 10000"/>
                <a:gd name="connsiteX41" fmla="*/ 5581 w 10000"/>
                <a:gd name="connsiteY41" fmla="*/ 3714 h 10000"/>
                <a:gd name="connsiteX42" fmla="*/ 6047 w 10000"/>
                <a:gd name="connsiteY42" fmla="*/ 3286 h 10000"/>
                <a:gd name="connsiteX43" fmla="*/ 5814 w 10000"/>
                <a:gd name="connsiteY43" fmla="*/ 2286 h 10000"/>
                <a:gd name="connsiteX44" fmla="*/ 6977 w 10000"/>
                <a:gd name="connsiteY44" fmla="*/ 2286 h 10000"/>
                <a:gd name="connsiteX45" fmla="*/ 7442 w 10000"/>
                <a:gd name="connsiteY45" fmla="*/ 2857 h 10000"/>
                <a:gd name="connsiteX46" fmla="*/ 8372 w 10000"/>
                <a:gd name="connsiteY46" fmla="*/ 2857 h 10000"/>
                <a:gd name="connsiteX47" fmla="*/ 8372 w 10000"/>
                <a:gd name="connsiteY47" fmla="*/ 2429 h 10000"/>
                <a:gd name="connsiteX48" fmla="*/ 8605 w 10000"/>
                <a:gd name="connsiteY48" fmla="*/ 2143 h 10000"/>
                <a:gd name="connsiteX49" fmla="*/ 8837 w 10000"/>
                <a:gd name="connsiteY49" fmla="*/ 2286 h 10000"/>
                <a:gd name="connsiteX50" fmla="*/ 8605 w 10000"/>
                <a:gd name="connsiteY50" fmla="*/ 1429 h 10000"/>
                <a:gd name="connsiteX51" fmla="*/ 9070 w 10000"/>
                <a:gd name="connsiteY51" fmla="*/ 857 h 10000"/>
                <a:gd name="connsiteX52" fmla="*/ 9070 w 10000"/>
                <a:gd name="connsiteY52" fmla="*/ 286 h 10000"/>
                <a:gd name="connsiteX53" fmla="*/ 8605 w 10000"/>
                <a:gd name="connsiteY53" fmla="*/ 0 h 10000"/>
                <a:gd name="connsiteX54" fmla="*/ 8140 w 10000"/>
                <a:gd name="connsiteY54" fmla="*/ 0 h 10000"/>
                <a:gd name="connsiteX55" fmla="*/ 6512 w 10000"/>
                <a:gd name="connsiteY55" fmla="*/ 143 h 10000"/>
                <a:gd name="connsiteX56" fmla="*/ 6279 w 10000"/>
                <a:gd name="connsiteY56" fmla="*/ 0 h 10000"/>
                <a:gd name="connsiteX57" fmla="*/ 6279 w 10000"/>
                <a:gd name="connsiteY57" fmla="*/ 714 h 10000"/>
                <a:gd name="connsiteX58" fmla="*/ 6279 w 10000"/>
                <a:gd name="connsiteY58" fmla="*/ 857 h 10000"/>
                <a:gd name="connsiteX0" fmla="*/ 6279 w 10000"/>
                <a:gd name="connsiteY0" fmla="*/ 857 h 10000"/>
                <a:gd name="connsiteX1" fmla="*/ 5349 w 10000"/>
                <a:gd name="connsiteY1" fmla="*/ 1857 h 10000"/>
                <a:gd name="connsiteX2" fmla="*/ 4884 w 10000"/>
                <a:gd name="connsiteY2" fmla="*/ 2857 h 10000"/>
                <a:gd name="connsiteX3" fmla="*/ 5116 w 10000"/>
                <a:gd name="connsiteY3" fmla="*/ 3714 h 10000"/>
                <a:gd name="connsiteX4" fmla="*/ 4884 w 10000"/>
                <a:gd name="connsiteY4" fmla="*/ 6429 h 10000"/>
                <a:gd name="connsiteX5" fmla="*/ 4651 w 10000"/>
                <a:gd name="connsiteY5" fmla="*/ 6857 h 10000"/>
                <a:gd name="connsiteX6" fmla="*/ 5349 w 10000"/>
                <a:gd name="connsiteY6" fmla="*/ 7429 h 10000"/>
                <a:gd name="connsiteX7" fmla="*/ 5349 w 10000"/>
                <a:gd name="connsiteY7" fmla="*/ 7714 h 10000"/>
                <a:gd name="connsiteX8" fmla="*/ 3953 w 10000"/>
                <a:gd name="connsiteY8" fmla="*/ 7286 h 10000"/>
                <a:gd name="connsiteX9" fmla="*/ 2558 w 10000"/>
                <a:gd name="connsiteY9" fmla="*/ 6857 h 10000"/>
                <a:gd name="connsiteX10" fmla="*/ 1395 w 10000"/>
                <a:gd name="connsiteY10" fmla="*/ 6857 h 10000"/>
                <a:gd name="connsiteX11" fmla="*/ 1395 w 10000"/>
                <a:gd name="connsiteY11" fmla="*/ 7429 h 10000"/>
                <a:gd name="connsiteX12" fmla="*/ 0 w 10000"/>
                <a:gd name="connsiteY12" fmla="*/ 7571 h 10000"/>
                <a:gd name="connsiteX13" fmla="*/ 0 w 10000"/>
                <a:gd name="connsiteY13" fmla="*/ 9143 h 10000"/>
                <a:gd name="connsiteX14" fmla="*/ 465 w 10000"/>
                <a:gd name="connsiteY14" fmla="*/ 9714 h 10000"/>
                <a:gd name="connsiteX15" fmla="*/ 1395 w 10000"/>
                <a:gd name="connsiteY15" fmla="*/ 9714 h 10000"/>
                <a:gd name="connsiteX16" fmla="*/ 1860 w 10000"/>
                <a:gd name="connsiteY16" fmla="*/ 9857 h 10000"/>
                <a:gd name="connsiteX17" fmla="*/ 1628 w 10000"/>
                <a:gd name="connsiteY17" fmla="*/ 9857 h 10000"/>
                <a:gd name="connsiteX18" fmla="*/ 2093 w 10000"/>
                <a:gd name="connsiteY18" fmla="*/ 10000 h 10000"/>
                <a:gd name="connsiteX19" fmla="*/ 2558 w 10000"/>
                <a:gd name="connsiteY19" fmla="*/ 9857 h 10000"/>
                <a:gd name="connsiteX20" fmla="*/ 3488 w 10000"/>
                <a:gd name="connsiteY20" fmla="*/ 10000 h 10000"/>
                <a:gd name="connsiteX21" fmla="*/ 4186 w 10000"/>
                <a:gd name="connsiteY21" fmla="*/ 9571 h 10000"/>
                <a:gd name="connsiteX22" fmla="*/ 5116 w 10000"/>
                <a:gd name="connsiteY22" fmla="*/ 9000 h 10000"/>
                <a:gd name="connsiteX23" fmla="*/ 5814 w 10000"/>
                <a:gd name="connsiteY23" fmla="*/ 8857 h 10000"/>
                <a:gd name="connsiteX24" fmla="*/ 5581 w 10000"/>
                <a:gd name="connsiteY24" fmla="*/ 8857 h 10000"/>
                <a:gd name="connsiteX25" fmla="*/ 5581 w 10000"/>
                <a:gd name="connsiteY25" fmla="*/ 8714 h 10000"/>
                <a:gd name="connsiteX26" fmla="*/ 7674 w 10000"/>
                <a:gd name="connsiteY26" fmla="*/ 8143 h 10000"/>
                <a:gd name="connsiteX27" fmla="*/ 8605 w 10000"/>
                <a:gd name="connsiteY27" fmla="*/ 8429 h 10000"/>
                <a:gd name="connsiteX28" fmla="*/ 9070 w 10000"/>
                <a:gd name="connsiteY28" fmla="*/ 8857 h 10000"/>
                <a:gd name="connsiteX29" fmla="*/ 9302 w 10000"/>
                <a:gd name="connsiteY29" fmla="*/ 9143 h 10000"/>
                <a:gd name="connsiteX30" fmla="*/ 10000 w 10000"/>
                <a:gd name="connsiteY30" fmla="*/ 8857 h 10000"/>
                <a:gd name="connsiteX31" fmla="*/ 10000 w 10000"/>
                <a:gd name="connsiteY31" fmla="*/ 8429 h 10000"/>
                <a:gd name="connsiteX32" fmla="*/ 9302 w 10000"/>
                <a:gd name="connsiteY32" fmla="*/ 7714 h 10000"/>
                <a:gd name="connsiteX33" fmla="*/ 9302 w 10000"/>
                <a:gd name="connsiteY33" fmla="*/ 7000 h 10000"/>
                <a:gd name="connsiteX34" fmla="*/ 9535 w 10000"/>
                <a:gd name="connsiteY34" fmla="*/ 7000 h 10000"/>
                <a:gd name="connsiteX35" fmla="*/ 9070 w 10000"/>
                <a:gd name="connsiteY35" fmla="*/ 6286 h 10000"/>
                <a:gd name="connsiteX36" fmla="*/ 8837 w 10000"/>
                <a:gd name="connsiteY36" fmla="*/ 6000 h 10000"/>
                <a:gd name="connsiteX37" fmla="*/ 7674 w 10000"/>
                <a:gd name="connsiteY37" fmla="*/ 5857 h 10000"/>
                <a:gd name="connsiteX38" fmla="*/ 6512 w 10000"/>
                <a:gd name="connsiteY38" fmla="*/ 5571 h 10000"/>
                <a:gd name="connsiteX39" fmla="*/ 6047 w 10000"/>
                <a:gd name="connsiteY39" fmla="*/ 4857 h 10000"/>
                <a:gd name="connsiteX40" fmla="*/ 5581 w 10000"/>
                <a:gd name="connsiteY40" fmla="*/ 3714 h 10000"/>
                <a:gd name="connsiteX41" fmla="*/ 6047 w 10000"/>
                <a:gd name="connsiteY41" fmla="*/ 3286 h 10000"/>
                <a:gd name="connsiteX42" fmla="*/ 5814 w 10000"/>
                <a:gd name="connsiteY42" fmla="*/ 2286 h 10000"/>
                <a:gd name="connsiteX43" fmla="*/ 6977 w 10000"/>
                <a:gd name="connsiteY43" fmla="*/ 2286 h 10000"/>
                <a:gd name="connsiteX44" fmla="*/ 7442 w 10000"/>
                <a:gd name="connsiteY44" fmla="*/ 2857 h 10000"/>
                <a:gd name="connsiteX45" fmla="*/ 8372 w 10000"/>
                <a:gd name="connsiteY45" fmla="*/ 2857 h 10000"/>
                <a:gd name="connsiteX46" fmla="*/ 8372 w 10000"/>
                <a:gd name="connsiteY46" fmla="*/ 2429 h 10000"/>
                <a:gd name="connsiteX47" fmla="*/ 8605 w 10000"/>
                <a:gd name="connsiteY47" fmla="*/ 2143 h 10000"/>
                <a:gd name="connsiteX48" fmla="*/ 8837 w 10000"/>
                <a:gd name="connsiteY48" fmla="*/ 2286 h 10000"/>
                <a:gd name="connsiteX49" fmla="*/ 8605 w 10000"/>
                <a:gd name="connsiteY49" fmla="*/ 1429 h 10000"/>
                <a:gd name="connsiteX50" fmla="*/ 9070 w 10000"/>
                <a:gd name="connsiteY50" fmla="*/ 857 h 10000"/>
                <a:gd name="connsiteX51" fmla="*/ 9070 w 10000"/>
                <a:gd name="connsiteY51" fmla="*/ 286 h 10000"/>
                <a:gd name="connsiteX52" fmla="*/ 8605 w 10000"/>
                <a:gd name="connsiteY52" fmla="*/ 0 h 10000"/>
                <a:gd name="connsiteX53" fmla="*/ 8140 w 10000"/>
                <a:gd name="connsiteY53" fmla="*/ 0 h 10000"/>
                <a:gd name="connsiteX54" fmla="*/ 6512 w 10000"/>
                <a:gd name="connsiteY54" fmla="*/ 143 h 10000"/>
                <a:gd name="connsiteX55" fmla="*/ 6279 w 10000"/>
                <a:gd name="connsiteY55" fmla="*/ 0 h 10000"/>
                <a:gd name="connsiteX56" fmla="*/ 6279 w 10000"/>
                <a:gd name="connsiteY56" fmla="*/ 714 h 10000"/>
                <a:gd name="connsiteX57" fmla="*/ 6279 w 10000"/>
                <a:gd name="connsiteY57" fmla="*/ 857 h 10000"/>
                <a:gd name="connsiteX0" fmla="*/ 6279 w 10000"/>
                <a:gd name="connsiteY0" fmla="*/ 857 h 10000"/>
                <a:gd name="connsiteX1" fmla="*/ 5349 w 10000"/>
                <a:gd name="connsiteY1" fmla="*/ 1857 h 10000"/>
                <a:gd name="connsiteX2" fmla="*/ 4884 w 10000"/>
                <a:gd name="connsiteY2" fmla="*/ 2857 h 10000"/>
                <a:gd name="connsiteX3" fmla="*/ 5116 w 10000"/>
                <a:gd name="connsiteY3" fmla="*/ 3714 h 10000"/>
                <a:gd name="connsiteX4" fmla="*/ 4651 w 10000"/>
                <a:gd name="connsiteY4" fmla="*/ 6857 h 10000"/>
                <a:gd name="connsiteX5" fmla="*/ 5349 w 10000"/>
                <a:gd name="connsiteY5" fmla="*/ 7429 h 10000"/>
                <a:gd name="connsiteX6" fmla="*/ 5349 w 10000"/>
                <a:gd name="connsiteY6" fmla="*/ 7714 h 10000"/>
                <a:gd name="connsiteX7" fmla="*/ 3953 w 10000"/>
                <a:gd name="connsiteY7" fmla="*/ 7286 h 10000"/>
                <a:gd name="connsiteX8" fmla="*/ 2558 w 10000"/>
                <a:gd name="connsiteY8" fmla="*/ 6857 h 10000"/>
                <a:gd name="connsiteX9" fmla="*/ 1395 w 10000"/>
                <a:gd name="connsiteY9" fmla="*/ 6857 h 10000"/>
                <a:gd name="connsiteX10" fmla="*/ 1395 w 10000"/>
                <a:gd name="connsiteY10" fmla="*/ 7429 h 10000"/>
                <a:gd name="connsiteX11" fmla="*/ 0 w 10000"/>
                <a:gd name="connsiteY11" fmla="*/ 7571 h 10000"/>
                <a:gd name="connsiteX12" fmla="*/ 0 w 10000"/>
                <a:gd name="connsiteY12" fmla="*/ 9143 h 10000"/>
                <a:gd name="connsiteX13" fmla="*/ 465 w 10000"/>
                <a:gd name="connsiteY13" fmla="*/ 9714 h 10000"/>
                <a:gd name="connsiteX14" fmla="*/ 1395 w 10000"/>
                <a:gd name="connsiteY14" fmla="*/ 9714 h 10000"/>
                <a:gd name="connsiteX15" fmla="*/ 1860 w 10000"/>
                <a:gd name="connsiteY15" fmla="*/ 9857 h 10000"/>
                <a:gd name="connsiteX16" fmla="*/ 1628 w 10000"/>
                <a:gd name="connsiteY16" fmla="*/ 9857 h 10000"/>
                <a:gd name="connsiteX17" fmla="*/ 2093 w 10000"/>
                <a:gd name="connsiteY17" fmla="*/ 10000 h 10000"/>
                <a:gd name="connsiteX18" fmla="*/ 2558 w 10000"/>
                <a:gd name="connsiteY18" fmla="*/ 9857 h 10000"/>
                <a:gd name="connsiteX19" fmla="*/ 3488 w 10000"/>
                <a:gd name="connsiteY19" fmla="*/ 10000 h 10000"/>
                <a:gd name="connsiteX20" fmla="*/ 4186 w 10000"/>
                <a:gd name="connsiteY20" fmla="*/ 9571 h 10000"/>
                <a:gd name="connsiteX21" fmla="*/ 5116 w 10000"/>
                <a:gd name="connsiteY21" fmla="*/ 9000 h 10000"/>
                <a:gd name="connsiteX22" fmla="*/ 5814 w 10000"/>
                <a:gd name="connsiteY22" fmla="*/ 8857 h 10000"/>
                <a:gd name="connsiteX23" fmla="*/ 5581 w 10000"/>
                <a:gd name="connsiteY23" fmla="*/ 8857 h 10000"/>
                <a:gd name="connsiteX24" fmla="*/ 5581 w 10000"/>
                <a:gd name="connsiteY24" fmla="*/ 8714 h 10000"/>
                <a:gd name="connsiteX25" fmla="*/ 7674 w 10000"/>
                <a:gd name="connsiteY25" fmla="*/ 8143 h 10000"/>
                <a:gd name="connsiteX26" fmla="*/ 8605 w 10000"/>
                <a:gd name="connsiteY26" fmla="*/ 8429 h 10000"/>
                <a:gd name="connsiteX27" fmla="*/ 9070 w 10000"/>
                <a:gd name="connsiteY27" fmla="*/ 8857 h 10000"/>
                <a:gd name="connsiteX28" fmla="*/ 9302 w 10000"/>
                <a:gd name="connsiteY28" fmla="*/ 9143 h 10000"/>
                <a:gd name="connsiteX29" fmla="*/ 10000 w 10000"/>
                <a:gd name="connsiteY29" fmla="*/ 8857 h 10000"/>
                <a:gd name="connsiteX30" fmla="*/ 10000 w 10000"/>
                <a:gd name="connsiteY30" fmla="*/ 8429 h 10000"/>
                <a:gd name="connsiteX31" fmla="*/ 9302 w 10000"/>
                <a:gd name="connsiteY31" fmla="*/ 7714 h 10000"/>
                <a:gd name="connsiteX32" fmla="*/ 9302 w 10000"/>
                <a:gd name="connsiteY32" fmla="*/ 7000 h 10000"/>
                <a:gd name="connsiteX33" fmla="*/ 9535 w 10000"/>
                <a:gd name="connsiteY33" fmla="*/ 7000 h 10000"/>
                <a:gd name="connsiteX34" fmla="*/ 9070 w 10000"/>
                <a:gd name="connsiteY34" fmla="*/ 6286 h 10000"/>
                <a:gd name="connsiteX35" fmla="*/ 8837 w 10000"/>
                <a:gd name="connsiteY35" fmla="*/ 6000 h 10000"/>
                <a:gd name="connsiteX36" fmla="*/ 7674 w 10000"/>
                <a:gd name="connsiteY36" fmla="*/ 5857 h 10000"/>
                <a:gd name="connsiteX37" fmla="*/ 6512 w 10000"/>
                <a:gd name="connsiteY37" fmla="*/ 5571 h 10000"/>
                <a:gd name="connsiteX38" fmla="*/ 6047 w 10000"/>
                <a:gd name="connsiteY38" fmla="*/ 4857 h 10000"/>
                <a:gd name="connsiteX39" fmla="*/ 5581 w 10000"/>
                <a:gd name="connsiteY39" fmla="*/ 3714 h 10000"/>
                <a:gd name="connsiteX40" fmla="*/ 6047 w 10000"/>
                <a:gd name="connsiteY40" fmla="*/ 3286 h 10000"/>
                <a:gd name="connsiteX41" fmla="*/ 5814 w 10000"/>
                <a:gd name="connsiteY41" fmla="*/ 2286 h 10000"/>
                <a:gd name="connsiteX42" fmla="*/ 6977 w 10000"/>
                <a:gd name="connsiteY42" fmla="*/ 2286 h 10000"/>
                <a:gd name="connsiteX43" fmla="*/ 7442 w 10000"/>
                <a:gd name="connsiteY43" fmla="*/ 2857 h 10000"/>
                <a:gd name="connsiteX44" fmla="*/ 8372 w 10000"/>
                <a:gd name="connsiteY44" fmla="*/ 2857 h 10000"/>
                <a:gd name="connsiteX45" fmla="*/ 8372 w 10000"/>
                <a:gd name="connsiteY45" fmla="*/ 2429 h 10000"/>
                <a:gd name="connsiteX46" fmla="*/ 8605 w 10000"/>
                <a:gd name="connsiteY46" fmla="*/ 2143 h 10000"/>
                <a:gd name="connsiteX47" fmla="*/ 8837 w 10000"/>
                <a:gd name="connsiteY47" fmla="*/ 2286 h 10000"/>
                <a:gd name="connsiteX48" fmla="*/ 8605 w 10000"/>
                <a:gd name="connsiteY48" fmla="*/ 1429 h 10000"/>
                <a:gd name="connsiteX49" fmla="*/ 9070 w 10000"/>
                <a:gd name="connsiteY49" fmla="*/ 857 h 10000"/>
                <a:gd name="connsiteX50" fmla="*/ 9070 w 10000"/>
                <a:gd name="connsiteY50" fmla="*/ 286 h 10000"/>
                <a:gd name="connsiteX51" fmla="*/ 8605 w 10000"/>
                <a:gd name="connsiteY51" fmla="*/ 0 h 10000"/>
                <a:gd name="connsiteX52" fmla="*/ 8140 w 10000"/>
                <a:gd name="connsiteY52" fmla="*/ 0 h 10000"/>
                <a:gd name="connsiteX53" fmla="*/ 6512 w 10000"/>
                <a:gd name="connsiteY53" fmla="*/ 143 h 10000"/>
                <a:gd name="connsiteX54" fmla="*/ 6279 w 10000"/>
                <a:gd name="connsiteY54" fmla="*/ 0 h 10000"/>
                <a:gd name="connsiteX55" fmla="*/ 6279 w 10000"/>
                <a:gd name="connsiteY55" fmla="*/ 714 h 10000"/>
                <a:gd name="connsiteX56" fmla="*/ 6279 w 10000"/>
                <a:gd name="connsiteY56" fmla="*/ 857 h 10000"/>
                <a:gd name="connsiteX0" fmla="*/ 6279 w 10000"/>
                <a:gd name="connsiteY0" fmla="*/ 857 h 10000"/>
                <a:gd name="connsiteX1" fmla="*/ 5349 w 10000"/>
                <a:gd name="connsiteY1" fmla="*/ 1857 h 10000"/>
                <a:gd name="connsiteX2" fmla="*/ 4884 w 10000"/>
                <a:gd name="connsiteY2" fmla="*/ 2857 h 10000"/>
                <a:gd name="connsiteX3" fmla="*/ 5116 w 10000"/>
                <a:gd name="connsiteY3" fmla="*/ 3714 h 10000"/>
                <a:gd name="connsiteX4" fmla="*/ 5349 w 10000"/>
                <a:gd name="connsiteY4" fmla="*/ 7429 h 10000"/>
                <a:gd name="connsiteX5" fmla="*/ 5349 w 10000"/>
                <a:gd name="connsiteY5" fmla="*/ 7714 h 10000"/>
                <a:gd name="connsiteX6" fmla="*/ 3953 w 10000"/>
                <a:gd name="connsiteY6" fmla="*/ 7286 h 10000"/>
                <a:gd name="connsiteX7" fmla="*/ 2558 w 10000"/>
                <a:gd name="connsiteY7" fmla="*/ 6857 h 10000"/>
                <a:gd name="connsiteX8" fmla="*/ 1395 w 10000"/>
                <a:gd name="connsiteY8" fmla="*/ 6857 h 10000"/>
                <a:gd name="connsiteX9" fmla="*/ 1395 w 10000"/>
                <a:gd name="connsiteY9" fmla="*/ 7429 h 10000"/>
                <a:gd name="connsiteX10" fmla="*/ 0 w 10000"/>
                <a:gd name="connsiteY10" fmla="*/ 7571 h 10000"/>
                <a:gd name="connsiteX11" fmla="*/ 0 w 10000"/>
                <a:gd name="connsiteY11" fmla="*/ 9143 h 10000"/>
                <a:gd name="connsiteX12" fmla="*/ 465 w 10000"/>
                <a:gd name="connsiteY12" fmla="*/ 9714 h 10000"/>
                <a:gd name="connsiteX13" fmla="*/ 1395 w 10000"/>
                <a:gd name="connsiteY13" fmla="*/ 9714 h 10000"/>
                <a:gd name="connsiteX14" fmla="*/ 1860 w 10000"/>
                <a:gd name="connsiteY14" fmla="*/ 9857 h 10000"/>
                <a:gd name="connsiteX15" fmla="*/ 1628 w 10000"/>
                <a:gd name="connsiteY15" fmla="*/ 9857 h 10000"/>
                <a:gd name="connsiteX16" fmla="*/ 2093 w 10000"/>
                <a:gd name="connsiteY16" fmla="*/ 10000 h 10000"/>
                <a:gd name="connsiteX17" fmla="*/ 2558 w 10000"/>
                <a:gd name="connsiteY17" fmla="*/ 9857 h 10000"/>
                <a:gd name="connsiteX18" fmla="*/ 3488 w 10000"/>
                <a:gd name="connsiteY18" fmla="*/ 10000 h 10000"/>
                <a:gd name="connsiteX19" fmla="*/ 4186 w 10000"/>
                <a:gd name="connsiteY19" fmla="*/ 9571 h 10000"/>
                <a:gd name="connsiteX20" fmla="*/ 5116 w 10000"/>
                <a:gd name="connsiteY20" fmla="*/ 9000 h 10000"/>
                <a:gd name="connsiteX21" fmla="*/ 5814 w 10000"/>
                <a:gd name="connsiteY21" fmla="*/ 8857 h 10000"/>
                <a:gd name="connsiteX22" fmla="*/ 5581 w 10000"/>
                <a:gd name="connsiteY22" fmla="*/ 8857 h 10000"/>
                <a:gd name="connsiteX23" fmla="*/ 5581 w 10000"/>
                <a:gd name="connsiteY23" fmla="*/ 8714 h 10000"/>
                <a:gd name="connsiteX24" fmla="*/ 7674 w 10000"/>
                <a:gd name="connsiteY24" fmla="*/ 8143 h 10000"/>
                <a:gd name="connsiteX25" fmla="*/ 8605 w 10000"/>
                <a:gd name="connsiteY25" fmla="*/ 8429 h 10000"/>
                <a:gd name="connsiteX26" fmla="*/ 9070 w 10000"/>
                <a:gd name="connsiteY26" fmla="*/ 8857 h 10000"/>
                <a:gd name="connsiteX27" fmla="*/ 9302 w 10000"/>
                <a:gd name="connsiteY27" fmla="*/ 9143 h 10000"/>
                <a:gd name="connsiteX28" fmla="*/ 10000 w 10000"/>
                <a:gd name="connsiteY28" fmla="*/ 8857 h 10000"/>
                <a:gd name="connsiteX29" fmla="*/ 10000 w 10000"/>
                <a:gd name="connsiteY29" fmla="*/ 8429 h 10000"/>
                <a:gd name="connsiteX30" fmla="*/ 9302 w 10000"/>
                <a:gd name="connsiteY30" fmla="*/ 7714 h 10000"/>
                <a:gd name="connsiteX31" fmla="*/ 9302 w 10000"/>
                <a:gd name="connsiteY31" fmla="*/ 7000 h 10000"/>
                <a:gd name="connsiteX32" fmla="*/ 9535 w 10000"/>
                <a:gd name="connsiteY32" fmla="*/ 7000 h 10000"/>
                <a:gd name="connsiteX33" fmla="*/ 9070 w 10000"/>
                <a:gd name="connsiteY33" fmla="*/ 6286 h 10000"/>
                <a:gd name="connsiteX34" fmla="*/ 8837 w 10000"/>
                <a:gd name="connsiteY34" fmla="*/ 6000 h 10000"/>
                <a:gd name="connsiteX35" fmla="*/ 7674 w 10000"/>
                <a:gd name="connsiteY35" fmla="*/ 5857 h 10000"/>
                <a:gd name="connsiteX36" fmla="*/ 6512 w 10000"/>
                <a:gd name="connsiteY36" fmla="*/ 5571 h 10000"/>
                <a:gd name="connsiteX37" fmla="*/ 6047 w 10000"/>
                <a:gd name="connsiteY37" fmla="*/ 4857 h 10000"/>
                <a:gd name="connsiteX38" fmla="*/ 5581 w 10000"/>
                <a:gd name="connsiteY38" fmla="*/ 3714 h 10000"/>
                <a:gd name="connsiteX39" fmla="*/ 6047 w 10000"/>
                <a:gd name="connsiteY39" fmla="*/ 3286 h 10000"/>
                <a:gd name="connsiteX40" fmla="*/ 5814 w 10000"/>
                <a:gd name="connsiteY40" fmla="*/ 2286 h 10000"/>
                <a:gd name="connsiteX41" fmla="*/ 6977 w 10000"/>
                <a:gd name="connsiteY41" fmla="*/ 2286 h 10000"/>
                <a:gd name="connsiteX42" fmla="*/ 7442 w 10000"/>
                <a:gd name="connsiteY42" fmla="*/ 2857 h 10000"/>
                <a:gd name="connsiteX43" fmla="*/ 8372 w 10000"/>
                <a:gd name="connsiteY43" fmla="*/ 2857 h 10000"/>
                <a:gd name="connsiteX44" fmla="*/ 8372 w 10000"/>
                <a:gd name="connsiteY44" fmla="*/ 2429 h 10000"/>
                <a:gd name="connsiteX45" fmla="*/ 8605 w 10000"/>
                <a:gd name="connsiteY45" fmla="*/ 2143 h 10000"/>
                <a:gd name="connsiteX46" fmla="*/ 8837 w 10000"/>
                <a:gd name="connsiteY46" fmla="*/ 2286 h 10000"/>
                <a:gd name="connsiteX47" fmla="*/ 8605 w 10000"/>
                <a:gd name="connsiteY47" fmla="*/ 1429 h 10000"/>
                <a:gd name="connsiteX48" fmla="*/ 9070 w 10000"/>
                <a:gd name="connsiteY48" fmla="*/ 857 h 10000"/>
                <a:gd name="connsiteX49" fmla="*/ 9070 w 10000"/>
                <a:gd name="connsiteY49" fmla="*/ 286 h 10000"/>
                <a:gd name="connsiteX50" fmla="*/ 8605 w 10000"/>
                <a:gd name="connsiteY50" fmla="*/ 0 h 10000"/>
                <a:gd name="connsiteX51" fmla="*/ 8140 w 10000"/>
                <a:gd name="connsiteY51" fmla="*/ 0 h 10000"/>
                <a:gd name="connsiteX52" fmla="*/ 6512 w 10000"/>
                <a:gd name="connsiteY52" fmla="*/ 143 h 10000"/>
                <a:gd name="connsiteX53" fmla="*/ 6279 w 10000"/>
                <a:gd name="connsiteY53" fmla="*/ 0 h 10000"/>
                <a:gd name="connsiteX54" fmla="*/ 6279 w 10000"/>
                <a:gd name="connsiteY54" fmla="*/ 714 h 10000"/>
                <a:gd name="connsiteX55" fmla="*/ 6279 w 10000"/>
                <a:gd name="connsiteY55" fmla="*/ 857 h 10000"/>
                <a:gd name="connsiteX0" fmla="*/ 6279 w 10000"/>
                <a:gd name="connsiteY0" fmla="*/ 857 h 10000"/>
                <a:gd name="connsiteX1" fmla="*/ 5349 w 10000"/>
                <a:gd name="connsiteY1" fmla="*/ 1857 h 10000"/>
                <a:gd name="connsiteX2" fmla="*/ 4884 w 10000"/>
                <a:gd name="connsiteY2" fmla="*/ 2857 h 10000"/>
                <a:gd name="connsiteX3" fmla="*/ 5116 w 10000"/>
                <a:gd name="connsiteY3" fmla="*/ 3714 h 10000"/>
                <a:gd name="connsiteX4" fmla="*/ 5349 w 10000"/>
                <a:gd name="connsiteY4" fmla="*/ 7714 h 10000"/>
                <a:gd name="connsiteX5" fmla="*/ 3953 w 10000"/>
                <a:gd name="connsiteY5" fmla="*/ 7286 h 10000"/>
                <a:gd name="connsiteX6" fmla="*/ 2558 w 10000"/>
                <a:gd name="connsiteY6" fmla="*/ 6857 h 10000"/>
                <a:gd name="connsiteX7" fmla="*/ 1395 w 10000"/>
                <a:gd name="connsiteY7" fmla="*/ 6857 h 10000"/>
                <a:gd name="connsiteX8" fmla="*/ 1395 w 10000"/>
                <a:gd name="connsiteY8" fmla="*/ 7429 h 10000"/>
                <a:gd name="connsiteX9" fmla="*/ 0 w 10000"/>
                <a:gd name="connsiteY9" fmla="*/ 7571 h 10000"/>
                <a:gd name="connsiteX10" fmla="*/ 0 w 10000"/>
                <a:gd name="connsiteY10" fmla="*/ 9143 h 10000"/>
                <a:gd name="connsiteX11" fmla="*/ 465 w 10000"/>
                <a:gd name="connsiteY11" fmla="*/ 9714 h 10000"/>
                <a:gd name="connsiteX12" fmla="*/ 1395 w 10000"/>
                <a:gd name="connsiteY12" fmla="*/ 9714 h 10000"/>
                <a:gd name="connsiteX13" fmla="*/ 1860 w 10000"/>
                <a:gd name="connsiteY13" fmla="*/ 9857 h 10000"/>
                <a:gd name="connsiteX14" fmla="*/ 1628 w 10000"/>
                <a:gd name="connsiteY14" fmla="*/ 9857 h 10000"/>
                <a:gd name="connsiteX15" fmla="*/ 2093 w 10000"/>
                <a:gd name="connsiteY15" fmla="*/ 10000 h 10000"/>
                <a:gd name="connsiteX16" fmla="*/ 2558 w 10000"/>
                <a:gd name="connsiteY16" fmla="*/ 9857 h 10000"/>
                <a:gd name="connsiteX17" fmla="*/ 3488 w 10000"/>
                <a:gd name="connsiteY17" fmla="*/ 10000 h 10000"/>
                <a:gd name="connsiteX18" fmla="*/ 4186 w 10000"/>
                <a:gd name="connsiteY18" fmla="*/ 9571 h 10000"/>
                <a:gd name="connsiteX19" fmla="*/ 5116 w 10000"/>
                <a:gd name="connsiteY19" fmla="*/ 9000 h 10000"/>
                <a:gd name="connsiteX20" fmla="*/ 5814 w 10000"/>
                <a:gd name="connsiteY20" fmla="*/ 8857 h 10000"/>
                <a:gd name="connsiteX21" fmla="*/ 5581 w 10000"/>
                <a:gd name="connsiteY21" fmla="*/ 8857 h 10000"/>
                <a:gd name="connsiteX22" fmla="*/ 5581 w 10000"/>
                <a:gd name="connsiteY22" fmla="*/ 8714 h 10000"/>
                <a:gd name="connsiteX23" fmla="*/ 7674 w 10000"/>
                <a:gd name="connsiteY23" fmla="*/ 8143 h 10000"/>
                <a:gd name="connsiteX24" fmla="*/ 8605 w 10000"/>
                <a:gd name="connsiteY24" fmla="*/ 8429 h 10000"/>
                <a:gd name="connsiteX25" fmla="*/ 9070 w 10000"/>
                <a:gd name="connsiteY25" fmla="*/ 8857 h 10000"/>
                <a:gd name="connsiteX26" fmla="*/ 9302 w 10000"/>
                <a:gd name="connsiteY26" fmla="*/ 9143 h 10000"/>
                <a:gd name="connsiteX27" fmla="*/ 10000 w 10000"/>
                <a:gd name="connsiteY27" fmla="*/ 8857 h 10000"/>
                <a:gd name="connsiteX28" fmla="*/ 10000 w 10000"/>
                <a:gd name="connsiteY28" fmla="*/ 8429 h 10000"/>
                <a:gd name="connsiteX29" fmla="*/ 9302 w 10000"/>
                <a:gd name="connsiteY29" fmla="*/ 7714 h 10000"/>
                <a:gd name="connsiteX30" fmla="*/ 9302 w 10000"/>
                <a:gd name="connsiteY30" fmla="*/ 7000 h 10000"/>
                <a:gd name="connsiteX31" fmla="*/ 9535 w 10000"/>
                <a:gd name="connsiteY31" fmla="*/ 7000 h 10000"/>
                <a:gd name="connsiteX32" fmla="*/ 9070 w 10000"/>
                <a:gd name="connsiteY32" fmla="*/ 6286 h 10000"/>
                <a:gd name="connsiteX33" fmla="*/ 8837 w 10000"/>
                <a:gd name="connsiteY33" fmla="*/ 6000 h 10000"/>
                <a:gd name="connsiteX34" fmla="*/ 7674 w 10000"/>
                <a:gd name="connsiteY34" fmla="*/ 5857 h 10000"/>
                <a:gd name="connsiteX35" fmla="*/ 6512 w 10000"/>
                <a:gd name="connsiteY35" fmla="*/ 5571 h 10000"/>
                <a:gd name="connsiteX36" fmla="*/ 6047 w 10000"/>
                <a:gd name="connsiteY36" fmla="*/ 4857 h 10000"/>
                <a:gd name="connsiteX37" fmla="*/ 5581 w 10000"/>
                <a:gd name="connsiteY37" fmla="*/ 3714 h 10000"/>
                <a:gd name="connsiteX38" fmla="*/ 6047 w 10000"/>
                <a:gd name="connsiteY38" fmla="*/ 3286 h 10000"/>
                <a:gd name="connsiteX39" fmla="*/ 5814 w 10000"/>
                <a:gd name="connsiteY39" fmla="*/ 2286 h 10000"/>
                <a:gd name="connsiteX40" fmla="*/ 6977 w 10000"/>
                <a:gd name="connsiteY40" fmla="*/ 2286 h 10000"/>
                <a:gd name="connsiteX41" fmla="*/ 7442 w 10000"/>
                <a:gd name="connsiteY41" fmla="*/ 2857 h 10000"/>
                <a:gd name="connsiteX42" fmla="*/ 8372 w 10000"/>
                <a:gd name="connsiteY42" fmla="*/ 2857 h 10000"/>
                <a:gd name="connsiteX43" fmla="*/ 8372 w 10000"/>
                <a:gd name="connsiteY43" fmla="*/ 2429 h 10000"/>
                <a:gd name="connsiteX44" fmla="*/ 8605 w 10000"/>
                <a:gd name="connsiteY44" fmla="*/ 2143 h 10000"/>
                <a:gd name="connsiteX45" fmla="*/ 8837 w 10000"/>
                <a:gd name="connsiteY45" fmla="*/ 2286 h 10000"/>
                <a:gd name="connsiteX46" fmla="*/ 8605 w 10000"/>
                <a:gd name="connsiteY46" fmla="*/ 1429 h 10000"/>
                <a:gd name="connsiteX47" fmla="*/ 9070 w 10000"/>
                <a:gd name="connsiteY47" fmla="*/ 857 h 10000"/>
                <a:gd name="connsiteX48" fmla="*/ 9070 w 10000"/>
                <a:gd name="connsiteY48" fmla="*/ 286 h 10000"/>
                <a:gd name="connsiteX49" fmla="*/ 8605 w 10000"/>
                <a:gd name="connsiteY49" fmla="*/ 0 h 10000"/>
                <a:gd name="connsiteX50" fmla="*/ 8140 w 10000"/>
                <a:gd name="connsiteY50" fmla="*/ 0 h 10000"/>
                <a:gd name="connsiteX51" fmla="*/ 6512 w 10000"/>
                <a:gd name="connsiteY51" fmla="*/ 143 h 10000"/>
                <a:gd name="connsiteX52" fmla="*/ 6279 w 10000"/>
                <a:gd name="connsiteY52" fmla="*/ 0 h 10000"/>
                <a:gd name="connsiteX53" fmla="*/ 6279 w 10000"/>
                <a:gd name="connsiteY53" fmla="*/ 714 h 10000"/>
                <a:gd name="connsiteX54" fmla="*/ 6279 w 10000"/>
                <a:gd name="connsiteY54" fmla="*/ 857 h 10000"/>
                <a:gd name="connsiteX0" fmla="*/ 6279 w 10000"/>
                <a:gd name="connsiteY0" fmla="*/ 857 h 10000"/>
                <a:gd name="connsiteX1" fmla="*/ 5349 w 10000"/>
                <a:gd name="connsiteY1" fmla="*/ 1857 h 10000"/>
                <a:gd name="connsiteX2" fmla="*/ 4884 w 10000"/>
                <a:gd name="connsiteY2" fmla="*/ 2857 h 10000"/>
                <a:gd name="connsiteX3" fmla="*/ 5116 w 10000"/>
                <a:gd name="connsiteY3" fmla="*/ 3714 h 10000"/>
                <a:gd name="connsiteX4" fmla="*/ 3953 w 10000"/>
                <a:gd name="connsiteY4" fmla="*/ 7286 h 10000"/>
                <a:gd name="connsiteX5" fmla="*/ 2558 w 10000"/>
                <a:gd name="connsiteY5" fmla="*/ 6857 h 10000"/>
                <a:gd name="connsiteX6" fmla="*/ 1395 w 10000"/>
                <a:gd name="connsiteY6" fmla="*/ 6857 h 10000"/>
                <a:gd name="connsiteX7" fmla="*/ 1395 w 10000"/>
                <a:gd name="connsiteY7" fmla="*/ 7429 h 10000"/>
                <a:gd name="connsiteX8" fmla="*/ 0 w 10000"/>
                <a:gd name="connsiteY8" fmla="*/ 7571 h 10000"/>
                <a:gd name="connsiteX9" fmla="*/ 0 w 10000"/>
                <a:gd name="connsiteY9" fmla="*/ 9143 h 10000"/>
                <a:gd name="connsiteX10" fmla="*/ 465 w 10000"/>
                <a:gd name="connsiteY10" fmla="*/ 9714 h 10000"/>
                <a:gd name="connsiteX11" fmla="*/ 1395 w 10000"/>
                <a:gd name="connsiteY11" fmla="*/ 9714 h 10000"/>
                <a:gd name="connsiteX12" fmla="*/ 1860 w 10000"/>
                <a:gd name="connsiteY12" fmla="*/ 9857 h 10000"/>
                <a:gd name="connsiteX13" fmla="*/ 1628 w 10000"/>
                <a:gd name="connsiteY13" fmla="*/ 9857 h 10000"/>
                <a:gd name="connsiteX14" fmla="*/ 2093 w 10000"/>
                <a:gd name="connsiteY14" fmla="*/ 10000 h 10000"/>
                <a:gd name="connsiteX15" fmla="*/ 2558 w 10000"/>
                <a:gd name="connsiteY15" fmla="*/ 9857 h 10000"/>
                <a:gd name="connsiteX16" fmla="*/ 3488 w 10000"/>
                <a:gd name="connsiteY16" fmla="*/ 10000 h 10000"/>
                <a:gd name="connsiteX17" fmla="*/ 4186 w 10000"/>
                <a:gd name="connsiteY17" fmla="*/ 9571 h 10000"/>
                <a:gd name="connsiteX18" fmla="*/ 5116 w 10000"/>
                <a:gd name="connsiteY18" fmla="*/ 9000 h 10000"/>
                <a:gd name="connsiteX19" fmla="*/ 5814 w 10000"/>
                <a:gd name="connsiteY19" fmla="*/ 8857 h 10000"/>
                <a:gd name="connsiteX20" fmla="*/ 5581 w 10000"/>
                <a:gd name="connsiteY20" fmla="*/ 8857 h 10000"/>
                <a:gd name="connsiteX21" fmla="*/ 5581 w 10000"/>
                <a:gd name="connsiteY21" fmla="*/ 8714 h 10000"/>
                <a:gd name="connsiteX22" fmla="*/ 7674 w 10000"/>
                <a:gd name="connsiteY22" fmla="*/ 8143 h 10000"/>
                <a:gd name="connsiteX23" fmla="*/ 8605 w 10000"/>
                <a:gd name="connsiteY23" fmla="*/ 8429 h 10000"/>
                <a:gd name="connsiteX24" fmla="*/ 9070 w 10000"/>
                <a:gd name="connsiteY24" fmla="*/ 8857 h 10000"/>
                <a:gd name="connsiteX25" fmla="*/ 9302 w 10000"/>
                <a:gd name="connsiteY25" fmla="*/ 9143 h 10000"/>
                <a:gd name="connsiteX26" fmla="*/ 10000 w 10000"/>
                <a:gd name="connsiteY26" fmla="*/ 8857 h 10000"/>
                <a:gd name="connsiteX27" fmla="*/ 10000 w 10000"/>
                <a:gd name="connsiteY27" fmla="*/ 8429 h 10000"/>
                <a:gd name="connsiteX28" fmla="*/ 9302 w 10000"/>
                <a:gd name="connsiteY28" fmla="*/ 7714 h 10000"/>
                <a:gd name="connsiteX29" fmla="*/ 9302 w 10000"/>
                <a:gd name="connsiteY29" fmla="*/ 7000 h 10000"/>
                <a:gd name="connsiteX30" fmla="*/ 9535 w 10000"/>
                <a:gd name="connsiteY30" fmla="*/ 7000 h 10000"/>
                <a:gd name="connsiteX31" fmla="*/ 9070 w 10000"/>
                <a:gd name="connsiteY31" fmla="*/ 6286 h 10000"/>
                <a:gd name="connsiteX32" fmla="*/ 8837 w 10000"/>
                <a:gd name="connsiteY32" fmla="*/ 6000 h 10000"/>
                <a:gd name="connsiteX33" fmla="*/ 7674 w 10000"/>
                <a:gd name="connsiteY33" fmla="*/ 5857 h 10000"/>
                <a:gd name="connsiteX34" fmla="*/ 6512 w 10000"/>
                <a:gd name="connsiteY34" fmla="*/ 5571 h 10000"/>
                <a:gd name="connsiteX35" fmla="*/ 6047 w 10000"/>
                <a:gd name="connsiteY35" fmla="*/ 4857 h 10000"/>
                <a:gd name="connsiteX36" fmla="*/ 5581 w 10000"/>
                <a:gd name="connsiteY36" fmla="*/ 3714 h 10000"/>
                <a:gd name="connsiteX37" fmla="*/ 6047 w 10000"/>
                <a:gd name="connsiteY37" fmla="*/ 3286 h 10000"/>
                <a:gd name="connsiteX38" fmla="*/ 5814 w 10000"/>
                <a:gd name="connsiteY38" fmla="*/ 2286 h 10000"/>
                <a:gd name="connsiteX39" fmla="*/ 6977 w 10000"/>
                <a:gd name="connsiteY39" fmla="*/ 2286 h 10000"/>
                <a:gd name="connsiteX40" fmla="*/ 7442 w 10000"/>
                <a:gd name="connsiteY40" fmla="*/ 2857 h 10000"/>
                <a:gd name="connsiteX41" fmla="*/ 8372 w 10000"/>
                <a:gd name="connsiteY41" fmla="*/ 2857 h 10000"/>
                <a:gd name="connsiteX42" fmla="*/ 8372 w 10000"/>
                <a:gd name="connsiteY42" fmla="*/ 2429 h 10000"/>
                <a:gd name="connsiteX43" fmla="*/ 8605 w 10000"/>
                <a:gd name="connsiteY43" fmla="*/ 2143 h 10000"/>
                <a:gd name="connsiteX44" fmla="*/ 8837 w 10000"/>
                <a:gd name="connsiteY44" fmla="*/ 2286 h 10000"/>
                <a:gd name="connsiteX45" fmla="*/ 8605 w 10000"/>
                <a:gd name="connsiteY45" fmla="*/ 1429 h 10000"/>
                <a:gd name="connsiteX46" fmla="*/ 9070 w 10000"/>
                <a:gd name="connsiteY46" fmla="*/ 857 h 10000"/>
                <a:gd name="connsiteX47" fmla="*/ 9070 w 10000"/>
                <a:gd name="connsiteY47" fmla="*/ 286 h 10000"/>
                <a:gd name="connsiteX48" fmla="*/ 8605 w 10000"/>
                <a:gd name="connsiteY48" fmla="*/ 0 h 10000"/>
                <a:gd name="connsiteX49" fmla="*/ 8140 w 10000"/>
                <a:gd name="connsiteY49" fmla="*/ 0 h 10000"/>
                <a:gd name="connsiteX50" fmla="*/ 6512 w 10000"/>
                <a:gd name="connsiteY50" fmla="*/ 143 h 10000"/>
                <a:gd name="connsiteX51" fmla="*/ 6279 w 10000"/>
                <a:gd name="connsiteY51" fmla="*/ 0 h 10000"/>
                <a:gd name="connsiteX52" fmla="*/ 6279 w 10000"/>
                <a:gd name="connsiteY52" fmla="*/ 714 h 10000"/>
                <a:gd name="connsiteX53" fmla="*/ 6279 w 10000"/>
                <a:gd name="connsiteY53" fmla="*/ 857 h 10000"/>
                <a:gd name="connsiteX0" fmla="*/ 6279 w 10000"/>
                <a:gd name="connsiteY0" fmla="*/ 857 h 10000"/>
                <a:gd name="connsiteX1" fmla="*/ 5349 w 10000"/>
                <a:gd name="connsiteY1" fmla="*/ 1857 h 10000"/>
                <a:gd name="connsiteX2" fmla="*/ 4884 w 10000"/>
                <a:gd name="connsiteY2" fmla="*/ 2857 h 10000"/>
                <a:gd name="connsiteX3" fmla="*/ 5116 w 10000"/>
                <a:gd name="connsiteY3" fmla="*/ 3714 h 10000"/>
                <a:gd name="connsiteX4" fmla="*/ 2558 w 10000"/>
                <a:gd name="connsiteY4" fmla="*/ 6857 h 10000"/>
                <a:gd name="connsiteX5" fmla="*/ 1395 w 10000"/>
                <a:gd name="connsiteY5" fmla="*/ 6857 h 10000"/>
                <a:gd name="connsiteX6" fmla="*/ 1395 w 10000"/>
                <a:gd name="connsiteY6" fmla="*/ 7429 h 10000"/>
                <a:gd name="connsiteX7" fmla="*/ 0 w 10000"/>
                <a:gd name="connsiteY7" fmla="*/ 7571 h 10000"/>
                <a:gd name="connsiteX8" fmla="*/ 0 w 10000"/>
                <a:gd name="connsiteY8" fmla="*/ 9143 h 10000"/>
                <a:gd name="connsiteX9" fmla="*/ 465 w 10000"/>
                <a:gd name="connsiteY9" fmla="*/ 9714 h 10000"/>
                <a:gd name="connsiteX10" fmla="*/ 1395 w 10000"/>
                <a:gd name="connsiteY10" fmla="*/ 9714 h 10000"/>
                <a:gd name="connsiteX11" fmla="*/ 1860 w 10000"/>
                <a:gd name="connsiteY11" fmla="*/ 9857 h 10000"/>
                <a:gd name="connsiteX12" fmla="*/ 1628 w 10000"/>
                <a:gd name="connsiteY12" fmla="*/ 9857 h 10000"/>
                <a:gd name="connsiteX13" fmla="*/ 2093 w 10000"/>
                <a:gd name="connsiteY13" fmla="*/ 10000 h 10000"/>
                <a:gd name="connsiteX14" fmla="*/ 2558 w 10000"/>
                <a:gd name="connsiteY14" fmla="*/ 9857 h 10000"/>
                <a:gd name="connsiteX15" fmla="*/ 3488 w 10000"/>
                <a:gd name="connsiteY15" fmla="*/ 10000 h 10000"/>
                <a:gd name="connsiteX16" fmla="*/ 4186 w 10000"/>
                <a:gd name="connsiteY16" fmla="*/ 9571 h 10000"/>
                <a:gd name="connsiteX17" fmla="*/ 5116 w 10000"/>
                <a:gd name="connsiteY17" fmla="*/ 9000 h 10000"/>
                <a:gd name="connsiteX18" fmla="*/ 5814 w 10000"/>
                <a:gd name="connsiteY18" fmla="*/ 8857 h 10000"/>
                <a:gd name="connsiteX19" fmla="*/ 5581 w 10000"/>
                <a:gd name="connsiteY19" fmla="*/ 8857 h 10000"/>
                <a:gd name="connsiteX20" fmla="*/ 5581 w 10000"/>
                <a:gd name="connsiteY20" fmla="*/ 8714 h 10000"/>
                <a:gd name="connsiteX21" fmla="*/ 7674 w 10000"/>
                <a:gd name="connsiteY21" fmla="*/ 8143 h 10000"/>
                <a:gd name="connsiteX22" fmla="*/ 8605 w 10000"/>
                <a:gd name="connsiteY22" fmla="*/ 8429 h 10000"/>
                <a:gd name="connsiteX23" fmla="*/ 9070 w 10000"/>
                <a:gd name="connsiteY23" fmla="*/ 8857 h 10000"/>
                <a:gd name="connsiteX24" fmla="*/ 9302 w 10000"/>
                <a:gd name="connsiteY24" fmla="*/ 9143 h 10000"/>
                <a:gd name="connsiteX25" fmla="*/ 10000 w 10000"/>
                <a:gd name="connsiteY25" fmla="*/ 8857 h 10000"/>
                <a:gd name="connsiteX26" fmla="*/ 10000 w 10000"/>
                <a:gd name="connsiteY26" fmla="*/ 8429 h 10000"/>
                <a:gd name="connsiteX27" fmla="*/ 9302 w 10000"/>
                <a:gd name="connsiteY27" fmla="*/ 7714 h 10000"/>
                <a:gd name="connsiteX28" fmla="*/ 9302 w 10000"/>
                <a:gd name="connsiteY28" fmla="*/ 7000 h 10000"/>
                <a:gd name="connsiteX29" fmla="*/ 9535 w 10000"/>
                <a:gd name="connsiteY29" fmla="*/ 7000 h 10000"/>
                <a:gd name="connsiteX30" fmla="*/ 9070 w 10000"/>
                <a:gd name="connsiteY30" fmla="*/ 6286 h 10000"/>
                <a:gd name="connsiteX31" fmla="*/ 8837 w 10000"/>
                <a:gd name="connsiteY31" fmla="*/ 6000 h 10000"/>
                <a:gd name="connsiteX32" fmla="*/ 7674 w 10000"/>
                <a:gd name="connsiteY32" fmla="*/ 5857 h 10000"/>
                <a:gd name="connsiteX33" fmla="*/ 6512 w 10000"/>
                <a:gd name="connsiteY33" fmla="*/ 5571 h 10000"/>
                <a:gd name="connsiteX34" fmla="*/ 6047 w 10000"/>
                <a:gd name="connsiteY34" fmla="*/ 4857 h 10000"/>
                <a:gd name="connsiteX35" fmla="*/ 5581 w 10000"/>
                <a:gd name="connsiteY35" fmla="*/ 3714 h 10000"/>
                <a:gd name="connsiteX36" fmla="*/ 6047 w 10000"/>
                <a:gd name="connsiteY36" fmla="*/ 3286 h 10000"/>
                <a:gd name="connsiteX37" fmla="*/ 5814 w 10000"/>
                <a:gd name="connsiteY37" fmla="*/ 2286 h 10000"/>
                <a:gd name="connsiteX38" fmla="*/ 6977 w 10000"/>
                <a:gd name="connsiteY38" fmla="*/ 2286 h 10000"/>
                <a:gd name="connsiteX39" fmla="*/ 7442 w 10000"/>
                <a:gd name="connsiteY39" fmla="*/ 2857 h 10000"/>
                <a:gd name="connsiteX40" fmla="*/ 8372 w 10000"/>
                <a:gd name="connsiteY40" fmla="*/ 2857 h 10000"/>
                <a:gd name="connsiteX41" fmla="*/ 8372 w 10000"/>
                <a:gd name="connsiteY41" fmla="*/ 2429 h 10000"/>
                <a:gd name="connsiteX42" fmla="*/ 8605 w 10000"/>
                <a:gd name="connsiteY42" fmla="*/ 2143 h 10000"/>
                <a:gd name="connsiteX43" fmla="*/ 8837 w 10000"/>
                <a:gd name="connsiteY43" fmla="*/ 2286 h 10000"/>
                <a:gd name="connsiteX44" fmla="*/ 8605 w 10000"/>
                <a:gd name="connsiteY44" fmla="*/ 1429 h 10000"/>
                <a:gd name="connsiteX45" fmla="*/ 9070 w 10000"/>
                <a:gd name="connsiteY45" fmla="*/ 857 h 10000"/>
                <a:gd name="connsiteX46" fmla="*/ 9070 w 10000"/>
                <a:gd name="connsiteY46" fmla="*/ 286 h 10000"/>
                <a:gd name="connsiteX47" fmla="*/ 8605 w 10000"/>
                <a:gd name="connsiteY47" fmla="*/ 0 h 10000"/>
                <a:gd name="connsiteX48" fmla="*/ 8140 w 10000"/>
                <a:gd name="connsiteY48" fmla="*/ 0 h 10000"/>
                <a:gd name="connsiteX49" fmla="*/ 6512 w 10000"/>
                <a:gd name="connsiteY49" fmla="*/ 143 h 10000"/>
                <a:gd name="connsiteX50" fmla="*/ 6279 w 10000"/>
                <a:gd name="connsiteY50" fmla="*/ 0 h 10000"/>
                <a:gd name="connsiteX51" fmla="*/ 6279 w 10000"/>
                <a:gd name="connsiteY51" fmla="*/ 714 h 10000"/>
                <a:gd name="connsiteX52" fmla="*/ 6279 w 10000"/>
                <a:gd name="connsiteY52" fmla="*/ 857 h 10000"/>
                <a:gd name="connsiteX0" fmla="*/ 6279 w 10000"/>
                <a:gd name="connsiteY0" fmla="*/ 857 h 10000"/>
                <a:gd name="connsiteX1" fmla="*/ 5349 w 10000"/>
                <a:gd name="connsiteY1" fmla="*/ 1857 h 10000"/>
                <a:gd name="connsiteX2" fmla="*/ 4884 w 10000"/>
                <a:gd name="connsiteY2" fmla="*/ 2857 h 10000"/>
                <a:gd name="connsiteX3" fmla="*/ 5116 w 10000"/>
                <a:gd name="connsiteY3" fmla="*/ 3714 h 10000"/>
                <a:gd name="connsiteX4" fmla="*/ 1395 w 10000"/>
                <a:gd name="connsiteY4" fmla="*/ 6857 h 10000"/>
                <a:gd name="connsiteX5" fmla="*/ 1395 w 10000"/>
                <a:gd name="connsiteY5" fmla="*/ 7429 h 10000"/>
                <a:gd name="connsiteX6" fmla="*/ 0 w 10000"/>
                <a:gd name="connsiteY6" fmla="*/ 7571 h 10000"/>
                <a:gd name="connsiteX7" fmla="*/ 0 w 10000"/>
                <a:gd name="connsiteY7" fmla="*/ 9143 h 10000"/>
                <a:gd name="connsiteX8" fmla="*/ 465 w 10000"/>
                <a:gd name="connsiteY8" fmla="*/ 9714 h 10000"/>
                <a:gd name="connsiteX9" fmla="*/ 1395 w 10000"/>
                <a:gd name="connsiteY9" fmla="*/ 9714 h 10000"/>
                <a:gd name="connsiteX10" fmla="*/ 1860 w 10000"/>
                <a:gd name="connsiteY10" fmla="*/ 9857 h 10000"/>
                <a:gd name="connsiteX11" fmla="*/ 1628 w 10000"/>
                <a:gd name="connsiteY11" fmla="*/ 9857 h 10000"/>
                <a:gd name="connsiteX12" fmla="*/ 2093 w 10000"/>
                <a:gd name="connsiteY12" fmla="*/ 10000 h 10000"/>
                <a:gd name="connsiteX13" fmla="*/ 2558 w 10000"/>
                <a:gd name="connsiteY13" fmla="*/ 9857 h 10000"/>
                <a:gd name="connsiteX14" fmla="*/ 3488 w 10000"/>
                <a:gd name="connsiteY14" fmla="*/ 10000 h 10000"/>
                <a:gd name="connsiteX15" fmla="*/ 4186 w 10000"/>
                <a:gd name="connsiteY15" fmla="*/ 9571 h 10000"/>
                <a:gd name="connsiteX16" fmla="*/ 5116 w 10000"/>
                <a:gd name="connsiteY16" fmla="*/ 9000 h 10000"/>
                <a:gd name="connsiteX17" fmla="*/ 5814 w 10000"/>
                <a:gd name="connsiteY17" fmla="*/ 8857 h 10000"/>
                <a:gd name="connsiteX18" fmla="*/ 5581 w 10000"/>
                <a:gd name="connsiteY18" fmla="*/ 8857 h 10000"/>
                <a:gd name="connsiteX19" fmla="*/ 5581 w 10000"/>
                <a:gd name="connsiteY19" fmla="*/ 8714 h 10000"/>
                <a:gd name="connsiteX20" fmla="*/ 7674 w 10000"/>
                <a:gd name="connsiteY20" fmla="*/ 8143 h 10000"/>
                <a:gd name="connsiteX21" fmla="*/ 8605 w 10000"/>
                <a:gd name="connsiteY21" fmla="*/ 8429 h 10000"/>
                <a:gd name="connsiteX22" fmla="*/ 9070 w 10000"/>
                <a:gd name="connsiteY22" fmla="*/ 8857 h 10000"/>
                <a:gd name="connsiteX23" fmla="*/ 9302 w 10000"/>
                <a:gd name="connsiteY23" fmla="*/ 9143 h 10000"/>
                <a:gd name="connsiteX24" fmla="*/ 10000 w 10000"/>
                <a:gd name="connsiteY24" fmla="*/ 8857 h 10000"/>
                <a:gd name="connsiteX25" fmla="*/ 10000 w 10000"/>
                <a:gd name="connsiteY25" fmla="*/ 8429 h 10000"/>
                <a:gd name="connsiteX26" fmla="*/ 9302 w 10000"/>
                <a:gd name="connsiteY26" fmla="*/ 7714 h 10000"/>
                <a:gd name="connsiteX27" fmla="*/ 9302 w 10000"/>
                <a:gd name="connsiteY27" fmla="*/ 7000 h 10000"/>
                <a:gd name="connsiteX28" fmla="*/ 9535 w 10000"/>
                <a:gd name="connsiteY28" fmla="*/ 7000 h 10000"/>
                <a:gd name="connsiteX29" fmla="*/ 9070 w 10000"/>
                <a:gd name="connsiteY29" fmla="*/ 6286 h 10000"/>
                <a:gd name="connsiteX30" fmla="*/ 8837 w 10000"/>
                <a:gd name="connsiteY30" fmla="*/ 6000 h 10000"/>
                <a:gd name="connsiteX31" fmla="*/ 7674 w 10000"/>
                <a:gd name="connsiteY31" fmla="*/ 5857 h 10000"/>
                <a:gd name="connsiteX32" fmla="*/ 6512 w 10000"/>
                <a:gd name="connsiteY32" fmla="*/ 5571 h 10000"/>
                <a:gd name="connsiteX33" fmla="*/ 6047 w 10000"/>
                <a:gd name="connsiteY33" fmla="*/ 4857 h 10000"/>
                <a:gd name="connsiteX34" fmla="*/ 5581 w 10000"/>
                <a:gd name="connsiteY34" fmla="*/ 3714 h 10000"/>
                <a:gd name="connsiteX35" fmla="*/ 6047 w 10000"/>
                <a:gd name="connsiteY35" fmla="*/ 3286 h 10000"/>
                <a:gd name="connsiteX36" fmla="*/ 5814 w 10000"/>
                <a:gd name="connsiteY36" fmla="*/ 2286 h 10000"/>
                <a:gd name="connsiteX37" fmla="*/ 6977 w 10000"/>
                <a:gd name="connsiteY37" fmla="*/ 2286 h 10000"/>
                <a:gd name="connsiteX38" fmla="*/ 7442 w 10000"/>
                <a:gd name="connsiteY38" fmla="*/ 2857 h 10000"/>
                <a:gd name="connsiteX39" fmla="*/ 8372 w 10000"/>
                <a:gd name="connsiteY39" fmla="*/ 2857 h 10000"/>
                <a:gd name="connsiteX40" fmla="*/ 8372 w 10000"/>
                <a:gd name="connsiteY40" fmla="*/ 2429 h 10000"/>
                <a:gd name="connsiteX41" fmla="*/ 8605 w 10000"/>
                <a:gd name="connsiteY41" fmla="*/ 2143 h 10000"/>
                <a:gd name="connsiteX42" fmla="*/ 8837 w 10000"/>
                <a:gd name="connsiteY42" fmla="*/ 2286 h 10000"/>
                <a:gd name="connsiteX43" fmla="*/ 8605 w 10000"/>
                <a:gd name="connsiteY43" fmla="*/ 1429 h 10000"/>
                <a:gd name="connsiteX44" fmla="*/ 9070 w 10000"/>
                <a:gd name="connsiteY44" fmla="*/ 857 h 10000"/>
                <a:gd name="connsiteX45" fmla="*/ 9070 w 10000"/>
                <a:gd name="connsiteY45" fmla="*/ 286 h 10000"/>
                <a:gd name="connsiteX46" fmla="*/ 8605 w 10000"/>
                <a:gd name="connsiteY46" fmla="*/ 0 h 10000"/>
                <a:gd name="connsiteX47" fmla="*/ 8140 w 10000"/>
                <a:gd name="connsiteY47" fmla="*/ 0 h 10000"/>
                <a:gd name="connsiteX48" fmla="*/ 6512 w 10000"/>
                <a:gd name="connsiteY48" fmla="*/ 143 h 10000"/>
                <a:gd name="connsiteX49" fmla="*/ 6279 w 10000"/>
                <a:gd name="connsiteY49" fmla="*/ 0 h 10000"/>
                <a:gd name="connsiteX50" fmla="*/ 6279 w 10000"/>
                <a:gd name="connsiteY50" fmla="*/ 714 h 10000"/>
                <a:gd name="connsiteX51" fmla="*/ 6279 w 10000"/>
                <a:gd name="connsiteY51" fmla="*/ 857 h 10000"/>
                <a:gd name="connsiteX0" fmla="*/ 6279 w 10000"/>
                <a:gd name="connsiteY0" fmla="*/ 857 h 10000"/>
                <a:gd name="connsiteX1" fmla="*/ 5349 w 10000"/>
                <a:gd name="connsiteY1" fmla="*/ 1857 h 10000"/>
                <a:gd name="connsiteX2" fmla="*/ 4884 w 10000"/>
                <a:gd name="connsiteY2" fmla="*/ 2857 h 10000"/>
                <a:gd name="connsiteX3" fmla="*/ 5116 w 10000"/>
                <a:gd name="connsiteY3" fmla="*/ 3714 h 10000"/>
                <a:gd name="connsiteX4" fmla="*/ 1395 w 10000"/>
                <a:gd name="connsiteY4" fmla="*/ 7429 h 10000"/>
                <a:gd name="connsiteX5" fmla="*/ 0 w 10000"/>
                <a:gd name="connsiteY5" fmla="*/ 7571 h 10000"/>
                <a:gd name="connsiteX6" fmla="*/ 0 w 10000"/>
                <a:gd name="connsiteY6" fmla="*/ 9143 h 10000"/>
                <a:gd name="connsiteX7" fmla="*/ 465 w 10000"/>
                <a:gd name="connsiteY7" fmla="*/ 9714 h 10000"/>
                <a:gd name="connsiteX8" fmla="*/ 1395 w 10000"/>
                <a:gd name="connsiteY8" fmla="*/ 9714 h 10000"/>
                <a:gd name="connsiteX9" fmla="*/ 1860 w 10000"/>
                <a:gd name="connsiteY9" fmla="*/ 9857 h 10000"/>
                <a:gd name="connsiteX10" fmla="*/ 1628 w 10000"/>
                <a:gd name="connsiteY10" fmla="*/ 9857 h 10000"/>
                <a:gd name="connsiteX11" fmla="*/ 2093 w 10000"/>
                <a:gd name="connsiteY11" fmla="*/ 10000 h 10000"/>
                <a:gd name="connsiteX12" fmla="*/ 2558 w 10000"/>
                <a:gd name="connsiteY12" fmla="*/ 9857 h 10000"/>
                <a:gd name="connsiteX13" fmla="*/ 3488 w 10000"/>
                <a:gd name="connsiteY13" fmla="*/ 10000 h 10000"/>
                <a:gd name="connsiteX14" fmla="*/ 4186 w 10000"/>
                <a:gd name="connsiteY14" fmla="*/ 9571 h 10000"/>
                <a:gd name="connsiteX15" fmla="*/ 5116 w 10000"/>
                <a:gd name="connsiteY15" fmla="*/ 9000 h 10000"/>
                <a:gd name="connsiteX16" fmla="*/ 5814 w 10000"/>
                <a:gd name="connsiteY16" fmla="*/ 8857 h 10000"/>
                <a:gd name="connsiteX17" fmla="*/ 5581 w 10000"/>
                <a:gd name="connsiteY17" fmla="*/ 8857 h 10000"/>
                <a:gd name="connsiteX18" fmla="*/ 5581 w 10000"/>
                <a:gd name="connsiteY18" fmla="*/ 8714 h 10000"/>
                <a:gd name="connsiteX19" fmla="*/ 7674 w 10000"/>
                <a:gd name="connsiteY19" fmla="*/ 8143 h 10000"/>
                <a:gd name="connsiteX20" fmla="*/ 8605 w 10000"/>
                <a:gd name="connsiteY20" fmla="*/ 8429 h 10000"/>
                <a:gd name="connsiteX21" fmla="*/ 9070 w 10000"/>
                <a:gd name="connsiteY21" fmla="*/ 8857 h 10000"/>
                <a:gd name="connsiteX22" fmla="*/ 9302 w 10000"/>
                <a:gd name="connsiteY22" fmla="*/ 9143 h 10000"/>
                <a:gd name="connsiteX23" fmla="*/ 10000 w 10000"/>
                <a:gd name="connsiteY23" fmla="*/ 8857 h 10000"/>
                <a:gd name="connsiteX24" fmla="*/ 10000 w 10000"/>
                <a:gd name="connsiteY24" fmla="*/ 8429 h 10000"/>
                <a:gd name="connsiteX25" fmla="*/ 9302 w 10000"/>
                <a:gd name="connsiteY25" fmla="*/ 7714 h 10000"/>
                <a:gd name="connsiteX26" fmla="*/ 9302 w 10000"/>
                <a:gd name="connsiteY26" fmla="*/ 7000 h 10000"/>
                <a:gd name="connsiteX27" fmla="*/ 9535 w 10000"/>
                <a:gd name="connsiteY27" fmla="*/ 7000 h 10000"/>
                <a:gd name="connsiteX28" fmla="*/ 9070 w 10000"/>
                <a:gd name="connsiteY28" fmla="*/ 6286 h 10000"/>
                <a:gd name="connsiteX29" fmla="*/ 8837 w 10000"/>
                <a:gd name="connsiteY29" fmla="*/ 6000 h 10000"/>
                <a:gd name="connsiteX30" fmla="*/ 7674 w 10000"/>
                <a:gd name="connsiteY30" fmla="*/ 5857 h 10000"/>
                <a:gd name="connsiteX31" fmla="*/ 6512 w 10000"/>
                <a:gd name="connsiteY31" fmla="*/ 5571 h 10000"/>
                <a:gd name="connsiteX32" fmla="*/ 6047 w 10000"/>
                <a:gd name="connsiteY32" fmla="*/ 4857 h 10000"/>
                <a:gd name="connsiteX33" fmla="*/ 5581 w 10000"/>
                <a:gd name="connsiteY33" fmla="*/ 3714 h 10000"/>
                <a:gd name="connsiteX34" fmla="*/ 6047 w 10000"/>
                <a:gd name="connsiteY34" fmla="*/ 3286 h 10000"/>
                <a:gd name="connsiteX35" fmla="*/ 5814 w 10000"/>
                <a:gd name="connsiteY35" fmla="*/ 2286 h 10000"/>
                <a:gd name="connsiteX36" fmla="*/ 6977 w 10000"/>
                <a:gd name="connsiteY36" fmla="*/ 2286 h 10000"/>
                <a:gd name="connsiteX37" fmla="*/ 7442 w 10000"/>
                <a:gd name="connsiteY37" fmla="*/ 2857 h 10000"/>
                <a:gd name="connsiteX38" fmla="*/ 8372 w 10000"/>
                <a:gd name="connsiteY38" fmla="*/ 2857 h 10000"/>
                <a:gd name="connsiteX39" fmla="*/ 8372 w 10000"/>
                <a:gd name="connsiteY39" fmla="*/ 2429 h 10000"/>
                <a:gd name="connsiteX40" fmla="*/ 8605 w 10000"/>
                <a:gd name="connsiteY40" fmla="*/ 2143 h 10000"/>
                <a:gd name="connsiteX41" fmla="*/ 8837 w 10000"/>
                <a:gd name="connsiteY41" fmla="*/ 2286 h 10000"/>
                <a:gd name="connsiteX42" fmla="*/ 8605 w 10000"/>
                <a:gd name="connsiteY42" fmla="*/ 1429 h 10000"/>
                <a:gd name="connsiteX43" fmla="*/ 9070 w 10000"/>
                <a:gd name="connsiteY43" fmla="*/ 857 h 10000"/>
                <a:gd name="connsiteX44" fmla="*/ 9070 w 10000"/>
                <a:gd name="connsiteY44" fmla="*/ 286 h 10000"/>
                <a:gd name="connsiteX45" fmla="*/ 8605 w 10000"/>
                <a:gd name="connsiteY45" fmla="*/ 0 h 10000"/>
                <a:gd name="connsiteX46" fmla="*/ 8140 w 10000"/>
                <a:gd name="connsiteY46" fmla="*/ 0 h 10000"/>
                <a:gd name="connsiteX47" fmla="*/ 6512 w 10000"/>
                <a:gd name="connsiteY47" fmla="*/ 143 h 10000"/>
                <a:gd name="connsiteX48" fmla="*/ 6279 w 10000"/>
                <a:gd name="connsiteY48" fmla="*/ 0 h 10000"/>
                <a:gd name="connsiteX49" fmla="*/ 6279 w 10000"/>
                <a:gd name="connsiteY49" fmla="*/ 714 h 10000"/>
                <a:gd name="connsiteX50" fmla="*/ 6279 w 10000"/>
                <a:gd name="connsiteY50" fmla="*/ 857 h 10000"/>
                <a:gd name="connsiteX0" fmla="*/ 6658 w 10379"/>
                <a:gd name="connsiteY0" fmla="*/ 857 h 10000"/>
                <a:gd name="connsiteX1" fmla="*/ 5728 w 10379"/>
                <a:gd name="connsiteY1" fmla="*/ 1857 h 10000"/>
                <a:gd name="connsiteX2" fmla="*/ 5263 w 10379"/>
                <a:gd name="connsiteY2" fmla="*/ 2857 h 10000"/>
                <a:gd name="connsiteX3" fmla="*/ 5495 w 10379"/>
                <a:gd name="connsiteY3" fmla="*/ 3714 h 10000"/>
                <a:gd name="connsiteX4" fmla="*/ 379 w 10379"/>
                <a:gd name="connsiteY4" fmla="*/ 7571 h 10000"/>
                <a:gd name="connsiteX5" fmla="*/ 379 w 10379"/>
                <a:gd name="connsiteY5" fmla="*/ 9143 h 10000"/>
                <a:gd name="connsiteX6" fmla="*/ 844 w 10379"/>
                <a:gd name="connsiteY6" fmla="*/ 9714 h 10000"/>
                <a:gd name="connsiteX7" fmla="*/ 1774 w 10379"/>
                <a:gd name="connsiteY7" fmla="*/ 9714 h 10000"/>
                <a:gd name="connsiteX8" fmla="*/ 2239 w 10379"/>
                <a:gd name="connsiteY8" fmla="*/ 9857 h 10000"/>
                <a:gd name="connsiteX9" fmla="*/ 2007 w 10379"/>
                <a:gd name="connsiteY9" fmla="*/ 9857 h 10000"/>
                <a:gd name="connsiteX10" fmla="*/ 2472 w 10379"/>
                <a:gd name="connsiteY10" fmla="*/ 10000 h 10000"/>
                <a:gd name="connsiteX11" fmla="*/ 2937 w 10379"/>
                <a:gd name="connsiteY11" fmla="*/ 9857 h 10000"/>
                <a:gd name="connsiteX12" fmla="*/ 3867 w 10379"/>
                <a:gd name="connsiteY12" fmla="*/ 10000 h 10000"/>
                <a:gd name="connsiteX13" fmla="*/ 4565 w 10379"/>
                <a:gd name="connsiteY13" fmla="*/ 9571 h 10000"/>
                <a:gd name="connsiteX14" fmla="*/ 5495 w 10379"/>
                <a:gd name="connsiteY14" fmla="*/ 9000 h 10000"/>
                <a:gd name="connsiteX15" fmla="*/ 6193 w 10379"/>
                <a:gd name="connsiteY15" fmla="*/ 8857 h 10000"/>
                <a:gd name="connsiteX16" fmla="*/ 5960 w 10379"/>
                <a:gd name="connsiteY16" fmla="*/ 8857 h 10000"/>
                <a:gd name="connsiteX17" fmla="*/ 5960 w 10379"/>
                <a:gd name="connsiteY17" fmla="*/ 8714 h 10000"/>
                <a:gd name="connsiteX18" fmla="*/ 8053 w 10379"/>
                <a:gd name="connsiteY18" fmla="*/ 8143 h 10000"/>
                <a:gd name="connsiteX19" fmla="*/ 8984 w 10379"/>
                <a:gd name="connsiteY19" fmla="*/ 8429 h 10000"/>
                <a:gd name="connsiteX20" fmla="*/ 9449 w 10379"/>
                <a:gd name="connsiteY20" fmla="*/ 8857 h 10000"/>
                <a:gd name="connsiteX21" fmla="*/ 9681 w 10379"/>
                <a:gd name="connsiteY21" fmla="*/ 9143 h 10000"/>
                <a:gd name="connsiteX22" fmla="*/ 10379 w 10379"/>
                <a:gd name="connsiteY22" fmla="*/ 8857 h 10000"/>
                <a:gd name="connsiteX23" fmla="*/ 10379 w 10379"/>
                <a:gd name="connsiteY23" fmla="*/ 8429 h 10000"/>
                <a:gd name="connsiteX24" fmla="*/ 9681 w 10379"/>
                <a:gd name="connsiteY24" fmla="*/ 7714 h 10000"/>
                <a:gd name="connsiteX25" fmla="*/ 9681 w 10379"/>
                <a:gd name="connsiteY25" fmla="*/ 7000 h 10000"/>
                <a:gd name="connsiteX26" fmla="*/ 9914 w 10379"/>
                <a:gd name="connsiteY26" fmla="*/ 7000 h 10000"/>
                <a:gd name="connsiteX27" fmla="*/ 9449 w 10379"/>
                <a:gd name="connsiteY27" fmla="*/ 6286 h 10000"/>
                <a:gd name="connsiteX28" fmla="*/ 9216 w 10379"/>
                <a:gd name="connsiteY28" fmla="*/ 6000 h 10000"/>
                <a:gd name="connsiteX29" fmla="*/ 8053 w 10379"/>
                <a:gd name="connsiteY29" fmla="*/ 5857 h 10000"/>
                <a:gd name="connsiteX30" fmla="*/ 6891 w 10379"/>
                <a:gd name="connsiteY30" fmla="*/ 5571 h 10000"/>
                <a:gd name="connsiteX31" fmla="*/ 6426 w 10379"/>
                <a:gd name="connsiteY31" fmla="*/ 4857 h 10000"/>
                <a:gd name="connsiteX32" fmla="*/ 5960 w 10379"/>
                <a:gd name="connsiteY32" fmla="*/ 3714 h 10000"/>
                <a:gd name="connsiteX33" fmla="*/ 6426 w 10379"/>
                <a:gd name="connsiteY33" fmla="*/ 3286 h 10000"/>
                <a:gd name="connsiteX34" fmla="*/ 6193 w 10379"/>
                <a:gd name="connsiteY34" fmla="*/ 2286 h 10000"/>
                <a:gd name="connsiteX35" fmla="*/ 7356 w 10379"/>
                <a:gd name="connsiteY35" fmla="*/ 2286 h 10000"/>
                <a:gd name="connsiteX36" fmla="*/ 7821 w 10379"/>
                <a:gd name="connsiteY36" fmla="*/ 2857 h 10000"/>
                <a:gd name="connsiteX37" fmla="*/ 8751 w 10379"/>
                <a:gd name="connsiteY37" fmla="*/ 2857 h 10000"/>
                <a:gd name="connsiteX38" fmla="*/ 8751 w 10379"/>
                <a:gd name="connsiteY38" fmla="*/ 2429 h 10000"/>
                <a:gd name="connsiteX39" fmla="*/ 8984 w 10379"/>
                <a:gd name="connsiteY39" fmla="*/ 2143 h 10000"/>
                <a:gd name="connsiteX40" fmla="*/ 9216 w 10379"/>
                <a:gd name="connsiteY40" fmla="*/ 2286 h 10000"/>
                <a:gd name="connsiteX41" fmla="*/ 8984 w 10379"/>
                <a:gd name="connsiteY41" fmla="*/ 1429 h 10000"/>
                <a:gd name="connsiteX42" fmla="*/ 9449 w 10379"/>
                <a:gd name="connsiteY42" fmla="*/ 857 h 10000"/>
                <a:gd name="connsiteX43" fmla="*/ 9449 w 10379"/>
                <a:gd name="connsiteY43" fmla="*/ 286 h 10000"/>
                <a:gd name="connsiteX44" fmla="*/ 8984 w 10379"/>
                <a:gd name="connsiteY44" fmla="*/ 0 h 10000"/>
                <a:gd name="connsiteX45" fmla="*/ 8519 w 10379"/>
                <a:gd name="connsiteY45" fmla="*/ 0 h 10000"/>
                <a:gd name="connsiteX46" fmla="*/ 6891 w 10379"/>
                <a:gd name="connsiteY46" fmla="*/ 143 h 10000"/>
                <a:gd name="connsiteX47" fmla="*/ 6658 w 10379"/>
                <a:gd name="connsiteY47" fmla="*/ 0 h 10000"/>
                <a:gd name="connsiteX48" fmla="*/ 6658 w 10379"/>
                <a:gd name="connsiteY48" fmla="*/ 714 h 10000"/>
                <a:gd name="connsiteX49" fmla="*/ 6658 w 10379"/>
                <a:gd name="connsiteY49" fmla="*/ 857 h 10000"/>
                <a:gd name="connsiteX0" fmla="*/ 6556 w 10277"/>
                <a:gd name="connsiteY0" fmla="*/ 857 h 10000"/>
                <a:gd name="connsiteX1" fmla="*/ 5626 w 10277"/>
                <a:gd name="connsiteY1" fmla="*/ 1857 h 10000"/>
                <a:gd name="connsiteX2" fmla="*/ 5161 w 10277"/>
                <a:gd name="connsiteY2" fmla="*/ 2857 h 10000"/>
                <a:gd name="connsiteX3" fmla="*/ 5393 w 10277"/>
                <a:gd name="connsiteY3" fmla="*/ 3714 h 10000"/>
                <a:gd name="connsiteX4" fmla="*/ 277 w 10277"/>
                <a:gd name="connsiteY4" fmla="*/ 9143 h 10000"/>
                <a:gd name="connsiteX5" fmla="*/ 742 w 10277"/>
                <a:gd name="connsiteY5" fmla="*/ 9714 h 10000"/>
                <a:gd name="connsiteX6" fmla="*/ 1672 w 10277"/>
                <a:gd name="connsiteY6" fmla="*/ 9714 h 10000"/>
                <a:gd name="connsiteX7" fmla="*/ 2137 w 10277"/>
                <a:gd name="connsiteY7" fmla="*/ 9857 h 10000"/>
                <a:gd name="connsiteX8" fmla="*/ 1905 w 10277"/>
                <a:gd name="connsiteY8" fmla="*/ 9857 h 10000"/>
                <a:gd name="connsiteX9" fmla="*/ 2370 w 10277"/>
                <a:gd name="connsiteY9" fmla="*/ 10000 h 10000"/>
                <a:gd name="connsiteX10" fmla="*/ 2835 w 10277"/>
                <a:gd name="connsiteY10" fmla="*/ 9857 h 10000"/>
                <a:gd name="connsiteX11" fmla="*/ 3765 w 10277"/>
                <a:gd name="connsiteY11" fmla="*/ 10000 h 10000"/>
                <a:gd name="connsiteX12" fmla="*/ 4463 w 10277"/>
                <a:gd name="connsiteY12" fmla="*/ 9571 h 10000"/>
                <a:gd name="connsiteX13" fmla="*/ 5393 w 10277"/>
                <a:gd name="connsiteY13" fmla="*/ 9000 h 10000"/>
                <a:gd name="connsiteX14" fmla="*/ 6091 w 10277"/>
                <a:gd name="connsiteY14" fmla="*/ 8857 h 10000"/>
                <a:gd name="connsiteX15" fmla="*/ 5858 w 10277"/>
                <a:gd name="connsiteY15" fmla="*/ 8857 h 10000"/>
                <a:gd name="connsiteX16" fmla="*/ 5858 w 10277"/>
                <a:gd name="connsiteY16" fmla="*/ 8714 h 10000"/>
                <a:gd name="connsiteX17" fmla="*/ 7951 w 10277"/>
                <a:gd name="connsiteY17" fmla="*/ 8143 h 10000"/>
                <a:gd name="connsiteX18" fmla="*/ 8882 w 10277"/>
                <a:gd name="connsiteY18" fmla="*/ 8429 h 10000"/>
                <a:gd name="connsiteX19" fmla="*/ 9347 w 10277"/>
                <a:gd name="connsiteY19" fmla="*/ 8857 h 10000"/>
                <a:gd name="connsiteX20" fmla="*/ 9579 w 10277"/>
                <a:gd name="connsiteY20" fmla="*/ 9143 h 10000"/>
                <a:gd name="connsiteX21" fmla="*/ 10277 w 10277"/>
                <a:gd name="connsiteY21" fmla="*/ 8857 h 10000"/>
                <a:gd name="connsiteX22" fmla="*/ 10277 w 10277"/>
                <a:gd name="connsiteY22" fmla="*/ 8429 h 10000"/>
                <a:gd name="connsiteX23" fmla="*/ 9579 w 10277"/>
                <a:gd name="connsiteY23" fmla="*/ 7714 h 10000"/>
                <a:gd name="connsiteX24" fmla="*/ 9579 w 10277"/>
                <a:gd name="connsiteY24" fmla="*/ 7000 h 10000"/>
                <a:gd name="connsiteX25" fmla="*/ 9812 w 10277"/>
                <a:gd name="connsiteY25" fmla="*/ 7000 h 10000"/>
                <a:gd name="connsiteX26" fmla="*/ 9347 w 10277"/>
                <a:gd name="connsiteY26" fmla="*/ 6286 h 10000"/>
                <a:gd name="connsiteX27" fmla="*/ 9114 w 10277"/>
                <a:gd name="connsiteY27" fmla="*/ 6000 h 10000"/>
                <a:gd name="connsiteX28" fmla="*/ 7951 w 10277"/>
                <a:gd name="connsiteY28" fmla="*/ 5857 h 10000"/>
                <a:gd name="connsiteX29" fmla="*/ 6789 w 10277"/>
                <a:gd name="connsiteY29" fmla="*/ 5571 h 10000"/>
                <a:gd name="connsiteX30" fmla="*/ 6324 w 10277"/>
                <a:gd name="connsiteY30" fmla="*/ 4857 h 10000"/>
                <a:gd name="connsiteX31" fmla="*/ 5858 w 10277"/>
                <a:gd name="connsiteY31" fmla="*/ 3714 h 10000"/>
                <a:gd name="connsiteX32" fmla="*/ 6324 w 10277"/>
                <a:gd name="connsiteY32" fmla="*/ 3286 h 10000"/>
                <a:gd name="connsiteX33" fmla="*/ 6091 w 10277"/>
                <a:gd name="connsiteY33" fmla="*/ 2286 h 10000"/>
                <a:gd name="connsiteX34" fmla="*/ 7254 w 10277"/>
                <a:gd name="connsiteY34" fmla="*/ 2286 h 10000"/>
                <a:gd name="connsiteX35" fmla="*/ 7719 w 10277"/>
                <a:gd name="connsiteY35" fmla="*/ 2857 h 10000"/>
                <a:gd name="connsiteX36" fmla="*/ 8649 w 10277"/>
                <a:gd name="connsiteY36" fmla="*/ 2857 h 10000"/>
                <a:gd name="connsiteX37" fmla="*/ 8649 w 10277"/>
                <a:gd name="connsiteY37" fmla="*/ 2429 h 10000"/>
                <a:gd name="connsiteX38" fmla="*/ 8882 w 10277"/>
                <a:gd name="connsiteY38" fmla="*/ 2143 h 10000"/>
                <a:gd name="connsiteX39" fmla="*/ 9114 w 10277"/>
                <a:gd name="connsiteY39" fmla="*/ 2286 h 10000"/>
                <a:gd name="connsiteX40" fmla="*/ 8882 w 10277"/>
                <a:gd name="connsiteY40" fmla="*/ 1429 h 10000"/>
                <a:gd name="connsiteX41" fmla="*/ 9347 w 10277"/>
                <a:gd name="connsiteY41" fmla="*/ 857 h 10000"/>
                <a:gd name="connsiteX42" fmla="*/ 9347 w 10277"/>
                <a:gd name="connsiteY42" fmla="*/ 286 h 10000"/>
                <a:gd name="connsiteX43" fmla="*/ 8882 w 10277"/>
                <a:gd name="connsiteY43" fmla="*/ 0 h 10000"/>
                <a:gd name="connsiteX44" fmla="*/ 8417 w 10277"/>
                <a:gd name="connsiteY44" fmla="*/ 0 h 10000"/>
                <a:gd name="connsiteX45" fmla="*/ 6789 w 10277"/>
                <a:gd name="connsiteY45" fmla="*/ 143 h 10000"/>
                <a:gd name="connsiteX46" fmla="*/ 6556 w 10277"/>
                <a:gd name="connsiteY46" fmla="*/ 0 h 10000"/>
                <a:gd name="connsiteX47" fmla="*/ 6556 w 10277"/>
                <a:gd name="connsiteY47" fmla="*/ 714 h 10000"/>
                <a:gd name="connsiteX48" fmla="*/ 6556 w 10277"/>
                <a:gd name="connsiteY48" fmla="*/ 857 h 10000"/>
                <a:gd name="connsiteX0" fmla="*/ 5986 w 9707"/>
                <a:gd name="connsiteY0" fmla="*/ 857 h 10158"/>
                <a:gd name="connsiteX1" fmla="*/ 5056 w 9707"/>
                <a:gd name="connsiteY1" fmla="*/ 1857 h 10158"/>
                <a:gd name="connsiteX2" fmla="*/ 4591 w 9707"/>
                <a:gd name="connsiteY2" fmla="*/ 2857 h 10158"/>
                <a:gd name="connsiteX3" fmla="*/ 4823 w 9707"/>
                <a:gd name="connsiteY3" fmla="*/ 3714 h 10158"/>
                <a:gd name="connsiteX4" fmla="*/ 172 w 9707"/>
                <a:gd name="connsiteY4" fmla="*/ 9714 h 10158"/>
                <a:gd name="connsiteX5" fmla="*/ 1102 w 9707"/>
                <a:gd name="connsiteY5" fmla="*/ 9714 h 10158"/>
                <a:gd name="connsiteX6" fmla="*/ 1567 w 9707"/>
                <a:gd name="connsiteY6" fmla="*/ 9857 h 10158"/>
                <a:gd name="connsiteX7" fmla="*/ 1335 w 9707"/>
                <a:gd name="connsiteY7" fmla="*/ 9857 h 10158"/>
                <a:gd name="connsiteX8" fmla="*/ 1800 w 9707"/>
                <a:gd name="connsiteY8" fmla="*/ 10000 h 10158"/>
                <a:gd name="connsiteX9" fmla="*/ 2265 w 9707"/>
                <a:gd name="connsiteY9" fmla="*/ 9857 h 10158"/>
                <a:gd name="connsiteX10" fmla="*/ 3195 w 9707"/>
                <a:gd name="connsiteY10" fmla="*/ 10000 h 10158"/>
                <a:gd name="connsiteX11" fmla="*/ 3893 w 9707"/>
                <a:gd name="connsiteY11" fmla="*/ 9571 h 10158"/>
                <a:gd name="connsiteX12" fmla="*/ 4823 w 9707"/>
                <a:gd name="connsiteY12" fmla="*/ 9000 h 10158"/>
                <a:gd name="connsiteX13" fmla="*/ 5521 w 9707"/>
                <a:gd name="connsiteY13" fmla="*/ 8857 h 10158"/>
                <a:gd name="connsiteX14" fmla="*/ 5288 w 9707"/>
                <a:gd name="connsiteY14" fmla="*/ 8857 h 10158"/>
                <a:gd name="connsiteX15" fmla="*/ 5288 w 9707"/>
                <a:gd name="connsiteY15" fmla="*/ 8714 h 10158"/>
                <a:gd name="connsiteX16" fmla="*/ 7381 w 9707"/>
                <a:gd name="connsiteY16" fmla="*/ 8143 h 10158"/>
                <a:gd name="connsiteX17" fmla="*/ 8312 w 9707"/>
                <a:gd name="connsiteY17" fmla="*/ 8429 h 10158"/>
                <a:gd name="connsiteX18" fmla="*/ 8777 w 9707"/>
                <a:gd name="connsiteY18" fmla="*/ 8857 h 10158"/>
                <a:gd name="connsiteX19" fmla="*/ 9009 w 9707"/>
                <a:gd name="connsiteY19" fmla="*/ 9143 h 10158"/>
                <a:gd name="connsiteX20" fmla="*/ 9707 w 9707"/>
                <a:gd name="connsiteY20" fmla="*/ 8857 h 10158"/>
                <a:gd name="connsiteX21" fmla="*/ 9707 w 9707"/>
                <a:gd name="connsiteY21" fmla="*/ 8429 h 10158"/>
                <a:gd name="connsiteX22" fmla="*/ 9009 w 9707"/>
                <a:gd name="connsiteY22" fmla="*/ 7714 h 10158"/>
                <a:gd name="connsiteX23" fmla="*/ 9009 w 9707"/>
                <a:gd name="connsiteY23" fmla="*/ 7000 h 10158"/>
                <a:gd name="connsiteX24" fmla="*/ 9242 w 9707"/>
                <a:gd name="connsiteY24" fmla="*/ 7000 h 10158"/>
                <a:gd name="connsiteX25" fmla="*/ 8777 w 9707"/>
                <a:gd name="connsiteY25" fmla="*/ 6286 h 10158"/>
                <a:gd name="connsiteX26" fmla="*/ 8544 w 9707"/>
                <a:gd name="connsiteY26" fmla="*/ 6000 h 10158"/>
                <a:gd name="connsiteX27" fmla="*/ 7381 w 9707"/>
                <a:gd name="connsiteY27" fmla="*/ 5857 h 10158"/>
                <a:gd name="connsiteX28" fmla="*/ 6219 w 9707"/>
                <a:gd name="connsiteY28" fmla="*/ 5571 h 10158"/>
                <a:gd name="connsiteX29" fmla="*/ 5754 w 9707"/>
                <a:gd name="connsiteY29" fmla="*/ 4857 h 10158"/>
                <a:gd name="connsiteX30" fmla="*/ 5288 w 9707"/>
                <a:gd name="connsiteY30" fmla="*/ 3714 h 10158"/>
                <a:gd name="connsiteX31" fmla="*/ 5754 w 9707"/>
                <a:gd name="connsiteY31" fmla="*/ 3286 h 10158"/>
                <a:gd name="connsiteX32" fmla="*/ 5521 w 9707"/>
                <a:gd name="connsiteY32" fmla="*/ 2286 h 10158"/>
                <a:gd name="connsiteX33" fmla="*/ 6684 w 9707"/>
                <a:gd name="connsiteY33" fmla="*/ 2286 h 10158"/>
                <a:gd name="connsiteX34" fmla="*/ 7149 w 9707"/>
                <a:gd name="connsiteY34" fmla="*/ 2857 h 10158"/>
                <a:gd name="connsiteX35" fmla="*/ 8079 w 9707"/>
                <a:gd name="connsiteY35" fmla="*/ 2857 h 10158"/>
                <a:gd name="connsiteX36" fmla="*/ 8079 w 9707"/>
                <a:gd name="connsiteY36" fmla="*/ 2429 h 10158"/>
                <a:gd name="connsiteX37" fmla="*/ 8312 w 9707"/>
                <a:gd name="connsiteY37" fmla="*/ 2143 h 10158"/>
                <a:gd name="connsiteX38" fmla="*/ 8544 w 9707"/>
                <a:gd name="connsiteY38" fmla="*/ 2286 h 10158"/>
                <a:gd name="connsiteX39" fmla="*/ 8312 w 9707"/>
                <a:gd name="connsiteY39" fmla="*/ 1429 h 10158"/>
                <a:gd name="connsiteX40" fmla="*/ 8777 w 9707"/>
                <a:gd name="connsiteY40" fmla="*/ 857 h 10158"/>
                <a:gd name="connsiteX41" fmla="*/ 8777 w 9707"/>
                <a:gd name="connsiteY41" fmla="*/ 286 h 10158"/>
                <a:gd name="connsiteX42" fmla="*/ 8312 w 9707"/>
                <a:gd name="connsiteY42" fmla="*/ 0 h 10158"/>
                <a:gd name="connsiteX43" fmla="*/ 7847 w 9707"/>
                <a:gd name="connsiteY43" fmla="*/ 0 h 10158"/>
                <a:gd name="connsiteX44" fmla="*/ 6219 w 9707"/>
                <a:gd name="connsiteY44" fmla="*/ 143 h 10158"/>
                <a:gd name="connsiteX45" fmla="*/ 5986 w 9707"/>
                <a:gd name="connsiteY45" fmla="*/ 0 h 10158"/>
                <a:gd name="connsiteX46" fmla="*/ 5986 w 9707"/>
                <a:gd name="connsiteY46" fmla="*/ 714 h 10158"/>
                <a:gd name="connsiteX47" fmla="*/ 5986 w 9707"/>
                <a:gd name="connsiteY47" fmla="*/ 857 h 10158"/>
                <a:gd name="connsiteX0" fmla="*/ 5032 w 8865"/>
                <a:gd name="connsiteY0" fmla="*/ 844 h 9844"/>
                <a:gd name="connsiteX1" fmla="*/ 4074 w 8865"/>
                <a:gd name="connsiteY1" fmla="*/ 1828 h 9844"/>
                <a:gd name="connsiteX2" fmla="*/ 3595 w 8865"/>
                <a:gd name="connsiteY2" fmla="*/ 2813 h 9844"/>
                <a:gd name="connsiteX3" fmla="*/ 3834 w 8865"/>
                <a:gd name="connsiteY3" fmla="*/ 3656 h 9844"/>
                <a:gd name="connsiteX4" fmla="*/ 0 w 8865"/>
                <a:gd name="connsiteY4" fmla="*/ 9563 h 9844"/>
                <a:gd name="connsiteX5" fmla="*/ 479 w 8865"/>
                <a:gd name="connsiteY5" fmla="*/ 9704 h 9844"/>
                <a:gd name="connsiteX6" fmla="*/ 240 w 8865"/>
                <a:gd name="connsiteY6" fmla="*/ 9704 h 9844"/>
                <a:gd name="connsiteX7" fmla="*/ 719 w 8865"/>
                <a:gd name="connsiteY7" fmla="*/ 9844 h 9844"/>
                <a:gd name="connsiteX8" fmla="*/ 1198 w 8865"/>
                <a:gd name="connsiteY8" fmla="*/ 9704 h 9844"/>
                <a:gd name="connsiteX9" fmla="*/ 2156 w 8865"/>
                <a:gd name="connsiteY9" fmla="*/ 9844 h 9844"/>
                <a:gd name="connsiteX10" fmla="*/ 2876 w 8865"/>
                <a:gd name="connsiteY10" fmla="*/ 9422 h 9844"/>
                <a:gd name="connsiteX11" fmla="*/ 3834 w 8865"/>
                <a:gd name="connsiteY11" fmla="*/ 8860 h 9844"/>
                <a:gd name="connsiteX12" fmla="*/ 4553 w 8865"/>
                <a:gd name="connsiteY12" fmla="*/ 8719 h 9844"/>
                <a:gd name="connsiteX13" fmla="*/ 4313 w 8865"/>
                <a:gd name="connsiteY13" fmla="*/ 8719 h 9844"/>
                <a:gd name="connsiteX14" fmla="*/ 4313 w 8865"/>
                <a:gd name="connsiteY14" fmla="*/ 8578 h 9844"/>
                <a:gd name="connsiteX15" fmla="*/ 6469 w 8865"/>
                <a:gd name="connsiteY15" fmla="*/ 8016 h 9844"/>
                <a:gd name="connsiteX16" fmla="*/ 7428 w 8865"/>
                <a:gd name="connsiteY16" fmla="*/ 8298 h 9844"/>
                <a:gd name="connsiteX17" fmla="*/ 7907 w 8865"/>
                <a:gd name="connsiteY17" fmla="*/ 8719 h 9844"/>
                <a:gd name="connsiteX18" fmla="*/ 8146 w 8865"/>
                <a:gd name="connsiteY18" fmla="*/ 9001 h 9844"/>
                <a:gd name="connsiteX19" fmla="*/ 8865 w 8865"/>
                <a:gd name="connsiteY19" fmla="*/ 8719 h 9844"/>
                <a:gd name="connsiteX20" fmla="*/ 8865 w 8865"/>
                <a:gd name="connsiteY20" fmla="*/ 8298 h 9844"/>
                <a:gd name="connsiteX21" fmla="*/ 8146 w 8865"/>
                <a:gd name="connsiteY21" fmla="*/ 7594 h 9844"/>
                <a:gd name="connsiteX22" fmla="*/ 8146 w 8865"/>
                <a:gd name="connsiteY22" fmla="*/ 6891 h 9844"/>
                <a:gd name="connsiteX23" fmla="*/ 8386 w 8865"/>
                <a:gd name="connsiteY23" fmla="*/ 6891 h 9844"/>
                <a:gd name="connsiteX24" fmla="*/ 7907 w 8865"/>
                <a:gd name="connsiteY24" fmla="*/ 6188 h 9844"/>
                <a:gd name="connsiteX25" fmla="*/ 7667 w 8865"/>
                <a:gd name="connsiteY25" fmla="*/ 5907 h 9844"/>
                <a:gd name="connsiteX26" fmla="*/ 6469 w 8865"/>
                <a:gd name="connsiteY26" fmla="*/ 5766 h 9844"/>
                <a:gd name="connsiteX27" fmla="*/ 5272 w 8865"/>
                <a:gd name="connsiteY27" fmla="*/ 5484 h 9844"/>
                <a:gd name="connsiteX28" fmla="*/ 4793 w 8865"/>
                <a:gd name="connsiteY28" fmla="*/ 4781 h 9844"/>
                <a:gd name="connsiteX29" fmla="*/ 4313 w 8865"/>
                <a:gd name="connsiteY29" fmla="*/ 3656 h 9844"/>
                <a:gd name="connsiteX30" fmla="*/ 4793 w 8865"/>
                <a:gd name="connsiteY30" fmla="*/ 3235 h 9844"/>
                <a:gd name="connsiteX31" fmla="*/ 4553 w 8865"/>
                <a:gd name="connsiteY31" fmla="*/ 2250 h 9844"/>
                <a:gd name="connsiteX32" fmla="*/ 5751 w 8865"/>
                <a:gd name="connsiteY32" fmla="*/ 2250 h 9844"/>
                <a:gd name="connsiteX33" fmla="*/ 6230 w 8865"/>
                <a:gd name="connsiteY33" fmla="*/ 2813 h 9844"/>
                <a:gd name="connsiteX34" fmla="*/ 7188 w 8865"/>
                <a:gd name="connsiteY34" fmla="*/ 2813 h 9844"/>
                <a:gd name="connsiteX35" fmla="*/ 7188 w 8865"/>
                <a:gd name="connsiteY35" fmla="*/ 2391 h 9844"/>
                <a:gd name="connsiteX36" fmla="*/ 7428 w 8865"/>
                <a:gd name="connsiteY36" fmla="*/ 2110 h 9844"/>
                <a:gd name="connsiteX37" fmla="*/ 7667 w 8865"/>
                <a:gd name="connsiteY37" fmla="*/ 2250 h 9844"/>
                <a:gd name="connsiteX38" fmla="*/ 7428 w 8865"/>
                <a:gd name="connsiteY38" fmla="*/ 1407 h 9844"/>
                <a:gd name="connsiteX39" fmla="*/ 7907 w 8865"/>
                <a:gd name="connsiteY39" fmla="*/ 844 h 9844"/>
                <a:gd name="connsiteX40" fmla="*/ 7907 w 8865"/>
                <a:gd name="connsiteY40" fmla="*/ 282 h 9844"/>
                <a:gd name="connsiteX41" fmla="*/ 7428 w 8865"/>
                <a:gd name="connsiteY41" fmla="*/ 0 h 9844"/>
                <a:gd name="connsiteX42" fmla="*/ 6949 w 8865"/>
                <a:gd name="connsiteY42" fmla="*/ 0 h 9844"/>
                <a:gd name="connsiteX43" fmla="*/ 5272 w 8865"/>
                <a:gd name="connsiteY43" fmla="*/ 141 h 9844"/>
                <a:gd name="connsiteX44" fmla="*/ 5032 w 8865"/>
                <a:gd name="connsiteY44" fmla="*/ 0 h 9844"/>
                <a:gd name="connsiteX45" fmla="*/ 5032 w 8865"/>
                <a:gd name="connsiteY45" fmla="*/ 703 h 9844"/>
                <a:gd name="connsiteX46" fmla="*/ 5032 w 8865"/>
                <a:gd name="connsiteY46" fmla="*/ 844 h 9844"/>
                <a:gd name="connsiteX0" fmla="*/ 5405 w 9729"/>
                <a:gd name="connsiteY0" fmla="*/ 857 h 10000"/>
                <a:gd name="connsiteX1" fmla="*/ 4325 w 9729"/>
                <a:gd name="connsiteY1" fmla="*/ 1857 h 10000"/>
                <a:gd name="connsiteX2" fmla="*/ 3784 w 9729"/>
                <a:gd name="connsiteY2" fmla="*/ 2858 h 10000"/>
                <a:gd name="connsiteX3" fmla="*/ 4054 w 9729"/>
                <a:gd name="connsiteY3" fmla="*/ 3714 h 10000"/>
                <a:gd name="connsiteX4" fmla="*/ 269 w 9729"/>
                <a:gd name="connsiteY4" fmla="*/ 9858 h 10000"/>
                <a:gd name="connsiteX5" fmla="*/ 0 w 9729"/>
                <a:gd name="connsiteY5" fmla="*/ 9858 h 10000"/>
                <a:gd name="connsiteX6" fmla="*/ 540 w 9729"/>
                <a:gd name="connsiteY6" fmla="*/ 10000 h 10000"/>
                <a:gd name="connsiteX7" fmla="*/ 1080 w 9729"/>
                <a:gd name="connsiteY7" fmla="*/ 9858 h 10000"/>
                <a:gd name="connsiteX8" fmla="*/ 2161 w 9729"/>
                <a:gd name="connsiteY8" fmla="*/ 10000 h 10000"/>
                <a:gd name="connsiteX9" fmla="*/ 2973 w 9729"/>
                <a:gd name="connsiteY9" fmla="*/ 9571 h 10000"/>
                <a:gd name="connsiteX10" fmla="*/ 4054 w 9729"/>
                <a:gd name="connsiteY10" fmla="*/ 9000 h 10000"/>
                <a:gd name="connsiteX11" fmla="*/ 4865 w 9729"/>
                <a:gd name="connsiteY11" fmla="*/ 8857 h 10000"/>
                <a:gd name="connsiteX12" fmla="*/ 4594 w 9729"/>
                <a:gd name="connsiteY12" fmla="*/ 8857 h 10000"/>
                <a:gd name="connsiteX13" fmla="*/ 4594 w 9729"/>
                <a:gd name="connsiteY13" fmla="*/ 8714 h 10000"/>
                <a:gd name="connsiteX14" fmla="*/ 7026 w 9729"/>
                <a:gd name="connsiteY14" fmla="*/ 8143 h 10000"/>
                <a:gd name="connsiteX15" fmla="*/ 8108 w 9729"/>
                <a:gd name="connsiteY15" fmla="*/ 8430 h 10000"/>
                <a:gd name="connsiteX16" fmla="*/ 8648 w 9729"/>
                <a:gd name="connsiteY16" fmla="*/ 8857 h 10000"/>
                <a:gd name="connsiteX17" fmla="*/ 8918 w 9729"/>
                <a:gd name="connsiteY17" fmla="*/ 9144 h 10000"/>
                <a:gd name="connsiteX18" fmla="*/ 9729 w 9729"/>
                <a:gd name="connsiteY18" fmla="*/ 8857 h 10000"/>
                <a:gd name="connsiteX19" fmla="*/ 9729 w 9729"/>
                <a:gd name="connsiteY19" fmla="*/ 8430 h 10000"/>
                <a:gd name="connsiteX20" fmla="*/ 8918 w 9729"/>
                <a:gd name="connsiteY20" fmla="*/ 7714 h 10000"/>
                <a:gd name="connsiteX21" fmla="*/ 8918 w 9729"/>
                <a:gd name="connsiteY21" fmla="*/ 7000 h 10000"/>
                <a:gd name="connsiteX22" fmla="*/ 9189 w 9729"/>
                <a:gd name="connsiteY22" fmla="*/ 7000 h 10000"/>
                <a:gd name="connsiteX23" fmla="*/ 8648 w 9729"/>
                <a:gd name="connsiteY23" fmla="*/ 6286 h 10000"/>
                <a:gd name="connsiteX24" fmla="*/ 8378 w 9729"/>
                <a:gd name="connsiteY24" fmla="*/ 6001 h 10000"/>
                <a:gd name="connsiteX25" fmla="*/ 7026 w 9729"/>
                <a:gd name="connsiteY25" fmla="*/ 5857 h 10000"/>
                <a:gd name="connsiteX26" fmla="*/ 5676 w 9729"/>
                <a:gd name="connsiteY26" fmla="*/ 5571 h 10000"/>
                <a:gd name="connsiteX27" fmla="*/ 5136 w 9729"/>
                <a:gd name="connsiteY27" fmla="*/ 4857 h 10000"/>
                <a:gd name="connsiteX28" fmla="*/ 4594 w 9729"/>
                <a:gd name="connsiteY28" fmla="*/ 3714 h 10000"/>
                <a:gd name="connsiteX29" fmla="*/ 5136 w 9729"/>
                <a:gd name="connsiteY29" fmla="*/ 3286 h 10000"/>
                <a:gd name="connsiteX30" fmla="*/ 4865 w 9729"/>
                <a:gd name="connsiteY30" fmla="*/ 2286 h 10000"/>
                <a:gd name="connsiteX31" fmla="*/ 6216 w 9729"/>
                <a:gd name="connsiteY31" fmla="*/ 2286 h 10000"/>
                <a:gd name="connsiteX32" fmla="*/ 6757 w 9729"/>
                <a:gd name="connsiteY32" fmla="*/ 2858 h 10000"/>
                <a:gd name="connsiteX33" fmla="*/ 7837 w 9729"/>
                <a:gd name="connsiteY33" fmla="*/ 2858 h 10000"/>
                <a:gd name="connsiteX34" fmla="*/ 7837 w 9729"/>
                <a:gd name="connsiteY34" fmla="*/ 2429 h 10000"/>
                <a:gd name="connsiteX35" fmla="*/ 8108 w 9729"/>
                <a:gd name="connsiteY35" fmla="*/ 2143 h 10000"/>
                <a:gd name="connsiteX36" fmla="*/ 8378 w 9729"/>
                <a:gd name="connsiteY36" fmla="*/ 2286 h 10000"/>
                <a:gd name="connsiteX37" fmla="*/ 8108 w 9729"/>
                <a:gd name="connsiteY37" fmla="*/ 1429 h 10000"/>
                <a:gd name="connsiteX38" fmla="*/ 8648 w 9729"/>
                <a:gd name="connsiteY38" fmla="*/ 857 h 10000"/>
                <a:gd name="connsiteX39" fmla="*/ 8648 w 9729"/>
                <a:gd name="connsiteY39" fmla="*/ 286 h 10000"/>
                <a:gd name="connsiteX40" fmla="*/ 8108 w 9729"/>
                <a:gd name="connsiteY40" fmla="*/ 0 h 10000"/>
                <a:gd name="connsiteX41" fmla="*/ 7568 w 9729"/>
                <a:gd name="connsiteY41" fmla="*/ 0 h 10000"/>
                <a:gd name="connsiteX42" fmla="*/ 5676 w 9729"/>
                <a:gd name="connsiteY42" fmla="*/ 143 h 10000"/>
                <a:gd name="connsiteX43" fmla="*/ 5405 w 9729"/>
                <a:gd name="connsiteY43" fmla="*/ 0 h 10000"/>
                <a:gd name="connsiteX44" fmla="*/ 5405 w 9729"/>
                <a:gd name="connsiteY44" fmla="*/ 714 h 10000"/>
                <a:gd name="connsiteX45" fmla="*/ 5405 w 9729"/>
                <a:gd name="connsiteY45" fmla="*/ 857 h 10000"/>
                <a:gd name="connsiteX0" fmla="*/ 5280 w 9724"/>
                <a:gd name="connsiteY0" fmla="*/ 857 h 10000"/>
                <a:gd name="connsiteX1" fmla="*/ 4169 w 9724"/>
                <a:gd name="connsiteY1" fmla="*/ 1857 h 10000"/>
                <a:gd name="connsiteX2" fmla="*/ 3613 w 9724"/>
                <a:gd name="connsiteY2" fmla="*/ 2858 h 10000"/>
                <a:gd name="connsiteX3" fmla="*/ 3891 w 9724"/>
                <a:gd name="connsiteY3" fmla="*/ 3714 h 10000"/>
                <a:gd name="connsiteX4" fmla="*/ 0 w 9724"/>
                <a:gd name="connsiteY4" fmla="*/ 9858 h 10000"/>
                <a:gd name="connsiteX5" fmla="*/ 279 w 9724"/>
                <a:gd name="connsiteY5" fmla="*/ 10000 h 10000"/>
                <a:gd name="connsiteX6" fmla="*/ 834 w 9724"/>
                <a:gd name="connsiteY6" fmla="*/ 9858 h 10000"/>
                <a:gd name="connsiteX7" fmla="*/ 1945 w 9724"/>
                <a:gd name="connsiteY7" fmla="*/ 10000 h 10000"/>
                <a:gd name="connsiteX8" fmla="*/ 2780 w 9724"/>
                <a:gd name="connsiteY8" fmla="*/ 9571 h 10000"/>
                <a:gd name="connsiteX9" fmla="*/ 3891 w 9724"/>
                <a:gd name="connsiteY9" fmla="*/ 9000 h 10000"/>
                <a:gd name="connsiteX10" fmla="*/ 4725 w 9724"/>
                <a:gd name="connsiteY10" fmla="*/ 8857 h 10000"/>
                <a:gd name="connsiteX11" fmla="*/ 4446 w 9724"/>
                <a:gd name="connsiteY11" fmla="*/ 8857 h 10000"/>
                <a:gd name="connsiteX12" fmla="*/ 4446 w 9724"/>
                <a:gd name="connsiteY12" fmla="*/ 8714 h 10000"/>
                <a:gd name="connsiteX13" fmla="*/ 6946 w 9724"/>
                <a:gd name="connsiteY13" fmla="*/ 8143 h 10000"/>
                <a:gd name="connsiteX14" fmla="*/ 8058 w 9724"/>
                <a:gd name="connsiteY14" fmla="*/ 8430 h 10000"/>
                <a:gd name="connsiteX15" fmla="*/ 8613 w 9724"/>
                <a:gd name="connsiteY15" fmla="*/ 8857 h 10000"/>
                <a:gd name="connsiteX16" fmla="*/ 8890 w 9724"/>
                <a:gd name="connsiteY16" fmla="*/ 9144 h 10000"/>
                <a:gd name="connsiteX17" fmla="*/ 9724 w 9724"/>
                <a:gd name="connsiteY17" fmla="*/ 8857 h 10000"/>
                <a:gd name="connsiteX18" fmla="*/ 9724 w 9724"/>
                <a:gd name="connsiteY18" fmla="*/ 8430 h 10000"/>
                <a:gd name="connsiteX19" fmla="*/ 8890 w 9724"/>
                <a:gd name="connsiteY19" fmla="*/ 7714 h 10000"/>
                <a:gd name="connsiteX20" fmla="*/ 8890 w 9724"/>
                <a:gd name="connsiteY20" fmla="*/ 7000 h 10000"/>
                <a:gd name="connsiteX21" fmla="*/ 9169 w 9724"/>
                <a:gd name="connsiteY21" fmla="*/ 7000 h 10000"/>
                <a:gd name="connsiteX22" fmla="*/ 8613 w 9724"/>
                <a:gd name="connsiteY22" fmla="*/ 6286 h 10000"/>
                <a:gd name="connsiteX23" fmla="*/ 8335 w 9724"/>
                <a:gd name="connsiteY23" fmla="*/ 6001 h 10000"/>
                <a:gd name="connsiteX24" fmla="*/ 6946 w 9724"/>
                <a:gd name="connsiteY24" fmla="*/ 5857 h 10000"/>
                <a:gd name="connsiteX25" fmla="*/ 5558 w 9724"/>
                <a:gd name="connsiteY25" fmla="*/ 5571 h 10000"/>
                <a:gd name="connsiteX26" fmla="*/ 5003 w 9724"/>
                <a:gd name="connsiteY26" fmla="*/ 4857 h 10000"/>
                <a:gd name="connsiteX27" fmla="*/ 4446 w 9724"/>
                <a:gd name="connsiteY27" fmla="*/ 3714 h 10000"/>
                <a:gd name="connsiteX28" fmla="*/ 5003 w 9724"/>
                <a:gd name="connsiteY28" fmla="*/ 3286 h 10000"/>
                <a:gd name="connsiteX29" fmla="*/ 4725 w 9724"/>
                <a:gd name="connsiteY29" fmla="*/ 2286 h 10000"/>
                <a:gd name="connsiteX30" fmla="*/ 6113 w 9724"/>
                <a:gd name="connsiteY30" fmla="*/ 2286 h 10000"/>
                <a:gd name="connsiteX31" fmla="*/ 6669 w 9724"/>
                <a:gd name="connsiteY31" fmla="*/ 2858 h 10000"/>
                <a:gd name="connsiteX32" fmla="*/ 7779 w 9724"/>
                <a:gd name="connsiteY32" fmla="*/ 2858 h 10000"/>
                <a:gd name="connsiteX33" fmla="*/ 7779 w 9724"/>
                <a:gd name="connsiteY33" fmla="*/ 2429 h 10000"/>
                <a:gd name="connsiteX34" fmla="*/ 8058 w 9724"/>
                <a:gd name="connsiteY34" fmla="*/ 2143 h 10000"/>
                <a:gd name="connsiteX35" fmla="*/ 8335 w 9724"/>
                <a:gd name="connsiteY35" fmla="*/ 2286 h 10000"/>
                <a:gd name="connsiteX36" fmla="*/ 8058 w 9724"/>
                <a:gd name="connsiteY36" fmla="*/ 1429 h 10000"/>
                <a:gd name="connsiteX37" fmla="*/ 8613 w 9724"/>
                <a:gd name="connsiteY37" fmla="*/ 857 h 10000"/>
                <a:gd name="connsiteX38" fmla="*/ 8613 w 9724"/>
                <a:gd name="connsiteY38" fmla="*/ 286 h 10000"/>
                <a:gd name="connsiteX39" fmla="*/ 8058 w 9724"/>
                <a:gd name="connsiteY39" fmla="*/ 0 h 10000"/>
                <a:gd name="connsiteX40" fmla="*/ 7503 w 9724"/>
                <a:gd name="connsiteY40" fmla="*/ 0 h 10000"/>
                <a:gd name="connsiteX41" fmla="*/ 5558 w 9724"/>
                <a:gd name="connsiteY41" fmla="*/ 143 h 10000"/>
                <a:gd name="connsiteX42" fmla="*/ 5280 w 9724"/>
                <a:gd name="connsiteY42" fmla="*/ 0 h 10000"/>
                <a:gd name="connsiteX43" fmla="*/ 5280 w 9724"/>
                <a:gd name="connsiteY43" fmla="*/ 714 h 10000"/>
                <a:gd name="connsiteX44" fmla="*/ 5280 w 9724"/>
                <a:gd name="connsiteY44" fmla="*/ 857 h 10000"/>
                <a:gd name="connsiteX0" fmla="*/ 5430 w 10000"/>
                <a:gd name="connsiteY0" fmla="*/ 857 h 10000"/>
                <a:gd name="connsiteX1" fmla="*/ 4287 w 10000"/>
                <a:gd name="connsiteY1" fmla="*/ 1857 h 10000"/>
                <a:gd name="connsiteX2" fmla="*/ 3716 w 10000"/>
                <a:gd name="connsiteY2" fmla="*/ 2858 h 10000"/>
                <a:gd name="connsiteX3" fmla="*/ 4001 w 10000"/>
                <a:gd name="connsiteY3" fmla="*/ 3714 h 10000"/>
                <a:gd name="connsiteX4" fmla="*/ 0 w 10000"/>
                <a:gd name="connsiteY4" fmla="*/ 9858 h 10000"/>
                <a:gd name="connsiteX5" fmla="*/ 858 w 10000"/>
                <a:gd name="connsiteY5" fmla="*/ 9858 h 10000"/>
                <a:gd name="connsiteX6" fmla="*/ 2000 w 10000"/>
                <a:gd name="connsiteY6" fmla="*/ 10000 h 10000"/>
                <a:gd name="connsiteX7" fmla="*/ 2859 w 10000"/>
                <a:gd name="connsiteY7" fmla="*/ 9571 h 10000"/>
                <a:gd name="connsiteX8" fmla="*/ 4001 w 10000"/>
                <a:gd name="connsiteY8" fmla="*/ 9000 h 10000"/>
                <a:gd name="connsiteX9" fmla="*/ 4859 w 10000"/>
                <a:gd name="connsiteY9" fmla="*/ 8857 h 10000"/>
                <a:gd name="connsiteX10" fmla="*/ 4572 w 10000"/>
                <a:gd name="connsiteY10" fmla="*/ 8857 h 10000"/>
                <a:gd name="connsiteX11" fmla="*/ 4572 w 10000"/>
                <a:gd name="connsiteY11" fmla="*/ 8714 h 10000"/>
                <a:gd name="connsiteX12" fmla="*/ 7143 w 10000"/>
                <a:gd name="connsiteY12" fmla="*/ 8143 h 10000"/>
                <a:gd name="connsiteX13" fmla="*/ 8287 w 10000"/>
                <a:gd name="connsiteY13" fmla="*/ 8430 h 10000"/>
                <a:gd name="connsiteX14" fmla="*/ 8857 w 10000"/>
                <a:gd name="connsiteY14" fmla="*/ 8857 h 10000"/>
                <a:gd name="connsiteX15" fmla="*/ 9142 w 10000"/>
                <a:gd name="connsiteY15" fmla="*/ 9144 h 10000"/>
                <a:gd name="connsiteX16" fmla="*/ 10000 w 10000"/>
                <a:gd name="connsiteY16" fmla="*/ 8857 h 10000"/>
                <a:gd name="connsiteX17" fmla="*/ 10000 w 10000"/>
                <a:gd name="connsiteY17" fmla="*/ 8430 h 10000"/>
                <a:gd name="connsiteX18" fmla="*/ 9142 w 10000"/>
                <a:gd name="connsiteY18" fmla="*/ 7714 h 10000"/>
                <a:gd name="connsiteX19" fmla="*/ 9142 w 10000"/>
                <a:gd name="connsiteY19" fmla="*/ 7000 h 10000"/>
                <a:gd name="connsiteX20" fmla="*/ 9429 w 10000"/>
                <a:gd name="connsiteY20" fmla="*/ 7000 h 10000"/>
                <a:gd name="connsiteX21" fmla="*/ 8857 w 10000"/>
                <a:gd name="connsiteY21" fmla="*/ 6286 h 10000"/>
                <a:gd name="connsiteX22" fmla="*/ 8572 w 10000"/>
                <a:gd name="connsiteY22" fmla="*/ 6001 h 10000"/>
                <a:gd name="connsiteX23" fmla="*/ 7143 w 10000"/>
                <a:gd name="connsiteY23" fmla="*/ 5857 h 10000"/>
                <a:gd name="connsiteX24" fmla="*/ 5716 w 10000"/>
                <a:gd name="connsiteY24" fmla="*/ 5571 h 10000"/>
                <a:gd name="connsiteX25" fmla="*/ 5145 w 10000"/>
                <a:gd name="connsiteY25" fmla="*/ 4857 h 10000"/>
                <a:gd name="connsiteX26" fmla="*/ 4572 w 10000"/>
                <a:gd name="connsiteY26" fmla="*/ 3714 h 10000"/>
                <a:gd name="connsiteX27" fmla="*/ 5145 w 10000"/>
                <a:gd name="connsiteY27" fmla="*/ 3286 h 10000"/>
                <a:gd name="connsiteX28" fmla="*/ 4859 w 10000"/>
                <a:gd name="connsiteY28" fmla="*/ 2286 h 10000"/>
                <a:gd name="connsiteX29" fmla="*/ 6287 w 10000"/>
                <a:gd name="connsiteY29" fmla="*/ 2286 h 10000"/>
                <a:gd name="connsiteX30" fmla="*/ 6858 w 10000"/>
                <a:gd name="connsiteY30" fmla="*/ 2858 h 10000"/>
                <a:gd name="connsiteX31" fmla="*/ 8000 w 10000"/>
                <a:gd name="connsiteY31" fmla="*/ 2858 h 10000"/>
                <a:gd name="connsiteX32" fmla="*/ 8000 w 10000"/>
                <a:gd name="connsiteY32" fmla="*/ 2429 h 10000"/>
                <a:gd name="connsiteX33" fmla="*/ 8287 w 10000"/>
                <a:gd name="connsiteY33" fmla="*/ 2143 h 10000"/>
                <a:gd name="connsiteX34" fmla="*/ 8572 w 10000"/>
                <a:gd name="connsiteY34" fmla="*/ 2286 h 10000"/>
                <a:gd name="connsiteX35" fmla="*/ 8287 w 10000"/>
                <a:gd name="connsiteY35" fmla="*/ 1429 h 10000"/>
                <a:gd name="connsiteX36" fmla="*/ 8857 w 10000"/>
                <a:gd name="connsiteY36" fmla="*/ 857 h 10000"/>
                <a:gd name="connsiteX37" fmla="*/ 8857 w 10000"/>
                <a:gd name="connsiteY37" fmla="*/ 286 h 10000"/>
                <a:gd name="connsiteX38" fmla="*/ 8287 w 10000"/>
                <a:gd name="connsiteY38" fmla="*/ 0 h 10000"/>
                <a:gd name="connsiteX39" fmla="*/ 7716 w 10000"/>
                <a:gd name="connsiteY39" fmla="*/ 0 h 10000"/>
                <a:gd name="connsiteX40" fmla="*/ 5716 w 10000"/>
                <a:gd name="connsiteY40" fmla="*/ 143 h 10000"/>
                <a:gd name="connsiteX41" fmla="*/ 5430 w 10000"/>
                <a:gd name="connsiteY41" fmla="*/ 0 h 10000"/>
                <a:gd name="connsiteX42" fmla="*/ 5430 w 10000"/>
                <a:gd name="connsiteY42" fmla="*/ 714 h 10000"/>
                <a:gd name="connsiteX43" fmla="*/ 5430 w 10000"/>
                <a:gd name="connsiteY43" fmla="*/ 857 h 10000"/>
                <a:gd name="connsiteX0" fmla="*/ 5430 w 10000"/>
                <a:gd name="connsiteY0" fmla="*/ 857 h 10000"/>
                <a:gd name="connsiteX1" fmla="*/ 4287 w 10000"/>
                <a:gd name="connsiteY1" fmla="*/ 1857 h 10000"/>
                <a:gd name="connsiteX2" fmla="*/ 3716 w 10000"/>
                <a:gd name="connsiteY2" fmla="*/ 2858 h 10000"/>
                <a:gd name="connsiteX3" fmla="*/ 4001 w 10000"/>
                <a:gd name="connsiteY3" fmla="*/ 3714 h 10000"/>
                <a:gd name="connsiteX4" fmla="*/ 0 w 10000"/>
                <a:gd name="connsiteY4" fmla="*/ 9858 h 10000"/>
                <a:gd name="connsiteX5" fmla="*/ 2000 w 10000"/>
                <a:gd name="connsiteY5" fmla="*/ 10000 h 10000"/>
                <a:gd name="connsiteX6" fmla="*/ 2859 w 10000"/>
                <a:gd name="connsiteY6" fmla="*/ 9571 h 10000"/>
                <a:gd name="connsiteX7" fmla="*/ 4001 w 10000"/>
                <a:gd name="connsiteY7" fmla="*/ 9000 h 10000"/>
                <a:gd name="connsiteX8" fmla="*/ 4859 w 10000"/>
                <a:gd name="connsiteY8" fmla="*/ 8857 h 10000"/>
                <a:gd name="connsiteX9" fmla="*/ 4572 w 10000"/>
                <a:gd name="connsiteY9" fmla="*/ 8857 h 10000"/>
                <a:gd name="connsiteX10" fmla="*/ 4572 w 10000"/>
                <a:gd name="connsiteY10" fmla="*/ 8714 h 10000"/>
                <a:gd name="connsiteX11" fmla="*/ 7143 w 10000"/>
                <a:gd name="connsiteY11" fmla="*/ 8143 h 10000"/>
                <a:gd name="connsiteX12" fmla="*/ 8287 w 10000"/>
                <a:gd name="connsiteY12" fmla="*/ 8430 h 10000"/>
                <a:gd name="connsiteX13" fmla="*/ 8857 w 10000"/>
                <a:gd name="connsiteY13" fmla="*/ 8857 h 10000"/>
                <a:gd name="connsiteX14" fmla="*/ 9142 w 10000"/>
                <a:gd name="connsiteY14" fmla="*/ 9144 h 10000"/>
                <a:gd name="connsiteX15" fmla="*/ 10000 w 10000"/>
                <a:gd name="connsiteY15" fmla="*/ 8857 h 10000"/>
                <a:gd name="connsiteX16" fmla="*/ 10000 w 10000"/>
                <a:gd name="connsiteY16" fmla="*/ 8430 h 10000"/>
                <a:gd name="connsiteX17" fmla="*/ 9142 w 10000"/>
                <a:gd name="connsiteY17" fmla="*/ 7714 h 10000"/>
                <a:gd name="connsiteX18" fmla="*/ 9142 w 10000"/>
                <a:gd name="connsiteY18" fmla="*/ 7000 h 10000"/>
                <a:gd name="connsiteX19" fmla="*/ 9429 w 10000"/>
                <a:gd name="connsiteY19" fmla="*/ 7000 h 10000"/>
                <a:gd name="connsiteX20" fmla="*/ 8857 w 10000"/>
                <a:gd name="connsiteY20" fmla="*/ 6286 h 10000"/>
                <a:gd name="connsiteX21" fmla="*/ 8572 w 10000"/>
                <a:gd name="connsiteY21" fmla="*/ 6001 h 10000"/>
                <a:gd name="connsiteX22" fmla="*/ 7143 w 10000"/>
                <a:gd name="connsiteY22" fmla="*/ 5857 h 10000"/>
                <a:gd name="connsiteX23" fmla="*/ 5716 w 10000"/>
                <a:gd name="connsiteY23" fmla="*/ 5571 h 10000"/>
                <a:gd name="connsiteX24" fmla="*/ 5145 w 10000"/>
                <a:gd name="connsiteY24" fmla="*/ 4857 h 10000"/>
                <a:gd name="connsiteX25" fmla="*/ 4572 w 10000"/>
                <a:gd name="connsiteY25" fmla="*/ 3714 h 10000"/>
                <a:gd name="connsiteX26" fmla="*/ 5145 w 10000"/>
                <a:gd name="connsiteY26" fmla="*/ 3286 h 10000"/>
                <a:gd name="connsiteX27" fmla="*/ 4859 w 10000"/>
                <a:gd name="connsiteY27" fmla="*/ 2286 h 10000"/>
                <a:gd name="connsiteX28" fmla="*/ 6287 w 10000"/>
                <a:gd name="connsiteY28" fmla="*/ 2286 h 10000"/>
                <a:gd name="connsiteX29" fmla="*/ 6858 w 10000"/>
                <a:gd name="connsiteY29" fmla="*/ 2858 h 10000"/>
                <a:gd name="connsiteX30" fmla="*/ 8000 w 10000"/>
                <a:gd name="connsiteY30" fmla="*/ 2858 h 10000"/>
                <a:gd name="connsiteX31" fmla="*/ 8000 w 10000"/>
                <a:gd name="connsiteY31" fmla="*/ 2429 h 10000"/>
                <a:gd name="connsiteX32" fmla="*/ 8287 w 10000"/>
                <a:gd name="connsiteY32" fmla="*/ 2143 h 10000"/>
                <a:gd name="connsiteX33" fmla="*/ 8572 w 10000"/>
                <a:gd name="connsiteY33" fmla="*/ 2286 h 10000"/>
                <a:gd name="connsiteX34" fmla="*/ 8287 w 10000"/>
                <a:gd name="connsiteY34" fmla="*/ 1429 h 10000"/>
                <a:gd name="connsiteX35" fmla="*/ 8857 w 10000"/>
                <a:gd name="connsiteY35" fmla="*/ 857 h 10000"/>
                <a:gd name="connsiteX36" fmla="*/ 8857 w 10000"/>
                <a:gd name="connsiteY36" fmla="*/ 286 h 10000"/>
                <a:gd name="connsiteX37" fmla="*/ 8287 w 10000"/>
                <a:gd name="connsiteY37" fmla="*/ 0 h 10000"/>
                <a:gd name="connsiteX38" fmla="*/ 7716 w 10000"/>
                <a:gd name="connsiteY38" fmla="*/ 0 h 10000"/>
                <a:gd name="connsiteX39" fmla="*/ 5716 w 10000"/>
                <a:gd name="connsiteY39" fmla="*/ 143 h 10000"/>
                <a:gd name="connsiteX40" fmla="*/ 5430 w 10000"/>
                <a:gd name="connsiteY40" fmla="*/ 0 h 10000"/>
                <a:gd name="connsiteX41" fmla="*/ 5430 w 10000"/>
                <a:gd name="connsiteY41" fmla="*/ 714 h 10000"/>
                <a:gd name="connsiteX42" fmla="*/ 5430 w 10000"/>
                <a:gd name="connsiteY42" fmla="*/ 857 h 10000"/>
                <a:gd name="connsiteX0" fmla="*/ 3430 w 8000"/>
                <a:gd name="connsiteY0" fmla="*/ 857 h 10000"/>
                <a:gd name="connsiteX1" fmla="*/ 2287 w 8000"/>
                <a:gd name="connsiteY1" fmla="*/ 1857 h 10000"/>
                <a:gd name="connsiteX2" fmla="*/ 1716 w 8000"/>
                <a:gd name="connsiteY2" fmla="*/ 2858 h 10000"/>
                <a:gd name="connsiteX3" fmla="*/ 2001 w 8000"/>
                <a:gd name="connsiteY3" fmla="*/ 3714 h 10000"/>
                <a:gd name="connsiteX4" fmla="*/ 0 w 8000"/>
                <a:gd name="connsiteY4" fmla="*/ 10000 h 10000"/>
                <a:gd name="connsiteX5" fmla="*/ 859 w 8000"/>
                <a:gd name="connsiteY5" fmla="*/ 9571 h 10000"/>
                <a:gd name="connsiteX6" fmla="*/ 2001 w 8000"/>
                <a:gd name="connsiteY6" fmla="*/ 9000 h 10000"/>
                <a:gd name="connsiteX7" fmla="*/ 2859 w 8000"/>
                <a:gd name="connsiteY7" fmla="*/ 8857 h 10000"/>
                <a:gd name="connsiteX8" fmla="*/ 2572 w 8000"/>
                <a:gd name="connsiteY8" fmla="*/ 8857 h 10000"/>
                <a:gd name="connsiteX9" fmla="*/ 2572 w 8000"/>
                <a:gd name="connsiteY9" fmla="*/ 8714 h 10000"/>
                <a:gd name="connsiteX10" fmla="*/ 5143 w 8000"/>
                <a:gd name="connsiteY10" fmla="*/ 8143 h 10000"/>
                <a:gd name="connsiteX11" fmla="*/ 6287 w 8000"/>
                <a:gd name="connsiteY11" fmla="*/ 8430 h 10000"/>
                <a:gd name="connsiteX12" fmla="*/ 6857 w 8000"/>
                <a:gd name="connsiteY12" fmla="*/ 8857 h 10000"/>
                <a:gd name="connsiteX13" fmla="*/ 7142 w 8000"/>
                <a:gd name="connsiteY13" fmla="*/ 9144 h 10000"/>
                <a:gd name="connsiteX14" fmla="*/ 8000 w 8000"/>
                <a:gd name="connsiteY14" fmla="*/ 8857 h 10000"/>
                <a:gd name="connsiteX15" fmla="*/ 8000 w 8000"/>
                <a:gd name="connsiteY15" fmla="*/ 8430 h 10000"/>
                <a:gd name="connsiteX16" fmla="*/ 7142 w 8000"/>
                <a:gd name="connsiteY16" fmla="*/ 7714 h 10000"/>
                <a:gd name="connsiteX17" fmla="*/ 7142 w 8000"/>
                <a:gd name="connsiteY17" fmla="*/ 7000 h 10000"/>
                <a:gd name="connsiteX18" fmla="*/ 7429 w 8000"/>
                <a:gd name="connsiteY18" fmla="*/ 7000 h 10000"/>
                <a:gd name="connsiteX19" fmla="*/ 6857 w 8000"/>
                <a:gd name="connsiteY19" fmla="*/ 6286 h 10000"/>
                <a:gd name="connsiteX20" fmla="*/ 6572 w 8000"/>
                <a:gd name="connsiteY20" fmla="*/ 6001 h 10000"/>
                <a:gd name="connsiteX21" fmla="*/ 5143 w 8000"/>
                <a:gd name="connsiteY21" fmla="*/ 5857 h 10000"/>
                <a:gd name="connsiteX22" fmla="*/ 3716 w 8000"/>
                <a:gd name="connsiteY22" fmla="*/ 5571 h 10000"/>
                <a:gd name="connsiteX23" fmla="*/ 3145 w 8000"/>
                <a:gd name="connsiteY23" fmla="*/ 4857 h 10000"/>
                <a:gd name="connsiteX24" fmla="*/ 2572 w 8000"/>
                <a:gd name="connsiteY24" fmla="*/ 3714 h 10000"/>
                <a:gd name="connsiteX25" fmla="*/ 3145 w 8000"/>
                <a:gd name="connsiteY25" fmla="*/ 3286 h 10000"/>
                <a:gd name="connsiteX26" fmla="*/ 2859 w 8000"/>
                <a:gd name="connsiteY26" fmla="*/ 2286 h 10000"/>
                <a:gd name="connsiteX27" fmla="*/ 4287 w 8000"/>
                <a:gd name="connsiteY27" fmla="*/ 2286 h 10000"/>
                <a:gd name="connsiteX28" fmla="*/ 4858 w 8000"/>
                <a:gd name="connsiteY28" fmla="*/ 2858 h 10000"/>
                <a:gd name="connsiteX29" fmla="*/ 6000 w 8000"/>
                <a:gd name="connsiteY29" fmla="*/ 2858 h 10000"/>
                <a:gd name="connsiteX30" fmla="*/ 6000 w 8000"/>
                <a:gd name="connsiteY30" fmla="*/ 2429 h 10000"/>
                <a:gd name="connsiteX31" fmla="*/ 6287 w 8000"/>
                <a:gd name="connsiteY31" fmla="*/ 2143 h 10000"/>
                <a:gd name="connsiteX32" fmla="*/ 6572 w 8000"/>
                <a:gd name="connsiteY32" fmla="*/ 2286 h 10000"/>
                <a:gd name="connsiteX33" fmla="*/ 6287 w 8000"/>
                <a:gd name="connsiteY33" fmla="*/ 1429 h 10000"/>
                <a:gd name="connsiteX34" fmla="*/ 6857 w 8000"/>
                <a:gd name="connsiteY34" fmla="*/ 857 h 10000"/>
                <a:gd name="connsiteX35" fmla="*/ 6857 w 8000"/>
                <a:gd name="connsiteY35" fmla="*/ 286 h 10000"/>
                <a:gd name="connsiteX36" fmla="*/ 6287 w 8000"/>
                <a:gd name="connsiteY36" fmla="*/ 0 h 10000"/>
                <a:gd name="connsiteX37" fmla="*/ 5716 w 8000"/>
                <a:gd name="connsiteY37" fmla="*/ 0 h 10000"/>
                <a:gd name="connsiteX38" fmla="*/ 3716 w 8000"/>
                <a:gd name="connsiteY38" fmla="*/ 143 h 10000"/>
                <a:gd name="connsiteX39" fmla="*/ 3430 w 8000"/>
                <a:gd name="connsiteY39" fmla="*/ 0 h 10000"/>
                <a:gd name="connsiteX40" fmla="*/ 3430 w 8000"/>
                <a:gd name="connsiteY40" fmla="*/ 714 h 10000"/>
                <a:gd name="connsiteX41" fmla="*/ 3430 w 8000"/>
                <a:gd name="connsiteY41" fmla="*/ 857 h 10000"/>
                <a:gd name="connsiteX0" fmla="*/ 3214 w 8926"/>
                <a:gd name="connsiteY0" fmla="*/ 857 h 9880"/>
                <a:gd name="connsiteX1" fmla="*/ 1785 w 8926"/>
                <a:gd name="connsiteY1" fmla="*/ 1857 h 9880"/>
                <a:gd name="connsiteX2" fmla="*/ 1071 w 8926"/>
                <a:gd name="connsiteY2" fmla="*/ 2858 h 9880"/>
                <a:gd name="connsiteX3" fmla="*/ 1427 w 8926"/>
                <a:gd name="connsiteY3" fmla="*/ 3714 h 9880"/>
                <a:gd name="connsiteX4" fmla="*/ 0 w 8926"/>
                <a:gd name="connsiteY4" fmla="*/ 9571 h 9880"/>
                <a:gd name="connsiteX5" fmla="*/ 1427 w 8926"/>
                <a:gd name="connsiteY5" fmla="*/ 9000 h 9880"/>
                <a:gd name="connsiteX6" fmla="*/ 2500 w 8926"/>
                <a:gd name="connsiteY6" fmla="*/ 8857 h 9880"/>
                <a:gd name="connsiteX7" fmla="*/ 2141 w 8926"/>
                <a:gd name="connsiteY7" fmla="*/ 8857 h 9880"/>
                <a:gd name="connsiteX8" fmla="*/ 2141 w 8926"/>
                <a:gd name="connsiteY8" fmla="*/ 8714 h 9880"/>
                <a:gd name="connsiteX9" fmla="*/ 5355 w 8926"/>
                <a:gd name="connsiteY9" fmla="*/ 8143 h 9880"/>
                <a:gd name="connsiteX10" fmla="*/ 6785 w 8926"/>
                <a:gd name="connsiteY10" fmla="*/ 8430 h 9880"/>
                <a:gd name="connsiteX11" fmla="*/ 7497 w 8926"/>
                <a:gd name="connsiteY11" fmla="*/ 8857 h 9880"/>
                <a:gd name="connsiteX12" fmla="*/ 7854 w 8926"/>
                <a:gd name="connsiteY12" fmla="*/ 9144 h 9880"/>
                <a:gd name="connsiteX13" fmla="*/ 8926 w 8926"/>
                <a:gd name="connsiteY13" fmla="*/ 8857 h 9880"/>
                <a:gd name="connsiteX14" fmla="*/ 8926 w 8926"/>
                <a:gd name="connsiteY14" fmla="*/ 8430 h 9880"/>
                <a:gd name="connsiteX15" fmla="*/ 7854 w 8926"/>
                <a:gd name="connsiteY15" fmla="*/ 7714 h 9880"/>
                <a:gd name="connsiteX16" fmla="*/ 7854 w 8926"/>
                <a:gd name="connsiteY16" fmla="*/ 7000 h 9880"/>
                <a:gd name="connsiteX17" fmla="*/ 8212 w 8926"/>
                <a:gd name="connsiteY17" fmla="*/ 7000 h 9880"/>
                <a:gd name="connsiteX18" fmla="*/ 7497 w 8926"/>
                <a:gd name="connsiteY18" fmla="*/ 6286 h 9880"/>
                <a:gd name="connsiteX19" fmla="*/ 7141 w 8926"/>
                <a:gd name="connsiteY19" fmla="*/ 6001 h 9880"/>
                <a:gd name="connsiteX20" fmla="*/ 5355 w 8926"/>
                <a:gd name="connsiteY20" fmla="*/ 5857 h 9880"/>
                <a:gd name="connsiteX21" fmla="*/ 3571 w 8926"/>
                <a:gd name="connsiteY21" fmla="*/ 5571 h 9880"/>
                <a:gd name="connsiteX22" fmla="*/ 2857 w 8926"/>
                <a:gd name="connsiteY22" fmla="*/ 4857 h 9880"/>
                <a:gd name="connsiteX23" fmla="*/ 2141 w 8926"/>
                <a:gd name="connsiteY23" fmla="*/ 3714 h 9880"/>
                <a:gd name="connsiteX24" fmla="*/ 2857 w 8926"/>
                <a:gd name="connsiteY24" fmla="*/ 3286 h 9880"/>
                <a:gd name="connsiteX25" fmla="*/ 2500 w 8926"/>
                <a:gd name="connsiteY25" fmla="*/ 2286 h 9880"/>
                <a:gd name="connsiteX26" fmla="*/ 4285 w 8926"/>
                <a:gd name="connsiteY26" fmla="*/ 2286 h 9880"/>
                <a:gd name="connsiteX27" fmla="*/ 4999 w 8926"/>
                <a:gd name="connsiteY27" fmla="*/ 2858 h 9880"/>
                <a:gd name="connsiteX28" fmla="*/ 6426 w 8926"/>
                <a:gd name="connsiteY28" fmla="*/ 2858 h 9880"/>
                <a:gd name="connsiteX29" fmla="*/ 6426 w 8926"/>
                <a:gd name="connsiteY29" fmla="*/ 2429 h 9880"/>
                <a:gd name="connsiteX30" fmla="*/ 6785 w 8926"/>
                <a:gd name="connsiteY30" fmla="*/ 2143 h 9880"/>
                <a:gd name="connsiteX31" fmla="*/ 7141 w 8926"/>
                <a:gd name="connsiteY31" fmla="*/ 2286 h 9880"/>
                <a:gd name="connsiteX32" fmla="*/ 6785 w 8926"/>
                <a:gd name="connsiteY32" fmla="*/ 1429 h 9880"/>
                <a:gd name="connsiteX33" fmla="*/ 7497 w 8926"/>
                <a:gd name="connsiteY33" fmla="*/ 857 h 9880"/>
                <a:gd name="connsiteX34" fmla="*/ 7497 w 8926"/>
                <a:gd name="connsiteY34" fmla="*/ 286 h 9880"/>
                <a:gd name="connsiteX35" fmla="*/ 6785 w 8926"/>
                <a:gd name="connsiteY35" fmla="*/ 0 h 9880"/>
                <a:gd name="connsiteX36" fmla="*/ 6071 w 8926"/>
                <a:gd name="connsiteY36" fmla="*/ 0 h 9880"/>
                <a:gd name="connsiteX37" fmla="*/ 3571 w 8926"/>
                <a:gd name="connsiteY37" fmla="*/ 143 h 9880"/>
                <a:gd name="connsiteX38" fmla="*/ 3214 w 8926"/>
                <a:gd name="connsiteY38" fmla="*/ 0 h 9880"/>
                <a:gd name="connsiteX39" fmla="*/ 3214 w 8926"/>
                <a:gd name="connsiteY39" fmla="*/ 714 h 9880"/>
                <a:gd name="connsiteX40" fmla="*/ 3214 w 8926"/>
                <a:gd name="connsiteY40" fmla="*/ 857 h 9880"/>
                <a:gd name="connsiteX0" fmla="*/ 2401 w 8800"/>
                <a:gd name="connsiteY0" fmla="*/ 867 h 9255"/>
                <a:gd name="connsiteX1" fmla="*/ 800 w 8800"/>
                <a:gd name="connsiteY1" fmla="*/ 1880 h 9255"/>
                <a:gd name="connsiteX2" fmla="*/ 0 w 8800"/>
                <a:gd name="connsiteY2" fmla="*/ 2893 h 9255"/>
                <a:gd name="connsiteX3" fmla="*/ 399 w 8800"/>
                <a:gd name="connsiteY3" fmla="*/ 3759 h 9255"/>
                <a:gd name="connsiteX4" fmla="*/ 399 w 8800"/>
                <a:gd name="connsiteY4" fmla="*/ 9109 h 9255"/>
                <a:gd name="connsiteX5" fmla="*/ 1601 w 8800"/>
                <a:gd name="connsiteY5" fmla="*/ 8965 h 9255"/>
                <a:gd name="connsiteX6" fmla="*/ 1199 w 8800"/>
                <a:gd name="connsiteY6" fmla="*/ 8965 h 9255"/>
                <a:gd name="connsiteX7" fmla="*/ 1199 w 8800"/>
                <a:gd name="connsiteY7" fmla="*/ 8820 h 9255"/>
                <a:gd name="connsiteX8" fmla="*/ 4799 w 8800"/>
                <a:gd name="connsiteY8" fmla="*/ 8242 h 9255"/>
                <a:gd name="connsiteX9" fmla="*/ 6401 w 8800"/>
                <a:gd name="connsiteY9" fmla="*/ 8532 h 9255"/>
                <a:gd name="connsiteX10" fmla="*/ 7199 w 8800"/>
                <a:gd name="connsiteY10" fmla="*/ 8965 h 9255"/>
                <a:gd name="connsiteX11" fmla="*/ 7599 w 8800"/>
                <a:gd name="connsiteY11" fmla="*/ 9255 h 9255"/>
                <a:gd name="connsiteX12" fmla="*/ 8800 w 8800"/>
                <a:gd name="connsiteY12" fmla="*/ 8965 h 9255"/>
                <a:gd name="connsiteX13" fmla="*/ 8800 w 8800"/>
                <a:gd name="connsiteY13" fmla="*/ 8532 h 9255"/>
                <a:gd name="connsiteX14" fmla="*/ 7599 w 8800"/>
                <a:gd name="connsiteY14" fmla="*/ 7808 h 9255"/>
                <a:gd name="connsiteX15" fmla="*/ 7599 w 8800"/>
                <a:gd name="connsiteY15" fmla="*/ 7085 h 9255"/>
                <a:gd name="connsiteX16" fmla="*/ 8000 w 8800"/>
                <a:gd name="connsiteY16" fmla="*/ 7085 h 9255"/>
                <a:gd name="connsiteX17" fmla="*/ 7199 w 8800"/>
                <a:gd name="connsiteY17" fmla="*/ 6362 h 9255"/>
                <a:gd name="connsiteX18" fmla="*/ 6800 w 8800"/>
                <a:gd name="connsiteY18" fmla="*/ 6074 h 9255"/>
                <a:gd name="connsiteX19" fmla="*/ 4799 w 8800"/>
                <a:gd name="connsiteY19" fmla="*/ 5928 h 9255"/>
                <a:gd name="connsiteX20" fmla="*/ 2801 w 8800"/>
                <a:gd name="connsiteY20" fmla="*/ 5639 h 9255"/>
                <a:gd name="connsiteX21" fmla="*/ 2001 w 8800"/>
                <a:gd name="connsiteY21" fmla="*/ 4916 h 9255"/>
                <a:gd name="connsiteX22" fmla="*/ 1199 w 8800"/>
                <a:gd name="connsiteY22" fmla="*/ 3759 h 9255"/>
                <a:gd name="connsiteX23" fmla="*/ 2001 w 8800"/>
                <a:gd name="connsiteY23" fmla="*/ 3326 h 9255"/>
                <a:gd name="connsiteX24" fmla="*/ 1601 w 8800"/>
                <a:gd name="connsiteY24" fmla="*/ 2314 h 9255"/>
                <a:gd name="connsiteX25" fmla="*/ 3601 w 8800"/>
                <a:gd name="connsiteY25" fmla="*/ 2314 h 9255"/>
                <a:gd name="connsiteX26" fmla="*/ 4400 w 8800"/>
                <a:gd name="connsiteY26" fmla="*/ 2893 h 9255"/>
                <a:gd name="connsiteX27" fmla="*/ 5999 w 8800"/>
                <a:gd name="connsiteY27" fmla="*/ 2893 h 9255"/>
                <a:gd name="connsiteX28" fmla="*/ 5999 w 8800"/>
                <a:gd name="connsiteY28" fmla="*/ 2459 h 9255"/>
                <a:gd name="connsiteX29" fmla="*/ 6401 w 8800"/>
                <a:gd name="connsiteY29" fmla="*/ 2169 h 9255"/>
                <a:gd name="connsiteX30" fmla="*/ 6800 w 8800"/>
                <a:gd name="connsiteY30" fmla="*/ 2314 h 9255"/>
                <a:gd name="connsiteX31" fmla="*/ 6401 w 8800"/>
                <a:gd name="connsiteY31" fmla="*/ 1446 h 9255"/>
                <a:gd name="connsiteX32" fmla="*/ 7199 w 8800"/>
                <a:gd name="connsiteY32" fmla="*/ 867 h 9255"/>
                <a:gd name="connsiteX33" fmla="*/ 7199 w 8800"/>
                <a:gd name="connsiteY33" fmla="*/ 289 h 9255"/>
                <a:gd name="connsiteX34" fmla="*/ 6401 w 8800"/>
                <a:gd name="connsiteY34" fmla="*/ 0 h 9255"/>
                <a:gd name="connsiteX35" fmla="*/ 5601 w 8800"/>
                <a:gd name="connsiteY35" fmla="*/ 0 h 9255"/>
                <a:gd name="connsiteX36" fmla="*/ 2801 w 8800"/>
                <a:gd name="connsiteY36" fmla="*/ 145 h 9255"/>
                <a:gd name="connsiteX37" fmla="*/ 2401 w 8800"/>
                <a:gd name="connsiteY37" fmla="*/ 0 h 9255"/>
                <a:gd name="connsiteX38" fmla="*/ 2401 w 8800"/>
                <a:gd name="connsiteY38" fmla="*/ 723 h 9255"/>
                <a:gd name="connsiteX39" fmla="*/ 2401 w 8800"/>
                <a:gd name="connsiteY39" fmla="*/ 867 h 9255"/>
                <a:gd name="connsiteX0" fmla="*/ 2728 w 10000"/>
                <a:gd name="connsiteY0" fmla="*/ 937 h 10000"/>
                <a:gd name="connsiteX1" fmla="*/ 909 w 10000"/>
                <a:gd name="connsiteY1" fmla="*/ 2031 h 10000"/>
                <a:gd name="connsiteX2" fmla="*/ 0 w 10000"/>
                <a:gd name="connsiteY2" fmla="*/ 3126 h 10000"/>
                <a:gd name="connsiteX3" fmla="*/ 453 w 10000"/>
                <a:gd name="connsiteY3" fmla="*/ 4062 h 10000"/>
                <a:gd name="connsiteX4" fmla="*/ 1819 w 10000"/>
                <a:gd name="connsiteY4" fmla="*/ 9687 h 10000"/>
                <a:gd name="connsiteX5" fmla="*/ 1363 w 10000"/>
                <a:gd name="connsiteY5" fmla="*/ 9687 h 10000"/>
                <a:gd name="connsiteX6" fmla="*/ 1363 w 10000"/>
                <a:gd name="connsiteY6" fmla="*/ 9530 h 10000"/>
                <a:gd name="connsiteX7" fmla="*/ 5453 w 10000"/>
                <a:gd name="connsiteY7" fmla="*/ 8905 h 10000"/>
                <a:gd name="connsiteX8" fmla="*/ 7274 w 10000"/>
                <a:gd name="connsiteY8" fmla="*/ 9219 h 10000"/>
                <a:gd name="connsiteX9" fmla="*/ 8181 w 10000"/>
                <a:gd name="connsiteY9" fmla="*/ 9687 h 10000"/>
                <a:gd name="connsiteX10" fmla="*/ 8635 w 10000"/>
                <a:gd name="connsiteY10" fmla="*/ 10000 h 10000"/>
                <a:gd name="connsiteX11" fmla="*/ 10000 w 10000"/>
                <a:gd name="connsiteY11" fmla="*/ 9687 h 10000"/>
                <a:gd name="connsiteX12" fmla="*/ 10000 w 10000"/>
                <a:gd name="connsiteY12" fmla="*/ 9219 h 10000"/>
                <a:gd name="connsiteX13" fmla="*/ 8635 w 10000"/>
                <a:gd name="connsiteY13" fmla="*/ 8437 h 10000"/>
                <a:gd name="connsiteX14" fmla="*/ 8635 w 10000"/>
                <a:gd name="connsiteY14" fmla="*/ 7655 h 10000"/>
                <a:gd name="connsiteX15" fmla="*/ 9091 w 10000"/>
                <a:gd name="connsiteY15" fmla="*/ 7655 h 10000"/>
                <a:gd name="connsiteX16" fmla="*/ 8181 w 10000"/>
                <a:gd name="connsiteY16" fmla="*/ 6874 h 10000"/>
                <a:gd name="connsiteX17" fmla="*/ 7727 w 10000"/>
                <a:gd name="connsiteY17" fmla="*/ 6563 h 10000"/>
                <a:gd name="connsiteX18" fmla="*/ 5453 w 10000"/>
                <a:gd name="connsiteY18" fmla="*/ 6405 h 10000"/>
                <a:gd name="connsiteX19" fmla="*/ 3183 w 10000"/>
                <a:gd name="connsiteY19" fmla="*/ 6093 h 10000"/>
                <a:gd name="connsiteX20" fmla="*/ 2274 w 10000"/>
                <a:gd name="connsiteY20" fmla="*/ 5312 h 10000"/>
                <a:gd name="connsiteX21" fmla="*/ 1363 w 10000"/>
                <a:gd name="connsiteY21" fmla="*/ 4062 h 10000"/>
                <a:gd name="connsiteX22" fmla="*/ 2274 w 10000"/>
                <a:gd name="connsiteY22" fmla="*/ 3594 h 10000"/>
                <a:gd name="connsiteX23" fmla="*/ 1819 w 10000"/>
                <a:gd name="connsiteY23" fmla="*/ 2500 h 10000"/>
                <a:gd name="connsiteX24" fmla="*/ 4092 w 10000"/>
                <a:gd name="connsiteY24" fmla="*/ 2500 h 10000"/>
                <a:gd name="connsiteX25" fmla="*/ 5000 w 10000"/>
                <a:gd name="connsiteY25" fmla="*/ 3126 h 10000"/>
                <a:gd name="connsiteX26" fmla="*/ 6817 w 10000"/>
                <a:gd name="connsiteY26" fmla="*/ 3126 h 10000"/>
                <a:gd name="connsiteX27" fmla="*/ 6817 w 10000"/>
                <a:gd name="connsiteY27" fmla="*/ 2657 h 10000"/>
                <a:gd name="connsiteX28" fmla="*/ 7274 w 10000"/>
                <a:gd name="connsiteY28" fmla="*/ 2344 h 10000"/>
                <a:gd name="connsiteX29" fmla="*/ 7727 w 10000"/>
                <a:gd name="connsiteY29" fmla="*/ 2500 h 10000"/>
                <a:gd name="connsiteX30" fmla="*/ 7274 w 10000"/>
                <a:gd name="connsiteY30" fmla="*/ 1562 h 10000"/>
                <a:gd name="connsiteX31" fmla="*/ 8181 w 10000"/>
                <a:gd name="connsiteY31" fmla="*/ 937 h 10000"/>
                <a:gd name="connsiteX32" fmla="*/ 8181 w 10000"/>
                <a:gd name="connsiteY32" fmla="*/ 312 h 10000"/>
                <a:gd name="connsiteX33" fmla="*/ 7274 w 10000"/>
                <a:gd name="connsiteY33" fmla="*/ 0 h 10000"/>
                <a:gd name="connsiteX34" fmla="*/ 6365 w 10000"/>
                <a:gd name="connsiteY34" fmla="*/ 0 h 10000"/>
                <a:gd name="connsiteX35" fmla="*/ 3183 w 10000"/>
                <a:gd name="connsiteY35" fmla="*/ 157 h 10000"/>
                <a:gd name="connsiteX36" fmla="*/ 2728 w 10000"/>
                <a:gd name="connsiteY36" fmla="*/ 0 h 10000"/>
                <a:gd name="connsiteX37" fmla="*/ 2728 w 10000"/>
                <a:gd name="connsiteY37" fmla="*/ 781 h 10000"/>
                <a:gd name="connsiteX38" fmla="*/ 2728 w 10000"/>
                <a:gd name="connsiteY38" fmla="*/ 937 h 10000"/>
                <a:gd name="connsiteX0" fmla="*/ 2728 w 10000"/>
                <a:gd name="connsiteY0" fmla="*/ 937 h 10000"/>
                <a:gd name="connsiteX1" fmla="*/ 909 w 10000"/>
                <a:gd name="connsiteY1" fmla="*/ 2031 h 10000"/>
                <a:gd name="connsiteX2" fmla="*/ 0 w 10000"/>
                <a:gd name="connsiteY2" fmla="*/ 3126 h 10000"/>
                <a:gd name="connsiteX3" fmla="*/ 453 w 10000"/>
                <a:gd name="connsiteY3" fmla="*/ 4062 h 10000"/>
                <a:gd name="connsiteX4" fmla="*/ 1819 w 10000"/>
                <a:gd name="connsiteY4" fmla="*/ 9687 h 10000"/>
                <a:gd name="connsiteX5" fmla="*/ 1363 w 10000"/>
                <a:gd name="connsiteY5" fmla="*/ 9530 h 10000"/>
                <a:gd name="connsiteX6" fmla="*/ 5453 w 10000"/>
                <a:gd name="connsiteY6" fmla="*/ 8905 h 10000"/>
                <a:gd name="connsiteX7" fmla="*/ 7274 w 10000"/>
                <a:gd name="connsiteY7" fmla="*/ 9219 h 10000"/>
                <a:gd name="connsiteX8" fmla="*/ 8181 w 10000"/>
                <a:gd name="connsiteY8" fmla="*/ 9687 h 10000"/>
                <a:gd name="connsiteX9" fmla="*/ 8635 w 10000"/>
                <a:gd name="connsiteY9" fmla="*/ 10000 h 10000"/>
                <a:gd name="connsiteX10" fmla="*/ 10000 w 10000"/>
                <a:gd name="connsiteY10" fmla="*/ 9687 h 10000"/>
                <a:gd name="connsiteX11" fmla="*/ 10000 w 10000"/>
                <a:gd name="connsiteY11" fmla="*/ 9219 h 10000"/>
                <a:gd name="connsiteX12" fmla="*/ 8635 w 10000"/>
                <a:gd name="connsiteY12" fmla="*/ 8437 h 10000"/>
                <a:gd name="connsiteX13" fmla="*/ 8635 w 10000"/>
                <a:gd name="connsiteY13" fmla="*/ 7655 h 10000"/>
                <a:gd name="connsiteX14" fmla="*/ 9091 w 10000"/>
                <a:gd name="connsiteY14" fmla="*/ 7655 h 10000"/>
                <a:gd name="connsiteX15" fmla="*/ 8181 w 10000"/>
                <a:gd name="connsiteY15" fmla="*/ 6874 h 10000"/>
                <a:gd name="connsiteX16" fmla="*/ 7727 w 10000"/>
                <a:gd name="connsiteY16" fmla="*/ 6563 h 10000"/>
                <a:gd name="connsiteX17" fmla="*/ 5453 w 10000"/>
                <a:gd name="connsiteY17" fmla="*/ 6405 h 10000"/>
                <a:gd name="connsiteX18" fmla="*/ 3183 w 10000"/>
                <a:gd name="connsiteY18" fmla="*/ 6093 h 10000"/>
                <a:gd name="connsiteX19" fmla="*/ 2274 w 10000"/>
                <a:gd name="connsiteY19" fmla="*/ 5312 h 10000"/>
                <a:gd name="connsiteX20" fmla="*/ 1363 w 10000"/>
                <a:gd name="connsiteY20" fmla="*/ 4062 h 10000"/>
                <a:gd name="connsiteX21" fmla="*/ 2274 w 10000"/>
                <a:gd name="connsiteY21" fmla="*/ 3594 h 10000"/>
                <a:gd name="connsiteX22" fmla="*/ 1819 w 10000"/>
                <a:gd name="connsiteY22" fmla="*/ 2500 h 10000"/>
                <a:gd name="connsiteX23" fmla="*/ 4092 w 10000"/>
                <a:gd name="connsiteY23" fmla="*/ 2500 h 10000"/>
                <a:gd name="connsiteX24" fmla="*/ 5000 w 10000"/>
                <a:gd name="connsiteY24" fmla="*/ 3126 h 10000"/>
                <a:gd name="connsiteX25" fmla="*/ 6817 w 10000"/>
                <a:gd name="connsiteY25" fmla="*/ 3126 h 10000"/>
                <a:gd name="connsiteX26" fmla="*/ 6817 w 10000"/>
                <a:gd name="connsiteY26" fmla="*/ 2657 h 10000"/>
                <a:gd name="connsiteX27" fmla="*/ 7274 w 10000"/>
                <a:gd name="connsiteY27" fmla="*/ 2344 h 10000"/>
                <a:gd name="connsiteX28" fmla="*/ 7727 w 10000"/>
                <a:gd name="connsiteY28" fmla="*/ 2500 h 10000"/>
                <a:gd name="connsiteX29" fmla="*/ 7274 w 10000"/>
                <a:gd name="connsiteY29" fmla="*/ 1562 h 10000"/>
                <a:gd name="connsiteX30" fmla="*/ 8181 w 10000"/>
                <a:gd name="connsiteY30" fmla="*/ 937 h 10000"/>
                <a:gd name="connsiteX31" fmla="*/ 8181 w 10000"/>
                <a:gd name="connsiteY31" fmla="*/ 312 h 10000"/>
                <a:gd name="connsiteX32" fmla="*/ 7274 w 10000"/>
                <a:gd name="connsiteY32" fmla="*/ 0 h 10000"/>
                <a:gd name="connsiteX33" fmla="*/ 6365 w 10000"/>
                <a:gd name="connsiteY33" fmla="*/ 0 h 10000"/>
                <a:gd name="connsiteX34" fmla="*/ 3183 w 10000"/>
                <a:gd name="connsiteY34" fmla="*/ 157 h 10000"/>
                <a:gd name="connsiteX35" fmla="*/ 2728 w 10000"/>
                <a:gd name="connsiteY35" fmla="*/ 0 h 10000"/>
                <a:gd name="connsiteX36" fmla="*/ 2728 w 10000"/>
                <a:gd name="connsiteY36" fmla="*/ 781 h 10000"/>
                <a:gd name="connsiteX37" fmla="*/ 2728 w 10000"/>
                <a:gd name="connsiteY37" fmla="*/ 937 h 10000"/>
                <a:gd name="connsiteX0" fmla="*/ 2728 w 10000"/>
                <a:gd name="connsiteY0" fmla="*/ 937 h 10000"/>
                <a:gd name="connsiteX1" fmla="*/ 909 w 10000"/>
                <a:gd name="connsiteY1" fmla="*/ 2031 h 10000"/>
                <a:gd name="connsiteX2" fmla="*/ 0 w 10000"/>
                <a:gd name="connsiteY2" fmla="*/ 3126 h 10000"/>
                <a:gd name="connsiteX3" fmla="*/ 453 w 10000"/>
                <a:gd name="connsiteY3" fmla="*/ 4062 h 10000"/>
                <a:gd name="connsiteX4" fmla="*/ 1819 w 10000"/>
                <a:gd name="connsiteY4" fmla="*/ 9687 h 10000"/>
                <a:gd name="connsiteX5" fmla="*/ 5453 w 10000"/>
                <a:gd name="connsiteY5" fmla="*/ 8905 h 10000"/>
                <a:gd name="connsiteX6" fmla="*/ 7274 w 10000"/>
                <a:gd name="connsiteY6" fmla="*/ 9219 h 10000"/>
                <a:gd name="connsiteX7" fmla="*/ 8181 w 10000"/>
                <a:gd name="connsiteY7" fmla="*/ 9687 h 10000"/>
                <a:gd name="connsiteX8" fmla="*/ 8635 w 10000"/>
                <a:gd name="connsiteY8" fmla="*/ 10000 h 10000"/>
                <a:gd name="connsiteX9" fmla="*/ 10000 w 10000"/>
                <a:gd name="connsiteY9" fmla="*/ 9687 h 10000"/>
                <a:gd name="connsiteX10" fmla="*/ 10000 w 10000"/>
                <a:gd name="connsiteY10" fmla="*/ 9219 h 10000"/>
                <a:gd name="connsiteX11" fmla="*/ 8635 w 10000"/>
                <a:gd name="connsiteY11" fmla="*/ 8437 h 10000"/>
                <a:gd name="connsiteX12" fmla="*/ 8635 w 10000"/>
                <a:gd name="connsiteY12" fmla="*/ 7655 h 10000"/>
                <a:gd name="connsiteX13" fmla="*/ 9091 w 10000"/>
                <a:gd name="connsiteY13" fmla="*/ 7655 h 10000"/>
                <a:gd name="connsiteX14" fmla="*/ 8181 w 10000"/>
                <a:gd name="connsiteY14" fmla="*/ 6874 h 10000"/>
                <a:gd name="connsiteX15" fmla="*/ 7727 w 10000"/>
                <a:gd name="connsiteY15" fmla="*/ 6563 h 10000"/>
                <a:gd name="connsiteX16" fmla="*/ 5453 w 10000"/>
                <a:gd name="connsiteY16" fmla="*/ 6405 h 10000"/>
                <a:gd name="connsiteX17" fmla="*/ 3183 w 10000"/>
                <a:gd name="connsiteY17" fmla="*/ 6093 h 10000"/>
                <a:gd name="connsiteX18" fmla="*/ 2274 w 10000"/>
                <a:gd name="connsiteY18" fmla="*/ 5312 h 10000"/>
                <a:gd name="connsiteX19" fmla="*/ 1363 w 10000"/>
                <a:gd name="connsiteY19" fmla="*/ 4062 h 10000"/>
                <a:gd name="connsiteX20" fmla="*/ 2274 w 10000"/>
                <a:gd name="connsiteY20" fmla="*/ 3594 h 10000"/>
                <a:gd name="connsiteX21" fmla="*/ 1819 w 10000"/>
                <a:gd name="connsiteY21" fmla="*/ 2500 h 10000"/>
                <a:gd name="connsiteX22" fmla="*/ 4092 w 10000"/>
                <a:gd name="connsiteY22" fmla="*/ 2500 h 10000"/>
                <a:gd name="connsiteX23" fmla="*/ 5000 w 10000"/>
                <a:gd name="connsiteY23" fmla="*/ 3126 h 10000"/>
                <a:gd name="connsiteX24" fmla="*/ 6817 w 10000"/>
                <a:gd name="connsiteY24" fmla="*/ 3126 h 10000"/>
                <a:gd name="connsiteX25" fmla="*/ 6817 w 10000"/>
                <a:gd name="connsiteY25" fmla="*/ 2657 h 10000"/>
                <a:gd name="connsiteX26" fmla="*/ 7274 w 10000"/>
                <a:gd name="connsiteY26" fmla="*/ 2344 h 10000"/>
                <a:gd name="connsiteX27" fmla="*/ 7727 w 10000"/>
                <a:gd name="connsiteY27" fmla="*/ 2500 h 10000"/>
                <a:gd name="connsiteX28" fmla="*/ 7274 w 10000"/>
                <a:gd name="connsiteY28" fmla="*/ 1562 h 10000"/>
                <a:gd name="connsiteX29" fmla="*/ 8181 w 10000"/>
                <a:gd name="connsiteY29" fmla="*/ 937 h 10000"/>
                <a:gd name="connsiteX30" fmla="*/ 8181 w 10000"/>
                <a:gd name="connsiteY30" fmla="*/ 312 h 10000"/>
                <a:gd name="connsiteX31" fmla="*/ 7274 w 10000"/>
                <a:gd name="connsiteY31" fmla="*/ 0 h 10000"/>
                <a:gd name="connsiteX32" fmla="*/ 6365 w 10000"/>
                <a:gd name="connsiteY32" fmla="*/ 0 h 10000"/>
                <a:gd name="connsiteX33" fmla="*/ 3183 w 10000"/>
                <a:gd name="connsiteY33" fmla="*/ 157 h 10000"/>
                <a:gd name="connsiteX34" fmla="*/ 2728 w 10000"/>
                <a:gd name="connsiteY34" fmla="*/ 0 h 10000"/>
                <a:gd name="connsiteX35" fmla="*/ 2728 w 10000"/>
                <a:gd name="connsiteY35" fmla="*/ 781 h 10000"/>
                <a:gd name="connsiteX36" fmla="*/ 2728 w 10000"/>
                <a:gd name="connsiteY36" fmla="*/ 937 h 10000"/>
                <a:gd name="connsiteX0" fmla="*/ 2788 w 10060"/>
                <a:gd name="connsiteY0" fmla="*/ 937 h 10000"/>
                <a:gd name="connsiteX1" fmla="*/ 969 w 10060"/>
                <a:gd name="connsiteY1" fmla="*/ 2031 h 10000"/>
                <a:gd name="connsiteX2" fmla="*/ 60 w 10060"/>
                <a:gd name="connsiteY2" fmla="*/ 3126 h 10000"/>
                <a:gd name="connsiteX3" fmla="*/ 513 w 10060"/>
                <a:gd name="connsiteY3" fmla="*/ 4062 h 10000"/>
                <a:gd name="connsiteX4" fmla="*/ 5513 w 10060"/>
                <a:gd name="connsiteY4" fmla="*/ 8905 h 10000"/>
                <a:gd name="connsiteX5" fmla="*/ 7334 w 10060"/>
                <a:gd name="connsiteY5" fmla="*/ 9219 h 10000"/>
                <a:gd name="connsiteX6" fmla="*/ 8241 w 10060"/>
                <a:gd name="connsiteY6" fmla="*/ 9687 h 10000"/>
                <a:gd name="connsiteX7" fmla="*/ 8695 w 10060"/>
                <a:gd name="connsiteY7" fmla="*/ 10000 h 10000"/>
                <a:gd name="connsiteX8" fmla="*/ 10060 w 10060"/>
                <a:gd name="connsiteY8" fmla="*/ 9687 h 10000"/>
                <a:gd name="connsiteX9" fmla="*/ 10060 w 10060"/>
                <a:gd name="connsiteY9" fmla="*/ 9219 h 10000"/>
                <a:gd name="connsiteX10" fmla="*/ 8695 w 10060"/>
                <a:gd name="connsiteY10" fmla="*/ 8437 h 10000"/>
                <a:gd name="connsiteX11" fmla="*/ 8695 w 10060"/>
                <a:gd name="connsiteY11" fmla="*/ 7655 h 10000"/>
                <a:gd name="connsiteX12" fmla="*/ 9151 w 10060"/>
                <a:gd name="connsiteY12" fmla="*/ 7655 h 10000"/>
                <a:gd name="connsiteX13" fmla="*/ 8241 w 10060"/>
                <a:gd name="connsiteY13" fmla="*/ 6874 h 10000"/>
                <a:gd name="connsiteX14" fmla="*/ 7787 w 10060"/>
                <a:gd name="connsiteY14" fmla="*/ 6563 h 10000"/>
                <a:gd name="connsiteX15" fmla="*/ 5513 w 10060"/>
                <a:gd name="connsiteY15" fmla="*/ 6405 h 10000"/>
                <a:gd name="connsiteX16" fmla="*/ 3243 w 10060"/>
                <a:gd name="connsiteY16" fmla="*/ 6093 h 10000"/>
                <a:gd name="connsiteX17" fmla="*/ 2334 w 10060"/>
                <a:gd name="connsiteY17" fmla="*/ 5312 h 10000"/>
                <a:gd name="connsiteX18" fmla="*/ 1423 w 10060"/>
                <a:gd name="connsiteY18" fmla="*/ 4062 h 10000"/>
                <a:gd name="connsiteX19" fmla="*/ 2334 w 10060"/>
                <a:gd name="connsiteY19" fmla="*/ 3594 h 10000"/>
                <a:gd name="connsiteX20" fmla="*/ 1879 w 10060"/>
                <a:gd name="connsiteY20" fmla="*/ 2500 h 10000"/>
                <a:gd name="connsiteX21" fmla="*/ 4152 w 10060"/>
                <a:gd name="connsiteY21" fmla="*/ 2500 h 10000"/>
                <a:gd name="connsiteX22" fmla="*/ 5060 w 10060"/>
                <a:gd name="connsiteY22" fmla="*/ 3126 h 10000"/>
                <a:gd name="connsiteX23" fmla="*/ 6877 w 10060"/>
                <a:gd name="connsiteY23" fmla="*/ 3126 h 10000"/>
                <a:gd name="connsiteX24" fmla="*/ 6877 w 10060"/>
                <a:gd name="connsiteY24" fmla="*/ 2657 h 10000"/>
                <a:gd name="connsiteX25" fmla="*/ 7334 w 10060"/>
                <a:gd name="connsiteY25" fmla="*/ 2344 h 10000"/>
                <a:gd name="connsiteX26" fmla="*/ 7787 w 10060"/>
                <a:gd name="connsiteY26" fmla="*/ 2500 h 10000"/>
                <a:gd name="connsiteX27" fmla="*/ 7334 w 10060"/>
                <a:gd name="connsiteY27" fmla="*/ 1562 h 10000"/>
                <a:gd name="connsiteX28" fmla="*/ 8241 w 10060"/>
                <a:gd name="connsiteY28" fmla="*/ 937 h 10000"/>
                <a:gd name="connsiteX29" fmla="*/ 8241 w 10060"/>
                <a:gd name="connsiteY29" fmla="*/ 312 h 10000"/>
                <a:gd name="connsiteX30" fmla="*/ 7334 w 10060"/>
                <a:gd name="connsiteY30" fmla="*/ 0 h 10000"/>
                <a:gd name="connsiteX31" fmla="*/ 6425 w 10060"/>
                <a:gd name="connsiteY31" fmla="*/ 0 h 10000"/>
                <a:gd name="connsiteX32" fmla="*/ 3243 w 10060"/>
                <a:gd name="connsiteY32" fmla="*/ 157 h 10000"/>
                <a:gd name="connsiteX33" fmla="*/ 2788 w 10060"/>
                <a:gd name="connsiteY33" fmla="*/ 0 h 10000"/>
                <a:gd name="connsiteX34" fmla="*/ 2788 w 10060"/>
                <a:gd name="connsiteY34" fmla="*/ 781 h 10000"/>
                <a:gd name="connsiteX35" fmla="*/ 2788 w 10060"/>
                <a:gd name="connsiteY35" fmla="*/ 937 h 10000"/>
                <a:gd name="connsiteX0" fmla="*/ 2915 w 10187"/>
                <a:gd name="connsiteY0" fmla="*/ 937 h 10000"/>
                <a:gd name="connsiteX1" fmla="*/ 1096 w 10187"/>
                <a:gd name="connsiteY1" fmla="*/ 2031 h 10000"/>
                <a:gd name="connsiteX2" fmla="*/ 187 w 10187"/>
                <a:gd name="connsiteY2" fmla="*/ 3126 h 10000"/>
                <a:gd name="connsiteX3" fmla="*/ 640 w 10187"/>
                <a:gd name="connsiteY3" fmla="*/ 4062 h 10000"/>
                <a:gd name="connsiteX4" fmla="*/ 7461 w 10187"/>
                <a:gd name="connsiteY4" fmla="*/ 9219 h 10000"/>
                <a:gd name="connsiteX5" fmla="*/ 8368 w 10187"/>
                <a:gd name="connsiteY5" fmla="*/ 9687 h 10000"/>
                <a:gd name="connsiteX6" fmla="*/ 8822 w 10187"/>
                <a:gd name="connsiteY6" fmla="*/ 10000 h 10000"/>
                <a:gd name="connsiteX7" fmla="*/ 10187 w 10187"/>
                <a:gd name="connsiteY7" fmla="*/ 9687 h 10000"/>
                <a:gd name="connsiteX8" fmla="*/ 10187 w 10187"/>
                <a:gd name="connsiteY8" fmla="*/ 9219 h 10000"/>
                <a:gd name="connsiteX9" fmla="*/ 8822 w 10187"/>
                <a:gd name="connsiteY9" fmla="*/ 8437 h 10000"/>
                <a:gd name="connsiteX10" fmla="*/ 8822 w 10187"/>
                <a:gd name="connsiteY10" fmla="*/ 7655 h 10000"/>
                <a:gd name="connsiteX11" fmla="*/ 9278 w 10187"/>
                <a:gd name="connsiteY11" fmla="*/ 7655 h 10000"/>
                <a:gd name="connsiteX12" fmla="*/ 8368 w 10187"/>
                <a:gd name="connsiteY12" fmla="*/ 6874 h 10000"/>
                <a:gd name="connsiteX13" fmla="*/ 7914 w 10187"/>
                <a:gd name="connsiteY13" fmla="*/ 6563 h 10000"/>
                <a:gd name="connsiteX14" fmla="*/ 5640 w 10187"/>
                <a:gd name="connsiteY14" fmla="*/ 6405 h 10000"/>
                <a:gd name="connsiteX15" fmla="*/ 3370 w 10187"/>
                <a:gd name="connsiteY15" fmla="*/ 6093 h 10000"/>
                <a:gd name="connsiteX16" fmla="*/ 2461 w 10187"/>
                <a:gd name="connsiteY16" fmla="*/ 5312 h 10000"/>
                <a:gd name="connsiteX17" fmla="*/ 1550 w 10187"/>
                <a:gd name="connsiteY17" fmla="*/ 4062 h 10000"/>
                <a:gd name="connsiteX18" fmla="*/ 2461 w 10187"/>
                <a:gd name="connsiteY18" fmla="*/ 3594 h 10000"/>
                <a:gd name="connsiteX19" fmla="*/ 2006 w 10187"/>
                <a:gd name="connsiteY19" fmla="*/ 2500 h 10000"/>
                <a:gd name="connsiteX20" fmla="*/ 4279 w 10187"/>
                <a:gd name="connsiteY20" fmla="*/ 2500 h 10000"/>
                <a:gd name="connsiteX21" fmla="*/ 5187 w 10187"/>
                <a:gd name="connsiteY21" fmla="*/ 3126 h 10000"/>
                <a:gd name="connsiteX22" fmla="*/ 7004 w 10187"/>
                <a:gd name="connsiteY22" fmla="*/ 3126 h 10000"/>
                <a:gd name="connsiteX23" fmla="*/ 7004 w 10187"/>
                <a:gd name="connsiteY23" fmla="*/ 2657 h 10000"/>
                <a:gd name="connsiteX24" fmla="*/ 7461 w 10187"/>
                <a:gd name="connsiteY24" fmla="*/ 2344 h 10000"/>
                <a:gd name="connsiteX25" fmla="*/ 7914 w 10187"/>
                <a:gd name="connsiteY25" fmla="*/ 2500 h 10000"/>
                <a:gd name="connsiteX26" fmla="*/ 7461 w 10187"/>
                <a:gd name="connsiteY26" fmla="*/ 1562 h 10000"/>
                <a:gd name="connsiteX27" fmla="*/ 8368 w 10187"/>
                <a:gd name="connsiteY27" fmla="*/ 937 h 10000"/>
                <a:gd name="connsiteX28" fmla="*/ 8368 w 10187"/>
                <a:gd name="connsiteY28" fmla="*/ 312 h 10000"/>
                <a:gd name="connsiteX29" fmla="*/ 7461 w 10187"/>
                <a:gd name="connsiteY29" fmla="*/ 0 h 10000"/>
                <a:gd name="connsiteX30" fmla="*/ 6552 w 10187"/>
                <a:gd name="connsiteY30" fmla="*/ 0 h 10000"/>
                <a:gd name="connsiteX31" fmla="*/ 3370 w 10187"/>
                <a:gd name="connsiteY31" fmla="*/ 157 h 10000"/>
                <a:gd name="connsiteX32" fmla="*/ 2915 w 10187"/>
                <a:gd name="connsiteY32" fmla="*/ 0 h 10000"/>
                <a:gd name="connsiteX33" fmla="*/ 2915 w 10187"/>
                <a:gd name="connsiteY33" fmla="*/ 781 h 10000"/>
                <a:gd name="connsiteX34" fmla="*/ 2915 w 10187"/>
                <a:gd name="connsiteY34" fmla="*/ 937 h 10000"/>
                <a:gd name="connsiteX0" fmla="*/ 2980 w 10252"/>
                <a:gd name="connsiteY0" fmla="*/ 937 h 10000"/>
                <a:gd name="connsiteX1" fmla="*/ 1161 w 10252"/>
                <a:gd name="connsiteY1" fmla="*/ 2031 h 10000"/>
                <a:gd name="connsiteX2" fmla="*/ 252 w 10252"/>
                <a:gd name="connsiteY2" fmla="*/ 3126 h 10000"/>
                <a:gd name="connsiteX3" fmla="*/ 705 w 10252"/>
                <a:gd name="connsiteY3" fmla="*/ 4062 h 10000"/>
                <a:gd name="connsiteX4" fmla="*/ 8433 w 10252"/>
                <a:gd name="connsiteY4" fmla="*/ 9687 h 10000"/>
                <a:gd name="connsiteX5" fmla="*/ 8887 w 10252"/>
                <a:gd name="connsiteY5" fmla="*/ 10000 h 10000"/>
                <a:gd name="connsiteX6" fmla="*/ 10252 w 10252"/>
                <a:gd name="connsiteY6" fmla="*/ 9687 h 10000"/>
                <a:gd name="connsiteX7" fmla="*/ 10252 w 10252"/>
                <a:gd name="connsiteY7" fmla="*/ 9219 h 10000"/>
                <a:gd name="connsiteX8" fmla="*/ 8887 w 10252"/>
                <a:gd name="connsiteY8" fmla="*/ 8437 h 10000"/>
                <a:gd name="connsiteX9" fmla="*/ 8887 w 10252"/>
                <a:gd name="connsiteY9" fmla="*/ 7655 h 10000"/>
                <a:gd name="connsiteX10" fmla="*/ 9343 w 10252"/>
                <a:gd name="connsiteY10" fmla="*/ 7655 h 10000"/>
                <a:gd name="connsiteX11" fmla="*/ 8433 w 10252"/>
                <a:gd name="connsiteY11" fmla="*/ 6874 h 10000"/>
                <a:gd name="connsiteX12" fmla="*/ 7979 w 10252"/>
                <a:gd name="connsiteY12" fmla="*/ 6563 h 10000"/>
                <a:gd name="connsiteX13" fmla="*/ 5705 w 10252"/>
                <a:gd name="connsiteY13" fmla="*/ 6405 h 10000"/>
                <a:gd name="connsiteX14" fmla="*/ 3435 w 10252"/>
                <a:gd name="connsiteY14" fmla="*/ 6093 h 10000"/>
                <a:gd name="connsiteX15" fmla="*/ 2526 w 10252"/>
                <a:gd name="connsiteY15" fmla="*/ 5312 h 10000"/>
                <a:gd name="connsiteX16" fmla="*/ 1615 w 10252"/>
                <a:gd name="connsiteY16" fmla="*/ 4062 h 10000"/>
                <a:gd name="connsiteX17" fmla="*/ 2526 w 10252"/>
                <a:gd name="connsiteY17" fmla="*/ 3594 h 10000"/>
                <a:gd name="connsiteX18" fmla="*/ 2071 w 10252"/>
                <a:gd name="connsiteY18" fmla="*/ 2500 h 10000"/>
                <a:gd name="connsiteX19" fmla="*/ 4344 w 10252"/>
                <a:gd name="connsiteY19" fmla="*/ 2500 h 10000"/>
                <a:gd name="connsiteX20" fmla="*/ 5252 w 10252"/>
                <a:gd name="connsiteY20" fmla="*/ 3126 h 10000"/>
                <a:gd name="connsiteX21" fmla="*/ 7069 w 10252"/>
                <a:gd name="connsiteY21" fmla="*/ 3126 h 10000"/>
                <a:gd name="connsiteX22" fmla="*/ 7069 w 10252"/>
                <a:gd name="connsiteY22" fmla="*/ 2657 h 10000"/>
                <a:gd name="connsiteX23" fmla="*/ 7526 w 10252"/>
                <a:gd name="connsiteY23" fmla="*/ 2344 h 10000"/>
                <a:gd name="connsiteX24" fmla="*/ 7979 w 10252"/>
                <a:gd name="connsiteY24" fmla="*/ 2500 h 10000"/>
                <a:gd name="connsiteX25" fmla="*/ 7526 w 10252"/>
                <a:gd name="connsiteY25" fmla="*/ 1562 h 10000"/>
                <a:gd name="connsiteX26" fmla="*/ 8433 w 10252"/>
                <a:gd name="connsiteY26" fmla="*/ 937 h 10000"/>
                <a:gd name="connsiteX27" fmla="*/ 8433 w 10252"/>
                <a:gd name="connsiteY27" fmla="*/ 312 h 10000"/>
                <a:gd name="connsiteX28" fmla="*/ 7526 w 10252"/>
                <a:gd name="connsiteY28" fmla="*/ 0 h 10000"/>
                <a:gd name="connsiteX29" fmla="*/ 6617 w 10252"/>
                <a:gd name="connsiteY29" fmla="*/ 0 h 10000"/>
                <a:gd name="connsiteX30" fmla="*/ 3435 w 10252"/>
                <a:gd name="connsiteY30" fmla="*/ 157 h 10000"/>
                <a:gd name="connsiteX31" fmla="*/ 2980 w 10252"/>
                <a:gd name="connsiteY31" fmla="*/ 0 h 10000"/>
                <a:gd name="connsiteX32" fmla="*/ 2980 w 10252"/>
                <a:gd name="connsiteY32" fmla="*/ 781 h 10000"/>
                <a:gd name="connsiteX33" fmla="*/ 2980 w 10252"/>
                <a:gd name="connsiteY33" fmla="*/ 937 h 10000"/>
                <a:gd name="connsiteX0" fmla="*/ 3012 w 10284"/>
                <a:gd name="connsiteY0" fmla="*/ 937 h 10000"/>
                <a:gd name="connsiteX1" fmla="*/ 1193 w 10284"/>
                <a:gd name="connsiteY1" fmla="*/ 2031 h 10000"/>
                <a:gd name="connsiteX2" fmla="*/ 284 w 10284"/>
                <a:gd name="connsiteY2" fmla="*/ 3126 h 10000"/>
                <a:gd name="connsiteX3" fmla="*/ 737 w 10284"/>
                <a:gd name="connsiteY3" fmla="*/ 4062 h 10000"/>
                <a:gd name="connsiteX4" fmla="*/ 8919 w 10284"/>
                <a:gd name="connsiteY4" fmla="*/ 10000 h 10000"/>
                <a:gd name="connsiteX5" fmla="*/ 10284 w 10284"/>
                <a:gd name="connsiteY5" fmla="*/ 9687 h 10000"/>
                <a:gd name="connsiteX6" fmla="*/ 10284 w 10284"/>
                <a:gd name="connsiteY6" fmla="*/ 9219 h 10000"/>
                <a:gd name="connsiteX7" fmla="*/ 8919 w 10284"/>
                <a:gd name="connsiteY7" fmla="*/ 8437 h 10000"/>
                <a:gd name="connsiteX8" fmla="*/ 8919 w 10284"/>
                <a:gd name="connsiteY8" fmla="*/ 7655 h 10000"/>
                <a:gd name="connsiteX9" fmla="*/ 9375 w 10284"/>
                <a:gd name="connsiteY9" fmla="*/ 7655 h 10000"/>
                <a:gd name="connsiteX10" fmla="*/ 8465 w 10284"/>
                <a:gd name="connsiteY10" fmla="*/ 6874 h 10000"/>
                <a:gd name="connsiteX11" fmla="*/ 8011 w 10284"/>
                <a:gd name="connsiteY11" fmla="*/ 6563 h 10000"/>
                <a:gd name="connsiteX12" fmla="*/ 5737 w 10284"/>
                <a:gd name="connsiteY12" fmla="*/ 6405 h 10000"/>
                <a:gd name="connsiteX13" fmla="*/ 3467 w 10284"/>
                <a:gd name="connsiteY13" fmla="*/ 6093 h 10000"/>
                <a:gd name="connsiteX14" fmla="*/ 2558 w 10284"/>
                <a:gd name="connsiteY14" fmla="*/ 5312 h 10000"/>
                <a:gd name="connsiteX15" fmla="*/ 1647 w 10284"/>
                <a:gd name="connsiteY15" fmla="*/ 4062 h 10000"/>
                <a:gd name="connsiteX16" fmla="*/ 2558 w 10284"/>
                <a:gd name="connsiteY16" fmla="*/ 3594 h 10000"/>
                <a:gd name="connsiteX17" fmla="*/ 2103 w 10284"/>
                <a:gd name="connsiteY17" fmla="*/ 2500 h 10000"/>
                <a:gd name="connsiteX18" fmla="*/ 4376 w 10284"/>
                <a:gd name="connsiteY18" fmla="*/ 2500 h 10000"/>
                <a:gd name="connsiteX19" fmla="*/ 5284 w 10284"/>
                <a:gd name="connsiteY19" fmla="*/ 3126 h 10000"/>
                <a:gd name="connsiteX20" fmla="*/ 7101 w 10284"/>
                <a:gd name="connsiteY20" fmla="*/ 3126 h 10000"/>
                <a:gd name="connsiteX21" fmla="*/ 7101 w 10284"/>
                <a:gd name="connsiteY21" fmla="*/ 2657 h 10000"/>
                <a:gd name="connsiteX22" fmla="*/ 7558 w 10284"/>
                <a:gd name="connsiteY22" fmla="*/ 2344 h 10000"/>
                <a:gd name="connsiteX23" fmla="*/ 8011 w 10284"/>
                <a:gd name="connsiteY23" fmla="*/ 2500 h 10000"/>
                <a:gd name="connsiteX24" fmla="*/ 7558 w 10284"/>
                <a:gd name="connsiteY24" fmla="*/ 1562 h 10000"/>
                <a:gd name="connsiteX25" fmla="*/ 8465 w 10284"/>
                <a:gd name="connsiteY25" fmla="*/ 937 h 10000"/>
                <a:gd name="connsiteX26" fmla="*/ 8465 w 10284"/>
                <a:gd name="connsiteY26" fmla="*/ 312 h 10000"/>
                <a:gd name="connsiteX27" fmla="*/ 7558 w 10284"/>
                <a:gd name="connsiteY27" fmla="*/ 0 h 10000"/>
                <a:gd name="connsiteX28" fmla="*/ 6649 w 10284"/>
                <a:gd name="connsiteY28" fmla="*/ 0 h 10000"/>
                <a:gd name="connsiteX29" fmla="*/ 3467 w 10284"/>
                <a:gd name="connsiteY29" fmla="*/ 157 h 10000"/>
                <a:gd name="connsiteX30" fmla="*/ 3012 w 10284"/>
                <a:gd name="connsiteY30" fmla="*/ 0 h 10000"/>
                <a:gd name="connsiteX31" fmla="*/ 3012 w 10284"/>
                <a:gd name="connsiteY31" fmla="*/ 781 h 10000"/>
                <a:gd name="connsiteX32" fmla="*/ 3012 w 10284"/>
                <a:gd name="connsiteY32" fmla="*/ 937 h 10000"/>
                <a:gd name="connsiteX0" fmla="*/ 3111 w 10383"/>
                <a:gd name="connsiteY0" fmla="*/ 937 h 9687"/>
                <a:gd name="connsiteX1" fmla="*/ 1292 w 10383"/>
                <a:gd name="connsiteY1" fmla="*/ 2031 h 9687"/>
                <a:gd name="connsiteX2" fmla="*/ 383 w 10383"/>
                <a:gd name="connsiteY2" fmla="*/ 3126 h 9687"/>
                <a:gd name="connsiteX3" fmla="*/ 836 w 10383"/>
                <a:gd name="connsiteY3" fmla="*/ 4062 h 9687"/>
                <a:gd name="connsiteX4" fmla="*/ 10383 w 10383"/>
                <a:gd name="connsiteY4" fmla="*/ 9687 h 9687"/>
                <a:gd name="connsiteX5" fmla="*/ 10383 w 10383"/>
                <a:gd name="connsiteY5" fmla="*/ 9219 h 9687"/>
                <a:gd name="connsiteX6" fmla="*/ 9018 w 10383"/>
                <a:gd name="connsiteY6" fmla="*/ 8437 h 9687"/>
                <a:gd name="connsiteX7" fmla="*/ 9018 w 10383"/>
                <a:gd name="connsiteY7" fmla="*/ 7655 h 9687"/>
                <a:gd name="connsiteX8" fmla="*/ 9474 w 10383"/>
                <a:gd name="connsiteY8" fmla="*/ 7655 h 9687"/>
                <a:gd name="connsiteX9" fmla="*/ 8564 w 10383"/>
                <a:gd name="connsiteY9" fmla="*/ 6874 h 9687"/>
                <a:gd name="connsiteX10" fmla="*/ 8110 w 10383"/>
                <a:gd name="connsiteY10" fmla="*/ 6563 h 9687"/>
                <a:gd name="connsiteX11" fmla="*/ 5836 w 10383"/>
                <a:gd name="connsiteY11" fmla="*/ 6405 h 9687"/>
                <a:gd name="connsiteX12" fmla="*/ 3566 w 10383"/>
                <a:gd name="connsiteY12" fmla="*/ 6093 h 9687"/>
                <a:gd name="connsiteX13" fmla="*/ 2657 w 10383"/>
                <a:gd name="connsiteY13" fmla="*/ 5312 h 9687"/>
                <a:gd name="connsiteX14" fmla="*/ 1746 w 10383"/>
                <a:gd name="connsiteY14" fmla="*/ 4062 h 9687"/>
                <a:gd name="connsiteX15" fmla="*/ 2657 w 10383"/>
                <a:gd name="connsiteY15" fmla="*/ 3594 h 9687"/>
                <a:gd name="connsiteX16" fmla="*/ 2202 w 10383"/>
                <a:gd name="connsiteY16" fmla="*/ 2500 h 9687"/>
                <a:gd name="connsiteX17" fmla="*/ 4475 w 10383"/>
                <a:gd name="connsiteY17" fmla="*/ 2500 h 9687"/>
                <a:gd name="connsiteX18" fmla="*/ 5383 w 10383"/>
                <a:gd name="connsiteY18" fmla="*/ 3126 h 9687"/>
                <a:gd name="connsiteX19" fmla="*/ 7200 w 10383"/>
                <a:gd name="connsiteY19" fmla="*/ 3126 h 9687"/>
                <a:gd name="connsiteX20" fmla="*/ 7200 w 10383"/>
                <a:gd name="connsiteY20" fmla="*/ 2657 h 9687"/>
                <a:gd name="connsiteX21" fmla="*/ 7657 w 10383"/>
                <a:gd name="connsiteY21" fmla="*/ 2344 h 9687"/>
                <a:gd name="connsiteX22" fmla="*/ 8110 w 10383"/>
                <a:gd name="connsiteY22" fmla="*/ 2500 h 9687"/>
                <a:gd name="connsiteX23" fmla="*/ 7657 w 10383"/>
                <a:gd name="connsiteY23" fmla="*/ 1562 h 9687"/>
                <a:gd name="connsiteX24" fmla="*/ 8564 w 10383"/>
                <a:gd name="connsiteY24" fmla="*/ 937 h 9687"/>
                <a:gd name="connsiteX25" fmla="*/ 8564 w 10383"/>
                <a:gd name="connsiteY25" fmla="*/ 312 h 9687"/>
                <a:gd name="connsiteX26" fmla="*/ 7657 w 10383"/>
                <a:gd name="connsiteY26" fmla="*/ 0 h 9687"/>
                <a:gd name="connsiteX27" fmla="*/ 6748 w 10383"/>
                <a:gd name="connsiteY27" fmla="*/ 0 h 9687"/>
                <a:gd name="connsiteX28" fmla="*/ 3566 w 10383"/>
                <a:gd name="connsiteY28" fmla="*/ 157 h 9687"/>
                <a:gd name="connsiteX29" fmla="*/ 3111 w 10383"/>
                <a:gd name="connsiteY29" fmla="*/ 0 h 9687"/>
                <a:gd name="connsiteX30" fmla="*/ 3111 w 10383"/>
                <a:gd name="connsiteY30" fmla="*/ 781 h 9687"/>
                <a:gd name="connsiteX31" fmla="*/ 3111 w 10383"/>
                <a:gd name="connsiteY31" fmla="*/ 937 h 9687"/>
                <a:gd name="connsiteX0" fmla="*/ 2996 w 10414"/>
                <a:gd name="connsiteY0" fmla="*/ 967 h 9749"/>
                <a:gd name="connsiteX1" fmla="*/ 1244 w 10414"/>
                <a:gd name="connsiteY1" fmla="*/ 2097 h 9749"/>
                <a:gd name="connsiteX2" fmla="*/ 369 w 10414"/>
                <a:gd name="connsiteY2" fmla="*/ 3227 h 9749"/>
                <a:gd name="connsiteX3" fmla="*/ 805 w 10414"/>
                <a:gd name="connsiteY3" fmla="*/ 4193 h 9749"/>
                <a:gd name="connsiteX4" fmla="*/ 10000 w 10414"/>
                <a:gd name="connsiteY4" fmla="*/ 9517 h 9749"/>
                <a:gd name="connsiteX5" fmla="*/ 8685 w 10414"/>
                <a:gd name="connsiteY5" fmla="*/ 8710 h 9749"/>
                <a:gd name="connsiteX6" fmla="*/ 8685 w 10414"/>
                <a:gd name="connsiteY6" fmla="*/ 7902 h 9749"/>
                <a:gd name="connsiteX7" fmla="*/ 9125 w 10414"/>
                <a:gd name="connsiteY7" fmla="*/ 7902 h 9749"/>
                <a:gd name="connsiteX8" fmla="*/ 8248 w 10414"/>
                <a:gd name="connsiteY8" fmla="*/ 7096 h 9749"/>
                <a:gd name="connsiteX9" fmla="*/ 7811 w 10414"/>
                <a:gd name="connsiteY9" fmla="*/ 6775 h 9749"/>
                <a:gd name="connsiteX10" fmla="*/ 5621 w 10414"/>
                <a:gd name="connsiteY10" fmla="*/ 6612 h 9749"/>
                <a:gd name="connsiteX11" fmla="*/ 3434 w 10414"/>
                <a:gd name="connsiteY11" fmla="*/ 6290 h 9749"/>
                <a:gd name="connsiteX12" fmla="*/ 2559 w 10414"/>
                <a:gd name="connsiteY12" fmla="*/ 5484 h 9749"/>
                <a:gd name="connsiteX13" fmla="*/ 1682 w 10414"/>
                <a:gd name="connsiteY13" fmla="*/ 4193 h 9749"/>
                <a:gd name="connsiteX14" fmla="*/ 2559 w 10414"/>
                <a:gd name="connsiteY14" fmla="*/ 3710 h 9749"/>
                <a:gd name="connsiteX15" fmla="*/ 2121 w 10414"/>
                <a:gd name="connsiteY15" fmla="*/ 2581 h 9749"/>
                <a:gd name="connsiteX16" fmla="*/ 4310 w 10414"/>
                <a:gd name="connsiteY16" fmla="*/ 2581 h 9749"/>
                <a:gd name="connsiteX17" fmla="*/ 5184 w 10414"/>
                <a:gd name="connsiteY17" fmla="*/ 3227 h 9749"/>
                <a:gd name="connsiteX18" fmla="*/ 6934 w 10414"/>
                <a:gd name="connsiteY18" fmla="*/ 3227 h 9749"/>
                <a:gd name="connsiteX19" fmla="*/ 6934 w 10414"/>
                <a:gd name="connsiteY19" fmla="*/ 2743 h 9749"/>
                <a:gd name="connsiteX20" fmla="*/ 7375 w 10414"/>
                <a:gd name="connsiteY20" fmla="*/ 2420 h 9749"/>
                <a:gd name="connsiteX21" fmla="*/ 7811 w 10414"/>
                <a:gd name="connsiteY21" fmla="*/ 2581 h 9749"/>
                <a:gd name="connsiteX22" fmla="*/ 7375 w 10414"/>
                <a:gd name="connsiteY22" fmla="*/ 1612 h 9749"/>
                <a:gd name="connsiteX23" fmla="*/ 8248 w 10414"/>
                <a:gd name="connsiteY23" fmla="*/ 967 h 9749"/>
                <a:gd name="connsiteX24" fmla="*/ 8248 w 10414"/>
                <a:gd name="connsiteY24" fmla="*/ 322 h 9749"/>
                <a:gd name="connsiteX25" fmla="*/ 7375 w 10414"/>
                <a:gd name="connsiteY25" fmla="*/ 0 h 9749"/>
                <a:gd name="connsiteX26" fmla="*/ 6499 w 10414"/>
                <a:gd name="connsiteY26" fmla="*/ 0 h 9749"/>
                <a:gd name="connsiteX27" fmla="*/ 3434 w 10414"/>
                <a:gd name="connsiteY27" fmla="*/ 162 h 9749"/>
                <a:gd name="connsiteX28" fmla="*/ 2996 w 10414"/>
                <a:gd name="connsiteY28" fmla="*/ 0 h 9749"/>
                <a:gd name="connsiteX29" fmla="*/ 2996 w 10414"/>
                <a:gd name="connsiteY29" fmla="*/ 806 h 9749"/>
                <a:gd name="connsiteX30" fmla="*/ 2996 w 10414"/>
                <a:gd name="connsiteY30" fmla="*/ 967 h 9749"/>
                <a:gd name="connsiteX0" fmla="*/ 2787 w 8810"/>
                <a:gd name="connsiteY0" fmla="*/ 992 h 9117"/>
                <a:gd name="connsiteX1" fmla="*/ 1105 w 8810"/>
                <a:gd name="connsiteY1" fmla="*/ 2151 h 9117"/>
                <a:gd name="connsiteX2" fmla="*/ 264 w 8810"/>
                <a:gd name="connsiteY2" fmla="*/ 3310 h 9117"/>
                <a:gd name="connsiteX3" fmla="*/ 683 w 8810"/>
                <a:gd name="connsiteY3" fmla="*/ 4301 h 9117"/>
                <a:gd name="connsiteX4" fmla="*/ 8250 w 8810"/>
                <a:gd name="connsiteY4" fmla="*/ 8934 h 9117"/>
                <a:gd name="connsiteX5" fmla="*/ 8250 w 8810"/>
                <a:gd name="connsiteY5" fmla="*/ 8105 h 9117"/>
                <a:gd name="connsiteX6" fmla="*/ 8672 w 8810"/>
                <a:gd name="connsiteY6" fmla="*/ 8105 h 9117"/>
                <a:gd name="connsiteX7" fmla="*/ 7830 w 8810"/>
                <a:gd name="connsiteY7" fmla="*/ 7279 h 9117"/>
                <a:gd name="connsiteX8" fmla="*/ 7410 w 8810"/>
                <a:gd name="connsiteY8" fmla="*/ 6949 h 9117"/>
                <a:gd name="connsiteX9" fmla="*/ 5308 w 8810"/>
                <a:gd name="connsiteY9" fmla="*/ 6782 h 9117"/>
                <a:gd name="connsiteX10" fmla="*/ 3207 w 8810"/>
                <a:gd name="connsiteY10" fmla="*/ 6452 h 9117"/>
                <a:gd name="connsiteX11" fmla="*/ 2367 w 8810"/>
                <a:gd name="connsiteY11" fmla="*/ 5625 h 9117"/>
                <a:gd name="connsiteX12" fmla="*/ 1525 w 8810"/>
                <a:gd name="connsiteY12" fmla="*/ 4301 h 9117"/>
                <a:gd name="connsiteX13" fmla="*/ 2367 w 8810"/>
                <a:gd name="connsiteY13" fmla="*/ 3806 h 9117"/>
                <a:gd name="connsiteX14" fmla="*/ 1947 w 8810"/>
                <a:gd name="connsiteY14" fmla="*/ 2647 h 9117"/>
                <a:gd name="connsiteX15" fmla="*/ 4049 w 8810"/>
                <a:gd name="connsiteY15" fmla="*/ 2647 h 9117"/>
                <a:gd name="connsiteX16" fmla="*/ 4888 w 8810"/>
                <a:gd name="connsiteY16" fmla="*/ 3310 h 9117"/>
                <a:gd name="connsiteX17" fmla="*/ 6568 w 8810"/>
                <a:gd name="connsiteY17" fmla="*/ 3310 h 9117"/>
                <a:gd name="connsiteX18" fmla="*/ 6568 w 8810"/>
                <a:gd name="connsiteY18" fmla="*/ 2814 h 9117"/>
                <a:gd name="connsiteX19" fmla="*/ 6992 w 8810"/>
                <a:gd name="connsiteY19" fmla="*/ 2482 h 9117"/>
                <a:gd name="connsiteX20" fmla="*/ 7410 w 8810"/>
                <a:gd name="connsiteY20" fmla="*/ 2647 h 9117"/>
                <a:gd name="connsiteX21" fmla="*/ 6992 w 8810"/>
                <a:gd name="connsiteY21" fmla="*/ 1654 h 9117"/>
                <a:gd name="connsiteX22" fmla="*/ 7830 w 8810"/>
                <a:gd name="connsiteY22" fmla="*/ 992 h 9117"/>
                <a:gd name="connsiteX23" fmla="*/ 7830 w 8810"/>
                <a:gd name="connsiteY23" fmla="*/ 330 h 9117"/>
                <a:gd name="connsiteX24" fmla="*/ 6992 w 8810"/>
                <a:gd name="connsiteY24" fmla="*/ 0 h 9117"/>
                <a:gd name="connsiteX25" fmla="*/ 6151 w 8810"/>
                <a:gd name="connsiteY25" fmla="*/ 0 h 9117"/>
                <a:gd name="connsiteX26" fmla="*/ 3207 w 8810"/>
                <a:gd name="connsiteY26" fmla="*/ 166 h 9117"/>
                <a:gd name="connsiteX27" fmla="*/ 2787 w 8810"/>
                <a:gd name="connsiteY27" fmla="*/ 0 h 9117"/>
                <a:gd name="connsiteX28" fmla="*/ 2787 w 8810"/>
                <a:gd name="connsiteY28" fmla="*/ 827 h 9117"/>
                <a:gd name="connsiteX29" fmla="*/ 2787 w 8810"/>
                <a:gd name="connsiteY29" fmla="*/ 992 h 9117"/>
                <a:gd name="connsiteX0" fmla="*/ 3163 w 9843"/>
                <a:gd name="connsiteY0" fmla="*/ 1088 h 8890"/>
                <a:gd name="connsiteX1" fmla="*/ 1254 w 9843"/>
                <a:gd name="connsiteY1" fmla="*/ 2359 h 8890"/>
                <a:gd name="connsiteX2" fmla="*/ 300 w 9843"/>
                <a:gd name="connsiteY2" fmla="*/ 3631 h 8890"/>
                <a:gd name="connsiteX3" fmla="*/ 775 w 9843"/>
                <a:gd name="connsiteY3" fmla="*/ 4718 h 8890"/>
                <a:gd name="connsiteX4" fmla="*/ 9364 w 9843"/>
                <a:gd name="connsiteY4" fmla="*/ 8890 h 8890"/>
                <a:gd name="connsiteX5" fmla="*/ 9843 w 9843"/>
                <a:gd name="connsiteY5" fmla="*/ 8890 h 8890"/>
                <a:gd name="connsiteX6" fmla="*/ 8888 w 9843"/>
                <a:gd name="connsiteY6" fmla="*/ 7984 h 8890"/>
                <a:gd name="connsiteX7" fmla="*/ 8411 w 9843"/>
                <a:gd name="connsiteY7" fmla="*/ 7622 h 8890"/>
                <a:gd name="connsiteX8" fmla="*/ 6025 w 9843"/>
                <a:gd name="connsiteY8" fmla="*/ 7439 h 8890"/>
                <a:gd name="connsiteX9" fmla="*/ 3640 w 9843"/>
                <a:gd name="connsiteY9" fmla="*/ 7077 h 8890"/>
                <a:gd name="connsiteX10" fmla="*/ 2687 w 9843"/>
                <a:gd name="connsiteY10" fmla="*/ 6170 h 8890"/>
                <a:gd name="connsiteX11" fmla="*/ 1731 w 9843"/>
                <a:gd name="connsiteY11" fmla="*/ 4718 h 8890"/>
                <a:gd name="connsiteX12" fmla="*/ 2687 w 9843"/>
                <a:gd name="connsiteY12" fmla="*/ 4175 h 8890"/>
                <a:gd name="connsiteX13" fmla="*/ 2210 w 9843"/>
                <a:gd name="connsiteY13" fmla="*/ 2903 h 8890"/>
                <a:gd name="connsiteX14" fmla="*/ 4596 w 9843"/>
                <a:gd name="connsiteY14" fmla="*/ 2903 h 8890"/>
                <a:gd name="connsiteX15" fmla="*/ 5548 w 9843"/>
                <a:gd name="connsiteY15" fmla="*/ 3631 h 8890"/>
                <a:gd name="connsiteX16" fmla="*/ 7455 w 9843"/>
                <a:gd name="connsiteY16" fmla="*/ 3631 h 8890"/>
                <a:gd name="connsiteX17" fmla="*/ 7455 w 9843"/>
                <a:gd name="connsiteY17" fmla="*/ 3087 h 8890"/>
                <a:gd name="connsiteX18" fmla="*/ 7936 w 9843"/>
                <a:gd name="connsiteY18" fmla="*/ 2722 h 8890"/>
                <a:gd name="connsiteX19" fmla="*/ 8411 w 9843"/>
                <a:gd name="connsiteY19" fmla="*/ 2903 h 8890"/>
                <a:gd name="connsiteX20" fmla="*/ 7936 w 9843"/>
                <a:gd name="connsiteY20" fmla="*/ 1814 h 8890"/>
                <a:gd name="connsiteX21" fmla="*/ 8888 w 9843"/>
                <a:gd name="connsiteY21" fmla="*/ 1088 h 8890"/>
                <a:gd name="connsiteX22" fmla="*/ 8888 w 9843"/>
                <a:gd name="connsiteY22" fmla="*/ 362 h 8890"/>
                <a:gd name="connsiteX23" fmla="*/ 7936 w 9843"/>
                <a:gd name="connsiteY23" fmla="*/ 0 h 8890"/>
                <a:gd name="connsiteX24" fmla="*/ 6982 w 9843"/>
                <a:gd name="connsiteY24" fmla="*/ 0 h 8890"/>
                <a:gd name="connsiteX25" fmla="*/ 3640 w 9843"/>
                <a:gd name="connsiteY25" fmla="*/ 182 h 8890"/>
                <a:gd name="connsiteX26" fmla="*/ 3163 w 9843"/>
                <a:gd name="connsiteY26" fmla="*/ 0 h 8890"/>
                <a:gd name="connsiteX27" fmla="*/ 3163 w 9843"/>
                <a:gd name="connsiteY27" fmla="*/ 907 h 8890"/>
                <a:gd name="connsiteX28" fmla="*/ 3163 w 9843"/>
                <a:gd name="connsiteY28" fmla="*/ 1088 h 8890"/>
                <a:gd name="connsiteX0" fmla="*/ 3213 w 9513"/>
                <a:gd name="connsiteY0" fmla="*/ 1224 h 10000"/>
                <a:gd name="connsiteX1" fmla="*/ 1274 w 9513"/>
                <a:gd name="connsiteY1" fmla="*/ 2654 h 10000"/>
                <a:gd name="connsiteX2" fmla="*/ 305 w 9513"/>
                <a:gd name="connsiteY2" fmla="*/ 4084 h 10000"/>
                <a:gd name="connsiteX3" fmla="*/ 787 w 9513"/>
                <a:gd name="connsiteY3" fmla="*/ 5307 h 10000"/>
                <a:gd name="connsiteX4" fmla="*/ 9513 w 9513"/>
                <a:gd name="connsiteY4" fmla="*/ 10000 h 10000"/>
                <a:gd name="connsiteX5" fmla="*/ 9030 w 9513"/>
                <a:gd name="connsiteY5" fmla="*/ 8981 h 10000"/>
                <a:gd name="connsiteX6" fmla="*/ 8545 w 9513"/>
                <a:gd name="connsiteY6" fmla="*/ 8574 h 10000"/>
                <a:gd name="connsiteX7" fmla="*/ 6121 w 9513"/>
                <a:gd name="connsiteY7" fmla="*/ 8368 h 10000"/>
                <a:gd name="connsiteX8" fmla="*/ 3698 w 9513"/>
                <a:gd name="connsiteY8" fmla="*/ 7961 h 10000"/>
                <a:gd name="connsiteX9" fmla="*/ 2730 w 9513"/>
                <a:gd name="connsiteY9" fmla="*/ 6940 h 10000"/>
                <a:gd name="connsiteX10" fmla="*/ 1759 w 9513"/>
                <a:gd name="connsiteY10" fmla="*/ 5307 h 10000"/>
                <a:gd name="connsiteX11" fmla="*/ 2730 w 9513"/>
                <a:gd name="connsiteY11" fmla="*/ 4696 h 10000"/>
                <a:gd name="connsiteX12" fmla="*/ 2245 w 9513"/>
                <a:gd name="connsiteY12" fmla="*/ 3265 h 10000"/>
                <a:gd name="connsiteX13" fmla="*/ 4669 w 9513"/>
                <a:gd name="connsiteY13" fmla="*/ 3265 h 10000"/>
                <a:gd name="connsiteX14" fmla="*/ 5636 w 9513"/>
                <a:gd name="connsiteY14" fmla="*/ 4084 h 10000"/>
                <a:gd name="connsiteX15" fmla="*/ 7574 w 9513"/>
                <a:gd name="connsiteY15" fmla="*/ 4084 h 10000"/>
                <a:gd name="connsiteX16" fmla="*/ 7574 w 9513"/>
                <a:gd name="connsiteY16" fmla="*/ 3472 h 10000"/>
                <a:gd name="connsiteX17" fmla="*/ 8063 w 9513"/>
                <a:gd name="connsiteY17" fmla="*/ 3062 h 10000"/>
                <a:gd name="connsiteX18" fmla="*/ 8545 w 9513"/>
                <a:gd name="connsiteY18" fmla="*/ 3265 h 10000"/>
                <a:gd name="connsiteX19" fmla="*/ 8063 w 9513"/>
                <a:gd name="connsiteY19" fmla="*/ 2040 h 10000"/>
                <a:gd name="connsiteX20" fmla="*/ 9030 w 9513"/>
                <a:gd name="connsiteY20" fmla="*/ 1224 h 10000"/>
                <a:gd name="connsiteX21" fmla="*/ 9030 w 9513"/>
                <a:gd name="connsiteY21" fmla="*/ 407 h 10000"/>
                <a:gd name="connsiteX22" fmla="*/ 8063 w 9513"/>
                <a:gd name="connsiteY22" fmla="*/ 0 h 10000"/>
                <a:gd name="connsiteX23" fmla="*/ 7093 w 9513"/>
                <a:gd name="connsiteY23" fmla="*/ 0 h 10000"/>
                <a:gd name="connsiteX24" fmla="*/ 3698 w 9513"/>
                <a:gd name="connsiteY24" fmla="*/ 205 h 10000"/>
                <a:gd name="connsiteX25" fmla="*/ 3213 w 9513"/>
                <a:gd name="connsiteY25" fmla="*/ 0 h 10000"/>
                <a:gd name="connsiteX26" fmla="*/ 3213 w 9513"/>
                <a:gd name="connsiteY26" fmla="*/ 1020 h 10000"/>
                <a:gd name="connsiteX27" fmla="*/ 3213 w 9513"/>
                <a:gd name="connsiteY27" fmla="*/ 1224 h 10000"/>
                <a:gd name="connsiteX0" fmla="*/ 3377 w 10000"/>
                <a:gd name="connsiteY0" fmla="*/ 1224 h 10000"/>
                <a:gd name="connsiteX1" fmla="*/ 1339 w 10000"/>
                <a:gd name="connsiteY1" fmla="*/ 2654 h 10000"/>
                <a:gd name="connsiteX2" fmla="*/ 321 w 10000"/>
                <a:gd name="connsiteY2" fmla="*/ 4084 h 10000"/>
                <a:gd name="connsiteX3" fmla="*/ 827 w 10000"/>
                <a:gd name="connsiteY3" fmla="*/ 5307 h 10000"/>
                <a:gd name="connsiteX4" fmla="*/ 10000 w 10000"/>
                <a:gd name="connsiteY4" fmla="*/ 10000 h 10000"/>
                <a:gd name="connsiteX5" fmla="*/ 8982 w 10000"/>
                <a:gd name="connsiteY5" fmla="*/ 8574 h 10000"/>
                <a:gd name="connsiteX6" fmla="*/ 6434 w 10000"/>
                <a:gd name="connsiteY6" fmla="*/ 8368 h 10000"/>
                <a:gd name="connsiteX7" fmla="*/ 3887 w 10000"/>
                <a:gd name="connsiteY7" fmla="*/ 7961 h 10000"/>
                <a:gd name="connsiteX8" fmla="*/ 2870 w 10000"/>
                <a:gd name="connsiteY8" fmla="*/ 6940 h 10000"/>
                <a:gd name="connsiteX9" fmla="*/ 1849 w 10000"/>
                <a:gd name="connsiteY9" fmla="*/ 5307 h 10000"/>
                <a:gd name="connsiteX10" fmla="*/ 2870 w 10000"/>
                <a:gd name="connsiteY10" fmla="*/ 4696 h 10000"/>
                <a:gd name="connsiteX11" fmla="*/ 2360 w 10000"/>
                <a:gd name="connsiteY11" fmla="*/ 3265 h 10000"/>
                <a:gd name="connsiteX12" fmla="*/ 4908 w 10000"/>
                <a:gd name="connsiteY12" fmla="*/ 3265 h 10000"/>
                <a:gd name="connsiteX13" fmla="*/ 5925 w 10000"/>
                <a:gd name="connsiteY13" fmla="*/ 4084 h 10000"/>
                <a:gd name="connsiteX14" fmla="*/ 7962 w 10000"/>
                <a:gd name="connsiteY14" fmla="*/ 4084 h 10000"/>
                <a:gd name="connsiteX15" fmla="*/ 7962 w 10000"/>
                <a:gd name="connsiteY15" fmla="*/ 3472 h 10000"/>
                <a:gd name="connsiteX16" fmla="*/ 8476 w 10000"/>
                <a:gd name="connsiteY16" fmla="*/ 3062 h 10000"/>
                <a:gd name="connsiteX17" fmla="*/ 8982 w 10000"/>
                <a:gd name="connsiteY17" fmla="*/ 3265 h 10000"/>
                <a:gd name="connsiteX18" fmla="*/ 8476 w 10000"/>
                <a:gd name="connsiteY18" fmla="*/ 2040 h 10000"/>
                <a:gd name="connsiteX19" fmla="*/ 9492 w 10000"/>
                <a:gd name="connsiteY19" fmla="*/ 1224 h 10000"/>
                <a:gd name="connsiteX20" fmla="*/ 9492 w 10000"/>
                <a:gd name="connsiteY20" fmla="*/ 407 h 10000"/>
                <a:gd name="connsiteX21" fmla="*/ 8476 w 10000"/>
                <a:gd name="connsiteY21" fmla="*/ 0 h 10000"/>
                <a:gd name="connsiteX22" fmla="*/ 7456 w 10000"/>
                <a:gd name="connsiteY22" fmla="*/ 0 h 10000"/>
                <a:gd name="connsiteX23" fmla="*/ 3887 w 10000"/>
                <a:gd name="connsiteY23" fmla="*/ 205 h 10000"/>
                <a:gd name="connsiteX24" fmla="*/ 3377 w 10000"/>
                <a:gd name="connsiteY24" fmla="*/ 0 h 10000"/>
                <a:gd name="connsiteX25" fmla="*/ 3377 w 10000"/>
                <a:gd name="connsiteY25" fmla="*/ 1020 h 10000"/>
                <a:gd name="connsiteX26" fmla="*/ 3377 w 10000"/>
                <a:gd name="connsiteY26" fmla="*/ 1224 h 10000"/>
                <a:gd name="connsiteX0" fmla="*/ 3377 w 10000"/>
                <a:gd name="connsiteY0" fmla="*/ 1224 h 10000"/>
                <a:gd name="connsiteX1" fmla="*/ 1339 w 10000"/>
                <a:gd name="connsiteY1" fmla="*/ 2654 h 10000"/>
                <a:gd name="connsiteX2" fmla="*/ 321 w 10000"/>
                <a:gd name="connsiteY2" fmla="*/ 4084 h 10000"/>
                <a:gd name="connsiteX3" fmla="*/ 827 w 10000"/>
                <a:gd name="connsiteY3" fmla="*/ 5307 h 10000"/>
                <a:gd name="connsiteX4" fmla="*/ 10000 w 10000"/>
                <a:gd name="connsiteY4" fmla="*/ 10000 h 10000"/>
                <a:gd name="connsiteX5" fmla="*/ 6434 w 10000"/>
                <a:gd name="connsiteY5" fmla="*/ 8368 h 10000"/>
                <a:gd name="connsiteX6" fmla="*/ 3887 w 10000"/>
                <a:gd name="connsiteY6" fmla="*/ 7961 h 10000"/>
                <a:gd name="connsiteX7" fmla="*/ 2870 w 10000"/>
                <a:gd name="connsiteY7" fmla="*/ 6940 h 10000"/>
                <a:gd name="connsiteX8" fmla="*/ 1849 w 10000"/>
                <a:gd name="connsiteY8" fmla="*/ 5307 h 10000"/>
                <a:gd name="connsiteX9" fmla="*/ 2870 w 10000"/>
                <a:gd name="connsiteY9" fmla="*/ 4696 h 10000"/>
                <a:gd name="connsiteX10" fmla="*/ 2360 w 10000"/>
                <a:gd name="connsiteY10" fmla="*/ 3265 h 10000"/>
                <a:gd name="connsiteX11" fmla="*/ 4908 w 10000"/>
                <a:gd name="connsiteY11" fmla="*/ 3265 h 10000"/>
                <a:gd name="connsiteX12" fmla="*/ 5925 w 10000"/>
                <a:gd name="connsiteY12" fmla="*/ 4084 h 10000"/>
                <a:gd name="connsiteX13" fmla="*/ 7962 w 10000"/>
                <a:gd name="connsiteY13" fmla="*/ 4084 h 10000"/>
                <a:gd name="connsiteX14" fmla="*/ 7962 w 10000"/>
                <a:gd name="connsiteY14" fmla="*/ 3472 h 10000"/>
                <a:gd name="connsiteX15" fmla="*/ 8476 w 10000"/>
                <a:gd name="connsiteY15" fmla="*/ 3062 h 10000"/>
                <a:gd name="connsiteX16" fmla="*/ 8982 w 10000"/>
                <a:gd name="connsiteY16" fmla="*/ 3265 h 10000"/>
                <a:gd name="connsiteX17" fmla="*/ 8476 w 10000"/>
                <a:gd name="connsiteY17" fmla="*/ 2040 h 10000"/>
                <a:gd name="connsiteX18" fmla="*/ 9492 w 10000"/>
                <a:gd name="connsiteY18" fmla="*/ 1224 h 10000"/>
                <a:gd name="connsiteX19" fmla="*/ 9492 w 10000"/>
                <a:gd name="connsiteY19" fmla="*/ 407 h 10000"/>
                <a:gd name="connsiteX20" fmla="*/ 8476 w 10000"/>
                <a:gd name="connsiteY20" fmla="*/ 0 h 10000"/>
                <a:gd name="connsiteX21" fmla="*/ 7456 w 10000"/>
                <a:gd name="connsiteY21" fmla="*/ 0 h 10000"/>
                <a:gd name="connsiteX22" fmla="*/ 3887 w 10000"/>
                <a:gd name="connsiteY22" fmla="*/ 205 h 10000"/>
                <a:gd name="connsiteX23" fmla="*/ 3377 w 10000"/>
                <a:gd name="connsiteY23" fmla="*/ 0 h 10000"/>
                <a:gd name="connsiteX24" fmla="*/ 3377 w 10000"/>
                <a:gd name="connsiteY24" fmla="*/ 1020 h 10000"/>
                <a:gd name="connsiteX25" fmla="*/ 3377 w 10000"/>
                <a:gd name="connsiteY25" fmla="*/ 1224 h 10000"/>
                <a:gd name="connsiteX0" fmla="*/ 3377 w 10000"/>
                <a:gd name="connsiteY0" fmla="*/ 1224 h 10000"/>
                <a:gd name="connsiteX1" fmla="*/ 1339 w 10000"/>
                <a:gd name="connsiteY1" fmla="*/ 2654 h 10000"/>
                <a:gd name="connsiteX2" fmla="*/ 321 w 10000"/>
                <a:gd name="connsiteY2" fmla="*/ 4084 h 10000"/>
                <a:gd name="connsiteX3" fmla="*/ 827 w 10000"/>
                <a:gd name="connsiteY3" fmla="*/ 5307 h 10000"/>
                <a:gd name="connsiteX4" fmla="*/ 10000 w 10000"/>
                <a:gd name="connsiteY4" fmla="*/ 10000 h 10000"/>
                <a:gd name="connsiteX5" fmla="*/ 3887 w 10000"/>
                <a:gd name="connsiteY5" fmla="*/ 7961 h 10000"/>
                <a:gd name="connsiteX6" fmla="*/ 2870 w 10000"/>
                <a:gd name="connsiteY6" fmla="*/ 6940 h 10000"/>
                <a:gd name="connsiteX7" fmla="*/ 1849 w 10000"/>
                <a:gd name="connsiteY7" fmla="*/ 5307 h 10000"/>
                <a:gd name="connsiteX8" fmla="*/ 2870 w 10000"/>
                <a:gd name="connsiteY8" fmla="*/ 4696 h 10000"/>
                <a:gd name="connsiteX9" fmla="*/ 2360 w 10000"/>
                <a:gd name="connsiteY9" fmla="*/ 3265 h 10000"/>
                <a:gd name="connsiteX10" fmla="*/ 4908 w 10000"/>
                <a:gd name="connsiteY10" fmla="*/ 3265 h 10000"/>
                <a:gd name="connsiteX11" fmla="*/ 5925 w 10000"/>
                <a:gd name="connsiteY11" fmla="*/ 4084 h 10000"/>
                <a:gd name="connsiteX12" fmla="*/ 7962 w 10000"/>
                <a:gd name="connsiteY12" fmla="*/ 4084 h 10000"/>
                <a:gd name="connsiteX13" fmla="*/ 7962 w 10000"/>
                <a:gd name="connsiteY13" fmla="*/ 3472 h 10000"/>
                <a:gd name="connsiteX14" fmla="*/ 8476 w 10000"/>
                <a:gd name="connsiteY14" fmla="*/ 3062 h 10000"/>
                <a:gd name="connsiteX15" fmla="*/ 8982 w 10000"/>
                <a:gd name="connsiteY15" fmla="*/ 3265 h 10000"/>
                <a:gd name="connsiteX16" fmla="*/ 8476 w 10000"/>
                <a:gd name="connsiteY16" fmla="*/ 2040 h 10000"/>
                <a:gd name="connsiteX17" fmla="*/ 9492 w 10000"/>
                <a:gd name="connsiteY17" fmla="*/ 1224 h 10000"/>
                <a:gd name="connsiteX18" fmla="*/ 9492 w 10000"/>
                <a:gd name="connsiteY18" fmla="*/ 407 h 10000"/>
                <a:gd name="connsiteX19" fmla="*/ 8476 w 10000"/>
                <a:gd name="connsiteY19" fmla="*/ 0 h 10000"/>
                <a:gd name="connsiteX20" fmla="*/ 7456 w 10000"/>
                <a:gd name="connsiteY20" fmla="*/ 0 h 10000"/>
                <a:gd name="connsiteX21" fmla="*/ 3887 w 10000"/>
                <a:gd name="connsiteY21" fmla="*/ 205 h 10000"/>
                <a:gd name="connsiteX22" fmla="*/ 3377 w 10000"/>
                <a:gd name="connsiteY22" fmla="*/ 0 h 10000"/>
                <a:gd name="connsiteX23" fmla="*/ 3377 w 10000"/>
                <a:gd name="connsiteY23" fmla="*/ 1020 h 10000"/>
                <a:gd name="connsiteX24" fmla="*/ 3377 w 10000"/>
                <a:gd name="connsiteY24" fmla="*/ 1224 h 10000"/>
                <a:gd name="connsiteX0" fmla="*/ 3377 w 10000"/>
                <a:gd name="connsiteY0" fmla="*/ 1224 h 10000"/>
                <a:gd name="connsiteX1" fmla="*/ 1339 w 10000"/>
                <a:gd name="connsiteY1" fmla="*/ 2654 h 10000"/>
                <a:gd name="connsiteX2" fmla="*/ 321 w 10000"/>
                <a:gd name="connsiteY2" fmla="*/ 4084 h 10000"/>
                <a:gd name="connsiteX3" fmla="*/ 827 w 10000"/>
                <a:gd name="connsiteY3" fmla="*/ 5307 h 10000"/>
                <a:gd name="connsiteX4" fmla="*/ 10000 w 10000"/>
                <a:gd name="connsiteY4" fmla="*/ 10000 h 10000"/>
                <a:gd name="connsiteX5" fmla="*/ 3887 w 10000"/>
                <a:gd name="connsiteY5" fmla="*/ 7961 h 10000"/>
                <a:gd name="connsiteX6" fmla="*/ 1849 w 10000"/>
                <a:gd name="connsiteY6" fmla="*/ 5307 h 10000"/>
                <a:gd name="connsiteX7" fmla="*/ 2870 w 10000"/>
                <a:gd name="connsiteY7" fmla="*/ 4696 h 10000"/>
                <a:gd name="connsiteX8" fmla="*/ 2360 w 10000"/>
                <a:gd name="connsiteY8" fmla="*/ 3265 h 10000"/>
                <a:gd name="connsiteX9" fmla="*/ 4908 w 10000"/>
                <a:gd name="connsiteY9" fmla="*/ 3265 h 10000"/>
                <a:gd name="connsiteX10" fmla="*/ 5925 w 10000"/>
                <a:gd name="connsiteY10" fmla="*/ 4084 h 10000"/>
                <a:gd name="connsiteX11" fmla="*/ 7962 w 10000"/>
                <a:gd name="connsiteY11" fmla="*/ 4084 h 10000"/>
                <a:gd name="connsiteX12" fmla="*/ 7962 w 10000"/>
                <a:gd name="connsiteY12" fmla="*/ 3472 h 10000"/>
                <a:gd name="connsiteX13" fmla="*/ 8476 w 10000"/>
                <a:gd name="connsiteY13" fmla="*/ 3062 h 10000"/>
                <a:gd name="connsiteX14" fmla="*/ 8982 w 10000"/>
                <a:gd name="connsiteY14" fmla="*/ 3265 h 10000"/>
                <a:gd name="connsiteX15" fmla="*/ 8476 w 10000"/>
                <a:gd name="connsiteY15" fmla="*/ 2040 h 10000"/>
                <a:gd name="connsiteX16" fmla="*/ 9492 w 10000"/>
                <a:gd name="connsiteY16" fmla="*/ 1224 h 10000"/>
                <a:gd name="connsiteX17" fmla="*/ 9492 w 10000"/>
                <a:gd name="connsiteY17" fmla="*/ 407 h 10000"/>
                <a:gd name="connsiteX18" fmla="*/ 8476 w 10000"/>
                <a:gd name="connsiteY18" fmla="*/ 0 h 10000"/>
                <a:gd name="connsiteX19" fmla="*/ 7456 w 10000"/>
                <a:gd name="connsiteY19" fmla="*/ 0 h 10000"/>
                <a:gd name="connsiteX20" fmla="*/ 3887 w 10000"/>
                <a:gd name="connsiteY20" fmla="*/ 205 h 10000"/>
                <a:gd name="connsiteX21" fmla="*/ 3377 w 10000"/>
                <a:gd name="connsiteY21" fmla="*/ 0 h 10000"/>
                <a:gd name="connsiteX22" fmla="*/ 3377 w 10000"/>
                <a:gd name="connsiteY22" fmla="*/ 1020 h 10000"/>
                <a:gd name="connsiteX23" fmla="*/ 3377 w 10000"/>
                <a:gd name="connsiteY23" fmla="*/ 1224 h 10000"/>
                <a:gd name="connsiteX0" fmla="*/ 3377 w 10000"/>
                <a:gd name="connsiteY0" fmla="*/ 1224 h 10000"/>
                <a:gd name="connsiteX1" fmla="*/ 1339 w 10000"/>
                <a:gd name="connsiteY1" fmla="*/ 2654 h 10000"/>
                <a:gd name="connsiteX2" fmla="*/ 321 w 10000"/>
                <a:gd name="connsiteY2" fmla="*/ 4084 h 10000"/>
                <a:gd name="connsiteX3" fmla="*/ 827 w 10000"/>
                <a:gd name="connsiteY3" fmla="*/ 5307 h 10000"/>
                <a:gd name="connsiteX4" fmla="*/ 10000 w 10000"/>
                <a:gd name="connsiteY4" fmla="*/ 10000 h 10000"/>
                <a:gd name="connsiteX5" fmla="*/ 1849 w 10000"/>
                <a:gd name="connsiteY5" fmla="*/ 5307 h 10000"/>
                <a:gd name="connsiteX6" fmla="*/ 2870 w 10000"/>
                <a:gd name="connsiteY6" fmla="*/ 4696 h 10000"/>
                <a:gd name="connsiteX7" fmla="*/ 2360 w 10000"/>
                <a:gd name="connsiteY7" fmla="*/ 3265 h 10000"/>
                <a:gd name="connsiteX8" fmla="*/ 4908 w 10000"/>
                <a:gd name="connsiteY8" fmla="*/ 3265 h 10000"/>
                <a:gd name="connsiteX9" fmla="*/ 5925 w 10000"/>
                <a:gd name="connsiteY9" fmla="*/ 4084 h 10000"/>
                <a:gd name="connsiteX10" fmla="*/ 7962 w 10000"/>
                <a:gd name="connsiteY10" fmla="*/ 4084 h 10000"/>
                <a:gd name="connsiteX11" fmla="*/ 7962 w 10000"/>
                <a:gd name="connsiteY11" fmla="*/ 3472 h 10000"/>
                <a:gd name="connsiteX12" fmla="*/ 8476 w 10000"/>
                <a:gd name="connsiteY12" fmla="*/ 3062 h 10000"/>
                <a:gd name="connsiteX13" fmla="*/ 8982 w 10000"/>
                <a:gd name="connsiteY13" fmla="*/ 3265 h 10000"/>
                <a:gd name="connsiteX14" fmla="*/ 8476 w 10000"/>
                <a:gd name="connsiteY14" fmla="*/ 2040 h 10000"/>
                <a:gd name="connsiteX15" fmla="*/ 9492 w 10000"/>
                <a:gd name="connsiteY15" fmla="*/ 1224 h 10000"/>
                <a:gd name="connsiteX16" fmla="*/ 9492 w 10000"/>
                <a:gd name="connsiteY16" fmla="*/ 407 h 10000"/>
                <a:gd name="connsiteX17" fmla="*/ 8476 w 10000"/>
                <a:gd name="connsiteY17" fmla="*/ 0 h 10000"/>
                <a:gd name="connsiteX18" fmla="*/ 7456 w 10000"/>
                <a:gd name="connsiteY18" fmla="*/ 0 h 10000"/>
                <a:gd name="connsiteX19" fmla="*/ 3887 w 10000"/>
                <a:gd name="connsiteY19" fmla="*/ 205 h 10000"/>
                <a:gd name="connsiteX20" fmla="*/ 3377 w 10000"/>
                <a:gd name="connsiteY20" fmla="*/ 0 h 10000"/>
                <a:gd name="connsiteX21" fmla="*/ 3377 w 10000"/>
                <a:gd name="connsiteY21" fmla="*/ 1020 h 10000"/>
                <a:gd name="connsiteX22" fmla="*/ 3377 w 10000"/>
                <a:gd name="connsiteY22" fmla="*/ 1224 h 10000"/>
                <a:gd name="connsiteX0" fmla="*/ 3056 w 9171"/>
                <a:gd name="connsiteY0" fmla="*/ 1224 h 5424"/>
                <a:gd name="connsiteX1" fmla="*/ 1018 w 9171"/>
                <a:gd name="connsiteY1" fmla="*/ 2654 h 5424"/>
                <a:gd name="connsiteX2" fmla="*/ 0 w 9171"/>
                <a:gd name="connsiteY2" fmla="*/ 4084 h 5424"/>
                <a:gd name="connsiteX3" fmla="*/ 506 w 9171"/>
                <a:gd name="connsiteY3" fmla="*/ 5307 h 5424"/>
                <a:gd name="connsiteX4" fmla="*/ 1528 w 9171"/>
                <a:gd name="connsiteY4" fmla="*/ 5307 h 5424"/>
                <a:gd name="connsiteX5" fmla="*/ 2549 w 9171"/>
                <a:gd name="connsiteY5" fmla="*/ 4696 h 5424"/>
                <a:gd name="connsiteX6" fmla="*/ 2039 w 9171"/>
                <a:gd name="connsiteY6" fmla="*/ 3265 h 5424"/>
                <a:gd name="connsiteX7" fmla="*/ 4587 w 9171"/>
                <a:gd name="connsiteY7" fmla="*/ 3265 h 5424"/>
                <a:gd name="connsiteX8" fmla="*/ 5604 w 9171"/>
                <a:gd name="connsiteY8" fmla="*/ 4084 h 5424"/>
                <a:gd name="connsiteX9" fmla="*/ 7641 w 9171"/>
                <a:gd name="connsiteY9" fmla="*/ 4084 h 5424"/>
                <a:gd name="connsiteX10" fmla="*/ 7641 w 9171"/>
                <a:gd name="connsiteY10" fmla="*/ 3472 h 5424"/>
                <a:gd name="connsiteX11" fmla="*/ 8155 w 9171"/>
                <a:gd name="connsiteY11" fmla="*/ 3062 h 5424"/>
                <a:gd name="connsiteX12" fmla="*/ 8661 w 9171"/>
                <a:gd name="connsiteY12" fmla="*/ 3265 h 5424"/>
                <a:gd name="connsiteX13" fmla="*/ 8155 w 9171"/>
                <a:gd name="connsiteY13" fmla="*/ 2040 h 5424"/>
                <a:gd name="connsiteX14" fmla="*/ 9171 w 9171"/>
                <a:gd name="connsiteY14" fmla="*/ 1224 h 5424"/>
                <a:gd name="connsiteX15" fmla="*/ 9171 w 9171"/>
                <a:gd name="connsiteY15" fmla="*/ 407 h 5424"/>
                <a:gd name="connsiteX16" fmla="*/ 8155 w 9171"/>
                <a:gd name="connsiteY16" fmla="*/ 0 h 5424"/>
                <a:gd name="connsiteX17" fmla="*/ 7135 w 9171"/>
                <a:gd name="connsiteY17" fmla="*/ 0 h 5424"/>
                <a:gd name="connsiteX18" fmla="*/ 3566 w 9171"/>
                <a:gd name="connsiteY18" fmla="*/ 205 h 5424"/>
                <a:gd name="connsiteX19" fmla="*/ 3056 w 9171"/>
                <a:gd name="connsiteY19" fmla="*/ 0 h 5424"/>
                <a:gd name="connsiteX20" fmla="*/ 3056 w 9171"/>
                <a:gd name="connsiteY20" fmla="*/ 1020 h 5424"/>
                <a:gd name="connsiteX21" fmla="*/ 3056 w 9171"/>
                <a:gd name="connsiteY21" fmla="*/ 1224 h 5424"/>
                <a:gd name="connsiteX0" fmla="*/ 3332 w 10000"/>
                <a:gd name="connsiteY0" fmla="*/ 1881 h 10001"/>
                <a:gd name="connsiteX1" fmla="*/ 1110 w 10000"/>
                <a:gd name="connsiteY1" fmla="*/ 4893 h 10001"/>
                <a:gd name="connsiteX2" fmla="*/ 0 w 10000"/>
                <a:gd name="connsiteY2" fmla="*/ 7529 h 10001"/>
                <a:gd name="connsiteX3" fmla="*/ 552 w 10000"/>
                <a:gd name="connsiteY3" fmla="*/ 9784 h 10001"/>
                <a:gd name="connsiteX4" fmla="*/ 1666 w 10000"/>
                <a:gd name="connsiteY4" fmla="*/ 9784 h 10001"/>
                <a:gd name="connsiteX5" fmla="*/ 2779 w 10000"/>
                <a:gd name="connsiteY5" fmla="*/ 8658 h 10001"/>
                <a:gd name="connsiteX6" fmla="*/ 2223 w 10000"/>
                <a:gd name="connsiteY6" fmla="*/ 6020 h 10001"/>
                <a:gd name="connsiteX7" fmla="*/ 5002 w 10000"/>
                <a:gd name="connsiteY7" fmla="*/ 6020 h 10001"/>
                <a:gd name="connsiteX8" fmla="*/ 6111 w 10000"/>
                <a:gd name="connsiteY8" fmla="*/ 7529 h 10001"/>
                <a:gd name="connsiteX9" fmla="*/ 8332 w 10000"/>
                <a:gd name="connsiteY9" fmla="*/ 7529 h 10001"/>
                <a:gd name="connsiteX10" fmla="*/ 8332 w 10000"/>
                <a:gd name="connsiteY10" fmla="*/ 6401 h 10001"/>
                <a:gd name="connsiteX11" fmla="*/ 8892 w 10000"/>
                <a:gd name="connsiteY11" fmla="*/ 5645 h 10001"/>
                <a:gd name="connsiteX12" fmla="*/ 9444 w 10000"/>
                <a:gd name="connsiteY12" fmla="*/ 6020 h 10001"/>
                <a:gd name="connsiteX13" fmla="*/ 8892 w 10000"/>
                <a:gd name="connsiteY13" fmla="*/ 3761 h 10001"/>
                <a:gd name="connsiteX14" fmla="*/ 10000 w 10000"/>
                <a:gd name="connsiteY14" fmla="*/ 2257 h 10001"/>
                <a:gd name="connsiteX15" fmla="*/ 10000 w 10000"/>
                <a:gd name="connsiteY15" fmla="*/ 750 h 10001"/>
                <a:gd name="connsiteX16" fmla="*/ 8892 w 10000"/>
                <a:gd name="connsiteY16" fmla="*/ 0 h 10001"/>
                <a:gd name="connsiteX17" fmla="*/ 7780 w 10000"/>
                <a:gd name="connsiteY17" fmla="*/ 0 h 10001"/>
                <a:gd name="connsiteX18" fmla="*/ 3888 w 10000"/>
                <a:gd name="connsiteY18" fmla="*/ 378 h 10001"/>
                <a:gd name="connsiteX19" fmla="*/ 3332 w 10000"/>
                <a:gd name="connsiteY19" fmla="*/ 0 h 10001"/>
                <a:gd name="connsiteX20" fmla="*/ 3332 w 10000"/>
                <a:gd name="connsiteY20" fmla="*/ 1881 h 10001"/>
                <a:gd name="connsiteX0" fmla="*/ 1110 w 10000"/>
                <a:gd name="connsiteY0" fmla="*/ 4893 h 10001"/>
                <a:gd name="connsiteX1" fmla="*/ 0 w 10000"/>
                <a:gd name="connsiteY1" fmla="*/ 7529 h 10001"/>
                <a:gd name="connsiteX2" fmla="*/ 552 w 10000"/>
                <a:gd name="connsiteY2" fmla="*/ 9784 h 10001"/>
                <a:gd name="connsiteX3" fmla="*/ 1666 w 10000"/>
                <a:gd name="connsiteY3" fmla="*/ 9784 h 10001"/>
                <a:gd name="connsiteX4" fmla="*/ 2779 w 10000"/>
                <a:gd name="connsiteY4" fmla="*/ 8658 h 10001"/>
                <a:gd name="connsiteX5" fmla="*/ 2223 w 10000"/>
                <a:gd name="connsiteY5" fmla="*/ 6020 h 10001"/>
                <a:gd name="connsiteX6" fmla="*/ 5002 w 10000"/>
                <a:gd name="connsiteY6" fmla="*/ 6020 h 10001"/>
                <a:gd name="connsiteX7" fmla="*/ 6111 w 10000"/>
                <a:gd name="connsiteY7" fmla="*/ 7529 h 10001"/>
                <a:gd name="connsiteX8" fmla="*/ 8332 w 10000"/>
                <a:gd name="connsiteY8" fmla="*/ 7529 h 10001"/>
                <a:gd name="connsiteX9" fmla="*/ 8332 w 10000"/>
                <a:gd name="connsiteY9" fmla="*/ 6401 h 10001"/>
                <a:gd name="connsiteX10" fmla="*/ 8892 w 10000"/>
                <a:gd name="connsiteY10" fmla="*/ 5645 h 10001"/>
                <a:gd name="connsiteX11" fmla="*/ 9444 w 10000"/>
                <a:gd name="connsiteY11" fmla="*/ 6020 h 10001"/>
                <a:gd name="connsiteX12" fmla="*/ 8892 w 10000"/>
                <a:gd name="connsiteY12" fmla="*/ 3761 h 10001"/>
                <a:gd name="connsiteX13" fmla="*/ 10000 w 10000"/>
                <a:gd name="connsiteY13" fmla="*/ 2257 h 10001"/>
                <a:gd name="connsiteX14" fmla="*/ 10000 w 10000"/>
                <a:gd name="connsiteY14" fmla="*/ 750 h 10001"/>
                <a:gd name="connsiteX15" fmla="*/ 8892 w 10000"/>
                <a:gd name="connsiteY15" fmla="*/ 0 h 10001"/>
                <a:gd name="connsiteX16" fmla="*/ 7780 w 10000"/>
                <a:gd name="connsiteY16" fmla="*/ 0 h 10001"/>
                <a:gd name="connsiteX17" fmla="*/ 3888 w 10000"/>
                <a:gd name="connsiteY17" fmla="*/ 378 h 10001"/>
                <a:gd name="connsiteX18" fmla="*/ 3332 w 10000"/>
                <a:gd name="connsiteY18" fmla="*/ 0 h 10001"/>
                <a:gd name="connsiteX19" fmla="*/ 9846 w 10000"/>
                <a:gd name="connsiteY19" fmla="*/ 6305 h 10001"/>
                <a:gd name="connsiteX0" fmla="*/ 1110 w 10000"/>
                <a:gd name="connsiteY0" fmla="*/ 4893 h 10001"/>
                <a:gd name="connsiteX1" fmla="*/ 0 w 10000"/>
                <a:gd name="connsiteY1" fmla="*/ 7529 h 10001"/>
                <a:gd name="connsiteX2" fmla="*/ 552 w 10000"/>
                <a:gd name="connsiteY2" fmla="*/ 9784 h 10001"/>
                <a:gd name="connsiteX3" fmla="*/ 1666 w 10000"/>
                <a:gd name="connsiteY3" fmla="*/ 9784 h 10001"/>
                <a:gd name="connsiteX4" fmla="*/ 2779 w 10000"/>
                <a:gd name="connsiteY4" fmla="*/ 8658 h 10001"/>
                <a:gd name="connsiteX5" fmla="*/ 2223 w 10000"/>
                <a:gd name="connsiteY5" fmla="*/ 6020 h 10001"/>
                <a:gd name="connsiteX6" fmla="*/ 5002 w 10000"/>
                <a:gd name="connsiteY6" fmla="*/ 6020 h 10001"/>
                <a:gd name="connsiteX7" fmla="*/ 6111 w 10000"/>
                <a:gd name="connsiteY7" fmla="*/ 7529 h 10001"/>
                <a:gd name="connsiteX8" fmla="*/ 8332 w 10000"/>
                <a:gd name="connsiteY8" fmla="*/ 7529 h 10001"/>
                <a:gd name="connsiteX9" fmla="*/ 8332 w 10000"/>
                <a:gd name="connsiteY9" fmla="*/ 6401 h 10001"/>
                <a:gd name="connsiteX10" fmla="*/ 8892 w 10000"/>
                <a:gd name="connsiteY10" fmla="*/ 5645 h 10001"/>
                <a:gd name="connsiteX11" fmla="*/ 9444 w 10000"/>
                <a:gd name="connsiteY11" fmla="*/ 6020 h 10001"/>
                <a:gd name="connsiteX12" fmla="*/ 8892 w 10000"/>
                <a:gd name="connsiteY12" fmla="*/ 3761 h 10001"/>
                <a:gd name="connsiteX13" fmla="*/ 10000 w 10000"/>
                <a:gd name="connsiteY13" fmla="*/ 2257 h 10001"/>
                <a:gd name="connsiteX14" fmla="*/ 10000 w 10000"/>
                <a:gd name="connsiteY14" fmla="*/ 750 h 10001"/>
                <a:gd name="connsiteX15" fmla="*/ 8892 w 10000"/>
                <a:gd name="connsiteY15" fmla="*/ 0 h 10001"/>
                <a:gd name="connsiteX16" fmla="*/ 7780 w 10000"/>
                <a:gd name="connsiteY16" fmla="*/ 0 h 10001"/>
                <a:gd name="connsiteX17" fmla="*/ 3888 w 10000"/>
                <a:gd name="connsiteY17" fmla="*/ 378 h 10001"/>
                <a:gd name="connsiteX18" fmla="*/ 9846 w 10000"/>
                <a:gd name="connsiteY18" fmla="*/ 6305 h 10001"/>
                <a:gd name="connsiteX0" fmla="*/ 1110 w 10000"/>
                <a:gd name="connsiteY0" fmla="*/ 4893 h 10001"/>
                <a:gd name="connsiteX1" fmla="*/ 0 w 10000"/>
                <a:gd name="connsiteY1" fmla="*/ 7529 h 10001"/>
                <a:gd name="connsiteX2" fmla="*/ 552 w 10000"/>
                <a:gd name="connsiteY2" fmla="*/ 9784 h 10001"/>
                <a:gd name="connsiteX3" fmla="*/ 1666 w 10000"/>
                <a:gd name="connsiteY3" fmla="*/ 9784 h 10001"/>
                <a:gd name="connsiteX4" fmla="*/ 2779 w 10000"/>
                <a:gd name="connsiteY4" fmla="*/ 8658 h 10001"/>
                <a:gd name="connsiteX5" fmla="*/ 2223 w 10000"/>
                <a:gd name="connsiteY5" fmla="*/ 6020 h 10001"/>
                <a:gd name="connsiteX6" fmla="*/ 5002 w 10000"/>
                <a:gd name="connsiteY6" fmla="*/ 6020 h 10001"/>
                <a:gd name="connsiteX7" fmla="*/ 6111 w 10000"/>
                <a:gd name="connsiteY7" fmla="*/ 7529 h 10001"/>
                <a:gd name="connsiteX8" fmla="*/ 8332 w 10000"/>
                <a:gd name="connsiteY8" fmla="*/ 7529 h 10001"/>
                <a:gd name="connsiteX9" fmla="*/ 8332 w 10000"/>
                <a:gd name="connsiteY9" fmla="*/ 6401 h 10001"/>
                <a:gd name="connsiteX10" fmla="*/ 8892 w 10000"/>
                <a:gd name="connsiteY10" fmla="*/ 5645 h 10001"/>
                <a:gd name="connsiteX11" fmla="*/ 9444 w 10000"/>
                <a:gd name="connsiteY11" fmla="*/ 6020 h 10001"/>
                <a:gd name="connsiteX12" fmla="*/ 8892 w 10000"/>
                <a:gd name="connsiteY12" fmla="*/ 3761 h 10001"/>
                <a:gd name="connsiteX13" fmla="*/ 10000 w 10000"/>
                <a:gd name="connsiteY13" fmla="*/ 2257 h 10001"/>
                <a:gd name="connsiteX14" fmla="*/ 10000 w 10000"/>
                <a:gd name="connsiteY14" fmla="*/ 750 h 10001"/>
                <a:gd name="connsiteX15" fmla="*/ 8892 w 10000"/>
                <a:gd name="connsiteY15" fmla="*/ 0 h 10001"/>
                <a:gd name="connsiteX16" fmla="*/ 7780 w 10000"/>
                <a:gd name="connsiteY16" fmla="*/ 0 h 10001"/>
                <a:gd name="connsiteX17" fmla="*/ 9846 w 10000"/>
                <a:gd name="connsiteY17" fmla="*/ 6305 h 10001"/>
                <a:gd name="connsiteX0" fmla="*/ 1110 w 10041"/>
                <a:gd name="connsiteY0" fmla="*/ 4893 h 10001"/>
                <a:gd name="connsiteX1" fmla="*/ 0 w 10041"/>
                <a:gd name="connsiteY1" fmla="*/ 7529 h 10001"/>
                <a:gd name="connsiteX2" fmla="*/ 552 w 10041"/>
                <a:gd name="connsiteY2" fmla="*/ 9784 h 10001"/>
                <a:gd name="connsiteX3" fmla="*/ 1666 w 10041"/>
                <a:gd name="connsiteY3" fmla="*/ 9784 h 10001"/>
                <a:gd name="connsiteX4" fmla="*/ 2779 w 10041"/>
                <a:gd name="connsiteY4" fmla="*/ 8658 h 10001"/>
                <a:gd name="connsiteX5" fmla="*/ 2223 w 10041"/>
                <a:gd name="connsiteY5" fmla="*/ 6020 h 10001"/>
                <a:gd name="connsiteX6" fmla="*/ 5002 w 10041"/>
                <a:gd name="connsiteY6" fmla="*/ 6020 h 10001"/>
                <a:gd name="connsiteX7" fmla="*/ 6111 w 10041"/>
                <a:gd name="connsiteY7" fmla="*/ 7529 h 10001"/>
                <a:gd name="connsiteX8" fmla="*/ 8332 w 10041"/>
                <a:gd name="connsiteY8" fmla="*/ 7529 h 10001"/>
                <a:gd name="connsiteX9" fmla="*/ 8332 w 10041"/>
                <a:gd name="connsiteY9" fmla="*/ 6401 h 10001"/>
                <a:gd name="connsiteX10" fmla="*/ 8892 w 10041"/>
                <a:gd name="connsiteY10" fmla="*/ 5645 h 10001"/>
                <a:gd name="connsiteX11" fmla="*/ 9444 w 10041"/>
                <a:gd name="connsiteY11" fmla="*/ 6020 h 10001"/>
                <a:gd name="connsiteX12" fmla="*/ 10000 w 10041"/>
                <a:gd name="connsiteY12" fmla="*/ 2257 h 10001"/>
                <a:gd name="connsiteX13" fmla="*/ 10000 w 10041"/>
                <a:gd name="connsiteY13" fmla="*/ 750 h 10001"/>
                <a:gd name="connsiteX14" fmla="*/ 8892 w 10041"/>
                <a:gd name="connsiteY14" fmla="*/ 0 h 10001"/>
                <a:gd name="connsiteX15" fmla="*/ 7780 w 10041"/>
                <a:gd name="connsiteY15" fmla="*/ 0 h 10001"/>
                <a:gd name="connsiteX16" fmla="*/ 9846 w 10041"/>
                <a:gd name="connsiteY16" fmla="*/ 6305 h 10001"/>
                <a:gd name="connsiteX0" fmla="*/ 1110 w 10011"/>
                <a:gd name="connsiteY0" fmla="*/ 4893 h 10001"/>
                <a:gd name="connsiteX1" fmla="*/ 0 w 10011"/>
                <a:gd name="connsiteY1" fmla="*/ 7529 h 10001"/>
                <a:gd name="connsiteX2" fmla="*/ 552 w 10011"/>
                <a:gd name="connsiteY2" fmla="*/ 9784 h 10001"/>
                <a:gd name="connsiteX3" fmla="*/ 1666 w 10011"/>
                <a:gd name="connsiteY3" fmla="*/ 9784 h 10001"/>
                <a:gd name="connsiteX4" fmla="*/ 2779 w 10011"/>
                <a:gd name="connsiteY4" fmla="*/ 8658 h 10001"/>
                <a:gd name="connsiteX5" fmla="*/ 2223 w 10011"/>
                <a:gd name="connsiteY5" fmla="*/ 6020 h 10001"/>
                <a:gd name="connsiteX6" fmla="*/ 5002 w 10011"/>
                <a:gd name="connsiteY6" fmla="*/ 6020 h 10001"/>
                <a:gd name="connsiteX7" fmla="*/ 6111 w 10011"/>
                <a:gd name="connsiteY7" fmla="*/ 7529 h 10001"/>
                <a:gd name="connsiteX8" fmla="*/ 8332 w 10011"/>
                <a:gd name="connsiteY8" fmla="*/ 7529 h 10001"/>
                <a:gd name="connsiteX9" fmla="*/ 8332 w 10011"/>
                <a:gd name="connsiteY9" fmla="*/ 6401 h 10001"/>
                <a:gd name="connsiteX10" fmla="*/ 8892 w 10011"/>
                <a:gd name="connsiteY10" fmla="*/ 5645 h 10001"/>
                <a:gd name="connsiteX11" fmla="*/ 9444 w 10011"/>
                <a:gd name="connsiteY11" fmla="*/ 6020 h 10001"/>
                <a:gd name="connsiteX12" fmla="*/ 10000 w 10011"/>
                <a:gd name="connsiteY12" fmla="*/ 2257 h 10001"/>
                <a:gd name="connsiteX13" fmla="*/ 8892 w 10011"/>
                <a:gd name="connsiteY13" fmla="*/ 0 h 10001"/>
                <a:gd name="connsiteX14" fmla="*/ 7780 w 10011"/>
                <a:gd name="connsiteY14" fmla="*/ 0 h 10001"/>
                <a:gd name="connsiteX15" fmla="*/ 9846 w 10011"/>
                <a:gd name="connsiteY15" fmla="*/ 6305 h 10001"/>
                <a:gd name="connsiteX0" fmla="*/ 1110 w 10067"/>
                <a:gd name="connsiteY0" fmla="*/ 5033 h 10141"/>
                <a:gd name="connsiteX1" fmla="*/ 0 w 10067"/>
                <a:gd name="connsiteY1" fmla="*/ 7669 h 10141"/>
                <a:gd name="connsiteX2" fmla="*/ 552 w 10067"/>
                <a:gd name="connsiteY2" fmla="*/ 9924 h 10141"/>
                <a:gd name="connsiteX3" fmla="*/ 1666 w 10067"/>
                <a:gd name="connsiteY3" fmla="*/ 9924 h 10141"/>
                <a:gd name="connsiteX4" fmla="*/ 2779 w 10067"/>
                <a:gd name="connsiteY4" fmla="*/ 8798 h 10141"/>
                <a:gd name="connsiteX5" fmla="*/ 2223 w 10067"/>
                <a:gd name="connsiteY5" fmla="*/ 6160 h 10141"/>
                <a:gd name="connsiteX6" fmla="*/ 5002 w 10067"/>
                <a:gd name="connsiteY6" fmla="*/ 6160 h 10141"/>
                <a:gd name="connsiteX7" fmla="*/ 6111 w 10067"/>
                <a:gd name="connsiteY7" fmla="*/ 7669 h 10141"/>
                <a:gd name="connsiteX8" fmla="*/ 8332 w 10067"/>
                <a:gd name="connsiteY8" fmla="*/ 7669 h 10141"/>
                <a:gd name="connsiteX9" fmla="*/ 8332 w 10067"/>
                <a:gd name="connsiteY9" fmla="*/ 6541 h 10141"/>
                <a:gd name="connsiteX10" fmla="*/ 8892 w 10067"/>
                <a:gd name="connsiteY10" fmla="*/ 5785 h 10141"/>
                <a:gd name="connsiteX11" fmla="*/ 9444 w 10067"/>
                <a:gd name="connsiteY11" fmla="*/ 6160 h 10141"/>
                <a:gd name="connsiteX12" fmla="*/ 10000 w 10067"/>
                <a:gd name="connsiteY12" fmla="*/ 2397 h 10141"/>
                <a:gd name="connsiteX13" fmla="*/ 7780 w 10067"/>
                <a:gd name="connsiteY13" fmla="*/ 140 h 10141"/>
                <a:gd name="connsiteX14" fmla="*/ 9846 w 10067"/>
                <a:gd name="connsiteY14" fmla="*/ 6445 h 10141"/>
                <a:gd name="connsiteX0" fmla="*/ 1110 w 10067"/>
                <a:gd name="connsiteY0" fmla="*/ 5033 h 10141"/>
                <a:gd name="connsiteX1" fmla="*/ 0 w 10067"/>
                <a:gd name="connsiteY1" fmla="*/ 7669 h 10141"/>
                <a:gd name="connsiteX2" fmla="*/ 552 w 10067"/>
                <a:gd name="connsiteY2" fmla="*/ 9924 h 10141"/>
                <a:gd name="connsiteX3" fmla="*/ 1666 w 10067"/>
                <a:gd name="connsiteY3" fmla="*/ 9924 h 10141"/>
                <a:gd name="connsiteX4" fmla="*/ 2779 w 10067"/>
                <a:gd name="connsiteY4" fmla="*/ 8798 h 10141"/>
                <a:gd name="connsiteX5" fmla="*/ 2223 w 10067"/>
                <a:gd name="connsiteY5" fmla="*/ 6160 h 10141"/>
                <a:gd name="connsiteX6" fmla="*/ 5002 w 10067"/>
                <a:gd name="connsiteY6" fmla="*/ 6160 h 10141"/>
                <a:gd name="connsiteX7" fmla="*/ 6111 w 10067"/>
                <a:gd name="connsiteY7" fmla="*/ 7669 h 10141"/>
                <a:gd name="connsiteX8" fmla="*/ 8332 w 10067"/>
                <a:gd name="connsiteY8" fmla="*/ 7669 h 10141"/>
                <a:gd name="connsiteX9" fmla="*/ 8332 w 10067"/>
                <a:gd name="connsiteY9" fmla="*/ 6541 h 10141"/>
                <a:gd name="connsiteX10" fmla="*/ 8892 w 10067"/>
                <a:gd name="connsiteY10" fmla="*/ 5785 h 10141"/>
                <a:gd name="connsiteX11" fmla="*/ 9444 w 10067"/>
                <a:gd name="connsiteY11" fmla="*/ 6160 h 10141"/>
                <a:gd name="connsiteX12" fmla="*/ 10000 w 10067"/>
                <a:gd name="connsiteY12" fmla="*/ 2397 h 10141"/>
                <a:gd name="connsiteX13" fmla="*/ 7780 w 10067"/>
                <a:gd name="connsiteY13" fmla="*/ 140 h 10141"/>
                <a:gd name="connsiteX14" fmla="*/ 9846 w 10067"/>
                <a:gd name="connsiteY14" fmla="*/ 6445 h 10141"/>
                <a:gd name="connsiteX15" fmla="*/ 1110 w 10067"/>
                <a:gd name="connsiteY15" fmla="*/ 5033 h 10141"/>
                <a:gd name="connsiteX0" fmla="*/ 7780 w 16514"/>
                <a:gd name="connsiteY0" fmla="*/ 0 h 10001"/>
                <a:gd name="connsiteX1" fmla="*/ 9846 w 16514"/>
                <a:gd name="connsiteY1" fmla="*/ 6305 h 10001"/>
                <a:gd name="connsiteX2" fmla="*/ 1110 w 16514"/>
                <a:gd name="connsiteY2" fmla="*/ 4893 h 10001"/>
                <a:gd name="connsiteX3" fmla="*/ 0 w 16514"/>
                <a:gd name="connsiteY3" fmla="*/ 7529 h 10001"/>
                <a:gd name="connsiteX4" fmla="*/ 552 w 16514"/>
                <a:gd name="connsiteY4" fmla="*/ 9784 h 10001"/>
                <a:gd name="connsiteX5" fmla="*/ 1666 w 16514"/>
                <a:gd name="connsiteY5" fmla="*/ 9784 h 10001"/>
                <a:gd name="connsiteX6" fmla="*/ 2779 w 16514"/>
                <a:gd name="connsiteY6" fmla="*/ 8658 h 10001"/>
                <a:gd name="connsiteX7" fmla="*/ 2223 w 16514"/>
                <a:gd name="connsiteY7" fmla="*/ 6020 h 10001"/>
                <a:gd name="connsiteX8" fmla="*/ 5002 w 16514"/>
                <a:gd name="connsiteY8" fmla="*/ 6020 h 10001"/>
                <a:gd name="connsiteX9" fmla="*/ 6111 w 16514"/>
                <a:gd name="connsiteY9" fmla="*/ 7529 h 10001"/>
                <a:gd name="connsiteX10" fmla="*/ 8332 w 16514"/>
                <a:gd name="connsiteY10" fmla="*/ 7529 h 10001"/>
                <a:gd name="connsiteX11" fmla="*/ 8332 w 16514"/>
                <a:gd name="connsiteY11" fmla="*/ 6401 h 10001"/>
                <a:gd name="connsiteX12" fmla="*/ 8892 w 16514"/>
                <a:gd name="connsiteY12" fmla="*/ 5645 h 10001"/>
                <a:gd name="connsiteX13" fmla="*/ 9444 w 16514"/>
                <a:gd name="connsiteY13" fmla="*/ 6020 h 10001"/>
                <a:gd name="connsiteX14" fmla="*/ 16514 w 16514"/>
                <a:gd name="connsiteY14" fmla="*/ 6681 h 10001"/>
                <a:gd name="connsiteX0" fmla="*/ 7780 w 16514"/>
                <a:gd name="connsiteY0" fmla="*/ 445 h 10446"/>
                <a:gd name="connsiteX1" fmla="*/ 7465 w 16514"/>
                <a:gd name="connsiteY1" fmla="*/ 473 h 10446"/>
                <a:gd name="connsiteX2" fmla="*/ 9846 w 16514"/>
                <a:gd name="connsiteY2" fmla="*/ 6750 h 10446"/>
                <a:gd name="connsiteX3" fmla="*/ 1110 w 16514"/>
                <a:gd name="connsiteY3" fmla="*/ 5338 h 10446"/>
                <a:gd name="connsiteX4" fmla="*/ 0 w 16514"/>
                <a:gd name="connsiteY4" fmla="*/ 7974 h 10446"/>
                <a:gd name="connsiteX5" fmla="*/ 552 w 16514"/>
                <a:gd name="connsiteY5" fmla="*/ 10229 h 10446"/>
                <a:gd name="connsiteX6" fmla="*/ 1666 w 16514"/>
                <a:gd name="connsiteY6" fmla="*/ 10229 h 10446"/>
                <a:gd name="connsiteX7" fmla="*/ 2779 w 16514"/>
                <a:gd name="connsiteY7" fmla="*/ 9103 h 10446"/>
                <a:gd name="connsiteX8" fmla="*/ 2223 w 16514"/>
                <a:gd name="connsiteY8" fmla="*/ 6465 h 10446"/>
                <a:gd name="connsiteX9" fmla="*/ 5002 w 16514"/>
                <a:gd name="connsiteY9" fmla="*/ 6465 h 10446"/>
                <a:gd name="connsiteX10" fmla="*/ 6111 w 16514"/>
                <a:gd name="connsiteY10" fmla="*/ 7974 h 10446"/>
                <a:gd name="connsiteX11" fmla="*/ 8332 w 16514"/>
                <a:gd name="connsiteY11" fmla="*/ 7974 h 10446"/>
                <a:gd name="connsiteX12" fmla="*/ 8332 w 16514"/>
                <a:gd name="connsiteY12" fmla="*/ 6846 h 10446"/>
                <a:gd name="connsiteX13" fmla="*/ 8892 w 16514"/>
                <a:gd name="connsiteY13" fmla="*/ 6090 h 10446"/>
                <a:gd name="connsiteX14" fmla="*/ 9444 w 16514"/>
                <a:gd name="connsiteY14" fmla="*/ 6465 h 10446"/>
                <a:gd name="connsiteX15" fmla="*/ 16514 w 16514"/>
                <a:gd name="connsiteY15" fmla="*/ 7126 h 10446"/>
                <a:gd name="connsiteX0" fmla="*/ 7465 w 16514"/>
                <a:gd name="connsiteY0" fmla="*/ 0 h 9973"/>
                <a:gd name="connsiteX1" fmla="*/ 9846 w 16514"/>
                <a:gd name="connsiteY1" fmla="*/ 6277 h 9973"/>
                <a:gd name="connsiteX2" fmla="*/ 1110 w 16514"/>
                <a:gd name="connsiteY2" fmla="*/ 4865 h 9973"/>
                <a:gd name="connsiteX3" fmla="*/ 0 w 16514"/>
                <a:gd name="connsiteY3" fmla="*/ 7501 h 9973"/>
                <a:gd name="connsiteX4" fmla="*/ 552 w 16514"/>
                <a:gd name="connsiteY4" fmla="*/ 9756 h 9973"/>
                <a:gd name="connsiteX5" fmla="*/ 1666 w 16514"/>
                <a:gd name="connsiteY5" fmla="*/ 9756 h 9973"/>
                <a:gd name="connsiteX6" fmla="*/ 2779 w 16514"/>
                <a:gd name="connsiteY6" fmla="*/ 8630 h 9973"/>
                <a:gd name="connsiteX7" fmla="*/ 2223 w 16514"/>
                <a:gd name="connsiteY7" fmla="*/ 5992 h 9973"/>
                <a:gd name="connsiteX8" fmla="*/ 5002 w 16514"/>
                <a:gd name="connsiteY8" fmla="*/ 5992 h 9973"/>
                <a:gd name="connsiteX9" fmla="*/ 6111 w 16514"/>
                <a:gd name="connsiteY9" fmla="*/ 7501 h 9973"/>
                <a:gd name="connsiteX10" fmla="*/ 8332 w 16514"/>
                <a:gd name="connsiteY10" fmla="*/ 7501 h 9973"/>
                <a:gd name="connsiteX11" fmla="*/ 8332 w 16514"/>
                <a:gd name="connsiteY11" fmla="*/ 6373 h 9973"/>
                <a:gd name="connsiteX12" fmla="*/ 8892 w 16514"/>
                <a:gd name="connsiteY12" fmla="*/ 5617 h 9973"/>
                <a:gd name="connsiteX13" fmla="*/ 9444 w 16514"/>
                <a:gd name="connsiteY13" fmla="*/ 5992 h 9973"/>
                <a:gd name="connsiteX14" fmla="*/ 16514 w 16514"/>
                <a:gd name="connsiteY14" fmla="*/ 6653 h 9973"/>
                <a:gd name="connsiteX0" fmla="*/ 5962 w 10000"/>
                <a:gd name="connsiteY0" fmla="*/ 1504 h 5209"/>
                <a:gd name="connsiteX1" fmla="*/ 672 w 10000"/>
                <a:gd name="connsiteY1" fmla="*/ 88 h 5209"/>
                <a:gd name="connsiteX2" fmla="*/ 0 w 10000"/>
                <a:gd name="connsiteY2" fmla="*/ 2731 h 5209"/>
                <a:gd name="connsiteX3" fmla="*/ 334 w 10000"/>
                <a:gd name="connsiteY3" fmla="*/ 4992 h 5209"/>
                <a:gd name="connsiteX4" fmla="*/ 1009 w 10000"/>
                <a:gd name="connsiteY4" fmla="*/ 4992 h 5209"/>
                <a:gd name="connsiteX5" fmla="*/ 1683 w 10000"/>
                <a:gd name="connsiteY5" fmla="*/ 3863 h 5209"/>
                <a:gd name="connsiteX6" fmla="*/ 1346 w 10000"/>
                <a:gd name="connsiteY6" fmla="*/ 1218 h 5209"/>
                <a:gd name="connsiteX7" fmla="*/ 3029 w 10000"/>
                <a:gd name="connsiteY7" fmla="*/ 1218 h 5209"/>
                <a:gd name="connsiteX8" fmla="*/ 3700 w 10000"/>
                <a:gd name="connsiteY8" fmla="*/ 2731 h 5209"/>
                <a:gd name="connsiteX9" fmla="*/ 5045 w 10000"/>
                <a:gd name="connsiteY9" fmla="*/ 2731 h 5209"/>
                <a:gd name="connsiteX10" fmla="*/ 5045 w 10000"/>
                <a:gd name="connsiteY10" fmla="*/ 1600 h 5209"/>
                <a:gd name="connsiteX11" fmla="*/ 5385 w 10000"/>
                <a:gd name="connsiteY11" fmla="*/ 842 h 5209"/>
                <a:gd name="connsiteX12" fmla="*/ 5719 w 10000"/>
                <a:gd name="connsiteY12" fmla="*/ 1218 h 5209"/>
                <a:gd name="connsiteX13" fmla="*/ 10000 w 10000"/>
                <a:gd name="connsiteY13" fmla="*/ 1881 h 5209"/>
                <a:gd name="connsiteX0" fmla="*/ 5962 w 5962"/>
                <a:gd name="connsiteY0" fmla="*/ 2718 h 9832"/>
                <a:gd name="connsiteX1" fmla="*/ 672 w 5962"/>
                <a:gd name="connsiteY1" fmla="*/ 0 h 9832"/>
                <a:gd name="connsiteX2" fmla="*/ 0 w 5962"/>
                <a:gd name="connsiteY2" fmla="*/ 5074 h 9832"/>
                <a:gd name="connsiteX3" fmla="*/ 334 w 5962"/>
                <a:gd name="connsiteY3" fmla="*/ 9414 h 9832"/>
                <a:gd name="connsiteX4" fmla="*/ 1009 w 5962"/>
                <a:gd name="connsiteY4" fmla="*/ 9414 h 9832"/>
                <a:gd name="connsiteX5" fmla="*/ 1683 w 5962"/>
                <a:gd name="connsiteY5" fmla="*/ 7247 h 9832"/>
                <a:gd name="connsiteX6" fmla="*/ 1346 w 5962"/>
                <a:gd name="connsiteY6" fmla="*/ 2169 h 9832"/>
                <a:gd name="connsiteX7" fmla="*/ 3029 w 5962"/>
                <a:gd name="connsiteY7" fmla="*/ 2169 h 9832"/>
                <a:gd name="connsiteX8" fmla="*/ 3700 w 5962"/>
                <a:gd name="connsiteY8" fmla="*/ 5074 h 9832"/>
                <a:gd name="connsiteX9" fmla="*/ 5045 w 5962"/>
                <a:gd name="connsiteY9" fmla="*/ 5074 h 9832"/>
                <a:gd name="connsiteX10" fmla="*/ 5045 w 5962"/>
                <a:gd name="connsiteY10" fmla="*/ 2903 h 9832"/>
                <a:gd name="connsiteX11" fmla="*/ 5385 w 5962"/>
                <a:gd name="connsiteY11" fmla="*/ 1447 h 9832"/>
                <a:gd name="connsiteX12" fmla="*/ 5719 w 5962"/>
                <a:gd name="connsiteY12" fmla="*/ 2169 h 9832"/>
                <a:gd name="connsiteX0" fmla="*/ 10000 w 10000"/>
                <a:gd name="connsiteY0" fmla="*/ 2764 h 10000"/>
                <a:gd name="connsiteX1" fmla="*/ 1127 w 10000"/>
                <a:gd name="connsiteY1" fmla="*/ 0 h 10000"/>
                <a:gd name="connsiteX2" fmla="*/ 0 w 10000"/>
                <a:gd name="connsiteY2" fmla="*/ 5161 h 10000"/>
                <a:gd name="connsiteX3" fmla="*/ 560 w 10000"/>
                <a:gd name="connsiteY3" fmla="*/ 9575 h 10000"/>
                <a:gd name="connsiteX4" fmla="*/ 1692 w 10000"/>
                <a:gd name="connsiteY4" fmla="*/ 9575 h 10000"/>
                <a:gd name="connsiteX5" fmla="*/ 2823 w 10000"/>
                <a:gd name="connsiteY5" fmla="*/ 7371 h 10000"/>
                <a:gd name="connsiteX6" fmla="*/ 2258 w 10000"/>
                <a:gd name="connsiteY6" fmla="*/ 2206 h 10000"/>
                <a:gd name="connsiteX7" fmla="*/ 5081 w 10000"/>
                <a:gd name="connsiteY7" fmla="*/ 2206 h 10000"/>
                <a:gd name="connsiteX8" fmla="*/ 6206 w 10000"/>
                <a:gd name="connsiteY8" fmla="*/ 5161 h 10000"/>
                <a:gd name="connsiteX9" fmla="*/ 8462 w 10000"/>
                <a:gd name="connsiteY9" fmla="*/ 5161 h 10000"/>
                <a:gd name="connsiteX10" fmla="*/ 8462 w 10000"/>
                <a:gd name="connsiteY10" fmla="*/ 2953 h 10000"/>
                <a:gd name="connsiteX11" fmla="*/ 9032 w 10000"/>
                <a:gd name="connsiteY11" fmla="*/ 1472 h 10000"/>
                <a:gd name="connsiteX0" fmla="*/ 10000 w 10000"/>
                <a:gd name="connsiteY0" fmla="*/ 2764 h 10000"/>
                <a:gd name="connsiteX1" fmla="*/ 1127 w 10000"/>
                <a:gd name="connsiteY1" fmla="*/ 0 h 10000"/>
                <a:gd name="connsiteX2" fmla="*/ 0 w 10000"/>
                <a:gd name="connsiteY2" fmla="*/ 5161 h 10000"/>
                <a:gd name="connsiteX3" fmla="*/ 560 w 10000"/>
                <a:gd name="connsiteY3" fmla="*/ 9575 h 10000"/>
                <a:gd name="connsiteX4" fmla="*/ 1692 w 10000"/>
                <a:gd name="connsiteY4" fmla="*/ 9575 h 10000"/>
                <a:gd name="connsiteX5" fmla="*/ 2823 w 10000"/>
                <a:gd name="connsiteY5" fmla="*/ 7371 h 10000"/>
                <a:gd name="connsiteX6" fmla="*/ 2258 w 10000"/>
                <a:gd name="connsiteY6" fmla="*/ 2206 h 10000"/>
                <a:gd name="connsiteX7" fmla="*/ 5081 w 10000"/>
                <a:gd name="connsiteY7" fmla="*/ 2206 h 10000"/>
                <a:gd name="connsiteX8" fmla="*/ 6206 w 10000"/>
                <a:gd name="connsiteY8" fmla="*/ 5161 h 10000"/>
                <a:gd name="connsiteX9" fmla="*/ 8462 w 10000"/>
                <a:gd name="connsiteY9" fmla="*/ 5161 h 10000"/>
                <a:gd name="connsiteX10" fmla="*/ 8462 w 10000"/>
                <a:gd name="connsiteY10" fmla="*/ 2953 h 10000"/>
                <a:gd name="connsiteX0" fmla="*/ 1127 w 8462"/>
                <a:gd name="connsiteY0" fmla="*/ 0 h 10000"/>
                <a:gd name="connsiteX1" fmla="*/ 0 w 8462"/>
                <a:gd name="connsiteY1" fmla="*/ 5161 h 10000"/>
                <a:gd name="connsiteX2" fmla="*/ 560 w 8462"/>
                <a:gd name="connsiteY2" fmla="*/ 9575 h 10000"/>
                <a:gd name="connsiteX3" fmla="*/ 1692 w 8462"/>
                <a:gd name="connsiteY3" fmla="*/ 9575 h 10000"/>
                <a:gd name="connsiteX4" fmla="*/ 2823 w 8462"/>
                <a:gd name="connsiteY4" fmla="*/ 7371 h 10000"/>
                <a:gd name="connsiteX5" fmla="*/ 2258 w 8462"/>
                <a:gd name="connsiteY5" fmla="*/ 2206 h 10000"/>
                <a:gd name="connsiteX6" fmla="*/ 5081 w 8462"/>
                <a:gd name="connsiteY6" fmla="*/ 2206 h 10000"/>
                <a:gd name="connsiteX7" fmla="*/ 6206 w 8462"/>
                <a:gd name="connsiteY7" fmla="*/ 5161 h 10000"/>
                <a:gd name="connsiteX8" fmla="*/ 8462 w 8462"/>
                <a:gd name="connsiteY8" fmla="*/ 5161 h 10000"/>
                <a:gd name="connsiteX9" fmla="*/ 8462 w 8462"/>
                <a:gd name="connsiteY9" fmla="*/ 2953 h 10000"/>
                <a:gd name="connsiteX0" fmla="*/ 1332 w 10000"/>
                <a:gd name="connsiteY0" fmla="*/ 0 h 10000"/>
                <a:gd name="connsiteX1" fmla="*/ 0 w 10000"/>
                <a:gd name="connsiteY1" fmla="*/ 5161 h 10000"/>
                <a:gd name="connsiteX2" fmla="*/ 662 w 10000"/>
                <a:gd name="connsiteY2" fmla="*/ 9575 h 10000"/>
                <a:gd name="connsiteX3" fmla="*/ 2000 w 10000"/>
                <a:gd name="connsiteY3" fmla="*/ 9575 h 10000"/>
                <a:gd name="connsiteX4" fmla="*/ 3336 w 10000"/>
                <a:gd name="connsiteY4" fmla="*/ 7371 h 10000"/>
                <a:gd name="connsiteX5" fmla="*/ 2668 w 10000"/>
                <a:gd name="connsiteY5" fmla="*/ 2206 h 10000"/>
                <a:gd name="connsiteX6" fmla="*/ 6004 w 10000"/>
                <a:gd name="connsiteY6" fmla="*/ 2206 h 10000"/>
                <a:gd name="connsiteX7" fmla="*/ 7334 w 10000"/>
                <a:gd name="connsiteY7" fmla="*/ 5161 h 10000"/>
                <a:gd name="connsiteX8" fmla="*/ 10000 w 10000"/>
                <a:gd name="connsiteY8" fmla="*/ 5161 h 10000"/>
                <a:gd name="connsiteX0" fmla="*/ 1332 w 7334"/>
                <a:gd name="connsiteY0" fmla="*/ 0 h 10000"/>
                <a:gd name="connsiteX1" fmla="*/ 0 w 7334"/>
                <a:gd name="connsiteY1" fmla="*/ 5161 h 10000"/>
                <a:gd name="connsiteX2" fmla="*/ 662 w 7334"/>
                <a:gd name="connsiteY2" fmla="*/ 9575 h 10000"/>
                <a:gd name="connsiteX3" fmla="*/ 2000 w 7334"/>
                <a:gd name="connsiteY3" fmla="*/ 9575 h 10000"/>
                <a:gd name="connsiteX4" fmla="*/ 3336 w 7334"/>
                <a:gd name="connsiteY4" fmla="*/ 7371 h 10000"/>
                <a:gd name="connsiteX5" fmla="*/ 2668 w 7334"/>
                <a:gd name="connsiteY5" fmla="*/ 2206 h 10000"/>
                <a:gd name="connsiteX6" fmla="*/ 6004 w 7334"/>
                <a:gd name="connsiteY6" fmla="*/ 2206 h 10000"/>
                <a:gd name="connsiteX7" fmla="*/ 7334 w 7334"/>
                <a:gd name="connsiteY7" fmla="*/ 5161 h 10000"/>
                <a:gd name="connsiteX0" fmla="*/ 1816 w 8187"/>
                <a:gd name="connsiteY0" fmla="*/ 0 h 10000"/>
                <a:gd name="connsiteX1" fmla="*/ 0 w 8187"/>
                <a:gd name="connsiteY1" fmla="*/ 5161 h 10000"/>
                <a:gd name="connsiteX2" fmla="*/ 903 w 8187"/>
                <a:gd name="connsiteY2" fmla="*/ 9575 h 10000"/>
                <a:gd name="connsiteX3" fmla="*/ 2727 w 8187"/>
                <a:gd name="connsiteY3" fmla="*/ 9575 h 10000"/>
                <a:gd name="connsiteX4" fmla="*/ 4549 w 8187"/>
                <a:gd name="connsiteY4" fmla="*/ 7371 h 10000"/>
                <a:gd name="connsiteX5" fmla="*/ 3638 w 8187"/>
                <a:gd name="connsiteY5" fmla="*/ 2206 h 10000"/>
                <a:gd name="connsiteX6" fmla="*/ 8187 w 8187"/>
                <a:gd name="connsiteY6" fmla="*/ 2206 h 10000"/>
                <a:gd name="connsiteX0" fmla="*/ 2218 w 5556"/>
                <a:gd name="connsiteY0" fmla="*/ 0 h 10000"/>
                <a:gd name="connsiteX1" fmla="*/ 0 w 5556"/>
                <a:gd name="connsiteY1" fmla="*/ 5161 h 10000"/>
                <a:gd name="connsiteX2" fmla="*/ 1103 w 5556"/>
                <a:gd name="connsiteY2" fmla="*/ 9575 h 10000"/>
                <a:gd name="connsiteX3" fmla="*/ 3331 w 5556"/>
                <a:gd name="connsiteY3" fmla="*/ 9575 h 10000"/>
                <a:gd name="connsiteX4" fmla="*/ 5556 w 5556"/>
                <a:gd name="connsiteY4" fmla="*/ 7371 h 10000"/>
                <a:gd name="connsiteX5" fmla="*/ 4444 w 5556"/>
                <a:gd name="connsiteY5" fmla="*/ 2206 h 10000"/>
                <a:gd name="connsiteX0" fmla="*/ 2781 w 10010"/>
                <a:gd name="connsiteY0" fmla="*/ 50 h 7794"/>
                <a:gd name="connsiteX1" fmla="*/ 10 w 10010"/>
                <a:gd name="connsiteY1" fmla="*/ 2955 h 7794"/>
                <a:gd name="connsiteX2" fmla="*/ 1995 w 10010"/>
                <a:gd name="connsiteY2" fmla="*/ 7369 h 7794"/>
                <a:gd name="connsiteX3" fmla="*/ 6005 w 10010"/>
                <a:gd name="connsiteY3" fmla="*/ 7369 h 7794"/>
                <a:gd name="connsiteX4" fmla="*/ 10010 w 10010"/>
                <a:gd name="connsiteY4" fmla="*/ 5165 h 7794"/>
                <a:gd name="connsiteX5" fmla="*/ 8009 w 10010"/>
                <a:gd name="connsiteY5" fmla="*/ 0 h 7794"/>
                <a:gd name="connsiteX0" fmla="*/ 2778 w 10000"/>
                <a:gd name="connsiteY0" fmla="*/ 64 h 10000"/>
                <a:gd name="connsiteX1" fmla="*/ 10 w 10000"/>
                <a:gd name="connsiteY1" fmla="*/ 3791 h 10000"/>
                <a:gd name="connsiteX2" fmla="*/ 1993 w 10000"/>
                <a:gd name="connsiteY2" fmla="*/ 9455 h 10000"/>
                <a:gd name="connsiteX3" fmla="*/ 5999 w 10000"/>
                <a:gd name="connsiteY3" fmla="*/ 9455 h 10000"/>
                <a:gd name="connsiteX4" fmla="*/ 10000 w 10000"/>
                <a:gd name="connsiteY4" fmla="*/ 6627 h 10000"/>
                <a:gd name="connsiteX5" fmla="*/ 8001 w 10000"/>
                <a:gd name="connsiteY5" fmla="*/ 0 h 10000"/>
                <a:gd name="connsiteX6" fmla="*/ 2778 w 10000"/>
                <a:gd name="connsiteY6" fmla="*/ 64 h 10000"/>
                <a:gd name="connsiteX0" fmla="*/ 4039 w 10042"/>
                <a:gd name="connsiteY0" fmla="*/ 3050 h 10092"/>
                <a:gd name="connsiteX1" fmla="*/ 52 w 10042"/>
                <a:gd name="connsiteY1" fmla="*/ 3883 h 10092"/>
                <a:gd name="connsiteX2" fmla="*/ 2035 w 10042"/>
                <a:gd name="connsiteY2" fmla="*/ 9547 h 10092"/>
                <a:gd name="connsiteX3" fmla="*/ 6041 w 10042"/>
                <a:gd name="connsiteY3" fmla="*/ 9547 h 10092"/>
                <a:gd name="connsiteX4" fmla="*/ 10042 w 10042"/>
                <a:gd name="connsiteY4" fmla="*/ 6719 h 10092"/>
                <a:gd name="connsiteX5" fmla="*/ 8043 w 10042"/>
                <a:gd name="connsiteY5" fmla="*/ 92 h 10092"/>
                <a:gd name="connsiteX6" fmla="*/ 4039 w 10042"/>
                <a:gd name="connsiteY6" fmla="*/ 3050 h 10092"/>
                <a:gd name="connsiteX0" fmla="*/ 4039 w 10094"/>
                <a:gd name="connsiteY0" fmla="*/ 332 h 7374"/>
                <a:gd name="connsiteX1" fmla="*/ 52 w 10094"/>
                <a:gd name="connsiteY1" fmla="*/ 1165 h 7374"/>
                <a:gd name="connsiteX2" fmla="*/ 2035 w 10094"/>
                <a:gd name="connsiteY2" fmla="*/ 6829 h 7374"/>
                <a:gd name="connsiteX3" fmla="*/ 6041 w 10094"/>
                <a:gd name="connsiteY3" fmla="*/ 6829 h 7374"/>
                <a:gd name="connsiteX4" fmla="*/ 10042 w 10094"/>
                <a:gd name="connsiteY4" fmla="*/ 4001 h 7374"/>
                <a:gd name="connsiteX5" fmla="*/ 8043 w 10094"/>
                <a:gd name="connsiteY5" fmla="*/ 1425 h 7374"/>
                <a:gd name="connsiteX6" fmla="*/ 4039 w 10094"/>
                <a:gd name="connsiteY6" fmla="*/ 332 h 7374"/>
                <a:gd name="connsiteX0" fmla="*/ 4001 w 9999"/>
                <a:gd name="connsiteY0" fmla="*/ 1057 h 8645"/>
                <a:gd name="connsiteX1" fmla="*/ 52 w 9999"/>
                <a:gd name="connsiteY1" fmla="*/ 225 h 8645"/>
                <a:gd name="connsiteX2" fmla="*/ 2016 w 9999"/>
                <a:gd name="connsiteY2" fmla="*/ 7906 h 8645"/>
                <a:gd name="connsiteX3" fmla="*/ 5985 w 9999"/>
                <a:gd name="connsiteY3" fmla="*/ 7906 h 8645"/>
                <a:gd name="connsiteX4" fmla="*/ 9948 w 9999"/>
                <a:gd name="connsiteY4" fmla="*/ 4071 h 8645"/>
                <a:gd name="connsiteX5" fmla="*/ 7968 w 9999"/>
                <a:gd name="connsiteY5" fmla="*/ 577 h 8645"/>
                <a:gd name="connsiteX6" fmla="*/ 4001 w 9999"/>
                <a:gd name="connsiteY6" fmla="*/ 1057 h 8645"/>
                <a:gd name="connsiteX0" fmla="*/ 2875 w 8874"/>
                <a:gd name="connsiteY0" fmla="*/ 1077 h 9666"/>
                <a:gd name="connsiteX1" fmla="*/ 134 w 8874"/>
                <a:gd name="connsiteY1" fmla="*/ 2838 h 9666"/>
                <a:gd name="connsiteX2" fmla="*/ 890 w 8874"/>
                <a:gd name="connsiteY2" fmla="*/ 8999 h 9666"/>
                <a:gd name="connsiteX3" fmla="*/ 4860 w 8874"/>
                <a:gd name="connsiteY3" fmla="*/ 8999 h 9666"/>
                <a:gd name="connsiteX4" fmla="*/ 8823 w 8874"/>
                <a:gd name="connsiteY4" fmla="*/ 4563 h 9666"/>
                <a:gd name="connsiteX5" fmla="*/ 6843 w 8874"/>
                <a:gd name="connsiteY5" fmla="*/ 521 h 9666"/>
                <a:gd name="connsiteX6" fmla="*/ 2875 w 8874"/>
                <a:gd name="connsiteY6" fmla="*/ 1077 h 9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74" h="9666">
                  <a:moveTo>
                    <a:pt x="2875" y="1077"/>
                  </a:moveTo>
                  <a:cubicBezTo>
                    <a:pt x="1961" y="3026"/>
                    <a:pt x="465" y="1518"/>
                    <a:pt x="134" y="2838"/>
                  </a:cubicBezTo>
                  <a:cubicBezTo>
                    <a:pt x="-197" y="4158"/>
                    <a:pt x="102" y="7972"/>
                    <a:pt x="890" y="8999"/>
                  </a:cubicBezTo>
                  <a:cubicBezTo>
                    <a:pt x="1678" y="10026"/>
                    <a:pt x="3535" y="9741"/>
                    <a:pt x="4860" y="8999"/>
                  </a:cubicBezTo>
                  <a:cubicBezTo>
                    <a:pt x="6181" y="7520"/>
                    <a:pt x="8493" y="5977"/>
                    <a:pt x="8823" y="4563"/>
                  </a:cubicBezTo>
                  <a:cubicBezTo>
                    <a:pt x="9154" y="3150"/>
                    <a:pt x="7834" y="1102"/>
                    <a:pt x="6843" y="521"/>
                  </a:cubicBezTo>
                  <a:cubicBezTo>
                    <a:pt x="5852" y="-59"/>
                    <a:pt x="4199" y="-470"/>
                    <a:pt x="2875" y="1077"/>
                  </a:cubicBezTo>
                  <a:close/>
                </a:path>
              </a:pathLst>
            </a:custGeom>
            <a:solidFill>
              <a:schemeClr val="accent1"/>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264" name="MW"/>
            <p:cNvSpPr>
              <a:spLocks/>
            </p:cNvSpPr>
            <p:nvPr/>
          </p:nvSpPr>
          <p:spPr bwMode="auto">
            <a:xfrm>
              <a:off x="5075695" y="4644229"/>
              <a:ext cx="78498" cy="180150"/>
            </a:xfrm>
            <a:custGeom>
              <a:avLst/>
              <a:gdLst>
                <a:gd name="T0" fmla="*/ 2147483647 w 43"/>
                <a:gd name="T1" fmla="*/ 2147483647 h 70"/>
                <a:gd name="T2" fmla="*/ 2147483647 w 43"/>
                <a:gd name="T3" fmla="*/ 2147483647 h 70"/>
                <a:gd name="T4" fmla="*/ 2147483647 w 43"/>
                <a:gd name="T5" fmla="*/ 2147483647 h 70"/>
                <a:gd name="T6" fmla="*/ 2147483647 w 43"/>
                <a:gd name="T7" fmla="*/ 2147483647 h 70"/>
                <a:gd name="T8" fmla="*/ 2147483647 w 43"/>
                <a:gd name="T9" fmla="*/ 2147483647 h 70"/>
                <a:gd name="T10" fmla="*/ 2147483647 w 43"/>
                <a:gd name="T11" fmla="*/ 2147483647 h 70"/>
                <a:gd name="T12" fmla="*/ 2147483647 w 43"/>
                <a:gd name="T13" fmla="*/ 2147483647 h 70"/>
                <a:gd name="T14" fmla="*/ 2147483647 w 43"/>
                <a:gd name="T15" fmla="*/ 2147483647 h 70"/>
                <a:gd name="T16" fmla="*/ 2147483647 w 43"/>
                <a:gd name="T17" fmla="*/ 2147483647 h 70"/>
                <a:gd name="T18" fmla="*/ 2147483647 w 43"/>
                <a:gd name="T19" fmla="*/ 2147483647 h 70"/>
                <a:gd name="T20" fmla="*/ 2147483647 w 43"/>
                <a:gd name="T21" fmla="*/ 2147483647 h 70"/>
                <a:gd name="T22" fmla="*/ 2147483647 w 43"/>
                <a:gd name="T23" fmla="*/ 2147483647 h 70"/>
                <a:gd name="T24" fmla="*/ 2147483647 w 43"/>
                <a:gd name="T25" fmla="*/ 2147483647 h 70"/>
                <a:gd name="T26" fmla="*/ 2147483647 w 43"/>
                <a:gd name="T27" fmla="*/ 2147483647 h 70"/>
                <a:gd name="T28" fmla="*/ 2147483647 w 43"/>
                <a:gd name="T29" fmla="*/ 2147483647 h 70"/>
                <a:gd name="T30" fmla="*/ 0 w 43"/>
                <a:gd name="T31" fmla="*/ 2147483647 h 70"/>
                <a:gd name="T32" fmla="*/ 0 w 43"/>
                <a:gd name="T33" fmla="*/ 2147483647 h 70"/>
                <a:gd name="T34" fmla="*/ 2147483647 w 43"/>
                <a:gd name="T35" fmla="*/ 2147483647 h 70"/>
                <a:gd name="T36" fmla="*/ 2147483647 w 43"/>
                <a:gd name="T37" fmla="*/ 2147483647 h 70"/>
                <a:gd name="T38" fmla="*/ 2147483647 w 43"/>
                <a:gd name="T39" fmla="*/ 2147483647 h 70"/>
                <a:gd name="T40" fmla="*/ 2147483647 w 43"/>
                <a:gd name="T41" fmla="*/ 2147483647 h 70"/>
                <a:gd name="T42" fmla="*/ 2147483647 w 43"/>
                <a:gd name="T43" fmla="*/ 2147483647 h 70"/>
                <a:gd name="T44" fmla="*/ 2147483647 w 43"/>
                <a:gd name="T45" fmla="*/ 2147483647 h 70"/>
                <a:gd name="T46" fmla="*/ 2147483647 w 43"/>
                <a:gd name="T47" fmla="*/ 2147483647 h 70"/>
                <a:gd name="T48" fmla="*/ 2147483647 w 43"/>
                <a:gd name="T49" fmla="*/ 2147483647 h 70"/>
                <a:gd name="T50" fmla="*/ 2147483647 w 43"/>
                <a:gd name="T51" fmla="*/ 2147483647 h 70"/>
                <a:gd name="T52" fmla="*/ 2147483647 w 43"/>
                <a:gd name="T53" fmla="*/ 2147483647 h 70"/>
                <a:gd name="T54" fmla="*/ 2147483647 w 43"/>
                <a:gd name="T55" fmla="*/ 2147483647 h 70"/>
                <a:gd name="T56" fmla="*/ 2147483647 w 43"/>
                <a:gd name="T57" fmla="*/ 2147483647 h 70"/>
                <a:gd name="T58" fmla="*/ 2147483647 w 43"/>
                <a:gd name="T59" fmla="*/ 2147483647 h 70"/>
                <a:gd name="T60" fmla="*/ 2147483647 w 43"/>
                <a:gd name="T61" fmla="*/ 2147483647 h 70"/>
                <a:gd name="T62" fmla="*/ 2147483647 w 43"/>
                <a:gd name="T63" fmla="*/ 2147483647 h 70"/>
                <a:gd name="T64" fmla="*/ 2147483647 w 43"/>
                <a:gd name="T65" fmla="*/ 2147483647 h 70"/>
                <a:gd name="T66" fmla="*/ 2147483647 w 43"/>
                <a:gd name="T67" fmla="*/ 2147483647 h 70"/>
                <a:gd name="T68" fmla="*/ 2147483647 w 43"/>
                <a:gd name="T69" fmla="*/ 2147483647 h 70"/>
                <a:gd name="T70" fmla="*/ 2147483647 w 43"/>
                <a:gd name="T71" fmla="*/ 2147483647 h 70"/>
                <a:gd name="T72" fmla="*/ 2147483647 w 43"/>
                <a:gd name="T73" fmla="*/ 2147483647 h 70"/>
                <a:gd name="T74" fmla="*/ 2147483647 w 43"/>
                <a:gd name="T75" fmla="*/ 2147483647 h 70"/>
                <a:gd name="T76" fmla="*/ 2147483647 w 43"/>
                <a:gd name="T77" fmla="*/ 2147483647 h 70"/>
                <a:gd name="T78" fmla="*/ 2147483647 w 43"/>
                <a:gd name="T79" fmla="*/ 2147483647 h 70"/>
                <a:gd name="T80" fmla="*/ 2147483647 w 43"/>
                <a:gd name="T81" fmla="*/ 2147483647 h 70"/>
                <a:gd name="T82" fmla="*/ 2147483647 w 43"/>
                <a:gd name="T83" fmla="*/ 2147483647 h 70"/>
                <a:gd name="T84" fmla="*/ 2147483647 w 43"/>
                <a:gd name="T85" fmla="*/ 2147483647 h 70"/>
                <a:gd name="T86" fmla="*/ 2147483647 w 43"/>
                <a:gd name="T87" fmla="*/ 2147483647 h 70"/>
                <a:gd name="T88" fmla="*/ 2147483647 w 43"/>
                <a:gd name="T89" fmla="*/ 2147483647 h 70"/>
                <a:gd name="T90" fmla="*/ 2147483647 w 43"/>
                <a:gd name="T91" fmla="*/ 2147483647 h 70"/>
                <a:gd name="T92" fmla="*/ 2147483647 w 43"/>
                <a:gd name="T93" fmla="*/ 2147483647 h 70"/>
                <a:gd name="T94" fmla="*/ 2147483647 w 43"/>
                <a:gd name="T95" fmla="*/ 2147483647 h 70"/>
                <a:gd name="T96" fmla="*/ 2147483647 w 43"/>
                <a:gd name="T97" fmla="*/ 2147483647 h 70"/>
                <a:gd name="T98" fmla="*/ 2147483647 w 43"/>
                <a:gd name="T99" fmla="*/ 2147483647 h 70"/>
                <a:gd name="T100" fmla="*/ 2147483647 w 43"/>
                <a:gd name="T101" fmla="*/ 2147483647 h 70"/>
                <a:gd name="T102" fmla="*/ 2147483647 w 43"/>
                <a:gd name="T103" fmla="*/ 2147483647 h 70"/>
                <a:gd name="T104" fmla="*/ 2147483647 w 43"/>
                <a:gd name="T105" fmla="*/ 2147483647 h 70"/>
                <a:gd name="T106" fmla="*/ 2147483647 w 43"/>
                <a:gd name="T107" fmla="*/ 2147483647 h 70"/>
                <a:gd name="T108" fmla="*/ 2147483647 w 43"/>
                <a:gd name="T109" fmla="*/ 2147483647 h 70"/>
                <a:gd name="T110" fmla="*/ 2147483647 w 43"/>
                <a:gd name="T111" fmla="*/ 0 h 70"/>
                <a:gd name="T112" fmla="*/ 2147483647 w 43"/>
                <a:gd name="T113" fmla="*/ 0 h 70"/>
                <a:gd name="T114" fmla="*/ 2147483647 w 43"/>
                <a:gd name="T115" fmla="*/ 2147483647 h 70"/>
                <a:gd name="T116" fmla="*/ 2147483647 w 43"/>
                <a:gd name="T117" fmla="*/ 0 h 70"/>
                <a:gd name="T118" fmla="*/ 2147483647 w 43"/>
                <a:gd name="T119" fmla="*/ 2147483647 h 70"/>
                <a:gd name="T120" fmla="*/ 2147483647 w 43"/>
                <a:gd name="T121" fmla="*/ 2147483647 h 7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connsiteX0" fmla="*/ 6279 w 10000"/>
                <a:gd name="connsiteY0" fmla="*/ 857 h 10000"/>
                <a:gd name="connsiteX1" fmla="*/ 5349 w 10000"/>
                <a:gd name="connsiteY1" fmla="*/ 1857 h 10000"/>
                <a:gd name="connsiteX2" fmla="*/ 4884 w 10000"/>
                <a:gd name="connsiteY2" fmla="*/ 2857 h 10000"/>
                <a:gd name="connsiteX3" fmla="*/ 5116 w 10000"/>
                <a:gd name="connsiteY3" fmla="*/ 3714 h 10000"/>
                <a:gd name="connsiteX4" fmla="*/ 5814 w 10000"/>
                <a:gd name="connsiteY4" fmla="*/ 5429 h 10000"/>
                <a:gd name="connsiteX5" fmla="*/ 5116 w 10000"/>
                <a:gd name="connsiteY5" fmla="*/ 5571 h 10000"/>
                <a:gd name="connsiteX6" fmla="*/ 4884 w 10000"/>
                <a:gd name="connsiteY6" fmla="*/ 6429 h 10000"/>
                <a:gd name="connsiteX7" fmla="*/ 4651 w 10000"/>
                <a:gd name="connsiteY7" fmla="*/ 6857 h 10000"/>
                <a:gd name="connsiteX8" fmla="*/ 5349 w 10000"/>
                <a:gd name="connsiteY8" fmla="*/ 7429 h 10000"/>
                <a:gd name="connsiteX9" fmla="*/ 5349 w 10000"/>
                <a:gd name="connsiteY9" fmla="*/ 7714 h 10000"/>
                <a:gd name="connsiteX10" fmla="*/ 3953 w 10000"/>
                <a:gd name="connsiteY10" fmla="*/ 7286 h 10000"/>
                <a:gd name="connsiteX11" fmla="*/ 2558 w 10000"/>
                <a:gd name="connsiteY11" fmla="*/ 6857 h 10000"/>
                <a:gd name="connsiteX12" fmla="*/ 1395 w 10000"/>
                <a:gd name="connsiteY12" fmla="*/ 6857 h 10000"/>
                <a:gd name="connsiteX13" fmla="*/ 1395 w 10000"/>
                <a:gd name="connsiteY13" fmla="*/ 7429 h 10000"/>
                <a:gd name="connsiteX14" fmla="*/ 0 w 10000"/>
                <a:gd name="connsiteY14" fmla="*/ 7571 h 10000"/>
                <a:gd name="connsiteX15" fmla="*/ 0 w 10000"/>
                <a:gd name="connsiteY15" fmla="*/ 9143 h 10000"/>
                <a:gd name="connsiteX16" fmla="*/ 465 w 10000"/>
                <a:gd name="connsiteY16" fmla="*/ 9714 h 10000"/>
                <a:gd name="connsiteX17" fmla="*/ 1395 w 10000"/>
                <a:gd name="connsiteY17" fmla="*/ 9714 h 10000"/>
                <a:gd name="connsiteX18" fmla="*/ 1860 w 10000"/>
                <a:gd name="connsiteY18" fmla="*/ 9857 h 10000"/>
                <a:gd name="connsiteX19" fmla="*/ 1628 w 10000"/>
                <a:gd name="connsiteY19" fmla="*/ 9857 h 10000"/>
                <a:gd name="connsiteX20" fmla="*/ 2093 w 10000"/>
                <a:gd name="connsiteY20" fmla="*/ 10000 h 10000"/>
                <a:gd name="connsiteX21" fmla="*/ 2558 w 10000"/>
                <a:gd name="connsiteY21" fmla="*/ 9857 h 10000"/>
                <a:gd name="connsiteX22" fmla="*/ 3488 w 10000"/>
                <a:gd name="connsiteY22" fmla="*/ 10000 h 10000"/>
                <a:gd name="connsiteX23" fmla="*/ 4186 w 10000"/>
                <a:gd name="connsiteY23" fmla="*/ 9571 h 10000"/>
                <a:gd name="connsiteX24" fmla="*/ 5116 w 10000"/>
                <a:gd name="connsiteY24" fmla="*/ 9000 h 10000"/>
                <a:gd name="connsiteX25" fmla="*/ 5814 w 10000"/>
                <a:gd name="connsiteY25" fmla="*/ 8857 h 10000"/>
                <a:gd name="connsiteX26" fmla="*/ 5581 w 10000"/>
                <a:gd name="connsiteY26" fmla="*/ 8857 h 10000"/>
                <a:gd name="connsiteX27" fmla="*/ 5581 w 10000"/>
                <a:gd name="connsiteY27" fmla="*/ 8714 h 10000"/>
                <a:gd name="connsiteX28" fmla="*/ 7674 w 10000"/>
                <a:gd name="connsiteY28" fmla="*/ 8143 h 10000"/>
                <a:gd name="connsiteX29" fmla="*/ 8605 w 10000"/>
                <a:gd name="connsiteY29" fmla="*/ 8429 h 10000"/>
                <a:gd name="connsiteX30" fmla="*/ 9070 w 10000"/>
                <a:gd name="connsiteY30" fmla="*/ 8857 h 10000"/>
                <a:gd name="connsiteX31" fmla="*/ 9302 w 10000"/>
                <a:gd name="connsiteY31" fmla="*/ 9143 h 10000"/>
                <a:gd name="connsiteX32" fmla="*/ 10000 w 10000"/>
                <a:gd name="connsiteY32" fmla="*/ 8857 h 10000"/>
                <a:gd name="connsiteX33" fmla="*/ 10000 w 10000"/>
                <a:gd name="connsiteY33" fmla="*/ 8429 h 10000"/>
                <a:gd name="connsiteX34" fmla="*/ 9302 w 10000"/>
                <a:gd name="connsiteY34" fmla="*/ 7714 h 10000"/>
                <a:gd name="connsiteX35" fmla="*/ 9302 w 10000"/>
                <a:gd name="connsiteY35" fmla="*/ 7000 h 10000"/>
                <a:gd name="connsiteX36" fmla="*/ 9535 w 10000"/>
                <a:gd name="connsiteY36" fmla="*/ 7000 h 10000"/>
                <a:gd name="connsiteX37" fmla="*/ 9070 w 10000"/>
                <a:gd name="connsiteY37" fmla="*/ 6286 h 10000"/>
                <a:gd name="connsiteX38" fmla="*/ 8837 w 10000"/>
                <a:gd name="connsiteY38" fmla="*/ 6000 h 10000"/>
                <a:gd name="connsiteX39" fmla="*/ 7674 w 10000"/>
                <a:gd name="connsiteY39" fmla="*/ 5857 h 10000"/>
                <a:gd name="connsiteX40" fmla="*/ 6512 w 10000"/>
                <a:gd name="connsiteY40" fmla="*/ 5571 h 10000"/>
                <a:gd name="connsiteX41" fmla="*/ 6047 w 10000"/>
                <a:gd name="connsiteY41" fmla="*/ 4857 h 10000"/>
                <a:gd name="connsiteX42" fmla="*/ 5581 w 10000"/>
                <a:gd name="connsiteY42" fmla="*/ 3714 h 10000"/>
                <a:gd name="connsiteX43" fmla="*/ 6047 w 10000"/>
                <a:gd name="connsiteY43" fmla="*/ 3286 h 10000"/>
                <a:gd name="connsiteX44" fmla="*/ 5814 w 10000"/>
                <a:gd name="connsiteY44" fmla="*/ 2286 h 10000"/>
                <a:gd name="connsiteX45" fmla="*/ 6977 w 10000"/>
                <a:gd name="connsiteY45" fmla="*/ 2286 h 10000"/>
                <a:gd name="connsiteX46" fmla="*/ 7442 w 10000"/>
                <a:gd name="connsiteY46" fmla="*/ 2857 h 10000"/>
                <a:gd name="connsiteX47" fmla="*/ 8372 w 10000"/>
                <a:gd name="connsiteY47" fmla="*/ 2857 h 10000"/>
                <a:gd name="connsiteX48" fmla="*/ 8372 w 10000"/>
                <a:gd name="connsiteY48" fmla="*/ 2429 h 10000"/>
                <a:gd name="connsiteX49" fmla="*/ 8605 w 10000"/>
                <a:gd name="connsiteY49" fmla="*/ 2143 h 10000"/>
                <a:gd name="connsiteX50" fmla="*/ 8837 w 10000"/>
                <a:gd name="connsiteY50" fmla="*/ 2286 h 10000"/>
                <a:gd name="connsiteX51" fmla="*/ 8605 w 10000"/>
                <a:gd name="connsiteY51" fmla="*/ 1429 h 10000"/>
                <a:gd name="connsiteX52" fmla="*/ 9070 w 10000"/>
                <a:gd name="connsiteY52" fmla="*/ 857 h 10000"/>
                <a:gd name="connsiteX53" fmla="*/ 9070 w 10000"/>
                <a:gd name="connsiteY53" fmla="*/ 286 h 10000"/>
                <a:gd name="connsiteX54" fmla="*/ 8605 w 10000"/>
                <a:gd name="connsiteY54" fmla="*/ 0 h 10000"/>
                <a:gd name="connsiteX55" fmla="*/ 8140 w 10000"/>
                <a:gd name="connsiteY55" fmla="*/ 0 h 10000"/>
                <a:gd name="connsiteX56" fmla="*/ 6512 w 10000"/>
                <a:gd name="connsiteY56" fmla="*/ 143 h 10000"/>
                <a:gd name="connsiteX57" fmla="*/ 6279 w 10000"/>
                <a:gd name="connsiteY57" fmla="*/ 0 h 10000"/>
                <a:gd name="connsiteX58" fmla="*/ 6279 w 10000"/>
                <a:gd name="connsiteY58" fmla="*/ 714 h 10000"/>
                <a:gd name="connsiteX59" fmla="*/ 6279 w 10000"/>
                <a:gd name="connsiteY59" fmla="*/ 857 h 10000"/>
                <a:gd name="connsiteX0" fmla="*/ 6279 w 10000"/>
                <a:gd name="connsiteY0" fmla="*/ 857 h 10000"/>
                <a:gd name="connsiteX1" fmla="*/ 5349 w 10000"/>
                <a:gd name="connsiteY1" fmla="*/ 1857 h 10000"/>
                <a:gd name="connsiteX2" fmla="*/ 4884 w 10000"/>
                <a:gd name="connsiteY2" fmla="*/ 2857 h 10000"/>
                <a:gd name="connsiteX3" fmla="*/ 5814 w 10000"/>
                <a:gd name="connsiteY3" fmla="*/ 5429 h 10000"/>
                <a:gd name="connsiteX4" fmla="*/ 5116 w 10000"/>
                <a:gd name="connsiteY4" fmla="*/ 5571 h 10000"/>
                <a:gd name="connsiteX5" fmla="*/ 4884 w 10000"/>
                <a:gd name="connsiteY5" fmla="*/ 6429 h 10000"/>
                <a:gd name="connsiteX6" fmla="*/ 4651 w 10000"/>
                <a:gd name="connsiteY6" fmla="*/ 6857 h 10000"/>
                <a:gd name="connsiteX7" fmla="*/ 5349 w 10000"/>
                <a:gd name="connsiteY7" fmla="*/ 7429 h 10000"/>
                <a:gd name="connsiteX8" fmla="*/ 5349 w 10000"/>
                <a:gd name="connsiteY8" fmla="*/ 7714 h 10000"/>
                <a:gd name="connsiteX9" fmla="*/ 3953 w 10000"/>
                <a:gd name="connsiteY9" fmla="*/ 7286 h 10000"/>
                <a:gd name="connsiteX10" fmla="*/ 2558 w 10000"/>
                <a:gd name="connsiteY10" fmla="*/ 6857 h 10000"/>
                <a:gd name="connsiteX11" fmla="*/ 1395 w 10000"/>
                <a:gd name="connsiteY11" fmla="*/ 6857 h 10000"/>
                <a:gd name="connsiteX12" fmla="*/ 1395 w 10000"/>
                <a:gd name="connsiteY12" fmla="*/ 7429 h 10000"/>
                <a:gd name="connsiteX13" fmla="*/ 0 w 10000"/>
                <a:gd name="connsiteY13" fmla="*/ 7571 h 10000"/>
                <a:gd name="connsiteX14" fmla="*/ 0 w 10000"/>
                <a:gd name="connsiteY14" fmla="*/ 9143 h 10000"/>
                <a:gd name="connsiteX15" fmla="*/ 465 w 10000"/>
                <a:gd name="connsiteY15" fmla="*/ 9714 h 10000"/>
                <a:gd name="connsiteX16" fmla="*/ 1395 w 10000"/>
                <a:gd name="connsiteY16" fmla="*/ 9714 h 10000"/>
                <a:gd name="connsiteX17" fmla="*/ 1860 w 10000"/>
                <a:gd name="connsiteY17" fmla="*/ 9857 h 10000"/>
                <a:gd name="connsiteX18" fmla="*/ 1628 w 10000"/>
                <a:gd name="connsiteY18" fmla="*/ 9857 h 10000"/>
                <a:gd name="connsiteX19" fmla="*/ 2093 w 10000"/>
                <a:gd name="connsiteY19" fmla="*/ 10000 h 10000"/>
                <a:gd name="connsiteX20" fmla="*/ 2558 w 10000"/>
                <a:gd name="connsiteY20" fmla="*/ 9857 h 10000"/>
                <a:gd name="connsiteX21" fmla="*/ 3488 w 10000"/>
                <a:gd name="connsiteY21" fmla="*/ 10000 h 10000"/>
                <a:gd name="connsiteX22" fmla="*/ 4186 w 10000"/>
                <a:gd name="connsiteY22" fmla="*/ 9571 h 10000"/>
                <a:gd name="connsiteX23" fmla="*/ 5116 w 10000"/>
                <a:gd name="connsiteY23" fmla="*/ 9000 h 10000"/>
                <a:gd name="connsiteX24" fmla="*/ 5814 w 10000"/>
                <a:gd name="connsiteY24" fmla="*/ 8857 h 10000"/>
                <a:gd name="connsiteX25" fmla="*/ 5581 w 10000"/>
                <a:gd name="connsiteY25" fmla="*/ 8857 h 10000"/>
                <a:gd name="connsiteX26" fmla="*/ 5581 w 10000"/>
                <a:gd name="connsiteY26" fmla="*/ 8714 h 10000"/>
                <a:gd name="connsiteX27" fmla="*/ 7674 w 10000"/>
                <a:gd name="connsiteY27" fmla="*/ 8143 h 10000"/>
                <a:gd name="connsiteX28" fmla="*/ 8605 w 10000"/>
                <a:gd name="connsiteY28" fmla="*/ 8429 h 10000"/>
                <a:gd name="connsiteX29" fmla="*/ 9070 w 10000"/>
                <a:gd name="connsiteY29" fmla="*/ 8857 h 10000"/>
                <a:gd name="connsiteX30" fmla="*/ 9302 w 10000"/>
                <a:gd name="connsiteY30" fmla="*/ 9143 h 10000"/>
                <a:gd name="connsiteX31" fmla="*/ 10000 w 10000"/>
                <a:gd name="connsiteY31" fmla="*/ 8857 h 10000"/>
                <a:gd name="connsiteX32" fmla="*/ 10000 w 10000"/>
                <a:gd name="connsiteY32" fmla="*/ 8429 h 10000"/>
                <a:gd name="connsiteX33" fmla="*/ 9302 w 10000"/>
                <a:gd name="connsiteY33" fmla="*/ 7714 h 10000"/>
                <a:gd name="connsiteX34" fmla="*/ 9302 w 10000"/>
                <a:gd name="connsiteY34" fmla="*/ 7000 h 10000"/>
                <a:gd name="connsiteX35" fmla="*/ 9535 w 10000"/>
                <a:gd name="connsiteY35" fmla="*/ 7000 h 10000"/>
                <a:gd name="connsiteX36" fmla="*/ 9070 w 10000"/>
                <a:gd name="connsiteY36" fmla="*/ 6286 h 10000"/>
                <a:gd name="connsiteX37" fmla="*/ 8837 w 10000"/>
                <a:gd name="connsiteY37" fmla="*/ 6000 h 10000"/>
                <a:gd name="connsiteX38" fmla="*/ 7674 w 10000"/>
                <a:gd name="connsiteY38" fmla="*/ 5857 h 10000"/>
                <a:gd name="connsiteX39" fmla="*/ 6512 w 10000"/>
                <a:gd name="connsiteY39" fmla="*/ 5571 h 10000"/>
                <a:gd name="connsiteX40" fmla="*/ 6047 w 10000"/>
                <a:gd name="connsiteY40" fmla="*/ 4857 h 10000"/>
                <a:gd name="connsiteX41" fmla="*/ 5581 w 10000"/>
                <a:gd name="connsiteY41" fmla="*/ 3714 h 10000"/>
                <a:gd name="connsiteX42" fmla="*/ 6047 w 10000"/>
                <a:gd name="connsiteY42" fmla="*/ 3286 h 10000"/>
                <a:gd name="connsiteX43" fmla="*/ 5814 w 10000"/>
                <a:gd name="connsiteY43" fmla="*/ 2286 h 10000"/>
                <a:gd name="connsiteX44" fmla="*/ 6977 w 10000"/>
                <a:gd name="connsiteY44" fmla="*/ 2286 h 10000"/>
                <a:gd name="connsiteX45" fmla="*/ 7442 w 10000"/>
                <a:gd name="connsiteY45" fmla="*/ 2857 h 10000"/>
                <a:gd name="connsiteX46" fmla="*/ 8372 w 10000"/>
                <a:gd name="connsiteY46" fmla="*/ 2857 h 10000"/>
                <a:gd name="connsiteX47" fmla="*/ 8372 w 10000"/>
                <a:gd name="connsiteY47" fmla="*/ 2429 h 10000"/>
                <a:gd name="connsiteX48" fmla="*/ 8605 w 10000"/>
                <a:gd name="connsiteY48" fmla="*/ 2143 h 10000"/>
                <a:gd name="connsiteX49" fmla="*/ 8837 w 10000"/>
                <a:gd name="connsiteY49" fmla="*/ 2286 h 10000"/>
                <a:gd name="connsiteX50" fmla="*/ 8605 w 10000"/>
                <a:gd name="connsiteY50" fmla="*/ 1429 h 10000"/>
                <a:gd name="connsiteX51" fmla="*/ 9070 w 10000"/>
                <a:gd name="connsiteY51" fmla="*/ 857 h 10000"/>
                <a:gd name="connsiteX52" fmla="*/ 9070 w 10000"/>
                <a:gd name="connsiteY52" fmla="*/ 286 h 10000"/>
                <a:gd name="connsiteX53" fmla="*/ 8605 w 10000"/>
                <a:gd name="connsiteY53" fmla="*/ 0 h 10000"/>
                <a:gd name="connsiteX54" fmla="*/ 8140 w 10000"/>
                <a:gd name="connsiteY54" fmla="*/ 0 h 10000"/>
                <a:gd name="connsiteX55" fmla="*/ 6512 w 10000"/>
                <a:gd name="connsiteY55" fmla="*/ 143 h 10000"/>
                <a:gd name="connsiteX56" fmla="*/ 6279 w 10000"/>
                <a:gd name="connsiteY56" fmla="*/ 0 h 10000"/>
                <a:gd name="connsiteX57" fmla="*/ 6279 w 10000"/>
                <a:gd name="connsiteY57" fmla="*/ 714 h 10000"/>
                <a:gd name="connsiteX58" fmla="*/ 6279 w 10000"/>
                <a:gd name="connsiteY58" fmla="*/ 857 h 10000"/>
                <a:gd name="connsiteX0" fmla="*/ 6279 w 10000"/>
                <a:gd name="connsiteY0" fmla="*/ 857 h 10000"/>
                <a:gd name="connsiteX1" fmla="*/ 5349 w 10000"/>
                <a:gd name="connsiteY1" fmla="*/ 1857 h 10000"/>
                <a:gd name="connsiteX2" fmla="*/ 5814 w 10000"/>
                <a:gd name="connsiteY2" fmla="*/ 5429 h 10000"/>
                <a:gd name="connsiteX3" fmla="*/ 5116 w 10000"/>
                <a:gd name="connsiteY3" fmla="*/ 5571 h 10000"/>
                <a:gd name="connsiteX4" fmla="*/ 4884 w 10000"/>
                <a:gd name="connsiteY4" fmla="*/ 6429 h 10000"/>
                <a:gd name="connsiteX5" fmla="*/ 4651 w 10000"/>
                <a:gd name="connsiteY5" fmla="*/ 6857 h 10000"/>
                <a:gd name="connsiteX6" fmla="*/ 5349 w 10000"/>
                <a:gd name="connsiteY6" fmla="*/ 7429 h 10000"/>
                <a:gd name="connsiteX7" fmla="*/ 5349 w 10000"/>
                <a:gd name="connsiteY7" fmla="*/ 7714 h 10000"/>
                <a:gd name="connsiteX8" fmla="*/ 3953 w 10000"/>
                <a:gd name="connsiteY8" fmla="*/ 7286 h 10000"/>
                <a:gd name="connsiteX9" fmla="*/ 2558 w 10000"/>
                <a:gd name="connsiteY9" fmla="*/ 6857 h 10000"/>
                <a:gd name="connsiteX10" fmla="*/ 1395 w 10000"/>
                <a:gd name="connsiteY10" fmla="*/ 6857 h 10000"/>
                <a:gd name="connsiteX11" fmla="*/ 1395 w 10000"/>
                <a:gd name="connsiteY11" fmla="*/ 7429 h 10000"/>
                <a:gd name="connsiteX12" fmla="*/ 0 w 10000"/>
                <a:gd name="connsiteY12" fmla="*/ 7571 h 10000"/>
                <a:gd name="connsiteX13" fmla="*/ 0 w 10000"/>
                <a:gd name="connsiteY13" fmla="*/ 9143 h 10000"/>
                <a:gd name="connsiteX14" fmla="*/ 465 w 10000"/>
                <a:gd name="connsiteY14" fmla="*/ 9714 h 10000"/>
                <a:gd name="connsiteX15" fmla="*/ 1395 w 10000"/>
                <a:gd name="connsiteY15" fmla="*/ 9714 h 10000"/>
                <a:gd name="connsiteX16" fmla="*/ 1860 w 10000"/>
                <a:gd name="connsiteY16" fmla="*/ 9857 h 10000"/>
                <a:gd name="connsiteX17" fmla="*/ 1628 w 10000"/>
                <a:gd name="connsiteY17" fmla="*/ 9857 h 10000"/>
                <a:gd name="connsiteX18" fmla="*/ 2093 w 10000"/>
                <a:gd name="connsiteY18" fmla="*/ 10000 h 10000"/>
                <a:gd name="connsiteX19" fmla="*/ 2558 w 10000"/>
                <a:gd name="connsiteY19" fmla="*/ 9857 h 10000"/>
                <a:gd name="connsiteX20" fmla="*/ 3488 w 10000"/>
                <a:gd name="connsiteY20" fmla="*/ 10000 h 10000"/>
                <a:gd name="connsiteX21" fmla="*/ 4186 w 10000"/>
                <a:gd name="connsiteY21" fmla="*/ 9571 h 10000"/>
                <a:gd name="connsiteX22" fmla="*/ 5116 w 10000"/>
                <a:gd name="connsiteY22" fmla="*/ 9000 h 10000"/>
                <a:gd name="connsiteX23" fmla="*/ 5814 w 10000"/>
                <a:gd name="connsiteY23" fmla="*/ 8857 h 10000"/>
                <a:gd name="connsiteX24" fmla="*/ 5581 w 10000"/>
                <a:gd name="connsiteY24" fmla="*/ 8857 h 10000"/>
                <a:gd name="connsiteX25" fmla="*/ 5581 w 10000"/>
                <a:gd name="connsiteY25" fmla="*/ 8714 h 10000"/>
                <a:gd name="connsiteX26" fmla="*/ 7674 w 10000"/>
                <a:gd name="connsiteY26" fmla="*/ 8143 h 10000"/>
                <a:gd name="connsiteX27" fmla="*/ 8605 w 10000"/>
                <a:gd name="connsiteY27" fmla="*/ 8429 h 10000"/>
                <a:gd name="connsiteX28" fmla="*/ 9070 w 10000"/>
                <a:gd name="connsiteY28" fmla="*/ 8857 h 10000"/>
                <a:gd name="connsiteX29" fmla="*/ 9302 w 10000"/>
                <a:gd name="connsiteY29" fmla="*/ 9143 h 10000"/>
                <a:gd name="connsiteX30" fmla="*/ 10000 w 10000"/>
                <a:gd name="connsiteY30" fmla="*/ 8857 h 10000"/>
                <a:gd name="connsiteX31" fmla="*/ 10000 w 10000"/>
                <a:gd name="connsiteY31" fmla="*/ 8429 h 10000"/>
                <a:gd name="connsiteX32" fmla="*/ 9302 w 10000"/>
                <a:gd name="connsiteY32" fmla="*/ 7714 h 10000"/>
                <a:gd name="connsiteX33" fmla="*/ 9302 w 10000"/>
                <a:gd name="connsiteY33" fmla="*/ 7000 h 10000"/>
                <a:gd name="connsiteX34" fmla="*/ 9535 w 10000"/>
                <a:gd name="connsiteY34" fmla="*/ 7000 h 10000"/>
                <a:gd name="connsiteX35" fmla="*/ 9070 w 10000"/>
                <a:gd name="connsiteY35" fmla="*/ 6286 h 10000"/>
                <a:gd name="connsiteX36" fmla="*/ 8837 w 10000"/>
                <a:gd name="connsiteY36" fmla="*/ 6000 h 10000"/>
                <a:gd name="connsiteX37" fmla="*/ 7674 w 10000"/>
                <a:gd name="connsiteY37" fmla="*/ 5857 h 10000"/>
                <a:gd name="connsiteX38" fmla="*/ 6512 w 10000"/>
                <a:gd name="connsiteY38" fmla="*/ 5571 h 10000"/>
                <a:gd name="connsiteX39" fmla="*/ 6047 w 10000"/>
                <a:gd name="connsiteY39" fmla="*/ 4857 h 10000"/>
                <a:gd name="connsiteX40" fmla="*/ 5581 w 10000"/>
                <a:gd name="connsiteY40" fmla="*/ 3714 h 10000"/>
                <a:gd name="connsiteX41" fmla="*/ 6047 w 10000"/>
                <a:gd name="connsiteY41" fmla="*/ 3286 h 10000"/>
                <a:gd name="connsiteX42" fmla="*/ 5814 w 10000"/>
                <a:gd name="connsiteY42" fmla="*/ 2286 h 10000"/>
                <a:gd name="connsiteX43" fmla="*/ 6977 w 10000"/>
                <a:gd name="connsiteY43" fmla="*/ 2286 h 10000"/>
                <a:gd name="connsiteX44" fmla="*/ 7442 w 10000"/>
                <a:gd name="connsiteY44" fmla="*/ 2857 h 10000"/>
                <a:gd name="connsiteX45" fmla="*/ 8372 w 10000"/>
                <a:gd name="connsiteY45" fmla="*/ 2857 h 10000"/>
                <a:gd name="connsiteX46" fmla="*/ 8372 w 10000"/>
                <a:gd name="connsiteY46" fmla="*/ 2429 h 10000"/>
                <a:gd name="connsiteX47" fmla="*/ 8605 w 10000"/>
                <a:gd name="connsiteY47" fmla="*/ 2143 h 10000"/>
                <a:gd name="connsiteX48" fmla="*/ 8837 w 10000"/>
                <a:gd name="connsiteY48" fmla="*/ 2286 h 10000"/>
                <a:gd name="connsiteX49" fmla="*/ 8605 w 10000"/>
                <a:gd name="connsiteY49" fmla="*/ 1429 h 10000"/>
                <a:gd name="connsiteX50" fmla="*/ 9070 w 10000"/>
                <a:gd name="connsiteY50" fmla="*/ 857 h 10000"/>
                <a:gd name="connsiteX51" fmla="*/ 9070 w 10000"/>
                <a:gd name="connsiteY51" fmla="*/ 286 h 10000"/>
                <a:gd name="connsiteX52" fmla="*/ 8605 w 10000"/>
                <a:gd name="connsiteY52" fmla="*/ 0 h 10000"/>
                <a:gd name="connsiteX53" fmla="*/ 8140 w 10000"/>
                <a:gd name="connsiteY53" fmla="*/ 0 h 10000"/>
                <a:gd name="connsiteX54" fmla="*/ 6512 w 10000"/>
                <a:gd name="connsiteY54" fmla="*/ 143 h 10000"/>
                <a:gd name="connsiteX55" fmla="*/ 6279 w 10000"/>
                <a:gd name="connsiteY55" fmla="*/ 0 h 10000"/>
                <a:gd name="connsiteX56" fmla="*/ 6279 w 10000"/>
                <a:gd name="connsiteY56" fmla="*/ 714 h 10000"/>
                <a:gd name="connsiteX57" fmla="*/ 6279 w 10000"/>
                <a:gd name="connsiteY57" fmla="*/ 857 h 10000"/>
                <a:gd name="connsiteX0" fmla="*/ 6279 w 10000"/>
                <a:gd name="connsiteY0" fmla="*/ 857 h 10000"/>
                <a:gd name="connsiteX1" fmla="*/ 5814 w 10000"/>
                <a:gd name="connsiteY1" fmla="*/ 5429 h 10000"/>
                <a:gd name="connsiteX2" fmla="*/ 5116 w 10000"/>
                <a:gd name="connsiteY2" fmla="*/ 5571 h 10000"/>
                <a:gd name="connsiteX3" fmla="*/ 4884 w 10000"/>
                <a:gd name="connsiteY3" fmla="*/ 6429 h 10000"/>
                <a:gd name="connsiteX4" fmla="*/ 4651 w 10000"/>
                <a:gd name="connsiteY4" fmla="*/ 6857 h 10000"/>
                <a:gd name="connsiteX5" fmla="*/ 5349 w 10000"/>
                <a:gd name="connsiteY5" fmla="*/ 7429 h 10000"/>
                <a:gd name="connsiteX6" fmla="*/ 5349 w 10000"/>
                <a:gd name="connsiteY6" fmla="*/ 7714 h 10000"/>
                <a:gd name="connsiteX7" fmla="*/ 3953 w 10000"/>
                <a:gd name="connsiteY7" fmla="*/ 7286 h 10000"/>
                <a:gd name="connsiteX8" fmla="*/ 2558 w 10000"/>
                <a:gd name="connsiteY8" fmla="*/ 6857 h 10000"/>
                <a:gd name="connsiteX9" fmla="*/ 1395 w 10000"/>
                <a:gd name="connsiteY9" fmla="*/ 6857 h 10000"/>
                <a:gd name="connsiteX10" fmla="*/ 1395 w 10000"/>
                <a:gd name="connsiteY10" fmla="*/ 7429 h 10000"/>
                <a:gd name="connsiteX11" fmla="*/ 0 w 10000"/>
                <a:gd name="connsiteY11" fmla="*/ 7571 h 10000"/>
                <a:gd name="connsiteX12" fmla="*/ 0 w 10000"/>
                <a:gd name="connsiteY12" fmla="*/ 9143 h 10000"/>
                <a:gd name="connsiteX13" fmla="*/ 465 w 10000"/>
                <a:gd name="connsiteY13" fmla="*/ 9714 h 10000"/>
                <a:gd name="connsiteX14" fmla="*/ 1395 w 10000"/>
                <a:gd name="connsiteY14" fmla="*/ 9714 h 10000"/>
                <a:gd name="connsiteX15" fmla="*/ 1860 w 10000"/>
                <a:gd name="connsiteY15" fmla="*/ 9857 h 10000"/>
                <a:gd name="connsiteX16" fmla="*/ 1628 w 10000"/>
                <a:gd name="connsiteY16" fmla="*/ 9857 h 10000"/>
                <a:gd name="connsiteX17" fmla="*/ 2093 w 10000"/>
                <a:gd name="connsiteY17" fmla="*/ 10000 h 10000"/>
                <a:gd name="connsiteX18" fmla="*/ 2558 w 10000"/>
                <a:gd name="connsiteY18" fmla="*/ 9857 h 10000"/>
                <a:gd name="connsiteX19" fmla="*/ 3488 w 10000"/>
                <a:gd name="connsiteY19" fmla="*/ 10000 h 10000"/>
                <a:gd name="connsiteX20" fmla="*/ 4186 w 10000"/>
                <a:gd name="connsiteY20" fmla="*/ 9571 h 10000"/>
                <a:gd name="connsiteX21" fmla="*/ 5116 w 10000"/>
                <a:gd name="connsiteY21" fmla="*/ 9000 h 10000"/>
                <a:gd name="connsiteX22" fmla="*/ 5814 w 10000"/>
                <a:gd name="connsiteY22" fmla="*/ 8857 h 10000"/>
                <a:gd name="connsiteX23" fmla="*/ 5581 w 10000"/>
                <a:gd name="connsiteY23" fmla="*/ 8857 h 10000"/>
                <a:gd name="connsiteX24" fmla="*/ 5581 w 10000"/>
                <a:gd name="connsiteY24" fmla="*/ 8714 h 10000"/>
                <a:gd name="connsiteX25" fmla="*/ 7674 w 10000"/>
                <a:gd name="connsiteY25" fmla="*/ 8143 h 10000"/>
                <a:gd name="connsiteX26" fmla="*/ 8605 w 10000"/>
                <a:gd name="connsiteY26" fmla="*/ 8429 h 10000"/>
                <a:gd name="connsiteX27" fmla="*/ 9070 w 10000"/>
                <a:gd name="connsiteY27" fmla="*/ 8857 h 10000"/>
                <a:gd name="connsiteX28" fmla="*/ 9302 w 10000"/>
                <a:gd name="connsiteY28" fmla="*/ 9143 h 10000"/>
                <a:gd name="connsiteX29" fmla="*/ 10000 w 10000"/>
                <a:gd name="connsiteY29" fmla="*/ 8857 h 10000"/>
                <a:gd name="connsiteX30" fmla="*/ 10000 w 10000"/>
                <a:gd name="connsiteY30" fmla="*/ 8429 h 10000"/>
                <a:gd name="connsiteX31" fmla="*/ 9302 w 10000"/>
                <a:gd name="connsiteY31" fmla="*/ 7714 h 10000"/>
                <a:gd name="connsiteX32" fmla="*/ 9302 w 10000"/>
                <a:gd name="connsiteY32" fmla="*/ 7000 h 10000"/>
                <a:gd name="connsiteX33" fmla="*/ 9535 w 10000"/>
                <a:gd name="connsiteY33" fmla="*/ 7000 h 10000"/>
                <a:gd name="connsiteX34" fmla="*/ 9070 w 10000"/>
                <a:gd name="connsiteY34" fmla="*/ 6286 h 10000"/>
                <a:gd name="connsiteX35" fmla="*/ 8837 w 10000"/>
                <a:gd name="connsiteY35" fmla="*/ 6000 h 10000"/>
                <a:gd name="connsiteX36" fmla="*/ 7674 w 10000"/>
                <a:gd name="connsiteY36" fmla="*/ 5857 h 10000"/>
                <a:gd name="connsiteX37" fmla="*/ 6512 w 10000"/>
                <a:gd name="connsiteY37" fmla="*/ 5571 h 10000"/>
                <a:gd name="connsiteX38" fmla="*/ 6047 w 10000"/>
                <a:gd name="connsiteY38" fmla="*/ 4857 h 10000"/>
                <a:gd name="connsiteX39" fmla="*/ 5581 w 10000"/>
                <a:gd name="connsiteY39" fmla="*/ 3714 h 10000"/>
                <a:gd name="connsiteX40" fmla="*/ 6047 w 10000"/>
                <a:gd name="connsiteY40" fmla="*/ 3286 h 10000"/>
                <a:gd name="connsiteX41" fmla="*/ 5814 w 10000"/>
                <a:gd name="connsiteY41" fmla="*/ 2286 h 10000"/>
                <a:gd name="connsiteX42" fmla="*/ 6977 w 10000"/>
                <a:gd name="connsiteY42" fmla="*/ 2286 h 10000"/>
                <a:gd name="connsiteX43" fmla="*/ 7442 w 10000"/>
                <a:gd name="connsiteY43" fmla="*/ 2857 h 10000"/>
                <a:gd name="connsiteX44" fmla="*/ 8372 w 10000"/>
                <a:gd name="connsiteY44" fmla="*/ 2857 h 10000"/>
                <a:gd name="connsiteX45" fmla="*/ 8372 w 10000"/>
                <a:gd name="connsiteY45" fmla="*/ 2429 h 10000"/>
                <a:gd name="connsiteX46" fmla="*/ 8605 w 10000"/>
                <a:gd name="connsiteY46" fmla="*/ 2143 h 10000"/>
                <a:gd name="connsiteX47" fmla="*/ 8837 w 10000"/>
                <a:gd name="connsiteY47" fmla="*/ 2286 h 10000"/>
                <a:gd name="connsiteX48" fmla="*/ 8605 w 10000"/>
                <a:gd name="connsiteY48" fmla="*/ 1429 h 10000"/>
                <a:gd name="connsiteX49" fmla="*/ 9070 w 10000"/>
                <a:gd name="connsiteY49" fmla="*/ 857 h 10000"/>
                <a:gd name="connsiteX50" fmla="*/ 9070 w 10000"/>
                <a:gd name="connsiteY50" fmla="*/ 286 h 10000"/>
                <a:gd name="connsiteX51" fmla="*/ 8605 w 10000"/>
                <a:gd name="connsiteY51" fmla="*/ 0 h 10000"/>
                <a:gd name="connsiteX52" fmla="*/ 8140 w 10000"/>
                <a:gd name="connsiteY52" fmla="*/ 0 h 10000"/>
                <a:gd name="connsiteX53" fmla="*/ 6512 w 10000"/>
                <a:gd name="connsiteY53" fmla="*/ 143 h 10000"/>
                <a:gd name="connsiteX54" fmla="*/ 6279 w 10000"/>
                <a:gd name="connsiteY54" fmla="*/ 0 h 10000"/>
                <a:gd name="connsiteX55" fmla="*/ 6279 w 10000"/>
                <a:gd name="connsiteY55" fmla="*/ 714 h 10000"/>
                <a:gd name="connsiteX56" fmla="*/ 6279 w 10000"/>
                <a:gd name="connsiteY56" fmla="*/ 857 h 10000"/>
                <a:gd name="connsiteX0" fmla="*/ 6279 w 10000"/>
                <a:gd name="connsiteY0" fmla="*/ 714 h 10000"/>
                <a:gd name="connsiteX1" fmla="*/ 5814 w 10000"/>
                <a:gd name="connsiteY1" fmla="*/ 5429 h 10000"/>
                <a:gd name="connsiteX2" fmla="*/ 5116 w 10000"/>
                <a:gd name="connsiteY2" fmla="*/ 5571 h 10000"/>
                <a:gd name="connsiteX3" fmla="*/ 4884 w 10000"/>
                <a:gd name="connsiteY3" fmla="*/ 6429 h 10000"/>
                <a:gd name="connsiteX4" fmla="*/ 4651 w 10000"/>
                <a:gd name="connsiteY4" fmla="*/ 6857 h 10000"/>
                <a:gd name="connsiteX5" fmla="*/ 5349 w 10000"/>
                <a:gd name="connsiteY5" fmla="*/ 7429 h 10000"/>
                <a:gd name="connsiteX6" fmla="*/ 5349 w 10000"/>
                <a:gd name="connsiteY6" fmla="*/ 7714 h 10000"/>
                <a:gd name="connsiteX7" fmla="*/ 3953 w 10000"/>
                <a:gd name="connsiteY7" fmla="*/ 7286 h 10000"/>
                <a:gd name="connsiteX8" fmla="*/ 2558 w 10000"/>
                <a:gd name="connsiteY8" fmla="*/ 6857 h 10000"/>
                <a:gd name="connsiteX9" fmla="*/ 1395 w 10000"/>
                <a:gd name="connsiteY9" fmla="*/ 6857 h 10000"/>
                <a:gd name="connsiteX10" fmla="*/ 1395 w 10000"/>
                <a:gd name="connsiteY10" fmla="*/ 7429 h 10000"/>
                <a:gd name="connsiteX11" fmla="*/ 0 w 10000"/>
                <a:gd name="connsiteY11" fmla="*/ 7571 h 10000"/>
                <a:gd name="connsiteX12" fmla="*/ 0 w 10000"/>
                <a:gd name="connsiteY12" fmla="*/ 9143 h 10000"/>
                <a:gd name="connsiteX13" fmla="*/ 465 w 10000"/>
                <a:gd name="connsiteY13" fmla="*/ 9714 h 10000"/>
                <a:gd name="connsiteX14" fmla="*/ 1395 w 10000"/>
                <a:gd name="connsiteY14" fmla="*/ 9714 h 10000"/>
                <a:gd name="connsiteX15" fmla="*/ 1860 w 10000"/>
                <a:gd name="connsiteY15" fmla="*/ 9857 h 10000"/>
                <a:gd name="connsiteX16" fmla="*/ 1628 w 10000"/>
                <a:gd name="connsiteY16" fmla="*/ 9857 h 10000"/>
                <a:gd name="connsiteX17" fmla="*/ 2093 w 10000"/>
                <a:gd name="connsiteY17" fmla="*/ 10000 h 10000"/>
                <a:gd name="connsiteX18" fmla="*/ 2558 w 10000"/>
                <a:gd name="connsiteY18" fmla="*/ 9857 h 10000"/>
                <a:gd name="connsiteX19" fmla="*/ 3488 w 10000"/>
                <a:gd name="connsiteY19" fmla="*/ 10000 h 10000"/>
                <a:gd name="connsiteX20" fmla="*/ 4186 w 10000"/>
                <a:gd name="connsiteY20" fmla="*/ 9571 h 10000"/>
                <a:gd name="connsiteX21" fmla="*/ 5116 w 10000"/>
                <a:gd name="connsiteY21" fmla="*/ 9000 h 10000"/>
                <a:gd name="connsiteX22" fmla="*/ 5814 w 10000"/>
                <a:gd name="connsiteY22" fmla="*/ 8857 h 10000"/>
                <a:gd name="connsiteX23" fmla="*/ 5581 w 10000"/>
                <a:gd name="connsiteY23" fmla="*/ 8857 h 10000"/>
                <a:gd name="connsiteX24" fmla="*/ 5581 w 10000"/>
                <a:gd name="connsiteY24" fmla="*/ 8714 h 10000"/>
                <a:gd name="connsiteX25" fmla="*/ 7674 w 10000"/>
                <a:gd name="connsiteY25" fmla="*/ 8143 h 10000"/>
                <a:gd name="connsiteX26" fmla="*/ 8605 w 10000"/>
                <a:gd name="connsiteY26" fmla="*/ 8429 h 10000"/>
                <a:gd name="connsiteX27" fmla="*/ 9070 w 10000"/>
                <a:gd name="connsiteY27" fmla="*/ 8857 h 10000"/>
                <a:gd name="connsiteX28" fmla="*/ 9302 w 10000"/>
                <a:gd name="connsiteY28" fmla="*/ 9143 h 10000"/>
                <a:gd name="connsiteX29" fmla="*/ 10000 w 10000"/>
                <a:gd name="connsiteY29" fmla="*/ 8857 h 10000"/>
                <a:gd name="connsiteX30" fmla="*/ 10000 w 10000"/>
                <a:gd name="connsiteY30" fmla="*/ 8429 h 10000"/>
                <a:gd name="connsiteX31" fmla="*/ 9302 w 10000"/>
                <a:gd name="connsiteY31" fmla="*/ 7714 h 10000"/>
                <a:gd name="connsiteX32" fmla="*/ 9302 w 10000"/>
                <a:gd name="connsiteY32" fmla="*/ 7000 h 10000"/>
                <a:gd name="connsiteX33" fmla="*/ 9535 w 10000"/>
                <a:gd name="connsiteY33" fmla="*/ 7000 h 10000"/>
                <a:gd name="connsiteX34" fmla="*/ 9070 w 10000"/>
                <a:gd name="connsiteY34" fmla="*/ 6286 h 10000"/>
                <a:gd name="connsiteX35" fmla="*/ 8837 w 10000"/>
                <a:gd name="connsiteY35" fmla="*/ 6000 h 10000"/>
                <a:gd name="connsiteX36" fmla="*/ 7674 w 10000"/>
                <a:gd name="connsiteY36" fmla="*/ 5857 h 10000"/>
                <a:gd name="connsiteX37" fmla="*/ 6512 w 10000"/>
                <a:gd name="connsiteY37" fmla="*/ 5571 h 10000"/>
                <a:gd name="connsiteX38" fmla="*/ 6047 w 10000"/>
                <a:gd name="connsiteY38" fmla="*/ 4857 h 10000"/>
                <a:gd name="connsiteX39" fmla="*/ 5581 w 10000"/>
                <a:gd name="connsiteY39" fmla="*/ 3714 h 10000"/>
                <a:gd name="connsiteX40" fmla="*/ 6047 w 10000"/>
                <a:gd name="connsiteY40" fmla="*/ 3286 h 10000"/>
                <a:gd name="connsiteX41" fmla="*/ 5814 w 10000"/>
                <a:gd name="connsiteY41" fmla="*/ 2286 h 10000"/>
                <a:gd name="connsiteX42" fmla="*/ 6977 w 10000"/>
                <a:gd name="connsiteY42" fmla="*/ 2286 h 10000"/>
                <a:gd name="connsiteX43" fmla="*/ 7442 w 10000"/>
                <a:gd name="connsiteY43" fmla="*/ 2857 h 10000"/>
                <a:gd name="connsiteX44" fmla="*/ 8372 w 10000"/>
                <a:gd name="connsiteY44" fmla="*/ 2857 h 10000"/>
                <a:gd name="connsiteX45" fmla="*/ 8372 w 10000"/>
                <a:gd name="connsiteY45" fmla="*/ 2429 h 10000"/>
                <a:gd name="connsiteX46" fmla="*/ 8605 w 10000"/>
                <a:gd name="connsiteY46" fmla="*/ 2143 h 10000"/>
                <a:gd name="connsiteX47" fmla="*/ 8837 w 10000"/>
                <a:gd name="connsiteY47" fmla="*/ 2286 h 10000"/>
                <a:gd name="connsiteX48" fmla="*/ 8605 w 10000"/>
                <a:gd name="connsiteY48" fmla="*/ 1429 h 10000"/>
                <a:gd name="connsiteX49" fmla="*/ 9070 w 10000"/>
                <a:gd name="connsiteY49" fmla="*/ 857 h 10000"/>
                <a:gd name="connsiteX50" fmla="*/ 9070 w 10000"/>
                <a:gd name="connsiteY50" fmla="*/ 286 h 10000"/>
                <a:gd name="connsiteX51" fmla="*/ 8605 w 10000"/>
                <a:gd name="connsiteY51" fmla="*/ 0 h 10000"/>
                <a:gd name="connsiteX52" fmla="*/ 8140 w 10000"/>
                <a:gd name="connsiteY52" fmla="*/ 0 h 10000"/>
                <a:gd name="connsiteX53" fmla="*/ 6512 w 10000"/>
                <a:gd name="connsiteY53" fmla="*/ 143 h 10000"/>
                <a:gd name="connsiteX54" fmla="*/ 6279 w 10000"/>
                <a:gd name="connsiteY54" fmla="*/ 0 h 10000"/>
                <a:gd name="connsiteX55" fmla="*/ 6279 w 10000"/>
                <a:gd name="connsiteY55" fmla="*/ 714 h 10000"/>
                <a:gd name="connsiteX0" fmla="*/ 6279 w 10000"/>
                <a:gd name="connsiteY0" fmla="*/ 0 h 10000"/>
                <a:gd name="connsiteX1" fmla="*/ 5814 w 10000"/>
                <a:gd name="connsiteY1" fmla="*/ 5429 h 10000"/>
                <a:gd name="connsiteX2" fmla="*/ 5116 w 10000"/>
                <a:gd name="connsiteY2" fmla="*/ 5571 h 10000"/>
                <a:gd name="connsiteX3" fmla="*/ 4884 w 10000"/>
                <a:gd name="connsiteY3" fmla="*/ 6429 h 10000"/>
                <a:gd name="connsiteX4" fmla="*/ 4651 w 10000"/>
                <a:gd name="connsiteY4" fmla="*/ 6857 h 10000"/>
                <a:gd name="connsiteX5" fmla="*/ 5349 w 10000"/>
                <a:gd name="connsiteY5" fmla="*/ 7429 h 10000"/>
                <a:gd name="connsiteX6" fmla="*/ 5349 w 10000"/>
                <a:gd name="connsiteY6" fmla="*/ 7714 h 10000"/>
                <a:gd name="connsiteX7" fmla="*/ 3953 w 10000"/>
                <a:gd name="connsiteY7" fmla="*/ 7286 h 10000"/>
                <a:gd name="connsiteX8" fmla="*/ 2558 w 10000"/>
                <a:gd name="connsiteY8" fmla="*/ 6857 h 10000"/>
                <a:gd name="connsiteX9" fmla="*/ 1395 w 10000"/>
                <a:gd name="connsiteY9" fmla="*/ 6857 h 10000"/>
                <a:gd name="connsiteX10" fmla="*/ 1395 w 10000"/>
                <a:gd name="connsiteY10" fmla="*/ 7429 h 10000"/>
                <a:gd name="connsiteX11" fmla="*/ 0 w 10000"/>
                <a:gd name="connsiteY11" fmla="*/ 7571 h 10000"/>
                <a:gd name="connsiteX12" fmla="*/ 0 w 10000"/>
                <a:gd name="connsiteY12" fmla="*/ 9143 h 10000"/>
                <a:gd name="connsiteX13" fmla="*/ 465 w 10000"/>
                <a:gd name="connsiteY13" fmla="*/ 9714 h 10000"/>
                <a:gd name="connsiteX14" fmla="*/ 1395 w 10000"/>
                <a:gd name="connsiteY14" fmla="*/ 9714 h 10000"/>
                <a:gd name="connsiteX15" fmla="*/ 1860 w 10000"/>
                <a:gd name="connsiteY15" fmla="*/ 9857 h 10000"/>
                <a:gd name="connsiteX16" fmla="*/ 1628 w 10000"/>
                <a:gd name="connsiteY16" fmla="*/ 9857 h 10000"/>
                <a:gd name="connsiteX17" fmla="*/ 2093 w 10000"/>
                <a:gd name="connsiteY17" fmla="*/ 10000 h 10000"/>
                <a:gd name="connsiteX18" fmla="*/ 2558 w 10000"/>
                <a:gd name="connsiteY18" fmla="*/ 9857 h 10000"/>
                <a:gd name="connsiteX19" fmla="*/ 3488 w 10000"/>
                <a:gd name="connsiteY19" fmla="*/ 10000 h 10000"/>
                <a:gd name="connsiteX20" fmla="*/ 4186 w 10000"/>
                <a:gd name="connsiteY20" fmla="*/ 9571 h 10000"/>
                <a:gd name="connsiteX21" fmla="*/ 5116 w 10000"/>
                <a:gd name="connsiteY21" fmla="*/ 9000 h 10000"/>
                <a:gd name="connsiteX22" fmla="*/ 5814 w 10000"/>
                <a:gd name="connsiteY22" fmla="*/ 8857 h 10000"/>
                <a:gd name="connsiteX23" fmla="*/ 5581 w 10000"/>
                <a:gd name="connsiteY23" fmla="*/ 8857 h 10000"/>
                <a:gd name="connsiteX24" fmla="*/ 5581 w 10000"/>
                <a:gd name="connsiteY24" fmla="*/ 8714 h 10000"/>
                <a:gd name="connsiteX25" fmla="*/ 7674 w 10000"/>
                <a:gd name="connsiteY25" fmla="*/ 8143 h 10000"/>
                <a:gd name="connsiteX26" fmla="*/ 8605 w 10000"/>
                <a:gd name="connsiteY26" fmla="*/ 8429 h 10000"/>
                <a:gd name="connsiteX27" fmla="*/ 9070 w 10000"/>
                <a:gd name="connsiteY27" fmla="*/ 8857 h 10000"/>
                <a:gd name="connsiteX28" fmla="*/ 9302 w 10000"/>
                <a:gd name="connsiteY28" fmla="*/ 9143 h 10000"/>
                <a:gd name="connsiteX29" fmla="*/ 10000 w 10000"/>
                <a:gd name="connsiteY29" fmla="*/ 8857 h 10000"/>
                <a:gd name="connsiteX30" fmla="*/ 10000 w 10000"/>
                <a:gd name="connsiteY30" fmla="*/ 8429 h 10000"/>
                <a:gd name="connsiteX31" fmla="*/ 9302 w 10000"/>
                <a:gd name="connsiteY31" fmla="*/ 7714 h 10000"/>
                <a:gd name="connsiteX32" fmla="*/ 9302 w 10000"/>
                <a:gd name="connsiteY32" fmla="*/ 7000 h 10000"/>
                <a:gd name="connsiteX33" fmla="*/ 9535 w 10000"/>
                <a:gd name="connsiteY33" fmla="*/ 7000 h 10000"/>
                <a:gd name="connsiteX34" fmla="*/ 9070 w 10000"/>
                <a:gd name="connsiteY34" fmla="*/ 6286 h 10000"/>
                <a:gd name="connsiteX35" fmla="*/ 8837 w 10000"/>
                <a:gd name="connsiteY35" fmla="*/ 6000 h 10000"/>
                <a:gd name="connsiteX36" fmla="*/ 7674 w 10000"/>
                <a:gd name="connsiteY36" fmla="*/ 5857 h 10000"/>
                <a:gd name="connsiteX37" fmla="*/ 6512 w 10000"/>
                <a:gd name="connsiteY37" fmla="*/ 5571 h 10000"/>
                <a:gd name="connsiteX38" fmla="*/ 6047 w 10000"/>
                <a:gd name="connsiteY38" fmla="*/ 4857 h 10000"/>
                <a:gd name="connsiteX39" fmla="*/ 5581 w 10000"/>
                <a:gd name="connsiteY39" fmla="*/ 3714 h 10000"/>
                <a:gd name="connsiteX40" fmla="*/ 6047 w 10000"/>
                <a:gd name="connsiteY40" fmla="*/ 3286 h 10000"/>
                <a:gd name="connsiteX41" fmla="*/ 5814 w 10000"/>
                <a:gd name="connsiteY41" fmla="*/ 2286 h 10000"/>
                <a:gd name="connsiteX42" fmla="*/ 6977 w 10000"/>
                <a:gd name="connsiteY42" fmla="*/ 2286 h 10000"/>
                <a:gd name="connsiteX43" fmla="*/ 7442 w 10000"/>
                <a:gd name="connsiteY43" fmla="*/ 2857 h 10000"/>
                <a:gd name="connsiteX44" fmla="*/ 8372 w 10000"/>
                <a:gd name="connsiteY44" fmla="*/ 2857 h 10000"/>
                <a:gd name="connsiteX45" fmla="*/ 8372 w 10000"/>
                <a:gd name="connsiteY45" fmla="*/ 2429 h 10000"/>
                <a:gd name="connsiteX46" fmla="*/ 8605 w 10000"/>
                <a:gd name="connsiteY46" fmla="*/ 2143 h 10000"/>
                <a:gd name="connsiteX47" fmla="*/ 8837 w 10000"/>
                <a:gd name="connsiteY47" fmla="*/ 2286 h 10000"/>
                <a:gd name="connsiteX48" fmla="*/ 8605 w 10000"/>
                <a:gd name="connsiteY48" fmla="*/ 1429 h 10000"/>
                <a:gd name="connsiteX49" fmla="*/ 9070 w 10000"/>
                <a:gd name="connsiteY49" fmla="*/ 857 h 10000"/>
                <a:gd name="connsiteX50" fmla="*/ 9070 w 10000"/>
                <a:gd name="connsiteY50" fmla="*/ 286 h 10000"/>
                <a:gd name="connsiteX51" fmla="*/ 8605 w 10000"/>
                <a:gd name="connsiteY51" fmla="*/ 0 h 10000"/>
                <a:gd name="connsiteX52" fmla="*/ 8140 w 10000"/>
                <a:gd name="connsiteY52" fmla="*/ 0 h 10000"/>
                <a:gd name="connsiteX53" fmla="*/ 6512 w 10000"/>
                <a:gd name="connsiteY53" fmla="*/ 143 h 10000"/>
                <a:gd name="connsiteX54" fmla="*/ 6279 w 10000"/>
                <a:gd name="connsiteY54" fmla="*/ 0 h 10000"/>
                <a:gd name="connsiteX0" fmla="*/ 6279 w 10000"/>
                <a:gd name="connsiteY0" fmla="*/ 0 h 10000"/>
                <a:gd name="connsiteX1" fmla="*/ 5814 w 10000"/>
                <a:gd name="connsiteY1" fmla="*/ 5429 h 10000"/>
                <a:gd name="connsiteX2" fmla="*/ 5116 w 10000"/>
                <a:gd name="connsiteY2" fmla="*/ 5571 h 10000"/>
                <a:gd name="connsiteX3" fmla="*/ 4884 w 10000"/>
                <a:gd name="connsiteY3" fmla="*/ 6429 h 10000"/>
                <a:gd name="connsiteX4" fmla="*/ 4651 w 10000"/>
                <a:gd name="connsiteY4" fmla="*/ 6857 h 10000"/>
                <a:gd name="connsiteX5" fmla="*/ 5349 w 10000"/>
                <a:gd name="connsiteY5" fmla="*/ 7429 h 10000"/>
                <a:gd name="connsiteX6" fmla="*/ 5349 w 10000"/>
                <a:gd name="connsiteY6" fmla="*/ 7714 h 10000"/>
                <a:gd name="connsiteX7" fmla="*/ 3953 w 10000"/>
                <a:gd name="connsiteY7" fmla="*/ 7286 h 10000"/>
                <a:gd name="connsiteX8" fmla="*/ 2558 w 10000"/>
                <a:gd name="connsiteY8" fmla="*/ 6857 h 10000"/>
                <a:gd name="connsiteX9" fmla="*/ 1395 w 10000"/>
                <a:gd name="connsiteY9" fmla="*/ 6857 h 10000"/>
                <a:gd name="connsiteX10" fmla="*/ 1395 w 10000"/>
                <a:gd name="connsiteY10" fmla="*/ 7429 h 10000"/>
                <a:gd name="connsiteX11" fmla="*/ 0 w 10000"/>
                <a:gd name="connsiteY11" fmla="*/ 7571 h 10000"/>
                <a:gd name="connsiteX12" fmla="*/ 0 w 10000"/>
                <a:gd name="connsiteY12" fmla="*/ 9143 h 10000"/>
                <a:gd name="connsiteX13" fmla="*/ 465 w 10000"/>
                <a:gd name="connsiteY13" fmla="*/ 9714 h 10000"/>
                <a:gd name="connsiteX14" fmla="*/ 1395 w 10000"/>
                <a:gd name="connsiteY14" fmla="*/ 9714 h 10000"/>
                <a:gd name="connsiteX15" fmla="*/ 1860 w 10000"/>
                <a:gd name="connsiteY15" fmla="*/ 9857 h 10000"/>
                <a:gd name="connsiteX16" fmla="*/ 1628 w 10000"/>
                <a:gd name="connsiteY16" fmla="*/ 9857 h 10000"/>
                <a:gd name="connsiteX17" fmla="*/ 2093 w 10000"/>
                <a:gd name="connsiteY17" fmla="*/ 10000 h 10000"/>
                <a:gd name="connsiteX18" fmla="*/ 2558 w 10000"/>
                <a:gd name="connsiteY18" fmla="*/ 9857 h 10000"/>
                <a:gd name="connsiteX19" fmla="*/ 3488 w 10000"/>
                <a:gd name="connsiteY19" fmla="*/ 10000 h 10000"/>
                <a:gd name="connsiteX20" fmla="*/ 4186 w 10000"/>
                <a:gd name="connsiteY20" fmla="*/ 9571 h 10000"/>
                <a:gd name="connsiteX21" fmla="*/ 5116 w 10000"/>
                <a:gd name="connsiteY21" fmla="*/ 9000 h 10000"/>
                <a:gd name="connsiteX22" fmla="*/ 5814 w 10000"/>
                <a:gd name="connsiteY22" fmla="*/ 8857 h 10000"/>
                <a:gd name="connsiteX23" fmla="*/ 5581 w 10000"/>
                <a:gd name="connsiteY23" fmla="*/ 8857 h 10000"/>
                <a:gd name="connsiteX24" fmla="*/ 5581 w 10000"/>
                <a:gd name="connsiteY24" fmla="*/ 8714 h 10000"/>
                <a:gd name="connsiteX25" fmla="*/ 7674 w 10000"/>
                <a:gd name="connsiteY25" fmla="*/ 8143 h 10000"/>
                <a:gd name="connsiteX26" fmla="*/ 8605 w 10000"/>
                <a:gd name="connsiteY26" fmla="*/ 8429 h 10000"/>
                <a:gd name="connsiteX27" fmla="*/ 9070 w 10000"/>
                <a:gd name="connsiteY27" fmla="*/ 8857 h 10000"/>
                <a:gd name="connsiteX28" fmla="*/ 9302 w 10000"/>
                <a:gd name="connsiteY28" fmla="*/ 9143 h 10000"/>
                <a:gd name="connsiteX29" fmla="*/ 10000 w 10000"/>
                <a:gd name="connsiteY29" fmla="*/ 8857 h 10000"/>
                <a:gd name="connsiteX30" fmla="*/ 10000 w 10000"/>
                <a:gd name="connsiteY30" fmla="*/ 8429 h 10000"/>
                <a:gd name="connsiteX31" fmla="*/ 9302 w 10000"/>
                <a:gd name="connsiteY31" fmla="*/ 7714 h 10000"/>
                <a:gd name="connsiteX32" fmla="*/ 9302 w 10000"/>
                <a:gd name="connsiteY32" fmla="*/ 7000 h 10000"/>
                <a:gd name="connsiteX33" fmla="*/ 9535 w 10000"/>
                <a:gd name="connsiteY33" fmla="*/ 7000 h 10000"/>
                <a:gd name="connsiteX34" fmla="*/ 9070 w 10000"/>
                <a:gd name="connsiteY34" fmla="*/ 6286 h 10000"/>
                <a:gd name="connsiteX35" fmla="*/ 8837 w 10000"/>
                <a:gd name="connsiteY35" fmla="*/ 6000 h 10000"/>
                <a:gd name="connsiteX36" fmla="*/ 7674 w 10000"/>
                <a:gd name="connsiteY36" fmla="*/ 5857 h 10000"/>
                <a:gd name="connsiteX37" fmla="*/ 6512 w 10000"/>
                <a:gd name="connsiteY37" fmla="*/ 5571 h 10000"/>
                <a:gd name="connsiteX38" fmla="*/ 6047 w 10000"/>
                <a:gd name="connsiteY38" fmla="*/ 4857 h 10000"/>
                <a:gd name="connsiteX39" fmla="*/ 5581 w 10000"/>
                <a:gd name="connsiteY39" fmla="*/ 3714 h 10000"/>
                <a:gd name="connsiteX40" fmla="*/ 6047 w 10000"/>
                <a:gd name="connsiteY40" fmla="*/ 3286 h 10000"/>
                <a:gd name="connsiteX41" fmla="*/ 5814 w 10000"/>
                <a:gd name="connsiteY41" fmla="*/ 2286 h 10000"/>
                <a:gd name="connsiteX42" fmla="*/ 6977 w 10000"/>
                <a:gd name="connsiteY42" fmla="*/ 2286 h 10000"/>
                <a:gd name="connsiteX43" fmla="*/ 7442 w 10000"/>
                <a:gd name="connsiteY43" fmla="*/ 2857 h 10000"/>
                <a:gd name="connsiteX44" fmla="*/ 8372 w 10000"/>
                <a:gd name="connsiteY44" fmla="*/ 2857 h 10000"/>
                <a:gd name="connsiteX45" fmla="*/ 8372 w 10000"/>
                <a:gd name="connsiteY45" fmla="*/ 2429 h 10000"/>
                <a:gd name="connsiteX46" fmla="*/ 8605 w 10000"/>
                <a:gd name="connsiteY46" fmla="*/ 2143 h 10000"/>
                <a:gd name="connsiteX47" fmla="*/ 8837 w 10000"/>
                <a:gd name="connsiteY47" fmla="*/ 2286 h 10000"/>
                <a:gd name="connsiteX48" fmla="*/ 8605 w 10000"/>
                <a:gd name="connsiteY48" fmla="*/ 1429 h 10000"/>
                <a:gd name="connsiteX49" fmla="*/ 9070 w 10000"/>
                <a:gd name="connsiteY49" fmla="*/ 857 h 10000"/>
                <a:gd name="connsiteX50" fmla="*/ 9070 w 10000"/>
                <a:gd name="connsiteY50" fmla="*/ 286 h 10000"/>
                <a:gd name="connsiteX51" fmla="*/ 8605 w 10000"/>
                <a:gd name="connsiteY51" fmla="*/ 0 h 10000"/>
                <a:gd name="connsiteX52" fmla="*/ 8140 w 10000"/>
                <a:gd name="connsiteY52" fmla="*/ 0 h 10000"/>
                <a:gd name="connsiteX53" fmla="*/ 6279 w 10000"/>
                <a:gd name="connsiteY53" fmla="*/ 0 h 10000"/>
                <a:gd name="connsiteX0" fmla="*/ 8140 w 10000"/>
                <a:gd name="connsiteY0" fmla="*/ 0 h 10000"/>
                <a:gd name="connsiteX1" fmla="*/ 5814 w 10000"/>
                <a:gd name="connsiteY1" fmla="*/ 5429 h 10000"/>
                <a:gd name="connsiteX2" fmla="*/ 5116 w 10000"/>
                <a:gd name="connsiteY2" fmla="*/ 5571 h 10000"/>
                <a:gd name="connsiteX3" fmla="*/ 4884 w 10000"/>
                <a:gd name="connsiteY3" fmla="*/ 6429 h 10000"/>
                <a:gd name="connsiteX4" fmla="*/ 4651 w 10000"/>
                <a:gd name="connsiteY4" fmla="*/ 6857 h 10000"/>
                <a:gd name="connsiteX5" fmla="*/ 5349 w 10000"/>
                <a:gd name="connsiteY5" fmla="*/ 7429 h 10000"/>
                <a:gd name="connsiteX6" fmla="*/ 5349 w 10000"/>
                <a:gd name="connsiteY6" fmla="*/ 7714 h 10000"/>
                <a:gd name="connsiteX7" fmla="*/ 3953 w 10000"/>
                <a:gd name="connsiteY7" fmla="*/ 7286 h 10000"/>
                <a:gd name="connsiteX8" fmla="*/ 2558 w 10000"/>
                <a:gd name="connsiteY8" fmla="*/ 6857 h 10000"/>
                <a:gd name="connsiteX9" fmla="*/ 1395 w 10000"/>
                <a:gd name="connsiteY9" fmla="*/ 6857 h 10000"/>
                <a:gd name="connsiteX10" fmla="*/ 1395 w 10000"/>
                <a:gd name="connsiteY10" fmla="*/ 7429 h 10000"/>
                <a:gd name="connsiteX11" fmla="*/ 0 w 10000"/>
                <a:gd name="connsiteY11" fmla="*/ 7571 h 10000"/>
                <a:gd name="connsiteX12" fmla="*/ 0 w 10000"/>
                <a:gd name="connsiteY12" fmla="*/ 9143 h 10000"/>
                <a:gd name="connsiteX13" fmla="*/ 465 w 10000"/>
                <a:gd name="connsiteY13" fmla="*/ 9714 h 10000"/>
                <a:gd name="connsiteX14" fmla="*/ 1395 w 10000"/>
                <a:gd name="connsiteY14" fmla="*/ 9714 h 10000"/>
                <a:gd name="connsiteX15" fmla="*/ 1860 w 10000"/>
                <a:gd name="connsiteY15" fmla="*/ 9857 h 10000"/>
                <a:gd name="connsiteX16" fmla="*/ 1628 w 10000"/>
                <a:gd name="connsiteY16" fmla="*/ 9857 h 10000"/>
                <a:gd name="connsiteX17" fmla="*/ 2093 w 10000"/>
                <a:gd name="connsiteY17" fmla="*/ 10000 h 10000"/>
                <a:gd name="connsiteX18" fmla="*/ 2558 w 10000"/>
                <a:gd name="connsiteY18" fmla="*/ 9857 h 10000"/>
                <a:gd name="connsiteX19" fmla="*/ 3488 w 10000"/>
                <a:gd name="connsiteY19" fmla="*/ 10000 h 10000"/>
                <a:gd name="connsiteX20" fmla="*/ 4186 w 10000"/>
                <a:gd name="connsiteY20" fmla="*/ 9571 h 10000"/>
                <a:gd name="connsiteX21" fmla="*/ 5116 w 10000"/>
                <a:gd name="connsiteY21" fmla="*/ 9000 h 10000"/>
                <a:gd name="connsiteX22" fmla="*/ 5814 w 10000"/>
                <a:gd name="connsiteY22" fmla="*/ 8857 h 10000"/>
                <a:gd name="connsiteX23" fmla="*/ 5581 w 10000"/>
                <a:gd name="connsiteY23" fmla="*/ 8857 h 10000"/>
                <a:gd name="connsiteX24" fmla="*/ 5581 w 10000"/>
                <a:gd name="connsiteY24" fmla="*/ 8714 h 10000"/>
                <a:gd name="connsiteX25" fmla="*/ 7674 w 10000"/>
                <a:gd name="connsiteY25" fmla="*/ 8143 h 10000"/>
                <a:gd name="connsiteX26" fmla="*/ 8605 w 10000"/>
                <a:gd name="connsiteY26" fmla="*/ 8429 h 10000"/>
                <a:gd name="connsiteX27" fmla="*/ 9070 w 10000"/>
                <a:gd name="connsiteY27" fmla="*/ 8857 h 10000"/>
                <a:gd name="connsiteX28" fmla="*/ 9302 w 10000"/>
                <a:gd name="connsiteY28" fmla="*/ 9143 h 10000"/>
                <a:gd name="connsiteX29" fmla="*/ 10000 w 10000"/>
                <a:gd name="connsiteY29" fmla="*/ 8857 h 10000"/>
                <a:gd name="connsiteX30" fmla="*/ 10000 w 10000"/>
                <a:gd name="connsiteY30" fmla="*/ 8429 h 10000"/>
                <a:gd name="connsiteX31" fmla="*/ 9302 w 10000"/>
                <a:gd name="connsiteY31" fmla="*/ 7714 h 10000"/>
                <a:gd name="connsiteX32" fmla="*/ 9302 w 10000"/>
                <a:gd name="connsiteY32" fmla="*/ 7000 h 10000"/>
                <a:gd name="connsiteX33" fmla="*/ 9535 w 10000"/>
                <a:gd name="connsiteY33" fmla="*/ 7000 h 10000"/>
                <a:gd name="connsiteX34" fmla="*/ 9070 w 10000"/>
                <a:gd name="connsiteY34" fmla="*/ 6286 h 10000"/>
                <a:gd name="connsiteX35" fmla="*/ 8837 w 10000"/>
                <a:gd name="connsiteY35" fmla="*/ 6000 h 10000"/>
                <a:gd name="connsiteX36" fmla="*/ 7674 w 10000"/>
                <a:gd name="connsiteY36" fmla="*/ 5857 h 10000"/>
                <a:gd name="connsiteX37" fmla="*/ 6512 w 10000"/>
                <a:gd name="connsiteY37" fmla="*/ 5571 h 10000"/>
                <a:gd name="connsiteX38" fmla="*/ 6047 w 10000"/>
                <a:gd name="connsiteY38" fmla="*/ 4857 h 10000"/>
                <a:gd name="connsiteX39" fmla="*/ 5581 w 10000"/>
                <a:gd name="connsiteY39" fmla="*/ 3714 h 10000"/>
                <a:gd name="connsiteX40" fmla="*/ 6047 w 10000"/>
                <a:gd name="connsiteY40" fmla="*/ 3286 h 10000"/>
                <a:gd name="connsiteX41" fmla="*/ 5814 w 10000"/>
                <a:gd name="connsiteY41" fmla="*/ 2286 h 10000"/>
                <a:gd name="connsiteX42" fmla="*/ 6977 w 10000"/>
                <a:gd name="connsiteY42" fmla="*/ 2286 h 10000"/>
                <a:gd name="connsiteX43" fmla="*/ 7442 w 10000"/>
                <a:gd name="connsiteY43" fmla="*/ 2857 h 10000"/>
                <a:gd name="connsiteX44" fmla="*/ 8372 w 10000"/>
                <a:gd name="connsiteY44" fmla="*/ 2857 h 10000"/>
                <a:gd name="connsiteX45" fmla="*/ 8372 w 10000"/>
                <a:gd name="connsiteY45" fmla="*/ 2429 h 10000"/>
                <a:gd name="connsiteX46" fmla="*/ 8605 w 10000"/>
                <a:gd name="connsiteY46" fmla="*/ 2143 h 10000"/>
                <a:gd name="connsiteX47" fmla="*/ 8837 w 10000"/>
                <a:gd name="connsiteY47" fmla="*/ 2286 h 10000"/>
                <a:gd name="connsiteX48" fmla="*/ 8605 w 10000"/>
                <a:gd name="connsiteY48" fmla="*/ 1429 h 10000"/>
                <a:gd name="connsiteX49" fmla="*/ 9070 w 10000"/>
                <a:gd name="connsiteY49" fmla="*/ 857 h 10000"/>
                <a:gd name="connsiteX50" fmla="*/ 9070 w 10000"/>
                <a:gd name="connsiteY50" fmla="*/ 286 h 10000"/>
                <a:gd name="connsiteX51" fmla="*/ 8605 w 10000"/>
                <a:gd name="connsiteY51" fmla="*/ 0 h 10000"/>
                <a:gd name="connsiteX52" fmla="*/ 8140 w 10000"/>
                <a:gd name="connsiteY52" fmla="*/ 0 h 10000"/>
                <a:gd name="connsiteX0" fmla="*/ 8140 w 10000"/>
                <a:gd name="connsiteY0" fmla="*/ 0 h 10000"/>
                <a:gd name="connsiteX1" fmla="*/ 5814 w 10000"/>
                <a:gd name="connsiteY1" fmla="*/ 5429 h 10000"/>
                <a:gd name="connsiteX2" fmla="*/ 5116 w 10000"/>
                <a:gd name="connsiteY2" fmla="*/ 5571 h 10000"/>
                <a:gd name="connsiteX3" fmla="*/ 4884 w 10000"/>
                <a:gd name="connsiteY3" fmla="*/ 6429 h 10000"/>
                <a:gd name="connsiteX4" fmla="*/ 4651 w 10000"/>
                <a:gd name="connsiteY4" fmla="*/ 6857 h 10000"/>
                <a:gd name="connsiteX5" fmla="*/ 5349 w 10000"/>
                <a:gd name="connsiteY5" fmla="*/ 7429 h 10000"/>
                <a:gd name="connsiteX6" fmla="*/ 5349 w 10000"/>
                <a:gd name="connsiteY6" fmla="*/ 7714 h 10000"/>
                <a:gd name="connsiteX7" fmla="*/ 3953 w 10000"/>
                <a:gd name="connsiteY7" fmla="*/ 7286 h 10000"/>
                <a:gd name="connsiteX8" fmla="*/ 2558 w 10000"/>
                <a:gd name="connsiteY8" fmla="*/ 6857 h 10000"/>
                <a:gd name="connsiteX9" fmla="*/ 1395 w 10000"/>
                <a:gd name="connsiteY9" fmla="*/ 6857 h 10000"/>
                <a:gd name="connsiteX10" fmla="*/ 1395 w 10000"/>
                <a:gd name="connsiteY10" fmla="*/ 7429 h 10000"/>
                <a:gd name="connsiteX11" fmla="*/ 0 w 10000"/>
                <a:gd name="connsiteY11" fmla="*/ 7571 h 10000"/>
                <a:gd name="connsiteX12" fmla="*/ 0 w 10000"/>
                <a:gd name="connsiteY12" fmla="*/ 9143 h 10000"/>
                <a:gd name="connsiteX13" fmla="*/ 465 w 10000"/>
                <a:gd name="connsiteY13" fmla="*/ 9714 h 10000"/>
                <a:gd name="connsiteX14" fmla="*/ 1395 w 10000"/>
                <a:gd name="connsiteY14" fmla="*/ 9714 h 10000"/>
                <a:gd name="connsiteX15" fmla="*/ 1860 w 10000"/>
                <a:gd name="connsiteY15" fmla="*/ 9857 h 10000"/>
                <a:gd name="connsiteX16" fmla="*/ 1628 w 10000"/>
                <a:gd name="connsiteY16" fmla="*/ 9857 h 10000"/>
                <a:gd name="connsiteX17" fmla="*/ 2093 w 10000"/>
                <a:gd name="connsiteY17" fmla="*/ 10000 h 10000"/>
                <a:gd name="connsiteX18" fmla="*/ 2558 w 10000"/>
                <a:gd name="connsiteY18" fmla="*/ 9857 h 10000"/>
                <a:gd name="connsiteX19" fmla="*/ 3488 w 10000"/>
                <a:gd name="connsiteY19" fmla="*/ 10000 h 10000"/>
                <a:gd name="connsiteX20" fmla="*/ 4186 w 10000"/>
                <a:gd name="connsiteY20" fmla="*/ 9571 h 10000"/>
                <a:gd name="connsiteX21" fmla="*/ 5116 w 10000"/>
                <a:gd name="connsiteY21" fmla="*/ 9000 h 10000"/>
                <a:gd name="connsiteX22" fmla="*/ 5814 w 10000"/>
                <a:gd name="connsiteY22" fmla="*/ 8857 h 10000"/>
                <a:gd name="connsiteX23" fmla="*/ 5581 w 10000"/>
                <a:gd name="connsiteY23" fmla="*/ 8857 h 10000"/>
                <a:gd name="connsiteX24" fmla="*/ 5581 w 10000"/>
                <a:gd name="connsiteY24" fmla="*/ 8714 h 10000"/>
                <a:gd name="connsiteX25" fmla="*/ 7674 w 10000"/>
                <a:gd name="connsiteY25" fmla="*/ 8143 h 10000"/>
                <a:gd name="connsiteX26" fmla="*/ 8605 w 10000"/>
                <a:gd name="connsiteY26" fmla="*/ 8429 h 10000"/>
                <a:gd name="connsiteX27" fmla="*/ 9070 w 10000"/>
                <a:gd name="connsiteY27" fmla="*/ 8857 h 10000"/>
                <a:gd name="connsiteX28" fmla="*/ 9302 w 10000"/>
                <a:gd name="connsiteY28" fmla="*/ 9143 h 10000"/>
                <a:gd name="connsiteX29" fmla="*/ 10000 w 10000"/>
                <a:gd name="connsiteY29" fmla="*/ 8857 h 10000"/>
                <a:gd name="connsiteX30" fmla="*/ 10000 w 10000"/>
                <a:gd name="connsiteY30" fmla="*/ 8429 h 10000"/>
                <a:gd name="connsiteX31" fmla="*/ 9302 w 10000"/>
                <a:gd name="connsiteY31" fmla="*/ 7714 h 10000"/>
                <a:gd name="connsiteX32" fmla="*/ 9302 w 10000"/>
                <a:gd name="connsiteY32" fmla="*/ 7000 h 10000"/>
                <a:gd name="connsiteX33" fmla="*/ 9535 w 10000"/>
                <a:gd name="connsiteY33" fmla="*/ 7000 h 10000"/>
                <a:gd name="connsiteX34" fmla="*/ 9070 w 10000"/>
                <a:gd name="connsiteY34" fmla="*/ 6286 h 10000"/>
                <a:gd name="connsiteX35" fmla="*/ 8837 w 10000"/>
                <a:gd name="connsiteY35" fmla="*/ 6000 h 10000"/>
                <a:gd name="connsiteX36" fmla="*/ 7674 w 10000"/>
                <a:gd name="connsiteY36" fmla="*/ 5857 h 10000"/>
                <a:gd name="connsiteX37" fmla="*/ 6512 w 10000"/>
                <a:gd name="connsiteY37" fmla="*/ 5571 h 10000"/>
                <a:gd name="connsiteX38" fmla="*/ 6047 w 10000"/>
                <a:gd name="connsiteY38" fmla="*/ 4857 h 10000"/>
                <a:gd name="connsiteX39" fmla="*/ 5581 w 10000"/>
                <a:gd name="connsiteY39" fmla="*/ 3714 h 10000"/>
                <a:gd name="connsiteX40" fmla="*/ 6047 w 10000"/>
                <a:gd name="connsiteY40" fmla="*/ 3286 h 10000"/>
                <a:gd name="connsiteX41" fmla="*/ 5814 w 10000"/>
                <a:gd name="connsiteY41" fmla="*/ 2286 h 10000"/>
                <a:gd name="connsiteX42" fmla="*/ 6977 w 10000"/>
                <a:gd name="connsiteY42" fmla="*/ 2286 h 10000"/>
                <a:gd name="connsiteX43" fmla="*/ 7442 w 10000"/>
                <a:gd name="connsiteY43" fmla="*/ 2857 h 10000"/>
                <a:gd name="connsiteX44" fmla="*/ 8372 w 10000"/>
                <a:gd name="connsiteY44" fmla="*/ 2857 h 10000"/>
                <a:gd name="connsiteX45" fmla="*/ 8372 w 10000"/>
                <a:gd name="connsiteY45" fmla="*/ 2429 h 10000"/>
                <a:gd name="connsiteX46" fmla="*/ 8605 w 10000"/>
                <a:gd name="connsiteY46" fmla="*/ 2143 h 10000"/>
                <a:gd name="connsiteX47" fmla="*/ 8837 w 10000"/>
                <a:gd name="connsiteY47" fmla="*/ 2286 h 10000"/>
                <a:gd name="connsiteX48" fmla="*/ 8605 w 10000"/>
                <a:gd name="connsiteY48" fmla="*/ 1429 h 10000"/>
                <a:gd name="connsiteX49" fmla="*/ 9070 w 10000"/>
                <a:gd name="connsiteY49" fmla="*/ 857 h 10000"/>
                <a:gd name="connsiteX50" fmla="*/ 9070 w 10000"/>
                <a:gd name="connsiteY50" fmla="*/ 286 h 10000"/>
                <a:gd name="connsiteX51" fmla="*/ 8140 w 10000"/>
                <a:gd name="connsiteY51" fmla="*/ 0 h 10000"/>
                <a:gd name="connsiteX0" fmla="*/ 9070 w 10000"/>
                <a:gd name="connsiteY0" fmla="*/ 0 h 9714"/>
                <a:gd name="connsiteX1" fmla="*/ 5814 w 10000"/>
                <a:gd name="connsiteY1" fmla="*/ 5143 h 9714"/>
                <a:gd name="connsiteX2" fmla="*/ 5116 w 10000"/>
                <a:gd name="connsiteY2" fmla="*/ 5285 h 9714"/>
                <a:gd name="connsiteX3" fmla="*/ 4884 w 10000"/>
                <a:gd name="connsiteY3" fmla="*/ 6143 h 9714"/>
                <a:gd name="connsiteX4" fmla="*/ 4651 w 10000"/>
                <a:gd name="connsiteY4" fmla="*/ 6571 h 9714"/>
                <a:gd name="connsiteX5" fmla="*/ 5349 w 10000"/>
                <a:gd name="connsiteY5" fmla="*/ 7143 h 9714"/>
                <a:gd name="connsiteX6" fmla="*/ 5349 w 10000"/>
                <a:gd name="connsiteY6" fmla="*/ 7428 h 9714"/>
                <a:gd name="connsiteX7" fmla="*/ 3953 w 10000"/>
                <a:gd name="connsiteY7" fmla="*/ 7000 h 9714"/>
                <a:gd name="connsiteX8" fmla="*/ 2558 w 10000"/>
                <a:gd name="connsiteY8" fmla="*/ 6571 h 9714"/>
                <a:gd name="connsiteX9" fmla="*/ 1395 w 10000"/>
                <a:gd name="connsiteY9" fmla="*/ 6571 h 9714"/>
                <a:gd name="connsiteX10" fmla="*/ 1395 w 10000"/>
                <a:gd name="connsiteY10" fmla="*/ 7143 h 9714"/>
                <a:gd name="connsiteX11" fmla="*/ 0 w 10000"/>
                <a:gd name="connsiteY11" fmla="*/ 7285 h 9714"/>
                <a:gd name="connsiteX12" fmla="*/ 0 w 10000"/>
                <a:gd name="connsiteY12" fmla="*/ 8857 h 9714"/>
                <a:gd name="connsiteX13" fmla="*/ 465 w 10000"/>
                <a:gd name="connsiteY13" fmla="*/ 9428 h 9714"/>
                <a:gd name="connsiteX14" fmla="*/ 1395 w 10000"/>
                <a:gd name="connsiteY14" fmla="*/ 9428 h 9714"/>
                <a:gd name="connsiteX15" fmla="*/ 1860 w 10000"/>
                <a:gd name="connsiteY15" fmla="*/ 9571 h 9714"/>
                <a:gd name="connsiteX16" fmla="*/ 1628 w 10000"/>
                <a:gd name="connsiteY16" fmla="*/ 9571 h 9714"/>
                <a:gd name="connsiteX17" fmla="*/ 2093 w 10000"/>
                <a:gd name="connsiteY17" fmla="*/ 9714 h 9714"/>
                <a:gd name="connsiteX18" fmla="*/ 2558 w 10000"/>
                <a:gd name="connsiteY18" fmla="*/ 9571 h 9714"/>
                <a:gd name="connsiteX19" fmla="*/ 3488 w 10000"/>
                <a:gd name="connsiteY19" fmla="*/ 9714 h 9714"/>
                <a:gd name="connsiteX20" fmla="*/ 4186 w 10000"/>
                <a:gd name="connsiteY20" fmla="*/ 9285 h 9714"/>
                <a:gd name="connsiteX21" fmla="*/ 5116 w 10000"/>
                <a:gd name="connsiteY21" fmla="*/ 8714 h 9714"/>
                <a:gd name="connsiteX22" fmla="*/ 5814 w 10000"/>
                <a:gd name="connsiteY22" fmla="*/ 8571 h 9714"/>
                <a:gd name="connsiteX23" fmla="*/ 5581 w 10000"/>
                <a:gd name="connsiteY23" fmla="*/ 8571 h 9714"/>
                <a:gd name="connsiteX24" fmla="*/ 5581 w 10000"/>
                <a:gd name="connsiteY24" fmla="*/ 8428 h 9714"/>
                <a:gd name="connsiteX25" fmla="*/ 7674 w 10000"/>
                <a:gd name="connsiteY25" fmla="*/ 7857 h 9714"/>
                <a:gd name="connsiteX26" fmla="*/ 8605 w 10000"/>
                <a:gd name="connsiteY26" fmla="*/ 8143 h 9714"/>
                <a:gd name="connsiteX27" fmla="*/ 9070 w 10000"/>
                <a:gd name="connsiteY27" fmla="*/ 8571 h 9714"/>
                <a:gd name="connsiteX28" fmla="*/ 9302 w 10000"/>
                <a:gd name="connsiteY28" fmla="*/ 8857 h 9714"/>
                <a:gd name="connsiteX29" fmla="*/ 10000 w 10000"/>
                <a:gd name="connsiteY29" fmla="*/ 8571 h 9714"/>
                <a:gd name="connsiteX30" fmla="*/ 10000 w 10000"/>
                <a:gd name="connsiteY30" fmla="*/ 8143 h 9714"/>
                <a:gd name="connsiteX31" fmla="*/ 9302 w 10000"/>
                <a:gd name="connsiteY31" fmla="*/ 7428 h 9714"/>
                <a:gd name="connsiteX32" fmla="*/ 9302 w 10000"/>
                <a:gd name="connsiteY32" fmla="*/ 6714 h 9714"/>
                <a:gd name="connsiteX33" fmla="*/ 9535 w 10000"/>
                <a:gd name="connsiteY33" fmla="*/ 6714 h 9714"/>
                <a:gd name="connsiteX34" fmla="*/ 9070 w 10000"/>
                <a:gd name="connsiteY34" fmla="*/ 6000 h 9714"/>
                <a:gd name="connsiteX35" fmla="*/ 8837 w 10000"/>
                <a:gd name="connsiteY35" fmla="*/ 5714 h 9714"/>
                <a:gd name="connsiteX36" fmla="*/ 7674 w 10000"/>
                <a:gd name="connsiteY36" fmla="*/ 5571 h 9714"/>
                <a:gd name="connsiteX37" fmla="*/ 6512 w 10000"/>
                <a:gd name="connsiteY37" fmla="*/ 5285 h 9714"/>
                <a:gd name="connsiteX38" fmla="*/ 6047 w 10000"/>
                <a:gd name="connsiteY38" fmla="*/ 4571 h 9714"/>
                <a:gd name="connsiteX39" fmla="*/ 5581 w 10000"/>
                <a:gd name="connsiteY39" fmla="*/ 3428 h 9714"/>
                <a:gd name="connsiteX40" fmla="*/ 6047 w 10000"/>
                <a:gd name="connsiteY40" fmla="*/ 3000 h 9714"/>
                <a:gd name="connsiteX41" fmla="*/ 5814 w 10000"/>
                <a:gd name="connsiteY41" fmla="*/ 2000 h 9714"/>
                <a:gd name="connsiteX42" fmla="*/ 6977 w 10000"/>
                <a:gd name="connsiteY42" fmla="*/ 2000 h 9714"/>
                <a:gd name="connsiteX43" fmla="*/ 7442 w 10000"/>
                <a:gd name="connsiteY43" fmla="*/ 2571 h 9714"/>
                <a:gd name="connsiteX44" fmla="*/ 8372 w 10000"/>
                <a:gd name="connsiteY44" fmla="*/ 2571 h 9714"/>
                <a:gd name="connsiteX45" fmla="*/ 8372 w 10000"/>
                <a:gd name="connsiteY45" fmla="*/ 2143 h 9714"/>
                <a:gd name="connsiteX46" fmla="*/ 8605 w 10000"/>
                <a:gd name="connsiteY46" fmla="*/ 1857 h 9714"/>
                <a:gd name="connsiteX47" fmla="*/ 8837 w 10000"/>
                <a:gd name="connsiteY47" fmla="*/ 2000 h 9714"/>
                <a:gd name="connsiteX48" fmla="*/ 8605 w 10000"/>
                <a:gd name="connsiteY48" fmla="*/ 1143 h 9714"/>
                <a:gd name="connsiteX49" fmla="*/ 9070 w 10000"/>
                <a:gd name="connsiteY49" fmla="*/ 571 h 9714"/>
                <a:gd name="connsiteX50" fmla="*/ 9070 w 10000"/>
                <a:gd name="connsiteY50" fmla="*/ 0 h 9714"/>
                <a:gd name="connsiteX0" fmla="*/ 9070 w 10000"/>
                <a:gd name="connsiteY0" fmla="*/ 0 h 9412"/>
                <a:gd name="connsiteX1" fmla="*/ 5814 w 10000"/>
                <a:gd name="connsiteY1" fmla="*/ 4706 h 9412"/>
                <a:gd name="connsiteX2" fmla="*/ 5116 w 10000"/>
                <a:gd name="connsiteY2" fmla="*/ 4853 h 9412"/>
                <a:gd name="connsiteX3" fmla="*/ 4884 w 10000"/>
                <a:gd name="connsiteY3" fmla="*/ 5736 h 9412"/>
                <a:gd name="connsiteX4" fmla="*/ 4651 w 10000"/>
                <a:gd name="connsiteY4" fmla="*/ 6176 h 9412"/>
                <a:gd name="connsiteX5" fmla="*/ 5349 w 10000"/>
                <a:gd name="connsiteY5" fmla="*/ 6765 h 9412"/>
                <a:gd name="connsiteX6" fmla="*/ 5349 w 10000"/>
                <a:gd name="connsiteY6" fmla="*/ 7059 h 9412"/>
                <a:gd name="connsiteX7" fmla="*/ 3953 w 10000"/>
                <a:gd name="connsiteY7" fmla="*/ 6618 h 9412"/>
                <a:gd name="connsiteX8" fmla="*/ 2558 w 10000"/>
                <a:gd name="connsiteY8" fmla="*/ 6176 h 9412"/>
                <a:gd name="connsiteX9" fmla="*/ 1395 w 10000"/>
                <a:gd name="connsiteY9" fmla="*/ 6176 h 9412"/>
                <a:gd name="connsiteX10" fmla="*/ 1395 w 10000"/>
                <a:gd name="connsiteY10" fmla="*/ 6765 h 9412"/>
                <a:gd name="connsiteX11" fmla="*/ 0 w 10000"/>
                <a:gd name="connsiteY11" fmla="*/ 6911 h 9412"/>
                <a:gd name="connsiteX12" fmla="*/ 0 w 10000"/>
                <a:gd name="connsiteY12" fmla="*/ 8530 h 9412"/>
                <a:gd name="connsiteX13" fmla="*/ 465 w 10000"/>
                <a:gd name="connsiteY13" fmla="*/ 9118 h 9412"/>
                <a:gd name="connsiteX14" fmla="*/ 1395 w 10000"/>
                <a:gd name="connsiteY14" fmla="*/ 9118 h 9412"/>
                <a:gd name="connsiteX15" fmla="*/ 1860 w 10000"/>
                <a:gd name="connsiteY15" fmla="*/ 9265 h 9412"/>
                <a:gd name="connsiteX16" fmla="*/ 1628 w 10000"/>
                <a:gd name="connsiteY16" fmla="*/ 9265 h 9412"/>
                <a:gd name="connsiteX17" fmla="*/ 2093 w 10000"/>
                <a:gd name="connsiteY17" fmla="*/ 9412 h 9412"/>
                <a:gd name="connsiteX18" fmla="*/ 2558 w 10000"/>
                <a:gd name="connsiteY18" fmla="*/ 9265 h 9412"/>
                <a:gd name="connsiteX19" fmla="*/ 3488 w 10000"/>
                <a:gd name="connsiteY19" fmla="*/ 9412 h 9412"/>
                <a:gd name="connsiteX20" fmla="*/ 4186 w 10000"/>
                <a:gd name="connsiteY20" fmla="*/ 8970 h 9412"/>
                <a:gd name="connsiteX21" fmla="*/ 5116 w 10000"/>
                <a:gd name="connsiteY21" fmla="*/ 8383 h 9412"/>
                <a:gd name="connsiteX22" fmla="*/ 5814 w 10000"/>
                <a:gd name="connsiteY22" fmla="*/ 8235 h 9412"/>
                <a:gd name="connsiteX23" fmla="*/ 5581 w 10000"/>
                <a:gd name="connsiteY23" fmla="*/ 8235 h 9412"/>
                <a:gd name="connsiteX24" fmla="*/ 5581 w 10000"/>
                <a:gd name="connsiteY24" fmla="*/ 8088 h 9412"/>
                <a:gd name="connsiteX25" fmla="*/ 7674 w 10000"/>
                <a:gd name="connsiteY25" fmla="*/ 7500 h 9412"/>
                <a:gd name="connsiteX26" fmla="*/ 8605 w 10000"/>
                <a:gd name="connsiteY26" fmla="*/ 7795 h 9412"/>
                <a:gd name="connsiteX27" fmla="*/ 9070 w 10000"/>
                <a:gd name="connsiteY27" fmla="*/ 8235 h 9412"/>
                <a:gd name="connsiteX28" fmla="*/ 9302 w 10000"/>
                <a:gd name="connsiteY28" fmla="*/ 8530 h 9412"/>
                <a:gd name="connsiteX29" fmla="*/ 10000 w 10000"/>
                <a:gd name="connsiteY29" fmla="*/ 8235 h 9412"/>
                <a:gd name="connsiteX30" fmla="*/ 10000 w 10000"/>
                <a:gd name="connsiteY30" fmla="*/ 7795 h 9412"/>
                <a:gd name="connsiteX31" fmla="*/ 9302 w 10000"/>
                <a:gd name="connsiteY31" fmla="*/ 7059 h 9412"/>
                <a:gd name="connsiteX32" fmla="*/ 9302 w 10000"/>
                <a:gd name="connsiteY32" fmla="*/ 6324 h 9412"/>
                <a:gd name="connsiteX33" fmla="*/ 9535 w 10000"/>
                <a:gd name="connsiteY33" fmla="*/ 6324 h 9412"/>
                <a:gd name="connsiteX34" fmla="*/ 9070 w 10000"/>
                <a:gd name="connsiteY34" fmla="*/ 5589 h 9412"/>
                <a:gd name="connsiteX35" fmla="*/ 8837 w 10000"/>
                <a:gd name="connsiteY35" fmla="*/ 5294 h 9412"/>
                <a:gd name="connsiteX36" fmla="*/ 7674 w 10000"/>
                <a:gd name="connsiteY36" fmla="*/ 5147 h 9412"/>
                <a:gd name="connsiteX37" fmla="*/ 6512 w 10000"/>
                <a:gd name="connsiteY37" fmla="*/ 4853 h 9412"/>
                <a:gd name="connsiteX38" fmla="*/ 6047 w 10000"/>
                <a:gd name="connsiteY38" fmla="*/ 4118 h 9412"/>
                <a:gd name="connsiteX39" fmla="*/ 5581 w 10000"/>
                <a:gd name="connsiteY39" fmla="*/ 2941 h 9412"/>
                <a:gd name="connsiteX40" fmla="*/ 6047 w 10000"/>
                <a:gd name="connsiteY40" fmla="*/ 2500 h 9412"/>
                <a:gd name="connsiteX41" fmla="*/ 5814 w 10000"/>
                <a:gd name="connsiteY41" fmla="*/ 1471 h 9412"/>
                <a:gd name="connsiteX42" fmla="*/ 6977 w 10000"/>
                <a:gd name="connsiteY42" fmla="*/ 1471 h 9412"/>
                <a:gd name="connsiteX43" fmla="*/ 7442 w 10000"/>
                <a:gd name="connsiteY43" fmla="*/ 2059 h 9412"/>
                <a:gd name="connsiteX44" fmla="*/ 8372 w 10000"/>
                <a:gd name="connsiteY44" fmla="*/ 2059 h 9412"/>
                <a:gd name="connsiteX45" fmla="*/ 8372 w 10000"/>
                <a:gd name="connsiteY45" fmla="*/ 1618 h 9412"/>
                <a:gd name="connsiteX46" fmla="*/ 8605 w 10000"/>
                <a:gd name="connsiteY46" fmla="*/ 1324 h 9412"/>
                <a:gd name="connsiteX47" fmla="*/ 8837 w 10000"/>
                <a:gd name="connsiteY47" fmla="*/ 1471 h 9412"/>
                <a:gd name="connsiteX48" fmla="*/ 8605 w 10000"/>
                <a:gd name="connsiteY48" fmla="*/ 589 h 9412"/>
                <a:gd name="connsiteX49" fmla="*/ 9070 w 10000"/>
                <a:gd name="connsiteY49" fmla="*/ 0 h 9412"/>
                <a:gd name="connsiteX0" fmla="*/ 8605 w 10000"/>
                <a:gd name="connsiteY0" fmla="*/ 0 h 9374"/>
                <a:gd name="connsiteX1" fmla="*/ 5814 w 10000"/>
                <a:gd name="connsiteY1" fmla="*/ 4374 h 9374"/>
                <a:gd name="connsiteX2" fmla="*/ 5116 w 10000"/>
                <a:gd name="connsiteY2" fmla="*/ 4530 h 9374"/>
                <a:gd name="connsiteX3" fmla="*/ 4884 w 10000"/>
                <a:gd name="connsiteY3" fmla="*/ 5468 h 9374"/>
                <a:gd name="connsiteX4" fmla="*/ 4651 w 10000"/>
                <a:gd name="connsiteY4" fmla="*/ 5936 h 9374"/>
                <a:gd name="connsiteX5" fmla="*/ 5349 w 10000"/>
                <a:gd name="connsiteY5" fmla="*/ 6562 h 9374"/>
                <a:gd name="connsiteX6" fmla="*/ 5349 w 10000"/>
                <a:gd name="connsiteY6" fmla="*/ 6874 h 9374"/>
                <a:gd name="connsiteX7" fmla="*/ 3953 w 10000"/>
                <a:gd name="connsiteY7" fmla="*/ 6405 h 9374"/>
                <a:gd name="connsiteX8" fmla="*/ 2558 w 10000"/>
                <a:gd name="connsiteY8" fmla="*/ 5936 h 9374"/>
                <a:gd name="connsiteX9" fmla="*/ 1395 w 10000"/>
                <a:gd name="connsiteY9" fmla="*/ 5936 h 9374"/>
                <a:gd name="connsiteX10" fmla="*/ 1395 w 10000"/>
                <a:gd name="connsiteY10" fmla="*/ 6562 h 9374"/>
                <a:gd name="connsiteX11" fmla="*/ 0 w 10000"/>
                <a:gd name="connsiteY11" fmla="*/ 6717 h 9374"/>
                <a:gd name="connsiteX12" fmla="*/ 0 w 10000"/>
                <a:gd name="connsiteY12" fmla="*/ 8437 h 9374"/>
                <a:gd name="connsiteX13" fmla="*/ 465 w 10000"/>
                <a:gd name="connsiteY13" fmla="*/ 9062 h 9374"/>
                <a:gd name="connsiteX14" fmla="*/ 1395 w 10000"/>
                <a:gd name="connsiteY14" fmla="*/ 9062 h 9374"/>
                <a:gd name="connsiteX15" fmla="*/ 1860 w 10000"/>
                <a:gd name="connsiteY15" fmla="*/ 9218 h 9374"/>
                <a:gd name="connsiteX16" fmla="*/ 1628 w 10000"/>
                <a:gd name="connsiteY16" fmla="*/ 9218 h 9374"/>
                <a:gd name="connsiteX17" fmla="*/ 2093 w 10000"/>
                <a:gd name="connsiteY17" fmla="*/ 9374 h 9374"/>
                <a:gd name="connsiteX18" fmla="*/ 2558 w 10000"/>
                <a:gd name="connsiteY18" fmla="*/ 9218 h 9374"/>
                <a:gd name="connsiteX19" fmla="*/ 3488 w 10000"/>
                <a:gd name="connsiteY19" fmla="*/ 9374 h 9374"/>
                <a:gd name="connsiteX20" fmla="*/ 4186 w 10000"/>
                <a:gd name="connsiteY20" fmla="*/ 8904 h 9374"/>
                <a:gd name="connsiteX21" fmla="*/ 5116 w 10000"/>
                <a:gd name="connsiteY21" fmla="*/ 8281 h 9374"/>
                <a:gd name="connsiteX22" fmla="*/ 5814 w 10000"/>
                <a:gd name="connsiteY22" fmla="*/ 8123 h 9374"/>
                <a:gd name="connsiteX23" fmla="*/ 5581 w 10000"/>
                <a:gd name="connsiteY23" fmla="*/ 8123 h 9374"/>
                <a:gd name="connsiteX24" fmla="*/ 5581 w 10000"/>
                <a:gd name="connsiteY24" fmla="*/ 7967 h 9374"/>
                <a:gd name="connsiteX25" fmla="*/ 7674 w 10000"/>
                <a:gd name="connsiteY25" fmla="*/ 7343 h 9374"/>
                <a:gd name="connsiteX26" fmla="*/ 8605 w 10000"/>
                <a:gd name="connsiteY26" fmla="*/ 7656 h 9374"/>
                <a:gd name="connsiteX27" fmla="*/ 9070 w 10000"/>
                <a:gd name="connsiteY27" fmla="*/ 8123 h 9374"/>
                <a:gd name="connsiteX28" fmla="*/ 9302 w 10000"/>
                <a:gd name="connsiteY28" fmla="*/ 8437 h 9374"/>
                <a:gd name="connsiteX29" fmla="*/ 10000 w 10000"/>
                <a:gd name="connsiteY29" fmla="*/ 8123 h 9374"/>
                <a:gd name="connsiteX30" fmla="*/ 10000 w 10000"/>
                <a:gd name="connsiteY30" fmla="*/ 7656 h 9374"/>
                <a:gd name="connsiteX31" fmla="*/ 9302 w 10000"/>
                <a:gd name="connsiteY31" fmla="*/ 6874 h 9374"/>
                <a:gd name="connsiteX32" fmla="*/ 9302 w 10000"/>
                <a:gd name="connsiteY32" fmla="*/ 6093 h 9374"/>
                <a:gd name="connsiteX33" fmla="*/ 9535 w 10000"/>
                <a:gd name="connsiteY33" fmla="*/ 6093 h 9374"/>
                <a:gd name="connsiteX34" fmla="*/ 9070 w 10000"/>
                <a:gd name="connsiteY34" fmla="*/ 5312 h 9374"/>
                <a:gd name="connsiteX35" fmla="*/ 8837 w 10000"/>
                <a:gd name="connsiteY35" fmla="*/ 4999 h 9374"/>
                <a:gd name="connsiteX36" fmla="*/ 7674 w 10000"/>
                <a:gd name="connsiteY36" fmla="*/ 4843 h 9374"/>
                <a:gd name="connsiteX37" fmla="*/ 6512 w 10000"/>
                <a:gd name="connsiteY37" fmla="*/ 4530 h 9374"/>
                <a:gd name="connsiteX38" fmla="*/ 6047 w 10000"/>
                <a:gd name="connsiteY38" fmla="*/ 3749 h 9374"/>
                <a:gd name="connsiteX39" fmla="*/ 5581 w 10000"/>
                <a:gd name="connsiteY39" fmla="*/ 2499 h 9374"/>
                <a:gd name="connsiteX40" fmla="*/ 6047 w 10000"/>
                <a:gd name="connsiteY40" fmla="*/ 2030 h 9374"/>
                <a:gd name="connsiteX41" fmla="*/ 5814 w 10000"/>
                <a:gd name="connsiteY41" fmla="*/ 937 h 9374"/>
                <a:gd name="connsiteX42" fmla="*/ 6977 w 10000"/>
                <a:gd name="connsiteY42" fmla="*/ 937 h 9374"/>
                <a:gd name="connsiteX43" fmla="*/ 7442 w 10000"/>
                <a:gd name="connsiteY43" fmla="*/ 1562 h 9374"/>
                <a:gd name="connsiteX44" fmla="*/ 8372 w 10000"/>
                <a:gd name="connsiteY44" fmla="*/ 1562 h 9374"/>
                <a:gd name="connsiteX45" fmla="*/ 8372 w 10000"/>
                <a:gd name="connsiteY45" fmla="*/ 1093 h 9374"/>
                <a:gd name="connsiteX46" fmla="*/ 8605 w 10000"/>
                <a:gd name="connsiteY46" fmla="*/ 781 h 9374"/>
                <a:gd name="connsiteX47" fmla="*/ 8837 w 10000"/>
                <a:gd name="connsiteY47" fmla="*/ 937 h 9374"/>
                <a:gd name="connsiteX48" fmla="*/ 8605 w 10000"/>
                <a:gd name="connsiteY48" fmla="*/ 0 h 9374"/>
                <a:gd name="connsiteX0" fmla="*/ 8837 w 10000"/>
                <a:gd name="connsiteY0" fmla="*/ 320 h 9320"/>
                <a:gd name="connsiteX1" fmla="*/ 5814 w 10000"/>
                <a:gd name="connsiteY1" fmla="*/ 3986 h 9320"/>
                <a:gd name="connsiteX2" fmla="*/ 5116 w 10000"/>
                <a:gd name="connsiteY2" fmla="*/ 4153 h 9320"/>
                <a:gd name="connsiteX3" fmla="*/ 4884 w 10000"/>
                <a:gd name="connsiteY3" fmla="*/ 5153 h 9320"/>
                <a:gd name="connsiteX4" fmla="*/ 4651 w 10000"/>
                <a:gd name="connsiteY4" fmla="*/ 5652 h 9320"/>
                <a:gd name="connsiteX5" fmla="*/ 5349 w 10000"/>
                <a:gd name="connsiteY5" fmla="*/ 6320 h 9320"/>
                <a:gd name="connsiteX6" fmla="*/ 5349 w 10000"/>
                <a:gd name="connsiteY6" fmla="*/ 6653 h 9320"/>
                <a:gd name="connsiteX7" fmla="*/ 3953 w 10000"/>
                <a:gd name="connsiteY7" fmla="*/ 6153 h 9320"/>
                <a:gd name="connsiteX8" fmla="*/ 2558 w 10000"/>
                <a:gd name="connsiteY8" fmla="*/ 5652 h 9320"/>
                <a:gd name="connsiteX9" fmla="*/ 1395 w 10000"/>
                <a:gd name="connsiteY9" fmla="*/ 5652 h 9320"/>
                <a:gd name="connsiteX10" fmla="*/ 1395 w 10000"/>
                <a:gd name="connsiteY10" fmla="*/ 6320 h 9320"/>
                <a:gd name="connsiteX11" fmla="*/ 0 w 10000"/>
                <a:gd name="connsiteY11" fmla="*/ 6486 h 9320"/>
                <a:gd name="connsiteX12" fmla="*/ 0 w 10000"/>
                <a:gd name="connsiteY12" fmla="*/ 8320 h 9320"/>
                <a:gd name="connsiteX13" fmla="*/ 465 w 10000"/>
                <a:gd name="connsiteY13" fmla="*/ 8987 h 9320"/>
                <a:gd name="connsiteX14" fmla="*/ 1395 w 10000"/>
                <a:gd name="connsiteY14" fmla="*/ 8987 h 9320"/>
                <a:gd name="connsiteX15" fmla="*/ 1860 w 10000"/>
                <a:gd name="connsiteY15" fmla="*/ 9154 h 9320"/>
                <a:gd name="connsiteX16" fmla="*/ 1628 w 10000"/>
                <a:gd name="connsiteY16" fmla="*/ 9154 h 9320"/>
                <a:gd name="connsiteX17" fmla="*/ 2093 w 10000"/>
                <a:gd name="connsiteY17" fmla="*/ 9320 h 9320"/>
                <a:gd name="connsiteX18" fmla="*/ 2558 w 10000"/>
                <a:gd name="connsiteY18" fmla="*/ 9154 h 9320"/>
                <a:gd name="connsiteX19" fmla="*/ 3488 w 10000"/>
                <a:gd name="connsiteY19" fmla="*/ 9320 h 9320"/>
                <a:gd name="connsiteX20" fmla="*/ 4186 w 10000"/>
                <a:gd name="connsiteY20" fmla="*/ 8819 h 9320"/>
                <a:gd name="connsiteX21" fmla="*/ 5116 w 10000"/>
                <a:gd name="connsiteY21" fmla="*/ 8154 h 9320"/>
                <a:gd name="connsiteX22" fmla="*/ 5814 w 10000"/>
                <a:gd name="connsiteY22" fmla="*/ 7985 h 9320"/>
                <a:gd name="connsiteX23" fmla="*/ 5581 w 10000"/>
                <a:gd name="connsiteY23" fmla="*/ 7985 h 9320"/>
                <a:gd name="connsiteX24" fmla="*/ 5581 w 10000"/>
                <a:gd name="connsiteY24" fmla="*/ 7819 h 9320"/>
                <a:gd name="connsiteX25" fmla="*/ 7674 w 10000"/>
                <a:gd name="connsiteY25" fmla="*/ 7153 h 9320"/>
                <a:gd name="connsiteX26" fmla="*/ 8605 w 10000"/>
                <a:gd name="connsiteY26" fmla="*/ 7487 h 9320"/>
                <a:gd name="connsiteX27" fmla="*/ 9070 w 10000"/>
                <a:gd name="connsiteY27" fmla="*/ 7985 h 9320"/>
                <a:gd name="connsiteX28" fmla="*/ 9302 w 10000"/>
                <a:gd name="connsiteY28" fmla="*/ 8320 h 9320"/>
                <a:gd name="connsiteX29" fmla="*/ 10000 w 10000"/>
                <a:gd name="connsiteY29" fmla="*/ 7985 h 9320"/>
                <a:gd name="connsiteX30" fmla="*/ 10000 w 10000"/>
                <a:gd name="connsiteY30" fmla="*/ 7487 h 9320"/>
                <a:gd name="connsiteX31" fmla="*/ 9302 w 10000"/>
                <a:gd name="connsiteY31" fmla="*/ 6653 h 9320"/>
                <a:gd name="connsiteX32" fmla="*/ 9302 w 10000"/>
                <a:gd name="connsiteY32" fmla="*/ 5820 h 9320"/>
                <a:gd name="connsiteX33" fmla="*/ 9535 w 10000"/>
                <a:gd name="connsiteY33" fmla="*/ 5820 h 9320"/>
                <a:gd name="connsiteX34" fmla="*/ 9070 w 10000"/>
                <a:gd name="connsiteY34" fmla="*/ 4987 h 9320"/>
                <a:gd name="connsiteX35" fmla="*/ 8837 w 10000"/>
                <a:gd name="connsiteY35" fmla="*/ 4653 h 9320"/>
                <a:gd name="connsiteX36" fmla="*/ 7674 w 10000"/>
                <a:gd name="connsiteY36" fmla="*/ 4486 h 9320"/>
                <a:gd name="connsiteX37" fmla="*/ 6512 w 10000"/>
                <a:gd name="connsiteY37" fmla="*/ 4153 h 9320"/>
                <a:gd name="connsiteX38" fmla="*/ 6047 w 10000"/>
                <a:gd name="connsiteY38" fmla="*/ 3319 h 9320"/>
                <a:gd name="connsiteX39" fmla="*/ 5581 w 10000"/>
                <a:gd name="connsiteY39" fmla="*/ 1986 h 9320"/>
                <a:gd name="connsiteX40" fmla="*/ 6047 w 10000"/>
                <a:gd name="connsiteY40" fmla="*/ 1486 h 9320"/>
                <a:gd name="connsiteX41" fmla="*/ 5814 w 10000"/>
                <a:gd name="connsiteY41" fmla="*/ 320 h 9320"/>
                <a:gd name="connsiteX42" fmla="*/ 6977 w 10000"/>
                <a:gd name="connsiteY42" fmla="*/ 320 h 9320"/>
                <a:gd name="connsiteX43" fmla="*/ 7442 w 10000"/>
                <a:gd name="connsiteY43" fmla="*/ 986 h 9320"/>
                <a:gd name="connsiteX44" fmla="*/ 8372 w 10000"/>
                <a:gd name="connsiteY44" fmla="*/ 986 h 9320"/>
                <a:gd name="connsiteX45" fmla="*/ 8372 w 10000"/>
                <a:gd name="connsiteY45" fmla="*/ 486 h 9320"/>
                <a:gd name="connsiteX46" fmla="*/ 8605 w 10000"/>
                <a:gd name="connsiteY46" fmla="*/ 153 h 9320"/>
                <a:gd name="connsiteX47" fmla="*/ 8837 w 10000"/>
                <a:gd name="connsiteY47" fmla="*/ 320 h 9320"/>
                <a:gd name="connsiteX0" fmla="*/ 8837 w 10000"/>
                <a:gd name="connsiteY0" fmla="*/ 0 h 9657"/>
                <a:gd name="connsiteX1" fmla="*/ 5814 w 10000"/>
                <a:gd name="connsiteY1" fmla="*/ 3934 h 9657"/>
                <a:gd name="connsiteX2" fmla="*/ 5116 w 10000"/>
                <a:gd name="connsiteY2" fmla="*/ 4113 h 9657"/>
                <a:gd name="connsiteX3" fmla="*/ 4884 w 10000"/>
                <a:gd name="connsiteY3" fmla="*/ 5186 h 9657"/>
                <a:gd name="connsiteX4" fmla="*/ 4651 w 10000"/>
                <a:gd name="connsiteY4" fmla="*/ 5721 h 9657"/>
                <a:gd name="connsiteX5" fmla="*/ 5349 w 10000"/>
                <a:gd name="connsiteY5" fmla="*/ 6438 h 9657"/>
                <a:gd name="connsiteX6" fmla="*/ 5349 w 10000"/>
                <a:gd name="connsiteY6" fmla="*/ 6795 h 9657"/>
                <a:gd name="connsiteX7" fmla="*/ 3953 w 10000"/>
                <a:gd name="connsiteY7" fmla="*/ 6259 h 9657"/>
                <a:gd name="connsiteX8" fmla="*/ 2558 w 10000"/>
                <a:gd name="connsiteY8" fmla="*/ 5721 h 9657"/>
                <a:gd name="connsiteX9" fmla="*/ 1395 w 10000"/>
                <a:gd name="connsiteY9" fmla="*/ 5721 h 9657"/>
                <a:gd name="connsiteX10" fmla="*/ 1395 w 10000"/>
                <a:gd name="connsiteY10" fmla="*/ 6438 h 9657"/>
                <a:gd name="connsiteX11" fmla="*/ 0 w 10000"/>
                <a:gd name="connsiteY11" fmla="*/ 6616 h 9657"/>
                <a:gd name="connsiteX12" fmla="*/ 0 w 10000"/>
                <a:gd name="connsiteY12" fmla="*/ 8584 h 9657"/>
                <a:gd name="connsiteX13" fmla="*/ 465 w 10000"/>
                <a:gd name="connsiteY13" fmla="*/ 9300 h 9657"/>
                <a:gd name="connsiteX14" fmla="*/ 1395 w 10000"/>
                <a:gd name="connsiteY14" fmla="*/ 9300 h 9657"/>
                <a:gd name="connsiteX15" fmla="*/ 1860 w 10000"/>
                <a:gd name="connsiteY15" fmla="*/ 9479 h 9657"/>
                <a:gd name="connsiteX16" fmla="*/ 1628 w 10000"/>
                <a:gd name="connsiteY16" fmla="*/ 9479 h 9657"/>
                <a:gd name="connsiteX17" fmla="*/ 2093 w 10000"/>
                <a:gd name="connsiteY17" fmla="*/ 9657 h 9657"/>
                <a:gd name="connsiteX18" fmla="*/ 2558 w 10000"/>
                <a:gd name="connsiteY18" fmla="*/ 9479 h 9657"/>
                <a:gd name="connsiteX19" fmla="*/ 3488 w 10000"/>
                <a:gd name="connsiteY19" fmla="*/ 9657 h 9657"/>
                <a:gd name="connsiteX20" fmla="*/ 4186 w 10000"/>
                <a:gd name="connsiteY20" fmla="*/ 9119 h 9657"/>
                <a:gd name="connsiteX21" fmla="*/ 5116 w 10000"/>
                <a:gd name="connsiteY21" fmla="*/ 8406 h 9657"/>
                <a:gd name="connsiteX22" fmla="*/ 5814 w 10000"/>
                <a:gd name="connsiteY22" fmla="*/ 8225 h 9657"/>
                <a:gd name="connsiteX23" fmla="*/ 5581 w 10000"/>
                <a:gd name="connsiteY23" fmla="*/ 8225 h 9657"/>
                <a:gd name="connsiteX24" fmla="*/ 5581 w 10000"/>
                <a:gd name="connsiteY24" fmla="*/ 8046 h 9657"/>
                <a:gd name="connsiteX25" fmla="*/ 7674 w 10000"/>
                <a:gd name="connsiteY25" fmla="*/ 7332 h 9657"/>
                <a:gd name="connsiteX26" fmla="*/ 8605 w 10000"/>
                <a:gd name="connsiteY26" fmla="*/ 7690 h 9657"/>
                <a:gd name="connsiteX27" fmla="*/ 9070 w 10000"/>
                <a:gd name="connsiteY27" fmla="*/ 8225 h 9657"/>
                <a:gd name="connsiteX28" fmla="*/ 9302 w 10000"/>
                <a:gd name="connsiteY28" fmla="*/ 8584 h 9657"/>
                <a:gd name="connsiteX29" fmla="*/ 10000 w 10000"/>
                <a:gd name="connsiteY29" fmla="*/ 8225 h 9657"/>
                <a:gd name="connsiteX30" fmla="*/ 10000 w 10000"/>
                <a:gd name="connsiteY30" fmla="*/ 7690 h 9657"/>
                <a:gd name="connsiteX31" fmla="*/ 9302 w 10000"/>
                <a:gd name="connsiteY31" fmla="*/ 6795 h 9657"/>
                <a:gd name="connsiteX32" fmla="*/ 9302 w 10000"/>
                <a:gd name="connsiteY32" fmla="*/ 5902 h 9657"/>
                <a:gd name="connsiteX33" fmla="*/ 9535 w 10000"/>
                <a:gd name="connsiteY33" fmla="*/ 5902 h 9657"/>
                <a:gd name="connsiteX34" fmla="*/ 9070 w 10000"/>
                <a:gd name="connsiteY34" fmla="*/ 5008 h 9657"/>
                <a:gd name="connsiteX35" fmla="*/ 8837 w 10000"/>
                <a:gd name="connsiteY35" fmla="*/ 4649 h 9657"/>
                <a:gd name="connsiteX36" fmla="*/ 7674 w 10000"/>
                <a:gd name="connsiteY36" fmla="*/ 4470 h 9657"/>
                <a:gd name="connsiteX37" fmla="*/ 6512 w 10000"/>
                <a:gd name="connsiteY37" fmla="*/ 4113 h 9657"/>
                <a:gd name="connsiteX38" fmla="*/ 6047 w 10000"/>
                <a:gd name="connsiteY38" fmla="*/ 3218 h 9657"/>
                <a:gd name="connsiteX39" fmla="*/ 5581 w 10000"/>
                <a:gd name="connsiteY39" fmla="*/ 1788 h 9657"/>
                <a:gd name="connsiteX40" fmla="*/ 6047 w 10000"/>
                <a:gd name="connsiteY40" fmla="*/ 1251 h 9657"/>
                <a:gd name="connsiteX41" fmla="*/ 5814 w 10000"/>
                <a:gd name="connsiteY41" fmla="*/ 0 h 9657"/>
                <a:gd name="connsiteX42" fmla="*/ 6977 w 10000"/>
                <a:gd name="connsiteY42" fmla="*/ 0 h 9657"/>
                <a:gd name="connsiteX43" fmla="*/ 7442 w 10000"/>
                <a:gd name="connsiteY43" fmla="*/ 715 h 9657"/>
                <a:gd name="connsiteX44" fmla="*/ 8372 w 10000"/>
                <a:gd name="connsiteY44" fmla="*/ 715 h 9657"/>
                <a:gd name="connsiteX45" fmla="*/ 8372 w 10000"/>
                <a:gd name="connsiteY45" fmla="*/ 178 h 9657"/>
                <a:gd name="connsiteX46" fmla="*/ 8837 w 10000"/>
                <a:gd name="connsiteY46" fmla="*/ 0 h 9657"/>
                <a:gd name="connsiteX0" fmla="*/ 8837 w 10000"/>
                <a:gd name="connsiteY0" fmla="*/ 0 h 10000"/>
                <a:gd name="connsiteX1" fmla="*/ 5814 w 10000"/>
                <a:gd name="connsiteY1" fmla="*/ 4074 h 10000"/>
                <a:gd name="connsiteX2" fmla="*/ 5116 w 10000"/>
                <a:gd name="connsiteY2" fmla="*/ 4259 h 10000"/>
                <a:gd name="connsiteX3" fmla="*/ 4884 w 10000"/>
                <a:gd name="connsiteY3" fmla="*/ 5370 h 10000"/>
                <a:gd name="connsiteX4" fmla="*/ 4651 w 10000"/>
                <a:gd name="connsiteY4" fmla="*/ 5924 h 10000"/>
                <a:gd name="connsiteX5" fmla="*/ 5349 w 10000"/>
                <a:gd name="connsiteY5" fmla="*/ 6667 h 10000"/>
                <a:gd name="connsiteX6" fmla="*/ 5349 w 10000"/>
                <a:gd name="connsiteY6" fmla="*/ 7036 h 10000"/>
                <a:gd name="connsiteX7" fmla="*/ 3953 w 10000"/>
                <a:gd name="connsiteY7" fmla="*/ 6481 h 10000"/>
                <a:gd name="connsiteX8" fmla="*/ 2558 w 10000"/>
                <a:gd name="connsiteY8" fmla="*/ 5924 h 10000"/>
                <a:gd name="connsiteX9" fmla="*/ 1395 w 10000"/>
                <a:gd name="connsiteY9" fmla="*/ 5924 h 10000"/>
                <a:gd name="connsiteX10" fmla="*/ 1395 w 10000"/>
                <a:gd name="connsiteY10" fmla="*/ 6667 h 10000"/>
                <a:gd name="connsiteX11" fmla="*/ 0 w 10000"/>
                <a:gd name="connsiteY11" fmla="*/ 6851 h 10000"/>
                <a:gd name="connsiteX12" fmla="*/ 0 w 10000"/>
                <a:gd name="connsiteY12" fmla="*/ 8889 h 10000"/>
                <a:gd name="connsiteX13" fmla="*/ 465 w 10000"/>
                <a:gd name="connsiteY13" fmla="*/ 9630 h 10000"/>
                <a:gd name="connsiteX14" fmla="*/ 1395 w 10000"/>
                <a:gd name="connsiteY14" fmla="*/ 9630 h 10000"/>
                <a:gd name="connsiteX15" fmla="*/ 1860 w 10000"/>
                <a:gd name="connsiteY15" fmla="*/ 9816 h 10000"/>
                <a:gd name="connsiteX16" fmla="*/ 1628 w 10000"/>
                <a:gd name="connsiteY16" fmla="*/ 9816 h 10000"/>
                <a:gd name="connsiteX17" fmla="*/ 2093 w 10000"/>
                <a:gd name="connsiteY17" fmla="*/ 10000 h 10000"/>
                <a:gd name="connsiteX18" fmla="*/ 2558 w 10000"/>
                <a:gd name="connsiteY18" fmla="*/ 9816 h 10000"/>
                <a:gd name="connsiteX19" fmla="*/ 3488 w 10000"/>
                <a:gd name="connsiteY19" fmla="*/ 10000 h 10000"/>
                <a:gd name="connsiteX20" fmla="*/ 4186 w 10000"/>
                <a:gd name="connsiteY20" fmla="*/ 9443 h 10000"/>
                <a:gd name="connsiteX21" fmla="*/ 5116 w 10000"/>
                <a:gd name="connsiteY21" fmla="*/ 8705 h 10000"/>
                <a:gd name="connsiteX22" fmla="*/ 5814 w 10000"/>
                <a:gd name="connsiteY22" fmla="*/ 8517 h 10000"/>
                <a:gd name="connsiteX23" fmla="*/ 5581 w 10000"/>
                <a:gd name="connsiteY23" fmla="*/ 8517 h 10000"/>
                <a:gd name="connsiteX24" fmla="*/ 5581 w 10000"/>
                <a:gd name="connsiteY24" fmla="*/ 8332 h 10000"/>
                <a:gd name="connsiteX25" fmla="*/ 7674 w 10000"/>
                <a:gd name="connsiteY25" fmla="*/ 7592 h 10000"/>
                <a:gd name="connsiteX26" fmla="*/ 8605 w 10000"/>
                <a:gd name="connsiteY26" fmla="*/ 7963 h 10000"/>
                <a:gd name="connsiteX27" fmla="*/ 9070 w 10000"/>
                <a:gd name="connsiteY27" fmla="*/ 8517 h 10000"/>
                <a:gd name="connsiteX28" fmla="*/ 9302 w 10000"/>
                <a:gd name="connsiteY28" fmla="*/ 8889 h 10000"/>
                <a:gd name="connsiteX29" fmla="*/ 10000 w 10000"/>
                <a:gd name="connsiteY29" fmla="*/ 8517 h 10000"/>
                <a:gd name="connsiteX30" fmla="*/ 10000 w 10000"/>
                <a:gd name="connsiteY30" fmla="*/ 7963 h 10000"/>
                <a:gd name="connsiteX31" fmla="*/ 9302 w 10000"/>
                <a:gd name="connsiteY31" fmla="*/ 7036 h 10000"/>
                <a:gd name="connsiteX32" fmla="*/ 9302 w 10000"/>
                <a:gd name="connsiteY32" fmla="*/ 6112 h 10000"/>
                <a:gd name="connsiteX33" fmla="*/ 9535 w 10000"/>
                <a:gd name="connsiteY33" fmla="*/ 6112 h 10000"/>
                <a:gd name="connsiteX34" fmla="*/ 9070 w 10000"/>
                <a:gd name="connsiteY34" fmla="*/ 5186 h 10000"/>
                <a:gd name="connsiteX35" fmla="*/ 8837 w 10000"/>
                <a:gd name="connsiteY35" fmla="*/ 4814 h 10000"/>
                <a:gd name="connsiteX36" fmla="*/ 7674 w 10000"/>
                <a:gd name="connsiteY36" fmla="*/ 4629 h 10000"/>
                <a:gd name="connsiteX37" fmla="*/ 6512 w 10000"/>
                <a:gd name="connsiteY37" fmla="*/ 4259 h 10000"/>
                <a:gd name="connsiteX38" fmla="*/ 6047 w 10000"/>
                <a:gd name="connsiteY38" fmla="*/ 3332 h 10000"/>
                <a:gd name="connsiteX39" fmla="*/ 5581 w 10000"/>
                <a:gd name="connsiteY39" fmla="*/ 1852 h 10000"/>
                <a:gd name="connsiteX40" fmla="*/ 6047 w 10000"/>
                <a:gd name="connsiteY40" fmla="*/ 1295 h 10000"/>
                <a:gd name="connsiteX41" fmla="*/ 5814 w 10000"/>
                <a:gd name="connsiteY41" fmla="*/ 0 h 10000"/>
                <a:gd name="connsiteX42" fmla="*/ 6977 w 10000"/>
                <a:gd name="connsiteY42" fmla="*/ 0 h 10000"/>
                <a:gd name="connsiteX43" fmla="*/ 7442 w 10000"/>
                <a:gd name="connsiteY43" fmla="*/ 740 h 10000"/>
                <a:gd name="connsiteX44" fmla="*/ 8372 w 10000"/>
                <a:gd name="connsiteY44" fmla="*/ 740 h 10000"/>
                <a:gd name="connsiteX45" fmla="*/ 8837 w 10000"/>
                <a:gd name="connsiteY45" fmla="*/ 0 h 10000"/>
                <a:gd name="connsiteX0" fmla="*/ 8837 w 10000"/>
                <a:gd name="connsiteY0" fmla="*/ 0 h 10000"/>
                <a:gd name="connsiteX1" fmla="*/ 5814 w 10000"/>
                <a:gd name="connsiteY1" fmla="*/ 4074 h 10000"/>
                <a:gd name="connsiteX2" fmla="*/ 5116 w 10000"/>
                <a:gd name="connsiteY2" fmla="*/ 4259 h 10000"/>
                <a:gd name="connsiteX3" fmla="*/ 4884 w 10000"/>
                <a:gd name="connsiteY3" fmla="*/ 5370 h 10000"/>
                <a:gd name="connsiteX4" fmla="*/ 4651 w 10000"/>
                <a:gd name="connsiteY4" fmla="*/ 5924 h 10000"/>
                <a:gd name="connsiteX5" fmla="*/ 5349 w 10000"/>
                <a:gd name="connsiteY5" fmla="*/ 6667 h 10000"/>
                <a:gd name="connsiteX6" fmla="*/ 5349 w 10000"/>
                <a:gd name="connsiteY6" fmla="*/ 7036 h 10000"/>
                <a:gd name="connsiteX7" fmla="*/ 3953 w 10000"/>
                <a:gd name="connsiteY7" fmla="*/ 6481 h 10000"/>
                <a:gd name="connsiteX8" fmla="*/ 2558 w 10000"/>
                <a:gd name="connsiteY8" fmla="*/ 5924 h 10000"/>
                <a:gd name="connsiteX9" fmla="*/ 1395 w 10000"/>
                <a:gd name="connsiteY9" fmla="*/ 5924 h 10000"/>
                <a:gd name="connsiteX10" fmla="*/ 1395 w 10000"/>
                <a:gd name="connsiteY10" fmla="*/ 6667 h 10000"/>
                <a:gd name="connsiteX11" fmla="*/ 0 w 10000"/>
                <a:gd name="connsiteY11" fmla="*/ 6851 h 10000"/>
                <a:gd name="connsiteX12" fmla="*/ 0 w 10000"/>
                <a:gd name="connsiteY12" fmla="*/ 8889 h 10000"/>
                <a:gd name="connsiteX13" fmla="*/ 465 w 10000"/>
                <a:gd name="connsiteY13" fmla="*/ 9630 h 10000"/>
                <a:gd name="connsiteX14" fmla="*/ 1395 w 10000"/>
                <a:gd name="connsiteY14" fmla="*/ 9630 h 10000"/>
                <a:gd name="connsiteX15" fmla="*/ 1860 w 10000"/>
                <a:gd name="connsiteY15" fmla="*/ 9816 h 10000"/>
                <a:gd name="connsiteX16" fmla="*/ 1628 w 10000"/>
                <a:gd name="connsiteY16" fmla="*/ 9816 h 10000"/>
                <a:gd name="connsiteX17" fmla="*/ 2093 w 10000"/>
                <a:gd name="connsiteY17" fmla="*/ 10000 h 10000"/>
                <a:gd name="connsiteX18" fmla="*/ 2558 w 10000"/>
                <a:gd name="connsiteY18" fmla="*/ 9816 h 10000"/>
                <a:gd name="connsiteX19" fmla="*/ 3488 w 10000"/>
                <a:gd name="connsiteY19" fmla="*/ 10000 h 10000"/>
                <a:gd name="connsiteX20" fmla="*/ 4186 w 10000"/>
                <a:gd name="connsiteY20" fmla="*/ 9443 h 10000"/>
                <a:gd name="connsiteX21" fmla="*/ 5116 w 10000"/>
                <a:gd name="connsiteY21" fmla="*/ 8705 h 10000"/>
                <a:gd name="connsiteX22" fmla="*/ 5814 w 10000"/>
                <a:gd name="connsiteY22" fmla="*/ 8517 h 10000"/>
                <a:gd name="connsiteX23" fmla="*/ 5581 w 10000"/>
                <a:gd name="connsiteY23" fmla="*/ 8517 h 10000"/>
                <a:gd name="connsiteX24" fmla="*/ 5581 w 10000"/>
                <a:gd name="connsiteY24" fmla="*/ 8332 h 10000"/>
                <a:gd name="connsiteX25" fmla="*/ 7674 w 10000"/>
                <a:gd name="connsiteY25" fmla="*/ 7592 h 10000"/>
                <a:gd name="connsiteX26" fmla="*/ 8605 w 10000"/>
                <a:gd name="connsiteY26" fmla="*/ 7963 h 10000"/>
                <a:gd name="connsiteX27" fmla="*/ 9070 w 10000"/>
                <a:gd name="connsiteY27" fmla="*/ 8517 h 10000"/>
                <a:gd name="connsiteX28" fmla="*/ 9302 w 10000"/>
                <a:gd name="connsiteY28" fmla="*/ 8889 h 10000"/>
                <a:gd name="connsiteX29" fmla="*/ 10000 w 10000"/>
                <a:gd name="connsiteY29" fmla="*/ 8517 h 10000"/>
                <a:gd name="connsiteX30" fmla="*/ 10000 w 10000"/>
                <a:gd name="connsiteY30" fmla="*/ 7963 h 10000"/>
                <a:gd name="connsiteX31" fmla="*/ 9302 w 10000"/>
                <a:gd name="connsiteY31" fmla="*/ 7036 h 10000"/>
                <a:gd name="connsiteX32" fmla="*/ 9302 w 10000"/>
                <a:gd name="connsiteY32" fmla="*/ 6112 h 10000"/>
                <a:gd name="connsiteX33" fmla="*/ 9535 w 10000"/>
                <a:gd name="connsiteY33" fmla="*/ 6112 h 10000"/>
                <a:gd name="connsiteX34" fmla="*/ 9070 w 10000"/>
                <a:gd name="connsiteY34" fmla="*/ 5186 h 10000"/>
                <a:gd name="connsiteX35" fmla="*/ 8837 w 10000"/>
                <a:gd name="connsiteY35" fmla="*/ 4814 h 10000"/>
                <a:gd name="connsiteX36" fmla="*/ 7674 w 10000"/>
                <a:gd name="connsiteY36" fmla="*/ 4629 h 10000"/>
                <a:gd name="connsiteX37" fmla="*/ 6512 w 10000"/>
                <a:gd name="connsiteY37" fmla="*/ 4259 h 10000"/>
                <a:gd name="connsiteX38" fmla="*/ 6047 w 10000"/>
                <a:gd name="connsiteY38" fmla="*/ 3332 h 10000"/>
                <a:gd name="connsiteX39" fmla="*/ 5581 w 10000"/>
                <a:gd name="connsiteY39" fmla="*/ 1852 h 10000"/>
                <a:gd name="connsiteX40" fmla="*/ 6047 w 10000"/>
                <a:gd name="connsiteY40" fmla="*/ 1295 h 10000"/>
                <a:gd name="connsiteX41" fmla="*/ 5814 w 10000"/>
                <a:gd name="connsiteY41" fmla="*/ 0 h 10000"/>
                <a:gd name="connsiteX42" fmla="*/ 6977 w 10000"/>
                <a:gd name="connsiteY42" fmla="*/ 0 h 10000"/>
                <a:gd name="connsiteX43" fmla="*/ 7442 w 10000"/>
                <a:gd name="connsiteY43" fmla="*/ 740 h 10000"/>
                <a:gd name="connsiteX44" fmla="*/ 8837 w 10000"/>
                <a:gd name="connsiteY44" fmla="*/ 0 h 10000"/>
                <a:gd name="connsiteX0" fmla="*/ 7442 w 10000"/>
                <a:gd name="connsiteY0" fmla="*/ 740 h 10000"/>
                <a:gd name="connsiteX1" fmla="*/ 5814 w 10000"/>
                <a:gd name="connsiteY1" fmla="*/ 4074 h 10000"/>
                <a:gd name="connsiteX2" fmla="*/ 5116 w 10000"/>
                <a:gd name="connsiteY2" fmla="*/ 4259 h 10000"/>
                <a:gd name="connsiteX3" fmla="*/ 4884 w 10000"/>
                <a:gd name="connsiteY3" fmla="*/ 5370 h 10000"/>
                <a:gd name="connsiteX4" fmla="*/ 4651 w 10000"/>
                <a:gd name="connsiteY4" fmla="*/ 5924 h 10000"/>
                <a:gd name="connsiteX5" fmla="*/ 5349 w 10000"/>
                <a:gd name="connsiteY5" fmla="*/ 6667 h 10000"/>
                <a:gd name="connsiteX6" fmla="*/ 5349 w 10000"/>
                <a:gd name="connsiteY6" fmla="*/ 7036 h 10000"/>
                <a:gd name="connsiteX7" fmla="*/ 3953 w 10000"/>
                <a:gd name="connsiteY7" fmla="*/ 6481 h 10000"/>
                <a:gd name="connsiteX8" fmla="*/ 2558 w 10000"/>
                <a:gd name="connsiteY8" fmla="*/ 5924 h 10000"/>
                <a:gd name="connsiteX9" fmla="*/ 1395 w 10000"/>
                <a:gd name="connsiteY9" fmla="*/ 5924 h 10000"/>
                <a:gd name="connsiteX10" fmla="*/ 1395 w 10000"/>
                <a:gd name="connsiteY10" fmla="*/ 6667 h 10000"/>
                <a:gd name="connsiteX11" fmla="*/ 0 w 10000"/>
                <a:gd name="connsiteY11" fmla="*/ 6851 h 10000"/>
                <a:gd name="connsiteX12" fmla="*/ 0 w 10000"/>
                <a:gd name="connsiteY12" fmla="*/ 8889 h 10000"/>
                <a:gd name="connsiteX13" fmla="*/ 465 w 10000"/>
                <a:gd name="connsiteY13" fmla="*/ 9630 h 10000"/>
                <a:gd name="connsiteX14" fmla="*/ 1395 w 10000"/>
                <a:gd name="connsiteY14" fmla="*/ 9630 h 10000"/>
                <a:gd name="connsiteX15" fmla="*/ 1860 w 10000"/>
                <a:gd name="connsiteY15" fmla="*/ 9816 h 10000"/>
                <a:gd name="connsiteX16" fmla="*/ 1628 w 10000"/>
                <a:gd name="connsiteY16" fmla="*/ 9816 h 10000"/>
                <a:gd name="connsiteX17" fmla="*/ 2093 w 10000"/>
                <a:gd name="connsiteY17" fmla="*/ 10000 h 10000"/>
                <a:gd name="connsiteX18" fmla="*/ 2558 w 10000"/>
                <a:gd name="connsiteY18" fmla="*/ 9816 h 10000"/>
                <a:gd name="connsiteX19" fmla="*/ 3488 w 10000"/>
                <a:gd name="connsiteY19" fmla="*/ 10000 h 10000"/>
                <a:gd name="connsiteX20" fmla="*/ 4186 w 10000"/>
                <a:gd name="connsiteY20" fmla="*/ 9443 h 10000"/>
                <a:gd name="connsiteX21" fmla="*/ 5116 w 10000"/>
                <a:gd name="connsiteY21" fmla="*/ 8705 h 10000"/>
                <a:gd name="connsiteX22" fmla="*/ 5814 w 10000"/>
                <a:gd name="connsiteY22" fmla="*/ 8517 h 10000"/>
                <a:gd name="connsiteX23" fmla="*/ 5581 w 10000"/>
                <a:gd name="connsiteY23" fmla="*/ 8517 h 10000"/>
                <a:gd name="connsiteX24" fmla="*/ 5581 w 10000"/>
                <a:gd name="connsiteY24" fmla="*/ 8332 h 10000"/>
                <a:gd name="connsiteX25" fmla="*/ 7674 w 10000"/>
                <a:gd name="connsiteY25" fmla="*/ 7592 h 10000"/>
                <a:gd name="connsiteX26" fmla="*/ 8605 w 10000"/>
                <a:gd name="connsiteY26" fmla="*/ 7963 h 10000"/>
                <a:gd name="connsiteX27" fmla="*/ 9070 w 10000"/>
                <a:gd name="connsiteY27" fmla="*/ 8517 h 10000"/>
                <a:gd name="connsiteX28" fmla="*/ 9302 w 10000"/>
                <a:gd name="connsiteY28" fmla="*/ 8889 h 10000"/>
                <a:gd name="connsiteX29" fmla="*/ 10000 w 10000"/>
                <a:gd name="connsiteY29" fmla="*/ 8517 h 10000"/>
                <a:gd name="connsiteX30" fmla="*/ 10000 w 10000"/>
                <a:gd name="connsiteY30" fmla="*/ 7963 h 10000"/>
                <a:gd name="connsiteX31" fmla="*/ 9302 w 10000"/>
                <a:gd name="connsiteY31" fmla="*/ 7036 h 10000"/>
                <a:gd name="connsiteX32" fmla="*/ 9302 w 10000"/>
                <a:gd name="connsiteY32" fmla="*/ 6112 h 10000"/>
                <a:gd name="connsiteX33" fmla="*/ 9535 w 10000"/>
                <a:gd name="connsiteY33" fmla="*/ 6112 h 10000"/>
                <a:gd name="connsiteX34" fmla="*/ 9070 w 10000"/>
                <a:gd name="connsiteY34" fmla="*/ 5186 h 10000"/>
                <a:gd name="connsiteX35" fmla="*/ 8837 w 10000"/>
                <a:gd name="connsiteY35" fmla="*/ 4814 h 10000"/>
                <a:gd name="connsiteX36" fmla="*/ 7674 w 10000"/>
                <a:gd name="connsiteY36" fmla="*/ 4629 h 10000"/>
                <a:gd name="connsiteX37" fmla="*/ 6512 w 10000"/>
                <a:gd name="connsiteY37" fmla="*/ 4259 h 10000"/>
                <a:gd name="connsiteX38" fmla="*/ 6047 w 10000"/>
                <a:gd name="connsiteY38" fmla="*/ 3332 h 10000"/>
                <a:gd name="connsiteX39" fmla="*/ 5581 w 10000"/>
                <a:gd name="connsiteY39" fmla="*/ 1852 h 10000"/>
                <a:gd name="connsiteX40" fmla="*/ 6047 w 10000"/>
                <a:gd name="connsiteY40" fmla="*/ 1295 h 10000"/>
                <a:gd name="connsiteX41" fmla="*/ 5814 w 10000"/>
                <a:gd name="connsiteY41" fmla="*/ 0 h 10000"/>
                <a:gd name="connsiteX42" fmla="*/ 6977 w 10000"/>
                <a:gd name="connsiteY42" fmla="*/ 0 h 10000"/>
                <a:gd name="connsiteX43" fmla="*/ 7442 w 10000"/>
                <a:gd name="connsiteY43" fmla="*/ 740 h 10000"/>
                <a:gd name="connsiteX0" fmla="*/ 6977 w 10000"/>
                <a:gd name="connsiteY0" fmla="*/ 0 h 10000"/>
                <a:gd name="connsiteX1" fmla="*/ 5814 w 10000"/>
                <a:gd name="connsiteY1" fmla="*/ 4074 h 10000"/>
                <a:gd name="connsiteX2" fmla="*/ 5116 w 10000"/>
                <a:gd name="connsiteY2" fmla="*/ 4259 h 10000"/>
                <a:gd name="connsiteX3" fmla="*/ 4884 w 10000"/>
                <a:gd name="connsiteY3" fmla="*/ 5370 h 10000"/>
                <a:gd name="connsiteX4" fmla="*/ 4651 w 10000"/>
                <a:gd name="connsiteY4" fmla="*/ 5924 h 10000"/>
                <a:gd name="connsiteX5" fmla="*/ 5349 w 10000"/>
                <a:gd name="connsiteY5" fmla="*/ 6667 h 10000"/>
                <a:gd name="connsiteX6" fmla="*/ 5349 w 10000"/>
                <a:gd name="connsiteY6" fmla="*/ 7036 h 10000"/>
                <a:gd name="connsiteX7" fmla="*/ 3953 w 10000"/>
                <a:gd name="connsiteY7" fmla="*/ 6481 h 10000"/>
                <a:gd name="connsiteX8" fmla="*/ 2558 w 10000"/>
                <a:gd name="connsiteY8" fmla="*/ 5924 h 10000"/>
                <a:gd name="connsiteX9" fmla="*/ 1395 w 10000"/>
                <a:gd name="connsiteY9" fmla="*/ 5924 h 10000"/>
                <a:gd name="connsiteX10" fmla="*/ 1395 w 10000"/>
                <a:gd name="connsiteY10" fmla="*/ 6667 h 10000"/>
                <a:gd name="connsiteX11" fmla="*/ 0 w 10000"/>
                <a:gd name="connsiteY11" fmla="*/ 6851 h 10000"/>
                <a:gd name="connsiteX12" fmla="*/ 0 w 10000"/>
                <a:gd name="connsiteY12" fmla="*/ 8889 h 10000"/>
                <a:gd name="connsiteX13" fmla="*/ 465 w 10000"/>
                <a:gd name="connsiteY13" fmla="*/ 9630 h 10000"/>
                <a:gd name="connsiteX14" fmla="*/ 1395 w 10000"/>
                <a:gd name="connsiteY14" fmla="*/ 9630 h 10000"/>
                <a:gd name="connsiteX15" fmla="*/ 1860 w 10000"/>
                <a:gd name="connsiteY15" fmla="*/ 9816 h 10000"/>
                <a:gd name="connsiteX16" fmla="*/ 1628 w 10000"/>
                <a:gd name="connsiteY16" fmla="*/ 9816 h 10000"/>
                <a:gd name="connsiteX17" fmla="*/ 2093 w 10000"/>
                <a:gd name="connsiteY17" fmla="*/ 10000 h 10000"/>
                <a:gd name="connsiteX18" fmla="*/ 2558 w 10000"/>
                <a:gd name="connsiteY18" fmla="*/ 9816 h 10000"/>
                <a:gd name="connsiteX19" fmla="*/ 3488 w 10000"/>
                <a:gd name="connsiteY19" fmla="*/ 10000 h 10000"/>
                <a:gd name="connsiteX20" fmla="*/ 4186 w 10000"/>
                <a:gd name="connsiteY20" fmla="*/ 9443 h 10000"/>
                <a:gd name="connsiteX21" fmla="*/ 5116 w 10000"/>
                <a:gd name="connsiteY21" fmla="*/ 8705 h 10000"/>
                <a:gd name="connsiteX22" fmla="*/ 5814 w 10000"/>
                <a:gd name="connsiteY22" fmla="*/ 8517 h 10000"/>
                <a:gd name="connsiteX23" fmla="*/ 5581 w 10000"/>
                <a:gd name="connsiteY23" fmla="*/ 8517 h 10000"/>
                <a:gd name="connsiteX24" fmla="*/ 5581 w 10000"/>
                <a:gd name="connsiteY24" fmla="*/ 8332 h 10000"/>
                <a:gd name="connsiteX25" fmla="*/ 7674 w 10000"/>
                <a:gd name="connsiteY25" fmla="*/ 7592 h 10000"/>
                <a:gd name="connsiteX26" fmla="*/ 8605 w 10000"/>
                <a:gd name="connsiteY26" fmla="*/ 7963 h 10000"/>
                <a:gd name="connsiteX27" fmla="*/ 9070 w 10000"/>
                <a:gd name="connsiteY27" fmla="*/ 8517 h 10000"/>
                <a:gd name="connsiteX28" fmla="*/ 9302 w 10000"/>
                <a:gd name="connsiteY28" fmla="*/ 8889 h 10000"/>
                <a:gd name="connsiteX29" fmla="*/ 10000 w 10000"/>
                <a:gd name="connsiteY29" fmla="*/ 8517 h 10000"/>
                <a:gd name="connsiteX30" fmla="*/ 10000 w 10000"/>
                <a:gd name="connsiteY30" fmla="*/ 7963 h 10000"/>
                <a:gd name="connsiteX31" fmla="*/ 9302 w 10000"/>
                <a:gd name="connsiteY31" fmla="*/ 7036 h 10000"/>
                <a:gd name="connsiteX32" fmla="*/ 9302 w 10000"/>
                <a:gd name="connsiteY32" fmla="*/ 6112 h 10000"/>
                <a:gd name="connsiteX33" fmla="*/ 9535 w 10000"/>
                <a:gd name="connsiteY33" fmla="*/ 6112 h 10000"/>
                <a:gd name="connsiteX34" fmla="*/ 9070 w 10000"/>
                <a:gd name="connsiteY34" fmla="*/ 5186 h 10000"/>
                <a:gd name="connsiteX35" fmla="*/ 8837 w 10000"/>
                <a:gd name="connsiteY35" fmla="*/ 4814 h 10000"/>
                <a:gd name="connsiteX36" fmla="*/ 7674 w 10000"/>
                <a:gd name="connsiteY36" fmla="*/ 4629 h 10000"/>
                <a:gd name="connsiteX37" fmla="*/ 6512 w 10000"/>
                <a:gd name="connsiteY37" fmla="*/ 4259 h 10000"/>
                <a:gd name="connsiteX38" fmla="*/ 6047 w 10000"/>
                <a:gd name="connsiteY38" fmla="*/ 3332 h 10000"/>
                <a:gd name="connsiteX39" fmla="*/ 5581 w 10000"/>
                <a:gd name="connsiteY39" fmla="*/ 1852 h 10000"/>
                <a:gd name="connsiteX40" fmla="*/ 6047 w 10000"/>
                <a:gd name="connsiteY40" fmla="*/ 1295 h 10000"/>
                <a:gd name="connsiteX41" fmla="*/ 5814 w 10000"/>
                <a:gd name="connsiteY41" fmla="*/ 0 h 10000"/>
                <a:gd name="connsiteX42" fmla="*/ 6977 w 10000"/>
                <a:gd name="connsiteY42" fmla="*/ 0 h 10000"/>
                <a:gd name="connsiteX0" fmla="*/ 5814 w 10000"/>
                <a:gd name="connsiteY0" fmla="*/ 0 h 10000"/>
                <a:gd name="connsiteX1" fmla="*/ 5814 w 10000"/>
                <a:gd name="connsiteY1" fmla="*/ 4074 h 10000"/>
                <a:gd name="connsiteX2" fmla="*/ 5116 w 10000"/>
                <a:gd name="connsiteY2" fmla="*/ 4259 h 10000"/>
                <a:gd name="connsiteX3" fmla="*/ 4884 w 10000"/>
                <a:gd name="connsiteY3" fmla="*/ 5370 h 10000"/>
                <a:gd name="connsiteX4" fmla="*/ 4651 w 10000"/>
                <a:gd name="connsiteY4" fmla="*/ 5924 h 10000"/>
                <a:gd name="connsiteX5" fmla="*/ 5349 w 10000"/>
                <a:gd name="connsiteY5" fmla="*/ 6667 h 10000"/>
                <a:gd name="connsiteX6" fmla="*/ 5349 w 10000"/>
                <a:gd name="connsiteY6" fmla="*/ 7036 h 10000"/>
                <a:gd name="connsiteX7" fmla="*/ 3953 w 10000"/>
                <a:gd name="connsiteY7" fmla="*/ 6481 h 10000"/>
                <a:gd name="connsiteX8" fmla="*/ 2558 w 10000"/>
                <a:gd name="connsiteY8" fmla="*/ 5924 h 10000"/>
                <a:gd name="connsiteX9" fmla="*/ 1395 w 10000"/>
                <a:gd name="connsiteY9" fmla="*/ 5924 h 10000"/>
                <a:gd name="connsiteX10" fmla="*/ 1395 w 10000"/>
                <a:gd name="connsiteY10" fmla="*/ 6667 h 10000"/>
                <a:gd name="connsiteX11" fmla="*/ 0 w 10000"/>
                <a:gd name="connsiteY11" fmla="*/ 6851 h 10000"/>
                <a:gd name="connsiteX12" fmla="*/ 0 w 10000"/>
                <a:gd name="connsiteY12" fmla="*/ 8889 h 10000"/>
                <a:gd name="connsiteX13" fmla="*/ 465 w 10000"/>
                <a:gd name="connsiteY13" fmla="*/ 9630 h 10000"/>
                <a:gd name="connsiteX14" fmla="*/ 1395 w 10000"/>
                <a:gd name="connsiteY14" fmla="*/ 9630 h 10000"/>
                <a:gd name="connsiteX15" fmla="*/ 1860 w 10000"/>
                <a:gd name="connsiteY15" fmla="*/ 9816 h 10000"/>
                <a:gd name="connsiteX16" fmla="*/ 1628 w 10000"/>
                <a:gd name="connsiteY16" fmla="*/ 9816 h 10000"/>
                <a:gd name="connsiteX17" fmla="*/ 2093 w 10000"/>
                <a:gd name="connsiteY17" fmla="*/ 10000 h 10000"/>
                <a:gd name="connsiteX18" fmla="*/ 2558 w 10000"/>
                <a:gd name="connsiteY18" fmla="*/ 9816 h 10000"/>
                <a:gd name="connsiteX19" fmla="*/ 3488 w 10000"/>
                <a:gd name="connsiteY19" fmla="*/ 10000 h 10000"/>
                <a:gd name="connsiteX20" fmla="*/ 4186 w 10000"/>
                <a:gd name="connsiteY20" fmla="*/ 9443 h 10000"/>
                <a:gd name="connsiteX21" fmla="*/ 5116 w 10000"/>
                <a:gd name="connsiteY21" fmla="*/ 8705 h 10000"/>
                <a:gd name="connsiteX22" fmla="*/ 5814 w 10000"/>
                <a:gd name="connsiteY22" fmla="*/ 8517 h 10000"/>
                <a:gd name="connsiteX23" fmla="*/ 5581 w 10000"/>
                <a:gd name="connsiteY23" fmla="*/ 8517 h 10000"/>
                <a:gd name="connsiteX24" fmla="*/ 5581 w 10000"/>
                <a:gd name="connsiteY24" fmla="*/ 8332 h 10000"/>
                <a:gd name="connsiteX25" fmla="*/ 7674 w 10000"/>
                <a:gd name="connsiteY25" fmla="*/ 7592 h 10000"/>
                <a:gd name="connsiteX26" fmla="*/ 8605 w 10000"/>
                <a:gd name="connsiteY26" fmla="*/ 7963 h 10000"/>
                <a:gd name="connsiteX27" fmla="*/ 9070 w 10000"/>
                <a:gd name="connsiteY27" fmla="*/ 8517 h 10000"/>
                <a:gd name="connsiteX28" fmla="*/ 9302 w 10000"/>
                <a:gd name="connsiteY28" fmla="*/ 8889 h 10000"/>
                <a:gd name="connsiteX29" fmla="*/ 10000 w 10000"/>
                <a:gd name="connsiteY29" fmla="*/ 8517 h 10000"/>
                <a:gd name="connsiteX30" fmla="*/ 10000 w 10000"/>
                <a:gd name="connsiteY30" fmla="*/ 7963 h 10000"/>
                <a:gd name="connsiteX31" fmla="*/ 9302 w 10000"/>
                <a:gd name="connsiteY31" fmla="*/ 7036 h 10000"/>
                <a:gd name="connsiteX32" fmla="*/ 9302 w 10000"/>
                <a:gd name="connsiteY32" fmla="*/ 6112 h 10000"/>
                <a:gd name="connsiteX33" fmla="*/ 9535 w 10000"/>
                <a:gd name="connsiteY33" fmla="*/ 6112 h 10000"/>
                <a:gd name="connsiteX34" fmla="*/ 9070 w 10000"/>
                <a:gd name="connsiteY34" fmla="*/ 5186 h 10000"/>
                <a:gd name="connsiteX35" fmla="*/ 8837 w 10000"/>
                <a:gd name="connsiteY35" fmla="*/ 4814 h 10000"/>
                <a:gd name="connsiteX36" fmla="*/ 7674 w 10000"/>
                <a:gd name="connsiteY36" fmla="*/ 4629 h 10000"/>
                <a:gd name="connsiteX37" fmla="*/ 6512 w 10000"/>
                <a:gd name="connsiteY37" fmla="*/ 4259 h 10000"/>
                <a:gd name="connsiteX38" fmla="*/ 6047 w 10000"/>
                <a:gd name="connsiteY38" fmla="*/ 3332 h 10000"/>
                <a:gd name="connsiteX39" fmla="*/ 5581 w 10000"/>
                <a:gd name="connsiteY39" fmla="*/ 1852 h 10000"/>
                <a:gd name="connsiteX40" fmla="*/ 6047 w 10000"/>
                <a:gd name="connsiteY40" fmla="*/ 1295 h 10000"/>
                <a:gd name="connsiteX41" fmla="*/ 5814 w 10000"/>
                <a:gd name="connsiteY41" fmla="*/ 0 h 10000"/>
                <a:gd name="connsiteX0" fmla="*/ 6047 w 10000"/>
                <a:gd name="connsiteY0" fmla="*/ 103 h 8808"/>
                <a:gd name="connsiteX1" fmla="*/ 5814 w 10000"/>
                <a:gd name="connsiteY1" fmla="*/ 2882 h 8808"/>
                <a:gd name="connsiteX2" fmla="*/ 5116 w 10000"/>
                <a:gd name="connsiteY2" fmla="*/ 3067 h 8808"/>
                <a:gd name="connsiteX3" fmla="*/ 4884 w 10000"/>
                <a:gd name="connsiteY3" fmla="*/ 4178 h 8808"/>
                <a:gd name="connsiteX4" fmla="*/ 4651 w 10000"/>
                <a:gd name="connsiteY4" fmla="*/ 4732 h 8808"/>
                <a:gd name="connsiteX5" fmla="*/ 5349 w 10000"/>
                <a:gd name="connsiteY5" fmla="*/ 5475 h 8808"/>
                <a:gd name="connsiteX6" fmla="*/ 5349 w 10000"/>
                <a:gd name="connsiteY6" fmla="*/ 5844 h 8808"/>
                <a:gd name="connsiteX7" fmla="*/ 3953 w 10000"/>
                <a:gd name="connsiteY7" fmla="*/ 5289 h 8808"/>
                <a:gd name="connsiteX8" fmla="*/ 2558 w 10000"/>
                <a:gd name="connsiteY8" fmla="*/ 4732 h 8808"/>
                <a:gd name="connsiteX9" fmla="*/ 1395 w 10000"/>
                <a:gd name="connsiteY9" fmla="*/ 4732 h 8808"/>
                <a:gd name="connsiteX10" fmla="*/ 1395 w 10000"/>
                <a:gd name="connsiteY10" fmla="*/ 5475 h 8808"/>
                <a:gd name="connsiteX11" fmla="*/ 0 w 10000"/>
                <a:gd name="connsiteY11" fmla="*/ 5659 h 8808"/>
                <a:gd name="connsiteX12" fmla="*/ 0 w 10000"/>
                <a:gd name="connsiteY12" fmla="*/ 7697 h 8808"/>
                <a:gd name="connsiteX13" fmla="*/ 465 w 10000"/>
                <a:gd name="connsiteY13" fmla="*/ 8438 h 8808"/>
                <a:gd name="connsiteX14" fmla="*/ 1395 w 10000"/>
                <a:gd name="connsiteY14" fmla="*/ 8438 h 8808"/>
                <a:gd name="connsiteX15" fmla="*/ 1860 w 10000"/>
                <a:gd name="connsiteY15" fmla="*/ 8624 h 8808"/>
                <a:gd name="connsiteX16" fmla="*/ 1628 w 10000"/>
                <a:gd name="connsiteY16" fmla="*/ 8624 h 8808"/>
                <a:gd name="connsiteX17" fmla="*/ 2093 w 10000"/>
                <a:gd name="connsiteY17" fmla="*/ 8808 h 8808"/>
                <a:gd name="connsiteX18" fmla="*/ 2558 w 10000"/>
                <a:gd name="connsiteY18" fmla="*/ 8624 h 8808"/>
                <a:gd name="connsiteX19" fmla="*/ 3488 w 10000"/>
                <a:gd name="connsiteY19" fmla="*/ 8808 h 8808"/>
                <a:gd name="connsiteX20" fmla="*/ 4186 w 10000"/>
                <a:gd name="connsiteY20" fmla="*/ 8251 h 8808"/>
                <a:gd name="connsiteX21" fmla="*/ 5116 w 10000"/>
                <a:gd name="connsiteY21" fmla="*/ 7513 h 8808"/>
                <a:gd name="connsiteX22" fmla="*/ 5814 w 10000"/>
                <a:gd name="connsiteY22" fmla="*/ 7325 h 8808"/>
                <a:gd name="connsiteX23" fmla="*/ 5581 w 10000"/>
                <a:gd name="connsiteY23" fmla="*/ 7325 h 8808"/>
                <a:gd name="connsiteX24" fmla="*/ 5581 w 10000"/>
                <a:gd name="connsiteY24" fmla="*/ 7140 h 8808"/>
                <a:gd name="connsiteX25" fmla="*/ 7674 w 10000"/>
                <a:gd name="connsiteY25" fmla="*/ 6400 h 8808"/>
                <a:gd name="connsiteX26" fmla="*/ 8605 w 10000"/>
                <a:gd name="connsiteY26" fmla="*/ 6771 h 8808"/>
                <a:gd name="connsiteX27" fmla="*/ 9070 w 10000"/>
                <a:gd name="connsiteY27" fmla="*/ 7325 h 8808"/>
                <a:gd name="connsiteX28" fmla="*/ 9302 w 10000"/>
                <a:gd name="connsiteY28" fmla="*/ 7697 h 8808"/>
                <a:gd name="connsiteX29" fmla="*/ 10000 w 10000"/>
                <a:gd name="connsiteY29" fmla="*/ 7325 h 8808"/>
                <a:gd name="connsiteX30" fmla="*/ 10000 w 10000"/>
                <a:gd name="connsiteY30" fmla="*/ 6771 h 8808"/>
                <a:gd name="connsiteX31" fmla="*/ 9302 w 10000"/>
                <a:gd name="connsiteY31" fmla="*/ 5844 h 8808"/>
                <a:gd name="connsiteX32" fmla="*/ 9302 w 10000"/>
                <a:gd name="connsiteY32" fmla="*/ 4920 h 8808"/>
                <a:gd name="connsiteX33" fmla="*/ 9535 w 10000"/>
                <a:gd name="connsiteY33" fmla="*/ 4920 h 8808"/>
                <a:gd name="connsiteX34" fmla="*/ 9070 w 10000"/>
                <a:gd name="connsiteY34" fmla="*/ 3994 h 8808"/>
                <a:gd name="connsiteX35" fmla="*/ 8837 w 10000"/>
                <a:gd name="connsiteY35" fmla="*/ 3622 h 8808"/>
                <a:gd name="connsiteX36" fmla="*/ 7674 w 10000"/>
                <a:gd name="connsiteY36" fmla="*/ 3437 h 8808"/>
                <a:gd name="connsiteX37" fmla="*/ 6512 w 10000"/>
                <a:gd name="connsiteY37" fmla="*/ 3067 h 8808"/>
                <a:gd name="connsiteX38" fmla="*/ 6047 w 10000"/>
                <a:gd name="connsiteY38" fmla="*/ 2140 h 8808"/>
                <a:gd name="connsiteX39" fmla="*/ 5581 w 10000"/>
                <a:gd name="connsiteY39" fmla="*/ 660 h 8808"/>
                <a:gd name="connsiteX40" fmla="*/ 6047 w 10000"/>
                <a:gd name="connsiteY40" fmla="*/ 103 h 8808"/>
                <a:gd name="connsiteX0" fmla="*/ 5581 w 10000"/>
                <a:gd name="connsiteY0" fmla="*/ 0 h 9251"/>
                <a:gd name="connsiteX1" fmla="*/ 5814 w 10000"/>
                <a:gd name="connsiteY1" fmla="*/ 2523 h 9251"/>
                <a:gd name="connsiteX2" fmla="*/ 5116 w 10000"/>
                <a:gd name="connsiteY2" fmla="*/ 2733 h 9251"/>
                <a:gd name="connsiteX3" fmla="*/ 4884 w 10000"/>
                <a:gd name="connsiteY3" fmla="*/ 3994 h 9251"/>
                <a:gd name="connsiteX4" fmla="*/ 4651 w 10000"/>
                <a:gd name="connsiteY4" fmla="*/ 4623 h 9251"/>
                <a:gd name="connsiteX5" fmla="*/ 5349 w 10000"/>
                <a:gd name="connsiteY5" fmla="*/ 5467 h 9251"/>
                <a:gd name="connsiteX6" fmla="*/ 5349 w 10000"/>
                <a:gd name="connsiteY6" fmla="*/ 5886 h 9251"/>
                <a:gd name="connsiteX7" fmla="*/ 3953 w 10000"/>
                <a:gd name="connsiteY7" fmla="*/ 5256 h 9251"/>
                <a:gd name="connsiteX8" fmla="*/ 2558 w 10000"/>
                <a:gd name="connsiteY8" fmla="*/ 4623 h 9251"/>
                <a:gd name="connsiteX9" fmla="*/ 1395 w 10000"/>
                <a:gd name="connsiteY9" fmla="*/ 4623 h 9251"/>
                <a:gd name="connsiteX10" fmla="*/ 1395 w 10000"/>
                <a:gd name="connsiteY10" fmla="*/ 5467 h 9251"/>
                <a:gd name="connsiteX11" fmla="*/ 0 w 10000"/>
                <a:gd name="connsiteY11" fmla="*/ 5676 h 9251"/>
                <a:gd name="connsiteX12" fmla="*/ 0 w 10000"/>
                <a:gd name="connsiteY12" fmla="*/ 7990 h 9251"/>
                <a:gd name="connsiteX13" fmla="*/ 465 w 10000"/>
                <a:gd name="connsiteY13" fmla="*/ 8831 h 9251"/>
                <a:gd name="connsiteX14" fmla="*/ 1395 w 10000"/>
                <a:gd name="connsiteY14" fmla="*/ 8831 h 9251"/>
                <a:gd name="connsiteX15" fmla="*/ 1860 w 10000"/>
                <a:gd name="connsiteY15" fmla="*/ 9042 h 9251"/>
                <a:gd name="connsiteX16" fmla="*/ 1628 w 10000"/>
                <a:gd name="connsiteY16" fmla="*/ 9042 h 9251"/>
                <a:gd name="connsiteX17" fmla="*/ 2093 w 10000"/>
                <a:gd name="connsiteY17" fmla="*/ 9251 h 9251"/>
                <a:gd name="connsiteX18" fmla="*/ 2558 w 10000"/>
                <a:gd name="connsiteY18" fmla="*/ 9042 h 9251"/>
                <a:gd name="connsiteX19" fmla="*/ 3488 w 10000"/>
                <a:gd name="connsiteY19" fmla="*/ 9251 h 9251"/>
                <a:gd name="connsiteX20" fmla="*/ 4186 w 10000"/>
                <a:gd name="connsiteY20" fmla="*/ 8619 h 9251"/>
                <a:gd name="connsiteX21" fmla="*/ 5116 w 10000"/>
                <a:gd name="connsiteY21" fmla="*/ 7781 h 9251"/>
                <a:gd name="connsiteX22" fmla="*/ 5814 w 10000"/>
                <a:gd name="connsiteY22" fmla="*/ 7567 h 9251"/>
                <a:gd name="connsiteX23" fmla="*/ 5581 w 10000"/>
                <a:gd name="connsiteY23" fmla="*/ 7567 h 9251"/>
                <a:gd name="connsiteX24" fmla="*/ 5581 w 10000"/>
                <a:gd name="connsiteY24" fmla="*/ 7357 h 9251"/>
                <a:gd name="connsiteX25" fmla="*/ 7674 w 10000"/>
                <a:gd name="connsiteY25" fmla="*/ 6517 h 9251"/>
                <a:gd name="connsiteX26" fmla="*/ 8605 w 10000"/>
                <a:gd name="connsiteY26" fmla="*/ 6938 h 9251"/>
                <a:gd name="connsiteX27" fmla="*/ 9070 w 10000"/>
                <a:gd name="connsiteY27" fmla="*/ 7567 h 9251"/>
                <a:gd name="connsiteX28" fmla="*/ 9302 w 10000"/>
                <a:gd name="connsiteY28" fmla="*/ 7990 h 9251"/>
                <a:gd name="connsiteX29" fmla="*/ 10000 w 10000"/>
                <a:gd name="connsiteY29" fmla="*/ 7567 h 9251"/>
                <a:gd name="connsiteX30" fmla="*/ 10000 w 10000"/>
                <a:gd name="connsiteY30" fmla="*/ 6938 h 9251"/>
                <a:gd name="connsiteX31" fmla="*/ 9302 w 10000"/>
                <a:gd name="connsiteY31" fmla="*/ 5886 h 9251"/>
                <a:gd name="connsiteX32" fmla="*/ 9302 w 10000"/>
                <a:gd name="connsiteY32" fmla="*/ 4837 h 9251"/>
                <a:gd name="connsiteX33" fmla="*/ 9535 w 10000"/>
                <a:gd name="connsiteY33" fmla="*/ 4837 h 9251"/>
                <a:gd name="connsiteX34" fmla="*/ 9070 w 10000"/>
                <a:gd name="connsiteY34" fmla="*/ 3786 h 9251"/>
                <a:gd name="connsiteX35" fmla="*/ 8837 w 10000"/>
                <a:gd name="connsiteY35" fmla="*/ 3363 h 9251"/>
                <a:gd name="connsiteX36" fmla="*/ 7674 w 10000"/>
                <a:gd name="connsiteY36" fmla="*/ 3153 h 9251"/>
                <a:gd name="connsiteX37" fmla="*/ 6512 w 10000"/>
                <a:gd name="connsiteY37" fmla="*/ 2733 h 9251"/>
                <a:gd name="connsiteX38" fmla="*/ 6047 w 10000"/>
                <a:gd name="connsiteY38" fmla="*/ 1681 h 9251"/>
                <a:gd name="connsiteX39" fmla="*/ 5581 w 10000"/>
                <a:gd name="connsiteY39" fmla="*/ 0 h 9251"/>
                <a:gd name="connsiteX0" fmla="*/ 6047 w 10000"/>
                <a:gd name="connsiteY0" fmla="*/ 2 h 8185"/>
                <a:gd name="connsiteX1" fmla="*/ 5814 w 10000"/>
                <a:gd name="connsiteY1" fmla="*/ 912 h 8185"/>
                <a:gd name="connsiteX2" fmla="*/ 5116 w 10000"/>
                <a:gd name="connsiteY2" fmla="*/ 1139 h 8185"/>
                <a:gd name="connsiteX3" fmla="*/ 4884 w 10000"/>
                <a:gd name="connsiteY3" fmla="*/ 2502 h 8185"/>
                <a:gd name="connsiteX4" fmla="*/ 4651 w 10000"/>
                <a:gd name="connsiteY4" fmla="*/ 3182 h 8185"/>
                <a:gd name="connsiteX5" fmla="*/ 5349 w 10000"/>
                <a:gd name="connsiteY5" fmla="*/ 4095 h 8185"/>
                <a:gd name="connsiteX6" fmla="*/ 5349 w 10000"/>
                <a:gd name="connsiteY6" fmla="*/ 4548 h 8185"/>
                <a:gd name="connsiteX7" fmla="*/ 3953 w 10000"/>
                <a:gd name="connsiteY7" fmla="*/ 3867 h 8185"/>
                <a:gd name="connsiteX8" fmla="*/ 2558 w 10000"/>
                <a:gd name="connsiteY8" fmla="*/ 3182 h 8185"/>
                <a:gd name="connsiteX9" fmla="*/ 1395 w 10000"/>
                <a:gd name="connsiteY9" fmla="*/ 3182 h 8185"/>
                <a:gd name="connsiteX10" fmla="*/ 1395 w 10000"/>
                <a:gd name="connsiteY10" fmla="*/ 4095 h 8185"/>
                <a:gd name="connsiteX11" fmla="*/ 0 w 10000"/>
                <a:gd name="connsiteY11" fmla="*/ 4321 h 8185"/>
                <a:gd name="connsiteX12" fmla="*/ 0 w 10000"/>
                <a:gd name="connsiteY12" fmla="*/ 6822 h 8185"/>
                <a:gd name="connsiteX13" fmla="*/ 465 w 10000"/>
                <a:gd name="connsiteY13" fmla="*/ 7731 h 8185"/>
                <a:gd name="connsiteX14" fmla="*/ 1395 w 10000"/>
                <a:gd name="connsiteY14" fmla="*/ 7731 h 8185"/>
                <a:gd name="connsiteX15" fmla="*/ 1860 w 10000"/>
                <a:gd name="connsiteY15" fmla="*/ 7959 h 8185"/>
                <a:gd name="connsiteX16" fmla="*/ 1628 w 10000"/>
                <a:gd name="connsiteY16" fmla="*/ 7959 h 8185"/>
                <a:gd name="connsiteX17" fmla="*/ 2093 w 10000"/>
                <a:gd name="connsiteY17" fmla="*/ 8185 h 8185"/>
                <a:gd name="connsiteX18" fmla="*/ 2558 w 10000"/>
                <a:gd name="connsiteY18" fmla="*/ 7959 h 8185"/>
                <a:gd name="connsiteX19" fmla="*/ 3488 w 10000"/>
                <a:gd name="connsiteY19" fmla="*/ 8185 h 8185"/>
                <a:gd name="connsiteX20" fmla="*/ 4186 w 10000"/>
                <a:gd name="connsiteY20" fmla="*/ 7502 h 8185"/>
                <a:gd name="connsiteX21" fmla="*/ 5116 w 10000"/>
                <a:gd name="connsiteY21" fmla="*/ 6596 h 8185"/>
                <a:gd name="connsiteX22" fmla="*/ 5814 w 10000"/>
                <a:gd name="connsiteY22" fmla="*/ 6365 h 8185"/>
                <a:gd name="connsiteX23" fmla="*/ 5581 w 10000"/>
                <a:gd name="connsiteY23" fmla="*/ 6365 h 8185"/>
                <a:gd name="connsiteX24" fmla="*/ 5581 w 10000"/>
                <a:gd name="connsiteY24" fmla="*/ 6138 h 8185"/>
                <a:gd name="connsiteX25" fmla="*/ 7674 w 10000"/>
                <a:gd name="connsiteY25" fmla="*/ 5230 h 8185"/>
                <a:gd name="connsiteX26" fmla="*/ 8605 w 10000"/>
                <a:gd name="connsiteY26" fmla="*/ 5685 h 8185"/>
                <a:gd name="connsiteX27" fmla="*/ 9070 w 10000"/>
                <a:gd name="connsiteY27" fmla="*/ 6365 h 8185"/>
                <a:gd name="connsiteX28" fmla="*/ 9302 w 10000"/>
                <a:gd name="connsiteY28" fmla="*/ 6822 h 8185"/>
                <a:gd name="connsiteX29" fmla="*/ 10000 w 10000"/>
                <a:gd name="connsiteY29" fmla="*/ 6365 h 8185"/>
                <a:gd name="connsiteX30" fmla="*/ 10000 w 10000"/>
                <a:gd name="connsiteY30" fmla="*/ 5685 h 8185"/>
                <a:gd name="connsiteX31" fmla="*/ 9302 w 10000"/>
                <a:gd name="connsiteY31" fmla="*/ 4548 h 8185"/>
                <a:gd name="connsiteX32" fmla="*/ 9302 w 10000"/>
                <a:gd name="connsiteY32" fmla="*/ 3414 h 8185"/>
                <a:gd name="connsiteX33" fmla="*/ 9535 w 10000"/>
                <a:gd name="connsiteY33" fmla="*/ 3414 h 8185"/>
                <a:gd name="connsiteX34" fmla="*/ 9070 w 10000"/>
                <a:gd name="connsiteY34" fmla="*/ 2278 h 8185"/>
                <a:gd name="connsiteX35" fmla="*/ 8837 w 10000"/>
                <a:gd name="connsiteY35" fmla="*/ 1820 h 8185"/>
                <a:gd name="connsiteX36" fmla="*/ 7674 w 10000"/>
                <a:gd name="connsiteY36" fmla="*/ 1593 h 8185"/>
                <a:gd name="connsiteX37" fmla="*/ 6512 w 10000"/>
                <a:gd name="connsiteY37" fmla="*/ 1139 h 8185"/>
                <a:gd name="connsiteX38" fmla="*/ 6047 w 10000"/>
                <a:gd name="connsiteY38" fmla="*/ 2 h 8185"/>
                <a:gd name="connsiteX0" fmla="*/ 6512 w 10000"/>
                <a:gd name="connsiteY0" fmla="*/ 278 h 8886"/>
                <a:gd name="connsiteX1" fmla="*/ 5814 w 10000"/>
                <a:gd name="connsiteY1" fmla="*/ 0 h 8886"/>
                <a:gd name="connsiteX2" fmla="*/ 5116 w 10000"/>
                <a:gd name="connsiteY2" fmla="*/ 278 h 8886"/>
                <a:gd name="connsiteX3" fmla="*/ 4884 w 10000"/>
                <a:gd name="connsiteY3" fmla="*/ 1943 h 8886"/>
                <a:gd name="connsiteX4" fmla="*/ 4651 w 10000"/>
                <a:gd name="connsiteY4" fmla="*/ 2774 h 8886"/>
                <a:gd name="connsiteX5" fmla="*/ 5349 w 10000"/>
                <a:gd name="connsiteY5" fmla="*/ 3889 h 8886"/>
                <a:gd name="connsiteX6" fmla="*/ 5349 w 10000"/>
                <a:gd name="connsiteY6" fmla="*/ 4443 h 8886"/>
                <a:gd name="connsiteX7" fmla="*/ 3953 w 10000"/>
                <a:gd name="connsiteY7" fmla="*/ 3610 h 8886"/>
                <a:gd name="connsiteX8" fmla="*/ 2558 w 10000"/>
                <a:gd name="connsiteY8" fmla="*/ 2774 h 8886"/>
                <a:gd name="connsiteX9" fmla="*/ 1395 w 10000"/>
                <a:gd name="connsiteY9" fmla="*/ 2774 h 8886"/>
                <a:gd name="connsiteX10" fmla="*/ 1395 w 10000"/>
                <a:gd name="connsiteY10" fmla="*/ 3889 h 8886"/>
                <a:gd name="connsiteX11" fmla="*/ 0 w 10000"/>
                <a:gd name="connsiteY11" fmla="*/ 4165 h 8886"/>
                <a:gd name="connsiteX12" fmla="*/ 0 w 10000"/>
                <a:gd name="connsiteY12" fmla="*/ 7221 h 8886"/>
                <a:gd name="connsiteX13" fmla="*/ 465 w 10000"/>
                <a:gd name="connsiteY13" fmla="*/ 8331 h 8886"/>
                <a:gd name="connsiteX14" fmla="*/ 1395 w 10000"/>
                <a:gd name="connsiteY14" fmla="*/ 8331 h 8886"/>
                <a:gd name="connsiteX15" fmla="*/ 1860 w 10000"/>
                <a:gd name="connsiteY15" fmla="*/ 8610 h 8886"/>
                <a:gd name="connsiteX16" fmla="*/ 1628 w 10000"/>
                <a:gd name="connsiteY16" fmla="*/ 8610 h 8886"/>
                <a:gd name="connsiteX17" fmla="*/ 2093 w 10000"/>
                <a:gd name="connsiteY17" fmla="*/ 8886 h 8886"/>
                <a:gd name="connsiteX18" fmla="*/ 2558 w 10000"/>
                <a:gd name="connsiteY18" fmla="*/ 8610 h 8886"/>
                <a:gd name="connsiteX19" fmla="*/ 3488 w 10000"/>
                <a:gd name="connsiteY19" fmla="*/ 8886 h 8886"/>
                <a:gd name="connsiteX20" fmla="*/ 4186 w 10000"/>
                <a:gd name="connsiteY20" fmla="*/ 8052 h 8886"/>
                <a:gd name="connsiteX21" fmla="*/ 5116 w 10000"/>
                <a:gd name="connsiteY21" fmla="*/ 6945 h 8886"/>
                <a:gd name="connsiteX22" fmla="*/ 5814 w 10000"/>
                <a:gd name="connsiteY22" fmla="*/ 6662 h 8886"/>
                <a:gd name="connsiteX23" fmla="*/ 5581 w 10000"/>
                <a:gd name="connsiteY23" fmla="*/ 6662 h 8886"/>
                <a:gd name="connsiteX24" fmla="*/ 5581 w 10000"/>
                <a:gd name="connsiteY24" fmla="*/ 6385 h 8886"/>
                <a:gd name="connsiteX25" fmla="*/ 7674 w 10000"/>
                <a:gd name="connsiteY25" fmla="*/ 5276 h 8886"/>
                <a:gd name="connsiteX26" fmla="*/ 8605 w 10000"/>
                <a:gd name="connsiteY26" fmla="*/ 5832 h 8886"/>
                <a:gd name="connsiteX27" fmla="*/ 9070 w 10000"/>
                <a:gd name="connsiteY27" fmla="*/ 6662 h 8886"/>
                <a:gd name="connsiteX28" fmla="*/ 9302 w 10000"/>
                <a:gd name="connsiteY28" fmla="*/ 7221 h 8886"/>
                <a:gd name="connsiteX29" fmla="*/ 10000 w 10000"/>
                <a:gd name="connsiteY29" fmla="*/ 6662 h 8886"/>
                <a:gd name="connsiteX30" fmla="*/ 10000 w 10000"/>
                <a:gd name="connsiteY30" fmla="*/ 5832 h 8886"/>
                <a:gd name="connsiteX31" fmla="*/ 9302 w 10000"/>
                <a:gd name="connsiteY31" fmla="*/ 4443 h 8886"/>
                <a:gd name="connsiteX32" fmla="*/ 9302 w 10000"/>
                <a:gd name="connsiteY32" fmla="*/ 3057 h 8886"/>
                <a:gd name="connsiteX33" fmla="*/ 9535 w 10000"/>
                <a:gd name="connsiteY33" fmla="*/ 3057 h 8886"/>
                <a:gd name="connsiteX34" fmla="*/ 9070 w 10000"/>
                <a:gd name="connsiteY34" fmla="*/ 1669 h 8886"/>
                <a:gd name="connsiteX35" fmla="*/ 8837 w 10000"/>
                <a:gd name="connsiteY35" fmla="*/ 1110 h 8886"/>
                <a:gd name="connsiteX36" fmla="*/ 7674 w 10000"/>
                <a:gd name="connsiteY36" fmla="*/ 832 h 8886"/>
                <a:gd name="connsiteX37" fmla="*/ 6512 w 10000"/>
                <a:gd name="connsiteY37" fmla="*/ 278 h 8886"/>
                <a:gd name="connsiteX0" fmla="*/ 7674 w 10000"/>
                <a:gd name="connsiteY0" fmla="*/ 936 h 10000"/>
                <a:gd name="connsiteX1" fmla="*/ 5814 w 10000"/>
                <a:gd name="connsiteY1" fmla="*/ 0 h 10000"/>
                <a:gd name="connsiteX2" fmla="*/ 5116 w 10000"/>
                <a:gd name="connsiteY2" fmla="*/ 313 h 10000"/>
                <a:gd name="connsiteX3" fmla="*/ 4884 w 10000"/>
                <a:gd name="connsiteY3" fmla="*/ 2187 h 10000"/>
                <a:gd name="connsiteX4" fmla="*/ 4651 w 10000"/>
                <a:gd name="connsiteY4" fmla="*/ 3122 h 10000"/>
                <a:gd name="connsiteX5" fmla="*/ 5349 w 10000"/>
                <a:gd name="connsiteY5" fmla="*/ 4377 h 10000"/>
                <a:gd name="connsiteX6" fmla="*/ 5349 w 10000"/>
                <a:gd name="connsiteY6" fmla="*/ 5000 h 10000"/>
                <a:gd name="connsiteX7" fmla="*/ 3953 w 10000"/>
                <a:gd name="connsiteY7" fmla="*/ 4063 h 10000"/>
                <a:gd name="connsiteX8" fmla="*/ 2558 w 10000"/>
                <a:gd name="connsiteY8" fmla="*/ 3122 h 10000"/>
                <a:gd name="connsiteX9" fmla="*/ 1395 w 10000"/>
                <a:gd name="connsiteY9" fmla="*/ 3122 h 10000"/>
                <a:gd name="connsiteX10" fmla="*/ 1395 w 10000"/>
                <a:gd name="connsiteY10" fmla="*/ 4377 h 10000"/>
                <a:gd name="connsiteX11" fmla="*/ 0 w 10000"/>
                <a:gd name="connsiteY11" fmla="*/ 4687 h 10000"/>
                <a:gd name="connsiteX12" fmla="*/ 0 w 10000"/>
                <a:gd name="connsiteY12" fmla="*/ 8126 h 10000"/>
                <a:gd name="connsiteX13" fmla="*/ 465 w 10000"/>
                <a:gd name="connsiteY13" fmla="*/ 9375 h 10000"/>
                <a:gd name="connsiteX14" fmla="*/ 1395 w 10000"/>
                <a:gd name="connsiteY14" fmla="*/ 9375 h 10000"/>
                <a:gd name="connsiteX15" fmla="*/ 1860 w 10000"/>
                <a:gd name="connsiteY15" fmla="*/ 9689 h 10000"/>
                <a:gd name="connsiteX16" fmla="*/ 1628 w 10000"/>
                <a:gd name="connsiteY16" fmla="*/ 9689 h 10000"/>
                <a:gd name="connsiteX17" fmla="*/ 2093 w 10000"/>
                <a:gd name="connsiteY17" fmla="*/ 10000 h 10000"/>
                <a:gd name="connsiteX18" fmla="*/ 2558 w 10000"/>
                <a:gd name="connsiteY18" fmla="*/ 9689 h 10000"/>
                <a:gd name="connsiteX19" fmla="*/ 3488 w 10000"/>
                <a:gd name="connsiteY19" fmla="*/ 10000 h 10000"/>
                <a:gd name="connsiteX20" fmla="*/ 4186 w 10000"/>
                <a:gd name="connsiteY20" fmla="*/ 9061 h 10000"/>
                <a:gd name="connsiteX21" fmla="*/ 5116 w 10000"/>
                <a:gd name="connsiteY21" fmla="*/ 7816 h 10000"/>
                <a:gd name="connsiteX22" fmla="*/ 5814 w 10000"/>
                <a:gd name="connsiteY22" fmla="*/ 7497 h 10000"/>
                <a:gd name="connsiteX23" fmla="*/ 5581 w 10000"/>
                <a:gd name="connsiteY23" fmla="*/ 7497 h 10000"/>
                <a:gd name="connsiteX24" fmla="*/ 5581 w 10000"/>
                <a:gd name="connsiteY24" fmla="*/ 7185 h 10000"/>
                <a:gd name="connsiteX25" fmla="*/ 7674 w 10000"/>
                <a:gd name="connsiteY25" fmla="*/ 5937 h 10000"/>
                <a:gd name="connsiteX26" fmla="*/ 8605 w 10000"/>
                <a:gd name="connsiteY26" fmla="*/ 6563 h 10000"/>
                <a:gd name="connsiteX27" fmla="*/ 9070 w 10000"/>
                <a:gd name="connsiteY27" fmla="*/ 7497 h 10000"/>
                <a:gd name="connsiteX28" fmla="*/ 9302 w 10000"/>
                <a:gd name="connsiteY28" fmla="*/ 8126 h 10000"/>
                <a:gd name="connsiteX29" fmla="*/ 10000 w 10000"/>
                <a:gd name="connsiteY29" fmla="*/ 7497 h 10000"/>
                <a:gd name="connsiteX30" fmla="*/ 10000 w 10000"/>
                <a:gd name="connsiteY30" fmla="*/ 6563 h 10000"/>
                <a:gd name="connsiteX31" fmla="*/ 9302 w 10000"/>
                <a:gd name="connsiteY31" fmla="*/ 5000 h 10000"/>
                <a:gd name="connsiteX32" fmla="*/ 9302 w 10000"/>
                <a:gd name="connsiteY32" fmla="*/ 3440 h 10000"/>
                <a:gd name="connsiteX33" fmla="*/ 9535 w 10000"/>
                <a:gd name="connsiteY33" fmla="*/ 3440 h 10000"/>
                <a:gd name="connsiteX34" fmla="*/ 9070 w 10000"/>
                <a:gd name="connsiteY34" fmla="*/ 1878 h 10000"/>
                <a:gd name="connsiteX35" fmla="*/ 8837 w 10000"/>
                <a:gd name="connsiteY35" fmla="*/ 1249 h 10000"/>
                <a:gd name="connsiteX36" fmla="*/ 7674 w 10000"/>
                <a:gd name="connsiteY36" fmla="*/ 936 h 10000"/>
                <a:gd name="connsiteX0" fmla="*/ 7674 w 10000"/>
                <a:gd name="connsiteY0" fmla="*/ 663 h 9727"/>
                <a:gd name="connsiteX1" fmla="*/ 5116 w 10000"/>
                <a:gd name="connsiteY1" fmla="*/ 40 h 9727"/>
                <a:gd name="connsiteX2" fmla="*/ 4884 w 10000"/>
                <a:gd name="connsiteY2" fmla="*/ 1914 h 9727"/>
                <a:gd name="connsiteX3" fmla="*/ 4651 w 10000"/>
                <a:gd name="connsiteY3" fmla="*/ 2849 h 9727"/>
                <a:gd name="connsiteX4" fmla="*/ 5349 w 10000"/>
                <a:gd name="connsiteY4" fmla="*/ 4104 h 9727"/>
                <a:gd name="connsiteX5" fmla="*/ 5349 w 10000"/>
                <a:gd name="connsiteY5" fmla="*/ 4727 h 9727"/>
                <a:gd name="connsiteX6" fmla="*/ 3953 w 10000"/>
                <a:gd name="connsiteY6" fmla="*/ 3790 h 9727"/>
                <a:gd name="connsiteX7" fmla="*/ 2558 w 10000"/>
                <a:gd name="connsiteY7" fmla="*/ 2849 h 9727"/>
                <a:gd name="connsiteX8" fmla="*/ 1395 w 10000"/>
                <a:gd name="connsiteY8" fmla="*/ 2849 h 9727"/>
                <a:gd name="connsiteX9" fmla="*/ 1395 w 10000"/>
                <a:gd name="connsiteY9" fmla="*/ 4104 h 9727"/>
                <a:gd name="connsiteX10" fmla="*/ 0 w 10000"/>
                <a:gd name="connsiteY10" fmla="*/ 4414 h 9727"/>
                <a:gd name="connsiteX11" fmla="*/ 0 w 10000"/>
                <a:gd name="connsiteY11" fmla="*/ 7853 h 9727"/>
                <a:gd name="connsiteX12" fmla="*/ 465 w 10000"/>
                <a:gd name="connsiteY12" fmla="*/ 9102 h 9727"/>
                <a:gd name="connsiteX13" fmla="*/ 1395 w 10000"/>
                <a:gd name="connsiteY13" fmla="*/ 9102 h 9727"/>
                <a:gd name="connsiteX14" fmla="*/ 1860 w 10000"/>
                <a:gd name="connsiteY14" fmla="*/ 9416 h 9727"/>
                <a:gd name="connsiteX15" fmla="*/ 1628 w 10000"/>
                <a:gd name="connsiteY15" fmla="*/ 9416 h 9727"/>
                <a:gd name="connsiteX16" fmla="*/ 2093 w 10000"/>
                <a:gd name="connsiteY16" fmla="*/ 9727 h 9727"/>
                <a:gd name="connsiteX17" fmla="*/ 2558 w 10000"/>
                <a:gd name="connsiteY17" fmla="*/ 9416 h 9727"/>
                <a:gd name="connsiteX18" fmla="*/ 3488 w 10000"/>
                <a:gd name="connsiteY18" fmla="*/ 9727 h 9727"/>
                <a:gd name="connsiteX19" fmla="*/ 4186 w 10000"/>
                <a:gd name="connsiteY19" fmla="*/ 8788 h 9727"/>
                <a:gd name="connsiteX20" fmla="*/ 5116 w 10000"/>
                <a:gd name="connsiteY20" fmla="*/ 7543 h 9727"/>
                <a:gd name="connsiteX21" fmla="*/ 5814 w 10000"/>
                <a:gd name="connsiteY21" fmla="*/ 7224 h 9727"/>
                <a:gd name="connsiteX22" fmla="*/ 5581 w 10000"/>
                <a:gd name="connsiteY22" fmla="*/ 7224 h 9727"/>
                <a:gd name="connsiteX23" fmla="*/ 5581 w 10000"/>
                <a:gd name="connsiteY23" fmla="*/ 6912 h 9727"/>
                <a:gd name="connsiteX24" fmla="*/ 7674 w 10000"/>
                <a:gd name="connsiteY24" fmla="*/ 5664 h 9727"/>
                <a:gd name="connsiteX25" fmla="*/ 8605 w 10000"/>
                <a:gd name="connsiteY25" fmla="*/ 6290 h 9727"/>
                <a:gd name="connsiteX26" fmla="*/ 9070 w 10000"/>
                <a:gd name="connsiteY26" fmla="*/ 7224 h 9727"/>
                <a:gd name="connsiteX27" fmla="*/ 9302 w 10000"/>
                <a:gd name="connsiteY27" fmla="*/ 7853 h 9727"/>
                <a:gd name="connsiteX28" fmla="*/ 10000 w 10000"/>
                <a:gd name="connsiteY28" fmla="*/ 7224 h 9727"/>
                <a:gd name="connsiteX29" fmla="*/ 10000 w 10000"/>
                <a:gd name="connsiteY29" fmla="*/ 6290 h 9727"/>
                <a:gd name="connsiteX30" fmla="*/ 9302 w 10000"/>
                <a:gd name="connsiteY30" fmla="*/ 4727 h 9727"/>
                <a:gd name="connsiteX31" fmla="*/ 9302 w 10000"/>
                <a:gd name="connsiteY31" fmla="*/ 3167 h 9727"/>
                <a:gd name="connsiteX32" fmla="*/ 9535 w 10000"/>
                <a:gd name="connsiteY32" fmla="*/ 3167 h 9727"/>
                <a:gd name="connsiteX33" fmla="*/ 9070 w 10000"/>
                <a:gd name="connsiteY33" fmla="*/ 1605 h 9727"/>
                <a:gd name="connsiteX34" fmla="*/ 8837 w 10000"/>
                <a:gd name="connsiteY34" fmla="*/ 976 h 9727"/>
                <a:gd name="connsiteX35" fmla="*/ 7674 w 10000"/>
                <a:gd name="connsiteY35" fmla="*/ 663 h 9727"/>
                <a:gd name="connsiteX0" fmla="*/ 7674 w 10000"/>
                <a:gd name="connsiteY0" fmla="*/ 0 h 9318"/>
                <a:gd name="connsiteX1" fmla="*/ 4884 w 10000"/>
                <a:gd name="connsiteY1" fmla="*/ 1286 h 9318"/>
                <a:gd name="connsiteX2" fmla="*/ 4651 w 10000"/>
                <a:gd name="connsiteY2" fmla="*/ 2247 h 9318"/>
                <a:gd name="connsiteX3" fmla="*/ 5349 w 10000"/>
                <a:gd name="connsiteY3" fmla="*/ 3537 h 9318"/>
                <a:gd name="connsiteX4" fmla="*/ 5349 w 10000"/>
                <a:gd name="connsiteY4" fmla="*/ 4178 h 9318"/>
                <a:gd name="connsiteX5" fmla="*/ 3953 w 10000"/>
                <a:gd name="connsiteY5" fmla="*/ 3214 h 9318"/>
                <a:gd name="connsiteX6" fmla="*/ 2558 w 10000"/>
                <a:gd name="connsiteY6" fmla="*/ 2247 h 9318"/>
                <a:gd name="connsiteX7" fmla="*/ 1395 w 10000"/>
                <a:gd name="connsiteY7" fmla="*/ 2247 h 9318"/>
                <a:gd name="connsiteX8" fmla="*/ 1395 w 10000"/>
                <a:gd name="connsiteY8" fmla="*/ 3537 h 9318"/>
                <a:gd name="connsiteX9" fmla="*/ 0 w 10000"/>
                <a:gd name="connsiteY9" fmla="*/ 3856 h 9318"/>
                <a:gd name="connsiteX10" fmla="*/ 0 w 10000"/>
                <a:gd name="connsiteY10" fmla="*/ 7391 h 9318"/>
                <a:gd name="connsiteX11" fmla="*/ 465 w 10000"/>
                <a:gd name="connsiteY11" fmla="*/ 8675 h 9318"/>
                <a:gd name="connsiteX12" fmla="*/ 1395 w 10000"/>
                <a:gd name="connsiteY12" fmla="*/ 8675 h 9318"/>
                <a:gd name="connsiteX13" fmla="*/ 1860 w 10000"/>
                <a:gd name="connsiteY13" fmla="*/ 8998 h 9318"/>
                <a:gd name="connsiteX14" fmla="*/ 1628 w 10000"/>
                <a:gd name="connsiteY14" fmla="*/ 8998 h 9318"/>
                <a:gd name="connsiteX15" fmla="*/ 2093 w 10000"/>
                <a:gd name="connsiteY15" fmla="*/ 9318 h 9318"/>
                <a:gd name="connsiteX16" fmla="*/ 2558 w 10000"/>
                <a:gd name="connsiteY16" fmla="*/ 8998 h 9318"/>
                <a:gd name="connsiteX17" fmla="*/ 3488 w 10000"/>
                <a:gd name="connsiteY17" fmla="*/ 9318 h 9318"/>
                <a:gd name="connsiteX18" fmla="*/ 4186 w 10000"/>
                <a:gd name="connsiteY18" fmla="*/ 8353 h 9318"/>
                <a:gd name="connsiteX19" fmla="*/ 5116 w 10000"/>
                <a:gd name="connsiteY19" fmla="*/ 7073 h 9318"/>
                <a:gd name="connsiteX20" fmla="*/ 5814 w 10000"/>
                <a:gd name="connsiteY20" fmla="*/ 6745 h 9318"/>
                <a:gd name="connsiteX21" fmla="*/ 5581 w 10000"/>
                <a:gd name="connsiteY21" fmla="*/ 6745 h 9318"/>
                <a:gd name="connsiteX22" fmla="*/ 5581 w 10000"/>
                <a:gd name="connsiteY22" fmla="*/ 6424 h 9318"/>
                <a:gd name="connsiteX23" fmla="*/ 7674 w 10000"/>
                <a:gd name="connsiteY23" fmla="*/ 5141 h 9318"/>
                <a:gd name="connsiteX24" fmla="*/ 8605 w 10000"/>
                <a:gd name="connsiteY24" fmla="*/ 5785 h 9318"/>
                <a:gd name="connsiteX25" fmla="*/ 9070 w 10000"/>
                <a:gd name="connsiteY25" fmla="*/ 6745 h 9318"/>
                <a:gd name="connsiteX26" fmla="*/ 9302 w 10000"/>
                <a:gd name="connsiteY26" fmla="*/ 7391 h 9318"/>
                <a:gd name="connsiteX27" fmla="*/ 10000 w 10000"/>
                <a:gd name="connsiteY27" fmla="*/ 6745 h 9318"/>
                <a:gd name="connsiteX28" fmla="*/ 10000 w 10000"/>
                <a:gd name="connsiteY28" fmla="*/ 5785 h 9318"/>
                <a:gd name="connsiteX29" fmla="*/ 9302 w 10000"/>
                <a:gd name="connsiteY29" fmla="*/ 4178 h 9318"/>
                <a:gd name="connsiteX30" fmla="*/ 9302 w 10000"/>
                <a:gd name="connsiteY30" fmla="*/ 2574 h 9318"/>
                <a:gd name="connsiteX31" fmla="*/ 9535 w 10000"/>
                <a:gd name="connsiteY31" fmla="*/ 2574 h 9318"/>
                <a:gd name="connsiteX32" fmla="*/ 9070 w 10000"/>
                <a:gd name="connsiteY32" fmla="*/ 968 h 9318"/>
                <a:gd name="connsiteX33" fmla="*/ 8837 w 10000"/>
                <a:gd name="connsiteY33" fmla="*/ 321 h 9318"/>
                <a:gd name="connsiteX34" fmla="*/ 7674 w 10000"/>
                <a:gd name="connsiteY34" fmla="*/ 0 h 9318"/>
                <a:gd name="connsiteX0" fmla="*/ 7674 w 10000"/>
                <a:gd name="connsiteY0" fmla="*/ 0 h 10000"/>
                <a:gd name="connsiteX1" fmla="*/ 4651 w 10000"/>
                <a:gd name="connsiteY1" fmla="*/ 2411 h 10000"/>
                <a:gd name="connsiteX2" fmla="*/ 5349 w 10000"/>
                <a:gd name="connsiteY2" fmla="*/ 3796 h 10000"/>
                <a:gd name="connsiteX3" fmla="*/ 5349 w 10000"/>
                <a:gd name="connsiteY3" fmla="*/ 4484 h 10000"/>
                <a:gd name="connsiteX4" fmla="*/ 3953 w 10000"/>
                <a:gd name="connsiteY4" fmla="*/ 3449 h 10000"/>
                <a:gd name="connsiteX5" fmla="*/ 2558 w 10000"/>
                <a:gd name="connsiteY5" fmla="*/ 2411 h 10000"/>
                <a:gd name="connsiteX6" fmla="*/ 1395 w 10000"/>
                <a:gd name="connsiteY6" fmla="*/ 2411 h 10000"/>
                <a:gd name="connsiteX7" fmla="*/ 1395 w 10000"/>
                <a:gd name="connsiteY7" fmla="*/ 3796 h 10000"/>
                <a:gd name="connsiteX8" fmla="*/ 0 w 10000"/>
                <a:gd name="connsiteY8" fmla="*/ 4138 h 10000"/>
                <a:gd name="connsiteX9" fmla="*/ 0 w 10000"/>
                <a:gd name="connsiteY9" fmla="*/ 7932 h 10000"/>
                <a:gd name="connsiteX10" fmla="*/ 465 w 10000"/>
                <a:gd name="connsiteY10" fmla="*/ 9310 h 10000"/>
                <a:gd name="connsiteX11" fmla="*/ 1395 w 10000"/>
                <a:gd name="connsiteY11" fmla="*/ 9310 h 10000"/>
                <a:gd name="connsiteX12" fmla="*/ 1860 w 10000"/>
                <a:gd name="connsiteY12" fmla="*/ 9657 h 10000"/>
                <a:gd name="connsiteX13" fmla="*/ 1628 w 10000"/>
                <a:gd name="connsiteY13" fmla="*/ 9657 h 10000"/>
                <a:gd name="connsiteX14" fmla="*/ 2093 w 10000"/>
                <a:gd name="connsiteY14" fmla="*/ 10000 h 10000"/>
                <a:gd name="connsiteX15" fmla="*/ 2558 w 10000"/>
                <a:gd name="connsiteY15" fmla="*/ 9657 h 10000"/>
                <a:gd name="connsiteX16" fmla="*/ 3488 w 10000"/>
                <a:gd name="connsiteY16" fmla="*/ 10000 h 10000"/>
                <a:gd name="connsiteX17" fmla="*/ 4186 w 10000"/>
                <a:gd name="connsiteY17" fmla="*/ 8964 h 10000"/>
                <a:gd name="connsiteX18" fmla="*/ 5116 w 10000"/>
                <a:gd name="connsiteY18" fmla="*/ 7591 h 10000"/>
                <a:gd name="connsiteX19" fmla="*/ 5814 w 10000"/>
                <a:gd name="connsiteY19" fmla="*/ 7239 h 10000"/>
                <a:gd name="connsiteX20" fmla="*/ 5581 w 10000"/>
                <a:gd name="connsiteY20" fmla="*/ 7239 h 10000"/>
                <a:gd name="connsiteX21" fmla="*/ 5581 w 10000"/>
                <a:gd name="connsiteY21" fmla="*/ 6894 h 10000"/>
                <a:gd name="connsiteX22" fmla="*/ 7674 w 10000"/>
                <a:gd name="connsiteY22" fmla="*/ 5517 h 10000"/>
                <a:gd name="connsiteX23" fmla="*/ 8605 w 10000"/>
                <a:gd name="connsiteY23" fmla="*/ 6208 h 10000"/>
                <a:gd name="connsiteX24" fmla="*/ 9070 w 10000"/>
                <a:gd name="connsiteY24" fmla="*/ 7239 h 10000"/>
                <a:gd name="connsiteX25" fmla="*/ 9302 w 10000"/>
                <a:gd name="connsiteY25" fmla="*/ 7932 h 10000"/>
                <a:gd name="connsiteX26" fmla="*/ 10000 w 10000"/>
                <a:gd name="connsiteY26" fmla="*/ 7239 h 10000"/>
                <a:gd name="connsiteX27" fmla="*/ 10000 w 10000"/>
                <a:gd name="connsiteY27" fmla="*/ 6208 h 10000"/>
                <a:gd name="connsiteX28" fmla="*/ 9302 w 10000"/>
                <a:gd name="connsiteY28" fmla="*/ 4484 h 10000"/>
                <a:gd name="connsiteX29" fmla="*/ 9302 w 10000"/>
                <a:gd name="connsiteY29" fmla="*/ 2762 h 10000"/>
                <a:gd name="connsiteX30" fmla="*/ 9535 w 10000"/>
                <a:gd name="connsiteY30" fmla="*/ 2762 h 10000"/>
                <a:gd name="connsiteX31" fmla="*/ 9070 w 10000"/>
                <a:gd name="connsiteY31" fmla="*/ 1039 h 10000"/>
                <a:gd name="connsiteX32" fmla="*/ 8837 w 10000"/>
                <a:gd name="connsiteY32" fmla="*/ 344 h 10000"/>
                <a:gd name="connsiteX33" fmla="*/ 7674 w 10000"/>
                <a:gd name="connsiteY33" fmla="*/ 0 h 10000"/>
                <a:gd name="connsiteX0" fmla="*/ 7674 w 10000"/>
                <a:gd name="connsiteY0" fmla="*/ 0 h 10000"/>
                <a:gd name="connsiteX1" fmla="*/ 5349 w 10000"/>
                <a:gd name="connsiteY1" fmla="*/ 3796 h 10000"/>
                <a:gd name="connsiteX2" fmla="*/ 5349 w 10000"/>
                <a:gd name="connsiteY2" fmla="*/ 4484 h 10000"/>
                <a:gd name="connsiteX3" fmla="*/ 3953 w 10000"/>
                <a:gd name="connsiteY3" fmla="*/ 3449 h 10000"/>
                <a:gd name="connsiteX4" fmla="*/ 2558 w 10000"/>
                <a:gd name="connsiteY4" fmla="*/ 2411 h 10000"/>
                <a:gd name="connsiteX5" fmla="*/ 1395 w 10000"/>
                <a:gd name="connsiteY5" fmla="*/ 2411 h 10000"/>
                <a:gd name="connsiteX6" fmla="*/ 1395 w 10000"/>
                <a:gd name="connsiteY6" fmla="*/ 3796 h 10000"/>
                <a:gd name="connsiteX7" fmla="*/ 0 w 10000"/>
                <a:gd name="connsiteY7" fmla="*/ 4138 h 10000"/>
                <a:gd name="connsiteX8" fmla="*/ 0 w 10000"/>
                <a:gd name="connsiteY8" fmla="*/ 7932 h 10000"/>
                <a:gd name="connsiteX9" fmla="*/ 465 w 10000"/>
                <a:gd name="connsiteY9" fmla="*/ 9310 h 10000"/>
                <a:gd name="connsiteX10" fmla="*/ 1395 w 10000"/>
                <a:gd name="connsiteY10" fmla="*/ 9310 h 10000"/>
                <a:gd name="connsiteX11" fmla="*/ 1860 w 10000"/>
                <a:gd name="connsiteY11" fmla="*/ 9657 h 10000"/>
                <a:gd name="connsiteX12" fmla="*/ 1628 w 10000"/>
                <a:gd name="connsiteY12" fmla="*/ 9657 h 10000"/>
                <a:gd name="connsiteX13" fmla="*/ 2093 w 10000"/>
                <a:gd name="connsiteY13" fmla="*/ 10000 h 10000"/>
                <a:gd name="connsiteX14" fmla="*/ 2558 w 10000"/>
                <a:gd name="connsiteY14" fmla="*/ 9657 h 10000"/>
                <a:gd name="connsiteX15" fmla="*/ 3488 w 10000"/>
                <a:gd name="connsiteY15" fmla="*/ 10000 h 10000"/>
                <a:gd name="connsiteX16" fmla="*/ 4186 w 10000"/>
                <a:gd name="connsiteY16" fmla="*/ 8964 h 10000"/>
                <a:gd name="connsiteX17" fmla="*/ 5116 w 10000"/>
                <a:gd name="connsiteY17" fmla="*/ 7591 h 10000"/>
                <a:gd name="connsiteX18" fmla="*/ 5814 w 10000"/>
                <a:gd name="connsiteY18" fmla="*/ 7239 h 10000"/>
                <a:gd name="connsiteX19" fmla="*/ 5581 w 10000"/>
                <a:gd name="connsiteY19" fmla="*/ 7239 h 10000"/>
                <a:gd name="connsiteX20" fmla="*/ 5581 w 10000"/>
                <a:gd name="connsiteY20" fmla="*/ 6894 h 10000"/>
                <a:gd name="connsiteX21" fmla="*/ 7674 w 10000"/>
                <a:gd name="connsiteY21" fmla="*/ 5517 h 10000"/>
                <a:gd name="connsiteX22" fmla="*/ 8605 w 10000"/>
                <a:gd name="connsiteY22" fmla="*/ 6208 h 10000"/>
                <a:gd name="connsiteX23" fmla="*/ 9070 w 10000"/>
                <a:gd name="connsiteY23" fmla="*/ 7239 h 10000"/>
                <a:gd name="connsiteX24" fmla="*/ 9302 w 10000"/>
                <a:gd name="connsiteY24" fmla="*/ 7932 h 10000"/>
                <a:gd name="connsiteX25" fmla="*/ 10000 w 10000"/>
                <a:gd name="connsiteY25" fmla="*/ 7239 h 10000"/>
                <a:gd name="connsiteX26" fmla="*/ 10000 w 10000"/>
                <a:gd name="connsiteY26" fmla="*/ 6208 h 10000"/>
                <a:gd name="connsiteX27" fmla="*/ 9302 w 10000"/>
                <a:gd name="connsiteY27" fmla="*/ 4484 h 10000"/>
                <a:gd name="connsiteX28" fmla="*/ 9302 w 10000"/>
                <a:gd name="connsiteY28" fmla="*/ 2762 h 10000"/>
                <a:gd name="connsiteX29" fmla="*/ 9535 w 10000"/>
                <a:gd name="connsiteY29" fmla="*/ 2762 h 10000"/>
                <a:gd name="connsiteX30" fmla="*/ 9070 w 10000"/>
                <a:gd name="connsiteY30" fmla="*/ 1039 h 10000"/>
                <a:gd name="connsiteX31" fmla="*/ 8837 w 10000"/>
                <a:gd name="connsiteY31" fmla="*/ 344 h 10000"/>
                <a:gd name="connsiteX32" fmla="*/ 7674 w 10000"/>
                <a:gd name="connsiteY32" fmla="*/ 0 h 10000"/>
                <a:gd name="connsiteX0" fmla="*/ 7674 w 10000"/>
                <a:gd name="connsiteY0" fmla="*/ 0 h 10000"/>
                <a:gd name="connsiteX1" fmla="*/ 5349 w 10000"/>
                <a:gd name="connsiteY1" fmla="*/ 4484 h 10000"/>
                <a:gd name="connsiteX2" fmla="*/ 3953 w 10000"/>
                <a:gd name="connsiteY2" fmla="*/ 3449 h 10000"/>
                <a:gd name="connsiteX3" fmla="*/ 2558 w 10000"/>
                <a:gd name="connsiteY3" fmla="*/ 2411 h 10000"/>
                <a:gd name="connsiteX4" fmla="*/ 1395 w 10000"/>
                <a:gd name="connsiteY4" fmla="*/ 2411 h 10000"/>
                <a:gd name="connsiteX5" fmla="*/ 1395 w 10000"/>
                <a:gd name="connsiteY5" fmla="*/ 3796 h 10000"/>
                <a:gd name="connsiteX6" fmla="*/ 0 w 10000"/>
                <a:gd name="connsiteY6" fmla="*/ 4138 h 10000"/>
                <a:gd name="connsiteX7" fmla="*/ 0 w 10000"/>
                <a:gd name="connsiteY7" fmla="*/ 7932 h 10000"/>
                <a:gd name="connsiteX8" fmla="*/ 465 w 10000"/>
                <a:gd name="connsiteY8" fmla="*/ 9310 h 10000"/>
                <a:gd name="connsiteX9" fmla="*/ 1395 w 10000"/>
                <a:gd name="connsiteY9" fmla="*/ 9310 h 10000"/>
                <a:gd name="connsiteX10" fmla="*/ 1860 w 10000"/>
                <a:gd name="connsiteY10" fmla="*/ 9657 h 10000"/>
                <a:gd name="connsiteX11" fmla="*/ 1628 w 10000"/>
                <a:gd name="connsiteY11" fmla="*/ 9657 h 10000"/>
                <a:gd name="connsiteX12" fmla="*/ 2093 w 10000"/>
                <a:gd name="connsiteY12" fmla="*/ 10000 h 10000"/>
                <a:gd name="connsiteX13" fmla="*/ 2558 w 10000"/>
                <a:gd name="connsiteY13" fmla="*/ 9657 h 10000"/>
                <a:gd name="connsiteX14" fmla="*/ 3488 w 10000"/>
                <a:gd name="connsiteY14" fmla="*/ 10000 h 10000"/>
                <a:gd name="connsiteX15" fmla="*/ 4186 w 10000"/>
                <a:gd name="connsiteY15" fmla="*/ 8964 h 10000"/>
                <a:gd name="connsiteX16" fmla="*/ 5116 w 10000"/>
                <a:gd name="connsiteY16" fmla="*/ 7591 h 10000"/>
                <a:gd name="connsiteX17" fmla="*/ 5814 w 10000"/>
                <a:gd name="connsiteY17" fmla="*/ 7239 h 10000"/>
                <a:gd name="connsiteX18" fmla="*/ 5581 w 10000"/>
                <a:gd name="connsiteY18" fmla="*/ 7239 h 10000"/>
                <a:gd name="connsiteX19" fmla="*/ 5581 w 10000"/>
                <a:gd name="connsiteY19" fmla="*/ 6894 h 10000"/>
                <a:gd name="connsiteX20" fmla="*/ 7674 w 10000"/>
                <a:gd name="connsiteY20" fmla="*/ 5517 h 10000"/>
                <a:gd name="connsiteX21" fmla="*/ 8605 w 10000"/>
                <a:gd name="connsiteY21" fmla="*/ 6208 h 10000"/>
                <a:gd name="connsiteX22" fmla="*/ 9070 w 10000"/>
                <a:gd name="connsiteY22" fmla="*/ 7239 h 10000"/>
                <a:gd name="connsiteX23" fmla="*/ 9302 w 10000"/>
                <a:gd name="connsiteY23" fmla="*/ 7932 h 10000"/>
                <a:gd name="connsiteX24" fmla="*/ 10000 w 10000"/>
                <a:gd name="connsiteY24" fmla="*/ 7239 h 10000"/>
                <a:gd name="connsiteX25" fmla="*/ 10000 w 10000"/>
                <a:gd name="connsiteY25" fmla="*/ 6208 h 10000"/>
                <a:gd name="connsiteX26" fmla="*/ 9302 w 10000"/>
                <a:gd name="connsiteY26" fmla="*/ 4484 h 10000"/>
                <a:gd name="connsiteX27" fmla="*/ 9302 w 10000"/>
                <a:gd name="connsiteY27" fmla="*/ 2762 h 10000"/>
                <a:gd name="connsiteX28" fmla="*/ 9535 w 10000"/>
                <a:gd name="connsiteY28" fmla="*/ 2762 h 10000"/>
                <a:gd name="connsiteX29" fmla="*/ 9070 w 10000"/>
                <a:gd name="connsiteY29" fmla="*/ 1039 h 10000"/>
                <a:gd name="connsiteX30" fmla="*/ 8837 w 10000"/>
                <a:gd name="connsiteY30" fmla="*/ 344 h 10000"/>
                <a:gd name="connsiteX31" fmla="*/ 7674 w 10000"/>
                <a:gd name="connsiteY31" fmla="*/ 0 h 10000"/>
                <a:gd name="connsiteX0" fmla="*/ 7674 w 10000"/>
                <a:gd name="connsiteY0" fmla="*/ 0 h 10000"/>
                <a:gd name="connsiteX1" fmla="*/ 3953 w 10000"/>
                <a:gd name="connsiteY1" fmla="*/ 3449 h 10000"/>
                <a:gd name="connsiteX2" fmla="*/ 2558 w 10000"/>
                <a:gd name="connsiteY2" fmla="*/ 2411 h 10000"/>
                <a:gd name="connsiteX3" fmla="*/ 1395 w 10000"/>
                <a:gd name="connsiteY3" fmla="*/ 2411 h 10000"/>
                <a:gd name="connsiteX4" fmla="*/ 1395 w 10000"/>
                <a:gd name="connsiteY4" fmla="*/ 3796 h 10000"/>
                <a:gd name="connsiteX5" fmla="*/ 0 w 10000"/>
                <a:gd name="connsiteY5" fmla="*/ 4138 h 10000"/>
                <a:gd name="connsiteX6" fmla="*/ 0 w 10000"/>
                <a:gd name="connsiteY6" fmla="*/ 7932 h 10000"/>
                <a:gd name="connsiteX7" fmla="*/ 465 w 10000"/>
                <a:gd name="connsiteY7" fmla="*/ 9310 h 10000"/>
                <a:gd name="connsiteX8" fmla="*/ 1395 w 10000"/>
                <a:gd name="connsiteY8" fmla="*/ 9310 h 10000"/>
                <a:gd name="connsiteX9" fmla="*/ 1860 w 10000"/>
                <a:gd name="connsiteY9" fmla="*/ 9657 h 10000"/>
                <a:gd name="connsiteX10" fmla="*/ 1628 w 10000"/>
                <a:gd name="connsiteY10" fmla="*/ 9657 h 10000"/>
                <a:gd name="connsiteX11" fmla="*/ 2093 w 10000"/>
                <a:gd name="connsiteY11" fmla="*/ 10000 h 10000"/>
                <a:gd name="connsiteX12" fmla="*/ 2558 w 10000"/>
                <a:gd name="connsiteY12" fmla="*/ 9657 h 10000"/>
                <a:gd name="connsiteX13" fmla="*/ 3488 w 10000"/>
                <a:gd name="connsiteY13" fmla="*/ 10000 h 10000"/>
                <a:gd name="connsiteX14" fmla="*/ 4186 w 10000"/>
                <a:gd name="connsiteY14" fmla="*/ 8964 h 10000"/>
                <a:gd name="connsiteX15" fmla="*/ 5116 w 10000"/>
                <a:gd name="connsiteY15" fmla="*/ 7591 h 10000"/>
                <a:gd name="connsiteX16" fmla="*/ 5814 w 10000"/>
                <a:gd name="connsiteY16" fmla="*/ 7239 h 10000"/>
                <a:gd name="connsiteX17" fmla="*/ 5581 w 10000"/>
                <a:gd name="connsiteY17" fmla="*/ 7239 h 10000"/>
                <a:gd name="connsiteX18" fmla="*/ 5581 w 10000"/>
                <a:gd name="connsiteY18" fmla="*/ 6894 h 10000"/>
                <a:gd name="connsiteX19" fmla="*/ 7674 w 10000"/>
                <a:gd name="connsiteY19" fmla="*/ 5517 h 10000"/>
                <a:gd name="connsiteX20" fmla="*/ 8605 w 10000"/>
                <a:gd name="connsiteY20" fmla="*/ 6208 h 10000"/>
                <a:gd name="connsiteX21" fmla="*/ 9070 w 10000"/>
                <a:gd name="connsiteY21" fmla="*/ 7239 h 10000"/>
                <a:gd name="connsiteX22" fmla="*/ 9302 w 10000"/>
                <a:gd name="connsiteY22" fmla="*/ 7932 h 10000"/>
                <a:gd name="connsiteX23" fmla="*/ 10000 w 10000"/>
                <a:gd name="connsiteY23" fmla="*/ 7239 h 10000"/>
                <a:gd name="connsiteX24" fmla="*/ 10000 w 10000"/>
                <a:gd name="connsiteY24" fmla="*/ 6208 h 10000"/>
                <a:gd name="connsiteX25" fmla="*/ 9302 w 10000"/>
                <a:gd name="connsiteY25" fmla="*/ 4484 h 10000"/>
                <a:gd name="connsiteX26" fmla="*/ 9302 w 10000"/>
                <a:gd name="connsiteY26" fmla="*/ 2762 h 10000"/>
                <a:gd name="connsiteX27" fmla="*/ 9535 w 10000"/>
                <a:gd name="connsiteY27" fmla="*/ 2762 h 10000"/>
                <a:gd name="connsiteX28" fmla="*/ 9070 w 10000"/>
                <a:gd name="connsiteY28" fmla="*/ 1039 h 10000"/>
                <a:gd name="connsiteX29" fmla="*/ 8837 w 10000"/>
                <a:gd name="connsiteY29" fmla="*/ 344 h 10000"/>
                <a:gd name="connsiteX30" fmla="*/ 7674 w 10000"/>
                <a:gd name="connsiteY30" fmla="*/ 0 h 10000"/>
                <a:gd name="connsiteX0" fmla="*/ 7674 w 10000"/>
                <a:gd name="connsiteY0" fmla="*/ 0 h 10000"/>
                <a:gd name="connsiteX1" fmla="*/ 2558 w 10000"/>
                <a:gd name="connsiteY1" fmla="*/ 2411 h 10000"/>
                <a:gd name="connsiteX2" fmla="*/ 1395 w 10000"/>
                <a:gd name="connsiteY2" fmla="*/ 2411 h 10000"/>
                <a:gd name="connsiteX3" fmla="*/ 1395 w 10000"/>
                <a:gd name="connsiteY3" fmla="*/ 3796 h 10000"/>
                <a:gd name="connsiteX4" fmla="*/ 0 w 10000"/>
                <a:gd name="connsiteY4" fmla="*/ 4138 h 10000"/>
                <a:gd name="connsiteX5" fmla="*/ 0 w 10000"/>
                <a:gd name="connsiteY5" fmla="*/ 7932 h 10000"/>
                <a:gd name="connsiteX6" fmla="*/ 465 w 10000"/>
                <a:gd name="connsiteY6" fmla="*/ 9310 h 10000"/>
                <a:gd name="connsiteX7" fmla="*/ 1395 w 10000"/>
                <a:gd name="connsiteY7" fmla="*/ 9310 h 10000"/>
                <a:gd name="connsiteX8" fmla="*/ 1860 w 10000"/>
                <a:gd name="connsiteY8" fmla="*/ 9657 h 10000"/>
                <a:gd name="connsiteX9" fmla="*/ 1628 w 10000"/>
                <a:gd name="connsiteY9" fmla="*/ 9657 h 10000"/>
                <a:gd name="connsiteX10" fmla="*/ 2093 w 10000"/>
                <a:gd name="connsiteY10" fmla="*/ 10000 h 10000"/>
                <a:gd name="connsiteX11" fmla="*/ 2558 w 10000"/>
                <a:gd name="connsiteY11" fmla="*/ 9657 h 10000"/>
                <a:gd name="connsiteX12" fmla="*/ 3488 w 10000"/>
                <a:gd name="connsiteY12" fmla="*/ 10000 h 10000"/>
                <a:gd name="connsiteX13" fmla="*/ 4186 w 10000"/>
                <a:gd name="connsiteY13" fmla="*/ 8964 h 10000"/>
                <a:gd name="connsiteX14" fmla="*/ 5116 w 10000"/>
                <a:gd name="connsiteY14" fmla="*/ 7591 h 10000"/>
                <a:gd name="connsiteX15" fmla="*/ 5814 w 10000"/>
                <a:gd name="connsiteY15" fmla="*/ 7239 h 10000"/>
                <a:gd name="connsiteX16" fmla="*/ 5581 w 10000"/>
                <a:gd name="connsiteY16" fmla="*/ 7239 h 10000"/>
                <a:gd name="connsiteX17" fmla="*/ 5581 w 10000"/>
                <a:gd name="connsiteY17" fmla="*/ 6894 h 10000"/>
                <a:gd name="connsiteX18" fmla="*/ 7674 w 10000"/>
                <a:gd name="connsiteY18" fmla="*/ 5517 h 10000"/>
                <a:gd name="connsiteX19" fmla="*/ 8605 w 10000"/>
                <a:gd name="connsiteY19" fmla="*/ 6208 h 10000"/>
                <a:gd name="connsiteX20" fmla="*/ 9070 w 10000"/>
                <a:gd name="connsiteY20" fmla="*/ 7239 h 10000"/>
                <a:gd name="connsiteX21" fmla="*/ 9302 w 10000"/>
                <a:gd name="connsiteY21" fmla="*/ 7932 h 10000"/>
                <a:gd name="connsiteX22" fmla="*/ 10000 w 10000"/>
                <a:gd name="connsiteY22" fmla="*/ 7239 h 10000"/>
                <a:gd name="connsiteX23" fmla="*/ 10000 w 10000"/>
                <a:gd name="connsiteY23" fmla="*/ 6208 h 10000"/>
                <a:gd name="connsiteX24" fmla="*/ 9302 w 10000"/>
                <a:gd name="connsiteY24" fmla="*/ 4484 h 10000"/>
                <a:gd name="connsiteX25" fmla="*/ 9302 w 10000"/>
                <a:gd name="connsiteY25" fmla="*/ 2762 h 10000"/>
                <a:gd name="connsiteX26" fmla="*/ 9535 w 10000"/>
                <a:gd name="connsiteY26" fmla="*/ 2762 h 10000"/>
                <a:gd name="connsiteX27" fmla="*/ 9070 w 10000"/>
                <a:gd name="connsiteY27" fmla="*/ 1039 h 10000"/>
                <a:gd name="connsiteX28" fmla="*/ 8837 w 10000"/>
                <a:gd name="connsiteY28" fmla="*/ 344 h 10000"/>
                <a:gd name="connsiteX29" fmla="*/ 7674 w 10000"/>
                <a:gd name="connsiteY29" fmla="*/ 0 h 10000"/>
                <a:gd name="connsiteX0" fmla="*/ 7674 w 10000"/>
                <a:gd name="connsiteY0" fmla="*/ 53 h 10053"/>
                <a:gd name="connsiteX1" fmla="*/ 7031 w 10000"/>
                <a:gd name="connsiteY1" fmla="*/ 1620 h 10053"/>
                <a:gd name="connsiteX2" fmla="*/ 1395 w 10000"/>
                <a:gd name="connsiteY2" fmla="*/ 2464 h 10053"/>
                <a:gd name="connsiteX3" fmla="*/ 1395 w 10000"/>
                <a:gd name="connsiteY3" fmla="*/ 3849 h 10053"/>
                <a:gd name="connsiteX4" fmla="*/ 0 w 10000"/>
                <a:gd name="connsiteY4" fmla="*/ 4191 h 10053"/>
                <a:gd name="connsiteX5" fmla="*/ 0 w 10000"/>
                <a:gd name="connsiteY5" fmla="*/ 7985 h 10053"/>
                <a:gd name="connsiteX6" fmla="*/ 465 w 10000"/>
                <a:gd name="connsiteY6" fmla="*/ 9363 h 10053"/>
                <a:gd name="connsiteX7" fmla="*/ 1395 w 10000"/>
                <a:gd name="connsiteY7" fmla="*/ 9363 h 10053"/>
                <a:gd name="connsiteX8" fmla="*/ 1860 w 10000"/>
                <a:gd name="connsiteY8" fmla="*/ 9710 h 10053"/>
                <a:gd name="connsiteX9" fmla="*/ 1628 w 10000"/>
                <a:gd name="connsiteY9" fmla="*/ 9710 h 10053"/>
                <a:gd name="connsiteX10" fmla="*/ 2093 w 10000"/>
                <a:gd name="connsiteY10" fmla="*/ 10053 h 10053"/>
                <a:gd name="connsiteX11" fmla="*/ 2558 w 10000"/>
                <a:gd name="connsiteY11" fmla="*/ 9710 h 10053"/>
                <a:gd name="connsiteX12" fmla="*/ 3488 w 10000"/>
                <a:gd name="connsiteY12" fmla="*/ 10053 h 10053"/>
                <a:gd name="connsiteX13" fmla="*/ 4186 w 10000"/>
                <a:gd name="connsiteY13" fmla="*/ 9017 h 10053"/>
                <a:gd name="connsiteX14" fmla="*/ 5116 w 10000"/>
                <a:gd name="connsiteY14" fmla="*/ 7644 h 10053"/>
                <a:gd name="connsiteX15" fmla="*/ 5814 w 10000"/>
                <a:gd name="connsiteY15" fmla="*/ 7292 h 10053"/>
                <a:gd name="connsiteX16" fmla="*/ 5581 w 10000"/>
                <a:gd name="connsiteY16" fmla="*/ 7292 h 10053"/>
                <a:gd name="connsiteX17" fmla="*/ 5581 w 10000"/>
                <a:gd name="connsiteY17" fmla="*/ 6947 h 10053"/>
                <a:gd name="connsiteX18" fmla="*/ 7674 w 10000"/>
                <a:gd name="connsiteY18" fmla="*/ 5570 h 10053"/>
                <a:gd name="connsiteX19" fmla="*/ 8605 w 10000"/>
                <a:gd name="connsiteY19" fmla="*/ 6261 h 10053"/>
                <a:gd name="connsiteX20" fmla="*/ 9070 w 10000"/>
                <a:gd name="connsiteY20" fmla="*/ 7292 h 10053"/>
                <a:gd name="connsiteX21" fmla="*/ 9302 w 10000"/>
                <a:gd name="connsiteY21" fmla="*/ 7985 h 10053"/>
                <a:gd name="connsiteX22" fmla="*/ 10000 w 10000"/>
                <a:gd name="connsiteY22" fmla="*/ 7292 h 10053"/>
                <a:gd name="connsiteX23" fmla="*/ 10000 w 10000"/>
                <a:gd name="connsiteY23" fmla="*/ 6261 h 10053"/>
                <a:gd name="connsiteX24" fmla="*/ 9302 w 10000"/>
                <a:gd name="connsiteY24" fmla="*/ 4537 h 10053"/>
                <a:gd name="connsiteX25" fmla="*/ 9302 w 10000"/>
                <a:gd name="connsiteY25" fmla="*/ 2815 h 10053"/>
                <a:gd name="connsiteX26" fmla="*/ 9535 w 10000"/>
                <a:gd name="connsiteY26" fmla="*/ 2815 h 10053"/>
                <a:gd name="connsiteX27" fmla="*/ 9070 w 10000"/>
                <a:gd name="connsiteY27" fmla="*/ 1092 h 10053"/>
                <a:gd name="connsiteX28" fmla="*/ 8837 w 10000"/>
                <a:gd name="connsiteY28" fmla="*/ 397 h 10053"/>
                <a:gd name="connsiteX29" fmla="*/ 7674 w 10000"/>
                <a:gd name="connsiteY29" fmla="*/ 53 h 10053"/>
                <a:gd name="connsiteX0" fmla="*/ 7674 w 10000"/>
                <a:gd name="connsiteY0" fmla="*/ 53 h 10053"/>
                <a:gd name="connsiteX1" fmla="*/ 7031 w 10000"/>
                <a:gd name="connsiteY1" fmla="*/ 1620 h 10053"/>
                <a:gd name="connsiteX2" fmla="*/ 1395 w 10000"/>
                <a:gd name="connsiteY2" fmla="*/ 2464 h 10053"/>
                <a:gd name="connsiteX3" fmla="*/ 1395 w 10000"/>
                <a:gd name="connsiteY3" fmla="*/ 3849 h 10053"/>
                <a:gd name="connsiteX4" fmla="*/ 0 w 10000"/>
                <a:gd name="connsiteY4" fmla="*/ 4191 h 10053"/>
                <a:gd name="connsiteX5" fmla="*/ 0 w 10000"/>
                <a:gd name="connsiteY5" fmla="*/ 7985 h 10053"/>
                <a:gd name="connsiteX6" fmla="*/ 465 w 10000"/>
                <a:gd name="connsiteY6" fmla="*/ 9363 h 10053"/>
                <a:gd name="connsiteX7" fmla="*/ 1395 w 10000"/>
                <a:gd name="connsiteY7" fmla="*/ 9363 h 10053"/>
                <a:gd name="connsiteX8" fmla="*/ 1860 w 10000"/>
                <a:gd name="connsiteY8" fmla="*/ 9710 h 10053"/>
                <a:gd name="connsiteX9" fmla="*/ 1628 w 10000"/>
                <a:gd name="connsiteY9" fmla="*/ 9710 h 10053"/>
                <a:gd name="connsiteX10" fmla="*/ 2093 w 10000"/>
                <a:gd name="connsiteY10" fmla="*/ 10053 h 10053"/>
                <a:gd name="connsiteX11" fmla="*/ 2558 w 10000"/>
                <a:gd name="connsiteY11" fmla="*/ 9710 h 10053"/>
                <a:gd name="connsiteX12" fmla="*/ 3488 w 10000"/>
                <a:gd name="connsiteY12" fmla="*/ 10053 h 10053"/>
                <a:gd name="connsiteX13" fmla="*/ 4186 w 10000"/>
                <a:gd name="connsiteY13" fmla="*/ 9017 h 10053"/>
                <a:gd name="connsiteX14" fmla="*/ 5116 w 10000"/>
                <a:gd name="connsiteY14" fmla="*/ 7644 h 10053"/>
                <a:gd name="connsiteX15" fmla="*/ 5814 w 10000"/>
                <a:gd name="connsiteY15" fmla="*/ 7292 h 10053"/>
                <a:gd name="connsiteX16" fmla="*/ 5581 w 10000"/>
                <a:gd name="connsiteY16" fmla="*/ 7292 h 10053"/>
                <a:gd name="connsiteX17" fmla="*/ 5581 w 10000"/>
                <a:gd name="connsiteY17" fmla="*/ 6947 h 10053"/>
                <a:gd name="connsiteX18" fmla="*/ 7674 w 10000"/>
                <a:gd name="connsiteY18" fmla="*/ 5570 h 10053"/>
                <a:gd name="connsiteX19" fmla="*/ 8605 w 10000"/>
                <a:gd name="connsiteY19" fmla="*/ 6261 h 10053"/>
                <a:gd name="connsiteX20" fmla="*/ 9070 w 10000"/>
                <a:gd name="connsiteY20" fmla="*/ 7292 h 10053"/>
                <a:gd name="connsiteX21" fmla="*/ 9302 w 10000"/>
                <a:gd name="connsiteY21" fmla="*/ 7985 h 10053"/>
                <a:gd name="connsiteX22" fmla="*/ 10000 w 10000"/>
                <a:gd name="connsiteY22" fmla="*/ 7292 h 10053"/>
                <a:gd name="connsiteX23" fmla="*/ 10000 w 10000"/>
                <a:gd name="connsiteY23" fmla="*/ 6261 h 10053"/>
                <a:gd name="connsiteX24" fmla="*/ 9302 w 10000"/>
                <a:gd name="connsiteY24" fmla="*/ 4537 h 10053"/>
                <a:gd name="connsiteX25" fmla="*/ 9302 w 10000"/>
                <a:gd name="connsiteY25" fmla="*/ 2815 h 10053"/>
                <a:gd name="connsiteX26" fmla="*/ 9535 w 10000"/>
                <a:gd name="connsiteY26" fmla="*/ 2815 h 10053"/>
                <a:gd name="connsiteX27" fmla="*/ 9070 w 10000"/>
                <a:gd name="connsiteY27" fmla="*/ 1092 h 10053"/>
                <a:gd name="connsiteX28" fmla="*/ 8837 w 10000"/>
                <a:gd name="connsiteY28" fmla="*/ 397 h 10053"/>
                <a:gd name="connsiteX29" fmla="*/ 7674 w 10000"/>
                <a:gd name="connsiteY29" fmla="*/ 53 h 10053"/>
                <a:gd name="connsiteX0" fmla="*/ 7674 w 10000"/>
                <a:gd name="connsiteY0" fmla="*/ 53 h 10053"/>
                <a:gd name="connsiteX1" fmla="*/ 7031 w 10000"/>
                <a:gd name="connsiteY1" fmla="*/ 1620 h 10053"/>
                <a:gd name="connsiteX2" fmla="*/ 1395 w 10000"/>
                <a:gd name="connsiteY2" fmla="*/ 2464 h 10053"/>
                <a:gd name="connsiteX3" fmla="*/ 1395 w 10000"/>
                <a:gd name="connsiteY3" fmla="*/ 3849 h 10053"/>
                <a:gd name="connsiteX4" fmla="*/ 0 w 10000"/>
                <a:gd name="connsiteY4" fmla="*/ 4191 h 10053"/>
                <a:gd name="connsiteX5" fmla="*/ 0 w 10000"/>
                <a:gd name="connsiteY5" fmla="*/ 7985 h 10053"/>
                <a:gd name="connsiteX6" fmla="*/ 465 w 10000"/>
                <a:gd name="connsiteY6" fmla="*/ 9363 h 10053"/>
                <a:gd name="connsiteX7" fmla="*/ 1395 w 10000"/>
                <a:gd name="connsiteY7" fmla="*/ 9363 h 10053"/>
                <a:gd name="connsiteX8" fmla="*/ 1860 w 10000"/>
                <a:gd name="connsiteY8" fmla="*/ 9710 h 10053"/>
                <a:gd name="connsiteX9" fmla="*/ 1628 w 10000"/>
                <a:gd name="connsiteY9" fmla="*/ 9710 h 10053"/>
                <a:gd name="connsiteX10" fmla="*/ 2093 w 10000"/>
                <a:gd name="connsiteY10" fmla="*/ 10053 h 10053"/>
                <a:gd name="connsiteX11" fmla="*/ 2558 w 10000"/>
                <a:gd name="connsiteY11" fmla="*/ 9710 h 10053"/>
                <a:gd name="connsiteX12" fmla="*/ 3488 w 10000"/>
                <a:gd name="connsiteY12" fmla="*/ 10053 h 10053"/>
                <a:gd name="connsiteX13" fmla="*/ 4186 w 10000"/>
                <a:gd name="connsiteY13" fmla="*/ 9017 h 10053"/>
                <a:gd name="connsiteX14" fmla="*/ 5116 w 10000"/>
                <a:gd name="connsiteY14" fmla="*/ 7644 h 10053"/>
                <a:gd name="connsiteX15" fmla="*/ 5814 w 10000"/>
                <a:gd name="connsiteY15" fmla="*/ 7292 h 10053"/>
                <a:gd name="connsiteX16" fmla="*/ 5581 w 10000"/>
                <a:gd name="connsiteY16" fmla="*/ 7292 h 10053"/>
                <a:gd name="connsiteX17" fmla="*/ 5581 w 10000"/>
                <a:gd name="connsiteY17" fmla="*/ 6947 h 10053"/>
                <a:gd name="connsiteX18" fmla="*/ 7674 w 10000"/>
                <a:gd name="connsiteY18" fmla="*/ 5570 h 10053"/>
                <a:gd name="connsiteX19" fmla="*/ 8605 w 10000"/>
                <a:gd name="connsiteY19" fmla="*/ 6261 h 10053"/>
                <a:gd name="connsiteX20" fmla="*/ 9070 w 10000"/>
                <a:gd name="connsiteY20" fmla="*/ 7292 h 10053"/>
                <a:gd name="connsiteX21" fmla="*/ 9302 w 10000"/>
                <a:gd name="connsiteY21" fmla="*/ 7985 h 10053"/>
                <a:gd name="connsiteX22" fmla="*/ 10000 w 10000"/>
                <a:gd name="connsiteY22" fmla="*/ 7292 h 10053"/>
                <a:gd name="connsiteX23" fmla="*/ 10000 w 10000"/>
                <a:gd name="connsiteY23" fmla="*/ 6261 h 10053"/>
                <a:gd name="connsiteX24" fmla="*/ 9302 w 10000"/>
                <a:gd name="connsiteY24" fmla="*/ 4537 h 10053"/>
                <a:gd name="connsiteX25" fmla="*/ 9302 w 10000"/>
                <a:gd name="connsiteY25" fmla="*/ 2815 h 10053"/>
                <a:gd name="connsiteX26" fmla="*/ 9535 w 10000"/>
                <a:gd name="connsiteY26" fmla="*/ 2815 h 10053"/>
                <a:gd name="connsiteX27" fmla="*/ 9070 w 10000"/>
                <a:gd name="connsiteY27" fmla="*/ 1092 h 10053"/>
                <a:gd name="connsiteX28" fmla="*/ 8837 w 10000"/>
                <a:gd name="connsiteY28" fmla="*/ 397 h 10053"/>
                <a:gd name="connsiteX29" fmla="*/ 7674 w 10000"/>
                <a:gd name="connsiteY29" fmla="*/ 53 h 10053"/>
                <a:gd name="connsiteX0" fmla="*/ 7674 w 10000"/>
                <a:gd name="connsiteY0" fmla="*/ 53 h 10053"/>
                <a:gd name="connsiteX1" fmla="*/ 7031 w 10000"/>
                <a:gd name="connsiteY1" fmla="*/ 1620 h 10053"/>
                <a:gd name="connsiteX2" fmla="*/ 1395 w 10000"/>
                <a:gd name="connsiteY2" fmla="*/ 2464 h 10053"/>
                <a:gd name="connsiteX3" fmla="*/ 1395 w 10000"/>
                <a:gd name="connsiteY3" fmla="*/ 3849 h 10053"/>
                <a:gd name="connsiteX4" fmla="*/ 0 w 10000"/>
                <a:gd name="connsiteY4" fmla="*/ 4191 h 10053"/>
                <a:gd name="connsiteX5" fmla="*/ 0 w 10000"/>
                <a:gd name="connsiteY5" fmla="*/ 7985 h 10053"/>
                <a:gd name="connsiteX6" fmla="*/ 465 w 10000"/>
                <a:gd name="connsiteY6" fmla="*/ 9363 h 10053"/>
                <a:gd name="connsiteX7" fmla="*/ 1395 w 10000"/>
                <a:gd name="connsiteY7" fmla="*/ 9363 h 10053"/>
                <a:gd name="connsiteX8" fmla="*/ 1860 w 10000"/>
                <a:gd name="connsiteY8" fmla="*/ 9710 h 10053"/>
                <a:gd name="connsiteX9" fmla="*/ 1628 w 10000"/>
                <a:gd name="connsiteY9" fmla="*/ 9710 h 10053"/>
                <a:gd name="connsiteX10" fmla="*/ 2093 w 10000"/>
                <a:gd name="connsiteY10" fmla="*/ 10053 h 10053"/>
                <a:gd name="connsiteX11" fmla="*/ 2558 w 10000"/>
                <a:gd name="connsiteY11" fmla="*/ 9710 h 10053"/>
                <a:gd name="connsiteX12" fmla="*/ 3488 w 10000"/>
                <a:gd name="connsiteY12" fmla="*/ 10053 h 10053"/>
                <a:gd name="connsiteX13" fmla="*/ 4186 w 10000"/>
                <a:gd name="connsiteY13" fmla="*/ 9017 h 10053"/>
                <a:gd name="connsiteX14" fmla="*/ 5116 w 10000"/>
                <a:gd name="connsiteY14" fmla="*/ 7644 h 10053"/>
                <a:gd name="connsiteX15" fmla="*/ 5814 w 10000"/>
                <a:gd name="connsiteY15" fmla="*/ 7292 h 10053"/>
                <a:gd name="connsiteX16" fmla="*/ 5581 w 10000"/>
                <a:gd name="connsiteY16" fmla="*/ 7292 h 10053"/>
                <a:gd name="connsiteX17" fmla="*/ 5581 w 10000"/>
                <a:gd name="connsiteY17" fmla="*/ 6947 h 10053"/>
                <a:gd name="connsiteX18" fmla="*/ 7674 w 10000"/>
                <a:gd name="connsiteY18" fmla="*/ 5570 h 10053"/>
                <a:gd name="connsiteX19" fmla="*/ 8605 w 10000"/>
                <a:gd name="connsiteY19" fmla="*/ 6261 h 10053"/>
                <a:gd name="connsiteX20" fmla="*/ 9070 w 10000"/>
                <a:gd name="connsiteY20" fmla="*/ 7292 h 10053"/>
                <a:gd name="connsiteX21" fmla="*/ 9302 w 10000"/>
                <a:gd name="connsiteY21" fmla="*/ 7985 h 10053"/>
                <a:gd name="connsiteX22" fmla="*/ 10000 w 10000"/>
                <a:gd name="connsiteY22" fmla="*/ 7292 h 10053"/>
                <a:gd name="connsiteX23" fmla="*/ 10000 w 10000"/>
                <a:gd name="connsiteY23" fmla="*/ 6261 h 10053"/>
                <a:gd name="connsiteX24" fmla="*/ 9302 w 10000"/>
                <a:gd name="connsiteY24" fmla="*/ 4537 h 10053"/>
                <a:gd name="connsiteX25" fmla="*/ 9302 w 10000"/>
                <a:gd name="connsiteY25" fmla="*/ 2815 h 10053"/>
                <a:gd name="connsiteX26" fmla="*/ 9535 w 10000"/>
                <a:gd name="connsiteY26" fmla="*/ 2815 h 10053"/>
                <a:gd name="connsiteX27" fmla="*/ 9070 w 10000"/>
                <a:gd name="connsiteY27" fmla="*/ 1092 h 10053"/>
                <a:gd name="connsiteX28" fmla="*/ 8837 w 10000"/>
                <a:gd name="connsiteY28" fmla="*/ 397 h 10053"/>
                <a:gd name="connsiteX29" fmla="*/ 7674 w 10000"/>
                <a:gd name="connsiteY29" fmla="*/ 53 h 10053"/>
                <a:gd name="connsiteX0" fmla="*/ 7674 w 10000"/>
                <a:gd name="connsiteY0" fmla="*/ 53 h 10053"/>
                <a:gd name="connsiteX1" fmla="*/ 7031 w 10000"/>
                <a:gd name="connsiteY1" fmla="*/ 1620 h 10053"/>
                <a:gd name="connsiteX2" fmla="*/ 7288 w 10000"/>
                <a:gd name="connsiteY2" fmla="*/ 3308 h 10053"/>
                <a:gd name="connsiteX3" fmla="*/ 1395 w 10000"/>
                <a:gd name="connsiteY3" fmla="*/ 3849 h 10053"/>
                <a:gd name="connsiteX4" fmla="*/ 0 w 10000"/>
                <a:gd name="connsiteY4" fmla="*/ 4191 h 10053"/>
                <a:gd name="connsiteX5" fmla="*/ 0 w 10000"/>
                <a:gd name="connsiteY5" fmla="*/ 7985 h 10053"/>
                <a:gd name="connsiteX6" fmla="*/ 465 w 10000"/>
                <a:gd name="connsiteY6" fmla="*/ 9363 h 10053"/>
                <a:gd name="connsiteX7" fmla="*/ 1395 w 10000"/>
                <a:gd name="connsiteY7" fmla="*/ 9363 h 10053"/>
                <a:gd name="connsiteX8" fmla="*/ 1860 w 10000"/>
                <a:gd name="connsiteY8" fmla="*/ 9710 h 10053"/>
                <a:gd name="connsiteX9" fmla="*/ 1628 w 10000"/>
                <a:gd name="connsiteY9" fmla="*/ 9710 h 10053"/>
                <a:gd name="connsiteX10" fmla="*/ 2093 w 10000"/>
                <a:gd name="connsiteY10" fmla="*/ 10053 h 10053"/>
                <a:gd name="connsiteX11" fmla="*/ 2558 w 10000"/>
                <a:gd name="connsiteY11" fmla="*/ 9710 h 10053"/>
                <a:gd name="connsiteX12" fmla="*/ 3488 w 10000"/>
                <a:gd name="connsiteY12" fmla="*/ 10053 h 10053"/>
                <a:gd name="connsiteX13" fmla="*/ 4186 w 10000"/>
                <a:gd name="connsiteY13" fmla="*/ 9017 h 10053"/>
                <a:gd name="connsiteX14" fmla="*/ 5116 w 10000"/>
                <a:gd name="connsiteY14" fmla="*/ 7644 h 10053"/>
                <a:gd name="connsiteX15" fmla="*/ 5814 w 10000"/>
                <a:gd name="connsiteY15" fmla="*/ 7292 h 10053"/>
                <a:gd name="connsiteX16" fmla="*/ 5581 w 10000"/>
                <a:gd name="connsiteY16" fmla="*/ 7292 h 10053"/>
                <a:gd name="connsiteX17" fmla="*/ 5581 w 10000"/>
                <a:gd name="connsiteY17" fmla="*/ 6947 h 10053"/>
                <a:gd name="connsiteX18" fmla="*/ 7674 w 10000"/>
                <a:gd name="connsiteY18" fmla="*/ 5570 h 10053"/>
                <a:gd name="connsiteX19" fmla="*/ 8605 w 10000"/>
                <a:gd name="connsiteY19" fmla="*/ 6261 h 10053"/>
                <a:gd name="connsiteX20" fmla="*/ 9070 w 10000"/>
                <a:gd name="connsiteY20" fmla="*/ 7292 h 10053"/>
                <a:gd name="connsiteX21" fmla="*/ 9302 w 10000"/>
                <a:gd name="connsiteY21" fmla="*/ 7985 h 10053"/>
                <a:gd name="connsiteX22" fmla="*/ 10000 w 10000"/>
                <a:gd name="connsiteY22" fmla="*/ 7292 h 10053"/>
                <a:gd name="connsiteX23" fmla="*/ 10000 w 10000"/>
                <a:gd name="connsiteY23" fmla="*/ 6261 h 10053"/>
                <a:gd name="connsiteX24" fmla="*/ 9302 w 10000"/>
                <a:gd name="connsiteY24" fmla="*/ 4537 h 10053"/>
                <a:gd name="connsiteX25" fmla="*/ 9302 w 10000"/>
                <a:gd name="connsiteY25" fmla="*/ 2815 h 10053"/>
                <a:gd name="connsiteX26" fmla="*/ 9535 w 10000"/>
                <a:gd name="connsiteY26" fmla="*/ 2815 h 10053"/>
                <a:gd name="connsiteX27" fmla="*/ 9070 w 10000"/>
                <a:gd name="connsiteY27" fmla="*/ 1092 h 10053"/>
                <a:gd name="connsiteX28" fmla="*/ 8837 w 10000"/>
                <a:gd name="connsiteY28" fmla="*/ 397 h 10053"/>
                <a:gd name="connsiteX29" fmla="*/ 7674 w 10000"/>
                <a:gd name="connsiteY29" fmla="*/ 53 h 10053"/>
                <a:gd name="connsiteX0" fmla="*/ 7674 w 10000"/>
                <a:gd name="connsiteY0" fmla="*/ 53 h 10053"/>
                <a:gd name="connsiteX1" fmla="*/ 7812 w 10000"/>
                <a:gd name="connsiteY1" fmla="*/ 1620 h 10053"/>
                <a:gd name="connsiteX2" fmla="*/ 7288 w 10000"/>
                <a:gd name="connsiteY2" fmla="*/ 3308 h 10053"/>
                <a:gd name="connsiteX3" fmla="*/ 1395 w 10000"/>
                <a:gd name="connsiteY3" fmla="*/ 3849 h 10053"/>
                <a:gd name="connsiteX4" fmla="*/ 0 w 10000"/>
                <a:gd name="connsiteY4" fmla="*/ 4191 h 10053"/>
                <a:gd name="connsiteX5" fmla="*/ 0 w 10000"/>
                <a:gd name="connsiteY5" fmla="*/ 7985 h 10053"/>
                <a:gd name="connsiteX6" fmla="*/ 465 w 10000"/>
                <a:gd name="connsiteY6" fmla="*/ 9363 h 10053"/>
                <a:gd name="connsiteX7" fmla="*/ 1395 w 10000"/>
                <a:gd name="connsiteY7" fmla="*/ 9363 h 10053"/>
                <a:gd name="connsiteX8" fmla="*/ 1860 w 10000"/>
                <a:gd name="connsiteY8" fmla="*/ 9710 h 10053"/>
                <a:gd name="connsiteX9" fmla="*/ 1628 w 10000"/>
                <a:gd name="connsiteY9" fmla="*/ 9710 h 10053"/>
                <a:gd name="connsiteX10" fmla="*/ 2093 w 10000"/>
                <a:gd name="connsiteY10" fmla="*/ 10053 h 10053"/>
                <a:gd name="connsiteX11" fmla="*/ 2558 w 10000"/>
                <a:gd name="connsiteY11" fmla="*/ 9710 h 10053"/>
                <a:gd name="connsiteX12" fmla="*/ 3488 w 10000"/>
                <a:gd name="connsiteY12" fmla="*/ 10053 h 10053"/>
                <a:gd name="connsiteX13" fmla="*/ 4186 w 10000"/>
                <a:gd name="connsiteY13" fmla="*/ 9017 h 10053"/>
                <a:gd name="connsiteX14" fmla="*/ 5116 w 10000"/>
                <a:gd name="connsiteY14" fmla="*/ 7644 h 10053"/>
                <a:gd name="connsiteX15" fmla="*/ 5814 w 10000"/>
                <a:gd name="connsiteY15" fmla="*/ 7292 h 10053"/>
                <a:gd name="connsiteX16" fmla="*/ 5581 w 10000"/>
                <a:gd name="connsiteY16" fmla="*/ 7292 h 10053"/>
                <a:gd name="connsiteX17" fmla="*/ 5581 w 10000"/>
                <a:gd name="connsiteY17" fmla="*/ 6947 h 10053"/>
                <a:gd name="connsiteX18" fmla="*/ 7674 w 10000"/>
                <a:gd name="connsiteY18" fmla="*/ 5570 h 10053"/>
                <a:gd name="connsiteX19" fmla="*/ 8605 w 10000"/>
                <a:gd name="connsiteY19" fmla="*/ 6261 h 10053"/>
                <a:gd name="connsiteX20" fmla="*/ 9070 w 10000"/>
                <a:gd name="connsiteY20" fmla="*/ 7292 h 10053"/>
                <a:gd name="connsiteX21" fmla="*/ 9302 w 10000"/>
                <a:gd name="connsiteY21" fmla="*/ 7985 h 10053"/>
                <a:gd name="connsiteX22" fmla="*/ 10000 w 10000"/>
                <a:gd name="connsiteY22" fmla="*/ 7292 h 10053"/>
                <a:gd name="connsiteX23" fmla="*/ 10000 w 10000"/>
                <a:gd name="connsiteY23" fmla="*/ 6261 h 10053"/>
                <a:gd name="connsiteX24" fmla="*/ 9302 w 10000"/>
                <a:gd name="connsiteY24" fmla="*/ 4537 h 10053"/>
                <a:gd name="connsiteX25" fmla="*/ 9302 w 10000"/>
                <a:gd name="connsiteY25" fmla="*/ 2815 h 10053"/>
                <a:gd name="connsiteX26" fmla="*/ 9535 w 10000"/>
                <a:gd name="connsiteY26" fmla="*/ 2815 h 10053"/>
                <a:gd name="connsiteX27" fmla="*/ 9070 w 10000"/>
                <a:gd name="connsiteY27" fmla="*/ 1092 h 10053"/>
                <a:gd name="connsiteX28" fmla="*/ 8837 w 10000"/>
                <a:gd name="connsiteY28" fmla="*/ 397 h 10053"/>
                <a:gd name="connsiteX29" fmla="*/ 7674 w 10000"/>
                <a:gd name="connsiteY29" fmla="*/ 53 h 10053"/>
                <a:gd name="connsiteX0" fmla="*/ 7674 w 10000"/>
                <a:gd name="connsiteY0" fmla="*/ 53 h 10053"/>
                <a:gd name="connsiteX1" fmla="*/ 8167 w 10000"/>
                <a:gd name="connsiteY1" fmla="*/ 1620 h 10053"/>
                <a:gd name="connsiteX2" fmla="*/ 7288 w 10000"/>
                <a:gd name="connsiteY2" fmla="*/ 3308 h 10053"/>
                <a:gd name="connsiteX3" fmla="*/ 1395 w 10000"/>
                <a:gd name="connsiteY3" fmla="*/ 3849 h 10053"/>
                <a:gd name="connsiteX4" fmla="*/ 0 w 10000"/>
                <a:gd name="connsiteY4" fmla="*/ 4191 h 10053"/>
                <a:gd name="connsiteX5" fmla="*/ 0 w 10000"/>
                <a:gd name="connsiteY5" fmla="*/ 7985 h 10053"/>
                <a:gd name="connsiteX6" fmla="*/ 465 w 10000"/>
                <a:gd name="connsiteY6" fmla="*/ 9363 h 10053"/>
                <a:gd name="connsiteX7" fmla="*/ 1395 w 10000"/>
                <a:gd name="connsiteY7" fmla="*/ 9363 h 10053"/>
                <a:gd name="connsiteX8" fmla="*/ 1860 w 10000"/>
                <a:gd name="connsiteY8" fmla="*/ 9710 h 10053"/>
                <a:gd name="connsiteX9" fmla="*/ 1628 w 10000"/>
                <a:gd name="connsiteY9" fmla="*/ 9710 h 10053"/>
                <a:gd name="connsiteX10" fmla="*/ 2093 w 10000"/>
                <a:gd name="connsiteY10" fmla="*/ 10053 h 10053"/>
                <a:gd name="connsiteX11" fmla="*/ 2558 w 10000"/>
                <a:gd name="connsiteY11" fmla="*/ 9710 h 10053"/>
                <a:gd name="connsiteX12" fmla="*/ 3488 w 10000"/>
                <a:gd name="connsiteY12" fmla="*/ 10053 h 10053"/>
                <a:gd name="connsiteX13" fmla="*/ 4186 w 10000"/>
                <a:gd name="connsiteY13" fmla="*/ 9017 h 10053"/>
                <a:gd name="connsiteX14" fmla="*/ 5116 w 10000"/>
                <a:gd name="connsiteY14" fmla="*/ 7644 h 10053"/>
                <a:gd name="connsiteX15" fmla="*/ 5814 w 10000"/>
                <a:gd name="connsiteY15" fmla="*/ 7292 h 10053"/>
                <a:gd name="connsiteX16" fmla="*/ 5581 w 10000"/>
                <a:gd name="connsiteY16" fmla="*/ 7292 h 10053"/>
                <a:gd name="connsiteX17" fmla="*/ 5581 w 10000"/>
                <a:gd name="connsiteY17" fmla="*/ 6947 h 10053"/>
                <a:gd name="connsiteX18" fmla="*/ 7674 w 10000"/>
                <a:gd name="connsiteY18" fmla="*/ 5570 h 10053"/>
                <a:gd name="connsiteX19" fmla="*/ 8605 w 10000"/>
                <a:gd name="connsiteY19" fmla="*/ 6261 h 10053"/>
                <a:gd name="connsiteX20" fmla="*/ 9070 w 10000"/>
                <a:gd name="connsiteY20" fmla="*/ 7292 h 10053"/>
                <a:gd name="connsiteX21" fmla="*/ 9302 w 10000"/>
                <a:gd name="connsiteY21" fmla="*/ 7985 h 10053"/>
                <a:gd name="connsiteX22" fmla="*/ 10000 w 10000"/>
                <a:gd name="connsiteY22" fmla="*/ 7292 h 10053"/>
                <a:gd name="connsiteX23" fmla="*/ 10000 w 10000"/>
                <a:gd name="connsiteY23" fmla="*/ 6261 h 10053"/>
                <a:gd name="connsiteX24" fmla="*/ 9302 w 10000"/>
                <a:gd name="connsiteY24" fmla="*/ 4537 h 10053"/>
                <a:gd name="connsiteX25" fmla="*/ 9302 w 10000"/>
                <a:gd name="connsiteY25" fmla="*/ 2815 h 10053"/>
                <a:gd name="connsiteX26" fmla="*/ 9535 w 10000"/>
                <a:gd name="connsiteY26" fmla="*/ 2815 h 10053"/>
                <a:gd name="connsiteX27" fmla="*/ 9070 w 10000"/>
                <a:gd name="connsiteY27" fmla="*/ 1092 h 10053"/>
                <a:gd name="connsiteX28" fmla="*/ 8837 w 10000"/>
                <a:gd name="connsiteY28" fmla="*/ 397 h 10053"/>
                <a:gd name="connsiteX29" fmla="*/ 7674 w 10000"/>
                <a:gd name="connsiteY29" fmla="*/ 53 h 10053"/>
                <a:gd name="connsiteX0" fmla="*/ 7674 w 10000"/>
                <a:gd name="connsiteY0" fmla="*/ 53 h 10053"/>
                <a:gd name="connsiteX1" fmla="*/ 8167 w 10000"/>
                <a:gd name="connsiteY1" fmla="*/ 1620 h 10053"/>
                <a:gd name="connsiteX2" fmla="*/ 7856 w 10000"/>
                <a:gd name="connsiteY2" fmla="*/ 3836 h 10053"/>
                <a:gd name="connsiteX3" fmla="*/ 1395 w 10000"/>
                <a:gd name="connsiteY3" fmla="*/ 3849 h 10053"/>
                <a:gd name="connsiteX4" fmla="*/ 0 w 10000"/>
                <a:gd name="connsiteY4" fmla="*/ 4191 h 10053"/>
                <a:gd name="connsiteX5" fmla="*/ 0 w 10000"/>
                <a:gd name="connsiteY5" fmla="*/ 7985 h 10053"/>
                <a:gd name="connsiteX6" fmla="*/ 465 w 10000"/>
                <a:gd name="connsiteY6" fmla="*/ 9363 h 10053"/>
                <a:gd name="connsiteX7" fmla="*/ 1395 w 10000"/>
                <a:gd name="connsiteY7" fmla="*/ 9363 h 10053"/>
                <a:gd name="connsiteX8" fmla="*/ 1860 w 10000"/>
                <a:gd name="connsiteY8" fmla="*/ 9710 h 10053"/>
                <a:gd name="connsiteX9" fmla="*/ 1628 w 10000"/>
                <a:gd name="connsiteY9" fmla="*/ 9710 h 10053"/>
                <a:gd name="connsiteX10" fmla="*/ 2093 w 10000"/>
                <a:gd name="connsiteY10" fmla="*/ 10053 h 10053"/>
                <a:gd name="connsiteX11" fmla="*/ 2558 w 10000"/>
                <a:gd name="connsiteY11" fmla="*/ 9710 h 10053"/>
                <a:gd name="connsiteX12" fmla="*/ 3488 w 10000"/>
                <a:gd name="connsiteY12" fmla="*/ 10053 h 10053"/>
                <a:gd name="connsiteX13" fmla="*/ 4186 w 10000"/>
                <a:gd name="connsiteY13" fmla="*/ 9017 h 10053"/>
                <a:gd name="connsiteX14" fmla="*/ 5116 w 10000"/>
                <a:gd name="connsiteY14" fmla="*/ 7644 h 10053"/>
                <a:gd name="connsiteX15" fmla="*/ 5814 w 10000"/>
                <a:gd name="connsiteY15" fmla="*/ 7292 h 10053"/>
                <a:gd name="connsiteX16" fmla="*/ 5581 w 10000"/>
                <a:gd name="connsiteY16" fmla="*/ 7292 h 10053"/>
                <a:gd name="connsiteX17" fmla="*/ 5581 w 10000"/>
                <a:gd name="connsiteY17" fmla="*/ 6947 h 10053"/>
                <a:gd name="connsiteX18" fmla="*/ 7674 w 10000"/>
                <a:gd name="connsiteY18" fmla="*/ 5570 h 10053"/>
                <a:gd name="connsiteX19" fmla="*/ 8605 w 10000"/>
                <a:gd name="connsiteY19" fmla="*/ 6261 h 10053"/>
                <a:gd name="connsiteX20" fmla="*/ 9070 w 10000"/>
                <a:gd name="connsiteY20" fmla="*/ 7292 h 10053"/>
                <a:gd name="connsiteX21" fmla="*/ 9302 w 10000"/>
                <a:gd name="connsiteY21" fmla="*/ 7985 h 10053"/>
                <a:gd name="connsiteX22" fmla="*/ 10000 w 10000"/>
                <a:gd name="connsiteY22" fmla="*/ 7292 h 10053"/>
                <a:gd name="connsiteX23" fmla="*/ 10000 w 10000"/>
                <a:gd name="connsiteY23" fmla="*/ 6261 h 10053"/>
                <a:gd name="connsiteX24" fmla="*/ 9302 w 10000"/>
                <a:gd name="connsiteY24" fmla="*/ 4537 h 10053"/>
                <a:gd name="connsiteX25" fmla="*/ 9302 w 10000"/>
                <a:gd name="connsiteY25" fmla="*/ 2815 h 10053"/>
                <a:gd name="connsiteX26" fmla="*/ 9535 w 10000"/>
                <a:gd name="connsiteY26" fmla="*/ 2815 h 10053"/>
                <a:gd name="connsiteX27" fmla="*/ 9070 w 10000"/>
                <a:gd name="connsiteY27" fmla="*/ 1092 h 10053"/>
                <a:gd name="connsiteX28" fmla="*/ 8837 w 10000"/>
                <a:gd name="connsiteY28" fmla="*/ 397 h 10053"/>
                <a:gd name="connsiteX29" fmla="*/ 7674 w 10000"/>
                <a:gd name="connsiteY29" fmla="*/ 53 h 10053"/>
                <a:gd name="connsiteX0" fmla="*/ 7674 w 10000"/>
                <a:gd name="connsiteY0" fmla="*/ 53 h 10053"/>
                <a:gd name="connsiteX1" fmla="*/ 8167 w 10000"/>
                <a:gd name="connsiteY1" fmla="*/ 1620 h 10053"/>
                <a:gd name="connsiteX2" fmla="*/ 7856 w 10000"/>
                <a:gd name="connsiteY2" fmla="*/ 3836 h 10053"/>
                <a:gd name="connsiteX3" fmla="*/ 1395 w 10000"/>
                <a:gd name="connsiteY3" fmla="*/ 3849 h 10053"/>
                <a:gd name="connsiteX4" fmla="*/ 0 w 10000"/>
                <a:gd name="connsiteY4" fmla="*/ 4191 h 10053"/>
                <a:gd name="connsiteX5" fmla="*/ 0 w 10000"/>
                <a:gd name="connsiteY5" fmla="*/ 7985 h 10053"/>
                <a:gd name="connsiteX6" fmla="*/ 465 w 10000"/>
                <a:gd name="connsiteY6" fmla="*/ 9363 h 10053"/>
                <a:gd name="connsiteX7" fmla="*/ 1395 w 10000"/>
                <a:gd name="connsiteY7" fmla="*/ 9363 h 10053"/>
                <a:gd name="connsiteX8" fmla="*/ 1860 w 10000"/>
                <a:gd name="connsiteY8" fmla="*/ 9710 h 10053"/>
                <a:gd name="connsiteX9" fmla="*/ 1628 w 10000"/>
                <a:gd name="connsiteY9" fmla="*/ 9710 h 10053"/>
                <a:gd name="connsiteX10" fmla="*/ 2093 w 10000"/>
                <a:gd name="connsiteY10" fmla="*/ 10053 h 10053"/>
                <a:gd name="connsiteX11" fmla="*/ 2558 w 10000"/>
                <a:gd name="connsiteY11" fmla="*/ 9710 h 10053"/>
                <a:gd name="connsiteX12" fmla="*/ 3488 w 10000"/>
                <a:gd name="connsiteY12" fmla="*/ 10053 h 10053"/>
                <a:gd name="connsiteX13" fmla="*/ 4186 w 10000"/>
                <a:gd name="connsiteY13" fmla="*/ 9017 h 10053"/>
                <a:gd name="connsiteX14" fmla="*/ 5116 w 10000"/>
                <a:gd name="connsiteY14" fmla="*/ 7644 h 10053"/>
                <a:gd name="connsiteX15" fmla="*/ 5814 w 10000"/>
                <a:gd name="connsiteY15" fmla="*/ 7292 h 10053"/>
                <a:gd name="connsiteX16" fmla="*/ 5581 w 10000"/>
                <a:gd name="connsiteY16" fmla="*/ 7292 h 10053"/>
                <a:gd name="connsiteX17" fmla="*/ 5581 w 10000"/>
                <a:gd name="connsiteY17" fmla="*/ 6947 h 10053"/>
                <a:gd name="connsiteX18" fmla="*/ 7674 w 10000"/>
                <a:gd name="connsiteY18" fmla="*/ 5570 h 10053"/>
                <a:gd name="connsiteX19" fmla="*/ 8605 w 10000"/>
                <a:gd name="connsiteY19" fmla="*/ 6261 h 10053"/>
                <a:gd name="connsiteX20" fmla="*/ 9070 w 10000"/>
                <a:gd name="connsiteY20" fmla="*/ 7292 h 10053"/>
                <a:gd name="connsiteX21" fmla="*/ 9302 w 10000"/>
                <a:gd name="connsiteY21" fmla="*/ 7985 h 10053"/>
                <a:gd name="connsiteX22" fmla="*/ 10000 w 10000"/>
                <a:gd name="connsiteY22" fmla="*/ 7292 h 10053"/>
                <a:gd name="connsiteX23" fmla="*/ 10000 w 10000"/>
                <a:gd name="connsiteY23" fmla="*/ 6261 h 10053"/>
                <a:gd name="connsiteX24" fmla="*/ 9302 w 10000"/>
                <a:gd name="connsiteY24" fmla="*/ 4537 h 10053"/>
                <a:gd name="connsiteX25" fmla="*/ 9302 w 10000"/>
                <a:gd name="connsiteY25" fmla="*/ 2815 h 10053"/>
                <a:gd name="connsiteX26" fmla="*/ 9535 w 10000"/>
                <a:gd name="connsiteY26" fmla="*/ 2815 h 10053"/>
                <a:gd name="connsiteX27" fmla="*/ 9070 w 10000"/>
                <a:gd name="connsiteY27" fmla="*/ 1092 h 10053"/>
                <a:gd name="connsiteX28" fmla="*/ 8837 w 10000"/>
                <a:gd name="connsiteY28" fmla="*/ 397 h 10053"/>
                <a:gd name="connsiteX29" fmla="*/ 7674 w 10000"/>
                <a:gd name="connsiteY29" fmla="*/ 53 h 10053"/>
                <a:gd name="connsiteX0" fmla="*/ 7674 w 10000"/>
                <a:gd name="connsiteY0" fmla="*/ 53 h 10053"/>
                <a:gd name="connsiteX1" fmla="*/ 8167 w 10000"/>
                <a:gd name="connsiteY1" fmla="*/ 1620 h 10053"/>
                <a:gd name="connsiteX2" fmla="*/ 7856 w 10000"/>
                <a:gd name="connsiteY2" fmla="*/ 3836 h 10053"/>
                <a:gd name="connsiteX3" fmla="*/ 1395 w 10000"/>
                <a:gd name="connsiteY3" fmla="*/ 3849 h 10053"/>
                <a:gd name="connsiteX4" fmla="*/ 0 w 10000"/>
                <a:gd name="connsiteY4" fmla="*/ 4191 h 10053"/>
                <a:gd name="connsiteX5" fmla="*/ 0 w 10000"/>
                <a:gd name="connsiteY5" fmla="*/ 7985 h 10053"/>
                <a:gd name="connsiteX6" fmla="*/ 465 w 10000"/>
                <a:gd name="connsiteY6" fmla="*/ 9363 h 10053"/>
                <a:gd name="connsiteX7" fmla="*/ 1395 w 10000"/>
                <a:gd name="connsiteY7" fmla="*/ 9363 h 10053"/>
                <a:gd name="connsiteX8" fmla="*/ 1860 w 10000"/>
                <a:gd name="connsiteY8" fmla="*/ 9710 h 10053"/>
                <a:gd name="connsiteX9" fmla="*/ 1628 w 10000"/>
                <a:gd name="connsiteY9" fmla="*/ 9710 h 10053"/>
                <a:gd name="connsiteX10" fmla="*/ 2093 w 10000"/>
                <a:gd name="connsiteY10" fmla="*/ 10053 h 10053"/>
                <a:gd name="connsiteX11" fmla="*/ 2558 w 10000"/>
                <a:gd name="connsiteY11" fmla="*/ 9710 h 10053"/>
                <a:gd name="connsiteX12" fmla="*/ 3488 w 10000"/>
                <a:gd name="connsiteY12" fmla="*/ 10053 h 10053"/>
                <a:gd name="connsiteX13" fmla="*/ 4186 w 10000"/>
                <a:gd name="connsiteY13" fmla="*/ 9017 h 10053"/>
                <a:gd name="connsiteX14" fmla="*/ 5116 w 10000"/>
                <a:gd name="connsiteY14" fmla="*/ 7644 h 10053"/>
                <a:gd name="connsiteX15" fmla="*/ 5814 w 10000"/>
                <a:gd name="connsiteY15" fmla="*/ 7292 h 10053"/>
                <a:gd name="connsiteX16" fmla="*/ 5581 w 10000"/>
                <a:gd name="connsiteY16" fmla="*/ 7292 h 10053"/>
                <a:gd name="connsiteX17" fmla="*/ 5581 w 10000"/>
                <a:gd name="connsiteY17" fmla="*/ 6947 h 10053"/>
                <a:gd name="connsiteX18" fmla="*/ 7674 w 10000"/>
                <a:gd name="connsiteY18" fmla="*/ 5570 h 10053"/>
                <a:gd name="connsiteX19" fmla="*/ 8605 w 10000"/>
                <a:gd name="connsiteY19" fmla="*/ 6261 h 10053"/>
                <a:gd name="connsiteX20" fmla="*/ 9070 w 10000"/>
                <a:gd name="connsiteY20" fmla="*/ 7292 h 10053"/>
                <a:gd name="connsiteX21" fmla="*/ 9302 w 10000"/>
                <a:gd name="connsiteY21" fmla="*/ 7985 h 10053"/>
                <a:gd name="connsiteX22" fmla="*/ 10000 w 10000"/>
                <a:gd name="connsiteY22" fmla="*/ 7292 h 10053"/>
                <a:gd name="connsiteX23" fmla="*/ 10000 w 10000"/>
                <a:gd name="connsiteY23" fmla="*/ 6261 h 10053"/>
                <a:gd name="connsiteX24" fmla="*/ 9302 w 10000"/>
                <a:gd name="connsiteY24" fmla="*/ 4537 h 10053"/>
                <a:gd name="connsiteX25" fmla="*/ 9302 w 10000"/>
                <a:gd name="connsiteY25" fmla="*/ 2815 h 10053"/>
                <a:gd name="connsiteX26" fmla="*/ 9535 w 10000"/>
                <a:gd name="connsiteY26" fmla="*/ 2815 h 10053"/>
                <a:gd name="connsiteX27" fmla="*/ 9070 w 10000"/>
                <a:gd name="connsiteY27" fmla="*/ 1092 h 10053"/>
                <a:gd name="connsiteX28" fmla="*/ 8837 w 10000"/>
                <a:gd name="connsiteY28" fmla="*/ 397 h 10053"/>
                <a:gd name="connsiteX29" fmla="*/ 7674 w 10000"/>
                <a:gd name="connsiteY29" fmla="*/ 53 h 10053"/>
                <a:gd name="connsiteX0" fmla="*/ 7674 w 10000"/>
                <a:gd name="connsiteY0" fmla="*/ 53 h 10053"/>
                <a:gd name="connsiteX1" fmla="*/ 8167 w 10000"/>
                <a:gd name="connsiteY1" fmla="*/ 1620 h 10053"/>
                <a:gd name="connsiteX2" fmla="*/ 7856 w 10000"/>
                <a:gd name="connsiteY2" fmla="*/ 3836 h 10053"/>
                <a:gd name="connsiteX3" fmla="*/ 0 w 10000"/>
                <a:gd name="connsiteY3" fmla="*/ 4191 h 10053"/>
                <a:gd name="connsiteX4" fmla="*/ 0 w 10000"/>
                <a:gd name="connsiteY4" fmla="*/ 7985 h 10053"/>
                <a:gd name="connsiteX5" fmla="*/ 465 w 10000"/>
                <a:gd name="connsiteY5" fmla="*/ 9363 h 10053"/>
                <a:gd name="connsiteX6" fmla="*/ 1395 w 10000"/>
                <a:gd name="connsiteY6" fmla="*/ 9363 h 10053"/>
                <a:gd name="connsiteX7" fmla="*/ 1860 w 10000"/>
                <a:gd name="connsiteY7" fmla="*/ 9710 h 10053"/>
                <a:gd name="connsiteX8" fmla="*/ 1628 w 10000"/>
                <a:gd name="connsiteY8" fmla="*/ 9710 h 10053"/>
                <a:gd name="connsiteX9" fmla="*/ 2093 w 10000"/>
                <a:gd name="connsiteY9" fmla="*/ 10053 h 10053"/>
                <a:gd name="connsiteX10" fmla="*/ 2558 w 10000"/>
                <a:gd name="connsiteY10" fmla="*/ 9710 h 10053"/>
                <a:gd name="connsiteX11" fmla="*/ 3488 w 10000"/>
                <a:gd name="connsiteY11" fmla="*/ 10053 h 10053"/>
                <a:gd name="connsiteX12" fmla="*/ 4186 w 10000"/>
                <a:gd name="connsiteY12" fmla="*/ 9017 h 10053"/>
                <a:gd name="connsiteX13" fmla="*/ 5116 w 10000"/>
                <a:gd name="connsiteY13" fmla="*/ 7644 h 10053"/>
                <a:gd name="connsiteX14" fmla="*/ 5814 w 10000"/>
                <a:gd name="connsiteY14" fmla="*/ 7292 h 10053"/>
                <a:gd name="connsiteX15" fmla="*/ 5581 w 10000"/>
                <a:gd name="connsiteY15" fmla="*/ 7292 h 10053"/>
                <a:gd name="connsiteX16" fmla="*/ 5581 w 10000"/>
                <a:gd name="connsiteY16" fmla="*/ 6947 h 10053"/>
                <a:gd name="connsiteX17" fmla="*/ 7674 w 10000"/>
                <a:gd name="connsiteY17" fmla="*/ 5570 h 10053"/>
                <a:gd name="connsiteX18" fmla="*/ 8605 w 10000"/>
                <a:gd name="connsiteY18" fmla="*/ 6261 h 10053"/>
                <a:gd name="connsiteX19" fmla="*/ 9070 w 10000"/>
                <a:gd name="connsiteY19" fmla="*/ 7292 h 10053"/>
                <a:gd name="connsiteX20" fmla="*/ 9302 w 10000"/>
                <a:gd name="connsiteY20" fmla="*/ 7985 h 10053"/>
                <a:gd name="connsiteX21" fmla="*/ 10000 w 10000"/>
                <a:gd name="connsiteY21" fmla="*/ 7292 h 10053"/>
                <a:gd name="connsiteX22" fmla="*/ 10000 w 10000"/>
                <a:gd name="connsiteY22" fmla="*/ 6261 h 10053"/>
                <a:gd name="connsiteX23" fmla="*/ 9302 w 10000"/>
                <a:gd name="connsiteY23" fmla="*/ 4537 h 10053"/>
                <a:gd name="connsiteX24" fmla="*/ 9302 w 10000"/>
                <a:gd name="connsiteY24" fmla="*/ 2815 h 10053"/>
                <a:gd name="connsiteX25" fmla="*/ 9535 w 10000"/>
                <a:gd name="connsiteY25" fmla="*/ 2815 h 10053"/>
                <a:gd name="connsiteX26" fmla="*/ 9070 w 10000"/>
                <a:gd name="connsiteY26" fmla="*/ 1092 h 10053"/>
                <a:gd name="connsiteX27" fmla="*/ 8837 w 10000"/>
                <a:gd name="connsiteY27" fmla="*/ 397 h 10053"/>
                <a:gd name="connsiteX28" fmla="*/ 7674 w 10000"/>
                <a:gd name="connsiteY28" fmla="*/ 53 h 10053"/>
                <a:gd name="connsiteX0" fmla="*/ 7674 w 10000"/>
                <a:gd name="connsiteY0" fmla="*/ 53 h 10053"/>
                <a:gd name="connsiteX1" fmla="*/ 8167 w 10000"/>
                <a:gd name="connsiteY1" fmla="*/ 1620 h 10053"/>
                <a:gd name="connsiteX2" fmla="*/ 7856 w 10000"/>
                <a:gd name="connsiteY2" fmla="*/ 3836 h 10053"/>
                <a:gd name="connsiteX3" fmla="*/ 0 w 10000"/>
                <a:gd name="connsiteY3" fmla="*/ 7985 h 10053"/>
                <a:gd name="connsiteX4" fmla="*/ 465 w 10000"/>
                <a:gd name="connsiteY4" fmla="*/ 9363 h 10053"/>
                <a:gd name="connsiteX5" fmla="*/ 1395 w 10000"/>
                <a:gd name="connsiteY5" fmla="*/ 9363 h 10053"/>
                <a:gd name="connsiteX6" fmla="*/ 1860 w 10000"/>
                <a:gd name="connsiteY6" fmla="*/ 9710 h 10053"/>
                <a:gd name="connsiteX7" fmla="*/ 1628 w 10000"/>
                <a:gd name="connsiteY7" fmla="*/ 9710 h 10053"/>
                <a:gd name="connsiteX8" fmla="*/ 2093 w 10000"/>
                <a:gd name="connsiteY8" fmla="*/ 10053 h 10053"/>
                <a:gd name="connsiteX9" fmla="*/ 2558 w 10000"/>
                <a:gd name="connsiteY9" fmla="*/ 9710 h 10053"/>
                <a:gd name="connsiteX10" fmla="*/ 3488 w 10000"/>
                <a:gd name="connsiteY10" fmla="*/ 10053 h 10053"/>
                <a:gd name="connsiteX11" fmla="*/ 4186 w 10000"/>
                <a:gd name="connsiteY11" fmla="*/ 9017 h 10053"/>
                <a:gd name="connsiteX12" fmla="*/ 5116 w 10000"/>
                <a:gd name="connsiteY12" fmla="*/ 7644 h 10053"/>
                <a:gd name="connsiteX13" fmla="*/ 5814 w 10000"/>
                <a:gd name="connsiteY13" fmla="*/ 7292 h 10053"/>
                <a:gd name="connsiteX14" fmla="*/ 5581 w 10000"/>
                <a:gd name="connsiteY14" fmla="*/ 7292 h 10053"/>
                <a:gd name="connsiteX15" fmla="*/ 5581 w 10000"/>
                <a:gd name="connsiteY15" fmla="*/ 6947 h 10053"/>
                <a:gd name="connsiteX16" fmla="*/ 7674 w 10000"/>
                <a:gd name="connsiteY16" fmla="*/ 5570 h 10053"/>
                <a:gd name="connsiteX17" fmla="*/ 8605 w 10000"/>
                <a:gd name="connsiteY17" fmla="*/ 6261 h 10053"/>
                <a:gd name="connsiteX18" fmla="*/ 9070 w 10000"/>
                <a:gd name="connsiteY18" fmla="*/ 7292 h 10053"/>
                <a:gd name="connsiteX19" fmla="*/ 9302 w 10000"/>
                <a:gd name="connsiteY19" fmla="*/ 7985 h 10053"/>
                <a:gd name="connsiteX20" fmla="*/ 10000 w 10000"/>
                <a:gd name="connsiteY20" fmla="*/ 7292 h 10053"/>
                <a:gd name="connsiteX21" fmla="*/ 10000 w 10000"/>
                <a:gd name="connsiteY21" fmla="*/ 6261 h 10053"/>
                <a:gd name="connsiteX22" fmla="*/ 9302 w 10000"/>
                <a:gd name="connsiteY22" fmla="*/ 4537 h 10053"/>
                <a:gd name="connsiteX23" fmla="*/ 9302 w 10000"/>
                <a:gd name="connsiteY23" fmla="*/ 2815 h 10053"/>
                <a:gd name="connsiteX24" fmla="*/ 9535 w 10000"/>
                <a:gd name="connsiteY24" fmla="*/ 2815 h 10053"/>
                <a:gd name="connsiteX25" fmla="*/ 9070 w 10000"/>
                <a:gd name="connsiteY25" fmla="*/ 1092 h 10053"/>
                <a:gd name="connsiteX26" fmla="*/ 8837 w 10000"/>
                <a:gd name="connsiteY26" fmla="*/ 397 h 10053"/>
                <a:gd name="connsiteX27" fmla="*/ 7674 w 10000"/>
                <a:gd name="connsiteY27" fmla="*/ 53 h 10053"/>
                <a:gd name="connsiteX0" fmla="*/ 7209 w 9535"/>
                <a:gd name="connsiteY0" fmla="*/ 53 h 10053"/>
                <a:gd name="connsiteX1" fmla="*/ 7702 w 9535"/>
                <a:gd name="connsiteY1" fmla="*/ 1620 h 10053"/>
                <a:gd name="connsiteX2" fmla="*/ 7391 w 9535"/>
                <a:gd name="connsiteY2" fmla="*/ 3836 h 10053"/>
                <a:gd name="connsiteX3" fmla="*/ 0 w 9535"/>
                <a:gd name="connsiteY3" fmla="*/ 9363 h 10053"/>
                <a:gd name="connsiteX4" fmla="*/ 930 w 9535"/>
                <a:gd name="connsiteY4" fmla="*/ 9363 h 10053"/>
                <a:gd name="connsiteX5" fmla="*/ 1395 w 9535"/>
                <a:gd name="connsiteY5" fmla="*/ 9710 h 10053"/>
                <a:gd name="connsiteX6" fmla="*/ 1163 w 9535"/>
                <a:gd name="connsiteY6" fmla="*/ 9710 h 10053"/>
                <a:gd name="connsiteX7" fmla="*/ 1628 w 9535"/>
                <a:gd name="connsiteY7" fmla="*/ 10053 h 10053"/>
                <a:gd name="connsiteX8" fmla="*/ 2093 w 9535"/>
                <a:gd name="connsiteY8" fmla="*/ 9710 h 10053"/>
                <a:gd name="connsiteX9" fmla="*/ 3023 w 9535"/>
                <a:gd name="connsiteY9" fmla="*/ 10053 h 10053"/>
                <a:gd name="connsiteX10" fmla="*/ 3721 w 9535"/>
                <a:gd name="connsiteY10" fmla="*/ 9017 h 10053"/>
                <a:gd name="connsiteX11" fmla="*/ 4651 w 9535"/>
                <a:gd name="connsiteY11" fmla="*/ 7644 h 10053"/>
                <a:gd name="connsiteX12" fmla="*/ 5349 w 9535"/>
                <a:gd name="connsiteY12" fmla="*/ 7292 h 10053"/>
                <a:gd name="connsiteX13" fmla="*/ 5116 w 9535"/>
                <a:gd name="connsiteY13" fmla="*/ 7292 h 10053"/>
                <a:gd name="connsiteX14" fmla="*/ 5116 w 9535"/>
                <a:gd name="connsiteY14" fmla="*/ 6947 h 10053"/>
                <a:gd name="connsiteX15" fmla="*/ 7209 w 9535"/>
                <a:gd name="connsiteY15" fmla="*/ 5570 h 10053"/>
                <a:gd name="connsiteX16" fmla="*/ 8140 w 9535"/>
                <a:gd name="connsiteY16" fmla="*/ 6261 h 10053"/>
                <a:gd name="connsiteX17" fmla="*/ 8605 w 9535"/>
                <a:gd name="connsiteY17" fmla="*/ 7292 h 10053"/>
                <a:gd name="connsiteX18" fmla="*/ 8837 w 9535"/>
                <a:gd name="connsiteY18" fmla="*/ 7985 h 10053"/>
                <a:gd name="connsiteX19" fmla="*/ 9535 w 9535"/>
                <a:gd name="connsiteY19" fmla="*/ 7292 h 10053"/>
                <a:gd name="connsiteX20" fmla="*/ 9535 w 9535"/>
                <a:gd name="connsiteY20" fmla="*/ 6261 h 10053"/>
                <a:gd name="connsiteX21" fmla="*/ 8837 w 9535"/>
                <a:gd name="connsiteY21" fmla="*/ 4537 h 10053"/>
                <a:gd name="connsiteX22" fmla="*/ 8837 w 9535"/>
                <a:gd name="connsiteY22" fmla="*/ 2815 h 10053"/>
                <a:gd name="connsiteX23" fmla="*/ 9070 w 9535"/>
                <a:gd name="connsiteY23" fmla="*/ 2815 h 10053"/>
                <a:gd name="connsiteX24" fmla="*/ 8605 w 9535"/>
                <a:gd name="connsiteY24" fmla="*/ 1092 h 10053"/>
                <a:gd name="connsiteX25" fmla="*/ 8372 w 9535"/>
                <a:gd name="connsiteY25" fmla="*/ 397 h 10053"/>
                <a:gd name="connsiteX26" fmla="*/ 7209 w 9535"/>
                <a:gd name="connsiteY26" fmla="*/ 53 h 10053"/>
                <a:gd name="connsiteX0" fmla="*/ 6586 w 9025"/>
                <a:gd name="connsiteY0" fmla="*/ 53 h 10000"/>
                <a:gd name="connsiteX1" fmla="*/ 7103 w 9025"/>
                <a:gd name="connsiteY1" fmla="*/ 1611 h 10000"/>
                <a:gd name="connsiteX2" fmla="*/ 6776 w 9025"/>
                <a:gd name="connsiteY2" fmla="*/ 3816 h 10000"/>
                <a:gd name="connsiteX3" fmla="*/ 0 w 9025"/>
                <a:gd name="connsiteY3" fmla="*/ 9314 h 10000"/>
                <a:gd name="connsiteX4" fmla="*/ 488 w 9025"/>
                <a:gd name="connsiteY4" fmla="*/ 9659 h 10000"/>
                <a:gd name="connsiteX5" fmla="*/ 245 w 9025"/>
                <a:gd name="connsiteY5" fmla="*/ 9659 h 10000"/>
                <a:gd name="connsiteX6" fmla="*/ 732 w 9025"/>
                <a:gd name="connsiteY6" fmla="*/ 10000 h 10000"/>
                <a:gd name="connsiteX7" fmla="*/ 1220 w 9025"/>
                <a:gd name="connsiteY7" fmla="*/ 9659 h 10000"/>
                <a:gd name="connsiteX8" fmla="*/ 2195 w 9025"/>
                <a:gd name="connsiteY8" fmla="*/ 10000 h 10000"/>
                <a:gd name="connsiteX9" fmla="*/ 2927 w 9025"/>
                <a:gd name="connsiteY9" fmla="*/ 8969 h 10000"/>
                <a:gd name="connsiteX10" fmla="*/ 3903 w 9025"/>
                <a:gd name="connsiteY10" fmla="*/ 7604 h 10000"/>
                <a:gd name="connsiteX11" fmla="*/ 4635 w 9025"/>
                <a:gd name="connsiteY11" fmla="*/ 7254 h 10000"/>
                <a:gd name="connsiteX12" fmla="*/ 4390 w 9025"/>
                <a:gd name="connsiteY12" fmla="*/ 7254 h 10000"/>
                <a:gd name="connsiteX13" fmla="*/ 4390 w 9025"/>
                <a:gd name="connsiteY13" fmla="*/ 6910 h 10000"/>
                <a:gd name="connsiteX14" fmla="*/ 6586 w 9025"/>
                <a:gd name="connsiteY14" fmla="*/ 5541 h 10000"/>
                <a:gd name="connsiteX15" fmla="*/ 7562 w 9025"/>
                <a:gd name="connsiteY15" fmla="*/ 6228 h 10000"/>
                <a:gd name="connsiteX16" fmla="*/ 8050 w 9025"/>
                <a:gd name="connsiteY16" fmla="*/ 7254 h 10000"/>
                <a:gd name="connsiteX17" fmla="*/ 8293 w 9025"/>
                <a:gd name="connsiteY17" fmla="*/ 7943 h 10000"/>
                <a:gd name="connsiteX18" fmla="*/ 9025 w 9025"/>
                <a:gd name="connsiteY18" fmla="*/ 7254 h 10000"/>
                <a:gd name="connsiteX19" fmla="*/ 9025 w 9025"/>
                <a:gd name="connsiteY19" fmla="*/ 6228 h 10000"/>
                <a:gd name="connsiteX20" fmla="*/ 8293 w 9025"/>
                <a:gd name="connsiteY20" fmla="*/ 4513 h 10000"/>
                <a:gd name="connsiteX21" fmla="*/ 8293 w 9025"/>
                <a:gd name="connsiteY21" fmla="*/ 2800 h 10000"/>
                <a:gd name="connsiteX22" fmla="*/ 8537 w 9025"/>
                <a:gd name="connsiteY22" fmla="*/ 2800 h 10000"/>
                <a:gd name="connsiteX23" fmla="*/ 8050 w 9025"/>
                <a:gd name="connsiteY23" fmla="*/ 1086 h 10000"/>
                <a:gd name="connsiteX24" fmla="*/ 7805 w 9025"/>
                <a:gd name="connsiteY24" fmla="*/ 395 h 10000"/>
                <a:gd name="connsiteX25" fmla="*/ 6586 w 9025"/>
                <a:gd name="connsiteY25" fmla="*/ 53 h 10000"/>
                <a:gd name="connsiteX0" fmla="*/ 7298 w 10000"/>
                <a:gd name="connsiteY0" fmla="*/ 53 h 10000"/>
                <a:gd name="connsiteX1" fmla="*/ 7870 w 10000"/>
                <a:gd name="connsiteY1" fmla="*/ 1611 h 10000"/>
                <a:gd name="connsiteX2" fmla="*/ 7508 w 10000"/>
                <a:gd name="connsiteY2" fmla="*/ 3816 h 10000"/>
                <a:gd name="connsiteX3" fmla="*/ 0 w 10000"/>
                <a:gd name="connsiteY3" fmla="*/ 9314 h 10000"/>
                <a:gd name="connsiteX4" fmla="*/ 541 w 10000"/>
                <a:gd name="connsiteY4" fmla="*/ 9659 h 10000"/>
                <a:gd name="connsiteX5" fmla="*/ 811 w 10000"/>
                <a:gd name="connsiteY5" fmla="*/ 10000 h 10000"/>
                <a:gd name="connsiteX6" fmla="*/ 1352 w 10000"/>
                <a:gd name="connsiteY6" fmla="*/ 9659 h 10000"/>
                <a:gd name="connsiteX7" fmla="*/ 2432 w 10000"/>
                <a:gd name="connsiteY7" fmla="*/ 10000 h 10000"/>
                <a:gd name="connsiteX8" fmla="*/ 3243 w 10000"/>
                <a:gd name="connsiteY8" fmla="*/ 8969 h 10000"/>
                <a:gd name="connsiteX9" fmla="*/ 4325 w 10000"/>
                <a:gd name="connsiteY9" fmla="*/ 7604 h 10000"/>
                <a:gd name="connsiteX10" fmla="*/ 5136 w 10000"/>
                <a:gd name="connsiteY10" fmla="*/ 7254 h 10000"/>
                <a:gd name="connsiteX11" fmla="*/ 4864 w 10000"/>
                <a:gd name="connsiteY11" fmla="*/ 7254 h 10000"/>
                <a:gd name="connsiteX12" fmla="*/ 4864 w 10000"/>
                <a:gd name="connsiteY12" fmla="*/ 6910 h 10000"/>
                <a:gd name="connsiteX13" fmla="*/ 7298 w 10000"/>
                <a:gd name="connsiteY13" fmla="*/ 5541 h 10000"/>
                <a:gd name="connsiteX14" fmla="*/ 8379 w 10000"/>
                <a:gd name="connsiteY14" fmla="*/ 6228 h 10000"/>
                <a:gd name="connsiteX15" fmla="*/ 8920 w 10000"/>
                <a:gd name="connsiteY15" fmla="*/ 7254 h 10000"/>
                <a:gd name="connsiteX16" fmla="*/ 9189 w 10000"/>
                <a:gd name="connsiteY16" fmla="*/ 7943 h 10000"/>
                <a:gd name="connsiteX17" fmla="*/ 10000 w 10000"/>
                <a:gd name="connsiteY17" fmla="*/ 7254 h 10000"/>
                <a:gd name="connsiteX18" fmla="*/ 10000 w 10000"/>
                <a:gd name="connsiteY18" fmla="*/ 6228 h 10000"/>
                <a:gd name="connsiteX19" fmla="*/ 9189 w 10000"/>
                <a:gd name="connsiteY19" fmla="*/ 4513 h 10000"/>
                <a:gd name="connsiteX20" fmla="*/ 9189 w 10000"/>
                <a:gd name="connsiteY20" fmla="*/ 2800 h 10000"/>
                <a:gd name="connsiteX21" fmla="*/ 9459 w 10000"/>
                <a:gd name="connsiteY21" fmla="*/ 2800 h 10000"/>
                <a:gd name="connsiteX22" fmla="*/ 8920 w 10000"/>
                <a:gd name="connsiteY22" fmla="*/ 1086 h 10000"/>
                <a:gd name="connsiteX23" fmla="*/ 8648 w 10000"/>
                <a:gd name="connsiteY23" fmla="*/ 395 h 10000"/>
                <a:gd name="connsiteX24" fmla="*/ 7298 w 10000"/>
                <a:gd name="connsiteY24" fmla="*/ 53 h 10000"/>
                <a:gd name="connsiteX0" fmla="*/ 6757 w 9459"/>
                <a:gd name="connsiteY0" fmla="*/ 53 h 10000"/>
                <a:gd name="connsiteX1" fmla="*/ 7329 w 9459"/>
                <a:gd name="connsiteY1" fmla="*/ 1611 h 10000"/>
                <a:gd name="connsiteX2" fmla="*/ 6967 w 9459"/>
                <a:gd name="connsiteY2" fmla="*/ 3816 h 10000"/>
                <a:gd name="connsiteX3" fmla="*/ 0 w 9459"/>
                <a:gd name="connsiteY3" fmla="*/ 9659 h 10000"/>
                <a:gd name="connsiteX4" fmla="*/ 270 w 9459"/>
                <a:gd name="connsiteY4" fmla="*/ 10000 h 10000"/>
                <a:gd name="connsiteX5" fmla="*/ 811 w 9459"/>
                <a:gd name="connsiteY5" fmla="*/ 9659 h 10000"/>
                <a:gd name="connsiteX6" fmla="*/ 1891 w 9459"/>
                <a:gd name="connsiteY6" fmla="*/ 10000 h 10000"/>
                <a:gd name="connsiteX7" fmla="*/ 2702 w 9459"/>
                <a:gd name="connsiteY7" fmla="*/ 8969 h 10000"/>
                <a:gd name="connsiteX8" fmla="*/ 3784 w 9459"/>
                <a:gd name="connsiteY8" fmla="*/ 7604 h 10000"/>
                <a:gd name="connsiteX9" fmla="*/ 4595 w 9459"/>
                <a:gd name="connsiteY9" fmla="*/ 7254 h 10000"/>
                <a:gd name="connsiteX10" fmla="*/ 4323 w 9459"/>
                <a:gd name="connsiteY10" fmla="*/ 7254 h 10000"/>
                <a:gd name="connsiteX11" fmla="*/ 4323 w 9459"/>
                <a:gd name="connsiteY11" fmla="*/ 6910 h 10000"/>
                <a:gd name="connsiteX12" fmla="*/ 6757 w 9459"/>
                <a:gd name="connsiteY12" fmla="*/ 5541 h 10000"/>
                <a:gd name="connsiteX13" fmla="*/ 7838 w 9459"/>
                <a:gd name="connsiteY13" fmla="*/ 6228 h 10000"/>
                <a:gd name="connsiteX14" fmla="*/ 8379 w 9459"/>
                <a:gd name="connsiteY14" fmla="*/ 7254 h 10000"/>
                <a:gd name="connsiteX15" fmla="*/ 8648 w 9459"/>
                <a:gd name="connsiteY15" fmla="*/ 7943 h 10000"/>
                <a:gd name="connsiteX16" fmla="*/ 9459 w 9459"/>
                <a:gd name="connsiteY16" fmla="*/ 7254 h 10000"/>
                <a:gd name="connsiteX17" fmla="*/ 9459 w 9459"/>
                <a:gd name="connsiteY17" fmla="*/ 6228 h 10000"/>
                <a:gd name="connsiteX18" fmla="*/ 8648 w 9459"/>
                <a:gd name="connsiteY18" fmla="*/ 4513 h 10000"/>
                <a:gd name="connsiteX19" fmla="*/ 8648 w 9459"/>
                <a:gd name="connsiteY19" fmla="*/ 2800 h 10000"/>
                <a:gd name="connsiteX20" fmla="*/ 8918 w 9459"/>
                <a:gd name="connsiteY20" fmla="*/ 2800 h 10000"/>
                <a:gd name="connsiteX21" fmla="*/ 8379 w 9459"/>
                <a:gd name="connsiteY21" fmla="*/ 1086 h 10000"/>
                <a:gd name="connsiteX22" fmla="*/ 8107 w 9459"/>
                <a:gd name="connsiteY22" fmla="*/ 395 h 10000"/>
                <a:gd name="connsiteX23" fmla="*/ 6757 w 9459"/>
                <a:gd name="connsiteY23" fmla="*/ 53 h 10000"/>
                <a:gd name="connsiteX0" fmla="*/ 7143 w 10000"/>
                <a:gd name="connsiteY0" fmla="*/ 53 h 10000"/>
                <a:gd name="connsiteX1" fmla="*/ 7748 w 10000"/>
                <a:gd name="connsiteY1" fmla="*/ 1611 h 10000"/>
                <a:gd name="connsiteX2" fmla="*/ 7365 w 10000"/>
                <a:gd name="connsiteY2" fmla="*/ 3816 h 10000"/>
                <a:gd name="connsiteX3" fmla="*/ 0 w 10000"/>
                <a:gd name="connsiteY3" fmla="*/ 9659 h 10000"/>
                <a:gd name="connsiteX4" fmla="*/ 857 w 10000"/>
                <a:gd name="connsiteY4" fmla="*/ 9659 h 10000"/>
                <a:gd name="connsiteX5" fmla="*/ 1999 w 10000"/>
                <a:gd name="connsiteY5" fmla="*/ 10000 h 10000"/>
                <a:gd name="connsiteX6" fmla="*/ 2857 w 10000"/>
                <a:gd name="connsiteY6" fmla="*/ 8969 h 10000"/>
                <a:gd name="connsiteX7" fmla="*/ 4000 w 10000"/>
                <a:gd name="connsiteY7" fmla="*/ 7604 h 10000"/>
                <a:gd name="connsiteX8" fmla="*/ 4858 w 10000"/>
                <a:gd name="connsiteY8" fmla="*/ 7254 h 10000"/>
                <a:gd name="connsiteX9" fmla="*/ 4570 w 10000"/>
                <a:gd name="connsiteY9" fmla="*/ 7254 h 10000"/>
                <a:gd name="connsiteX10" fmla="*/ 4570 w 10000"/>
                <a:gd name="connsiteY10" fmla="*/ 6910 h 10000"/>
                <a:gd name="connsiteX11" fmla="*/ 7143 w 10000"/>
                <a:gd name="connsiteY11" fmla="*/ 5541 h 10000"/>
                <a:gd name="connsiteX12" fmla="*/ 8286 w 10000"/>
                <a:gd name="connsiteY12" fmla="*/ 6228 h 10000"/>
                <a:gd name="connsiteX13" fmla="*/ 8858 w 10000"/>
                <a:gd name="connsiteY13" fmla="*/ 7254 h 10000"/>
                <a:gd name="connsiteX14" fmla="*/ 9143 w 10000"/>
                <a:gd name="connsiteY14" fmla="*/ 7943 h 10000"/>
                <a:gd name="connsiteX15" fmla="*/ 10000 w 10000"/>
                <a:gd name="connsiteY15" fmla="*/ 7254 h 10000"/>
                <a:gd name="connsiteX16" fmla="*/ 10000 w 10000"/>
                <a:gd name="connsiteY16" fmla="*/ 6228 h 10000"/>
                <a:gd name="connsiteX17" fmla="*/ 9143 w 10000"/>
                <a:gd name="connsiteY17" fmla="*/ 4513 h 10000"/>
                <a:gd name="connsiteX18" fmla="*/ 9143 w 10000"/>
                <a:gd name="connsiteY18" fmla="*/ 2800 h 10000"/>
                <a:gd name="connsiteX19" fmla="*/ 9428 w 10000"/>
                <a:gd name="connsiteY19" fmla="*/ 2800 h 10000"/>
                <a:gd name="connsiteX20" fmla="*/ 8858 w 10000"/>
                <a:gd name="connsiteY20" fmla="*/ 1086 h 10000"/>
                <a:gd name="connsiteX21" fmla="*/ 8571 w 10000"/>
                <a:gd name="connsiteY21" fmla="*/ 395 h 10000"/>
                <a:gd name="connsiteX22" fmla="*/ 7143 w 10000"/>
                <a:gd name="connsiteY22" fmla="*/ 53 h 10000"/>
                <a:gd name="connsiteX0" fmla="*/ 6286 w 9143"/>
                <a:gd name="connsiteY0" fmla="*/ 53 h 10000"/>
                <a:gd name="connsiteX1" fmla="*/ 6891 w 9143"/>
                <a:gd name="connsiteY1" fmla="*/ 1611 h 10000"/>
                <a:gd name="connsiteX2" fmla="*/ 6508 w 9143"/>
                <a:gd name="connsiteY2" fmla="*/ 3816 h 10000"/>
                <a:gd name="connsiteX3" fmla="*/ 0 w 9143"/>
                <a:gd name="connsiteY3" fmla="*/ 9659 h 10000"/>
                <a:gd name="connsiteX4" fmla="*/ 1142 w 9143"/>
                <a:gd name="connsiteY4" fmla="*/ 10000 h 10000"/>
                <a:gd name="connsiteX5" fmla="*/ 2000 w 9143"/>
                <a:gd name="connsiteY5" fmla="*/ 8969 h 10000"/>
                <a:gd name="connsiteX6" fmla="*/ 3143 w 9143"/>
                <a:gd name="connsiteY6" fmla="*/ 7604 h 10000"/>
                <a:gd name="connsiteX7" fmla="*/ 4001 w 9143"/>
                <a:gd name="connsiteY7" fmla="*/ 7254 h 10000"/>
                <a:gd name="connsiteX8" fmla="*/ 3713 w 9143"/>
                <a:gd name="connsiteY8" fmla="*/ 7254 h 10000"/>
                <a:gd name="connsiteX9" fmla="*/ 3713 w 9143"/>
                <a:gd name="connsiteY9" fmla="*/ 6910 h 10000"/>
                <a:gd name="connsiteX10" fmla="*/ 6286 w 9143"/>
                <a:gd name="connsiteY10" fmla="*/ 5541 h 10000"/>
                <a:gd name="connsiteX11" fmla="*/ 7429 w 9143"/>
                <a:gd name="connsiteY11" fmla="*/ 6228 h 10000"/>
                <a:gd name="connsiteX12" fmla="*/ 8001 w 9143"/>
                <a:gd name="connsiteY12" fmla="*/ 7254 h 10000"/>
                <a:gd name="connsiteX13" fmla="*/ 8286 w 9143"/>
                <a:gd name="connsiteY13" fmla="*/ 7943 h 10000"/>
                <a:gd name="connsiteX14" fmla="*/ 9143 w 9143"/>
                <a:gd name="connsiteY14" fmla="*/ 7254 h 10000"/>
                <a:gd name="connsiteX15" fmla="*/ 9143 w 9143"/>
                <a:gd name="connsiteY15" fmla="*/ 6228 h 10000"/>
                <a:gd name="connsiteX16" fmla="*/ 8286 w 9143"/>
                <a:gd name="connsiteY16" fmla="*/ 4513 h 10000"/>
                <a:gd name="connsiteX17" fmla="*/ 8286 w 9143"/>
                <a:gd name="connsiteY17" fmla="*/ 2800 h 10000"/>
                <a:gd name="connsiteX18" fmla="*/ 8571 w 9143"/>
                <a:gd name="connsiteY18" fmla="*/ 2800 h 10000"/>
                <a:gd name="connsiteX19" fmla="*/ 8001 w 9143"/>
                <a:gd name="connsiteY19" fmla="*/ 1086 h 10000"/>
                <a:gd name="connsiteX20" fmla="*/ 7714 w 9143"/>
                <a:gd name="connsiteY20" fmla="*/ 395 h 10000"/>
                <a:gd name="connsiteX21" fmla="*/ 6286 w 9143"/>
                <a:gd name="connsiteY21" fmla="*/ 53 h 10000"/>
                <a:gd name="connsiteX0" fmla="*/ 5626 w 8751"/>
                <a:gd name="connsiteY0" fmla="*/ 53 h 10000"/>
                <a:gd name="connsiteX1" fmla="*/ 6288 w 8751"/>
                <a:gd name="connsiteY1" fmla="*/ 1611 h 10000"/>
                <a:gd name="connsiteX2" fmla="*/ 5869 w 8751"/>
                <a:gd name="connsiteY2" fmla="*/ 3816 h 10000"/>
                <a:gd name="connsiteX3" fmla="*/ 0 w 8751"/>
                <a:gd name="connsiteY3" fmla="*/ 10000 h 10000"/>
                <a:gd name="connsiteX4" fmla="*/ 938 w 8751"/>
                <a:gd name="connsiteY4" fmla="*/ 8969 h 10000"/>
                <a:gd name="connsiteX5" fmla="*/ 2189 w 8751"/>
                <a:gd name="connsiteY5" fmla="*/ 7604 h 10000"/>
                <a:gd name="connsiteX6" fmla="*/ 3127 w 8751"/>
                <a:gd name="connsiteY6" fmla="*/ 7254 h 10000"/>
                <a:gd name="connsiteX7" fmla="*/ 2812 w 8751"/>
                <a:gd name="connsiteY7" fmla="*/ 7254 h 10000"/>
                <a:gd name="connsiteX8" fmla="*/ 2812 w 8751"/>
                <a:gd name="connsiteY8" fmla="*/ 6910 h 10000"/>
                <a:gd name="connsiteX9" fmla="*/ 5626 w 8751"/>
                <a:gd name="connsiteY9" fmla="*/ 5541 h 10000"/>
                <a:gd name="connsiteX10" fmla="*/ 6876 w 8751"/>
                <a:gd name="connsiteY10" fmla="*/ 6228 h 10000"/>
                <a:gd name="connsiteX11" fmla="*/ 7502 w 8751"/>
                <a:gd name="connsiteY11" fmla="*/ 7254 h 10000"/>
                <a:gd name="connsiteX12" fmla="*/ 7814 w 8751"/>
                <a:gd name="connsiteY12" fmla="*/ 7943 h 10000"/>
                <a:gd name="connsiteX13" fmla="*/ 8751 w 8751"/>
                <a:gd name="connsiteY13" fmla="*/ 7254 h 10000"/>
                <a:gd name="connsiteX14" fmla="*/ 8751 w 8751"/>
                <a:gd name="connsiteY14" fmla="*/ 6228 h 10000"/>
                <a:gd name="connsiteX15" fmla="*/ 7814 w 8751"/>
                <a:gd name="connsiteY15" fmla="*/ 4513 h 10000"/>
                <a:gd name="connsiteX16" fmla="*/ 7814 w 8751"/>
                <a:gd name="connsiteY16" fmla="*/ 2800 h 10000"/>
                <a:gd name="connsiteX17" fmla="*/ 8125 w 8751"/>
                <a:gd name="connsiteY17" fmla="*/ 2800 h 10000"/>
                <a:gd name="connsiteX18" fmla="*/ 7502 w 8751"/>
                <a:gd name="connsiteY18" fmla="*/ 1086 h 10000"/>
                <a:gd name="connsiteX19" fmla="*/ 7188 w 8751"/>
                <a:gd name="connsiteY19" fmla="*/ 395 h 10000"/>
                <a:gd name="connsiteX20" fmla="*/ 5626 w 8751"/>
                <a:gd name="connsiteY20" fmla="*/ 53 h 10000"/>
                <a:gd name="connsiteX0" fmla="*/ 5357 w 8928"/>
                <a:gd name="connsiteY0" fmla="*/ 53 h 8969"/>
                <a:gd name="connsiteX1" fmla="*/ 6113 w 8928"/>
                <a:gd name="connsiteY1" fmla="*/ 1611 h 8969"/>
                <a:gd name="connsiteX2" fmla="*/ 5635 w 8928"/>
                <a:gd name="connsiteY2" fmla="*/ 3816 h 8969"/>
                <a:gd name="connsiteX3" fmla="*/ 0 w 8928"/>
                <a:gd name="connsiteY3" fmla="*/ 8969 h 8969"/>
                <a:gd name="connsiteX4" fmla="*/ 1429 w 8928"/>
                <a:gd name="connsiteY4" fmla="*/ 7604 h 8969"/>
                <a:gd name="connsiteX5" fmla="*/ 2501 w 8928"/>
                <a:gd name="connsiteY5" fmla="*/ 7254 h 8969"/>
                <a:gd name="connsiteX6" fmla="*/ 2141 w 8928"/>
                <a:gd name="connsiteY6" fmla="*/ 7254 h 8969"/>
                <a:gd name="connsiteX7" fmla="*/ 2141 w 8928"/>
                <a:gd name="connsiteY7" fmla="*/ 6910 h 8969"/>
                <a:gd name="connsiteX8" fmla="*/ 5357 w 8928"/>
                <a:gd name="connsiteY8" fmla="*/ 5541 h 8969"/>
                <a:gd name="connsiteX9" fmla="*/ 6785 w 8928"/>
                <a:gd name="connsiteY9" fmla="*/ 6228 h 8969"/>
                <a:gd name="connsiteX10" fmla="*/ 7501 w 8928"/>
                <a:gd name="connsiteY10" fmla="*/ 7254 h 8969"/>
                <a:gd name="connsiteX11" fmla="*/ 7857 w 8928"/>
                <a:gd name="connsiteY11" fmla="*/ 7943 h 8969"/>
                <a:gd name="connsiteX12" fmla="*/ 8928 w 8928"/>
                <a:gd name="connsiteY12" fmla="*/ 7254 h 8969"/>
                <a:gd name="connsiteX13" fmla="*/ 8928 w 8928"/>
                <a:gd name="connsiteY13" fmla="*/ 6228 h 8969"/>
                <a:gd name="connsiteX14" fmla="*/ 7857 w 8928"/>
                <a:gd name="connsiteY14" fmla="*/ 4513 h 8969"/>
                <a:gd name="connsiteX15" fmla="*/ 7857 w 8928"/>
                <a:gd name="connsiteY15" fmla="*/ 2800 h 8969"/>
                <a:gd name="connsiteX16" fmla="*/ 8213 w 8928"/>
                <a:gd name="connsiteY16" fmla="*/ 2800 h 8969"/>
                <a:gd name="connsiteX17" fmla="*/ 7501 w 8928"/>
                <a:gd name="connsiteY17" fmla="*/ 1086 h 8969"/>
                <a:gd name="connsiteX18" fmla="*/ 7142 w 8928"/>
                <a:gd name="connsiteY18" fmla="*/ 395 h 8969"/>
                <a:gd name="connsiteX19" fmla="*/ 5357 w 8928"/>
                <a:gd name="connsiteY19" fmla="*/ 53 h 8969"/>
                <a:gd name="connsiteX0" fmla="*/ 4399 w 8399"/>
                <a:gd name="connsiteY0" fmla="*/ 59 h 8856"/>
                <a:gd name="connsiteX1" fmla="*/ 5246 w 8399"/>
                <a:gd name="connsiteY1" fmla="*/ 1796 h 8856"/>
                <a:gd name="connsiteX2" fmla="*/ 4711 w 8399"/>
                <a:gd name="connsiteY2" fmla="*/ 4255 h 8856"/>
                <a:gd name="connsiteX3" fmla="*/ 0 w 8399"/>
                <a:gd name="connsiteY3" fmla="*/ 8478 h 8856"/>
                <a:gd name="connsiteX4" fmla="*/ 1200 w 8399"/>
                <a:gd name="connsiteY4" fmla="*/ 8088 h 8856"/>
                <a:gd name="connsiteX5" fmla="*/ 797 w 8399"/>
                <a:gd name="connsiteY5" fmla="*/ 8088 h 8856"/>
                <a:gd name="connsiteX6" fmla="*/ 797 w 8399"/>
                <a:gd name="connsiteY6" fmla="*/ 7704 h 8856"/>
                <a:gd name="connsiteX7" fmla="*/ 4399 w 8399"/>
                <a:gd name="connsiteY7" fmla="*/ 6178 h 8856"/>
                <a:gd name="connsiteX8" fmla="*/ 5999 w 8399"/>
                <a:gd name="connsiteY8" fmla="*/ 6944 h 8856"/>
                <a:gd name="connsiteX9" fmla="*/ 6801 w 8399"/>
                <a:gd name="connsiteY9" fmla="*/ 8088 h 8856"/>
                <a:gd name="connsiteX10" fmla="*/ 7199 w 8399"/>
                <a:gd name="connsiteY10" fmla="*/ 8856 h 8856"/>
                <a:gd name="connsiteX11" fmla="*/ 8399 w 8399"/>
                <a:gd name="connsiteY11" fmla="*/ 8088 h 8856"/>
                <a:gd name="connsiteX12" fmla="*/ 8399 w 8399"/>
                <a:gd name="connsiteY12" fmla="*/ 6944 h 8856"/>
                <a:gd name="connsiteX13" fmla="*/ 7199 w 8399"/>
                <a:gd name="connsiteY13" fmla="*/ 5032 h 8856"/>
                <a:gd name="connsiteX14" fmla="*/ 7199 w 8399"/>
                <a:gd name="connsiteY14" fmla="*/ 3122 h 8856"/>
                <a:gd name="connsiteX15" fmla="*/ 7598 w 8399"/>
                <a:gd name="connsiteY15" fmla="*/ 3122 h 8856"/>
                <a:gd name="connsiteX16" fmla="*/ 6801 w 8399"/>
                <a:gd name="connsiteY16" fmla="*/ 1211 h 8856"/>
                <a:gd name="connsiteX17" fmla="*/ 6399 w 8399"/>
                <a:gd name="connsiteY17" fmla="*/ 440 h 8856"/>
                <a:gd name="connsiteX18" fmla="*/ 4399 w 8399"/>
                <a:gd name="connsiteY18" fmla="*/ 59 h 8856"/>
                <a:gd name="connsiteX0" fmla="*/ 4289 w 9051"/>
                <a:gd name="connsiteY0" fmla="*/ 67 h 10000"/>
                <a:gd name="connsiteX1" fmla="*/ 5297 w 9051"/>
                <a:gd name="connsiteY1" fmla="*/ 2028 h 10000"/>
                <a:gd name="connsiteX2" fmla="*/ 4660 w 9051"/>
                <a:gd name="connsiteY2" fmla="*/ 4805 h 10000"/>
                <a:gd name="connsiteX3" fmla="*/ 480 w 9051"/>
                <a:gd name="connsiteY3" fmla="*/ 9133 h 10000"/>
                <a:gd name="connsiteX4" fmla="*/ 0 w 9051"/>
                <a:gd name="connsiteY4" fmla="*/ 9133 h 10000"/>
                <a:gd name="connsiteX5" fmla="*/ 0 w 9051"/>
                <a:gd name="connsiteY5" fmla="*/ 8699 h 10000"/>
                <a:gd name="connsiteX6" fmla="*/ 4289 w 9051"/>
                <a:gd name="connsiteY6" fmla="*/ 6976 h 10000"/>
                <a:gd name="connsiteX7" fmla="*/ 6194 w 9051"/>
                <a:gd name="connsiteY7" fmla="*/ 7841 h 10000"/>
                <a:gd name="connsiteX8" fmla="*/ 7148 w 9051"/>
                <a:gd name="connsiteY8" fmla="*/ 9133 h 10000"/>
                <a:gd name="connsiteX9" fmla="*/ 7622 w 9051"/>
                <a:gd name="connsiteY9" fmla="*/ 10000 h 10000"/>
                <a:gd name="connsiteX10" fmla="*/ 9051 w 9051"/>
                <a:gd name="connsiteY10" fmla="*/ 9133 h 10000"/>
                <a:gd name="connsiteX11" fmla="*/ 9051 w 9051"/>
                <a:gd name="connsiteY11" fmla="*/ 7841 h 10000"/>
                <a:gd name="connsiteX12" fmla="*/ 7622 w 9051"/>
                <a:gd name="connsiteY12" fmla="*/ 5682 h 10000"/>
                <a:gd name="connsiteX13" fmla="*/ 7622 w 9051"/>
                <a:gd name="connsiteY13" fmla="*/ 3525 h 10000"/>
                <a:gd name="connsiteX14" fmla="*/ 8097 w 9051"/>
                <a:gd name="connsiteY14" fmla="*/ 3525 h 10000"/>
                <a:gd name="connsiteX15" fmla="*/ 7148 w 9051"/>
                <a:gd name="connsiteY15" fmla="*/ 1367 h 10000"/>
                <a:gd name="connsiteX16" fmla="*/ 6670 w 9051"/>
                <a:gd name="connsiteY16" fmla="*/ 497 h 10000"/>
                <a:gd name="connsiteX17" fmla="*/ 4289 w 9051"/>
                <a:gd name="connsiteY17" fmla="*/ 67 h 10000"/>
                <a:gd name="connsiteX0" fmla="*/ 4739 w 10000"/>
                <a:gd name="connsiteY0" fmla="*/ 67 h 10000"/>
                <a:gd name="connsiteX1" fmla="*/ 5852 w 10000"/>
                <a:gd name="connsiteY1" fmla="*/ 2028 h 10000"/>
                <a:gd name="connsiteX2" fmla="*/ 5149 w 10000"/>
                <a:gd name="connsiteY2" fmla="*/ 4805 h 10000"/>
                <a:gd name="connsiteX3" fmla="*/ 530 w 10000"/>
                <a:gd name="connsiteY3" fmla="*/ 9133 h 10000"/>
                <a:gd name="connsiteX4" fmla="*/ 0 w 10000"/>
                <a:gd name="connsiteY4" fmla="*/ 9133 h 10000"/>
                <a:gd name="connsiteX5" fmla="*/ 4739 w 10000"/>
                <a:gd name="connsiteY5" fmla="*/ 6976 h 10000"/>
                <a:gd name="connsiteX6" fmla="*/ 6843 w 10000"/>
                <a:gd name="connsiteY6" fmla="*/ 7841 h 10000"/>
                <a:gd name="connsiteX7" fmla="*/ 7897 w 10000"/>
                <a:gd name="connsiteY7" fmla="*/ 9133 h 10000"/>
                <a:gd name="connsiteX8" fmla="*/ 8421 w 10000"/>
                <a:gd name="connsiteY8" fmla="*/ 10000 h 10000"/>
                <a:gd name="connsiteX9" fmla="*/ 10000 w 10000"/>
                <a:gd name="connsiteY9" fmla="*/ 9133 h 10000"/>
                <a:gd name="connsiteX10" fmla="*/ 10000 w 10000"/>
                <a:gd name="connsiteY10" fmla="*/ 7841 h 10000"/>
                <a:gd name="connsiteX11" fmla="*/ 8421 w 10000"/>
                <a:gd name="connsiteY11" fmla="*/ 5682 h 10000"/>
                <a:gd name="connsiteX12" fmla="*/ 8421 w 10000"/>
                <a:gd name="connsiteY12" fmla="*/ 3525 h 10000"/>
                <a:gd name="connsiteX13" fmla="*/ 8946 w 10000"/>
                <a:gd name="connsiteY13" fmla="*/ 3525 h 10000"/>
                <a:gd name="connsiteX14" fmla="*/ 7897 w 10000"/>
                <a:gd name="connsiteY14" fmla="*/ 1367 h 10000"/>
                <a:gd name="connsiteX15" fmla="*/ 7369 w 10000"/>
                <a:gd name="connsiteY15" fmla="*/ 497 h 10000"/>
                <a:gd name="connsiteX16" fmla="*/ 4739 w 10000"/>
                <a:gd name="connsiteY16" fmla="*/ 67 h 10000"/>
                <a:gd name="connsiteX0" fmla="*/ 4209 w 9470"/>
                <a:gd name="connsiteY0" fmla="*/ 67 h 10000"/>
                <a:gd name="connsiteX1" fmla="*/ 5322 w 9470"/>
                <a:gd name="connsiteY1" fmla="*/ 2028 h 10000"/>
                <a:gd name="connsiteX2" fmla="*/ 4619 w 9470"/>
                <a:gd name="connsiteY2" fmla="*/ 4805 h 10000"/>
                <a:gd name="connsiteX3" fmla="*/ 0 w 9470"/>
                <a:gd name="connsiteY3" fmla="*/ 9133 h 10000"/>
                <a:gd name="connsiteX4" fmla="*/ 4209 w 9470"/>
                <a:gd name="connsiteY4" fmla="*/ 6976 h 10000"/>
                <a:gd name="connsiteX5" fmla="*/ 6313 w 9470"/>
                <a:gd name="connsiteY5" fmla="*/ 7841 h 10000"/>
                <a:gd name="connsiteX6" fmla="*/ 7367 w 9470"/>
                <a:gd name="connsiteY6" fmla="*/ 9133 h 10000"/>
                <a:gd name="connsiteX7" fmla="*/ 7891 w 9470"/>
                <a:gd name="connsiteY7" fmla="*/ 10000 h 10000"/>
                <a:gd name="connsiteX8" fmla="*/ 9470 w 9470"/>
                <a:gd name="connsiteY8" fmla="*/ 9133 h 10000"/>
                <a:gd name="connsiteX9" fmla="*/ 9470 w 9470"/>
                <a:gd name="connsiteY9" fmla="*/ 7841 h 10000"/>
                <a:gd name="connsiteX10" fmla="*/ 7891 w 9470"/>
                <a:gd name="connsiteY10" fmla="*/ 5682 h 10000"/>
                <a:gd name="connsiteX11" fmla="*/ 7891 w 9470"/>
                <a:gd name="connsiteY11" fmla="*/ 3525 h 10000"/>
                <a:gd name="connsiteX12" fmla="*/ 8416 w 9470"/>
                <a:gd name="connsiteY12" fmla="*/ 3525 h 10000"/>
                <a:gd name="connsiteX13" fmla="*/ 7367 w 9470"/>
                <a:gd name="connsiteY13" fmla="*/ 1367 h 10000"/>
                <a:gd name="connsiteX14" fmla="*/ 6839 w 9470"/>
                <a:gd name="connsiteY14" fmla="*/ 497 h 10000"/>
                <a:gd name="connsiteX15" fmla="*/ 4209 w 9470"/>
                <a:gd name="connsiteY15" fmla="*/ 67 h 10000"/>
                <a:gd name="connsiteX0" fmla="*/ 36 w 5591"/>
                <a:gd name="connsiteY0" fmla="*/ 67 h 10000"/>
                <a:gd name="connsiteX1" fmla="*/ 1211 w 5591"/>
                <a:gd name="connsiteY1" fmla="*/ 2028 h 10000"/>
                <a:gd name="connsiteX2" fmla="*/ 469 w 5591"/>
                <a:gd name="connsiteY2" fmla="*/ 4805 h 10000"/>
                <a:gd name="connsiteX3" fmla="*/ 36 w 5591"/>
                <a:gd name="connsiteY3" fmla="*/ 6976 h 10000"/>
                <a:gd name="connsiteX4" fmla="*/ 2257 w 5591"/>
                <a:gd name="connsiteY4" fmla="*/ 7841 h 10000"/>
                <a:gd name="connsiteX5" fmla="*/ 3370 w 5591"/>
                <a:gd name="connsiteY5" fmla="*/ 9133 h 10000"/>
                <a:gd name="connsiteX6" fmla="*/ 3924 w 5591"/>
                <a:gd name="connsiteY6" fmla="*/ 10000 h 10000"/>
                <a:gd name="connsiteX7" fmla="*/ 5591 w 5591"/>
                <a:gd name="connsiteY7" fmla="*/ 9133 h 10000"/>
                <a:gd name="connsiteX8" fmla="*/ 5591 w 5591"/>
                <a:gd name="connsiteY8" fmla="*/ 7841 h 10000"/>
                <a:gd name="connsiteX9" fmla="*/ 3924 w 5591"/>
                <a:gd name="connsiteY9" fmla="*/ 5682 h 10000"/>
                <a:gd name="connsiteX10" fmla="*/ 3924 w 5591"/>
                <a:gd name="connsiteY10" fmla="*/ 3525 h 10000"/>
                <a:gd name="connsiteX11" fmla="*/ 4478 w 5591"/>
                <a:gd name="connsiteY11" fmla="*/ 3525 h 10000"/>
                <a:gd name="connsiteX12" fmla="*/ 3370 w 5591"/>
                <a:gd name="connsiteY12" fmla="*/ 1367 h 10000"/>
                <a:gd name="connsiteX13" fmla="*/ 2813 w 5591"/>
                <a:gd name="connsiteY13" fmla="*/ 497 h 10000"/>
                <a:gd name="connsiteX14" fmla="*/ 36 w 5591"/>
                <a:gd name="connsiteY14" fmla="*/ 67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591" h="10000">
                  <a:moveTo>
                    <a:pt x="36" y="67"/>
                  </a:moveTo>
                  <a:cubicBezTo>
                    <a:pt x="-235" y="322"/>
                    <a:pt x="1139" y="1240"/>
                    <a:pt x="1211" y="2028"/>
                  </a:cubicBezTo>
                  <a:cubicBezTo>
                    <a:pt x="965" y="2955"/>
                    <a:pt x="718" y="3879"/>
                    <a:pt x="469" y="4805"/>
                  </a:cubicBezTo>
                  <a:cubicBezTo>
                    <a:pt x="325" y="5529"/>
                    <a:pt x="180" y="6252"/>
                    <a:pt x="36" y="6976"/>
                  </a:cubicBezTo>
                  <a:lnTo>
                    <a:pt x="2257" y="7841"/>
                  </a:lnTo>
                  <a:lnTo>
                    <a:pt x="3370" y="9133"/>
                  </a:lnTo>
                  <a:cubicBezTo>
                    <a:pt x="3552" y="9421"/>
                    <a:pt x="3738" y="9711"/>
                    <a:pt x="3924" y="10000"/>
                  </a:cubicBezTo>
                  <a:lnTo>
                    <a:pt x="5591" y="9133"/>
                  </a:lnTo>
                  <a:lnTo>
                    <a:pt x="5591" y="7841"/>
                  </a:lnTo>
                  <a:lnTo>
                    <a:pt x="3924" y="5682"/>
                  </a:lnTo>
                  <a:lnTo>
                    <a:pt x="3924" y="3525"/>
                  </a:lnTo>
                  <a:lnTo>
                    <a:pt x="4478" y="3525"/>
                  </a:lnTo>
                  <a:lnTo>
                    <a:pt x="3370" y="1367"/>
                  </a:lnTo>
                  <a:lnTo>
                    <a:pt x="2813" y="497"/>
                  </a:lnTo>
                  <a:cubicBezTo>
                    <a:pt x="1884" y="353"/>
                    <a:pt x="302" y="-189"/>
                    <a:pt x="36" y="67"/>
                  </a:cubicBez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265" name="GE"/>
            <p:cNvSpPr>
              <a:spLocks/>
            </p:cNvSpPr>
            <p:nvPr/>
          </p:nvSpPr>
          <p:spPr bwMode="auto">
            <a:xfrm>
              <a:off x="5251864" y="3224428"/>
              <a:ext cx="173194" cy="86116"/>
            </a:xfrm>
            <a:custGeom>
              <a:avLst/>
              <a:gdLst>
                <a:gd name="T0" fmla="*/ 22159047 w 10000"/>
                <a:gd name="T1" fmla="*/ 1471825 h 10000"/>
                <a:gd name="T2" fmla="*/ 5539588 w 10000"/>
                <a:gd name="T3" fmla="*/ 1471825 h 10000"/>
                <a:gd name="T4" fmla="*/ 0 w 10000"/>
                <a:gd name="T5" fmla="*/ 0 h 10000"/>
                <a:gd name="T6" fmla="*/ 0 w 10000"/>
                <a:gd name="T7" fmla="*/ 2940641 h 10000"/>
                <a:gd name="T8" fmla="*/ 2772971 w 10000"/>
                <a:gd name="T9" fmla="*/ 7356103 h 10000"/>
                <a:gd name="T10" fmla="*/ 4138115 w 10000"/>
                <a:gd name="T11" fmla="*/ 12109724 h 10000"/>
                <a:gd name="T12" fmla="*/ 2772971 w 10000"/>
                <a:gd name="T13" fmla="*/ 14954558 h 10000"/>
                <a:gd name="T14" fmla="*/ 5539588 w 10000"/>
                <a:gd name="T15" fmla="*/ 17897996 h 10000"/>
                <a:gd name="T16" fmla="*/ 9738697 w 10000"/>
                <a:gd name="T17" fmla="*/ 21659295 h 10000"/>
                <a:gd name="T18" fmla="*/ 25047652 w 10000"/>
                <a:gd name="T19" fmla="*/ 18924256 h 10000"/>
                <a:gd name="T20" fmla="*/ 27107390 w 10000"/>
                <a:gd name="T21" fmla="*/ 19930961 h 10000"/>
                <a:gd name="T22" fmla="*/ 30532582 w 10000"/>
                <a:gd name="T23" fmla="*/ 19950516 h 10000"/>
                <a:gd name="T24" fmla="*/ 30471606 w 10000"/>
                <a:gd name="T25" fmla="*/ 20838638 h 10000"/>
                <a:gd name="T26" fmla="*/ 27698635 w 10000"/>
                <a:gd name="T27" fmla="*/ 22310463 h 10000"/>
                <a:gd name="T28" fmla="*/ 30471606 w 10000"/>
                <a:gd name="T29" fmla="*/ 28194755 h 10000"/>
                <a:gd name="T30" fmla="*/ 41551111 w 10000"/>
                <a:gd name="T31" fmla="*/ 23782288 h 10000"/>
                <a:gd name="T32" fmla="*/ 52630635 w 10000"/>
                <a:gd name="T33" fmla="*/ 23782288 h 10000"/>
                <a:gd name="T34" fmla="*/ 58170241 w 10000"/>
                <a:gd name="T35" fmla="*/ 19369822 h 10000"/>
                <a:gd name="T36" fmla="*/ 60943194 w 10000"/>
                <a:gd name="T37" fmla="*/ 19369822 h 10000"/>
                <a:gd name="T38" fmla="*/ 44324082 w 10000"/>
                <a:gd name="T39" fmla="*/ 16426171 h 10000"/>
                <a:gd name="T40" fmla="*/ 41551111 w 10000"/>
                <a:gd name="T41" fmla="*/ 8824933 h 10000"/>
                <a:gd name="T42" fmla="*/ 52630635 w 10000"/>
                <a:gd name="T43" fmla="*/ 2940641 h 10000"/>
                <a:gd name="T44" fmla="*/ 36011194 w 10000"/>
                <a:gd name="T45" fmla="*/ 0 h 10000"/>
                <a:gd name="T46" fmla="*/ 22159047 w 10000"/>
                <a:gd name="T47" fmla="*/ 1471825 h 10000"/>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connsiteX0" fmla="*/ 3636 w 10000"/>
                <a:gd name="connsiteY0" fmla="*/ 522 h 10000"/>
                <a:gd name="connsiteX1" fmla="*/ 909 w 10000"/>
                <a:gd name="connsiteY1" fmla="*/ 522 h 10000"/>
                <a:gd name="connsiteX2" fmla="*/ 0 w 10000"/>
                <a:gd name="connsiteY2" fmla="*/ 0 h 10000"/>
                <a:gd name="connsiteX3" fmla="*/ 0 w 10000"/>
                <a:gd name="connsiteY3" fmla="*/ 1043 h 10000"/>
                <a:gd name="connsiteX4" fmla="*/ 455 w 10000"/>
                <a:gd name="connsiteY4" fmla="*/ 2609 h 10000"/>
                <a:gd name="connsiteX5" fmla="*/ 679 w 10000"/>
                <a:gd name="connsiteY5" fmla="*/ 4295 h 10000"/>
                <a:gd name="connsiteX6" fmla="*/ 455 w 10000"/>
                <a:gd name="connsiteY6" fmla="*/ 5304 h 10000"/>
                <a:gd name="connsiteX7" fmla="*/ 909 w 10000"/>
                <a:gd name="connsiteY7" fmla="*/ 6348 h 10000"/>
                <a:gd name="connsiteX8" fmla="*/ 1598 w 10000"/>
                <a:gd name="connsiteY8" fmla="*/ 7682 h 10000"/>
                <a:gd name="connsiteX9" fmla="*/ 4110 w 10000"/>
                <a:gd name="connsiteY9" fmla="*/ 6712 h 10000"/>
                <a:gd name="connsiteX10" fmla="*/ 4448 w 10000"/>
                <a:gd name="connsiteY10" fmla="*/ 7069 h 10000"/>
                <a:gd name="connsiteX11" fmla="*/ 5010 w 10000"/>
                <a:gd name="connsiteY11" fmla="*/ 7076 h 10000"/>
                <a:gd name="connsiteX12" fmla="*/ 5000 w 10000"/>
                <a:gd name="connsiteY12" fmla="*/ 7391 h 10000"/>
                <a:gd name="connsiteX13" fmla="*/ 4545 w 10000"/>
                <a:gd name="connsiteY13" fmla="*/ 7913 h 10000"/>
                <a:gd name="connsiteX14" fmla="*/ 5000 w 10000"/>
                <a:gd name="connsiteY14" fmla="*/ 10000 h 10000"/>
                <a:gd name="connsiteX15" fmla="*/ 8151 w 10000"/>
                <a:gd name="connsiteY15" fmla="*/ 8940 h 10000"/>
                <a:gd name="connsiteX16" fmla="*/ 8636 w 10000"/>
                <a:gd name="connsiteY16" fmla="*/ 8435 h 10000"/>
                <a:gd name="connsiteX17" fmla="*/ 9545 w 10000"/>
                <a:gd name="connsiteY17" fmla="*/ 6870 h 10000"/>
                <a:gd name="connsiteX18" fmla="*/ 10000 w 10000"/>
                <a:gd name="connsiteY18" fmla="*/ 6870 h 10000"/>
                <a:gd name="connsiteX19" fmla="*/ 7273 w 10000"/>
                <a:gd name="connsiteY19" fmla="*/ 5826 h 10000"/>
                <a:gd name="connsiteX20" fmla="*/ 6818 w 10000"/>
                <a:gd name="connsiteY20" fmla="*/ 3130 h 10000"/>
                <a:gd name="connsiteX21" fmla="*/ 8636 w 10000"/>
                <a:gd name="connsiteY21" fmla="*/ 1043 h 10000"/>
                <a:gd name="connsiteX22" fmla="*/ 5909 w 10000"/>
                <a:gd name="connsiteY22" fmla="*/ 0 h 10000"/>
                <a:gd name="connsiteX23" fmla="*/ 3636 w 10000"/>
                <a:gd name="connsiteY23" fmla="*/ 522 h 10000"/>
                <a:gd name="connsiteX0" fmla="*/ 3636 w 10000"/>
                <a:gd name="connsiteY0" fmla="*/ 522 h 10000"/>
                <a:gd name="connsiteX1" fmla="*/ 909 w 10000"/>
                <a:gd name="connsiteY1" fmla="*/ 522 h 10000"/>
                <a:gd name="connsiteX2" fmla="*/ 0 w 10000"/>
                <a:gd name="connsiteY2" fmla="*/ 0 h 10000"/>
                <a:gd name="connsiteX3" fmla="*/ 0 w 10000"/>
                <a:gd name="connsiteY3" fmla="*/ 1043 h 10000"/>
                <a:gd name="connsiteX4" fmla="*/ 455 w 10000"/>
                <a:gd name="connsiteY4" fmla="*/ 2609 h 10000"/>
                <a:gd name="connsiteX5" fmla="*/ 679 w 10000"/>
                <a:gd name="connsiteY5" fmla="*/ 4295 h 10000"/>
                <a:gd name="connsiteX6" fmla="*/ 455 w 10000"/>
                <a:gd name="connsiteY6" fmla="*/ 5304 h 10000"/>
                <a:gd name="connsiteX7" fmla="*/ 909 w 10000"/>
                <a:gd name="connsiteY7" fmla="*/ 6348 h 10000"/>
                <a:gd name="connsiteX8" fmla="*/ 1598 w 10000"/>
                <a:gd name="connsiteY8" fmla="*/ 7682 h 10000"/>
                <a:gd name="connsiteX9" fmla="*/ 4110 w 10000"/>
                <a:gd name="connsiteY9" fmla="*/ 6712 h 10000"/>
                <a:gd name="connsiteX10" fmla="*/ 4448 w 10000"/>
                <a:gd name="connsiteY10" fmla="*/ 7069 h 10000"/>
                <a:gd name="connsiteX11" fmla="*/ 5010 w 10000"/>
                <a:gd name="connsiteY11" fmla="*/ 7076 h 10000"/>
                <a:gd name="connsiteX12" fmla="*/ 5000 w 10000"/>
                <a:gd name="connsiteY12" fmla="*/ 7391 h 10000"/>
                <a:gd name="connsiteX13" fmla="*/ 4545 w 10000"/>
                <a:gd name="connsiteY13" fmla="*/ 7913 h 10000"/>
                <a:gd name="connsiteX14" fmla="*/ 7417 w 10000"/>
                <a:gd name="connsiteY14" fmla="*/ 6551 h 10000"/>
                <a:gd name="connsiteX15" fmla="*/ 5000 w 10000"/>
                <a:gd name="connsiteY15" fmla="*/ 10000 h 10000"/>
                <a:gd name="connsiteX16" fmla="*/ 8151 w 10000"/>
                <a:gd name="connsiteY16" fmla="*/ 8940 h 10000"/>
                <a:gd name="connsiteX17" fmla="*/ 8636 w 10000"/>
                <a:gd name="connsiteY17" fmla="*/ 8435 h 10000"/>
                <a:gd name="connsiteX18" fmla="*/ 9545 w 10000"/>
                <a:gd name="connsiteY18" fmla="*/ 6870 h 10000"/>
                <a:gd name="connsiteX19" fmla="*/ 10000 w 10000"/>
                <a:gd name="connsiteY19" fmla="*/ 6870 h 10000"/>
                <a:gd name="connsiteX20" fmla="*/ 7273 w 10000"/>
                <a:gd name="connsiteY20" fmla="*/ 5826 h 10000"/>
                <a:gd name="connsiteX21" fmla="*/ 6818 w 10000"/>
                <a:gd name="connsiteY21" fmla="*/ 3130 h 10000"/>
                <a:gd name="connsiteX22" fmla="*/ 8636 w 10000"/>
                <a:gd name="connsiteY22" fmla="*/ 1043 h 10000"/>
                <a:gd name="connsiteX23" fmla="*/ 5909 w 10000"/>
                <a:gd name="connsiteY23" fmla="*/ 0 h 10000"/>
                <a:gd name="connsiteX24" fmla="*/ 3636 w 10000"/>
                <a:gd name="connsiteY24" fmla="*/ 522 h 10000"/>
                <a:gd name="connsiteX0" fmla="*/ 3636 w 10000"/>
                <a:gd name="connsiteY0" fmla="*/ 522 h 8940"/>
                <a:gd name="connsiteX1" fmla="*/ 909 w 10000"/>
                <a:gd name="connsiteY1" fmla="*/ 522 h 8940"/>
                <a:gd name="connsiteX2" fmla="*/ 0 w 10000"/>
                <a:gd name="connsiteY2" fmla="*/ 0 h 8940"/>
                <a:gd name="connsiteX3" fmla="*/ 0 w 10000"/>
                <a:gd name="connsiteY3" fmla="*/ 1043 h 8940"/>
                <a:gd name="connsiteX4" fmla="*/ 455 w 10000"/>
                <a:gd name="connsiteY4" fmla="*/ 2609 h 8940"/>
                <a:gd name="connsiteX5" fmla="*/ 679 w 10000"/>
                <a:gd name="connsiteY5" fmla="*/ 4295 h 8940"/>
                <a:gd name="connsiteX6" fmla="*/ 455 w 10000"/>
                <a:gd name="connsiteY6" fmla="*/ 5304 h 8940"/>
                <a:gd name="connsiteX7" fmla="*/ 909 w 10000"/>
                <a:gd name="connsiteY7" fmla="*/ 6348 h 8940"/>
                <a:gd name="connsiteX8" fmla="*/ 1598 w 10000"/>
                <a:gd name="connsiteY8" fmla="*/ 7682 h 8940"/>
                <a:gd name="connsiteX9" fmla="*/ 4110 w 10000"/>
                <a:gd name="connsiteY9" fmla="*/ 6712 h 8940"/>
                <a:gd name="connsiteX10" fmla="*/ 4448 w 10000"/>
                <a:gd name="connsiteY10" fmla="*/ 7069 h 8940"/>
                <a:gd name="connsiteX11" fmla="*/ 5010 w 10000"/>
                <a:gd name="connsiteY11" fmla="*/ 7076 h 8940"/>
                <a:gd name="connsiteX12" fmla="*/ 5000 w 10000"/>
                <a:gd name="connsiteY12" fmla="*/ 7391 h 8940"/>
                <a:gd name="connsiteX13" fmla="*/ 4545 w 10000"/>
                <a:gd name="connsiteY13" fmla="*/ 7913 h 8940"/>
                <a:gd name="connsiteX14" fmla="*/ 7417 w 10000"/>
                <a:gd name="connsiteY14" fmla="*/ 6551 h 8940"/>
                <a:gd name="connsiteX15" fmla="*/ 6733 w 10000"/>
                <a:gd name="connsiteY15" fmla="*/ 8318 h 8940"/>
                <a:gd name="connsiteX16" fmla="*/ 8151 w 10000"/>
                <a:gd name="connsiteY16" fmla="*/ 8940 h 8940"/>
                <a:gd name="connsiteX17" fmla="*/ 8636 w 10000"/>
                <a:gd name="connsiteY17" fmla="*/ 8435 h 8940"/>
                <a:gd name="connsiteX18" fmla="*/ 9545 w 10000"/>
                <a:gd name="connsiteY18" fmla="*/ 6870 h 8940"/>
                <a:gd name="connsiteX19" fmla="*/ 10000 w 10000"/>
                <a:gd name="connsiteY19" fmla="*/ 6870 h 8940"/>
                <a:gd name="connsiteX20" fmla="*/ 7273 w 10000"/>
                <a:gd name="connsiteY20" fmla="*/ 5826 h 8940"/>
                <a:gd name="connsiteX21" fmla="*/ 6818 w 10000"/>
                <a:gd name="connsiteY21" fmla="*/ 3130 h 8940"/>
                <a:gd name="connsiteX22" fmla="*/ 8636 w 10000"/>
                <a:gd name="connsiteY22" fmla="*/ 1043 h 8940"/>
                <a:gd name="connsiteX23" fmla="*/ 5909 w 10000"/>
                <a:gd name="connsiteY23" fmla="*/ 0 h 8940"/>
                <a:gd name="connsiteX24" fmla="*/ 3636 w 10000"/>
                <a:gd name="connsiteY24" fmla="*/ 522 h 8940"/>
                <a:gd name="connsiteX0" fmla="*/ 3636 w 10000"/>
                <a:gd name="connsiteY0" fmla="*/ 584 h 10000"/>
                <a:gd name="connsiteX1" fmla="*/ 909 w 10000"/>
                <a:gd name="connsiteY1" fmla="*/ 584 h 10000"/>
                <a:gd name="connsiteX2" fmla="*/ 0 w 10000"/>
                <a:gd name="connsiteY2" fmla="*/ 0 h 10000"/>
                <a:gd name="connsiteX3" fmla="*/ 0 w 10000"/>
                <a:gd name="connsiteY3" fmla="*/ 1167 h 10000"/>
                <a:gd name="connsiteX4" fmla="*/ 455 w 10000"/>
                <a:gd name="connsiteY4" fmla="*/ 2918 h 10000"/>
                <a:gd name="connsiteX5" fmla="*/ 679 w 10000"/>
                <a:gd name="connsiteY5" fmla="*/ 4804 h 10000"/>
                <a:gd name="connsiteX6" fmla="*/ 455 w 10000"/>
                <a:gd name="connsiteY6" fmla="*/ 5933 h 10000"/>
                <a:gd name="connsiteX7" fmla="*/ 909 w 10000"/>
                <a:gd name="connsiteY7" fmla="*/ 7101 h 10000"/>
                <a:gd name="connsiteX8" fmla="*/ 1598 w 10000"/>
                <a:gd name="connsiteY8" fmla="*/ 8593 h 10000"/>
                <a:gd name="connsiteX9" fmla="*/ 4110 w 10000"/>
                <a:gd name="connsiteY9" fmla="*/ 7508 h 10000"/>
                <a:gd name="connsiteX10" fmla="*/ 4448 w 10000"/>
                <a:gd name="connsiteY10" fmla="*/ 7907 h 10000"/>
                <a:gd name="connsiteX11" fmla="*/ 5010 w 10000"/>
                <a:gd name="connsiteY11" fmla="*/ 7915 h 10000"/>
                <a:gd name="connsiteX12" fmla="*/ 5000 w 10000"/>
                <a:gd name="connsiteY12" fmla="*/ 8267 h 10000"/>
                <a:gd name="connsiteX13" fmla="*/ 4545 w 10000"/>
                <a:gd name="connsiteY13" fmla="*/ 8851 h 10000"/>
                <a:gd name="connsiteX14" fmla="*/ 7417 w 10000"/>
                <a:gd name="connsiteY14" fmla="*/ 7328 h 10000"/>
                <a:gd name="connsiteX15" fmla="*/ 6733 w 10000"/>
                <a:gd name="connsiteY15" fmla="*/ 9304 h 10000"/>
                <a:gd name="connsiteX16" fmla="*/ 8151 w 10000"/>
                <a:gd name="connsiteY16" fmla="*/ 10000 h 10000"/>
                <a:gd name="connsiteX17" fmla="*/ 8636 w 10000"/>
                <a:gd name="connsiteY17" fmla="*/ 9435 h 10000"/>
                <a:gd name="connsiteX18" fmla="*/ 9545 w 10000"/>
                <a:gd name="connsiteY18" fmla="*/ 7685 h 10000"/>
                <a:gd name="connsiteX19" fmla="*/ 10000 w 10000"/>
                <a:gd name="connsiteY19" fmla="*/ 7685 h 10000"/>
                <a:gd name="connsiteX20" fmla="*/ 9539 w 10000"/>
                <a:gd name="connsiteY20" fmla="*/ 4448 h 10000"/>
                <a:gd name="connsiteX21" fmla="*/ 6818 w 10000"/>
                <a:gd name="connsiteY21" fmla="*/ 3501 h 10000"/>
                <a:gd name="connsiteX22" fmla="*/ 8636 w 10000"/>
                <a:gd name="connsiteY22" fmla="*/ 1167 h 10000"/>
                <a:gd name="connsiteX23" fmla="*/ 5909 w 10000"/>
                <a:gd name="connsiteY23" fmla="*/ 0 h 10000"/>
                <a:gd name="connsiteX24" fmla="*/ 3636 w 10000"/>
                <a:gd name="connsiteY24" fmla="*/ 584 h 10000"/>
                <a:gd name="connsiteX0" fmla="*/ 3636 w 10000"/>
                <a:gd name="connsiteY0" fmla="*/ 584 h 10000"/>
                <a:gd name="connsiteX1" fmla="*/ 909 w 10000"/>
                <a:gd name="connsiteY1" fmla="*/ 584 h 10000"/>
                <a:gd name="connsiteX2" fmla="*/ 0 w 10000"/>
                <a:gd name="connsiteY2" fmla="*/ 0 h 10000"/>
                <a:gd name="connsiteX3" fmla="*/ 0 w 10000"/>
                <a:gd name="connsiteY3" fmla="*/ 1167 h 10000"/>
                <a:gd name="connsiteX4" fmla="*/ 455 w 10000"/>
                <a:gd name="connsiteY4" fmla="*/ 2918 h 10000"/>
                <a:gd name="connsiteX5" fmla="*/ 679 w 10000"/>
                <a:gd name="connsiteY5" fmla="*/ 4804 h 10000"/>
                <a:gd name="connsiteX6" fmla="*/ 455 w 10000"/>
                <a:gd name="connsiteY6" fmla="*/ 5933 h 10000"/>
                <a:gd name="connsiteX7" fmla="*/ 909 w 10000"/>
                <a:gd name="connsiteY7" fmla="*/ 7101 h 10000"/>
                <a:gd name="connsiteX8" fmla="*/ 1598 w 10000"/>
                <a:gd name="connsiteY8" fmla="*/ 8593 h 10000"/>
                <a:gd name="connsiteX9" fmla="*/ 4110 w 10000"/>
                <a:gd name="connsiteY9" fmla="*/ 7508 h 10000"/>
                <a:gd name="connsiteX10" fmla="*/ 4448 w 10000"/>
                <a:gd name="connsiteY10" fmla="*/ 7907 h 10000"/>
                <a:gd name="connsiteX11" fmla="*/ 5010 w 10000"/>
                <a:gd name="connsiteY11" fmla="*/ 7915 h 10000"/>
                <a:gd name="connsiteX12" fmla="*/ 5000 w 10000"/>
                <a:gd name="connsiteY12" fmla="*/ 8267 h 10000"/>
                <a:gd name="connsiteX13" fmla="*/ 4545 w 10000"/>
                <a:gd name="connsiteY13" fmla="*/ 8851 h 10000"/>
                <a:gd name="connsiteX14" fmla="*/ 7417 w 10000"/>
                <a:gd name="connsiteY14" fmla="*/ 7328 h 10000"/>
                <a:gd name="connsiteX15" fmla="*/ 6733 w 10000"/>
                <a:gd name="connsiteY15" fmla="*/ 9304 h 10000"/>
                <a:gd name="connsiteX16" fmla="*/ 8151 w 10000"/>
                <a:gd name="connsiteY16" fmla="*/ 10000 h 10000"/>
                <a:gd name="connsiteX17" fmla="*/ 8636 w 10000"/>
                <a:gd name="connsiteY17" fmla="*/ 9435 h 10000"/>
                <a:gd name="connsiteX18" fmla="*/ 9545 w 10000"/>
                <a:gd name="connsiteY18" fmla="*/ 7685 h 10000"/>
                <a:gd name="connsiteX19" fmla="*/ 10000 w 10000"/>
                <a:gd name="connsiteY19" fmla="*/ 7685 h 10000"/>
                <a:gd name="connsiteX20" fmla="*/ 9539 w 10000"/>
                <a:gd name="connsiteY20" fmla="*/ 4448 h 10000"/>
                <a:gd name="connsiteX21" fmla="*/ 8551 w 10000"/>
                <a:gd name="connsiteY21" fmla="*/ 2749 h 10000"/>
                <a:gd name="connsiteX22" fmla="*/ 8636 w 10000"/>
                <a:gd name="connsiteY22" fmla="*/ 1167 h 10000"/>
                <a:gd name="connsiteX23" fmla="*/ 5909 w 10000"/>
                <a:gd name="connsiteY23" fmla="*/ 0 h 10000"/>
                <a:gd name="connsiteX24" fmla="*/ 3636 w 10000"/>
                <a:gd name="connsiteY24" fmla="*/ 584 h 10000"/>
                <a:gd name="connsiteX0" fmla="*/ 3636 w 10000"/>
                <a:gd name="connsiteY0" fmla="*/ 584 h 10000"/>
                <a:gd name="connsiteX1" fmla="*/ 909 w 10000"/>
                <a:gd name="connsiteY1" fmla="*/ 584 h 10000"/>
                <a:gd name="connsiteX2" fmla="*/ 0 w 10000"/>
                <a:gd name="connsiteY2" fmla="*/ 0 h 10000"/>
                <a:gd name="connsiteX3" fmla="*/ 0 w 10000"/>
                <a:gd name="connsiteY3" fmla="*/ 1167 h 10000"/>
                <a:gd name="connsiteX4" fmla="*/ 455 w 10000"/>
                <a:gd name="connsiteY4" fmla="*/ 2918 h 10000"/>
                <a:gd name="connsiteX5" fmla="*/ 679 w 10000"/>
                <a:gd name="connsiteY5" fmla="*/ 4804 h 10000"/>
                <a:gd name="connsiteX6" fmla="*/ 455 w 10000"/>
                <a:gd name="connsiteY6" fmla="*/ 5933 h 10000"/>
                <a:gd name="connsiteX7" fmla="*/ 909 w 10000"/>
                <a:gd name="connsiteY7" fmla="*/ 7101 h 10000"/>
                <a:gd name="connsiteX8" fmla="*/ 1598 w 10000"/>
                <a:gd name="connsiteY8" fmla="*/ 8593 h 10000"/>
                <a:gd name="connsiteX9" fmla="*/ 4110 w 10000"/>
                <a:gd name="connsiteY9" fmla="*/ 7508 h 10000"/>
                <a:gd name="connsiteX10" fmla="*/ 4448 w 10000"/>
                <a:gd name="connsiteY10" fmla="*/ 7907 h 10000"/>
                <a:gd name="connsiteX11" fmla="*/ 5010 w 10000"/>
                <a:gd name="connsiteY11" fmla="*/ 7915 h 10000"/>
                <a:gd name="connsiteX12" fmla="*/ 5000 w 10000"/>
                <a:gd name="connsiteY12" fmla="*/ 8267 h 10000"/>
                <a:gd name="connsiteX13" fmla="*/ 4545 w 10000"/>
                <a:gd name="connsiteY13" fmla="*/ 8851 h 10000"/>
                <a:gd name="connsiteX14" fmla="*/ 7417 w 10000"/>
                <a:gd name="connsiteY14" fmla="*/ 7328 h 10000"/>
                <a:gd name="connsiteX15" fmla="*/ 6733 w 10000"/>
                <a:gd name="connsiteY15" fmla="*/ 9304 h 10000"/>
                <a:gd name="connsiteX16" fmla="*/ 8151 w 10000"/>
                <a:gd name="connsiteY16" fmla="*/ 10000 h 10000"/>
                <a:gd name="connsiteX17" fmla="*/ 8636 w 10000"/>
                <a:gd name="connsiteY17" fmla="*/ 9435 h 10000"/>
                <a:gd name="connsiteX18" fmla="*/ 9545 w 10000"/>
                <a:gd name="connsiteY18" fmla="*/ 7685 h 10000"/>
                <a:gd name="connsiteX19" fmla="*/ 10000 w 10000"/>
                <a:gd name="connsiteY19" fmla="*/ 7685 h 10000"/>
                <a:gd name="connsiteX20" fmla="*/ 9539 w 10000"/>
                <a:gd name="connsiteY20" fmla="*/ 4448 h 10000"/>
                <a:gd name="connsiteX21" fmla="*/ 8551 w 10000"/>
                <a:gd name="connsiteY21" fmla="*/ 2749 h 10000"/>
                <a:gd name="connsiteX22" fmla="*/ 7169 w 10000"/>
                <a:gd name="connsiteY22" fmla="*/ 3612 h 10000"/>
                <a:gd name="connsiteX23" fmla="*/ 5909 w 10000"/>
                <a:gd name="connsiteY23" fmla="*/ 0 h 10000"/>
                <a:gd name="connsiteX24" fmla="*/ 3636 w 10000"/>
                <a:gd name="connsiteY24" fmla="*/ 584 h 10000"/>
                <a:gd name="connsiteX0" fmla="*/ 3636 w 10000"/>
                <a:gd name="connsiteY0" fmla="*/ 584 h 10000"/>
                <a:gd name="connsiteX1" fmla="*/ 909 w 10000"/>
                <a:gd name="connsiteY1" fmla="*/ 584 h 10000"/>
                <a:gd name="connsiteX2" fmla="*/ 0 w 10000"/>
                <a:gd name="connsiteY2" fmla="*/ 0 h 10000"/>
                <a:gd name="connsiteX3" fmla="*/ 0 w 10000"/>
                <a:gd name="connsiteY3" fmla="*/ 1167 h 10000"/>
                <a:gd name="connsiteX4" fmla="*/ 455 w 10000"/>
                <a:gd name="connsiteY4" fmla="*/ 2918 h 10000"/>
                <a:gd name="connsiteX5" fmla="*/ 679 w 10000"/>
                <a:gd name="connsiteY5" fmla="*/ 4804 h 10000"/>
                <a:gd name="connsiteX6" fmla="*/ 455 w 10000"/>
                <a:gd name="connsiteY6" fmla="*/ 5933 h 10000"/>
                <a:gd name="connsiteX7" fmla="*/ 909 w 10000"/>
                <a:gd name="connsiteY7" fmla="*/ 7101 h 10000"/>
                <a:gd name="connsiteX8" fmla="*/ 1598 w 10000"/>
                <a:gd name="connsiteY8" fmla="*/ 8593 h 10000"/>
                <a:gd name="connsiteX9" fmla="*/ 4110 w 10000"/>
                <a:gd name="connsiteY9" fmla="*/ 7508 h 10000"/>
                <a:gd name="connsiteX10" fmla="*/ 4448 w 10000"/>
                <a:gd name="connsiteY10" fmla="*/ 7907 h 10000"/>
                <a:gd name="connsiteX11" fmla="*/ 5010 w 10000"/>
                <a:gd name="connsiteY11" fmla="*/ 7915 h 10000"/>
                <a:gd name="connsiteX12" fmla="*/ 5000 w 10000"/>
                <a:gd name="connsiteY12" fmla="*/ 8267 h 10000"/>
                <a:gd name="connsiteX13" fmla="*/ 4545 w 10000"/>
                <a:gd name="connsiteY13" fmla="*/ 8851 h 10000"/>
                <a:gd name="connsiteX14" fmla="*/ 7417 w 10000"/>
                <a:gd name="connsiteY14" fmla="*/ 7328 h 10000"/>
                <a:gd name="connsiteX15" fmla="*/ 6733 w 10000"/>
                <a:gd name="connsiteY15" fmla="*/ 9304 h 10000"/>
                <a:gd name="connsiteX16" fmla="*/ 8151 w 10000"/>
                <a:gd name="connsiteY16" fmla="*/ 10000 h 10000"/>
                <a:gd name="connsiteX17" fmla="*/ 8636 w 10000"/>
                <a:gd name="connsiteY17" fmla="*/ 9435 h 10000"/>
                <a:gd name="connsiteX18" fmla="*/ 9545 w 10000"/>
                <a:gd name="connsiteY18" fmla="*/ 7685 h 10000"/>
                <a:gd name="connsiteX19" fmla="*/ 10000 w 10000"/>
                <a:gd name="connsiteY19" fmla="*/ 7685 h 10000"/>
                <a:gd name="connsiteX20" fmla="*/ 9539 w 10000"/>
                <a:gd name="connsiteY20" fmla="*/ 4448 h 10000"/>
                <a:gd name="connsiteX21" fmla="*/ 8551 w 10000"/>
                <a:gd name="connsiteY21" fmla="*/ 2749 h 10000"/>
                <a:gd name="connsiteX22" fmla="*/ 7169 w 10000"/>
                <a:gd name="connsiteY22" fmla="*/ 3612 h 10000"/>
                <a:gd name="connsiteX23" fmla="*/ 5776 w 10000"/>
                <a:gd name="connsiteY23" fmla="*/ 2069 h 10000"/>
                <a:gd name="connsiteX24" fmla="*/ 3636 w 10000"/>
                <a:gd name="connsiteY24" fmla="*/ 584 h 10000"/>
                <a:gd name="connsiteX0" fmla="*/ 4969 w 10000"/>
                <a:gd name="connsiteY0" fmla="*/ 4346 h 10000"/>
                <a:gd name="connsiteX1" fmla="*/ 909 w 10000"/>
                <a:gd name="connsiteY1" fmla="*/ 584 h 10000"/>
                <a:gd name="connsiteX2" fmla="*/ 0 w 10000"/>
                <a:gd name="connsiteY2" fmla="*/ 0 h 10000"/>
                <a:gd name="connsiteX3" fmla="*/ 0 w 10000"/>
                <a:gd name="connsiteY3" fmla="*/ 1167 h 10000"/>
                <a:gd name="connsiteX4" fmla="*/ 455 w 10000"/>
                <a:gd name="connsiteY4" fmla="*/ 2918 h 10000"/>
                <a:gd name="connsiteX5" fmla="*/ 679 w 10000"/>
                <a:gd name="connsiteY5" fmla="*/ 4804 h 10000"/>
                <a:gd name="connsiteX6" fmla="*/ 455 w 10000"/>
                <a:gd name="connsiteY6" fmla="*/ 5933 h 10000"/>
                <a:gd name="connsiteX7" fmla="*/ 909 w 10000"/>
                <a:gd name="connsiteY7" fmla="*/ 7101 h 10000"/>
                <a:gd name="connsiteX8" fmla="*/ 1598 w 10000"/>
                <a:gd name="connsiteY8" fmla="*/ 8593 h 10000"/>
                <a:gd name="connsiteX9" fmla="*/ 4110 w 10000"/>
                <a:gd name="connsiteY9" fmla="*/ 7508 h 10000"/>
                <a:gd name="connsiteX10" fmla="*/ 4448 w 10000"/>
                <a:gd name="connsiteY10" fmla="*/ 7907 h 10000"/>
                <a:gd name="connsiteX11" fmla="*/ 5010 w 10000"/>
                <a:gd name="connsiteY11" fmla="*/ 7915 h 10000"/>
                <a:gd name="connsiteX12" fmla="*/ 5000 w 10000"/>
                <a:gd name="connsiteY12" fmla="*/ 8267 h 10000"/>
                <a:gd name="connsiteX13" fmla="*/ 4545 w 10000"/>
                <a:gd name="connsiteY13" fmla="*/ 8851 h 10000"/>
                <a:gd name="connsiteX14" fmla="*/ 7417 w 10000"/>
                <a:gd name="connsiteY14" fmla="*/ 7328 h 10000"/>
                <a:gd name="connsiteX15" fmla="*/ 6733 w 10000"/>
                <a:gd name="connsiteY15" fmla="*/ 9304 h 10000"/>
                <a:gd name="connsiteX16" fmla="*/ 8151 w 10000"/>
                <a:gd name="connsiteY16" fmla="*/ 10000 h 10000"/>
                <a:gd name="connsiteX17" fmla="*/ 8636 w 10000"/>
                <a:gd name="connsiteY17" fmla="*/ 9435 h 10000"/>
                <a:gd name="connsiteX18" fmla="*/ 9545 w 10000"/>
                <a:gd name="connsiteY18" fmla="*/ 7685 h 10000"/>
                <a:gd name="connsiteX19" fmla="*/ 10000 w 10000"/>
                <a:gd name="connsiteY19" fmla="*/ 7685 h 10000"/>
                <a:gd name="connsiteX20" fmla="*/ 9539 w 10000"/>
                <a:gd name="connsiteY20" fmla="*/ 4448 h 10000"/>
                <a:gd name="connsiteX21" fmla="*/ 8551 w 10000"/>
                <a:gd name="connsiteY21" fmla="*/ 2749 h 10000"/>
                <a:gd name="connsiteX22" fmla="*/ 7169 w 10000"/>
                <a:gd name="connsiteY22" fmla="*/ 3612 h 10000"/>
                <a:gd name="connsiteX23" fmla="*/ 5776 w 10000"/>
                <a:gd name="connsiteY23" fmla="*/ 2069 h 10000"/>
                <a:gd name="connsiteX24" fmla="*/ 4969 w 10000"/>
                <a:gd name="connsiteY24" fmla="*/ 4346 h 10000"/>
                <a:gd name="connsiteX0" fmla="*/ 4969 w 10000"/>
                <a:gd name="connsiteY0" fmla="*/ 4346 h 10000"/>
                <a:gd name="connsiteX1" fmla="*/ 3709 w 10000"/>
                <a:gd name="connsiteY1" fmla="*/ 4158 h 10000"/>
                <a:gd name="connsiteX2" fmla="*/ 0 w 10000"/>
                <a:gd name="connsiteY2" fmla="*/ 0 h 10000"/>
                <a:gd name="connsiteX3" fmla="*/ 0 w 10000"/>
                <a:gd name="connsiteY3" fmla="*/ 1167 h 10000"/>
                <a:gd name="connsiteX4" fmla="*/ 455 w 10000"/>
                <a:gd name="connsiteY4" fmla="*/ 2918 h 10000"/>
                <a:gd name="connsiteX5" fmla="*/ 679 w 10000"/>
                <a:gd name="connsiteY5" fmla="*/ 4804 h 10000"/>
                <a:gd name="connsiteX6" fmla="*/ 455 w 10000"/>
                <a:gd name="connsiteY6" fmla="*/ 5933 h 10000"/>
                <a:gd name="connsiteX7" fmla="*/ 909 w 10000"/>
                <a:gd name="connsiteY7" fmla="*/ 7101 h 10000"/>
                <a:gd name="connsiteX8" fmla="*/ 1598 w 10000"/>
                <a:gd name="connsiteY8" fmla="*/ 8593 h 10000"/>
                <a:gd name="connsiteX9" fmla="*/ 4110 w 10000"/>
                <a:gd name="connsiteY9" fmla="*/ 7508 h 10000"/>
                <a:gd name="connsiteX10" fmla="*/ 4448 w 10000"/>
                <a:gd name="connsiteY10" fmla="*/ 7907 h 10000"/>
                <a:gd name="connsiteX11" fmla="*/ 5010 w 10000"/>
                <a:gd name="connsiteY11" fmla="*/ 7915 h 10000"/>
                <a:gd name="connsiteX12" fmla="*/ 5000 w 10000"/>
                <a:gd name="connsiteY12" fmla="*/ 8267 h 10000"/>
                <a:gd name="connsiteX13" fmla="*/ 4545 w 10000"/>
                <a:gd name="connsiteY13" fmla="*/ 8851 h 10000"/>
                <a:gd name="connsiteX14" fmla="*/ 7417 w 10000"/>
                <a:gd name="connsiteY14" fmla="*/ 7328 h 10000"/>
                <a:gd name="connsiteX15" fmla="*/ 6733 w 10000"/>
                <a:gd name="connsiteY15" fmla="*/ 9304 h 10000"/>
                <a:gd name="connsiteX16" fmla="*/ 8151 w 10000"/>
                <a:gd name="connsiteY16" fmla="*/ 10000 h 10000"/>
                <a:gd name="connsiteX17" fmla="*/ 8636 w 10000"/>
                <a:gd name="connsiteY17" fmla="*/ 9435 h 10000"/>
                <a:gd name="connsiteX18" fmla="*/ 9545 w 10000"/>
                <a:gd name="connsiteY18" fmla="*/ 7685 h 10000"/>
                <a:gd name="connsiteX19" fmla="*/ 10000 w 10000"/>
                <a:gd name="connsiteY19" fmla="*/ 7685 h 10000"/>
                <a:gd name="connsiteX20" fmla="*/ 9539 w 10000"/>
                <a:gd name="connsiteY20" fmla="*/ 4448 h 10000"/>
                <a:gd name="connsiteX21" fmla="*/ 8551 w 10000"/>
                <a:gd name="connsiteY21" fmla="*/ 2749 h 10000"/>
                <a:gd name="connsiteX22" fmla="*/ 7169 w 10000"/>
                <a:gd name="connsiteY22" fmla="*/ 3612 h 10000"/>
                <a:gd name="connsiteX23" fmla="*/ 5776 w 10000"/>
                <a:gd name="connsiteY23" fmla="*/ 2069 h 10000"/>
                <a:gd name="connsiteX24" fmla="*/ 4969 w 10000"/>
                <a:gd name="connsiteY24" fmla="*/ 4346 h 10000"/>
                <a:gd name="connsiteX0" fmla="*/ 5769 w 10000"/>
                <a:gd name="connsiteY0" fmla="*/ 4722 h 10000"/>
                <a:gd name="connsiteX1" fmla="*/ 3709 w 10000"/>
                <a:gd name="connsiteY1" fmla="*/ 4158 h 10000"/>
                <a:gd name="connsiteX2" fmla="*/ 0 w 10000"/>
                <a:gd name="connsiteY2" fmla="*/ 0 h 10000"/>
                <a:gd name="connsiteX3" fmla="*/ 0 w 10000"/>
                <a:gd name="connsiteY3" fmla="*/ 1167 h 10000"/>
                <a:gd name="connsiteX4" fmla="*/ 455 w 10000"/>
                <a:gd name="connsiteY4" fmla="*/ 2918 h 10000"/>
                <a:gd name="connsiteX5" fmla="*/ 679 w 10000"/>
                <a:gd name="connsiteY5" fmla="*/ 4804 h 10000"/>
                <a:gd name="connsiteX6" fmla="*/ 455 w 10000"/>
                <a:gd name="connsiteY6" fmla="*/ 5933 h 10000"/>
                <a:gd name="connsiteX7" fmla="*/ 909 w 10000"/>
                <a:gd name="connsiteY7" fmla="*/ 7101 h 10000"/>
                <a:gd name="connsiteX8" fmla="*/ 1598 w 10000"/>
                <a:gd name="connsiteY8" fmla="*/ 8593 h 10000"/>
                <a:gd name="connsiteX9" fmla="*/ 4110 w 10000"/>
                <a:gd name="connsiteY9" fmla="*/ 7508 h 10000"/>
                <a:gd name="connsiteX10" fmla="*/ 4448 w 10000"/>
                <a:gd name="connsiteY10" fmla="*/ 7907 h 10000"/>
                <a:gd name="connsiteX11" fmla="*/ 5010 w 10000"/>
                <a:gd name="connsiteY11" fmla="*/ 7915 h 10000"/>
                <a:gd name="connsiteX12" fmla="*/ 5000 w 10000"/>
                <a:gd name="connsiteY12" fmla="*/ 8267 h 10000"/>
                <a:gd name="connsiteX13" fmla="*/ 4545 w 10000"/>
                <a:gd name="connsiteY13" fmla="*/ 8851 h 10000"/>
                <a:gd name="connsiteX14" fmla="*/ 7417 w 10000"/>
                <a:gd name="connsiteY14" fmla="*/ 7328 h 10000"/>
                <a:gd name="connsiteX15" fmla="*/ 6733 w 10000"/>
                <a:gd name="connsiteY15" fmla="*/ 9304 h 10000"/>
                <a:gd name="connsiteX16" fmla="*/ 8151 w 10000"/>
                <a:gd name="connsiteY16" fmla="*/ 10000 h 10000"/>
                <a:gd name="connsiteX17" fmla="*/ 8636 w 10000"/>
                <a:gd name="connsiteY17" fmla="*/ 9435 h 10000"/>
                <a:gd name="connsiteX18" fmla="*/ 9545 w 10000"/>
                <a:gd name="connsiteY18" fmla="*/ 7685 h 10000"/>
                <a:gd name="connsiteX19" fmla="*/ 10000 w 10000"/>
                <a:gd name="connsiteY19" fmla="*/ 7685 h 10000"/>
                <a:gd name="connsiteX20" fmla="*/ 9539 w 10000"/>
                <a:gd name="connsiteY20" fmla="*/ 4448 h 10000"/>
                <a:gd name="connsiteX21" fmla="*/ 8551 w 10000"/>
                <a:gd name="connsiteY21" fmla="*/ 2749 h 10000"/>
                <a:gd name="connsiteX22" fmla="*/ 7169 w 10000"/>
                <a:gd name="connsiteY22" fmla="*/ 3612 h 10000"/>
                <a:gd name="connsiteX23" fmla="*/ 5776 w 10000"/>
                <a:gd name="connsiteY23" fmla="*/ 2069 h 10000"/>
                <a:gd name="connsiteX24" fmla="*/ 5769 w 10000"/>
                <a:gd name="connsiteY24" fmla="*/ 4722 h 10000"/>
                <a:gd name="connsiteX0" fmla="*/ 6302 w 10000"/>
                <a:gd name="connsiteY0" fmla="*/ 4534 h 10000"/>
                <a:gd name="connsiteX1" fmla="*/ 3709 w 10000"/>
                <a:gd name="connsiteY1" fmla="*/ 4158 h 10000"/>
                <a:gd name="connsiteX2" fmla="*/ 0 w 10000"/>
                <a:gd name="connsiteY2" fmla="*/ 0 h 10000"/>
                <a:gd name="connsiteX3" fmla="*/ 0 w 10000"/>
                <a:gd name="connsiteY3" fmla="*/ 1167 h 10000"/>
                <a:gd name="connsiteX4" fmla="*/ 455 w 10000"/>
                <a:gd name="connsiteY4" fmla="*/ 2918 h 10000"/>
                <a:gd name="connsiteX5" fmla="*/ 679 w 10000"/>
                <a:gd name="connsiteY5" fmla="*/ 4804 h 10000"/>
                <a:gd name="connsiteX6" fmla="*/ 455 w 10000"/>
                <a:gd name="connsiteY6" fmla="*/ 5933 h 10000"/>
                <a:gd name="connsiteX7" fmla="*/ 909 w 10000"/>
                <a:gd name="connsiteY7" fmla="*/ 7101 h 10000"/>
                <a:gd name="connsiteX8" fmla="*/ 1598 w 10000"/>
                <a:gd name="connsiteY8" fmla="*/ 8593 h 10000"/>
                <a:gd name="connsiteX9" fmla="*/ 4110 w 10000"/>
                <a:gd name="connsiteY9" fmla="*/ 7508 h 10000"/>
                <a:gd name="connsiteX10" fmla="*/ 4448 w 10000"/>
                <a:gd name="connsiteY10" fmla="*/ 7907 h 10000"/>
                <a:gd name="connsiteX11" fmla="*/ 5010 w 10000"/>
                <a:gd name="connsiteY11" fmla="*/ 7915 h 10000"/>
                <a:gd name="connsiteX12" fmla="*/ 5000 w 10000"/>
                <a:gd name="connsiteY12" fmla="*/ 8267 h 10000"/>
                <a:gd name="connsiteX13" fmla="*/ 4545 w 10000"/>
                <a:gd name="connsiteY13" fmla="*/ 8851 h 10000"/>
                <a:gd name="connsiteX14" fmla="*/ 7417 w 10000"/>
                <a:gd name="connsiteY14" fmla="*/ 7328 h 10000"/>
                <a:gd name="connsiteX15" fmla="*/ 6733 w 10000"/>
                <a:gd name="connsiteY15" fmla="*/ 9304 h 10000"/>
                <a:gd name="connsiteX16" fmla="*/ 8151 w 10000"/>
                <a:gd name="connsiteY16" fmla="*/ 10000 h 10000"/>
                <a:gd name="connsiteX17" fmla="*/ 8636 w 10000"/>
                <a:gd name="connsiteY17" fmla="*/ 9435 h 10000"/>
                <a:gd name="connsiteX18" fmla="*/ 9545 w 10000"/>
                <a:gd name="connsiteY18" fmla="*/ 7685 h 10000"/>
                <a:gd name="connsiteX19" fmla="*/ 10000 w 10000"/>
                <a:gd name="connsiteY19" fmla="*/ 7685 h 10000"/>
                <a:gd name="connsiteX20" fmla="*/ 9539 w 10000"/>
                <a:gd name="connsiteY20" fmla="*/ 4448 h 10000"/>
                <a:gd name="connsiteX21" fmla="*/ 8551 w 10000"/>
                <a:gd name="connsiteY21" fmla="*/ 2749 h 10000"/>
                <a:gd name="connsiteX22" fmla="*/ 7169 w 10000"/>
                <a:gd name="connsiteY22" fmla="*/ 3612 h 10000"/>
                <a:gd name="connsiteX23" fmla="*/ 5776 w 10000"/>
                <a:gd name="connsiteY23" fmla="*/ 2069 h 10000"/>
                <a:gd name="connsiteX24" fmla="*/ 6302 w 10000"/>
                <a:gd name="connsiteY24" fmla="*/ 4534 h 10000"/>
                <a:gd name="connsiteX0" fmla="*/ 6302 w 10000"/>
                <a:gd name="connsiteY0" fmla="*/ 4534 h 10000"/>
                <a:gd name="connsiteX1" fmla="*/ 4776 w 10000"/>
                <a:gd name="connsiteY1" fmla="*/ 4346 h 10000"/>
                <a:gd name="connsiteX2" fmla="*/ 0 w 10000"/>
                <a:gd name="connsiteY2" fmla="*/ 0 h 10000"/>
                <a:gd name="connsiteX3" fmla="*/ 0 w 10000"/>
                <a:gd name="connsiteY3" fmla="*/ 1167 h 10000"/>
                <a:gd name="connsiteX4" fmla="*/ 455 w 10000"/>
                <a:gd name="connsiteY4" fmla="*/ 2918 h 10000"/>
                <a:gd name="connsiteX5" fmla="*/ 679 w 10000"/>
                <a:gd name="connsiteY5" fmla="*/ 4804 h 10000"/>
                <a:gd name="connsiteX6" fmla="*/ 455 w 10000"/>
                <a:gd name="connsiteY6" fmla="*/ 5933 h 10000"/>
                <a:gd name="connsiteX7" fmla="*/ 909 w 10000"/>
                <a:gd name="connsiteY7" fmla="*/ 7101 h 10000"/>
                <a:gd name="connsiteX8" fmla="*/ 1598 w 10000"/>
                <a:gd name="connsiteY8" fmla="*/ 8593 h 10000"/>
                <a:gd name="connsiteX9" fmla="*/ 4110 w 10000"/>
                <a:gd name="connsiteY9" fmla="*/ 7508 h 10000"/>
                <a:gd name="connsiteX10" fmla="*/ 4448 w 10000"/>
                <a:gd name="connsiteY10" fmla="*/ 7907 h 10000"/>
                <a:gd name="connsiteX11" fmla="*/ 5010 w 10000"/>
                <a:gd name="connsiteY11" fmla="*/ 7915 h 10000"/>
                <a:gd name="connsiteX12" fmla="*/ 5000 w 10000"/>
                <a:gd name="connsiteY12" fmla="*/ 8267 h 10000"/>
                <a:gd name="connsiteX13" fmla="*/ 4545 w 10000"/>
                <a:gd name="connsiteY13" fmla="*/ 8851 h 10000"/>
                <a:gd name="connsiteX14" fmla="*/ 7417 w 10000"/>
                <a:gd name="connsiteY14" fmla="*/ 7328 h 10000"/>
                <a:gd name="connsiteX15" fmla="*/ 6733 w 10000"/>
                <a:gd name="connsiteY15" fmla="*/ 9304 h 10000"/>
                <a:gd name="connsiteX16" fmla="*/ 8151 w 10000"/>
                <a:gd name="connsiteY16" fmla="*/ 10000 h 10000"/>
                <a:gd name="connsiteX17" fmla="*/ 8636 w 10000"/>
                <a:gd name="connsiteY17" fmla="*/ 9435 h 10000"/>
                <a:gd name="connsiteX18" fmla="*/ 9545 w 10000"/>
                <a:gd name="connsiteY18" fmla="*/ 7685 h 10000"/>
                <a:gd name="connsiteX19" fmla="*/ 10000 w 10000"/>
                <a:gd name="connsiteY19" fmla="*/ 7685 h 10000"/>
                <a:gd name="connsiteX20" fmla="*/ 9539 w 10000"/>
                <a:gd name="connsiteY20" fmla="*/ 4448 h 10000"/>
                <a:gd name="connsiteX21" fmla="*/ 8551 w 10000"/>
                <a:gd name="connsiteY21" fmla="*/ 2749 h 10000"/>
                <a:gd name="connsiteX22" fmla="*/ 7169 w 10000"/>
                <a:gd name="connsiteY22" fmla="*/ 3612 h 10000"/>
                <a:gd name="connsiteX23" fmla="*/ 5776 w 10000"/>
                <a:gd name="connsiteY23" fmla="*/ 2069 h 10000"/>
                <a:gd name="connsiteX24" fmla="*/ 6302 w 10000"/>
                <a:gd name="connsiteY24" fmla="*/ 4534 h 10000"/>
                <a:gd name="connsiteX0" fmla="*/ 6302 w 10000"/>
                <a:gd name="connsiteY0" fmla="*/ 3367 h 8833"/>
                <a:gd name="connsiteX1" fmla="*/ 4776 w 10000"/>
                <a:gd name="connsiteY1" fmla="*/ 3179 h 8833"/>
                <a:gd name="connsiteX2" fmla="*/ 4666 w 10000"/>
                <a:gd name="connsiteY2" fmla="*/ 4853 h 8833"/>
                <a:gd name="connsiteX3" fmla="*/ 0 w 10000"/>
                <a:gd name="connsiteY3" fmla="*/ 0 h 8833"/>
                <a:gd name="connsiteX4" fmla="*/ 455 w 10000"/>
                <a:gd name="connsiteY4" fmla="*/ 1751 h 8833"/>
                <a:gd name="connsiteX5" fmla="*/ 679 w 10000"/>
                <a:gd name="connsiteY5" fmla="*/ 3637 h 8833"/>
                <a:gd name="connsiteX6" fmla="*/ 455 w 10000"/>
                <a:gd name="connsiteY6" fmla="*/ 4766 h 8833"/>
                <a:gd name="connsiteX7" fmla="*/ 909 w 10000"/>
                <a:gd name="connsiteY7" fmla="*/ 5934 h 8833"/>
                <a:gd name="connsiteX8" fmla="*/ 1598 w 10000"/>
                <a:gd name="connsiteY8" fmla="*/ 7426 h 8833"/>
                <a:gd name="connsiteX9" fmla="*/ 4110 w 10000"/>
                <a:gd name="connsiteY9" fmla="*/ 6341 h 8833"/>
                <a:gd name="connsiteX10" fmla="*/ 4448 w 10000"/>
                <a:gd name="connsiteY10" fmla="*/ 6740 h 8833"/>
                <a:gd name="connsiteX11" fmla="*/ 5010 w 10000"/>
                <a:gd name="connsiteY11" fmla="*/ 6748 h 8833"/>
                <a:gd name="connsiteX12" fmla="*/ 5000 w 10000"/>
                <a:gd name="connsiteY12" fmla="*/ 7100 h 8833"/>
                <a:gd name="connsiteX13" fmla="*/ 4545 w 10000"/>
                <a:gd name="connsiteY13" fmla="*/ 7684 h 8833"/>
                <a:gd name="connsiteX14" fmla="*/ 7417 w 10000"/>
                <a:gd name="connsiteY14" fmla="*/ 6161 h 8833"/>
                <a:gd name="connsiteX15" fmla="*/ 6733 w 10000"/>
                <a:gd name="connsiteY15" fmla="*/ 8137 h 8833"/>
                <a:gd name="connsiteX16" fmla="*/ 8151 w 10000"/>
                <a:gd name="connsiteY16" fmla="*/ 8833 h 8833"/>
                <a:gd name="connsiteX17" fmla="*/ 8636 w 10000"/>
                <a:gd name="connsiteY17" fmla="*/ 8268 h 8833"/>
                <a:gd name="connsiteX18" fmla="*/ 9545 w 10000"/>
                <a:gd name="connsiteY18" fmla="*/ 6518 h 8833"/>
                <a:gd name="connsiteX19" fmla="*/ 10000 w 10000"/>
                <a:gd name="connsiteY19" fmla="*/ 6518 h 8833"/>
                <a:gd name="connsiteX20" fmla="*/ 9539 w 10000"/>
                <a:gd name="connsiteY20" fmla="*/ 3281 h 8833"/>
                <a:gd name="connsiteX21" fmla="*/ 8551 w 10000"/>
                <a:gd name="connsiteY21" fmla="*/ 1582 h 8833"/>
                <a:gd name="connsiteX22" fmla="*/ 7169 w 10000"/>
                <a:gd name="connsiteY22" fmla="*/ 2445 h 8833"/>
                <a:gd name="connsiteX23" fmla="*/ 5776 w 10000"/>
                <a:gd name="connsiteY23" fmla="*/ 902 h 8833"/>
                <a:gd name="connsiteX24" fmla="*/ 6302 w 10000"/>
                <a:gd name="connsiteY24" fmla="*/ 3367 h 8833"/>
                <a:gd name="connsiteX0" fmla="*/ 6702 w 10400"/>
                <a:gd name="connsiteY0" fmla="*/ 3812 h 10000"/>
                <a:gd name="connsiteX1" fmla="*/ 5176 w 10400"/>
                <a:gd name="connsiteY1" fmla="*/ 3599 h 10000"/>
                <a:gd name="connsiteX2" fmla="*/ 5066 w 10400"/>
                <a:gd name="connsiteY2" fmla="*/ 5494 h 10000"/>
                <a:gd name="connsiteX3" fmla="*/ 0 w 10400"/>
                <a:gd name="connsiteY3" fmla="*/ 0 h 10000"/>
                <a:gd name="connsiteX4" fmla="*/ 855 w 10400"/>
                <a:gd name="connsiteY4" fmla="*/ 1982 h 10000"/>
                <a:gd name="connsiteX5" fmla="*/ 1079 w 10400"/>
                <a:gd name="connsiteY5" fmla="*/ 4118 h 10000"/>
                <a:gd name="connsiteX6" fmla="*/ 855 w 10400"/>
                <a:gd name="connsiteY6" fmla="*/ 5396 h 10000"/>
                <a:gd name="connsiteX7" fmla="*/ 1309 w 10400"/>
                <a:gd name="connsiteY7" fmla="*/ 6718 h 10000"/>
                <a:gd name="connsiteX8" fmla="*/ 1998 w 10400"/>
                <a:gd name="connsiteY8" fmla="*/ 8407 h 10000"/>
                <a:gd name="connsiteX9" fmla="*/ 4510 w 10400"/>
                <a:gd name="connsiteY9" fmla="*/ 7179 h 10000"/>
                <a:gd name="connsiteX10" fmla="*/ 4848 w 10400"/>
                <a:gd name="connsiteY10" fmla="*/ 7630 h 10000"/>
                <a:gd name="connsiteX11" fmla="*/ 5410 w 10400"/>
                <a:gd name="connsiteY11" fmla="*/ 7640 h 10000"/>
                <a:gd name="connsiteX12" fmla="*/ 5400 w 10400"/>
                <a:gd name="connsiteY12" fmla="*/ 8038 h 10000"/>
                <a:gd name="connsiteX13" fmla="*/ 4945 w 10400"/>
                <a:gd name="connsiteY13" fmla="*/ 8699 h 10000"/>
                <a:gd name="connsiteX14" fmla="*/ 7817 w 10400"/>
                <a:gd name="connsiteY14" fmla="*/ 6975 h 10000"/>
                <a:gd name="connsiteX15" fmla="*/ 7133 w 10400"/>
                <a:gd name="connsiteY15" fmla="*/ 9212 h 10000"/>
                <a:gd name="connsiteX16" fmla="*/ 8551 w 10400"/>
                <a:gd name="connsiteY16" fmla="*/ 10000 h 10000"/>
                <a:gd name="connsiteX17" fmla="*/ 9036 w 10400"/>
                <a:gd name="connsiteY17" fmla="*/ 9360 h 10000"/>
                <a:gd name="connsiteX18" fmla="*/ 9945 w 10400"/>
                <a:gd name="connsiteY18" fmla="*/ 7379 h 10000"/>
                <a:gd name="connsiteX19" fmla="*/ 10400 w 10400"/>
                <a:gd name="connsiteY19" fmla="*/ 7379 h 10000"/>
                <a:gd name="connsiteX20" fmla="*/ 9939 w 10400"/>
                <a:gd name="connsiteY20" fmla="*/ 3714 h 10000"/>
                <a:gd name="connsiteX21" fmla="*/ 8951 w 10400"/>
                <a:gd name="connsiteY21" fmla="*/ 1791 h 10000"/>
                <a:gd name="connsiteX22" fmla="*/ 7569 w 10400"/>
                <a:gd name="connsiteY22" fmla="*/ 2768 h 10000"/>
                <a:gd name="connsiteX23" fmla="*/ 6176 w 10400"/>
                <a:gd name="connsiteY23" fmla="*/ 1021 h 10000"/>
                <a:gd name="connsiteX24" fmla="*/ 6702 w 10400"/>
                <a:gd name="connsiteY24" fmla="*/ 3812 h 10000"/>
                <a:gd name="connsiteX0" fmla="*/ 5847 w 9545"/>
                <a:gd name="connsiteY0" fmla="*/ 2791 h 8979"/>
                <a:gd name="connsiteX1" fmla="*/ 4321 w 9545"/>
                <a:gd name="connsiteY1" fmla="*/ 2578 h 8979"/>
                <a:gd name="connsiteX2" fmla="*/ 4211 w 9545"/>
                <a:gd name="connsiteY2" fmla="*/ 4473 h 8979"/>
                <a:gd name="connsiteX3" fmla="*/ 0 w 9545"/>
                <a:gd name="connsiteY3" fmla="*/ 961 h 8979"/>
                <a:gd name="connsiteX4" fmla="*/ 224 w 9545"/>
                <a:gd name="connsiteY4" fmla="*/ 3097 h 8979"/>
                <a:gd name="connsiteX5" fmla="*/ 0 w 9545"/>
                <a:gd name="connsiteY5" fmla="*/ 4375 h 8979"/>
                <a:gd name="connsiteX6" fmla="*/ 454 w 9545"/>
                <a:gd name="connsiteY6" fmla="*/ 5697 h 8979"/>
                <a:gd name="connsiteX7" fmla="*/ 1143 w 9545"/>
                <a:gd name="connsiteY7" fmla="*/ 7386 h 8979"/>
                <a:gd name="connsiteX8" fmla="*/ 3655 w 9545"/>
                <a:gd name="connsiteY8" fmla="*/ 6158 h 8979"/>
                <a:gd name="connsiteX9" fmla="*/ 3993 w 9545"/>
                <a:gd name="connsiteY9" fmla="*/ 6609 h 8979"/>
                <a:gd name="connsiteX10" fmla="*/ 4555 w 9545"/>
                <a:gd name="connsiteY10" fmla="*/ 6619 h 8979"/>
                <a:gd name="connsiteX11" fmla="*/ 4545 w 9545"/>
                <a:gd name="connsiteY11" fmla="*/ 7017 h 8979"/>
                <a:gd name="connsiteX12" fmla="*/ 4090 w 9545"/>
                <a:gd name="connsiteY12" fmla="*/ 7678 h 8979"/>
                <a:gd name="connsiteX13" fmla="*/ 6962 w 9545"/>
                <a:gd name="connsiteY13" fmla="*/ 5954 h 8979"/>
                <a:gd name="connsiteX14" fmla="*/ 6278 w 9545"/>
                <a:gd name="connsiteY14" fmla="*/ 8191 h 8979"/>
                <a:gd name="connsiteX15" fmla="*/ 7696 w 9545"/>
                <a:gd name="connsiteY15" fmla="*/ 8979 h 8979"/>
                <a:gd name="connsiteX16" fmla="*/ 8181 w 9545"/>
                <a:gd name="connsiteY16" fmla="*/ 8339 h 8979"/>
                <a:gd name="connsiteX17" fmla="*/ 9090 w 9545"/>
                <a:gd name="connsiteY17" fmla="*/ 6358 h 8979"/>
                <a:gd name="connsiteX18" fmla="*/ 9545 w 9545"/>
                <a:gd name="connsiteY18" fmla="*/ 6358 h 8979"/>
                <a:gd name="connsiteX19" fmla="*/ 9084 w 9545"/>
                <a:gd name="connsiteY19" fmla="*/ 2693 h 8979"/>
                <a:gd name="connsiteX20" fmla="*/ 8096 w 9545"/>
                <a:gd name="connsiteY20" fmla="*/ 770 h 8979"/>
                <a:gd name="connsiteX21" fmla="*/ 6714 w 9545"/>
                <a:gd name="connsiteY21" fmla="*/ 1747 h 8979"/>
                <a:gd name="connsiteX22" fmla="*/ 5321 w 9545"/>
                <a:gd name="connsiteY22" fmla="*/ 0 h 8979"/>
                <a:gd name="connsiteX23" fmla="*/ 5847 w 9545"/>
                <a:gd name="connsiteY23" fmla="*/ 2791 h 8979"/>
                <a:gd name="connsiteX0" fmla="*/ 6126 w 10000"/>
                <a:gd name="connsiteY0" fmla="*/ 3108 h 10000"/>
                <a:gd name="connsiteX1" fmla="*/ 4527 w 10000"/>
                <a:gd name="connsiteY1" fmla="*/ 2871 h 10000"/>
                <a:gd name="connsiteX2" fmla="*/ 4412 w 10000"/>
                <a:gd name="connsiteY2" fmla="*/ 4982 h 10000"/>
                <a:gd name="connsiteX3" fmla="*/ 235 w 10000"/>
                <a:gd name="connsiteY3" fmla="*/ 3449 h 10000"/>
                <a:gd name="connsiteX4" fmla="*/ 0 w 10000"/>
                <a:gd name="connsiteY4" fmla="*/ 4872 h 10000"/>
                <a:gd name="connsiteX5" fmla="*/ 476 w 10000"/>
                <a:gd name="connsiteY5" fmla="*/ 6345 h 10000"/>
                <a:gd name="connsiteX6" fmla="*/ 1197 w 10000"/>
                <a:gd name="connsiteY6" fmla="*/ 8226 h 10000"/>
                <a:gd name="connsiteX7" fmla="*/ 3829 w 10000"/>
                <a:gd name="connsiteY7" fmla="*/ 6858 h 10000"/>
                <a:gd name="connsiteX8" fmla="*/ 4183 w 10000"/>
                <a:gd name="connsiteY8" fmla="*/ 7361 h 10000"/>
                <a:gd name="connsiteX9" fmla="*/ 4772 w 10000"/>
                <a:gd name="connsiteY9" fmla="*/ 7372 h 10000"/>
                <a:gd name="connsiteX10" fmla="*/ 4762 w 10000"/>
                <a:gd name="connsiteY10" fmla="*/ 7815 h 10000"/>
                <a:gd name="connsiteX11" fmla="*/ 4285 w 10000"/>
                <a:gd name="connsiteY11" fmla="*/ 8551 h 10000"/>
                <a:gd name="connsiteX12" fmla="*/ 7294 w 10000"/>
                <a:gd name="connsiteY12" fmla="*/ 6631 h 10000"/>
                <a:gd name="connsiteX13" fmla="*/ 6577 w 10000"/>
                <a:gd name="connsiteY13" fmla="*/ 9122 h 10000"/>
                <a:gd name="connsiteX14" fmla="*/ 8063 w 10000"/>
                <a:gd name="connsiteY14" fmla="*/ 10000 h 10000"/>
                <a:gd name="connsiteX15" fmla="*/ 8571 w 10000"/>
                <a:gd name="connsiteY15" fmla="*/ 9287 h 10000"/>
                <a:gd name="connsiteX16" fmla="*/ 9523 w 10000"/>
                <a:gd name="connsiteY16" fmla="*/ 7081 h 10000"/>
                <a:gd name="connsiteX17" fmla="*/ 10000 w 10000"/>
                <a:gd name="connsiteY17" fmla="*/ 7081 h 10000"/>
                <a:gd name="connsiteX18" fmla="*/ 9517 w 10000"/>
                <a:gd name="connsiteY18" fmla="*/ 2999 h 10000"/>
                <a:gd name="connsiteX19" fmla="*/ 8482 w 10000"/>
                <a:gd name="connsiteY19" fmla="*/ 858 h 10000"/>
                <a:gd name="connsiteX20" fmla="*/ 7034 w 10000"/>
                <a:gd name="connsiteY20" fmla="*/ 1946 h 10000"/>
                <a:gd name="connsiteX21" fmla="*/ 5575 w 10000"/>
                <a:gd name="connsiteY21" fmla="*/ 0 h 10000"/>
                <a:gd name="connsiteX22" fmla="*/ 6126 w 10000"/>
                <a:gd name="connsiteY22" fmla="*/ 3108 h 10000"/>
                <a:gd name="connsiteX0" fmla="*/ 6126 w 10000"/>
                <a:gd name="connsiteY0" fmla="*/ 3108 h 10000"/>
                <a:gd name="connsiteX1" fmla="*/ 4527 w 10000"/>
                <a:gd name="connsiteY1" fmla="*/ 2871 h 10000"/>
                <a:gd name="connsiteX2" fmla="*/ 4412 w 10000"/>
                <a:gd name="connsiteY2" fmla="*/ 4982 h 10000"/>
                <a:gd name="connsiteX3" fmla="*/ 0 w 10000"/>
                <a:gd name="connsiteY3" fmla="*/ 4872 h 10000"/>
                <a:gd name="connsiteX4" fmla="*/ 476 w 10000"/>
                <a:gd name="connsiteY4" fmla="*/ 6345 h 10000"/>
                <a:gd name="connsiteX5" fmla="*/ 1197 w 10000"/>
                <a:gd name="connsiteY5" fmla="*/ 8226 h 10000"/>
                <a:gd name="connsiteX6" fmla="*/ 3829 w 10000"/>
                <a:gd name="connsiteY6" fmla="*/ 6858 h 10000"/>
                <a:gd name="connsiteX7" fmla="*/ 4183 w 10000"/>
                <a:gd name="connsiteY7" fmla="*/ 7361 h 10000"/>
                <a:gd name="connsiteX8" fmla="*/ 4772 w 10000"/>
                <a:gd name="connsiteY8" fmla="*/ 7372 h 10000"/>
                <a:gd name="connsiteX9" fmla="*/ 4762 w 10000"/>
                <a:gd name="connsiteY9" fmla="*/ 7815 h 10000"/>
                <a:gd name="connsiteX10" fmla="*/ 4285 w 10000"/>
                <a:gd name="connsiteY10" fmla="*/ 8551 h 10000"/>
                <a:gd name="connsiteX11" fmla="*/ 7294 w 10000"/>
                <a:gd name="connsiteY11" fmla="*/ 6631 h 10000"/>
                <a:gd name="connsiteX12" fmla="*/ 6577 w 10000"/>
                <a:gd name="connsiteY12" fmla="*/ 9122 h 10000"/>
                <a:gd name="connsiteX13" fmla="*/ 8063 w 10000"/>
                <a:gd name="connsiteY13" fmla="*/ 10000 h 10000"/>
                <a:gd name="connsiteX14" fmla="*/ 8571 w 10000"/>
                <a:gd name="connsiteY14" fmla="*/ 9287 h 10000"/>
                <a:gd name="connsiteX15" fmla="*/ 9523 w 10000"/>
                <a:gd name="connsiteY15" fmla="*/ 7081 h 10000"/>
                <a:gd name="connsiteX16" fmla="*/ 10000 w 10000"/>
                <a:gd name="connsiteY16" fmla="*/ 7081 h 10000"/>
                <a:gd name="connsiteX17" fmla="*/ 9517 w 10000"/>
                <a:gd name="connsiteY17" fmla="*/ 2999 h 10000"/>
                <a:gd name="connsiteX18" fmla="*/ 8482 w 10000"/>
                <a:gd name="connsiteY18" fmla="*/ 858 h 10000"/>
                <a:gd name="connsiteX19" fmla="*/ 7034 w 10000"/>
                <a:gd name="connsiteY19" fmla="*/ 1946 h 10000"/>
                <a:gd name="connsiteX20" fmla="*/ 5575 w 10000"/>
                <a:gd name="connsiteY20" fmla="*/ 0 h 10000"/>
                <a:gd name="connsiteX21" fmla="*/ 6126 w 10000"/>
                <a:gd name="connsiteY21" fmla="*/ 3108 h 10000"/>
                <a:gd name="connsiteX0" fmla="*/ 5650 w 9524"/>
                <a:gd name="connsiteY0" fmla="*/ 3108 h 10000"/>
                <a:gd name="connsiteX1" fmla="*/ 4051 w 9524"/>
                <a:gd name="connsiteY1" fmla="*/ 2871 h 10000"/>
                <a:gd name="connsiteX2" fmla="*/ 3936 w 9524"/>
                <a:gd name="connsiteY2" fmla="*/ 4982 h 10000"/>
                <a:gd name="connsiteX3" fmla="*/ 0 w 9524"/>
                <a:gd name="connsiteY3" fmla="*/ 6345 h 10000"/>
                <a:gd name="connsiteX4" fmla="*/ 721 w 9524"/>
                <a:gd name="connsiteY4" fmla="*/ 8226 h 10000"/>
                <a:gd name="connsiteX5" fmla="*/ 3353 w 9524"/>
                <a:gd name="connsiteY5" fmla="*/ 6858 h 10000"/>
                <a:gd name="connsiteX6" fmla="*/ 3707 w 9524"/>
                <a:gd name="connsiteY6" fmla="*/ 7361 h 10000"/>
                <a:gd name="connsiteX7" fmla="*/ 4296 w 9524"/>
                <a:gd name="connsiteY7" fmla="*/ 7372 h 10000"/>
                <a:gd name="connsiteX8" fmla="*/ 4286 w 9524"/>
                <a:gd name="connsiteY8" fmla="*/ 7815 h 10000"/>
                <a:gd name="connsiteX9" fmla="*/ 3809 w 9524"/>
                <a:gd name="connsiteY9" fmla="*/ 8551 h 10000"/>
                <a:gd name="connsiteX10" fmla="*/ 6818 w 9524"/>
                <a:gd name="connsiteY10" fmla="*/ 6631 h 10000"/>
                <a:gd name="connsiteX11" fmla="*/ 6101 w 9524"/>
                <a:gd name="connsiteY11" fmla="*/ 9122 h 10000"/>
                <a:gd name="connsiteX12" fmla="*/ 7587 w 9524"/>
                <a:gd name="connsiteY12" fmla="*/ 10000 h 10000"/>
                <a:gd name="connsiteX13" fmla="*/ 8095 w 9524"/>
                <a:gd name="connsiteY13" fmla="*/ 9287 h 10000"/>
                <a:gd name="connsiteX14" fmla="*/ 9047 w 9524"/>
                <a:gd name="connsiteY14" fmla="*/ 7081 h 10000"/>
                <a:gd name="connsiteX15" fmla="*/ 9524 w 9524"/>
                <a:gd name="connsiteY15" fmla="*/ 7081 h 10000"/>
                <a:gd name="connsiteX16" fmla="*/ 9041 w 9524"/>
                <a:gd name="connsiteY16" fmla="*/ 2999 h 10000"/>
                <a:gd name="connsiteX17" fmla="*/ 8006 w 9524"/>
                <a:gd name="connsiteY17" fmla="*/ 858 h 10000"/>
                <a:gd name="connsiteX18" fmla="*/ 6558 w 9524"/>
                <a:gd name="connsiteY18" fmla="*/ 1946 h 10000"/>
                <a:gd name="connsiteX19" fmla="*/ 5099 w 9524"/>
                <a:gd name="connsiteY19" fmla="*/ 0 h 10000"/>
                <a:gd name="connsiteX20" fmla="*/ 5650 w 9524"/>
                <a:gd name="connsiteY20" fmla="*/ 3108 h 10000"/>
                <a:gd name="connsiteX0" fmla="*/ 5175 w 9243"/>
                <a:gd name="connsiteY0" fmla="*/ 3108 h 10000"/>
                <a:gd name="connsiteX1" fmla="*/ 3496 w 9243"/>
                <a:gd name="connsiteY1" fmla="*/ 2871 h 10000"/>
                <a:gd name="connsiteX2" fmla="*/ 3376 w 9243"/>
                <a:gd name="connsiteY2" fmla="*/ 4982 h 10000"/>
                <a:gd name="connsiteX3" fmla="*/ 0 w 9243"/>
                <a:gd name="connsiteY3" fmla="*/ 8226 h 10000"/>
                <a:gd name="connsiteX4" fmla="*/ 2764 w 9243"/>
                <a:gd name="connsiteY4" fmla="*/ 6858 h 10000"/>
                <a:gd name="connsiteX5" fmla="*/ 3135 w 9243"/>
                <a:gd name="connsiteY5" fmla="*/ 7361 h 10000"/>
                <a:gd name="connsiteX6" fmla="*/ 3754 w 9243"/>
                <a:gd name="connsiteY6" fmla="*/ 7372 h 10000"/>
                <a:gd name="connsiteX7" fmla="*/ 3743 w 9243"/>
                <a:gd name="connsiteY7" fmla="*/ 7815 h 10000"/>
                <a:gd name="connsiteX8" fmla="*/ 3242 w 9243"/>
                <a:gd name="connsiteY8" fmla="*/ 8551 h 10000"/>
                <a:gd name="connsiteX9" fmla="*/ 6402 w 9243"/>
                <a:gd name="connsiteY9" fmla="*/ 6631 h 10000"/>
                <a:gd name="connsiteX10" fmla="*/ 5649 w 9243"/>
                <a:gd name="connsiteY10" fmla="*/ 9122 h 10000"/>
                <a:gd name="connsiteX11" fmla="*/ 7209 w 9243"/>
                <a:gd name="connsiteY11" fmla="*/ 10000 h 10000"/>
                <a:gd name="connsiteX12" fmla="*/ 7743 w 9243"/>
                <a:gd name="connsiteY12" fmla="*/ 9287 h 10000"/>
                <a:gd name="connsiteX13" fmla="*/ 8742 w 9243"/>
                <a:gd name="connsiteY13" fmla="*/ 7081 h 10000"/>
                <a:gd name="connsiteX14" fmla="*/ 9243 w 9243"/>
                <a:gd name="connsiteY14" fmla="*/ 7081 h 10000"/>
                <a:gd name="connsiteX15" fmla="*/ 8736 w 9243"/>
                <a:gd name="connsiteY15" fmla="*/ 2999 h 10000"/>
                <a:gd name="connsiteX16" fmla="*/ 7649 w 9243"/>
                <a:gd name="connsiteY16" fmla="*/ 858 h 10000"/>
                <a:gd name="connsiteX17" fmla="*/ 6129 w 9243"/>
                <a:gd name="connsiteY17" fmla="*/ 1946 h 10000"/>
                <a:gd name="connsiteX18" fmla="*/ 4597 w 9243"/>
                <a:gd name="connsiteY18" fmla="*/ 0 h 10000"/>
                <a:gd name="connsiteX19" fmla="*/ 5175 w 9243"/>
                <a:gd name="connsiteY19" fmla="*/ 3108 h 10000"/>
                <a:gd name="connsiteX0" fmla="*/ 2609 w 7010"/>
                <a:gd name="connsiteY0" fmla="*/ 3108 h 10000"/>
                <a:gd name="connsiteX1" fmla="*/ 792 w 7010"/>
                <a:gd name="connsiteY1" fmla="*/ 2871 h 10000"/>
                <a:gd name="connsiteX2" fmla="*/ 662 w 7010"/>
                <a:gd name="connsiteY2" fmla="*/ 4982 h 10000"/>
                <a:gd name="connsiteX3" fmla="*/ 0 w 7010"/>
                <a:gd name="connsiteY3" fmla="*/ 6858 h 10000"/>
                <a:gd name="connsiteX4" fmla="*/ 402 w 7010"/>
                <a:gd name="connsiteY4" fmla="*/ 7361 h 10000"/>
                <a:gd name="connsiteX5" fmla="*/ 1071 w 7010"/>
                <a:gd name="connsiteY5" fmla="*/ 7372 h 10000"/>
                <a:gd name="connsiteX6" fmla="*/ 1060 w 7010"/>
                <a:gd name="connsiteY6" fmla="*/ 7815 h 10000"/>
                <a:gd name="connsiteX7" fmla="*/ 518 w 7010"/>
                <a:gd name="connsiteY7" fmla="*/ 8551 h 10000"/>
                <a:gd name="connsiteX8" fmla="*/ 3936 w 7010"/>
                <a:gd name="connsiteY8" fmla="*/ 6631 h 10000"/>
                <a:gd name="connsiteX9" fmla="*/ 3122 w 7010"/>
                <a:gd name="connsiteY9" fmla="*/ 9122 h 10000"/>
                <a:gd name="connsiteX10" fmla="*/ 4809 w 7010"/>
                <a:gd name="connsiteY10" fmla="*/ 10000 h 10000"/>
                <a:gd name="connsiteX11" fmla="*/ 5387 w 7010"/>
                <a:gd name="connsiteY11" fmla="*/ 9287 h 10000"/>
                <a:gd name="connsiteX12" fmla="*/ 6468 w 7010"/>
                <a:gd name="connsiteY12" fmla="*/ 7081 h 10000"/>
                <a:gd name="connsiteX13" fmla="*/ 7010 w 7010"/>
                <a:gd name="connsiteY13" fmla="*/ 7081 h 10000"/>
                <a:gd name="connsiteX14" fmla="*/ 6461 w 7010"/>
                <a:gd name="connsiteY14" fmla="*/ 2999 h 10000"/>
                <a:gd name="connsiteX15" fmla="*/ 5285 w 7010"/>
                <a:gd name="connsiteY15" fmla="*/ 858 h 10000"/>
                <a:gd name="connsiteX16" fmla="*/ 3641 w 7010"/>
                <a:gd name="connsiteY16" fmla="*/ 1946 h 10000"/>
                <a:gd name="connsiteX17" fmla="*/ 1983 w 7010"/>
                <a:gd name="connsiteY17" fmla="*/ 0 h 10000"/>
                <a:gd name="connsiteX18" fmla="*/ 2609 w 7010"/>
                <a:gd name="connsiteY18" fmla="*/ 3108 h 10000"/>
                <a:gd name="connsiteX0" fmla="*/ 3722 w 10000"/>
                <a:gd name="connsiteY0" fmla="*/ 3108 h 11186"/>
                <a:gd name="connsiteX1" fmla="*/ 1130 w 10000"/>
                <a:gd name="connsiteY1" fmla="*/ 2871 h 11186"/>
                <a:gd name="connsiteX2" fmla="*/ 944 w 10000"/>
                <a:gd name="connsiteY2" fmla="*/ 4982 h 11186"/>
                <a:gd name="connsiteX3" fmla="*/ 0 w 10000"/>
                <a:gd name="connsiteY3" fmla="*/ 6858 h 11186"/>
                <a:gd name="connsiteX4" fmla="*/ 573 w 10000"/>
                <a:gd name="connsiteY4" fmla="*/ 7361 h 11186"/>
                <a:gd name="connsiteX5" fmla="*/ 1528 w 10000"/>
                <a:gd name="connsiteY5" fmla="*/ 7372 h 11186"/>
                <a:gd name="connsiteX6" fmla="*/ 1512 w 10000"/>
                <a:gd name="connsiteY6" fmla="*/ 7815 h 11186"/>
                <a:gd name="connsiteX7" fmla="*/ 739 w 10000"/>
                <a:gd name="connsiteY7" fmla="*/ 8551 h 11186"/>
                <a:gd name="connsiteX8" fmla="*/ 5615 w 10000"/>
                <a:gd name="connsiteY8" fmla="*/ 6631 h 11186"/>
                <a:gd name="connsiteX9" fmla="*/ 4454 w 10000"/>
                <a:gd name="connsiteY9" fmla="*/ 9122 h 11186"/>
                <a:gd name="connsiteX10" fmla="*/ 6860 w 10000"/>
                <a:gd name="connsiteY10" fmla="*/ 11186 h 11186"/>
                <a:gd name="connsiteX11" fmla="*/ 7685 w 10000"/>
                <a:gd name="connsiteY11" fmla="*/ 9287 h 11186"/>
                <a:gd name="connsiteX12" fmla="*/ 9227 w 10000"/>
                <a:gd name="connsiteY12" fmla="*/ 7081 h 11186"/>
                <a:gd name="connsiteX13" fmla="*/ 10000 w 10000"/>
                <a:gd name="connsiteY13" fmla="*/ 7081 h 11186"/>
                <a:gd name="connsiteX14" fmla="*/ 9217 w 10000"/>
                <a:gd name="connsiteY14" fmla="*/ 2999 h 11186"/>
                <a:gd name="connsiteX15" fmla="*/ 7539 w 10000"/>
                <a:gd name="connsiteY15" fmla="*/ 858 h 11186"/>
                <a:gd name="connsiteX16" fmla="*/ 5194 w 10000"/>
                <a:gd name="connsiteY16" fmla="*/ 1946 h 11186"/>
                <a:gd name="connsiteX17" fmla="*/ 2829 w 10000"/>
                <a:gd name="connsiteY17" fmla="*/ 0 h 11186"/>
                <a:gd name="connsiteX18" fmla="*/ 3722 w 10000"/>
                <a:gd name="connsiteY18" fmla="*/ 3108 h 11186"/>
                <a:gd name="connsiteX0" fmla="*/ 3722 w 10000"/>
                <a:gd name="connsiteY0" fmla="*/ 3108 h 11186"/>
                <a:gd name="connsiteX1" fmla="*/ 1130 w 10000"/>
                <a:gd name="connsiteY1" fmla="*/ 2871 h 11186"/>
                <a:gd name="connsiteX2" fmla="*/ 944 w 10000"/>
                <a:gd name="connsiteY2" fmla="*/ 4982 h 11186"/>
                <a:gd name="connsiteX3" fmla="*/ 0 w 10000"/>
                <a:gd name="connsiteY3" fmla="*/ 6858 h 11186"/>
                <a:gd name="connsiteX4" fmla="*/ 573 w 10000"/>
                <a:gd name="connsiteY4" fmla="*/ 7361 h 11186"/>
                <a:gd name="connsiteX5" fmla="*/ 1528 w 10000"/>
                <a:gd name="connsiteY5" fmla="*/ 7372 h 11186"/>
                <a:gd name="connsiteX6" fmla="*/ 1512 w 10000"/>
                <a:gd name="connsiteY6" fmla="*/ 7815 h 11186"/>
                <a:gd name="connsiteX7" fmla="*/ 739 w 10000"/>
                <a:gd name="connsiteY7" fmla="*/ 8551 h 11186"/>
                <a:gd name="connsiteX8" fmla="*/ 5615 w 10000"/>
                <a:gd name="connsiteY8" fmla="*/ 6631 h 11186"/>
                <a:gd name="connsiteX9" fmla="*/ 5133 w 10000"/>
                <a:gd name="connsiteY9" fmla="*/ 9359 h 11186"/>
                <a:gd name="connsiteX10" fmla="*/ 6860 w 10000"/>
                <a:gd name="connsiteY10" fmla="*/ 11186 h 11186"/>
                <a:gd name="connsiteX11" fmla="*/ 7685 w 10000"/>
                <a:gd name="connsiteY11" fmla="*/ 9287 h 11186"/>
                <a:gd name="connsiteX12" fmla="*/ 9227 w 10000"/>
                <a:gd name="connsiteY12" fmla="*/ 7081 h 11186"/>
                <a:gd name="connsiteX13" fmla="*/ 10000 w 10000"/>
                <a:gd name="connsiteY13" fmla="*/ 7081 h 11186"/>
                <a:gd name="connsiteX14" fmla="*/ 9217 w 10000"/>
                <a:gd name="connsiteY14" fmla="*/ 2999 h 11186"/>
                <a:gd name="connsiteX15" fmla="*/ 7539 w 10000"/>
                <a:gd name="connsiteY15" fmla="*/ 858 h 11186"/>
                <a:gd name="connsiteX16" fmla="*/ 5194 w 10000"/>
                <a:gd name="connsiteY16" fmla="*/ 1946 h 11186"/>
                <a:gd name="connsiteX17" fmla="*/ 2829 w 10000"/>
                <a:gd name="connsiteY17" fmla="*/ 0 h 11186"/>
                <a:gd name="connsiteX18" fmla="*/ 3722 w 10000"/>
                <a:gd name="connsiteY18" fmla="*/ 3108 h 11186"/>
                <a:gd name="connsiteX0" fmla="*/ 3722 w 10000"/>
                <a:gd name="connsiteY0" fmla="*/ 3108 h 11186"/>
                <a:gd name="connsiteX1" fmla="*/ 1130 w 10000"/>
                <a:gd name="connsiteY1" fmla="*/ 2871 h 11186"/>
                <a:gd name="connsiteX2" fmla="*/ 944 w 10000"/>
                <a:gd name="connsiteY2" fmla="*/ 4982 h 11186"/>
                <a:gd name="connsiteX3" fmla="*/ 0 w 10000"/>
                <a:gd name="connsiteY3" fmla="*/ 6858 h 11186"/>
                <a:gd name="connsiteX4" fmla="*/ 573 w 10000"/>
                <a:gd name="connsiteY4" fmla="*/ 7361 h 11186"/>
                <a:gd name="connsiteX5" fmla="*/ 1528 w 10000"/>
                <a:gd name="connsiteY5" fmla="*/ 7372 h 11186"/>
                <a:gd name="connsiteX6" fmla="*/ 1512 w 10000"/>
                <a:gd name="connsiteY6" fmla="*/ 7815 h 11186"/>
                <a:gd name="connsiteX7" fmla="*/ 739 w 10000"/>
                <a:gd name="connsiteY7" fmla="*/ 8551 h 11186"/>
                <a:gd name="connsiteX8" fmla="*/ 6747 w 10000"/>
                <a:gd name="connsiteY8" fmla="*/ 6868 h 11186"/>
                <a:gd name="connsiteX9" fmla="*/ 5133 w 10000"/>
                <a:gd name="connsiteY9" fmla="*/ 9359 h 11186"/>
                <a:gd name="connsiteX10" fmla="*/ 6860 w 10000"/>
                <a:gd name="connsiteY10" fmla="*/ 11186 h 11186"/>
                <a:gd name="connsiteX11" fmla="*/ 7685 w 10000"/>
                <a:gd name="connsiteY11" fmla="*/ 9287 h 11186"/>
                <a:gd name="connsiteX12" fmla="*/ 9227 w 10000"/>
                <a:gd name="connsiteY12" fmla="*/ 7081 h 11186"/>
                <a:gd name="connsiteX13" fmla="*/ 10000 w 10000"/>
                <a:gd name="connsiteY13" fmla="*/ 7081 h 11186"/>
                <a:gd name="connsiteX14" fmla="*/ 9217 w 10000"/>
                <a:gd name="connsiteY14" fmla="*/ 2999 h 11186"/>
                <a:gd name="connsiteX15" fmla="*/ 7539 w 10000"/>
                <a:gd name="connsiteY15" fmla="*/ 858 h 11186"/>
                <a:gd name="connsiteX16" fmla="*/ 5194 w 10000"/>
                <a:gd name="connsiteY16" fmla="*/ 1946 h 11186"/>
                <a:gd name="connsiteX17" fmla="*/ 2829 w 10000"/>
                <a:gd name="connsiteY17" fmla="*/ 0 h 11186"/>
                <a:gd name="connsiteX18" fmla="*/ 3722 w 10000"/>
                <a:gd name="connsiteY18" fmla="*/ 3108 h 11186"/>
                <a:gd name="connsiteX0" fmla="*/ 3722 w 10000"/>
                <a:gd name="connsiteY0" fmla="*/ 3108 h 11186"/>
                <a:gd name="connsiteX1" fmla="*/ 1130 w 10000"/>
                <a:gd name="connsiteY1" fmla="*/ 2871 h 11186"/>
                <a:gd name="connsiteX2" fmla="*/ 944 w 10000"/>
                <a:gd name="connsiteY2" fmla="*/ 4982 h 11186"/>
                <a:gd name="connsiteX3" fmla="*/ 0 w 10000"/>
                <a:gd name="connsiteY3" fmla="*/ 6858 h 11186"/>
                <a:gd name="connsiteX4" fmla="*/ 573 w 10000"/>
                <a:gd name="connsiteY4" fmla="*/ 7361 h 11186"/>
                <a:gd name="connsiteX5" fmla="*/ 1528 w 10000"/>
                <a:gd name="connsiteY5" fmla="*/ 7372 h 11186"/>
                <a:gd name="connsiteX6" fmla="*/ 1512 w 10000"/>
                <a:gd name="connsiteY6" fmla="*/ 7815 h 11186"/>
                <a:gd name="connsiteX7" fmla="*/ 3908 w 10000"/>
                <a:gd name="connsiteY7" fmla="*/ 6891 h 11186"/>
                <a:gd name="connsiteX8" fmla="*/ 6747 w 10000"/>
                <a:gd name="connsiteY8" fmla="*/ 6868 h 11186"/>
                <a:gd name="connsiteX9" fmla="*/ 5133 w 10000"/>
                <a:gd name="connsiteY9" fmla="*/ 9359 h 11186"/>
                <a:gd name="connsiteX10" fmla="*/ 6860 w 10000"/>
                <a:gd name="connsiteY10" fmla="*/ 11186 h 11186"/>
                <a:gd name="connsiteX11" fmla="*/ 7685 w 10000"/>
                <a:gd name="connsiteY11" fmla="*/ 9287 h 11186"/>
                <a:gd name="connsiteX12" fmla="*/ 9227 w 10000"/>
                <a:gd name="connsiteY12" fmla="*/ 7081 h 11186"/>
                <a:gd name="connsiteX13" fmla="*/ 10000 w 10000"/>
                <a:gd name="connsiteY13" fmla="*/ 7081 h 11186"/>
                <a:gd name="connsiteX14" fmla="*/ 9217 w 10000"/>
                <a:gd name="connsiteY14" fmla="*/ 2999 h 11186"/>
                <a:gd name="connsiteX15" fmla="*/ 7539 w 10000"/>
                <a:gd name="connsiteY15" fmla="*/ 858 h 11186"/>
                <a:gd name="connsiteX16" fmla="*/ 5194 w 10000"/>
                <a:gd name="connsiteY16" fmla="*/ 1946 h 11186"/>
                <a:gd name="connsiteX17" fmla="*/ 2829 w 10000"/>
                <a:gd name="connsiteY17" fmla="*/ 0 h 11186"/>
                <a:gd name="connsiteX18" fmla="*/ 3722 w 10000"/>
                <a:gd name="connsiteY18" fmla="*/ 3108 h 11186"/>
                <a:gd name="connsiteX0" fmla="*/ 3722 w 10000"/>
                <a:gd name="connsiteY0" fmla="*/ 3108 h 11186"/>
                <a:gd name="connsiteX1" fmla="*/ 1130 w 10000"/>
                <a:gd name="connsiteY1" fmla="*/ 2871 h 11186"/>
                <a:gd name="connsiteX2" fmla="*/ 944 w 10000"/>
                <a:gd name="connsiteY2" fmla="*/ 4982 h 11186"/>
                <a:gd name="connsiteX3" fmla="*/ 0 w 10000"/>
                <a:gd name="connsiteY3" fmla="*/ 6858 h 11186"/>
                <a:gd name="connsiteX4" fmla="*/ 573 w 10000"/>
                <a:gd name="connsiteY4" fmla="*/ 7361 h 11186"/>
                <a:gd name="connsiteX5" fmla="*/ 1528 w 10000"/>
                <a:gd name="connsiteY5" fmla="*/ 7372 h 11186"/>
                <a:gd name="connsiteX6" fmla="*/ 1965 w 10000"/>
                <a:gd name="connsiteY6" fmla="*/ 10661 h 11186"/>
                <a:gd name="connsiteX7" fmla="*/ 3908 w 10000"/>
                <a:gd name="connsiteY7" fmla="*/ 6891 h 11186"/>
                <a:gd name="connsiteX8" fmla="*/ 6747 w 10000"/>
                <a:gd name="connsiteY8" fmla="*/ 6868 h 11186"/>
                <a:gd name="connsiteX9" fmla="*/ 5133 w 10000"/>
                <a:gd name="connsiteY9" fmla="*/ 9359 h 11186"/>
                <a:gd name="connsiteX10" fmla="*/ 6860 w 10000"/>
                <a:gd name="connsiteY10" fmla="*/ 11186 h 11186"/>
                <a:gd name="connsiteX11" fmla="*/ 7685 w 10000"/>
                <a:gd name="connsiteY11" fmla="*/ 9287 h 11186"/>
                <a:gd name="connsiteX12" fmla="*/ 9227 w 10000"/>
                <a:gd name="connsiteY12" fmla="*/ 7081 h 11186"/>
                <a:gd name="connsiteX13" fmla="*/ 10000 w 10000"/>
                <a:gd name="connsiteY13" fmla="*/ 7081 h 11186"/>
                <a:gd name="connsiteX14" fmla="*/ 9217 w 10000"/>
                <a:gd name="connsiteY14" fmla="*/ 2999 h 11186"/>
                <a:gd name="connsiteX15" fmla="*/ 7539 w 10000"/>
                <a:gd name="connsiteY15" fmla="*/ 858 h 11186"/>
                <a:gd name="connsiteX16" fmla="*/ 5194 w 10000"/>
                <a:gd name="connsiteY16" fmla="*/ 1946 h 11186"/>
                <a:gd name="connsiteX17" fmla="*/ 2829 w 10000"/>
                <a:gd name="connsiteY17" fmla="*/ 0 h 11186"/>
                <a:gd name="connsiteX18" fmla="*/ 3722 w 10000"/>
                <a:gd name="connsiteY18" fmla="*/ 3108 h 11186"/>
                <a:gd name="connsiteX0" fmla="*/ 3722 w 10000"/>
                <a:gd name="connsiteY0" fmla="*/ 3108 h 11186"/>
                <a:gd name="connsiteX1" fmla="*/ 1130 w 10000"/>
                <a:gd name="connsiteY1" fmla="*/ 2871 h 11186"/>
                <a:gd name="connsiteX2" fmla="*/ 944 w 10000"/>
                <a:gd name="connsiteY2" fmla="*/ 4982 h 11186"/>
                <a:gd name="connsiteX3" fmla="*/ 0 w 10000"/>
                <a:gd name="connsiteY3" fmla="*/ 6858 h 11186"/>
                <a:gd name="connsiteX4" fmla="*/ 573 w 10000"/>
                <a:gd name="connsiteY4" fmla="*/ 7361 h 11186"/>
                <a:gd name="connsiteX5" fmla="*/ 1528 w 10000"/>
                <a:gd name="connsiteY5" fmla="*/ 7372 h 11186"/>
                <a:gd name="connsiteX6" fmla="*/ 1965 w 10000"/>
                <a:gd name="connsiteY6" fmla="*/ 10661 h 11186"/>
                <a:gd name="connsiteX7" fmla="*/ 3908 w 10000"/>
                <a:gd name="connsiteY7" fmla="*/ 6891 h 11186"/>
                <a:gd name="connsiteX8" fmla="*/ 6747 w 10000"/>
                <a:gd name="connsiteY8" fmla="*/ 6868 h 11186"/>
                <a:gd name="connsiteX9" fmla="*/ 6038 w 10000"/>
                <a:gd name="connsiteY9" fmla="*/ 9359 h 11186"/>
                <a:gd name="connsiteX10" fmla="*/ 6860 w 10000"/>
                <a:gd name="connsiteY10" fmla="*/ 11186 h 11186"/>
                <a:gd name="connsiteX11" fmla="*/ 7685 w 10000"/>
                <a:gd name="connsiteY11" fmla="*/ 9287 h 11186"/>
                <a:gd name="connsiteX12" fmla="*/ 9227 w 10000"/>
                <a:gd name="connsiteY12" fmla="*/ 7081 h 11186"/>
                <a:gd name="connsiteX13" fmla="*/ 10000 w 10000"/>
                <a:gd name="connsiteY13" fmla="*/ 7081 h 11186"/>
                <a:gd name="connsiteX14" fmla="*/ 9217 w 10000"/>
                <a:gd name="connsiteY14" fmla="*/ 2999 h 11186"/>
                <a:gd name="connsiteX15" fmla="*/ 7539 w 10000"/>
                <a:gd name="connsiteY15" fmla="*/ 858 h 11186"/>
                <a:gd name="connsiteX16" fmla="*/ 5194 w 10000"/>
                <a:gd name="connsiteY16" fmla="*/ 1946 h 11186"/>
                <a:gd name="connsiteX17" fmla="*/ 2829 w 10000"/>
                <a:gd name="connsiteY17" fmla="*/ 0 h 11186"/>
                <a:gd name="connsiteX18" fmla="*/ 3722 w 10000"/>
                <a:gd name="connsiteY18" fmla="*/ 3108 h 11186"/>
                <a:gd name="connsiteX0" fmla="*/ 3722 w 10000"/>
                <a:gd name="connsiteY0" fmla="*/ 3108 h 11186"/>
                <a:gd name="connsiteX1" fmla="*/ 1130 w 10000"/>
                <a:gd name="connsiteY1" fmla="*/ 2871 h 11186"/>
                <a:gd name="connsiteX2" fmla="*/ 944 w 10000"/>
                <a:gd name="connsiteY2" fmla="*/ 4982 h 11186"/>
                <a:gd name="connsiteX3" fmla="*/ 0 w 10000"/>
                <a:gd name="connsiteY3" fmla="*/ 6858 h 11186"/>
                <a:gd name="connsiteX4" fmla="*/ 573 w 10000"/>
                <a:gd name="connsiteY4" fmla="*/ 7361 h 11186"/>
                <a:gd name="connsiteX5" fmla="*/ 1528 w 10000"/>
                <a:gd name="connsiteY5" fmla="*/ 7372 h 11186"/>
                <a:gd name="connsiteX6" fmla="*/ 1965 w 10000"/>
                <a:gd name="connsiteY6" fmla="*/ 10661 h 11186"/>
                <a:gd name="connsiteX7" fmla="*/ 3908 w 10000"/>
                <a:gd name="connsiteY7" fmla="*/ 6891 h 11186"/>
                <a:gd name="connsiteX8" fmla="*/ 5842 w 10000"/>
                <a:gd name="connsiteY8" fmla="*/ 8054 h 11186"/>
                <a:gd name="connsiteX9" fmla="*/ 6038 w 10000"/>
                <a:gd name="connsiteY9" fmla="*/ 9359 h 11186"/>
                <a:gd name="connsiteX10" fmla="*/ 6860 w 10000"/>
                <a:gd name="connsiteY10" fmla="*/ 11186 h 11186"/>
                <a:gd name="connsiteX11" fmla="*/ 7685 w 10000"/>
                <a:gd name="connsiteY11" fmla="*/ 9287 h 11186"/>
                <a:gd name="connsiteX12" fmla="*/ 9227 w 10000"/>
                <a:gd name="connsiteY12" fmla="*/ 7081 h 11186"/>
                <a:gd name="connsiteX13" fmla="*/ 10000 w 10000"/>
                <a:gd name="connsiteY13" fmla="*/ 7081 h 11186"/>
                <a:gd name="connsiteX14" fmla="*/ 9217 w 10000"/>
                <a:gd name="connsiteY14" fmla="*/ 2999 h 11186"/>
                <a:gd name="connsiteX15" fmla="*/ 7539 w 10000"/>
                <a:gd name="connsiteY15" fmla="*/ 858 h 11186"/>
                <a:gd name="connsiteX16" fmla="*/ 5194 w 10000"/>
                <a:gd name="connsiteY16" fmla="*/ 1946 h 11186"/>
                <a:gd name="connsiteX17" fmla="*/ 2829 w 10000"/>
                <a:gd name="connsiteY17" fmla="*/ 0 h 11186"/>
                <a:gd name="connsiteX18" fmla="*/ 3722 w 10000"/>
                <a:gd name="connsiteY18" fmla="*/ 3108 h 11186"/>
                <a:gd name="connsiteX0" fmla="*/ 3722 w 10000"/>
                <a:gd name="connsiteY0" fmla="*/ 3108 h 11186"/>
                <a:gd name="connsiteX1" fmla="*/ 1130 w 10000"/>
                <a:gd name="connsiteY1" fmla="*/ 2871 h 11186"/>
                <a:gd name="connsiteX2" fmla="*/ 944 w 10000"/>
                <a:gd name="connsiteY2" fmla="*/ 4982 h 11186"/>
                <a:gd name="connsiteX3" fmla="*/ 0 w 10000"/>
                <a:gd name="connsiteY3" fmla="*/ 6858 h 11186"/>
                <a:gd name="connsiteX4" fmla="*/ 573 w 10000"/>
                <a:gd name="connsiteY4" fmla="*/ 7361 h 11186"/>
                <a:gd name="connsiteX5" fmla="*/ 1528 w 10000"/>
                <a:gd name="connsiteY5" fmla="*/ 7372 h 11186"/>
                <a:gd name="connsiteX6" fmla="*/ 1965 w 10000"/>
                <a:gd name="connsiteY6" fmla="*/ 10661 h 11186"/>
                <a:gd name="connsiteX7" fmla="*/ 4134 w 10000"/>
                <a:gd name="connsiteY7" fmla="*/ 9026 h 11186"/>
                <a:gd name="connsiteX8" fmla="*/ 5842 w 10000"/>
                <a:gd name="connsiteY8" fmla="*/ 8054 h 11186"/>
                <a:gd name="connsiteX9" fmla="*/ 6038 w 10000"/>
                <a:gd name="connsiteY9" fmla="*/ 9359 h 11186"/>
                <a:gd name="connsiteX10" fmla="*/ 6860 w 10000"/>
                <a:gd name="connsiteY10" fmla="*/ 11186 h 11186"/>
                <a:gd name="connsiteX11" fmla="*/ 7685 w 10000"/>
                <a:gd name="connsiteY11" fmla="*/ 9287 h 11186"/>
                <a:gd name="connsiteX12" fmla="*/ 9227 w 10000"/>
                <a:gd name="connsiteY12" fmla="*/ 7081 h 11186"/>
                <a:gd name="connsiteX13" fmla="*/ 10000 w 10000"/>
                <a:gd name="connsiteY13" fmla="*/ 7081 h 11186"/>
                <a:gd name="connsiteX14" fmla="*/ 9217 w 10000"/>
                <a:gd name="connsiteY14" fmla="*/ 2999 h 11186"/>
                <a:gd name="connsiteX15" fmla="*/ 7539 w 10000"/>
                <a:gd name="connsiteY15" fmla="*/ 858 h 11186"/>
                <a:gd name="connsiteX16" fmla="*/ 5194 w 10000"/>
                <a:gd name="connsiteY16" fmla="*/ 1946 h 11186"/>
                <a:gd name="connsiteX17" fmla="*/ 2829 w 10000"/>
                <a:gd name="connsiteY17" fmla="*/ 0 h 11186"/>
                <a:gd name="connsiteX18" fmla="*/ 3722 w 10000"/>
                <a:gd name="connsiteY18" fmla="*/ 3108 h 11186"/>
                <a:gd name="connsiteX0" fmla="*/ 3722 w 10000"/>
                <a:gd name="connsiteY0" fmla="*/ 3108 h 11847"/>
                <a:gd name="connsiteX1" fmla="*/ 1130 w 10000"/>
                <a:gd name="connsiteY1" fmla="*/ 2871 h 11847"/>
                <a:gd name="connsiteX2" fmla="*/ 944 w 10000"/>
                <a:gd name="connsiteY2" fmla="*/ 4982 h 11847"/>
                <a:gd name="connsiteX3" fmla="*/ 0 w 10000"/>
                <a:gd name="connsiteY3" fmla="*/ 6858 h 11847"/>
                <a:gd name="connsiteX4" fmla="*/ 573 w 10000"/>
                <a:gd name="connsiteY4" fmla="*/ 7361 h 11847"/>
                <a:gd name="connsiteX5" fmla="*/ 1528 w 10000"/>
                <a:gd name="connsiteY5" fmla="*/ 7372 h 11847"/>
                <a:gd name="connsiteX6" fmla="*/ 2191 w 10000"/>
                <a:gd name="connsiteY6" fmla="*/ 11847 h 11847"/>
                <a:gd name="connsiteX7" fmla="*/ 4134 w 10000"/>
                <a:gd name="connsiteY7" fmla="*/ 9026 h 11847"/>
                <a:gd name="connsiteX8" fmla="*/ 5842 w 10000"/>
                <a:gd name="connsiteY8" fmla="*/ 8054 h 11847"/>
                <a:gd name="connsiteX9" fmla="*/ 6038 w 10000"/>
                <a:gd name="connsiteY9" fmla="*/ 9359 h 11847"/>
                <a:gd name="connsiteX10" fmla="*/ 6860 w 10000"/>
                <a:gd name="connsiteY10" fmla="*/ 11186 h 11847"/>
                <a:gd name="connsiteX11" fmla="*/ 7685 w 10000"/>
                <a:gd name="connsiteY11" fmla="*/ 9287 h 11847"/>
                <a:gd name="connsiteX12" fmla="*/ 9227 w 10000"/>
                <a:gd name="connsiteY12" fmla="*/ 7081 h 11847"/>
                <a:gd name="connsiteX13" fmla="*/ 10000 w 10000"/>
                <a:gd name="connsiteY13" fmla="*/ 7081 h 11847"/>
                <a:gd name="connsiteX14" fmla="*/ 9217 w 10000"/>
                <a:gd name="connsiteY14" fmla="*/ 2999 h 11847"/>
                <a:gd name="connsiteX15" fmla="*/ 7539 w 10000"/>
                <a:gd name="connsiteY15" fmla="*/ 858 h 11847"/>
                <a:gd name="connsiteX16" fmla="*/ 5194 w 10000"/>
                <a:gd name="connsiteY16" fmla="*/ 1946 h 11847"/>
                <a:gd name="connsiteX17" fmla="*/ 2829 w 10000"/>
                <a:gd name="connsiteY17" fmla="*/ 0 h 11847"/>
                <a:gd name="connsiteX18" fmla="*/ 3722 w 10000"/>
                <a:gd name="connsiteY18" fmla="*/ 3108 h 11847"/>
                <a:gd name="connsiteX0" fmla="*/ 3722 w 10000"/>
                <a:gd name="connsiteY0" fmla="*/ 3108 h 11847"/>
                <a:gd name="connsiteX1" fmla="*/ 1130 w 10000"/>
                <a:gd name="connsiteY1" fmla="*/ 2871 h 11847"/>
                <a:gd name="connsiteX2" fmla="*/ 944 w 10000"/>
                <a:gd name="connsiteY2" fmla="*/ 4982 h 11847"/>
                <a:gd name="connsiteX3" fmla="*/ 0 w 10000"/>
                <a:gd name="connsiteY3" fmla="*/ 6858 h 11847"/>
                <a:gd name="connsiteX4" fmla="*/ 573 w 10000"/>
                <a:gd name="connsiteY4" fmla="*/ 7361 h 11847"/>
                <a:gd name="connsiteX5" fmla="*/ 849 w 10000"/>
                <a:gd name="connsiteY5" fmla="*/ 9032 h 11847"/>
                <a:gd name="connsiteX6" fmla="*/ 2191 w 10000"/>
                <a:gd name="connsiteY6" fmla="*/ 11847 h 11847"/>
                <a:gd name="connsiteX7" fmla="*/ 4134 w 10000"/>
                <a:gd name="connsiteY7" fmla="*/ 9026 h 11847"/>
                <a:gd name="connsiteX8" fmla="*/ 5842 w 10000"/>
                <a:gd name="connsiteY8" fmla="*/ 8054 h 11847"/>
                <a:gd name="connsiteX9" fmla="*/ 6038 w 10000"/>
                <a:gd name="connsiteY9" fmla="*/ 9359 h 11847"/>
                <a:gd name="connsiteX10" fmla="*/ 6860 w 10000"/>
                <a:gd name="connsiteY10" fmla="*/ 11186 h 11847"/>
                <a:gd name="connsiteX11" fmla="*/ 7685 w 10000"/>
                <a:gd name="connsiteY11" fmla="*/ 9287 h 11847"/>
                <a:gd name="connsiteX12" fmla="*/ 9227 w 10000"/>
                <a:gd name="connsiteY12" fmla="*/ 7081 h 11847"/>
                <a:gd name="connsiteX13" fmla="*/ 10000 w 10000"/>
                <a:gd name="connsiteY13" fmla="*/ 7081 h 11847"/>
                <a:gd name="connsiteX14" fmla="*/ 9217 w 10000"/>
                <a:gd name="connsiteY14" fmla="*/ 2999 h 11847"/>
                <a:gd name="connsiteX15" fmla="*/ 7539 w 10000"/>
                <a:gd name="connsiteY15" fmla="*/ 858 h 11847"/>
                <a:gd name="connsiteX16" fmla="*/ 5194 w 10000"/>
                <a:gd name="connsiteY16" fmla="*/ 1946 h 11847"/>
                <a:gd name="connsiteX17" fmla="*/ 2829 w 10000"/>
                <a:gd name="connsiteY17" fmla="*/ 0 h 11847"/>
                <a:gd name="connsiteX18" fmla="*/ 3722 w 10000"/>
                <a:gd name="connsiteY18" fmla="*/ 3108 h 11847"/>
                <a:gd name="connsiteX0" fmla="*/ 3722 w 10000"/>
                <a:gd name="connsiteY0" fmla="*/ 3108 h 11186"/>
                <a:gd name="connsiteX1" fmla="*/ 1130 w 10000"/>
                <a:gd name="connsiteY1" fmla="*/ 2871 h 11186"/>
                <a:gd name="connsiteX2" fmla="*/ 944 w 10000"/>
                <a:gd name="connsiteY2" fmla="*/ 4982 h 11186"/>
                <a:gd name="connsiteX3" fmla="*/ 0 w 10000"/>
                <a:gd name="connsiteY3" fmla="*/ 6858 h 11186"/>
                <a:gd name="connsiteX4" fmla="*/ 573 w 10000"/>
                <a:gd name="connsiteY4" fmla="*/ 7361 h 11186"/>
                <a:gd name="connsiteX5" fmla="*/ 849 w 10000"/>
                <a:gd name="connsiteY5" fmla="*/ 9032 h 11186"/>
                <a:gd name="connsiteX6" fmla="*/ 2870 w 10000"/>
                <a:gd name="connsiteY6" fmla="*/ 10898 h 11186"/>
                <a:gd name="connsiteX7" fmla="*/ 4134 w 10000"/>
                <a:gd name="connsiteY7" fmla="*/ 9026 h 11186"/>
                <a:gd name="connsiteX8" fmla="*/ 5842 w 10000"/>
                <a:gd name="connsiteY8" fmla="*/ 8054 h 11186"/>
                <a:gd name="connsiteX9" fmla="*/ 6038 w 10000"/>
                <a:gd name="connsiteY9" fmla="*/ 9359 h 11186"/>
                <a:gd name="connsiteX10" fmla="*/ 6860 w 10000"/>
                <a:gd name="connsiteY10" fmla="*/ 11186 h 11186"/>
                <a:gd name="connsiteX11" fmla="*/ 7685 w 10000"/>
                <a:gd name="connsiteY11" fmla="*/ 9287 h 11186"/>
                <a:gd name="connsiteX12" fmla="*/ 9227 w 10000"/>
                <a:gd name="connsiteY12" fmla="*/ 7081 h 11186"/>
                <a:gd name="connsiteX13" fmla="*/ 10000 w 10000"/>
                <a:gd name="connsiteY13" fmla="*/ 7081 h 11186"/>
                <a:gd name="connsiteX14" fmla="*/ 9217 w 10000"/>
                <a:gd name="connsiteY14" fmla="*/ 2999 h 11186"/>
                <a:gd name="connsiteX15" fmla="*/ 7539 w 10000"/>
                <a:gd name="connsiteY15" fmla="*/ 858 h 11186"/>
                <a:gd name="connsiteX16" fmla="*/ 5194 w 10000"/>
                <a:gd name="connsiteY16" fmla="*/ 1946 h 11186"/>
                <a:gd name="connsiteX17" fmla="*/ 2829 w 10000"/>
                <a:gd name="connsiteY17" fmla="*/ 0 h 11186"/>
                <a:gd name="connsiteX18" fmla="*/ 3722 w 10000"/>
                <a:gd name="connsiteY18" fmla="*/ 3108 h 11186"/>
                <a:gd name="connsiteX0" fmla="*/ 3722 w 10000"/>
                <a:gd name="connsiteY0" fmla="*/ 3108 h 11186"/>
                <a:gd name="connsiteX1" fmla="*/ 1130 w 10000"/>
                <a:gd name="connsiteY1" fmla="*/ 2871 h 11186"/>
                <a:gd name="connsiteX2" fmla="*/ 944 w 10000"/>
                <a:gd name="connsiteY2" fmla="*/ 4982 h 11186"/>
                <a:gd name="connsiteX3" fmla="*/ 0 w 10000"/>
                <a:gd name="connsiteY3" fmla="*/ 6858 h 11186"/>
                <a:gd name="connsiteX4" fmla="*/ 573 w 10000"/>
                <a:gd name="connsiteY4" fmla="*/ 7361 h 11186"/>
                <a:gd name="connsiteX5" fmla="*/ 2870 w 10000"/>
                <a:gd name="connsiteY5" fmla="*/ 10898 h 11186"/>
                <a:gd name="connsiteX6" fmla="*/ 4134 w 10000"/>
                <a:gd name="connsiteY6" fmla="*/ 9026 h 11186"/>
                <a:gd name="connsiteX7" fmla="*/ 5842 w 10000"/>
                <a:gd name="connsiteY7" fmla="*/ 8054 h 11186"/>
                <a:gd name="connsiteX8" fmla="*/ 6038 w 10000"/>
                <a:gd name="connsiteY8" fmla="*/ 9359 h 11186"/>
                <a:gd name="connsiteX9" fmla="*/ 6860 w 10000"/>
                <a:gd name="connsiteY9" fmla="*/ 11186 h 11186"/>
                <a:gd name="connsiteX10" fmla="*/ 7685 w 10000"/>
                <a:gd name="connsiteY10" fmla="*/ 9287 h 11186"/>
                <a:gd name="connsiteX11" fmla="*/ 9227 w 10000"/>
                <a:gd name="connsiteY11" fmla="*/ 7081 h 11186"/>
                <a:gd name="connsiteX12" fmla="*/ 10000 w 10000"/>
                <a:gd name="connsiteY12" fmla="*/ 7081 h 11186"/>
                <a:gd name="connsiteX13" fmla="*/ 9217 w 10000"/>
                <a:gd name="connsiteY13" fmla="*/ 2999 h 11186"/>
                <a:gd name="connsiteX14" fmla="*/ 7539 w 10000"/>
                <a:gd name="connsiteY14" fmla="*/ 858 h 11186"/>
                <a:gd name="connsiteX15" fmla="*/ 5194 w 10000"/>
                <a:gd name="connsiteY15" fmla="*/ 1946 h 11186"/>
                <a:gd name="connsiteX16" fmla="*/ 2829 w 10000"/>
                <a:gd name="connsiteY16" fmla="*/ 0 h 11186"/>
                <a:gd name="connsiteX17" fmla="*/ 3722 w 10000"/>
                <a:gd name="connsiteY17" fmla="*/ 3108 h 11186"/>
                <a:gd name="connsiteX0" fmla="*/ 3722 w 10000"/>
                <a:gd name="connsiteY0" fmla="*/ 3108 h 11186"/>
                <a:gd name="connsiteX1" fmla="*/ 1130 w 10000"/>
                <a:gd name="connsiteY1" fmla="*/ 2871 h 11186"/>
                <a:gd name="connsiteX2" fmla="*/ 944 w 10000"/>
                <a:gd name="connsiteY2" fmla="*/ 4982 h 11186"/>
                <a:gd name="connsiteX3" fmla="*/ 0 w 10000"/>
                <a:gd name="connsiteY3" fmla="*/ 6858 h 11186"/>
                <a:gd name="connsiteX4" fmla="*/ 2870 w 10000"/>
                <a:gd name="connsiteY4" fmla="*/ 10898 h 11186"/>
                <a:gd name="connsiteX5" fmla="*/ 4134 w 10000"/>
                <a:gd name="connsiteY5" fmla="*/ 9026 h 11186"/>
                <a:gd name="connsiteX6" fmla="*/ 5842 w 10000"/>
                <a:gd name="connsiteY6" fmla="*/ 8054 h 11186"/>
                <a:gd name="connsiteX7" fmla="*/ 6038 w 10000"/>
                <a:gd name="connsiteY7" fmla="*/ 9359 h 11186"/>
                <a:gd name="connsiteX8" fmla="*/ 6860 w 10000"/>
                <a:gd name="connsiteY8" fmla="*/ 11186 h 11186"/>
                <a:gd name="connsiteX9" fmla="*/ 7685 w 10000"/>
                <a:gd name="connsiteY9" fmla="*/ 9287 h 11186"/>
                <a:gd name="connsiteX10" fmla="*/ 9227 w 10000"/>
                <a:gd name="connsiteY10" fmla="*/ 7081 h 11186"/>
                <a:gd name="connsiteX11" fmla="*/ 10000 w 10000"/>
                <a:gd name="connsiteY11" fmla="*/ 7081 h 11186"/>
                <a:gd name="connsiteX12" fmla="*/ 9217 w 10000"/>
                <a:gd name="connsiteY12" fmla="*/ 2999 h 11186"/>
                <a:gd name="connsiteX13" fmla="*/ 7539 w 10000"/>
                <a:gd name="connsiteY13" fmla="*/ 858 h 11186"/>
                <a:gd name="connsiteX14" fmla="*/ 5194 w 10000"/>
                <a:gd name="connsiteY14" fmla="*/ 1946 h 11186"/>
                <a:gd name="connsiteX15" fmla="*/ 2829 w 10000"/>
                <a:gd name="connsiteY15" fmla="*/ 0 h 11186"/>
                <a:gd name="connsiteX16" fmla="*/ 3722 w 10000"/>
                <a:gd name="connsiteY16" fmla="*/ 3108 h 11186"/>
                <a:gd name="connsiteX0" fmla="*/ 3722 w 10000"/>
                <a:gd name="connsiteY0" fmla="*/ 3108 h 11186"/>
                <a:gd name="connsiteX1" fmla="*/ 1130 w 10000"/>
                <a:gd name="connsiteY1" fmla="*/ 2871 h 11186"/>
                <a:gd name="connsiteX2" fmla="*/ 0 w 10000"/>
                <a:gd name="connsiteY2" fmla="*/ 6858 h 11186"/>
                <a:gd name="connsiteX3" fmla="*/ 2870 w 10000"/>
                <a:gd name="connsiteY3" fmla="*/ 10898 h 11186"/>
                <a:gd name="connsiteX4" fmla="*/ 4134 w 10000"/>
                <a:gd name="connsiteY4" fmla="*/ 9026 h 11186"/>
                <a:gd name="connsiteX5" fmla="*/ 5842 w 10000"/>
                <a:gd name="connsiteY5" fmla="*/ 8054 h 11186"/>
                <a:gd name="connsiteX6" fmla="*/ 6038 w 10000"/>
                <a:gd name="connsiteY6" fmla="*/ 9359 h 11186"/>
                <a:gd name="connsiteX7" fmla="*/ 6860 w 10000"/>
                <a:gd name="connsiteY7" fmla="*/ 11186 h 11186"/>
                <a:gd name="connsiteX8" fmla="*/ 7685 w 10000"/>
                <a:gd name="connsiteY8" fmla="*/ 9287 h 11186"/>
                <a:gd name="connsiteX9" fmla="*/ 9227 w 10000"/>
                <a:gd name="connsiteY9" fmla="*/ 7081 h 11186"/>
                <a:gd name="connsiteX10" fmla="*/ 10000 w 10000"/>
                <a:gd name="connsiteY10" fmla="*/ 7081 h 11186"/>
                <a:gd name="connsiteX11" fmla="*/ 9217 w 10000"/>
                <a:gd name="connsiteY11" fmla="*/ 2999 h 11186"/>
                <a:gd name="connsiteX12" fmla="*/ 7539 w 10000"/>
                <a:gd name="connsiteY12" fmla="*/ 858 h 11186"/>
                <a:gd name="connsiteX13" fmla="*/ 5194 w 10000"/>
                <a:gd name="connsiteY13" fmla="*/ 1946 h 11186"/>
                <a:gd name="connsiteX14" fmla="*/ 2829 w 10000"/>
                <a:gd name="connsiteY14" fmla="*/ 0 h 11186"/>
                <a:gd name="connsiteX15" fmla="*/ 3722 w 10000"/>
                <a:gd name="connsiteY15" fmla="*/ 3108 h 11186"/>
                <a:gd name="connsiteX0" fmla="*/ 2592 w 8870"/>
                <a:gd name="connsiteY0" fmla="*/ 3108 h 11186"/>
                <a:gd name="connsiteX1" fmla="*/ 0 w 8870"/>
                <a:gd name="connsiteY1" fmla="*/ 2871 h 11186"/>
                <a:gd name="connsiteX2" fmla="*/ 228 w 8870"/>
                <a:gd name="connsiteY2" fmla="*/ 6858 h 11186"/>
                <a:gd name="connsiteX3" fmla="*/ 1740 w 8870"/>
                <a:gd name="connsiteY3" fmla="*/ 10898 h 11186"/>
                <a:gd name="connsiteX4" fmla="*/ 3004 w 8870"/>
                <a:gd name="connsiteY4" fmla="*/ 9026 h 11186"/>
                <a:gd name="connsiteX5" fmla="*/ 4712 w 8870"/>
                <a:gd name="connsiteY5" fmla="*/ 8054 h 11186"/>
                <a:gd name="connsiteX6" fmla="*/ 4908 w 8870"/>
                <a:gd name="connsiteY6" fmla="*/ 9359 h 11186"/>
                <a:gd name="connsiteX7" fmla="*/ 5730 w 8870"/>
                <a:gd name="connsiteY7" fmla="*/ 11186 h 11186"/>
                <a:gd name="connsiteX8" fmla="*/ 6555 w 8870"/>
                <a:gd name="connsiteY8" fmla="*/ 9287 h 11186"/>
                <a:gd name="connsiteX9" fmla="*/ 8097 w 8870"/>
                <a:gd name="connsiteY9" fmla="*/ 7081 h 11186"/>
                <a:gd name="connsiteX10" fmla="*/ 8870 w 8870"/>
                <a:gd name="connsiteY10" fmla="*/ 7081 h 11186"/>
                <a:gd name="connsiteX11" fmla="*/ 8087 w 8870"/>
                <a:gd name="connsiteY11" fmla="*/ 2999 h 11186"/>
                <a:gd name="connsiteX12" fmla="*/ 6409 w 8870"/>
                <a:gd name="connsiteY12" fmla="*/ 858 h 11186"/>
                <a:gd name="connsiteX13" fmla="*/ 4064 w 8870"/>
                <a:gd name="connsiteY13" fmla="*/ 1946 h 11186"/>
                <a:gd name="connsiteX14" fmla="*/ 1699 w 8870"/>
                <a:gd name="connsiteY14" fmla="*/ 0 h 11186"/>
                <a:gd name="connsiteX15" fmla="*/ 2592 w 8870"/>
                <a:gd name="connsiteY15" fmla="*/ 3108 h 11186"/>
                <a:gd name="connsiteX0" fmla="*/ 2922 w 10000"/>
                <a:gd name="connsiteY0" fmla="*/ 2778 h 10000"/>
                <a:gd name="connsiteX1" fmla="*/ 0 w 10000"/>
                <a:gd name="connsiteY1" fmla="*/ 2567 h 10000"/>
                <a:gd name="connsiteX2" fmla="*/ 257 w 10000"/>
                <a:gd name="connsiteY2" fmla="*/ 6979 h 10000"/>
                <a:gd name="connsiteX3" fmla="*/ 1962 w 10000"/>
                <a:gd name="connsiteY3" fmla="*/ 9743 h 10000"/>
                <a:gd name="connsiteX4" fmla="*/ 3387 w 10000"/>
                <a:gd name="connsiteY4" fmla="*/ 8069 h 10000"/>
                <a:gd name="connsiteX5" fmla="*/ 5312 w 10000"/>
                <a:gd name="connsiteY5" fmla="*/ 7200 h 10000"/>
                <a:gd name="connsiteX6" fmla="*/ 5533 w 10000"/>
                <a:gd name="connsiteY6" fmla="*/ 8367 h 10000"/>
                <a:gd name="connsiteX7" fmla="*/ 6460 w 10000"/>
                <a:gd name="connsiteY7" fmla="*/ 10000 h 10000"/>
                <a:gd name="connsiteX8" fmla="*/ 7390 w 10000"/>
                <a:gd name="connsiteY8" fmla="*/ 8302 h 10000"/>
                <a:gd name="connsiteX9" fmla="*/ 9129 w 10000"/>
                <a:gd name="connsiteY9" fmla="*/ 6330 h 10000"/>
                <a:gd name="connsiteX10" fmla="*/ 10000 w 10000"/>
                <a:gd name="connsiteY10" fmla="*/ 6330 h 10000"/>
                <a:gd name="connsiteX11" fmla="*/ 9117 w 10000"/>
                <a:gd name="connsiteY11" fmla="*/ 2681 h 10000"/>
                <a:gd name="connsiteX12" fmla="*/ 7225 w 10000"/>
                <a:gd name="connsiteY12" fmla="*/ 767 h 10000"/>
                <a:gd name="connsiteX13" fmla="*/ 4582 w 10000"/>
                <a:gd name="connsiteY13" fmla="*/ 1740 h 10000"/>
                <a:gd name="connsiteX14" fmla="*/ 1915 w 10000"/>
                <a:gd name="connsiteY14" fmla="*/ 0 h 10000"/>
                <a:gd name="connsiteX15" fmla="*/ 2922 w 10000"/>
                <a:gd name="connsiteY15" fmla="*/ 2778 h 10000"/>
                <a:gd name="connsiteX0" fmla="*/ 2922 w 10000"/>
                <a:gd name="connsiteY0" fmla="*/ 2778 h 10000"/>
                <a:gd name="connsiteX1" fmla="*/ 0 w 10000"/>
                <a:gd name="connsiteY1" fmla="*/ 2567 h 10000"/>
                <a:gd name="connsiteX2" fmla="*/ 257 w 10000"/>
                <a:gd name="connsiteY2" fmla="*/ 6979 h 10000"/>
                <a:gd name="connsiteX3" fmla="*/ 1962 w 10000"/>
                <a:gd name="connsiteY3" fmla="*/ 9743 h 10000"/>
                <a:gd name="connsiteX4" fmla="*/ 3387 w 10000"/>
                <a:gd name="connsiteY4" fmla="*/ 8069 h 10000"/>
                <a:gd name="connsiteX5" fmla="*/ 5312 w 10000"/>
                <a:gd name="connsiteY5" fmla="*/ 7200 h 10000"/>
                <a:gd name="connsiteX6" fmla="*/ 5533 w 10000"/>
                <a:gd name="connsiteY6" fmla="*/ 8367 h 10000"/>
                <a:gd name="connsiteX7" fmla="*/ 6460 w 10000"/>
                <a:gd name="connsiteY7" fmla="*/ 10000 h 10000"/>
                <a:gd name="connsiteX8" fmla="*/ 7390 w 10000"/>
                <a:gd name="connsiteY8" fmla="*/ 8302 h 10000"/>
                <a:gd name="connsiteX9" fmla="*/ 10000 w 10000"/>
                <a:gd name="connsiteY9" fmla="*/ 6330 h 10000"/>
                <a:gd name="connsiteX10" fmla="*/ 9117 w 10000"/>
                <a:gd name="connsiteY10" fmla="*/ 2681 h 10000"/>
                <a:gd name="connsiteX11" fmla="*/ 7225 w 10000"/>
                <a:gd name="connsiteY11" fmla="*/ 767 h 10000"/>
                <a:gd name="connsiteX12" fmla="*/ 4582 w 10000"/>
                <a:gd name="connsiteY12" fmla="*/ 1740 h 10000"/>
                <a:gd name="connsiteX13" fmla="*/ 1915 w 10000"/>
                <a:gd name="connsiteY13" fmla="*/ 0 h 10000"/>
                <a:gd name="connsiteX14" fmla="*/ 2922 w 10000"/>
                <a:gd name="connsiteY14" fmla="*/ 2778 h 10000"/>
                <a:gd name="connsiteX0" fmla="*/ 2922 w 10000"/>
                <a:gd name="connsiteY0" fmla="*/ 2778 h 10000"/>
                <a:gd name="connsiteX1" fmla="*/ 0 w 10000"/>
                <a:gd name="connsiteY1" fmla="*/ 2567 h 10000"/>
                <a:gd name="connsiteX2" fmla="*/ 257 w 10000"/>
                <a:gd name="connsiteY2" fmla="*/ 6979 h 10000"/>
                <a:gd name="connsiteX3" fmla="*/ 1962 w 10000"/>
                <a:gd name="connsiteY3" fmla="*/ 9743 h 10000"/>
                <a:gd name="connsiteX4" fmla="*/ 3387 w 10000"/>
                <a:gd name="connsiteY4" fmla="*/ 8069 h 10000"/>
                <a:gd name="connsiteX5" fmla="*/ 5312 w 10000"/>
                <a:gd name="connsiteY5" fmla="*/ 7200 h 10000"/>
                <a:gd name="connsiteX6" fmla="*/ 5533 w 10000"/>
                <a:gd name="connsiteY6" fmla="*/ 8367 h 10000"/>
                <a:gd name="connsiteX7" fmla="*/ 6460 w 10000"/>
                <a:gd name="connsiteY7" fmla="*/ 10000 h 10000"/>
                <a:gd name="connsiteX8" fmla="*/ 10000 w 10000"/>
                <a:gd name="connsiteY8" fmla="*/ 6330 h 10000"/>
                <a:gd name="connsiteX9" fmla="*/ 9117 w 10000"/>
                <a:gd name="connsiteY9" fmla="*/ 2681 h 10000"/>
                <a:gd name="connsiteX10" fmla="*/ 7225 w 10000"/>
                <a:gd name="connsiteY10" fmla="*/ 767 h 10000"/>
                <a:gd name="connsiteX11" fmla="*/ 4582 w 10000"/>
                <a:gd name="connsiteY11" fmla="*/ 1740 h 10000"/>
                <a:gd name="connsiteX12" fmla="*/ 1915 w 10000"/>
                <a:gd name="connsiteY12" fmla="*/ 0 h 10000"/>
                <a:gd name="connsiteX13" fmla="*/ 2922 w 10000"/>
                <a:gd name="connsiteY13" fmla="*/ 2778 h 10000"/>
                <a:gd name="connsiteX0" fmla="*/ 2922 w 10000"/>
                <a:gd name="connsiteY0" fmla="*/ 2778 h 10005"/>
                <a:gd name="connsiteX1" fmla="*/ 0 w 10000"/>
                <a:gd name="connsiteY1" fmla="*/ 2567 h 10005"/>
                <a:gd name="connsiteX2" fmla="*/ 257 w 10000"/>
                <a:gd name="connsiteY2" fmla="*/ 6979 h 10005"/>
                <a:gd name="connsiteX3" fmla="*/ 1962 w 10000"/>
                <a:gd name="connsiteY3" fmla="*/ 9743 h 10005"/>
                <a:gd name="connsiteX4" fmla="*/ 3387 w 10000"/>
                <a:gd name="connsiteY4" fmla="*/ 8069 h 10005"/>
                <a:gd name="connsiteX5" fmla="*/ 5312 w 10000"/>
                <a:gd name="connsiteY5" fmla="*/ 7200 h 10005"/>
                <a:gd name="connsiteX6" fmla="*/ 6460 w 10000"/>
                <a:gd name="connsiteY6" fmla="*/ 10000 h 10005"/>
                <a:gd name="connsiteX7" fmla="*/ 10000 w 10000"/>
                <a:gd name="connsiteY7" fmla="*/ 6330 h 10005"/>
                <a:gd name="connsiteX8" fmla="*/ 9117 w 10000"/>
                <a:gd name="connsiteY8" fmla="*/ 2681 h 10005"/>
                <a:gd name="connsiteX9" fmla="*/ 7225 w 10000"/>
                <a:gd name="connsiteY9" fmla="*/ 767 h 10005"/>
                <a:gd name="connsiteX10" fmla="*/ 4582 w 10000"/>
                <a:gd name="connsiteY10" fmla="*/ 1740 h 10005"/>
                <a:gd name="connsiteX11" fmla="*/ 1915 w 10000"/>
                <a:gd name="connsiteY11" fmla="*/ 0 h 10005"/>
                <a:gd name="connsiteX12" fmla="*/ 2922 w 10000"/>
                <a:gd name="connsiteY12" fmla="*/ 2778 h 10005"/>
                <a:gd name="connsiteX0" fmla="*/ 2922 w 10000"/>
                <a:gd name="connsiteY0" fmla="*/ 2778 h 10007"/>
                <a:gd name="connsiteX1" fmla="*/ 0 w 10000"/>
                <a:gd name="connsiteY1" fmla="*/ 2567 h 10007"/>
                <a:gd name="connsiteX2" fmla="*/ 257 w 10000"/>
                <a:gd name="connsiteY2" fmla="*/ 6979 h 10007"/>
                <a:gd name="connsiteX3" fmla="*/ 1962 w 10000"/>
                <a:gd name="connsiteY3" fmla="*/ 9743 h 10007"/>
                <a:gd name="connsiteX4" fmla="*/ 3387 w 10000"/>
                <a:gd name="connsiteY4" fmla="*/ 8069 h 10007"/>
                <a:gd name="connsiteX5" fmla="*/ 5312 w 10000"/>
                <a:gd name="connsiteY5" fmla="*/ 7836 h 10007"/>
                <a:gd name="connsiteX6" fmla="*/ 6460 w 10000"/>
                <a:gd name="connsiteY6" fmla="*/ 10000 h 10007"/>
                <a:gd name="connsiteX7" fmla="*/ 10000 w 10000"/>
                <a:gd name="connsiteY7" fmla="*/ 6330 h 10007"/>
                <a:gd name="connsiteX8" fmla="*/ 9117 w 10000"/>
                <a:gd name="connsiteY8" fmla="*/ 2681 h 10007"/>
                <a:gd name="connsiteX9" fmla="*/ 7225 w 10000"/>
                <a:gd name="connsiteY9" fmla="*/ 767 h 10007"/>
                <a:gd name="connsiteX10" fmla="*/ 4582 w 10000"/>
                <a:gd name="connsiteY10" fmla="*/ 1740 h 10007"/>
                <a:gd name="connsiteX11" fmla="*/ 1915 w 10000"/>
                <a:gd name="connsiteY11" fmla="*/ 0 h 10007"/>
                <a:gd name="connsiteX12" fmla="*/ 2922 w 10000"/>
                <a:gd name="connsiteY12" fmla="*/ 2778 h 10007"/>
                <a:gd name="connsiteX0" fmla="*/ 2922 w 10000"/>
                <a:gd name="connsiteY0" fmla="*/ 2778 h 10007"/>
                <a:gd name="connsiteX1" fmla="*/ 0 w 10000"/>
                <a:gd name="connsiteY1" fmla="*/ 2567 h 10007"/>
                <a:gd name="connsiteX2" fmla="*/ 257 w 10000"/>
                <a:gd name="connsiteY2" fmla="*/ 6979 h 10007"/>
                <a:gd name="connsiteX3" fmla="*/ 1962 w 10000"/>
                <a:gd name="connsiteY3" fmla="*/ 9743 h 10007"/>
                <a:gd name="connsiteX4" fmla="*/ 3897 w 10000"/>
                <a:gd name="connsiteY4" fmla="*/ 8917 h 10007"/>
                <a:gd name="connsiteX5" fmla="*/ 5312 w 10000"/>
                <a:gd name="connsiteY5" fmla="*/ 7836 h 10007"/>
                <a:gd name="connsiteX6" fmla="*/ 6460 w 10000"/>
                <a:gd name="connsiteY6" fmla="*/ 10000 h 10007"/>
                <a:gd name="connsiteX7" fmla="*/ 10000 w 10000"/>
                <a:gd name="connsiteY7" fmla="*/ 6330 h 10007"/>
                <a:gd name="connsiteX8" fmla="*/ 9117 w 10000"/>
                <a:gd name="connsiteY8" fmla="*/ 2681 h 10007"/>
                <a:gd name="connsiteX9" fmla="*/ 7225 w 10000"/>
                <a:gd name="connsiteY9" fmla="*/ 767 h 10007"/>
                <a:gd name="connsiteX10" fmla="*/ 4582 w 10000"/>
                <a:gd name="connsiteY10" fmla="*/ 1740 h 10007"/>
                <a:gd name="connsiteX11" fmla="*/ 1915 w 10000"/>
                <a:gd name="connsiteY11" fmla="*/ 0 h 10007"/>
                <a:gd name="connsiteX12" fmla="*/ 2922 w 10000"/>
                <a:gd name="connsiteY12" fmla="*/ 2778 h 10007"/>
                <a:gd name="connsiteX0" fmla="*/ 2922 w 10000"/>
                <a:gd name="connsiteY0" fmla="*/ 2778 h 10007"/>
                <a:gd name="connsiteX1" fmla="*/ 0 w 10000"/>
                <a:gd name="connsiteY1" fmla="*/ 2567 h 10007"/>
                <a:gd name="connsiteX2" fmla="*/ 257 w 10000"/>
                <a:gd name="connsiteY2" fmla="*/ 6979 h 10007"/>
                <a:gd name="connsiteX3" fmla="*/ 1962 w 10000"/>
                <a:gd name="connsiteY3" fmla="*/ 9743 h 10007"/>
                <a:gd name="connsiteX4" fmla="*/ 3642 w 10000"/>
                <a:gd name="connsiteY4" fmla="*/ 7857 h 10007"/>
                <a:gd name="connsiteX5" fmla="*/ 5312 w 10000"/>
                <a:gd name="connsiteY5" fmla="*/ 7836 h 10007"/>
                <a:gd name="connsiteX6" fmla="*/ 6460 w 10000"/>
                <a:gd name="connsiteY6" fmla="*/ 10000 h 10007"/>
                <a:gd name="connsiteX7" fmla="*/ 10000 w 10000"/>
                <a:gd name="connsiteY7" fmla="*/ 6330 h 10007"/>
                <a:gd name="connsiteX8" fmla="*/ 9117 w 10000"/>
                <a:gd name="connsiteY8" fmla="*/ 2681 h 10007"/>
                <a:gd name="connsiteX9" fmla="*/ 7225 w 10000"/>
                <a:gd name="connsiteY9" fmla="*/ 767 h 10007"/>
                <a:gd name="connsiteX10" fmla="*/ 4582 w 10000"/>
                <a:gd name="connsiteY10" fmla="*/ 1740 h 10007"/>
                <a:gd name="connsiteX11" fmla="*/ 1915 w 10000"/>
                <a:gd name="connsiteY11" fmla="*/ 0 h 10007"/>
                <a:gd name="connsiteX12" fmla="*/ 2922 w 10000"/>
                <a:gd name="connsiteY12" fmla="*/ 2778 h 10007"/>
                <a:gd name="connsiteX0" fmla="*/ 2922 w 10000"/>
                <a:gd name="connsiteY0" fmla="*/ 2778 h 10007"/>
                <a:gd name="connsiteX1" fmla="*/ 0 w 10000"/>
                <a:gd name="connsiteY1" fmla="*/ 2567 h 10007"/>
                <a:gd name="connsiteX2" fmla="*/ 1023 w 10000"/>
                <a:gd name="connsiteY2" fmla="*/ 6979 h 10007"/>
                <a:gd name="connsiteX3" fmla="*/ 1962 w 10000"/>
                <a:gd name="connsiteY3" fmla="*/ 9743 h 10007"/>
                <a:gd name="connsiteX4" fmla="*/ 3642 w 10000"/>
                <a:gd name="connsiteY4" fmla="*/ 7857 h 10007"/>
                <a:gd name="connsiteX5" fmla="*/ 5312 w 10000"/>
                <a:gd name="connsiteY5" fmla="*/ 7836 h 10007"/>
                <a:gd name="connsiteX6" fmla="*/ 6460 w 10000"/>
                <a:gd name="connsiteY6" fmla="*/ 10000 h 10007"/>
                <a:gd name="connsiteX7" fmla="*/ 10000 w 10000"/>
                <a:gd name="connsiteY7" fmla="*/ 6330 h 10007"/>
                <a:gd name="connsiteX8" fmla="*/ 9117 w 10000"/>
                <a:gd name="connsiteY8" fmla="*/ 2681 h 10007"/>
                <a:gd name="connsiteX9" fmla="*/ 7225 w 10000"/>
                <a:gd name="connsiteY9" fmla="*/ 767 h 10007"/>
                <a:gd name="connsiteX10" fmla="*/ 4582 w 10000"/>
                <a:gd name="connsiteY10" fmla="*/ 1740 h 10007"/>
                <a:gd name="connsiteX11" fmla="*/ 1915 w 10000"/>
                <a:gd name="connsiteY11" fmla="*/ 0 h 10007"/>
                <a:gd name="connsiteX12" fmla="*/ 2922 w 10000"/>
                <a:gd name="connsiteY12" fmla="*/ 2778 h 10007"/>
                <a:gd name="connsiteX0" fmla="*/ 1925 w 9003"/>
                <a:gd name="connsiteY0" fmla="*/ 2778 h 10007"/>
                <a:gd name="connsiteX1" fmla="*/ 24 w 9003"/>
                <a:gd name="connsiteY1" fmla="*/ 3415 h 10007"/>
                <a:gd name="connsiteX2" fmla="*/ 26 w 9003"/>
                <a:gd name="connsiteY2" fmla="*/ 6979 h 10007"/>
                <a:gd name="connsiteX3" fmla="*/ 965 w 9003"/>
                <a:gd name="connsiteY3" fmla="*/ 9743 h 10007"/>
                <a:gd name="connsiteX4" fmla="*/ 2645 w 9003"/>
                <a:gd name="connsiteY4" fmla="*/ 7857 h 10007"/>
                <a:gd name="connsiteX5" fmla="*/ 4315 w 9003"/>
                <a:gd name="connsiteY5" fmla="*/ 7836 h 10007"/>
                <a:gd name="connsiteX6" fmla="*/ 5463 w 9003"/>
                <a:gd name="connsiteY6" fmla="*/ 10000 h 10007"/>
                <a:gd name="connsiteX7" fmla="*/ 9003 w 9003"/>
                <a:gd name="connsiteY7" fmla="*/ 6330 h 10007"/>
                <a:gd name="connsiteX8" fmla="*/ 8120 w 9003"/>
                <a:gd name="connsiteY8" fmla="*/ 2681 h 10007"/>
                <a:gd name="connsiteX9" fmla="*/ 6228 w 9003"/>
                <a:gd name="connsiteY9" fmla="*/ 767 h 10007"/>
                <a:gd name="connsiteX10" fmla="*/ 3585 w 9003"/>
                <a:gd name="connsiteY10" fmla="*/ 1740 h 10007"/>
                <a:gd name="connsiteX11" fmla="*/ 918 w 9003"/>
                <a:gd name="connsiteY11" fmla="*/ 0 h 10007"/>
                <a:gd name="connsiteX12" fmla="*/ 1925 w 9003"/>
                <a:gd name="connsiteY12" fmla="*/ 2778 h 10007"/>
                <a:gd name="connsiteX0" fmla="*/ 2421 w 10000"/>
                <a:gd name="connsiteY0" fmla="*/ 4047 h 10000"/>
                <a:gd name="connsiteX1" fmla="*/ 27 w 10000"/>
                <a:gd name="connsiteY1" fmla="*/ 3413 h 10000"/>
                <a:gd name="connsiteX2" fmla="*/ 29 w 10000"/>
                <a:gd name="connsiteY2" fmla="*/ 6974 h 10000"/>
                <a:gd name="connsiteX3" fmla="*/ 1072 w 10000"/>
                <a:gd name="connsiteY3" fmla="*/ 9736 h 10000"/>
                <a:gd name="connsiteX4" fmla="*/ 2938 w 10000"/>
                <a:gd name="connsiteY4" fmla="*/ 7852 h 10000"/>
                <a:gd name="connsiteX5" fmla="*/ 4793 w 10000"/>
                <a:gd name="connsiteY5" fmla="*/ 7831 h 10000"/>
                <a:gd name="connsiteX6" fmla="*/ 6068 w 10000"/>
                <a:gd name="connsiteY6" fmla="*/ 9993 h 10000"/>
                <a:gd name="connsiteX7" fmla="*/ 10000 w 10000"/>
                <a:gd name="connsiteY7" fmla="*/ 6326 h 10000"/>
                <a:gd name="connsiteX8" fmla="*/ 9019 w 10000"/>
                <a:gd name="connsiteY8" fmla="*/ 2679 h 10000"/>
                <a:gd name="connsiteX9" fmla="*/ 6918 w 10000"/>
                <a:gd name="connsiteY9" fmla="*/ 766 h 10000"/>
                <a:gd name="connsiteX10" fmla="*/ 3982 w 10000"/>
                <a:gd name="connsiteY10" fmla="*/ 1739 h 10000"/>
                <a:gd name="connsiteX11" fmla="*/ 1020 w 10000"/>
                <a:gd name="connsiteY11" fmla="*/ 0 h 10000"/>
                <a:gd name="connsiteX12" fmla="*/ 2421 w 10000"/>
                <a:gd name="connsiteY12" fmla="*/ 4047 h 10000"/>
                <a:gd name="connsiteX0" fmla="*/ 2421 w 10000"/>
                <a:gd name="connsiteY0" fmla="*/ 3386 h 9339"/>
                <a:gd name="connsiteX1" fmla="*/ 27 w 10000"/>
                <a:gd name="connsiteY1" fmla="*/ 2752 h 9339"/>
                <a:gd name="connsiteX2" fmla="*/ 29 w 10000"/>
                <a:gd name="connsiteY2" fmla="*/ 6313 h 9339"/>
                <a:gd name="connsiteX3" fmla="*/ 1072 w 10000"/>
                <a:gd name="connsiteY3" fmla="*/ 9075 h 9339"/>
                <a:gd name="connsiteX4" fmla="*/ 2938 w 10000"/>
                <a:gd name="connsiteY4" fmla="*/ 7191 h 9339"/>
                <a:gd name="connsiteX5" fmla="*/ 4793 w 10000"/>
                <a:gd name="connsiteY5" fmla="*/ 7170 h 9339"/>
                <a:gd name="connsiteX6" fmla="*/ 6068 w 10000"/>
                <a:gd name="connsiteY6" fmla="*/ 9332 h 9339"/>
                <a:gd name="connsiteX7" fmla="*/ 10000 w 10000"/>
                <a:gd name="connsiteY7" fmla="*/ 5665 h 9339"/>
                <a:gd name="connsiteX8" fmla="*/ 9019 w 10000"/>
                <a:gd name="connsiteY8" fmla="*/ 2018 h 9339"/>
                <a:gd name="connsiteX9" fmla="*/ 6918 w 10000"/>
                <a:gd name="connsiteY9" fmla="*/ 105 h 9339"/>
                <a:gd name="connsiteX10" fmla="*/ 3982 w 10000"/>
                <a:gd name="connsiteY10" fmla="*/ 1078 h 9339"/>
                <a:gd name="connsiteX11" fmla="*/ 2154 w 10000"/>
                <a:gd name="connsiteY11" fmla="*/ 822 h 9339"/>
                <a:gd name="connsiteX12" fmla="*/ 2421 w 10000"/>
                <a:gd name="connsiteY12" fmla="*/ 3386 h 9339"/>
                <a:gd name="connsiteX0" fmla="*/ 2421 w 10000"/>
                <a:gd name="connsiteY0" fmla="*/ 3593 h 9968"/>
                <a:gd name="connsiteX1" fmla="*/ 27 w 10000"/>
                <a:gd name="connsiteY1" fmla="*/ 2914 h 9968"/>
                <a:gd name="connsiteX2" fmla="*/ 29 w 10000"/>
                <a:gd name="connsiteY2" fmla="*/ 6727 h 9968"/>
                <a:gd name="connsiteX3" fmla="*/ 1072 w 10000"/>
                <a:gd name="connsiteY3" fmla="*/ 9684 h 9968"/>
                <a:gd name="connsiteX4" fmla="*/ 2938 w 10000"/>
                <a:gd name="connsiteY4" fmla="*/ 7667 h 9968"/>
                <a:gd name="connsiteX5" fmla="*/ 4793 w 10000"/>
                <a:gd name="connsiteY5" fmla="*/ 7644 h 9968"/>
                <a:gd name="connsiteX6" fmla="*/ 6068 w 10000"/>
                <a:gd name="connsiteY6" fmla="*/ 9960 h 9968"/>
                <a:gd name="connsiteX7" fmla="*/ 10000 w 10000"/>
                <a:gd name="connsiteY7" fmla="*/ 6033 h 9968"/>
                <a:gd name="connsiteX8" fmla="*/ 9019 w 10000"/>
                <a:gd name="connsiteY8" fmla="*/ 2128 h 9968"/>
                <a:gd name="connsiteX9" fmla="*/ 6918 w 10000"/>
                <a:gd name="connsiteY9" fmla="*/ 79 h 9968"/>
                <a:gd name="connsiteX10" fmla="*/ 4832 w 10000"/>
                <a:gd name="connsiteY10" fmla="*/ 2255 h 9968"/>
                <a:gd name="connsiteX11" fmla="*/ 2154 w 10000"/>
                <a:gd name="connsiteY11" fmla="*/ 847 h 9968"/>
                <a:gd name="connsiteX12" fmla="*/ 2421 w 10000"/>
                <a:gd name="connsiteY12" fmla="*/ 3593 h 9968"/>
                <a:gd name="connsiteX0" fmla="*/ 2421 w 10000"/>
                <a:gd name="connsiteY0" fmla="*/ 2755 h 9150"/>
                <a:gd name="connsiteX1" fmla="*/ 27 w 10000"/>
                <a:gd name="connsiteY1" fmla="*/ 2073 h 9150"/>
                <a:gd name="connsiteX2" fmla="*/ 29 w 10000"/>
                <a:gd name="connsiteY2" fmla="*/ 5899 h 9150"/>
                <a:gd name="connsiteX3" fmla="*/ 1072 w 10000"/>
                <a:gd name="connsiteY3" fmla="*/ 8865 h 9150"/>
                <a:gd name="connsiteX4" fmla="*/ 2938 w 10000"/>
                <a:gd name="connsiteY4" fmla="*/ 6842 h 9150"/>
                <a:gd name="connsiteX5" fmla="*/ 4793 w 10000"/>
                <a:gd name="connsiteY5" fmla="*/ 6819 h 9150"/>
                <a:gd name="connsiteX6" fmla="*/ 6068 w 10000"/>
                <a:gd name="connsiteY6" fmla="*/ 9142 h 9150"/>
                <a:gd name="connsiteX7" fmla="*/ 10000 w 10000"/>
                <a:gd name="connsiteY7" fmla="*/ 5202 h 9150"/>
                <a:gd name="connsiteX8" fmla="*/ 9019 w 10000"/>
                <a:gd name="connsiteY8" fmla="*/ 1285 h 9150"/>
                <a:gd name="connsiteX9" fmla="*/ 7202 w 10000"/>
                <a:gd name="connsiteY9" fmla="*/ 139 h 9150"/>
                <a:gd name="connsiteX10" fmla="*/ 4832 w 10000"/>
                <a:gd name="connsiteY10" fmla="*/ 1412 h 9150"/>
                <a:gd name="connsiteX11" fmla="*/ 2154 w 10000"/>
                <a:gd name="connsiteY11" fmla="*/ 0 h 9150"/>
                <a:gd name="connsiteX12" fmla="*/ 2421 w 10000"/>
                <a:gd name="connsiteY12" fmla="*/ 2755 h 9150"/>
                <a:gd name="connsiteX0" fmla="*/ 2421 w 18786"/>
                <a:gd name="connsiteY0" fmla="*/ 3011 h 9999"/>
                <a:gd name="connsiteX1" fmla="*/ 27 w 18786"/>
                <a:gd name="connsiteY1" fmla="*/ 2266 h 9999"/>
                <a:gd name="connsiteX2" fmla="*/ 29 w 18786"/>
                <a:gd name="connsiteY2" fmla="*/ 6447 h 9999"/>
                <a:gd name="connsiteX3" fmla="*/ 1072 w 18786"/>
                <a:gd name="connsiteY3" fmla="*/ 9689 h 9999"/>
                <a:gd name="connsiteX4" fmla="*/ 2938 w 18786"/>
                <a:gd name="connsiteY4" fmla="*/ 7478 h 9999"/>
                <a:gd name="connsiteX5" fmla="*/ 4793 w 18786"/>
                <a:gd name="connsiteY5" fmla="*/ 7452 h 9999"/>
                <a:gd name="connsiteX6" fmla="*/ 6068 w 18786"/>
                <a:gd name="connsiteY6" fmla="*/ 9991 h 9999"/>
                <a:gd name="connsiteX7" fmla="*/ 18786 w 18786"/>
                <a:gd name="connsiteY7" fmla="*/ 7675 h 9999"/>
                <a:gd name="connsiteX8" fmla="*/ 9019 w 18786"/>
                <a:gd name="connsiteY8" fmla="*/ 1404 h 9999"/>
                <a:gd name="connsiteX9" fmla="*/ 7202 w 18786"/>
                <a:gd name="connsiteY9" fmla="*/ 152 h 9999"/>
                <a:gd name="connsiteX10" fmla="*/ 4832 w 18786"/>
                <a:gd name="connsiteY10" fmla="*/ 1543 h 9999"/>
                <a:gd name="connsiteX11" fmla="*/ 2154 w 18786"/>
                <a:gd name="connsiteY11" fmla="*/ 0 h 9999"/>
                <a:gd name="connsiteX12" fmla="*/ 2421 w 18786"/>
                <a:gd name="connsiteY12" fmla="*/ 3011 h 9999"/>
                <a:gd name="connsiteX0" fmla="*/ 1289 w 10000"/>
                <a:gd name="connsiteY0" fmla="*/ 3011 h 10000"/>
                <a:gd name="connsiteX1" fmla="*/ 14 w 10000"/>
                <a:gd name="connsiteY1" fmla="*/ 2266 h 10000"/>
                <a:gd name="connsiteX2" fmla="*/ 15 w 10000"/>
                <a:gd name="connsiteY2" fmla="*/ 6448 h 10000"/>
                <a:gd name="connsiteX3" fmla="*/ 571 w 10000"/>
                <a:gd name="connsiteY3" fmla="*/ 9690 h 10000"/>
                <a:gd name="connsiteX4" fmla="*/ 1564 w 10000"/>
                <a:gd name="connsiteY4" fmla="*/ 7479 h 10000"/>
                <a:gd name="connsiteX5" fmla="*/ 2551 w 10000"/>
                <a:gd name="connsiteY5" fmla="*/ 7453 h 10000"/>
                <a:gd name="connsiteX6" fmla="*/ 3230 w 10000"/>
                <a:gd name="connsiteY6" fmla="*/ 9992 h 10000"/>
                <a:gd name="connsiteX7" fmla="*/ 10000 w 10000"/>
                <a:gd name="connsiteY7" fmla="*/ 7676 h 10000"/>
                <a:gd name="connsiteX8" fmla="*/ 7517 w 10000"/>
                <a:gd name="connsiteY8" fmla="*/ 3892 h 10000"/>
                <a:gd name="connsiteX9" fmla="*/ 3834 w 10000"/>
                <a:gd name="connsiteY9" fmla="*/ 152 h 10000"/>
                <a:gd name="connsiteX10" fmla="*/ 2572 w 10000"/>
                <a:gd name="connsiteY10" fmla="*/ 1543 h 10000"/>
                <a:gd name="connsiteX11" fmla="*/ 1147 w 10000"/>
                <a:gd name="connsiteY11" fmla="*/ 0 h 10000"/>
                <a:gd name="connsiteX12" fmla="*/ 1289 w 10000"/>
                <a:gd name="connsiteY12" fmla="*/ 3011 h 10000"/>
                <a:gd name="connsiteX0" fmla="*/ 1289 w 10000"/>
                <a:gd name="connsiteY0" fmla="*/ 3011 h 10000"/>
                <a:gd name="connsiteX1" fmla="*/ 14 w 10000"/>
                <a:gd name="connsiteY1" fmla="*/ 2266 h 10000"/>
                <a:gd name="connsiteX2" fmla="*/ 15 w 10000"/>
                <a:gd name="connsiteY2" fmla="*/ 6448 h 10000"/>
                <a:gd name="connsiteX3" fmla="*/ 571 w 10000"/>
                <a:gd name="connsiteY3" fmla="*/ 9690 h 10000"/>
                <a:gd name="connsiteX4" fmla="*/ 1564 w 10000"/>
                <a:gd name="connsiteY4" fmla="*/ 7479 h 10000"/>
                <a:gd name="connsiteX5" fmla="*/ 2551 w 10000"/>
                <a:gd name="connsiteY5" fmla="*/ 7453 h 10000"/>
                <a:gd name="connsiteX6" fmla="*/ 3230 w 10000"/>
                <a:gd name="connsiteY6" fmla="*/ 9992 h 10000"/>
                <a:gd name="connsiteX7" fmla="*/ 10000 w 10000"/>
                <a:gd name="connsiteY7" fmla="*/ 7676 h 10000"/>
                <a:gd name="connsiteX8" fmla="*/ 7517 w 10000"/>
                <a:gd name="connsiteY8" fmla="*/ 3892 h 10000"/>
                <a:gd name="connsiteX9" fmla="*/ 4588 w 10000"/>
                <a:gd name="connsiteY9" fmla="*/ 2640 h 10000"/>
                <a:gd name="connsiteX10" fmla="*/ 2572 w 10000"/>
                <a:gd name="connsiteY10" fmla="*/ 1543 h 10000"/>
                <a:gd name="connsiteX11" fmla="*/ 1147 w 10000"/>
                <a:gd name="connsiteY11" fmla="*/ 0 h 10000"/>
                <a:gd name="connsiteX12" fmla="*/ 1289 w 10000"/>
                <a:gd name="connsiteY12" fmla="*/ 3011 h 10000"/>
                <a:gd name="connsiteX0" fmla="*/ 0 w 11125"/>
                <a:gd name="connsiteY0" fmla="*/ 372 h 10098"/>
                <a:gd name="connsiteX1" fmla="*/ 1139 w 11125"/>
                <a:gd name="connsiteY1" fmla="*/ 2364 h 10098"/>
                <a:gd name="connsiteX2" fmla="*/ 1140 w 11125"/>
                <a:gd name="connsiteY2" fmla="*/ 6546 h 10098"/>
                <a:gd name="connsiteX3" fmla="*/ 1696 w 11125"/>
                <a:gd name="connsiteY3" fmla="*/ 9788 h 10098"/>
                <a:gd name="connsiteX4" fmla="*/ 2689 w 11125"/>
                <a:gd name="connsiteY4" fmla="*/ 7577 h 10098"/>
                <a:gd name="connsiteX5" fmla="*/ 3676 w 11125"/>
                <a:gd name="connsiteY5" fmla="*/ 7551 h 10098"/>
                <a:gd name="connsiteX6" fmla="*/ 4355 w 11125"/>
                <a:gd name="connsiteY6" fmla="*/ 10090 h 10098"/>
                <a:gd name="connsiteX7" fmla="*/ 11125 w 11125"/>
                <a:gd name="connsiteY7" fmla="*/ 7774 h 10098"/>
                <a:gd name="connsiteX8" fmla="*/ 8642 w 11125"/>
                <a:gd name="connsiteY8" fmla="*/ 3990 h 10098"/>
                <a:gd name="connsiteX9" fmla="*/ 5713 w 11125"/>
                <a:gd name="connsiteY9" fmla="*/ 2738 h 10098"/>
                <a:gd name="connsiteX10" fmla="*/ 3697 w 11125"/>
                <a:gd name="connsiteY10" fmla="*/ 1641 h 10098"/>
                <a:gd name="connsiteX11" fmla="*/ 2272 w 11125"/>
                <a:gd name="connsiteY11" fmla="*/ 98 h 10098"/>
                <a:gd name="connsiteX12" fmla="*/ 0 w 11125"/>
                <a:gd name="connsiteY12" fmla="*/ 372 h 10098"/>
                <a:gd name="connsiteX0" fmla="*/ 0 w 11125"/>
                <a:gd name="connsiteY0" fmla="*/ 372 h 10098"/>
                <a:gd name="connsiteX1" fmla="*/ 1743 w 11125"/>
                <a:gd name="connsiteY1" fmla="*/ 3857 h 10098"/>
                <a:gd name="connsiteX2" fmla="*/ 1140 w 11125"/>
                <a:gd name="connsiteY2" fmla="*/ 6546 h 10098"/>
                <a:gd name="connsiteX3" fmla="*/ 1696 w 11125"/>
                <a:gd name="connsiteY3" fmla="*/ 9788 h 10098"/>
                <a:gd name="connsiteX4" fmla="*/ 2689 w 11125"/>
                <a:gd name="connsiteY4" fmla="*/ 7577 h 10098"/>
                <a:gd name="connsiteX5" fmla="*/ 3676 w 11125"/>
                <a:gd name="connsiteY5" fmla="*/ 7551 h 10098"/>
                <a:gd name="connsiteX6" fmla="*/ 4355 w 11125"/>
                <a:gd name="connsiteY6" fmla="*/ 10090 h 10098"/>
                <a:gd name="connsiteX7" fmla="*/ 11125 w 11125"/>
                <a:gd name="connsiteY7" fmla="*/ 7774 h 10098"/>
                <a:gd name="connsiteX8" fmla="*/ 8642 w 11125"/>
                <a:gd name="connsiteY8" fmla="*/ 3990 h 10098"/>
                <a:gd name="connsiteX9" fmla="*/ 5713 w 11125"/>
                <a:gd name="connsiteY9" fmla="*/ 2738 h 10098"/>
                <a:gd name="connsiteX10" fmla="*/ 3697 w 11125"/>
                <a:gd name="connsiteY10" fmla="*/ 1641 h 10098"/>
                <a:gd name="connsiteX11" fmla="*/ 2272 w 11125"/>
                <a:gd name="connsiteY11" fmla="*/ 98 h 10098"/>
                <a:gd name="connsiteX12" fmla="*/ 0 w 11125"/>
                <a:gd name="connsiteY12" fmla="*/ 372 h 10098"/>
                <a:gd name="connsiteX0" fmla="*/ 0 w 11125"/>
                <a:gd name="connsiteY0" fmla="*/ 271 h 9997"/>
                <a:gd name="connsiteX1" fmla="*/ 1743 w 11125"/>
                <a:gd name="connsiteY1" fmla="*/ 3756 h 9997"/>
                <a:gd name="connsiteX2" fmla="*/ 1140 w 11125"/>
                <a:gd name="connsiteY2" fmla="*/ 6445 h 9997"/>
                <a:gd name="connsiteX3" fmla="*/ 1696 w 11125"/>
                <a:gd name="connsiteY3" fmla="*/ 9687 h 9997"/>
                <a:gd name="connsiteX4" fmla="*/ 2689 w 11125"/>
                <a:gd name="connsiteY4" fmla="*/ 7476 h 9997"/>
                <a:gd name="connsiteX5" fmla="*/ 3676 w 11125"/>
                <a:gd name="connsiteY5" fmla="*/ 7450 h 9997"/>
                <a:gd name="connsiteX6" fmla="*/ 4355 w 11125"/>
                <a:gd name="connsiteY6" fmla="*/ 9989 h 9997"/>
                <a:gd name="connsiteX7" fmla="*/ 11125 w 11125"/>
                <a:gd name="connsiteY7" fmla="*/ 7673 h 9997"/>
                <a:gd name="connsiteX8" fmla="*/ 8642 w 11125"/>
                <a:gd name="connsiteY8" fmla="*/ 3889 h 9997"/>
                <a:gd name="connsiteX9" fmla="*/ 5713 w 11125"/>
                <a:gd name="connsiteY9" fmla="*/ 2637 h 9997"/>
                <a:gd name="connsiteX10" fmla="*/ 3697 w 11125"/>
                <a:gd name="connsiteY10" fmla="*/ 1540 h 9997"/>
                <a:gd name="connsiteX11" fmla="*/ 2272 w 11125"/>
                <a:gd name="connsiteY11" fmla="*/ 992 h 9997"/>
                <a:gd name="connsiteX12" fmla="*/ 0 w 11125"/>
                <a:gd name="connsiteY12" fmla="*/ 271 h 9997"/>
                <a:gd name="connsiteX0" fmla="*/ 0 w 10000"/>
                <a:gd name="connsiteY0" fmla="*/ 271 h 10000"/>
                <a:gd name="connsiteX1" fmla="*/ 1567 w 10000"/>
                <a:gd name="connsiteY1" fmla="*/ 3757 h 10000"/>
                <a:gd name="connsiteX2" fmla="*/ 1025 w 10000"/>
                <a:gd name="connsiteY2" fmla="*/ 6447 h 10000"/>
                <a:gd name="connsiteX3" fmla="*/ 1524 w 10000"/>
                <a:gd name="connsiteY3" fmla="*/ 9690 h 10000"/>
                <a:gd name="connsiteX4" fmla="*/ 2417 w 10000"/>
                <a:gd name="connsiteY4" fmla="*/ 7478 h 10000"/>
                <a:gd name="connsiteX5" fmla="*/ 3304 w 10000"/>
                <a:gd name="connsiteY5" fmla="*/ 7452 h 10000"/>
                <a:gd name="connsiteX6" fmla="*/ 3915 w 10000"/>
                <a:gd name="connsiteY6" fmla="*/ 9992 h 10000"/>
                <a:gd name="connsiteX7" fmla="*/ 10000 w 10000"/>
                <a:gd name="connsiteY7" fmla="*/ 7675 h 10000"/>
                <a:gd name="connsiteX8" fmla="*/ 7768 w 10000"/>
                <a:gd name="connsiteY8" fmla="*/ 3890 h 10000"/>
                <a:gd name="connsiteX9" fmla="*/ 5135 w 10000"/>
                <a:gd name="connsiteY9" fmla="*/ 2638 h 10000"/>
                <a:gd name="connsiteX10" fmla="*/ 3594 w 10000"/>
                <a:gd name="connsiteY10" fmla="*/ 2784 h 10000"/>
                <a:gd name="connsiteX11" fmla="*/ 2042 w 10000"/>
                <a:gd name="connsiteY11" fmla="*/ 992 h 10000"/>
                <a:gd name="connsiteX12" fmla="*/ 0 w 10000"/>
                <a:gd name="connsiteY12" fmla="*/ 271 h 10000"/>
                <a:gd name="connsiteX0" fmla="*/ 0 w 10000"/>
                <a:gd name="connsiteY0" fmla="*/ 271 h 10000"/>
                <a:gd name="connsiteX1" fmla="*/ 1567 w 10000"/>
                <a:gd name="connsiteY1" fmla="*/ 3757 h 10000"/>
                <a:gd name="connsiteX2" fmla="*/ 1025 w 10000"/>
                <a:gd name="connsiteY2" fmla="*/ 6447 h 10000"/>
                <a:gd name="connsiteX3" fmla="*/ 1524 w 10000"/>
                <a:gd name="connsiteY3" fmla="*/ 9690 h 10000"/>
                <a:gd name="connsiteX4" fmla="*/ 2417 w 10000"/>
                <a:gd name="connsiteY4" fmla="*/ 7478 h 10000"/>
                <a:gd name="connsiteX5" fmla="*/ 3304 w 10000"/>
                <a:gd name="connsiteY5" fmla="*/ 7452 h 10000"/>
                <a:gd name="connsiteX6" fmla="*/ 3915 w 10000"/>
                <a:gd name="connsiteY6" fmla="*/ 9992 h 10000"/>
                <a:gd name="connsiteX7" fmla="*/ 10000 w 10000"/>
                <a:gd name="connsiteY7" fmla="*/ 7675 h 10000"/>
                <a:gd name="connsiteX8" fmla="*/ 7768 w 10000"/>
                <a:gd name="connsiteY8" fmla="*/ 3890 h 10000"/>
                <a:gd name="connsiteX9" fmla="*/ 5949 w 10000"/>
                <a:gd name="connsiteY9" fmla="*/ 3385 h 10000"/>
                <a:gd name="connsiteX10" fmla="*/ 3594 w 10000"/>
                <a:gd name="connsiteY10" fmla="*/ 2784 h 10000"/>
                <a:gd name="connsiteX11" fmla="*/ 2042 w 10000"/>
                <a:gd name="connsiteY11" fmla="*/ 992 h 10000"/>
                <a:gd name="connsiteX12" fmla="*/ 0 w 10000"/>
                <a:gd name="connsiteY12" fmla="*/ 271 h 10000"/>
                <a:gd name="connsiteX0" fmla="*/ 0 w 10000"/>
                <a:gd name="connsiteY0" fmla="*/ 271 h 10000"/>
                <a:gd name="connsiteX1" fmla="*/ 889 w 10000"/>
                <a:gd name="connsiteY1" fmla="*/ 3757 h 10000"/>
                <a:gd name="connsiteX2" fmla="*/ 1025 w 10000"/>
                <a:gd name="connsiteY2" fmla="*/ 6447 h 10000"/>
                <a:gd name="connsiteX3" fmla="*/ 1524 w 10000"/>
                <a:gd name="connsiteY3" fmla="*/ 9690 h 10000"/>
                <a:gd name="connsiteX4" fmla="*/ 2417 w 10000"/>
                <a:gd name="connsiteY4" fmla="*/ 7478 h 10000"/>
                <a:gd name="connsiteX5" fmla="*/ 3304 w 10000"/>
                <a:gd name="connsiteY5" fmla="*/ 7452 h 10000"/>
                <a:gd name="connsiteX6" fmla="*/ 3915 w 10000"/>
                <a:gd name="connsiteY6" fmla="*/ 9992 h 10000"/>
                <a:gd name="connsiteX7" fmla="*/ 10000 w 10000"/>
                <a:gd name="connsiteY7" fmla="*/ 7675 h 10000"/>
                <a:gd name="connsiteX8" fmla="*/ 7768 w 10000"/>
                <a:gd name="connsiteY8" fmla="*/ 3890 h 10000"/>
                <a:gd name="connsiteX9" fmla="*/ 5949 w 10000"/>
                <a:gd name="connsiteY9" fmla="*/ 3385 h 10000"/>
                <a:gd name="connsiteX10" fmla="*/ 3594 w 10000"/>
                <a:gd name="connsiteY10" fmla="*/ 2784 h 10000"/>
                <a:gd name="connsiteX11" fmla="*/ 2042 w 10000"/>
                <a:gd name="connsiteY11" fmla="*/ 992 h 10000"/>
                <a:gd name="connsiteX12" fmla="*/ 0 w 10000"/>
                <a:gd name="connsiteY12" fmla="*/ 271 h 10000"/>
                <a:gd name="connsiteX0" fmla="*/ 0 w 10000"/>
                <a:gd name="connsiteY0" fmla="*/ 271 h 10000"/>
                <a:gd name="connsiteX1" fmla="*/ 889 w 10000"/>
                <a:gd name="connsiteY1" fmla="*/ 3757 h 10000"/>
                <a:gd name="connsiteX2" fmla="*/ 1974 w 10000"/>
                <a:gd name="connsiteY2" fmla="*/ 6198 h 10000"/>
                <a:gd name="connsiteX3" fmla="*/ 1524 w 10000"/>
                <a:gd name="connsiteY3" fmla="*/ 9690 h 10000"/>
                <a:gd name="connsiteX4" fmla="*/ 2417 w 10000"/>
                <a:gd name="connsiteY4" fmla="*/ 7478 h 10000"/>
                <a:gd name="connsiteX5" fmla="*/ 3304 w 10000"/>
                <a:gd name="connsiteY5" fmla="*/ 7452 h 10000"/>
                <a:gd name="connsiteX6" fmla="*/ 3915 w 10000"/>
                <a:gd name="connsiteY6" fmla="*/ 9992 h 10000"/>
                <a:gd name="connsiteX7" fmla="*/ 10000 w 10000"/>
                <a:gd name="connsiteY7" fmla="*/ 7675 h 10000"/>
                <a:gd name="connsiteX8" fmla="*/ 7768 w 10000"/>
                <a:gd name="connsiteY8" fmla="*/ 3890 h 10000"/>
                <a:gd name="connsiteX9" fmla="*/ 5949 w 10000"/>
                <a:gd name="connsiteY9" fmla="*/ 3385 h 10000"/>
                <a:gd name="connsiteX10" fmla="*/ 3594 w 10000"/>
                <a:gd name="connsiteY10" fmla="*/ 2784 h 10000"/>
                <a:gd name="connsiteX11" fmla="*/ 2042 w 10000"/>
                <a:gd name="connsiteY11" fmla="*/ 992 h 10000"/>
                <a:gd name="connsiteX12" fmla="*/ 0 w 10000"/>
                <a:gd name="connsiteY12" fmla="*/ 271 h 10000"/>
                <a:gd name="connsiteX0" fmla="*/ 0 w 10000"/>
                <a:gd name="connsiteY0" fmla="*/ 271 h 10000"/>
                <a:gd name="connsiteX1" fmla="*/ 889 w 10000"/>
                <a:gd name="connsiteY1" fmla="*/ 3757 h 10000"/>
                <a:gd name="connsiteX2" fmla="*/ 1974 w 10000"/>
                <a:gd name="connsiteY2" fmla="*/ 6198 h 10000"/>
                <a:gd name="connsiteX3" fmla="*/ 2417 w 10000"/>
                <a:gd name="connsiteY3" fmla="*/ 7478 h 10000"/>
                <a:gd name="connsiteX4" fmla="*/ 3304 w 10000"/>
                <a:gd name="connsiteY4" fmla="*/ 7452 h 10000"/>
                <a:gd name="connsiteX5" fmla="*/ 3915 w 10000"/>
                <a:gd name="connsiteY5" fmla="*/ 9992 h 10000"/>
                <a:gd name="connsiteX6" fmla="*/ 10000 w 10000"/>
                <a:gd name="connsiteY6" fmla="*/ 7675 h 10000"/>
                <a:gd name="connsiteX7" fmla="*/ 7768 w 10000"/>
                <a:gd name="connsiteY7" fmla="*/ 3890 h 10000"/>
                <a:gd name="connsiteX8" fmla="*/ 5949 w 10000"/>
                <a:gd name="connsiteY8" fmla="*/ 3385 h 10000"/>
                <a:gd name="connsiteX9" fmla="*/ 3594 w 10000"/>
                <a:gd name="connsiteY9" fmla="*/ 2784 h 10000"/>
                <a:gd name="connsiteX10" fmla="*/ 2042 w 10000"/>
                <a:gd name="connsiteY10" fmla="*/ 992 h 10000"/>
                <a:gd name="connsiteX11" fmla="*/ 0 w 10000"/>
                <a:gd name="connsiteY11" fmla="*/ 271 h 10000"/>
                <a:gd name="connsiteX0" fmla="*/ 0 w 10000"/>
                <a:gd name="connsiteY0" fmla="*/ 271 h 9992"/>
                <a:gd name="connsiteX1" fmla="*/ 889 w 10000"/>
                <a:gd name="connsiteY1" fmla="*/ 3757 h 9992"/>
                <a:gd name="connsiteX2" fmla="*/ 1974 w 10000"/>
                <a:gd name="connsiteY2" fmla="*/ 6198 h 9992"/>
                <a:gd name="connsiteX3" fmla="*/ 2417 w 10000"/>
                <a:gd name="connsiteY3" fmla="*/ 7478 h 9992"/>
                <a:gd name="connsiteX4" fmla="*/ 3915 w 10000"/>
                <a:gd name="connsiteY4" fmla="*/ 9992 h 9992"/>
                <a:gd name="connsiteX5" fmla="*/ 10000 w 10000"/>
                <a:gd name="connsiteY5" fmla="*/ 7675 h 9992"/>
                <a:gd name="connsiteX6" fmla="*/ 7768 w 10000"/>
                <a:gd name="connsiteY6" fmla="*/ 3890 h 9992"/>
                <a:gd name="connsiteX7" fmla="*/ 5949 w 10000"/>
                <a:gd name="connsiteY7" fmla="*/ 3385 h 9992"/>
                <a:gd name="connsiteX8" fmla="*/ 3594 w 10000"/>
                <a:gd name="connsiteY8" fmla="*/ 2784 h 9992"/>
                <a:gd name="connsiteX9" fmla="*/ 2042 w 10000"/>
                <a:gd name="connsiteY9" fmla="*/ 992 h 9992"/>
                <a:gd name="connsiteX10" fmla="*/ 0 w 10000"/>
                <a:gd name="connsiteY10" fmla="*/ 271 h 9992"/>
                <a:gd name="connsiteX0" fmla="*/ 0 w 10000"/>
                <a:gd name="connsiteY0" fmla="*/ 271 h 10000"/>
                <a:gd name="connsiteX1" fmla="*/ 889 w 10000"/>
                <a:gd name="connsiteY1" fmla="*/ 3760 h 10000"/>
                <a:gd name="connsiteX2" fmla="*/ 1974 w 10000"/>
                <a:gd name="connsiteY2" fmla="*/ 6203 h 10000"/>
                <a:gd name="connsiteX3" fmla="*/ 2417 w 10000"/>
                <a:gd name="connsiteY3" fmla="*/ 8729 h 10000"/>
                <a:gd name="connsiteX4" fmla="*/ 3915 w 10000"/>
                <a:gd name="connsiteY4" fmla="*/ 10000 h 10000"/>
                <a:gd name="connsiteX5" fmla="*/ 10000 w 10000"/>
                <a:gd name="connsiteY5" fmla="*/ 7681 h 10000"/>
                <a:gd name="connsiteX6" fmla="*/ 7768 w 10000"/>
                <a:gd name="connsiteY6" fmla="*/ 3893 h 10000"/>
                <a:gd name="connsiteX7" fmla="*/ 5949 w 10000"/>
                <a:gd name="connsiteY7" fmla="*/ 3388 h 10000"/>
                <a:gd name="connsiteX8" fmla="*/ 3594 w 10000"/>
                <a:gd name="connsiteY8" fmla="*/ 2786 h 10000"/>
                <a:gd name="connsiteX9" fmla="*/ 2042 w 10000"/>
                <a:gd name="connsiteY9" fmla="*/ 993 h 10000"/>
                <a:gd name="connsiteX10" fmla="*/ 0 w 10000"/>
                <a:gd name="connsiteY10" fmla="*/ 271 h 10000"/>
                <a:gd name="connsiteX0" fmla="*/ 0 w 9864"/>
                <a:gd name="connsiteY0" fmla="*/ 373 h 9106"/>
                <a:gd name="connsiteX1" fmla="*/ 753 w 9864"/>
                <a:gd name="connsiteY1" fmla="*/ 2866 h 9106"/>
                <a:gd name="connsiteX2" fmla="*/ 1838 w 9864"/>
                <a:gd name="connsiteY2" fmla="*/ 5309 h 9106"/>
                <a:gd name="connsiteX3" fmla="*/ 2281 w 9864"/>
                <a:gd name="connsiteY3" fmla="*/ 7835 h 9106"/>
                <a:gd name="connsiteX4" fmla="*/ 3779 w 9864"/>
                <a:gd name="connsiteY4" fmla="*/ 9106 h 9106"/>
                <a:gd name="connsiteX5" fmla="*/ 9864 w 9864"/>
                <a:gd name="connsiteY5" fmla="*/ 6787 h 9106"/>
                <a:gd name="connsiteX6" fmla="*/ 7632 w 9864"/>
                <a:gd name="connsiteY6" fmla="*/ 2999 h 9106"/>
                <a:gd name="connsiteX7" fmla="*/ 5813 w 9864"/>
                <a:gd name="connsiteY7" fmla="*/ 2494 h 9106"/>
                <a:gd name="connsiteX8" fmla="*/ 3458 w 9864"/>
                <a:gd name="connsiteY8" fmla="*/ 1892 h 9106"/>
                <a:gd name="connsiteX9" fmla="*/ 1906 w 9864"/>
                <a:gd name="connsiteY9" fmla="*/ 99 h 9106"/>
                <a:gd name="connsiteX10" fmla="*/ 0 w 9864"/>
                <a:gd name="connsiteY10" fmla="*/ 373 h 9106"/>
                <a:gd name="connsiteX0" fmla="*/ 0 w 10000"/>
                <a:gd name="connsiteY0" fmla="*/ 409 h 9002"/>
                <a:gd name="connsiteX1" fmla="*/ 763 w 10000"/>
                <a:gd name="connsiteY1" fmla="*/ 3146 h 9002"/>
                <a:gd name="connsiteX2" fmla="*/ 1863 w 10000"/>
                <a:gd name="connsiteY2" fmla="*/ 5829 h 9002"/>
                <a:gd name="connsiteX3" fmla="*/ 2312 w 10000"/>
                <a:gd name="connsiteY3" fmla="*/ 8603 h 9002"/>
                <a:gd name="connsiteX4" fmla="*/ 3968 w 10000"/>
                <a:gd name="connsiteY4" fmla="*/ 8905 h 9002"/>
                <a:gd name="connsiteX5" fmla="*/ 10000 w 10000"/>
                <a:gd name="connsiteY5" fmla="*/ 7452 h 9002"/>
                <a:gd name="connsiteX6" fmla="*/ 7737 w 10000"/>
                <a:gd name="connsiteY6" fmla="*/ 3292 h 9002"/>
                <a:gd name="connsiteX7" fmla="*/ 5893 w 10000"/>
                <a:gd name="connsiteY7" fmla="*/ 2738 h 9002"/>
                <a:gd name="connsiteX8" fmla="*/ 3506 w 10000"/>
                <a:gd name="connsiteY8" fmla="*/ 2077 h 9002"/>
                <a:gd name="connsiteX9" fmla="*/ 1932 w 10000"/>
                <a:gd name="connsiteY9" fmla="*/ 108 h 9002"/>
                <a:gd name="connsiteX10" fmla="*/ 0 w 10000"/>
                <a:gd name="connsiteY10" fmla="*/ 409 h 9002"/>
                <a:gd name="connsiteX0" fmla="*/ 0 w 10000"/>
                <a:gd name="connsiteY0" fmla="*/ 454 h 9892"/>
                <a:gd name="connsiteX1" fmla="*/ 763 w 10000"/>
                <a:gd name="connsiteY1" fmla="*/ 3495 h 9892"/>
                <a:gd name="connsiteX2" fmla="*/ 1863 w 10000"/>
                <a:gd name="connsiteY2" fmla="*/ 6475 h 9892"/>
                <a:gd name="connsiteX3" fmla="*/ 2862 w 10000"/>
                <a:gd name="connsiteY3" fmla="*/ 8038 h 9892"/>
                <a:gd name="connsiteX4" fmla="*/ 3968 w 10000"/>
                <a:gd name="connsiteY4" fmla="*/ 9892 h 9892"/>
                <a:gd name="connsiteX5" fmla="*/ 10000 w 10000"/>
                <a:gd name="connsiteY5" fmla="*/ 8278 h 9892"/>
                <a:gd name="connsiteX6" fmla="*/ 7737 w 10000"/>
                <a:gd name="connsiteY6" fmla="*/ 3657 h 9892"/>
                <a:gd name="connsiteX7" fmla="*/ 5893 w 10000"/>
                <a:gd name="connsiteY7" fmla="*/ 3042 h 9892"/>
                <a:gd name="connsiteX8" fmla="*/ 3506 w 10000"/>
                <a:gd name="connsiteY8" fmla="*/ 2307 h 9892"/>
                <a:gd name="connsiteX9" fmla="*/ 1932 w 10000"/>
                <a:gd name="connsiteY9" fmla="*/ 120 h 9892"/>
                <a:gd name="connsiteX10" fmla="*/ 0 w 10000"/>
                <a:gd name="connsiteY10" fmla="*/ 454 h 9892"/>
                <a:gd name="connsiteX0" fmla="*/ 0 w 10000"/>
                <a:gd name="connsiteY0" fmla="*/ 459 h 10000"/>
                <a:gd name="connsiteX1" fmla="*/ 763 w 10000"/>
                <a:gd name="connsiteY1" fmla="*/ 3533 h 10000"/>
                <a:gd name="connsiteX2" fmla="*/ 2275 w 10000"/>
                <a:gd name="connsiteY2" fmla="*/ 6546 h 10000"/>
                <a:gd name="connsiteX3" fmla="*/ 2862 w 10000"/>
                <a:gd name="connsiteY3" fmla="*/ 8126 h 10000"/>
                <a:gd name="connsiteX4" fmla="*/ 3968 w 10000"/>
                <a:gd name="connsiteY4" fmla="*/ 10000 h 10000"/>
                <a:gd name="connsiteX5" fmla="*/ 10000 w 10000"/>
                <a:gd name="connsiteY5" fmla="*/ 8368 h 10000"/>
                <a:gd name="connsiteX6" fmla="*/ 7737 w 10000"/>
                <a:gd name="connsiteY6" fmla="*/ 3697 h 10000"/>
                <a:gd name="connsiteX7" fmla="*/ 5893 w 10000"/>
                <a:gd name="connsiteY7" fmla="*/ 3075 h 10000"/>
                <a:gd name="connsiteX8" fmla="*/ 3506 w 10000"/>
                <a:gd name="connsiteY8" fmla="*/ 2332 h 10000"/>
                <a:gd name="connsiteX9" fmla="*/ 1932 w 10000"/>
                <a:gd name="connsiteY9" fmla="*/ 121 h 10000"/>
                <a:gd name="connsiteX10" fmla="*/ 0 w 10000"/>
                <a:gd name="connsiteY10" fmla="*/ 459 h 10000"/>
                <a:gd name="connsiteX0" fmla="*/ 0 w 10000"/>
                <a:gd name="connsiteY0" fmla="*/ 459 h 10000"/>
                <a:gd name="connsiteX1" fmla="*/ 763 w 10000"/>
                <a:gd name="connsiteY1" fmla="*/ 3533 h 10000"/>
                <a:gd name="connsiteX2" fmla="*/ 2825 w 10000"/>
                <a:gd name="connsiteY2" fmla="*/ 6546 h 10000"/>
                <a:gd name="connsiteX3" fmla="*/ 2862 w 10000"/>
                <a:gd name="connsiteY3" fmla="*/ 8126 h 10000"/>
                <a:gd name="connsiteX4" fmla="*/ 3968 w 10000"/>
                <a:gd name="connsiteY4" fmla="*/ 10000 h 10000"/>
                <a:gd name="connsiteX5" fmla="*/ 10000 w 10000"/>
                <a:gd name="connsiteY5" fmla="*/ 8368 h 10000"/>
                <a:gd name="connsiteX6" fmla="*/ 7737 w 10000"/>
                <a:gd name="connsiteY6" fmla="*/ 3697 h 10000"/>
                <a:gd name="connsiteX7" fmla="*/ 5893 w 10000"/>
                <a:gd name="connsiteY7" fmla="*/ 3075 h 10000"/>
                <a:gd name="connsiteX8" fmla="*/ 3506 w 10000"/>
                <a:gd name="connsiteY8" fmla="*/ 2332 h 10000"/>
                <a:gd name="connsiteX9" fmla="*/ 1932 w 10000"/>
                <a:gd name="connsiteY9" fmla="*/ 121 h 10000"/>
                <a:gd name="connsiteX10" fmla="*/ 0 w 10000"/>
                <a:gd name="connsiteY10" fmla="*/ 459 h 10000"/>
                <a:gd name="connsiteX0" fmla="*/ 0 w 10000"/>
                <a:gd name="connsiteY0" fmla="*/ 459 h 10000"/>
                <a:gd name="connsiteX1" fmla="*/ 1450 w 10000"/>
                <a:gd name="connsiteY1" fmla="*/ 2919 h 10000"/>
                <a:gd name="connsiteX2" fmla="*/ 2825 w 10000"/>
                <a:gd name="connsiteY2" fmla="*/ 6546 h 10000"/>
                <a:gd name="connsiteX3" fmla="*/ 2862 w 10000"/>
                <a:gd name="connsiteY3" fmla="*/ 8126 h 10000"/>
                <a:gd name="connsiteX4" fmla="*/ 3968 w 10000"/>
                <a:gd name="connsiteY4" fmla="*/ 10000 h 10000"/>
                <a:gd name="connsiteX5" fmla="*/ 10000 w 10000"/>
                <a:gd name="connsiteY5" fmla="*/ 8368 h 10000"/>
                <a:gd name="connsiteX6" fmla="*/ 7737 w 10000"/>
                <a:gd name="connsiteY6" fmla="*/ 3697 h 10000"/>
                <a:gd name="connsiteX7" fmla="*/ 5893 w 10000"/>
                <a:gd name="connsiteY7" fmla="*/ 3075 h 10000"/>
                <a:gd name="connsiteX8" fmla="*/ 3506 w 10000"/>
                <a:gd name="connsiteY8" fmla="*/ 2332 h 10000"/>
                <a:gd name="connsiteX9" fmla="*/ 1932 w 10000"/>
                <a:gd name="connsiteY9" fmla="*/ 121 h 10000"/>
                <a:gd name="connsiteX10" fmla="*/ 0 w 10000"/>
                <a:gd name="connsiteY10" fmla="*/ 459 h 10000"/>
                <a:gd name="connsiteX0" fmla="*/ 0 w 10000"/>
                <a:gd name="connsiteY0" fmla="*/ 459 h 10000"/>
                <a:gd name="connsiteX1" fmla="*/ 762 w 10000"/>
                <a:gd name="connsiteY1" fmla="*/ 3840 h 10000"/>
                <a:gd name="connsiteX2" fmla="*/ 2825 w 10000"/>
                <a:gd name="connsiteY2" fmla="*/ 6546 h 10000"/>
                <a:gd name="connsiteX3" fmla="*/ 2862 w 10000"/>
                <a:gd name="connsiteY3" fmla="*/ 8126 h 10000"/>
                <a:gd name="connsiteX4" fmla="*/ 3968 w 10000"/>
                <a:gd name="connsiteY4" fmla="*/ 10000 h 10000"/>
                <a:gd name="connsiteX5" fmla="*/ 10000 w 10000"/>
                <a:gd name="connsiteY5" fmla="*/ 8368 h 10000"/>
                <a:gd name="connsiteX6" fmla="*/ 7737 w 10000"/>
                <a:gd name="connsiteY6" fmla="*/ 3697 h 10000"/>
                <a:gd name="connsiteX7" fmla="*/ 5893 w 10000"/>
                <a:gd name="connsiteY7" fmla="*/ 3075 h 10000"/>
                <a:gd name="connsiteX8" fmla="*/ 3506 w 10000"/>
                <a:gd name="connsiteY8" fmla="*/ 2332 h 10000"/>
                <a:gd name="connsiteX9" fmla="*/ 1932 w 10000"/>
                <a:gd name="connsiteY9" fmla="*/ 121 h 10000"/>
                <a:gd name="connsiteX10" fmla="*/ 0 w 10000"/>
                <a:gd name="connsiteY10" fmla="*/ 459 h 10000"/>
                <a:gd name="connsiteX0" fmla="*/ 0 w 10000"/>
                <a:gd name="connsiteY0" fmla="*/ 459 h 10000"/>
                <a:gd name="connsiteX1" fmla="*/ 1174 w 10000"/>
                <a:gd name="connsiteY1" fmla="*/ 3533 h 10000"/>
                <a:gd name="connsiteX2" fmla="*/ 2825 w 10000"/>
                <a:gd name="connsiteY2" fmla="*/ 6546 h 10000"/>
                <a:gd name="connsiteX3" fmla="*/ 2862 w 10000"/>
                <a:gd name="connsiteY3" fmla="*/ 8126 h 10000"/>
                <a:gd name="connsiteX4" fmla="*/ 3968 w 10000"/>
                <a:gd name="connsiteY4" fmla="*/ 10000 h 10000"/>
                <a:gd name="connsiteX5" fmla="*/ 10000 w 10000"/>
                <a:gd name="connsiteY5" fmla="*/ 8368 h 10000"/>
                <a:gd name="connsiteX6" fmla="*/ 7737 w 10000"/>
                <a:gd name="connsiteY6" fmla="*/ 3697 h 10000"/>
                <a:gd name="connsiteX7" fmla="*/ 5893 w 10000"/>
                <a:gd name="connsiteY7" fmla="*/ 3075 h 10000"/>
                <a:gd name="connsiteX8" fmla="*/ 3506 w 10000"/>
                <a:gd name="connsiteY8" fmla="*/ 2332 h 10000"/>
                <a:gd name="connsiteX9" fmla="*/ 1932 w 10000"/>
                <a:gd name="connsiteY9" fmla="*/ 121 h 10000"/>
                <a:gd name="connsiteX10" fmla="*/ 0 w 10000"/>
                <a:gd name="connsiteY10" fmla="*/ 459 h 10000"/>
                <a:gd name="connsiteX0" fmla="*/ 0 w 10000"/>
                <a:gd name="connsiteY0" fmla="*/ 459 h 10000"/>
                <a:gd name="connsiteX1" fmla="*/ 1174 w 10000"/>
                <a:gd name="connsiteY1" fmla="*/ 3533 h 10000"/>
                <a:gd name="connsiteX2" fmla="*/ 2862 w 10000"/>
                <a:gd name="connsiteY2" fmla="*/ 8126 h 10000"/>
                <a:gd name="connsiteX3" fmla="*/ 3968 w 10000"/>
                <a:gd name="connsiteY3" fmla="*/ 10000 h 10000"/>
                <a:gd name="connsiteX4" fmla="*/ 10000 w 10000"/>
                <a:gd name="connsiteY4" fmla="*/ 8368 h 10000"/>
                <a:gd name="connsiteX5" fmla="*/ 7737 w 10000"/>
                <a:gd name="connsiteY5" fmla="*/ 3697 h 10000"/>
                <a:gd name="connsiteX6" fmla="*/ 5893 w 10000"/>
                <a:gd name="connsiteY6" fmla="*/ 3075 h 10000"/>
                <a:gd name="connsiteX7" fmla="*/ 3506 w 10000"/>
                <a:gd name="connsiteY7" fmla="*/ 2332 h 10000"/>
                <a:gd name="connsiteX8" fmla="*/ 1932 w 10000"/>
                <a:gd name="connsiteY8" fmla="*/ 121 h 10000"/>
                <a:gd name="connsiteX9" fmla="*/ 0 w 10000"/>
                <a:gd name="connsiteY9" fmla="*/ 459 h 10000"/>
                <a:gd name="connsiteX0" fmla="*/ 0 w 10000"/>
                <a:gd name="connsiteY0" fmla="*/ 459 h 11229"/>
                <a:gd name="connsiteX1" fmla="*/ 1174 w 10000"/>
                <a:gd name="connsiteY1" fmla="*/ 3533 h 11229"/>
                <a:gd name="connsiteX2" fmla="*/ 2862 w 10000"/>
                <a:gd name="connsiteY2" fmla="*/ 8126 h 11229"/>
                <a:gd name="connsiteX3" fmla="*/ 9605 w 10000"/>
                <a:gd name="connsiteY3" fmla="*/ 11229 h 11229"/>
                <a:gd name="connsiteX4" fmla="*/ 10000 w 10000"/>
                <a:gd name="connsiteY4" fmla="*/ 8368 h 11229"/>
                <a:gd name="connsiteX5" fmla="*/ 7737 w 10000"/>
                <a:gd name="connsiteY5" fmla="*/ 3697 h 11229"/>
                <a:gd name="connsiteX6" fmla="*/ 5893 w 10000"/>
                <a:gd name="connsiteY6" fmla="*/ 3075 h 11229"/>
                <a:gd name="connsiteX7" fmla="*/ 3506 w 10000"/>
                <a:gd name="connsiteY7" fmla="*/ 2332 h 11229"/>
                <a:gd name="connsiteX8" fmla="*/ 1932 w 10000"/>
                <a:gd name="connsiteY8" fmla="*/ 121 h 11229"/>
                <a:gd name="connsiteX9" fmla="*/ 0 w 10000"/>
                <a:gd name="connsiteY9" fmla="*/ 459 h 11229"/>
                <a:gd name="connsiteX0" fmla="*/ 0 w 10000"/>
                <a:gd name="connsiteY0" fmla="*/ 459 h 11229"/>
                <a:gd name="connsiteX1" fmla="*/ 1174 w 10000"/>
                <a:gd name="connsiteY1" fmla="*/ 3533 h 11229"/>
                <a:gd name="connsiteX2" fmla="*/ 8087 w 10000"/>
                <a:gd name="connsiteY2" fmla="*/ 9355 h 11229"/>
                <a:gd name="connsiteX3" fmla="*/ 9605 w 10000"/>
                <a:gd name="connsiteY3" fmla="*/ 11229 h 11229"/>
                <a:gd name="connsiteX4" fmla="*/ 10000 w 10000"/>
                <a:gd name="connsiteY4" fmla="*/ 8368 h 11229"/>
                <a:gd name="connsiteX5" fmla="*/ 7737 w 10000"/>
                <a:gd name="connsiteY5" fmla="*/ 3697 h 11229"/>
                <a:gd name="connsiteX6" fmla="*/ 5893 w 10000"/>
                <a:gd name="connsiteY6" fmla="*/ 3075 h 11229"/>
                <a:gd name="connsiteX7" fmla="*/ 3506 w 10000"/>
                <a:gd name="connsiteY7" fmla="*/ 2332 h 11229"/>
                <a:gd name="connsiteX8" fmla="*/ 1932 w 10000"/>
                <a:gd name="connsiteY8" fmla="*/ 121 h 11229"/>
                <a:gd name="connsiteX9" fmla="*/ 0 w 10000"/>
                <a:gd name="connsiteY9" fmla="*/ 459 h 11229"/>
                <a:gd name="connsiteX0" fmla="*/ 0 w 10000"/>
                <a:gd name="connsiteY0" fmla="*/ 459 h 11229"/>
                <a:gd name="connsiteX1" fmla="*/ 1174 w 10000"/>
                <a:gd name="connsiteY1" fmla="*/ 3533 h 11229"/>
                <a:gd name="connsiteX2" fmla="*/ 3900 w 10000"/>
                <a:gd name="connsiteY2" fmla="*/ 5636 h 11229"/>
                <a:gd name="connsiteX3" fmla="*/ 8087 w 10000"/>
                <a:gd name="connsiteY3" fmla="*/ 9355 h 11229"/>
                <a:gd name="connsiteX4" fmla="*/ 9605 w 10000"/>
                <a:gd name="connsiteY4" fmla="*/ 11229 h 11229"/>
                <a:gd name="connsiteX5" fmla="*/ 10000 w 10000"/>
                <a:gd name="connsiteY5" fmla="*/ 8368 h 11229"/>
                <a:gd name="connsiteX6" fmla="*/ 7737 w 10000"/>
                <a:gd name="connsiteY6" fmla="*/ 3697 h 11229"/>
                <a:gd name="connsiteX7" fmla="*/ 5893 w 10000"/>
                <a:gd name="connsiteY7" fmla="*/ 3075 h 11229"/>
                <a:gd name="connsiteX8" fmla="*/ 3506 w 10000"/>
                <a:gd name="connsiteY8" fmla="*/ 2332 h 11229"/>
                <a:gd name="connsiteX9" fmla="*/ 1932 w 10000"/>
                <a:gd name="connsiteY9" fmla="*/ 121 h 11229"/>
                <a:gd name="connsiteX10" fmla="*/ 0 w 10000"/>
                <a:gd name="connsiteY10" fmla="*/ 459 h 11229"/>
                <a:gd name="connsiteX0" fmla="*/ 0 w 10000"/>
                <a:gd name="connsiteY0" fmla="*/ 459 h 11229"/>
                <a:gd name="connsiteX1" fmla="*/ 1174 w 10000"/>
                <a:gd name="connsiteY1" fmla="*/ 3533 h 11229"/>
                <a:gd name="connsiteX2" fmla="*/ 3900 w 10000"/>
                <a:gd name="connsiteY2" fmla="*/ 5636 h 11229"/>
                <a:gd name="connsiteX3" fmla="*/ 4862 w 10000"/>
                <a:gd name="connsiteY3" fmla="*/ 10243 h 11229"/>
                <a:gd name="connsiteX4" fmla="*/ 8087 w 10000"/>
                <a:gd name="connsiteY4" fmla="*/ 9355 h 11229"/>
                <a:gd name="connsiteX5" fmla="*/ 9605 w 10000"/>
                <a:gd name="connsiteY5" fmla="*/ 11229 h 11229"/>
                <a:gd name="connsiteX6" fmla="*/ 10000 w 10000"/>
                <a:gd name="connsiteY6" fmla="*/ 8368 h 11229"/>
                <a:gd name="connsiteX7" fmla="*/ 7737 w 10000"/>
                <a:gd name="connsiteY7" fmla="*/ 3697 h 11229"/>
                <a:gd name="connsiteX8" fmla="*/ 5893 w 10000"/>
                <a:gd name="connsiteY8" fmla="*/ 3075 h 11229"/>
                <a:gd name="connsiteX9" fmla="*/ 3506 w 10000"/>
                <a:gd name="connsiteY9" fmla="*/ 2332 h 11229"/>
                <a:gd name="connsiteX10" fmla="*/ 1932 w 10000"/>
                <a:gd name="connsiteY10" fmla="*/ 121 h 11229"/>
                <a:gd name="connsiteX11" fmla="*/ 0 w 10000"/>
                <a:gd name="connsiteY11" fmla="*/ 459 h 11229"/>
                <a:gd name="connsiteX0" fmla="*/ 0 w 10000"/>
                <a:gd name="connsiteY0" fmla="*/ 459 h 11229"/>
                <a:gd name="connsiteX1" fmla="*/ 1174 w 10000"/>
                <a:gd name="connsiteY1" fmla="*/ 3533 h 11229"/>
                <a:gd name="connsiteX2" fmla="*/ 3900 w 10000"/>
                <a:gd name="connsiteY2" fmla="*/ 5636 h 11229"/>
                <a:gd name="connsiteX3" fmla="*/ 4862 w 10000"/>
                <a:gd name="connsiteY3" fmla="*/ 10243 h 11229"/>
                <a:gd name="connsiteX4" fmla="*/ 8087 w 10000"/>
                <a:gd name="connsiteY4" fmla="*/ 9355 h 11229"/>
                <a:gd name="connsiteX5" fmla="*/ 9605 w 10000"/>
                <a:gd name="connsiteY5" fmla="*/ 11229 h 11229"/>
                <a:gd name="connsiteX6" fmla="*/ 10000 w 10000"/>
                <a:gd name="connsiteY6" fmla="*/ 8368 h 11229"/>
                <a:gd name="connsiteX7" fmla="*/ 7737 w 10000"/>
                <a:gd name="connsiteY7" fmla="*/ 3697 h 11229"/>
                <a:gd name="connsiteX8" fmla="*/ 5893 w 10000"/>
                <a:gd name="connsiteY8" fmla="*/ 3075 h 11229"/>
                <a:gd name="connsiteX9" fmla="*/ 3506 w 10000"/>
                <a:gd name="connsiteY9" fmla="*/ 2332 h 11229"/>
                <a:gd name="connsiteX10" fmla="*/ 1932 w 10000"/>
                <a:gd name="connsiteY10" fmla="*/ 121 h 11229"/>
                <a:gd name="connsiteX11" fmla="*/ 0 w 10000"/>
                <a:gd name="connsiteY11" fmla="*/ 459 h 11229"/>
                <a:gd name="connsiteX0" fmla="*/ 0 w 10000"/>
                <a:gd name="connsiteY0" fmla="*/ 459 h 11229"/>
                <a:gd name="connsiteX1" fmla="*/ 1174 w 10000"/>
                <a:gd name="connsiteY1" fmla="*/ 3533 h 11229"/>
                <a:gd name="connsiteX2" fmla="*/ 3900 w 10000"/>
                <a:gd name="connsiteY2" fmla="*/ 5636 h 11229"/>
                <a:gd name="connsiteX3" fmla="*/ 4862 w 10000"/>
                <a:gd name="connsiteY3" fmla="*/ 10243 h 11229"/>
                <a:gd name="connsiteX4" fmla="*/ 8087 w 10000"/>
                <a:gd name="connsiteY4" fmla="*/ 9355 h 11229"/>
                <a:gd name="connsiteX5" fmla="*/ 9605 w 10000"/>
                <a:gd name="connsiteY5" fmla="*/ 11229 h 11229"/>
                <a:gd name="connsiteX6" fmla="*/ 10000 w 10000"/>
                <a:gd name="connsiteY6" fmla="*/ 8368 h 11229"/>
                <a:gd name="connsiteX7" fmla="*/ 7737 w 10000"/>
                <a:gd name="connsiteY7" fmla="*/ 3697 h 11229"/>
                <a:gd name="connsiteX8" fmla="*/ 5893 w 10000"/>
                <a:gd name="connsiteY8" fmla="*/ 3075 h 11229"/>
                <a:gd name="connsiteX9" fmla="*/ 3506 w 10000"/>
                <a:gd name="connsiteY9" fmla="*/ 2332 h 11229"/>
                <a:gd name="connsiteX10" fmla="*/ 1932 w 10000"/>
                <a:gd name="connsiteY10" fmla="*/ 121 h 11229"/>
                <a:gd name="connsiteX11" fmla="*/ 0 w 10000"/>
                <a:gd name="connsiteY11" fmla="*/ 459 h 11229"/>
                <a:gd name="connsiteX0" fmla="*/ 0 w 10000"/>
                <a:gd name="connsiteY0" fmla="*/ 459 h 11229"/>
                <a:gd name="connsiteX1" fmla="*/ 1174 w 10000"/>
                <a:gd name="connsiteY1" fmla="*/ 3533 h 11229"/>
                <a:gd name="connsiteX2" fmla="*/ 3900 w 10000"/>
                <a:gd name="connsiteY2" fmla="*/ 5636 h 11229"/>
                <a:gd name="connsiteX3" fmla="*/ 4862 w 10000"/>
                <a:gd name="connsiteY3" fmla="*/ 10243 h 11229"/>
                <a:gd name="connsiteX4" fmla="*/ 8087 w 10000"/>
                <a:gd name="connsiteY4" fmla="*/ 9355 h 11229"/>
                <a:gd name="connsiteX5" fmla="*/ 9605 w 10000"/>
                <a:gd name="connsiteY5" fmla="*/ 11229 h 11229"/>
                <a:gd name="connsiteX6" fmla="*/ 10000 w 10000"/>
                <a:gd name="connsiteY6" fmla="*/ 8368 h 11229"/>
                <a:gd name="connsiteX7" fmla="*/ 7737 w 10000"/>
                <a:gd name="connsiteY7" fmla="*/ 3697 h 11229"/>
                <a:gd name="connsiteX8" fmla="*/ 5893 w 10000"/>
                <a:gd name="connsiteY8" fmla="*/ 3075 h 11229"/>
                <a:gd name="connsiteX9" fmla="*/ 3506 w 10000"/>
                <a:gd name="connsiteY9" fmla="*/ 2332 h 11229"/>
                <a:gd name="connsiteX10" fmla="*/ 1932 w 10000"/>
                <a:gd name="connsiteY10" fmla="*/ 121 h 11229"/>
                <a:gd name="connsiteX11" fmla="*/ 0 w 10000"/>
                <a:gd name="connsiteY11" fmla="*/ 459 h 11229"/>
                <a:gd name="connsiteX0" fmla="*/ 0 w 10000"/>
                <a:gd name="connsiteY0" fmla="*/ 338 h 11108"/>
                <a:gd name="connsiteX1" fmla="*/ 1174 w 10000"/>
                <a:gd name="connsiteY1" fmla="*/ 3412 h 11108"/>
                <a:gd name="connsiteX2" fmla="*/ 3900 w 10000"/>
                <a:gd name="connsiteY2" fmla="*/ 5515 h 11108"/>
                <a:gd name="connsiteX3" fmla="*/ 4862 w 10000"/>
                <a:gd name="connsiteY3" fmla="*/ 10122 h 11108"/>
                <a:gd name="connsiteX4" fmla="*/ 8087 w 10000"/>
                <a:gd name="connsiteY4" fmla="*/ 9234 h 11108"/>
                <a:gd name="connsiteX5" fmla="*/ 9605 w 10000"/>
                <a:gd name="connsiteY5" fmla="*/ 11108 h 11108"/>
                <a:gd name="connsiteX6" fmla="*/ 10000 w 10000"/>
                <a:gd name="connsiteY6" fmla="*/ 8247 h 11108"/>
                <a:gd name="connsiteX7" fmla="*/ 7737 w 10000"/>
                <a:gd name="connsiteY7" fmla="*/ 3576 h 11108"/>
                <a:gd name="connsiteX8" fmla="*/ 5893 w 10000"/>
                <a:gd name="connsiteY8" fmla="*/ 2954 h 11108"/>
                <a:gd name="connsiteX9" fmla="*/ 3506 w 10000"/>
                <a:gd name="connsiteY9" fmla="*/ 2211 h 11108"/>
                <a:gd name="connsiteX10" fmla="*/ 1932 w 10000"/>
                <a:gd name="connsiteY10" fmla="*/ 0 h 11108"/>
                <a:gd name="connsiteX11" fmla="*/ 0 w 10000"/>
                <a:gd name="connsiteY11" fmla="*/ 338 h 11108"/>
                <a:gd name="connsiteX0" fmla="*/ 0 w 10000"/>
                <a:gd name="connsiteY0" fmla="*/ 338 h 11108"/>
                <a:gd name="connsiteX1" fmla="*/ 1312 w 10000"/>
                <a:gd name="connsiteY1" fmla="*/ 4641 h 11108"/>
                <a:gd name="connsiteX2" fmla="*/ 3900 w 10000"/>
                <a:gd name="connsiteY2" fmla="*/ 5515 h 11108"/>
                <a:gd name="connsiteX3" fmla="*/ 4862 w 10000"/>
                <a:gd name="connsiteY3" fmla="*/ 10122 h 11108"/>
                <a:gd name="connsiteX4" fmla="*/ 8087 w 10000"/>
                <a:gd name="connsiteY4" fmla="*/ 9234 h 11108"/>
                <a:gd name="connsiteX5" fmla="*/ 9605 w 10000"/>
                <a:gd name="connsiteY5" fmla="*/ 11108 h 11108"/>
                <a:gd name="connsiteX6" fmla="*/ 10000 w 10000"/>
                <a:gd name="connsiteY6" fmla="*/ 8247 h 11108"/>
                <a:gd name="connsiteX7" fmla="*/ 7737 w 10000"/>
                <a:gd name="connsiteY7" fmla="*/ 3576 h 11108"/>
                <a:gd name="connsiteX8" fmla="*/ 5893 w 10000"/>
                <a:gd name="connsiteY8" fmla="*/ 2954 h 11108"/>
                <a:gd name="connsiteX9" fmla="*/ 3506 w 10000"/>
                <a:gd name="connsiteY9" fmla="*/ 2211 h 11108"/>
                <a:gd name="connsiteX10" fmla="*/ 1932 w 10000"/>
                <a:gd name="connsiteY10" fmla="*/ 0 h 11108"/>
                <a:gd name="connsiteX11" fmla="*/ 0 w 10000"/>
                <a:gd name="connsiteY11" fmla="*/ 338 h 111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00" h="11108">
                  <a:moveTo>
                    <a:pt x="0" y="338"/>
                  </a:moveTo>
                  <a:lnTo>
                    <a:pt x="1312" y="4641"/>
                  </a:lnTo>
                  <a:lnTo>
                    <a:pt x="3900" y="5515"/>
                  </a:lnTo>
                  <a:lnTo>
                    <a:pt x="4862" y="10122"/>
                  </a:lnTo>
                  <a:lnTo>
                    <a:pt x="8087" y="9234"/>
                  </a:lnTo>
                  <a:cubicBezTo>
                    <a:pt x="8415" y="10013"/>
                    <a:pt x="8324" y="11068"/>
                    <a:pt x="9605" y="11108"/>
                  </a:cubicBezTo>
                  <a:cubicBezTo>
                    <a:pt x="9737" y="10154"/>
                    <a:pt x="9868" y="9201"/>
                    <a:pt x="10000" y="8247"/>
                  </a:cubicBezTo>
                  <a:lnTo>
                    <a:pt x="7737" y="3576"/>
                  </a:lnTo>
                  <a:cubicBezTo>
                    <a:pt x="7581" y="1936"/>
                    <a:pt x="6050" y="4598"/>
                    <a:pt x="5893" y="2954"/>
                  </a:cubicBezTo>
                  <a:cubicBezTo>
                    <a:pt x="5924" y="2094"/>
                    <a:pt x="3476" y="3071"/>
                    <a:pt x="3506" y="2211"/>
                  </a:cubicBezTo>
                  <a:lnTo>
                    <a:pt x="1932" y="0"/>
                  </a:lnTo>
                  <a:lnTo>
                    <a:pt x="0" y="338"/>
                  </a:ln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266" name="AZ"/>
            <p:cNvSpPr>
              <a:spLocks/>
            </p:cNvSpPr>
            <p:nvPr/>
          </p:nvSpPr>
          <p:spPr bwMode="auto">
            <a:xfrm>
              <a:off x="5402962" y="3286340"/>
              <a:ext cx="84012" cy="97396"/>
            </a:xfrm>
            <a:custGeom>
              <a:avLst/>
              <a:gdLst>
                <a:gd name="T0" fmla="*/ 22159047 w 10000"/>
                <a:gd name="T1" fmla="*/ 1471825 h 10000"/>
                <a:gd name="T2" fmla="*/ 5539588 w 10000"/>
                <a:gd name="T3" fmla="*/ 1471825 h 10000"/>
                <a:gd name="T4" fmla="*/ 0 w 10000"/>
                <a:gd name="T5" fmla="*/ 0 h 10000"/>
                <a:gd name="T6" fmla="*/ 0 w 10000"/>
                <a:gd name="T7" fmla="*/ 2940641 h 10000"/>
                <a:gd name="T8" fmla="*/ 2772971 w 10000"/>
                <a:gd name="T9" fmla="*/ 7356103 h 10000"/>
                <a:gd name="T10" fmla="*/ 4138115 w 10000"/>
                <a:gd name="T11" fmla="*/ 12109724 h 10000"/>
                <a:gd name="T12" fmla="*/ 2772971 w 10000"/>
                <a:gd name="T13" fmla="*/ 14954558 h 10000"/>
                <a:gd name="T14" fmla="*/ 5539588 w 10000"/>
                <a:gd name="T15" fmla="*/ 17897996 h 10000"/>
                <a:gd name="T16" fmla="*/ 9738697 w 10000"/>
                <a:gd name="T17" fmla="*/ 21659295 h 10000"/>
                <a:gd name="T18" fmla="*/ 25047652 w 10000"/>
                <a:gd name="T19" fmla="*/ 18924256 h 10000"/>
                <a:gd name="T20" fmla="*/ 27107390 w 10000"/>
                <a:gd name="T21" fmla="*/ 19930961 h 10000"/>
                <a:gd name="T22" fmla="*/ 30532582 w 10000"/>
                <a:gd name="T23" fmla="*/ 19950516 h 10000"/>
                <a:gd name="T24" fmla="*/ 30471606 w 10000"/>
                <a:gd name="T25" fmla="*/ 20838638 h 10000"/>
                <a:gd name="T26" fmla="*/ 27698635 w 10000"/>
                <a:gd name="T27" fmla="*/ 22310463 h 10000"/>
                <a:gd name="T28" fmla="*/ 30471606 w 10000"/>
                <a:gd name="T29" fmla="*/ 28194755 h 10000"/>
                <a:gd name="T30" fmla="*/ 41551111 w 10000"/>
                <a:gd name="T31" fmla="*/ 23782288 h 10000"/>
                <a:gd name="T32" fmla="*/ 52630635 w 10000"/>
                <a:gd name="T33" fmla="*/ 23782288 h 10000"/>
                <a:gd name="T34" fmla="*/ 58170241 w 10000"/>
                <a:gd name="T35" fmla="*/ 19369822 h 10000"/>
                <a:gd name="T36" fmla="*/ 60943194 w 10000"/>
                <a:gd name="T37" fmla="*/ 19369822 h 10000"/>
                <a:gd name="T38" fmla="*/ 44324082 w 10000"/>
                <a:gd name="T39" fmla="*/ 16426171 h 10000"/>
                <a:gd name="T40" fmla="*/ 41551111 w 10000"/>
                <a:gd name="T41" fmla="*/ 8824933 h 10000"/>
                <a:gd name="T42" fmla="*/ 52630635 w 10000"/>
                <a:gd name="T43" fmla="*/ 2940641 h 10000"/>
                <a:gd name="T44" fmla="*/ 36011194 w 10000"/>
                <a:gd name="T45" fmla="*/ 0 h 10000"/>
                <a:gd name="T46" fmla="*/ 22159047 w 10000"/>
                <a:gd name="T47" fmla="*/ 1471825 h 10000"/>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connsiteX0" fmla="*/ 3636 w 10000"/>
                <a:gd name="connsiteY0" fmla="*/ 522 h 10000"/>
                <a:gd name="connsiteX1" fmla="*/ 909 w 10000"/>
                <a:gd name="connsiteY1" fmla="*/ 522 h 10000"/>
                <a:gd name="connsiteX2" fmla="*/ 0 w 10000"/>
                <a:gd name="connsiteY2" fmla="*/ 0 h 10000"/>
                <a:gd name="connsiteX3" fmla="*/ 0 w 10000"/>
                <a:gd name="connsiteY3" fmla="*/ 1043 h 10000"/>
                <a:gd name="connsiteX4" fmla="*/ 455 w 10000"/>
                <a:gd name="connsiteY4" fmla="*/ 2609 h 10000"/>
                <a:gd name="connsiteX5" fmla="*/ 679 w 10000"/>
                <a:gd name="connsiteY5" fmla="*/ 4295 h 10000"/>
                <a:gd name="connsiteX6" fmla="*/ 455 w 10000"/>
                <a:gd name="connsiteY6" fmla="*/ 5304 h 10000"/>
                <a:gd name="connsiteX7" fmla="*/ 909 w 10000"/>
                <a:gd name="connsiteY7" fmla="*/ 6348 h 10000"/>
                <a:gd name="connsiteX8" fmla="*/ 1598 w 10000"/>
                <a:gd name="connsiteY8" fmla="*/ 7682 h 10000"/>
                <a:gd name="connsiteX9" fmla="*/ 4110 w 10000"/>
                <a:gd name="connsiteY9" fmla="*/ 6712 h 10000"/>
                <a:gd name="connsiteX10" fmla="*/ 4448 w 10000"/>
                <a:gd name="connsiteY10" fmla="*/ 7069 h 10000"/>
                <a:gd name="connsiteX11" fmla="*/ 5010 w 10000"/>
                <a:gd name="connsiteY11" fmla="*/ 7076 h 10000"/>
                <a:gd name="connsiteX12" fmla="*/ 5000 w 10000"/>
                <a:gd name="connsiteY12" fmla="*/ 7391 h 10000"/>
                <a:gd name="connsiteX13" fmla="*/ 4545 w 10000"/>
                <a:gd name="connsiteY13" fmla="*/ 7913 h 10000"/>
                <a:gd name="connsiteX14" fmla="*/ 5000 w 10000"/>
                <a:gd name="connsiteY14" fmla="*/ 10000 h 10000"/>
                <a:gd name="connsiteX15" fmla="*/ 8151 w 10000"/>
                <a:gd name="connsiteY15" fmla="*/ 8940 h 10000"/>
                <a:gd name="connsiteX16" fmla="*/ 8636 w 10000"/>
                <a:gd name="connsiteY16" fmla="*/ 8435 h 10000"/>
                <a:gd name="connsiteX17" fmla="*/ 9545 w 10000"/>
                <a:gd name="connsiteY17" fmla="*/ 6870 h 10000"/>
                <a:gd name="connsiteX18" fmla="*/ 10000 w 10000"/>
                <a:gd name="connsiteY18" fmla="*/ 6870 h 10000"/>
                <a:gd name="connsiteX19" fmla="*/ 7273 w 10000"/>
                <a:gd name="connsiteY19" fmla="*/ 5826 h 10000"/>
                <a:gd name="connsiteX20" fmla="*/ 6818 w 10000"/>
                <a:gd name="connsiteY20" fmla="*/ 3130 h 10000"/>
                <a:gd name="connsiteX21" fmla="*/ 8636 w 10000"/>
                <a:gd name="connsiteY21" fmla="*/ 1043 h 10000"/>
                <a:gd name="connsiteX22" fmla="*/ 5909 w 10000"/>
                <a:gd name="connsiteY22" fmla="*/ 0 h 10000"/>
                <a:gd name="connsiteX23" fmla="*/ 3636 w 10000"/>
                <a:gd name="connsiteY23" fmla="*/ 522 h 10000"/>
                <a:gd name="connsiteX0" fmla="*/ 3636 w 10000"/>
                <a:gd name="connsiteY0" fmla="*/ 522 h 10000"/>
                <a:gd name="connsiteX1" fmla="*/ 909 w 10000"/>
                <a:gd name="connsiteY1" fmla="*/ 522 h 10000"/>
                <a:gd name="connsiteX2" fmla="*/ 0 w 10000"/>
                <a:gd name="connsiteY2" fmla="*/ 0 h 10000"/>
                <a:gd name="connsiteX3" fmla="*/ 0 w 10000"/>
                <a:gd name="connsiteY3" fmla="*/ 1043 h 10000"/>
                <a:gd name="connsiteX4" fmla="*/ 455 w 10000"/>
                <a:gd name="connsiteY4" fmla="*/ 2609 h 10000"/>
                <a:gd name="connsiteX5" fmla="*/ 679 w 10000"/>
                <a:gd name="connsiteY5" fmla="*/ 4295 h 10000"/>
                <a:gd name="connsiteX6" fmla="*/ 455 w 10000"/>
                <a:gd name="connsiteY6" fmla="*/ 5304 h 10000"/>
                <a:gd name="connsiteX7" fmla="*/ 909 w 10000"/>
                <a:gd name="connsiteY7" fmla="*/ 6348 h 10000"/>
                <a:gd name="connsiteX8" fmla="*/ 1598 w 10000"/>
                <a:gd name="connsiteY8" fmla="*/ 7682 h 10000"/>
                <a:gd name="connsiteX9" fmla="*/ 4110 w 10000"/>
                <a:gd name="connsiteY9" fmla="*/ 6712 h 10000"/>
                <a:gd name="connsiteX10" fmla="*/ 4448 w 10000"/>
                <a:gd name="connsiteY10" fmla="*/ 7069 h 10000"/>
                <a:gd name="connsiteX11" fmla="*/ 5010 w 10000"/>
                <a:gd name="connsiteY11" fmla="*/ 7076 h 10000"/>
                <a:gd name="connsiteX12" fmla="*/ 5000 w 10000"/>
                <a:gd name="connsiteY12" fmla="*/ 7391 h 10000"/>
                <a:gd name="connsiteX13" fmla="*/ 4545 w 10000"/>
                <a:gd name="connsiteY13" fmla="*/ 7913 h 10000"/>
                <a:gd name="connsiteX14" fmla="*/ 7417 w 10000"/>
                <a:gd name="connsiteY14" fmla="*/ 6551 h 10000"/>
                <a:gd name="connsiteX15" fmla="*/ 5000 w 10000"/>
                <a:gd name="connsiteY15" fmla="*/ 10000 h 10000"/>
                <a:gd name="connsiteX16" fmla="*/ 8151 w 10000"/>
                <a:gd name="connsiteY16" fmla="*/ 8940 h 10000"/>
                <a:gd name="connsiteX17" fmla="*/ 8636 w 10000"/>
                <a:gd name="connsiteY17" fmla="*/ 8435 h 10000"/>
                <a:gd name="connsiteX18" fmla="*/ 9545 w 10000"/>
                <a:gd name="connsiteY18" fmla="*/ 6870 h 10000"/>
                <a:gd name="connsiteX19" fmla="*/ 10000 w 10000"/>
                <a:gd name="connsiteY19" fmla="*/ 6870 h 10000"/>
                <a:gd name="connsiteX20" fmla="*/ 7273 w 10000"/>
                <a:gd name="connsiteY20" fmla="*/ 5826 h 10000"/>
                <a:gd name="connsiteX21" fmla="*/ 6818 w 10000"/>
                <a:gd name="connsiteY21" fmla="*/ 3130 h 10000"/>
                <a:gd name="connsiteX22" fmla="*/ 8636 w 10000"/>
                <a:gd name="connsiteY22" fmla="*/ 1043 h 10000"/>
                <a:gd name="connsiteX23" fmla="*/ 5909 w 10000"/>
                <a:gd name="connsiteY23" fmla="*/ 0 h 10000"/>
                <a:gd name="connsiteX24" fmla="*/ 3636 w 10000"/>
                <a:gd name="connsiteY24" fmla="*/ 522 h 10000"/>
                <a:gd name="connsiteX0" fmla="*/ 3636 w 10000"/>
                <a:gd name="connsiteY0" fmla="*/ 522 h 8940"/>
                <a:gd name="connsiteX1" fmla="*/ 909 w 10000"/>
                <a:gd name="connsiteY1" fmla="*/ 522 h 8940"/>
                <a:gd name="connsiteX2" fmla="*/ 0 w 10000"/>
                <a:gd name="connsiteY2" fmla="*/ 0 h 8940"/>
                <a:gd name="connsiteX3" fmla="*/ 0 w 10000"/>
                <a:gd name="connsiteY3" fmla="*/ 1043 h 8940"/>
                <a:gd name="connsiteX4" fmla="*/ 455 w 10000"/>
                <a:gd name="connsiteY4" fmla="*/ 2609 h 8940"/>
                <a:gd name="connsiteX5" fmla="*/ 679 w 10000"/>
                <a:gd name="connsiteY5" fmla="*/ 4295 h 8940"/>
                <a:gd name="connsiteX6" fmla="*/ 455 w 10000"/>
                <a:gd name="connsiteY6" fmla="*/ 5304 h 8940"/>
                <a:gd name="connsiteX7" fmla="*/ 909 w 10000"/>
                <a:gd name="connsiteY7" fmla="*/ 6348 h 8940"/>
                <a:gd name="connsiteX8" fmla="*/ 1598 w 10000"/>
                <a:gd name="connsiteY8" fmla="*/ 7682 h 8940"/>
                <a:gd name="connsiteX9" fmla="*/ 4110 w 10000"/>
                <a:gd name="connsiteY9" fmla="*/ 6712 h 8940"/>
                <a:gd name="connsiteX10" fmla="*/ 4448 w 10000"/>
                <a:gd name="connsiteY10" fmla="*/ 7069 h 8940"/>
                <a:gd name="connsiteX11" fmla="*/ 5010 w 10000"/>
                <a:gd name="connsiteY11" fmla="*/ 7076 h 8940"/>
                <a:gd name="connsiteX12" fmla="*/ 5000 w 10000"/>
                <a:gd name="connsiteY12" fmla="*/ 7391 h 8940"/>
                <a:gd name="connsiteX13" fmla="*/ 4545 w 10000"/>
                <a:gd name="connsiteY13" fmla="*/ 7913 h 8940"/>
                <a:gd name="connsiteX14" fmla="*/ 7417 w 10000"/>
                <a:gd name="connsiteY14" fmla="*/ 6551 h 8940"/>
                <a:gd name="connsiteX15" fmla="*/ 6733 w 10000"/>
                <a:gd name="connsiteY15" fmla="*/ 8318 h 8940"/>
                <a:gd name="connsiteX16" fmla="*/ 8151 w 10000"/>
                <a:gd name="connsiteY16" fmla="*/ 8940 h 8940"/>
                <a:gd name="connsiteX17" fmla="*/ 8636 w 10000"/>
                <a:gd name="connsiteY17" fmla="*/ 8435 h 8940"/>
                <a:gd name="connsiteX18" fmla="*/ 9545 w 10000"/>
                <a:gd name="connsiteY18" fmla="*/ 6870 h 8940"/>
                <a:gd name="connsiteX19" fmla="*/ 10000 w 10000"/>
                <a:gd name="connsiteY19" fmla="*/ 6870 h 8940"/>
                <a:gd name="connsiteX20" fmla="*/ 7273 w 10000"/>
                <a:gd name="connsiteY20" fmla="*/ 5826 h 8940"/>
                <a:gd name="connsiteX21" fmla="*/ 6818 w 10000"/>
                <a:gd name="connsiteY21" fmla="*/ 3130 h 8940"/>
                <a:gd name="connsiteX22" fmla="*/ 8636 w 10000"/>
                <a:gd name="connsiteY22" fmla="*/ 1043 h 8940"/>
                <a:gd name="connsiteX23" fmla="*/ 5909 w 10000"/>
                <a:gd name="connsiteY23" fmla="*/ 0 h 8940"/>
                <a:gd name="connsiteX24" fmla="*/ 3636 w 10000"/>
                <a:gd name="connsiteY24" fmla="*/ 522 h 8940"/>
                <a:gd name="connsiteX0" fmla="*/ 3636 w 10000"/>
                <a:gd name="connsiteY0" fmla="*/ 584 h 10000"/>
                <a:gd name="connsiteX1" fmla="*/ 909 w 10000"/>
                <a:gd name="connsiteY1" fmla="*/ 584 h 10000"/>
                <a:gd name="connsiteX2" fmla="*/ 0 w 10000"/>
                <a:gd name="connsiteY2" fmla="*/ 0 h 10000"/>
                <a:gd name="connsiteX3" fmla="*/ 0 w 10000"/>
                <a:gd name="connsiteY3" fmla="*/ 1167 h 10000"/>
                <a:gd name="connsiteX4" fmla="*/ 455 w 10000"/>
                <a:gd name="connsiteY4" fmla="*/ 2918 h 10000"/>
                <a:gd name="connsiteX5" fmla="*/ 679 w 10000"/>
                <a:gd name="connsiteY5" fmla="*/ 4804 h 10000"/>
                <a:gd name="connsiteX6" fmla="*/ 455 w 10000"/>
                <a:gd name="connsiteY6" fmla="*/ 5933 h 10000"/>
                <a:gd name="connsiteX7" fmla="*/ 909 w 10000"/>
                <a:gd name="connsiteY7" fmla="*/ 7101 h 10000"/>
                <a:gd name="connsiteX8" fmla="*/ 1598 w 10000"/>
                <a:gd name="connsiteY8" fmla="*/ 8593 h 10000"/>
                <a:gd name="connsiteX9" fmla="*/ 4110 w 10000"/>
                <a:gd name="connsiteY9" fmla="*/ 7508 h 10000"/>
                <a:gd name="connsiteX10" fmla="*/ 4448 w 10000"/>
                <a:gd name="connsiteY10" fmla="*/ 7907 h 10000"/>
                <a:gd name="connsiteX11" fmla="*/ 5010 w 10000"/>
                <a:gd name="connsiteY11" fmla="*/ 7915 h 10000"/>
                <a:gd name="connsiteX12" fmla="*/ 5000 w 10000"/>
                <a:gd name="connsiteY12" fmla="*/ 8267 h 10000"/>
                <a:gd name="connsiteX13" fmla="*/ 4545 w 10000"/>
                <a:gd name="connsiteY13" fmla="*/ 8851 h 10000"/>
                <a:gd name="connsiteX14" fmla="*/ 7417 w 10000"/>
                <a:gd name="connsiteY14" fmla="*/ 7328 h 10000"/>
                <a:gd name="connsiteX15" fmla="*/ 6733 w 10000"/>
                <a:gd name="connsiteY15" fmla="*/ 9304 h 10000"/>
                <a:gd name="connsiteX16" fmla="*/ 8151 w 10000"/>
                <a:gd name="connsiteY16" fmla="*/ 10000 h 10000"/>
                <a:gd name="connsiteX17" fmla="*/ 8636 w 10000"/>
                <a:gd name="connsiteY17" fmla="*/ 9435 h 10000"/>
                <a:gd name="connsiteX18" fmla="*/ 9545 w 10000"/>
                <a:gd name="connsiteY18" fmla="*/ 7685 h 10000"/>
                <a:gd name="connsiteX19" fmla="*/ 10000 w 10000"/>
                <a:gd name="connsiteY19" fmla="*/ 7685 h 10000"/>
                <a:gd name="connsiteX20" fmla="*/ 9539 w 10000"/>
                <a:gd name="connsiteY20" fmla="*/ 4448 h 10000"/>
                <a:gd name="connsiteX21" fmla="*/ 6818 w 10000"/>
                <a:gd name="connsiteY21" fmla="*/ 3501 h 10000"/>
                <a:gd name="connsiteX22" fmla="*/ 8636 w 10000"/>
                <a:gd name="connsiteY22" fmla="*/ 1167 h 10000"/>
                <a:gd name="connsiteX23" fmla="*/ 5909 w 10000"/>
                <a:gd name="connsiteY23" fmla="*/ 0 h 10000"/>
                <a:gd name="connsiteX24" fmla="*/ 3636 w 10000"/>
                <a:gd name="connsiteY24" fmla="*/ 584 h 10000"/>
                <a:gd name="connsiteX0" fmla="*/ 3636 w 10000"/>
                <a:gd name="connsiteY0" fmla="*/ 584 h 10000"/>
                <a:gd name="connsiteX1" fmla="*/ 909 w 10000"/>
                <a:gd name="connsiteY1" fmla="*/ 584 h 10000"/>
                <a:gd name="connsiteX2" fmla="*/ 0 w 10000"/>
                <a:gd name="connsiteY2" fmla="*/ 0 h 10000"/>
                <a:gd name="connsiteX3" fmla="*/ 0 w 10000"/>
                <a:gd name="connsiteY3" fmla="*/ 1167 h 10000"/>
                <a:gd name="connsiteX4" fmla="*/ 455 w 10000"/>
                <a:gd name="connsiteY4" fmla="*/ 2918 h 10000"/>
                <a:gd name="connsiteX5" fmla="*/ 679 w 10000"/>
                <a:gd name="connsiteY5" fmla="*/ 4804 h 10000"/>
                <a:gd name="connsiteX6" fmla="*/ 455 w 10000"/>
                <a:gd name="connsiteY6" fmla="*/ 5933 h 10000"/>
                <a:gd name="connsiteX7" fmla="*/ 909 w 10000"/>
                <a:gd name="connsiteY7" fmla="*/ 7101 h 10000"/>
                <a:gd name="connsiteX8" fmla="*/ 1598 w 10000"/>
                <a:gd name="connsiteY8" fmla="*/ 8593 h 10000"/>
                <a:gd name="connsiteX9" fmla="*/ 4110 w 10000"/>
                <a:gd name="connsiteY9" fmla="*/ 7508 h 10000"/>
                <a:gd name="connsiteX10" fmla="*/ 4448 w 10000"/>
                <a:gd name="connsiteY10" fmla="*/ 7907 h 10000"/>
                <a:gd name="connsiteX11" fmla="*/ 5010 w 10000"/>
                <a:gd name="connsiteY11" fmla="*/ 7915 h 10000"/>
                <a:gd name="connsiteX12" fmla="*/ 5000 w 10000"/>
                <a:gd name="connsiteY12" fmla="*/ 8267 h 10000"/>
                <a:gd name="connsiteX13" fmla="*/ 4545 w 10000"/>
                <a:gd name="connsiteY13" fmla="*/ 8851 h 10000"/>
                <a:gd name="connsiteX14" fmla="*/ 7417 w 10000"/>
                <a:gd name="connsiteY14" fmla="*/ 7328 h 10000"/>
                <a:gd name="connsiteX15" fmla="*/ 6733 w 10000"/>
                <a:gd name="connsiteY15" fmla="*/ 9304 h 10000"/>
                <a:gd name="connsiteX16" fmla="*/ 8151 w 10000"/>
                <a:gd name="connsiteY16" fmla="*/ 10000 h 10000"/>
                <a:gd name="connsiteX17" fmla="*/ 8636 w 10000"/>
                <a:gd name="connsiteY17" fmla="*/ 9435 h 10000"/>
                <a:gd name="connsiteX18" fmla="*/ 9545 w 10000"/>
                <a:gd name="connsiteY18" fmla="*/ 7685 h 10000"/>
                <a:gd name="connsiteX19" fmla="*/ 10000 w 10000"/>
                <a:gd name="connsiteY19" fmla="*/ 7685 h 10000"/>
                <a:gd name="connsiteX20" fmla="*/ 9539 w 10000"/>
                <a:gd name="connsiteY20" fmla="*/ 4448 h 10000"/>
                <a:gd name="connsiteX21" fmla="*/ 8551 w 10000"/>
                <a:gd name="connsiteY21" fmla="*/ 2749 h 10000"/>
                <a:gd name="connsiteX22" fmla="*/ 8636 w 10000"/>
                <a:gd name="connsiteY22" fmla="*/ 1167 h 10000"/>
                <a:gd name="connsiteX23" fmla="*/ 5909 w 10000"/>
                <a:gd name="connsiteY23" fmla="*/ 0 h 10000"/>
                <a:gd name="connsiteX24" fmla="*/ 3636 w 10000"/>
                <a:gd name="connsiteY24" fmla="*/ 584 h 10000"/>
                <a:gd name="connsiteX0" fmla="*/ 3636 w 10000"/>
                <a:gd name="connsiteY0" fmla="*/ 584 h 10000"/>
                <a:gd name="connsiteX1" fmla="*/ 909 w 10000"/>
                <a:gd name="connsiteY1" fmla="*/ 584 h 10000"/>
                <a:gd name="connsiteX2" fmla="*/ 0 w 10000"/>
                <a:gd name="connsiteY2" fmla="*/ 0 h 10000"/>
                <a:gd name="connsiteX3" fmla="*/ 0 w 10000"/>
                <a:gd name="connsiteY3" fmla="*/ 1167 h 10000"/>
                <a:gd name="connsiteX4" fmla="*/ 455 w 10000"/>
                <a:gd name="connsiteY4" fmla="*/ 2918 h 10000"/>
                <a:gd name="connsiteX5" fmla="*/ 679 w 10000"/>
                <a:gd name="connsiteY5" fmla="*/ 4804 h 10000"/>
                <a:gd name="connsiteX6" fmla="*/ 455 w 10000"/>
                <a:gd name="connsiteY6" fmla="*/ 5933 h 10000"/>
                <a:gd name="connsiteX7" fmla="*/ 909 w 10000"/>
                <a:gd name="connsiteY7" fmla="*/ 7101 h 10000"/>
                <a:gd name="connsiteX8" fmla="*/ 1598 w 10000"/>
                <a:gd name="connsiteY8" fmla="*/ 8593 h 10000"/>
                <a:gd name="connsiteX9" fmla="*/ 4110 w 10000"/>
                <a:gd name="connsiteY9" fmla="*/ 7508 h 10000"/>
                <a:gd name="connsiteX10" fmla="*/ 4448 w 10000"/>
                <a:gd name="connsiteY10" fmla="*/ 7907 h 10000"/>
                <a:gd name="connsiteX11" fmla="*/ 5010 w 10000"/>
                <a:gd name="connsiteY11" fmla="*/ 7915 h 10000"/>
                <a:gd name="connsiteX12" fmla="*/ 5000 w 10000"/>
                <a:gd name="connsiteY12" fmla="*/ 8267 h 10000"/>
                <a:gd name="connsiteX13" fmla="*/ 4545 w 10000"/>
                <a:gd name="connsiteY13" fmla="*/ 8851 h 10000"/>
                <a:gd name="connsiteX14" fmla="*/ 7417 w 10000"/>
                <a:gd name="connsiteY14" fmla="*/ 7328 h 10000"/>
                <a:gd name="connsiteX15" fmla="*/ 6733 w 10000"/>
                <a:gd name="connsiteY15" fmla="*/ 9304 h 10000"/>
                <a:gd name="connsiteX16" fmla="*/ 8151 w 10000"/>
                <a:gd name="connsiteY16" fmla="*/ 10000 h 10000"/>
                <a:gd name="connsiteX17" fmla="*/ 8636 w 10000"/>
                <a:gd name="connsiteY17" fmla="*/ 9435 h 10000"/>
                <a:gd name="connsiteX18" fmla="*/ 9545 w 10000"/>
                <a:gd name="connsiteY18" fmla="*/ 7685 h 10000"/>
                <a:gd name="connsiteX19" fmla="*/ 10000 w 10000"/>
                <a:gd name="connsiteY19" fmla="*/ 7685 h 10000"/>
                <a:gd name="connsiteX20" fmla="*/ 9539 w 10000"/>
                <a:gd name="connsiteY20" fmla="*/ 4448 h 10000"/>
                <a:gd name="connsiteX21" fmla="*/ 8551 w 10000"/>
                <a:gd name="connsiteY21" fmla="*/ 2749 h 10000"/>
                <a:gd name="connsiteX22" fmla="*/ 7169 w 10000"/>
                <a:gd name="connsiteY22" fmla="*/ 3612 h 10000"/>
                <a:gd name="connsiteX23" fmla="*/ 5909 w 10000"/>
                <a:gd name="connsiteY23" fmla="*/ 0 h 10000"/>
                <a:gd name="connsiteX24" fmla="*/ 3636 w 10000"/>
                <a:gd name="connsiteY24" fmla="*/ 584 h 10000"/>
                <a:gd name="connsiteX0" fmla="*/ 3636 w 10000"/>
                <a:gd name="connsiteY0" fmla="*/ 584 h 10000"/>
                <a:gd name="connsiteX1" fmla="*/ 909 w 10000"/>
                <a:gd name="connsiteY1" fmla="*/ 584 h 10000"/>
                <a:gd name="connsiteX2" fmla="*/ 0 w 10000"/>
                <a:gd name="connsiteY2" fmla="*/ 0 h 10000"/>
                <a:gd name="connsiteX3" fmla="*/ 0 w 10000"/>
                <a:gd name="connsiteY3" fmla="*/ 1167 h 10000"/>
                <a:gd name="connsiteX4" fmla="*/ 455 w 10000"/>
                <a:gd name="connsiteY4" fmla="*/ 2918 h 10000"/>
                <a:gd name="connsiteX5" fmla="*/ 679 w 10000"/>
                <a:gd name="connsiteY5" fmla="*/ 4804 h 10000"/>
                <a:gd name="connsiteX6" fmla="*/ 455 w 10000"/>
                <a:gd name="connsiteY6" fmla="*/ 5933 h 10000"/>
                <a:gd name="connsiteX7" fmla="*/ 909 w 10000"/>
                <a:gd name="connsiteY7" fmla="*/ 7101 h 10000"/>
                <a:gd name="connsiteX8" fmla="*/ 1598 w 10000"/>
                <a:gd name="connsiteY8" fmla="*/ 8593 h 10000"/>
                <a:gd name="connsiteX9" fmla="*/ 4110 w 10000"/>
                <a:gd name="connsiteY9" fmla="*/ 7508 h 10000"/>
                <a:gd name="connsiteX10" fmla="*/ 4448 w 10000"/>
                <a:gd name="connsiteY10" fmla="*/ 7907 h 10000"/>
                <a:gd name="connsiteX11" fmla="*/ 5010 w 10000"/>
                <a:gd name="connsiteY11" fmla="*/ 7915 h 10000"/>
                <a:gd name="connsiteX12" fmla="*/ 5000 w 10000"/>
                <a:gd name="connsiteY12" fmla="*/ 8267 h 10000"/>
                <a:gd name="connsiteX13" fmla="*/ 4545 w 10000"/>
                <a:gd name="connsiteY13" fmla="*/ 8851 h 10000"/>
                <a:gd name="connsiteX14" fmla="*/ 7417 w 10000"/>
                <a:gd name="connsiteY14" fmla="*/ 7328 h 10000"/>
                <a:gd name="connsiteX15" fmla="*/ 6733 w 10000"/>
                <a:gd name="connsiteY15" fmla="*/ 9304 h 10000"/>
                <a:gd name="connsiteX16" fmla="*/ 8151 w 10000"/>
                <a:gd name="connsiteY16" fmla="*/ 10000 h 10000"/>
                <a:gd name="connsiteX17" fmla="*/ 8636 w 10000"/>
                <a:gd name="connsiteY17" fmla="*/ 9435 h 10000"/>
                <a:gd name="connsiteX18" fmla="*/ 9545 w 10000"/>
                <a:gd name="connsiteY18" fmla="*/ 7685 h 10000"/>
                <a:gd name="connsiteX19" fmla="*/ 10000 w 10000"/>
                <a:gd name="connsiteY19" fmla="*/ 7685 h 10000"/>
                <a:gd name="connsiteX20" fmla="*/ 9539 w 10000"/>
                <a:gd name="connsiteY20" fmla="*/ 4448 h 10000"/>
                <a:gd name="connsiteX21" fmla="*/ 8551 w 10000"/>
                <a:gd name="connsiteY21" fmla="*/ 2749 h 10000"/>
                <a:gd name="connsiteX22" fmla="*/ 7169 w 10000"/>
                <a:gd name="connsiteY22" fmla="*/ 3612 h 10000"/>
                <a:gd name="connsiteX23" fmla="*/ 5776 w 10000"/>
                <a:gd name="connsiteY23" fmla="*/ 2069 h 10000"/>
                <a:gd name="connsiteX24" fmla="*/ 3636 w 10000"/>
                <a:gd name="connsiteY24" fmla="*/ 584 h 10000"/>
                <a:gd name="connsiteX0" fmla="*/ 4969 w 10000"/>
                <a:gd name="connsiteY0" fmla="*/ 4346 h 10000"/>
                <a:gd name="connsiteX1" fmla="*/ 909 w 10000"/>
                <a:gd name="connsiteY1" fmla="*/ 584 h 10000"/>
                <a:gd name="connsiteX2" fmla="*/ 0 w 10000"/>
                <a:gd name="connsiteY2" fmla="*/ 0 h 10000"/>
                <a:gd name="connsiteX3" fmla="*/ 0 w 10000"/>
                <a:gd name="connsiteY3" fmla="*/ 1167 h 10000"/>
                <a:gd name="connsiteX4" fmla="*/ 455 w 10000"/>
                <a:gd name="connsiteY4" fmla="*/ 2918 h 10000"/>
                <a:gd name="connsiteX5" fmla="*/ 679 w 10000"/>
                <a:gd name="connsiteY5" fmla="*/ 4804 h 10000"/>
                <a:gd name="connsiteX6" fmla="*/ 455 w 10000"/>
                <a:gd name="connsiteY6" fmla="*/ 5933 h 10000"/>
                <a:gd name="connsiteX7" fmla="*/ 909 w 10000"/>
                <a:gd name="connsiteY7" fmla="*/ 7101 h 10000"/>
                <a:gd name="connsiteX8" fmla="*/ 1598 w 10000"/>
                <a:gd name="connsiteY8" fmla="*/ 8593 h 10000"/>
                <a:gd name="connsiteX9" fmla="*/ 4110 w 10000"/>
                <a:gd name="connsiteY9" fmla="*/ 7508 h 10000"/>
                <a:gd name="connsiteX10" fmla="*/ 4448 w 10000"/>
                <a:gd name="connsiteY10" fmla="*/ 7907 h 10000"/>
                <a:gd name="connsiteX11" fmla="*/ 5010 w 10000"/>
                <a:gd name="connsiteY11" fmla="*/ 7915 h 10000"/>
                <a:gd name="connsiteX12" fmla="*/ 5000 w 10000"/>
                <a:gd name="connsiteY12" fmla="*/ 8267 h 10000"/>
                <a:gd name="connsiteX13" fmla="*/ 4545 w 10000"/>
                <a:gd name="connsiteY13" fmla="*/ 8851 h 10000"/>
                <a:gd name="connsiteX14" fmla="*/ 7417 w 10000"/>
                <a:gd name="connsiteY14" fmla="*/ 7328 h 10000"/>
                <a:gd name="connsiteX15" fmla="*/ 6733 w 10000"/>
                <a:gd name="connsiteY15" fmla="*/ 9304 h 10000"/>
                <a:gd name="connsiteX16" fmla="*/ 8151 w 10000"/>
                <a:gd name="connsiteY16" fmla="*/ 10000 h 10000"/>
                <a:gd name="connsiteX17" fmla="*/ 8636 w 10000"/>
                <a:gd name="connsiteY17" fmla="*/ 9435 h 10000"/>
                <a:gd name="connsiteX18" fmla="*/ 9545 w 10000"/>
                <a:gd name="connsiteY18" fmla="*/ 7685 h 10000"/>
                <a:gd name="connsiteX19" fmla="*/ 10000 w 10000"/>
                <a:gd name="connsiteY19" fmla="*/ 7685 h 10000"/>
                <a:gd name="connsiteX20" fmla="*/ 9539 w 10000"/>
                <a:gd name="connsiteY20" fmla="*/ 4448 h 10000"/>
                <a:gd name="connsiteX21" fmla="*/ 8551 w 10000"/>
                <a:gd name="connsiteY21" fmla="*/ 2749 h 10000"/>
                <a:gd name="connsiteX22" fmla="*/ 7169 w 10000"/>
                <a:gd name="connsiteY22" fmla="*/ 3612 h 10000"/>
                <a:gd name="connsiteX23" fmla="*/ 5776 w 10000"/>
                <a:gd name="connsiteY23" fmla="*/ 2069 h 10000"/>
                <a:gd name="connsiteX24" fmla="*/ 4969 w 10000"/>
                <a:gd name="connsiteY24" fmla="*/ 4346 h 10000"/>
                <a:gd name="connsiteX0" fmla="*/ 4969 w 10000"/>
                <a:gd name="connsiteY0" fmla="*/ 4346 h 10000"/>
                <a:gd name="connsiteX1" fmla="*/ 3709 w 10000"/>
                <a:gd name="connsiteY1" fmla="*/ 4158 h 10000"/>
                <a:gd name="connsiteX2" fmla="*/ 0 w 10000"/>
                <a:gd name="connsiteY2" fmla="*/ 0 h 10000"/>
                <a:gd name="connsiteX3" fmla="*/ 0 w 10000"/>
                <a:gd name="connsiteY3" fmla="*/ 1167 h 10000"/>
                <a:gd name="connsiteX4" fmla="*/ 455 w 10000"/>
                <a:gd name="connsiteY4" fmla="*/ 2918 h 10000"/>
                <a:gd name="connsiteX5" fmla="*/ 679 w 10000"/>
                <a:gd name="connsiteY5" fmla="*/ 4804 h 10000"/>
                <a:gd name="connsiteX6" fmla="*/ 455 w 10000"/>
                <a:gd name="connsiteY6" fmla="*/ 5933 h 10000"/>
                <a:gd name="connsiteX7" fmla="*/ 909 w 10000"/>
                <a:gd name="connsiteY7" fmla="*/ 7101 h 10000"/>
                <a:gd name="connsiteX8" fmla="*/ 1598 w 10000"/>
                <a:gd name="connsiteY8" fmla="*/ 8593 h 10000"/>
                <a:gd name="connsiteX9" fmla="*/ 4110 w 10000"/>
                <a:gd name="connsiteY9" fmla="*/ 7508 h 10000"/>
                <a:gd name="connsiteX10" fmla="*/ 4448 w 10000"/>
                <a:gd name="connsiteY10" fmla="*/ 7907 h 10000"/>
                <a:gd name="connsiteX11" fmla="*/ 5010 w 10000"/>
                <a:gd name="connsiteY11" fmla="*/ 7915 h 10000"/>
                <a:gd name="connsiteX12" fmla="*/ 5000 w 10000"/>
                <a:gd name="connsiteY12" fmla="*/ 8267 h 10000"/>
                <a:gd name="connsiteX13" fmla="*/ 4545 w 10000"/>
                <a:gd name="connsiteY13" fmla="*/ 8851 h 10000"/>
                <a:gd name="connsiteX14" fmla="*/ 7417 w 10000"/>
                <a:gd name="connsiteY14" fmla="*/ 7328 h 10000"/>
                <a:gd name="connsiteX15" fmla="*/ 6733 w 10000"/>
                <a:gd name="connsiteY15" fmla="*/ 9304 h 10000"/>
                <a:gd name="connsiteX16" fmla="*/ 8151 w 10000"/>
                <a:gd name="connsiteY16" fmla="*/ 10000 h 10000"/>
                <a:gd name="connsiteX17" fmla="*/ 8636 w 10000"/>
                <a:gd name="connsiteY17" fmla="*/ 9435 h 10000"/>
                <a:gd name="connsiteX18" fmla="*/ 9545 w 10000"/>
                <a:gd name="connsiteY18" fmla="*/ 7685 h 10000"/>
                <a:gd name="connsiteX19" fmla="*/ 10000 w 10000"/>
                <a:gd name="connsiteY19" fmla="*/ 7685 h 10000"/>
                <a:gd name="connsiteX20" fmla="*/ 9539 w 10000"/>
                <a:gd name="connsiteY20" fmla="*/ 4448 h 10000"/>
                <a:gd name="connsiteX21" fmla="*/ 8551 w 10000"/>
                <a:gd name="connsiteY21" fmla="*/ 2749 h 10000"/>
                <a:gd name="connsiteX22" fmla="*/ 7169 w 10000"/>
                <a:gd name="connsiteY22" fmla="*/ 3612 h 10000"/>
                <a:gd name="connsiteX23" fmla="*/ 5776 w 10000"/>
                <a:gd name="connsiteY23" fmla="*/ 2069 h 10000"/>
                <a:gd name="connsiteX24" fmla="*/ 4969 w 10000"/>
                <a:gd name="connsiteY24" fmla="*/ 4346 h 10000"/>
                <a:gd name="connsiteX0" fmla="*/ 5769 w 10000"/>
                <a:gd name="connsiteY0" fmla="*/ 4722 h 10000"/>
                <a:gd name="connsiteX1" fmla="*/ 3709 w 10000"/>
                <a:gd name="connsiteY1" fmla="*/ 4158 h 10000"/>
                <a:gd name="connsiteX2" fmla="*/ 0 w 10000"/>
                <a:gd name="connsiteY2" fmla="*/ 0 h 10000"/>
                <a:gd name="connsiteX3" fmla="*/ 0 w 10000"/>
                <a:gd name="connsiteY3" fmla="*/ 1167 h 10000"/>
                <a:gd name="connsiteX4" fmla="*/ 455 w 10000"/>
                <a:gd name="connsiteY4" fmla="*/ 2918 h 10000"/>
                <a:gd name="connsiteX5" fmla="*/ 679 w 10000"/>
                <a:gd name="connsiteY5" fmla="*/ 4804 h 10000"/>
                <a:gd name="connsiteX6" fmla="*/ 455 w 10000"/>
                <a:gd name="connsiteY6" fmla="*/ 5933 h 10000"/>
                <a:gd name="connsiteX7" fmla="*/ 909 w 10000"/>
                <a:gd name="connsiteY7" fmla="*/ 7101 h 10000"/>
                <a:gd name="connsiteX8" fmla="*/ 1598 w 10000"/>
                <a:gd name="connsiteY8" fmla="*/ 8593 h 10000"/>
                <a:gd name="connsiteX9" fmla="*/ 4110 w 10000"/>
                <a:gd name="connsiteY9" fmla="*/ 7508 h 10000"/>
                <a:gd name="connsiteX10" fmla="*/ 4448 w 10000"/>
                <a:gd name="connsiteY10" fmla="*/ 7907 h 10000"/>
                <a:gd name="connsiteX11" fmla="*/ 5010 w 10000"/>
                <a:gd name="connsiteY11" fmla="*/ 7915 h 10000"/>
                <a:gd name="connsiteX12" fmla="*/ 5000 w 10000"/>
                <a:gd name="connsiteY12" fmla="*/ 8267 h 10000"/>
                <a:gd name="connsiteX13" fmla="*/ 4545 w 10000"/>
                <a:gd name="connsiteY13" fmla="*/ 8851 h 10000"/>
                <a:gd name="connsiteX14" fmla="*/ 7417 w 10000"/>
                <a:gd name="connsiteY14" fmla="*/ 7328 h 10000"/>
                <a:gd name="connsiteX15" fmla="*/ 6733 w 10000"/>
                <a:gd name="connsiteY15" fmla="*/ 9304 h 10000"/>
                <a:gd name="connsiteX16" fmla="*/ 8151 w 10000"/>
                <a:gd name="connsiteY16" fmla="*/ 10000 h 10000"/>
                <a:gd name="connsiteX17" fmla="*/ 8636 w 10000"/>
                <a:gd name="connsiteY17" fmla="*/ 9435 h 10000"/>
                <a:gd name="connsiteX18" fmla="*/ 9545 w 10000"/>
                <a:gd name="connsiteY18" fmla="*/ 7685 h 10000"/>
                <a:gd name="connsiteX19" fmla="*/ 10000 w 10000"/>
                <a:gd name="connsiteY19" fmla="*/ 7685 h 10000"/>
                <a:gd name="connsiteX20" fmla="*/ 9539 w 10000"/>
                <a:gd name="connsiteY20" fmla="*/ 4448 h 10000"/>
                <a:gd name="connsiteX21" fmla="*/ 8551 w 10000"/>
                <a:gd name="connsiteY21" fmla="*/ 2749 h 10000"/>
                <a:gd name="connsiteX22" fmla="*/ 7169 w 10000"/>
                <a:gd name="connsiteY22" fmla="*/ 3612 h 10000"/>
                <a:gd name="connsiteX23" fmla="*/ 5776 w 10000"/>
                <a:gd name="connsiteY23" fmla="*/ 2069 h 10000"/>
                <a:gd name="connsiteX24" fmla="*/ 5769 w 10000"/>
                <a:gd name="connsiteY24" fmla="*/ 4722 h 10000"/>
                <a:gd name="connsiteX0" fmla="*/ 6302 w 10000"/>
                <a:gd name="connsiteY0" fmla="*/ 4534 h 10000"/>
                <a:gd name="connsiteX1" fmla="*/ 3709 w 10000"/>
                <a:gd name="connsiteY1" fmla="*/ 4158 h 10000"/>
                <a:gd name="connsiteX2" fmla="*/ 0 w 10000"/>
                <a:gd name="connsiteY2" fmla="*/ 0 h 10000"/>
                <a:gd name="connsiteX3" fmla="*/ 0 w 10000"/>
                <a:gd name="connsiteY3" fmla="*/ 1167 h 10000"/>
                <a:gd name="connsiteX4" fmla="*/ 455 w 10000"/>
                <a:gd name="connsiteY4" fmla="*/ 2918 h 10000"/>
                <a:gd name="connsiteX5" fmla="*/ 679 w 10000"/>
                <a:gd name="connsiteY5" fmla="*/ 4804 h 10000"/>
                <a:gd name="connsiteX6" fmla="*/ 455 w 10000"/>
                <a:gd name="connsiteY6" fmla="*/ 5933 h 10000"/>
                <a:gd name="connsiteX7" fmla="*/ 909 w 10000"/>
                <a:gd name="connsiteY7" fmla="*/ 7101 h 10000"/>
                <a:gd name="connsiteX8" fmla="*/ 1598 w 10000"/>
                <a:gd name="connsiteY8" fmla="*/ 8593 h 10000"/>
                <a:gd name="connsiteX9" fmla="*/ 4110 w 10000"/>
                <a:gd name="connsiteY9" fmla="*/ 7508 h 10000"/>
                <a:gd name="connsiteX10" fmla="*/ 4448 w 10000"/>
                <a:gd name="connsiteY10" fmla="*/ 7907 h 10000"/>
                <a:gd name="connsiteX11" fmla="*/ 5010 w 10000"/>
                <a:gd name="connsiteY11" fmla="*/ 7915 h 10000"/>
                <a:gd name="connsiteX12" fmla="*/ 5000 w 10000"/>
                <a:gd name="connsiteY12" fmla="*/ 8267 h 10000"/>
                <a:gd name="connsiteX13" fmla="*/ 4545 w 10000"/>
                <a:gd name="connsiteY13" fmla="*/ 8851 h 10000"/>
                <a:gd name="connsiteX14" fmla="*/ 7417 w 10000"/>
                <a:gd name="connsiteY14" fmla="*/ 7328 h 10000"/>
                <a:gd name="connsiteX15" fmla="*/ 6733 w 10000"/>
                <a:gd name="connsiteY15" fmla="*/ 9304 h 10000"/>
                <a:gd name="connsiteX16" fmla="*/ 8151 w 10000"/>
                <a:gd name="connsiteY16" fmla="*/ 10000 h 10000"/>
                <a:gd name="connsiteX17" fmla="*/ 8636 w 10000"/>
                <a:gd name="connsiteY17" fmla="*/ 9435 h 10000"/>
                <a:gd name="connsiteX18" fmla="*/ 9545 w 10000"/>
                <a:gd name="connsiteY18" fmla="*/ 7685 h 10000"/>
                <a:gd name="connsiteX19" fmla="*/ 10000 w 10000"/>
                <a:gd name="connsiteY19" fmla="*/ 7685 h 10000"/>
                <a:gd name="connsiteX20" fmla="*/ 9539 w 10000"/>
                <a:gd name="connsiteY20" fmla="*/ 4448 h 10000"/>
                <a:gd name="connsiteX21" fmla="*/ 8551 w 10000"/>
                <a:gd name="connsiteY21" fmla="*/ 2749 h 10000"/>
                <a:gd name="connsiteX22" fmla="*/ 7169 w 10000"/>
                <a:gd name="connsiteY22" fmla="*/ 3612 h 10000"/>
                <a:gd name="connsiteX23" fmla="*/ 5776 w 10000"/>
                <a:gd name="connsiteY23" fmla="*/ 2069 h 10000"/>
                <a:gd name="connsiteX24" fmla="*/ 6302 w 10000"/>
                <a:gd name="connsiteY24" fmla="*/ 4534 h 10000"/>
                <a:gd name="connsiteX0" fmla="*/ 6302 w 10000"/>
                <a:gd name="connsiteY0" fmla="*/ 4534 h 10000"/>
                <a:gd name="connsiteX1" fmla="*/ 4776 w 10000"/>
                <a:gd name="connsiteY1" fmla="*/ 4346 h 10000"/>
                <a:gd name="connsiteX2" fmla="*/ 0 w 10000"/>
                <a:gd name="connsiteY2" fmla="*/ 0 h 10000"/>
                <a:gd name="connsiteX3" fmla="*/ 0 w 10000"/>
                <a:gd name="connsiteY3" fmla="*/ 1167 h 10000"/>
                <a:gd name="connsiteX4" fmla="*/ 455 w 10000"/>
                <a:gd name="connsiteY4" fmla="*/ 2918 h 10000"/>
                <a:gd name="connsiteX5" fmla="*/ 679 w 10000"/>
                <a:gd name="connsiteY5" fmla="*/ 4804 h 10000"/>
                <a:gd name="connsiteX6" fmla="*/ 455 w 10000"/>
                <a:gd name="connsiteY6" fmla="*/ 5933 h 10000"/>
                <a:gd name="connsiteX7" fmla="*/ 909 w 10000"/>
                <a:gd name="connsiteY7" fmla="*/ 7101 h 10000"/>
                <a:gd name="connsiteX8" fmla="*/ 1598 w 10000"/>
                <a:gd name="connsiteY8" fmla="*/ 8593 h 10000"/>
                <a:gd name="connsiteX9" fmla="*/ 4110 w 10000"/>
                <a:gd name="connsiteY9" fmla="*/ 7508 h 10000"/>
                <a:gd name="connsiteX10" fmla="*/ 4448 w 10000"/>
                <a:gd name="connsiteY10" fmla="*/ 7907 h 10000"/>
                <a:gd name="connsiteX11" fmla="*/ 5010 w 10000"/>
                <a:gd name="connsiteY11" fmla="*/ 7915 h 10000"/>
                <a:gd name="connsiteX12" fmla="*/ 5000 w 10000"/>
                <a:gd name="connsiteY12" fmla="*/ 8267 h 10000"/>
                <a:gd name="connsiteX13" fmla="*/ 4545 w 10000"/>
                <a:gd name="connsiteY13" fmla="*/ 8851 h 10000"/>
                <a:gd name="connsiteX14" fmla="*/ 7417 w 10000"/>
                <a:gd name="connsiteY14" fmla="*/ 7328 h 10000"/>
                <a:gd name="connsiteX15" fmla="*/ 6733 w 10000"/>
                <a:gd name="connsiteY15" fmla="*/ 9304 h 10000"/>
                <a:gd name="connsiteX16" fmla="*/ 8151 w 10000"/>
                <a:gd name="connsiteY16" fmla="*/ 10000 h 10000"/>
                <a:gd name="connsiteX17" fmla="*/ 8636 w 10000"/>
                <a:gd name="connsiteY17" fmla="*/ 9435 h 10000"/>
                <a:gd name="connsiteX18" fmla="*/ 9545 w 10000"/>
                <a:gd name="connsiteY18" fmla="*/ 7685 h 10000"/>
                <a:gd name="connsiteX19" fmla="*/ 10000 w 10000"/>
                <a:gd name="connsiteY19" fmla="*/ 7685 h 10000"/>
                <a:gd name="connsiteX20" fmla="*/ 9539 w 10000"/>
                <a:gd name="connsiteY20" fmla="*/ 4448 h 10000"/>
                <a:gd name="connsiteX21" fmla="*/ 8551 w 10000"/>
                <a:gd name="connsiteY21" fmla="*/ 2749 h 10000"/>
                <a:gd name="connsiteX22" fmla="*/ 7169 w 10000"/>
                <a:gd name="connsiteY22" fmla="*/ 3612 h 10000"/>
                <a:gd name="connsiteX23" fmla="*/ 5776 w 10000"/>
                <a:gd name="connsiteY23" fmla="*/ 2069 h 10000"/>
                <a:gd name="connsiteX24" fmla="*/ 6302 w 10000"/>
                <a:gd name="connsiteY24" fmla="*/ 4534 h 10000"/>
                <a:gd name="connsiteX0" fmla="*/ 6302 w 10000"/>
                <a:gd name="connsiteY0" fmla="*/ 3367 h 8833"/>
                <a:gd name="connsiteX1" fmla="*/ 4776 w 10000"/>
                <a:gd name="connsiteY1" fmla="*/ 3179 h 8833"/>
                <a:gd name="connsiteX2" fmla="*/ 4666 w 10000"/>
                <a:gd name="connsiteY2" fmla="*/ 4853 h 8833"/>
                <a:gd name="connsiteX3" fmla="*/ 0 w 10000"/>
                <a:gd name="connsiteY3" fmla="*/ 0 h 8833"/>
                <a:gd name="connsiteX4" fmla="*/ 455 w 10000"/>
                <a:gd name="connsiteY4" fmla="*/ 1751 h 8833"/>
                <a:gd name="connsiteX5" fmla="*/ 679 w 10000"/>
                <a:gd name="connsiteY5" fmla="*/ 3637 h 8833"/>
                <a:gd name="connsiteX6" fmla="*/ 455 w 10000"/>
                <a:gd name="connsiteY6" fmla="*/ 4766 h 8833"/>
                <a:gd name="connsiteX7" fmla="*/ 909 w 10000"/>
                <a:gd name="connsiteY7" fmla="*/ 5934 h 8833"/>
                <a:gd name="connsiteX8" fmla="*/ 1598 w 10000"/>
                <a:gd name="connsiteY8" fmla="*/ 7426 h 8833"/>
                <a:gd name="connsiteX9" fmla="*/ 4110 w 10000"/>
                <a:gd name="connsiteY9" fmla="*/ 6341 h 8833"/>
                <a:gd name="connsiteX10" fmla="*/ 4448 w 10000"/>
                <a:gd name="connsiteY10" fmla="*/ 6740 h 8833"/>
                <a:gd name="connsiteX11" fmla="*/ 5010 w 10000"/>
                <a:gd name="connsiteY11" fmla="*/ 6748 h 8833"/>
                <a:gd name="connsiteX12" fmla="*/ 5000 w 10000"/>
                <a:gd name="connsiteY12" fmla="*/ 7100 h 8833"/>
                <a:gd name="connsiteX13" fmla="*/ 4545 w 10000"/>
                <a:gd name="connsiteY13" fmla="*/ 7684 h 8833"/>
                <a:gd name="connsiteX14" fmla="*/ 7417 w 10000"/>
                <a:gd name="connsiteY14" fmla="*/ 6161 h 8833"/>
                <a:gd name="connsiteX15" fmla="*/ 6733 w 10000"/>
                <a:gd name="connsiteY15" fmla="*/ 8137 h 8833"/>
                <a:gd name="connsiteX16" fmla="*/ 8151 w 10000"/>
                <a:gd name="connsiteY16" fmla="*/ 8833 h 8833"/>
                <a:gd name="connsiteX17" fmla="*/ 8636 w 10000"/>
                <a:gd name="connsiteY17" fmla="*/ 8268 h 8833"/>
                <a:gd name="connsiteX18" fmla="*/ 9545 w 10000"/>
                <a:gd name="connsiteY18" fmla="*/ 6518 h 8833"/>
                <a:gd name="connsiteX19" fmla="*/ 10000 w 10000"/>
                <a:gd name="connsiteY19" fmla="*/ 6518 h 8833"/>
                <a:gd name="connsiteX20" fmla="*/ 9539 w 10000"/>
                <a:gd name="connsiteY20" fmla="*/ 3281 h 8833"/>
                <a:gd name="connsiteX21" fmla="*/ 8551 w 10000"/>
                <a:gd name="connsiteY21" fmla="*/ 1582 h 8833"/>
                <a:gd name="connsiteX22" fmla="*/ 7169 w 10000"/>
                <a:gd name="connsiteY22" fmla="*/ 2445 h 8833"/>
                <a:gd name="connsiteX23" fmla="*/ 5776 w 10000"/>
                <a:gd name="connsiteY23" fmla="*/ 902 h 8833"/>
                <a:gd name="connsiteX24" fmla="*/ 6302 w 10000"/>
                <a:gd name="connsiteY24" fmla="*/ 3367 h 8833"/>
                <a:gd name="connsiteX0" fmla="*/ 6702 w 10400"/>
                <a:gd name="connsiteY0" fmla="*/ 3812 h 10000"/>
                <a:gd name="connsiteX1" fmla="*/ 5176 w 10400"/>
                <a:gd name="connsiteY1" fmla="*/ 3599 h 10000"/>
                <a:gd name="connsiteX2" fmla="*/ 5066 w 10400"/>
                <a:gd name="connsiteY2" fmla="*/ 5494 h 10000"/>
                <a:gd name="connsiteX3" fmla="*/ 0 w 10400"/>
                <a:gd name="connsiteY3" fmla="*/ 0 h 10000"/>
                <a:gd name="connsiteX4" fmla="*/ 855 w 10400"/>
                <a:gd name="connsiteY4" fmla="*/ 1982 h 10000"/>
                <a:gd name="connsiteX5" fmla="*/ 1079 w 10400"/>
                <a:gd name="connsiteY5" fmla="*/ 4118 h 10000"/>
                <a:gd name="connsiteX6" fmla="*/ 855 w 10400"/>
                <a:gd name="connsiteY6" fmla="*/ 5396 h 10000"/>
                <a:gd name="connsiteX7" fmla="*/ 1309 w 10400"/>
                <a:gd name="connsiteY7" fmla="*/ 6718 h 10000"/>
                <a:gd name="connsiteX8" fmla="*/ 1998 w 10400"/>
                <a:gd name="connsiteY8" fmla="*/ 8407 h 10000"/>
                <a:gd name="connsiteX9" fmla="*/ 4510 w 10400"/>
                <a:gd name="connsiteY9" fmla="*/ 7179 h 10000"/>
                <a:gd name="connsiteX10" fmla="*/ 4848 w 10400"/>
                <a:gd name="connsiteY10" fmla="*/ 7630 h 10000"/>
                <a:gd name="connsiteX11" fmla="*/ 5410 w 10400"/>
                <a:gd name="connsiteY11" fmla="*/ 7640 h 10000"/>
                <a:gd name="connsiteX12" fmla="*/ 5400 w 10400"/>
                <a:gd name="connsiteY12" fmla="*/ 8038 h 10000"/>
                <a:gd name="connsiteX13" fmla="*/ 4945 w 10400"/>
                <a:gd name="connsiteY13" fmla="*/ 8699 h 10000"/>
                <a:gd name="connsiteX14" fmla="*/ 7817 w 10400"/>
                <a:gd name="connsiteY14" fmla="*/ 6975 h 10000"/>
                <a:gd name="connsiteX15" fmla="*/ 7133 w 10400"/>
                <a:gd name="connsiteY15" fmla="*/ 9212 h 10000"/>
                <a:gd name="connsiteX16" fmla="*/ 8551 w 10400"/>
                <a:gd name="connsiteY16" fmla="*/ 10000 h 10000"/>
                <a:gd name="connsiteX17" fmla="*/ 9036 w 10400"/>
                <a:gd name="connsiteY17" fmla="*/ 9360 h 10000"/>
                <a:gd name="connsiteX18" fmla="*/ 9945 w 10400"/>
                <a:gd name="connsiteY18" fmla="*/ 7379 h 10000"/>
                <a:gd name="connsiteX19" fmla="*/ 10400 w 10400"/>
                <a:gd name="connsiteY19" fmla="*/ 7379 h 10000"/>
                <a:gd name="connsiteX20" fmla="*/ 9939 w 10400"/>
                <a:gd name="connsiteY20" fmla="*/ 3714 h 10000"/>
                <a:gd name="connsiteX21" fmla="*/ 8951 w 10400"/>
                <a:gd name="connsiteY21" fmla="*/ 1791 h 10000"/>
                <a:gd name="connsiteX22" fmla="*/ 7569 w 10400"/>
                <a:gd name="connsiteY22" fmla="*/ 2768 h 10000"/>
                <a:gd name="connsiteX23" fmla="*/ 6176 w 10400"/>
                <a:gd name="connsiteY23" fmla="*/ 1021 h 10000"/>
                <a:gd name="connsiteX24" fmla="*/ 6702 w 10400"/>
                <a:gd name="connsiteY24" fmla="*/ 3812 h 10000"/>
                <a:gd name="connsiteX0" fmla="*/ 5847 w 9545"/>
                <a:gd name="connsiteY0" fmla="*/ 2791 h 8979"/>
                <a:gd name="connsiteX1" fmla="*/ 4321 w 9545"/>
                <a:gd name="connsiteY1" fmla="*/ 2578 h 8979"/>
                <a:gd name="connsiteX2" fmla="*/ 4211 w 9545"/>
                <a:gd name="connsiteY2" fmla="*/ 4473 h 8979"/>
                <a:gd name="connsiteX3" fmla="*/ 0 w 9545"/>
                <a:gd name="connsiteY3" fmla="*/ 961 h 8979"/>
                <a:gd name="connsiteX4" fmla="*/ 224 w 9545"/>
                <a:gd name="connsiteY4" fmla="*/ 3097 h 8979"/>
                <a:gd name="connsiteX5" fmla="*/ 0 w 9545"/>
                <a:gd name="connsiteY5" fmla="*/ 4375 h 8979"/>
                <a:gd name="connsiteX6" fmla="*/ 454 w 9545"/>
                <a:gd name="connsiteY6" fmla="*/ 5697 h 8979"/>
                <a:gd name="connsiteX7" fmla="*/ 1143 w 9545"/>
                <a:gd name="connsiteY7" fmla="*/ 7386 h 8979"/>
                <a:gd name="connsiteX8" fmla="*/ 3655 w 9545"/>
                <a:gd name="connsiteY8" fmla="*/ 6158 h 8979"/>
                <a:gd name="connsiteX9" fmla="*/ 3993 w 9545"/>
                <a:gd name="connsiteY9" fmla="*/ 6609 h 8979"/>
                <a:gd name="connsiteX10" fmla="*/ 4555 w 9545"/>
                <a:gd name="connsiteY10" fmla="*/ 6619 h 8979"/>
                <a:gd name="connsiteX11" fmla="*/ 4545 w 9545"/>
                <a:gd name="connsiteY11" fmla="*/ 7017 h 8979"/>
                <a:gd name="connsiteX12" fmla="*/ 4090 w 9545"/>
                <a:gd name="connsiteY12" fmla="*/ 7678 h 8979"/>
                <a:gd name="connsiteX13" fmla="*/ 6962 w 9545"/>
                <a:gd name="connsiteY13" fmla="*/ 5954 h 8979"/>
                <a:gd name="connsiteX14" fmla="*/ 6278 w 9545"/>
                <a:gd name="connsiteY14" fmla="*/ 8191 h 8979"/>
                <a:gd name="connsiteX15" fmla="*/ 7696 w 9545"/>
                <a:gd name="connsiteY15" fmla="*/ 8979 h 8979"/>
                <a:gd name="connsiteX16" fmla="*/ 8181 w 9545"/>
                <a:gd name="connsiteY16" fmla="*/ 8339 h 8979"/>
                <a:gd name="connsiteX17" fmla="*/ 9090 w 9545"/>
                <a:gd name="connsiteY17" fmla="*/ 6358 h 8979"/>
                <a:gd name="connsiteX18" fmla="*/ 9545 w 9545"/>
                <a:gd name="connsiteY18" fmla="*/ 6358 h 8979"/>
                <a:gd name="connsiteX19" fmla="*/ 9084 w 9545"/>
                <a:gd name="connsiteY19" fmla="*/ 2693 h 8979"/>
                <a:gd name="connsiteX20" fmla="*/ 8096 w 9545"/>
                <a:gd name="connsiteY20" fmla="*/ 770 h 8979"/>
                <a:gd name="connsiteX21" fmla="*/ 6714 w 9545"/>
                <a:gd name="connsiteY21" fmla="*/ 1747 h 8979"/>
                <a:gd name="connsiteX22" fmla="*/ 5321 w 9545"/>
                <a:gd name="connsiteY22" fmla="*/ 0 h 8979"/>
                <a:gd name="connsiteX23" fmla="*/ 5847 w 9545"/>
                <a:gd name="connsiteY23" fmla="*/ 2791 h 8979"/>
                <a:gd name="connsiteX0" fmla="*/ 6126 w 10000"/>
                <a:gd name="connsiteY0" fmla="*/ 3108 h 10000"/>
                <a:gd name="connsiteX1" fmla="*/ 4527 w 10000"/>
                <a:gd name="connsiteY1" fmla="*/ 2871 h 10000"/>
                <a:gd name="connsiteX2" fmla="*/ 4412 w 10000"/>
                <a:gd name="connsiteY2" fmla="*/ 4982 h 10000"/>
                <a:gd name="connsiteX3" fmla="*/ 235 w 10000"/>
                <a:gd name="connsiteY3" fmla="*/ 3449 h 10000"/>
                <a:gd name="connsiteX4" fmla="*/ 0 w 10000"/>
                <a:gd name="connsiteY4" fmla="*/ 4872 h 10000"/>
                <a:gd name="connsiteX5" fmla="*/ 476 w 10000"/>
                <a:gd name="connsiteY5" fmla="*/ 6345 h 10000"/>
                <a:gd name="connsiteX6" fmla="*/ 1197 w 10000"/>
                <a:gd name="connsiteY6" fmla="*/ 8226 h 10000"/>
                <a:gd name="connsiteX7" fmla="*/ 3829 w 10000"/>
                <a:gd name="connsiteY7" fmla="*/ 6858 h 10000"/>
                <a:gd name="connsiteX8" fmla="*/ 4183 w 10000"/>
                <a:gd name="connsiteY8" fmla="*/ 7361 h 10000"/>
                <a:gd name="connsiteX9" fmla="*/ 4772 w 10000"/>
                <a:gd name="connsiteY9" fmla="*/ 7372 h 10000"/>
                <a:gd name="connsiteX10" fmla="*/ 4762 w 10000"/>
                <a:gd name="connsiteY10" fmla="*/ 7815 h 10000"/>
                <a:gd name="connsiteX11" fmla="*/ 4285 w 10000"/>
                <a:gd name="connsiteY11" fmla="*/ 8551 h 10000"/>
                <a:gd name="connsiteX12" fmla="*/ 7294 w 10000"/>
                <a:gd name="connsiteY12" fmla="*/ 6631 h 10000"/>
                <a:gd name="connsiteX13" fmla="*/ 6577 w 10000"/>
                <a:gd name="connsiteY13" fmla="*/ 9122 h 10000"/>
                <a:gd name="connsiteX14" fmla="*/ 8063 w 10000"/>
                <a:gd name="connsiteY14" fmla="*/ 10000 h 10000"/>
                <a:gd name="connsiteX15" fmla="*/ 8571 w 10000"/>
                <a:gd name="connsiteY15" fmla="*/ 9287 h 10000"/>
                <a:gd name="connsiteX16" fmla="*/ 9523 w 10000"/>
                <a:gd name="connsiteY16" fmla="*/ 7081 h 10000"/>
                <a:gd name="connsiteX17" fmla="*/ 10000 w 10000"/>
                <a:gd name="connsiteY17" fmla="*/ 7081 h 10000"/>
                <a:gd name="connsiteX18" fmla="*/ 9517 w 10000"/>
                <a:gd name="connsiteY18" fmla="*/ 2999 h 10000"/>
                <a:gd name="connsiteX19" fmla="*/ 8482 w 10000"/>
                <a:gd name="connsiteY19" fmla="*/ 858 h 10000"/>
                <a:gd name="connsiteX20" fmla="*/ 7034 w 10000"/>
                <a:gd name="connsiteY20" fmla="*/ 1946 h 10000"/>
                <a:gd name="connsiteX21" fmla="*/ 5575 w 10000"/>
                <a:gd name="connsiteY21" fmla="*/ 0 h 10000"/>
                <a:gd name="connsiteX22" fmla="*/ 6126 w 10000"/>
                <a:gd name="connsiteY22" fmla="*/ 3108 h 10000"/>
                <a:gd name="connsiteX0" fmla="*/ 6126 w 10000"/>
                <a:gd name="connsiteY0" fmla="*/ 3108 h 10000"/>
                <a:gd name="connsiteX1" fmla="*/ 4527 w 10000"/>
                <a:gd name="connsiteY1" fmla="*/ 2871 h 10000"/>
                <a:gd name="connsiteX2" fmla="*/ 4412 w 10000"/>
                <a:gd name="connsiteY2" fmla="*/ 4982 h 10000"/>
                <a:gd name="connsiteX3" fmla="*/ 0 w 10000"/>
                <a:gd name="connsiteY3" fmla="*/ 4872 h 10000"/>
                <a:gd name="connsiteX4" fmla="*/ 476 w 10000"/>
                <a:gd name="connsiteY4" fmla="*/ 6345 h 10000"/>
                <a:gd name="connsiteX5" fmla="*/ 1197 w 10000"/>
                <a:gd name="connsiteY5" fmla="*/ 8226 h 10000"/>
                <a:gd name="connsiteX6" fmla="*/ 3829 w 10000"/>
                <a:gd name="connsiteY6" fmla="*/ 6858 h 10000"/>
                <a:gd name="connsiteX7" fmla="*/ 4183 w 10000"/>
                <a:gd name="connsiteY7" fmla="*/ 7361 h 10000"/>
                <a:gd name="connsiteX8" fmla="*/ 4772 w 10000"/>
                <a:gd name="connsiteY8" fmla="*/ 7372 h 10000"/>
                <a:gd name="connsiteX9" fmla="*/ 4762 w 10000"/>
                <a:gd name="connsiteY9" fmla="*/ 7815 h 10000"/>
                <a:gd name="connsiteX10" fmla="*/ 4285 w 10000"/>
                <a:gd name="connsiteY10" fmla="*/ 8551 h 10000"/>
                <a:gd name="connsiteX11" fmla="*/ 7294 w 10000"/>
                <a:gd name="connsiteY11" fmla="*/ 6631 h 10000"/>
                <a:gd name="connsiteX12" fmla="*/ 6577 w 10000"/>
                <a:gd name="connsiteY12" fmla="*/ 9122 h 10000"/>
                <a:gd name="connsiteX13" fmla="*/ 8063 w 10000"/>
                <a:gd name="connsiteY13" fmla="*/ 10000 h 10000"/>
                <a:gd name="connsiteX14" fmla="*/ 8571 w 10000"/>
                <a:gd name="connsiteY14" fmla="*/ 9287 h 10000"/>
                <a:gd name="connsiteX15" fmla="*/ 9523 w 10000"/>
                <a:gd name="connsiteY15" fmla="*/ 7081 h 10000"/>
                <a:gd name="connsiteX16" fmla="*/ 10000 w 10000"/>
                <a:gd name="connsiteY16" fmla="*/ 7081 h 10000"/>
                <a:gd name="connsiteX17" fmla="*/ 9517 w 10000"/>
                <a:gd name="connsiteY17" fmla="*/ 2999 h 10000"/>
                <a:gd name="connsiteX18" fmla="*/ 8482 w 10000"/>
                <a:gd name="connsiteY18" fmla="*/ 858 h 10000"/>
                <a:gd name="connsiteX19" fmla="*/ 7034 w 10000"/>
                <a:gd name="connsiteY19" fmla="*/ 1946 h 10000"/>
                <a:gd name="connsiteX20" fmla="*/ 5575 w 10000"/>
                <a:gd name="connsiteY20" fmla="*/ 0 h 10000"/>
                <a:gd name="connsiteX21" fmla="*/ 6126 w 10000"/>
                <a:gd name="connsiteY21" fmla="*/ 3108 h 10000"/>
                <a:gd name="connsiteX0" fmla="*/ 5650 w 9524"/>
                <a:gd name="connsiteY0" fmla="*/ 3108 h 10000"/>
                <a:gd name="connsiteX1" fmla="*/ 4051 w 9524"/>
                <a:gd name="connsiteY1" fmla="*/ 2871 h 10000"/>
                <a:gd name="connsiteX2" fmla="*/ 3936 w 9524"/>
                <a:gd name="connsiteY2" fmla="*/ 4982 h 10000"/>
                <a:gd name="connsiteX3" fmla="*/ 0 w 9524"/>
                <a:gd name="connsiteY3" fmla="*/ 6345 h 10000"/>
                <a:gd name="connsiteX4" fmla="*/ 721 w 9524"/>
                <a:gd name="connsiteY4" fmla="*/ 8226 h 10000"/>
                <a:gd name="connsiteX5" fmla="*/ 3353 w 9524"/>
                <a:gd name="connsiteY5" fmla="*/ 6858 h 10000"/>
                <a:gd name="connsiteX6" fmla="*/ 3707 w 9524"/>
                <a:gd name="connsiteY6" fmla="*/ 7361 h 10000"/>
                <a:gd name="connsiteX7" fmla="*/ 4296 w 9524"/>
                <a:gd name="connsiteY7" fmla="*/ 7372 h 10000"/>
                <a:gd name="connsiteX8" fmla="*/ 4286 w 9524"/>
                <a:gd name="connsiteY8" fmla="*/ 7815 h 10000"/>
                <a:gd name="connsiteX9" fmla="*/ 3809 w 9524"/>
                <a:gd name="connsiteY9" fmla="*/ 8551 h 10000"/>
                <a:gd name="connsiteX10" fmla="*/ 6818 w 9524"/>
                <a:gd name="connsiteY10" fmla="*/ 6631 h 10000"/>
                <a:gd name="connsiteX11" fmla="*/ 6101 w 9524"/>
                <a:gd name="connsiteY11" fmla="*/ 9122 h 10000"/>
                <a:gd name="connsiteX12" fmla="*/ 7587 w 9524"/>
                <a:gd name="connsiteY12" fmla="*/ 10000 h 10000"/>
                <a:gd name="connsiteX13" fmla="*/ 8095 w 9524"/>
                <a:gd name="connsiteY13" fmla="*/ 9287 h 10000"/>
                <a:gd name="connsiteX14" fmla="*/ 9047 w 9524"/>
                <a:gd name="connsiteY14" fmla="*/ 7081 h 10000"/>
                <a:gd name="connsiteX15" fmla="*/ 9524 w 9524"/>
                <a:gd name="connsiteY15" fmla="*/ 7081 h 10000"/>
                <a:gd name="connsiteX16" fmla="*/ 9041 w 9524"/>
                <a:gd name="connsiteY16" fmla="*/ 2999 h 10000"/>
                <a:gd name="connsiteX17" fmla="*/ 8006 w 9524"/>
                <a:gd name="connsiteY17" fmla="*/ 858 h 10000"/>
                <a:gd name="connsiteX18" fmla="*/ 6558 w 9524"/>
                <a:gd name="connsiteY18" fmla="*/ 1946 h 10000"/>
                <a:gd name="connsiteX19" fmla="*/ 5099 w 9524"/>
                <a:gd name="connsiteY19" fmla="*/ 0 h 10000"/>
                <a:gd name="connsiteX20" fmla="*/ 5650 w 9524"/>
                <a:gd name="connsiteY20" fmla="*/ 3108 h 10000"/>
                <a:gd name="connsiteX0" fmla="*/ 5175 w 9243"/>
                <a:gd name="connsiteY0" fmla="*/ 3108 h 10000"/>
                <a:gd name="connsiteX1" fmla="*/ 3496 w 9243"/>
                <a:gd name="connsiteY1" fmla="*/ 2871 h 10000"/>
                <a:gd name="connsiteX2" fmla="*/ 3376 w 9243"/>
                <a:gd name="connsiteY2" fmla="*/ 4982 h 10000"/>
                <a:gd name="connsiteX3" fmla="*/ 0 w 9243"/>
                <a:gd name="connsiteY3" fmla="*/ 8226 h 10000"/>
                <a:gd name="connsiteX4" fmla="*/ 2764 w 9243"/>
                <a:gd name="connsiteY4" fmla="*/ 6858 h 10000"/>
                <a:gd name="connsiteX5" fmla="*/ 3135 w 9243"/>
                <a:gd name="connsiteY5" fmla="*/ 7361 h 10000"/>
                <a:gd name="connsiteX6" fmla="*/ 3754 w 9243"/>
                <a:gd name="connsiteY6" fmla="*/ 7372 h 10000"/>
                <a:gd name="connsiteX7" fmla="*/ 3743 w 9243"/>
                <a:gd name="connsiteY7" fmla="*/ 7815 h 10000"/>
                <a:gd name="connsiteX8" fmla="*/ 3242 w 9243"/>
                <a:gd name="connsiteY8" fmla="*/ 8551 h 10000"/>
                <a:gd name="connsiteX9" fmla="*/ 6402 w 9243"/>
                <a:gd name="connsiteY9" fmla="*/ 6631 h 10000"/>
                <a:gd name="connsiteX10" fmla="*/ 5649 w 9243"/>
                <a:gd name="connsiteY10" fmla="*/ 9122 h 10000"/>
                <a:gd name="connsiteX11" fmla="*/ 7209 w 9243"/>
                <a:gd name="connsiteY11" fmla="*/ 10000 h 10000"/>
                <a:gd name="connsiteX12" fmla="*/ 7743 w 9243"/>
                <a:gd name="connsiteY12" fmla="*/ 9287 h 10000"/>
                <a:gd name="connsiteX13" fmla="*/ 8742 w 9243"/>
                <a:gd name="connsiteY13" fmla="*/ 7081 h 10000"/>
                <a:gd name="connsiteX14" fmla="*/ 9243 w 9243"/>
                <a:gd name="connsiteY14" fmla="*/ 7081 h 10000"/>
                <a:gd name="connsiteX15" fmla="*/ 8736 w 9243"/>
                <a:gd name="connsiteY15" fmla="*/ 2999 h 10000"/>
                <a:gd name="connsiteX16" fmla="*/ 7649 w 9243"/>
                <a:gd name="connsiteY16" fmla="*/ 858 h 10000"/>
                <a:gd name="connsiteX17" fmla="*/ 6129 w 9243"/>
                <a:gd name="connsiteY17" fmla="*/ 1946 h 10000"/>
                <a:gd name="connsiteX18" fmla="*/ 4597 w 9243"/>
                <a:gd name="connsiteY18" fmla="*/ 0 h 10000"/>
                <a:gd name="connsiteX19" fmla="*/ 5175 w 9243"/>
                <a:gd name="connsiteY19" fmla="*/ 3108 h 10000"/>
                <a:gd name="connsiteX0" fmla="*/ 2609 w 7010"/>
                <a:gd name="connsiteY0" fmla="*/ 3108 h 10000"/>
                <a:gd name="connsiteX1" fmla="*/ 792 w 7010"/>
                <a:gd name="connsiteY1" fmla="*/ 2871 h 10000"/>
                <a:gd name="connsiteX2" fmla="*/ 662 w 7010"/>
                <a:gd name="connsiteY2" fmla="*/ 4982 h 10000"/>
                <a:gd name="connsiteX3" fmla="*/ 0 w 7010"/>
                <a:gd name="connsiteY3" fmla="*/ 6858 h 10000"/>
                <a:gd name="connsiteX4" fmla="*/ 402 w 7010"/>
                <a:gd name="connsiteY4" fmla="*/ 7361 h 10000"/>
                <a:gd name="connsiteX5" fmla="*/ 1071 w 7010"/>
                <a:gd name="connsiteY5" fmla="*/ 7372 h 10000"/>
                <a:gd name="connsiteX6" fmla="*/ 1060 w 7010"/>
                <a:gd name="connsiteY6" fmla="*/ 7815 h 10000"/>
                <a:gd name="connsiteX7" fmla="*/ 518 w 7010"/>
                <a:gd name="connsiteY7" fmla="*/ 8551 h 10000"/>
                <a:gd name="connsiteX8" fmla="*/ 3936 w 7010"/>
                <a:gd name="connsiteY8" fmla="*/ 6631 h 10000"/>
                <a:gd name="connsiteX9" fmla="*/ 3122 w 7010"/>
                <a:gd name="connsiteY9" fmla="*/ 9122 h 10000"/>
                <a:gd name="connsiteX10" fmla="*/ 4809 w 7010"/>
                <a:gd name="connsiteY10" fmla="*/ 10000 h 10000"/>
                <a:gd name="connsiteX11" fmla="*/ 5387 w 7010"/>
                <a:gd name="connsiteY11" fmla="*/ 9287 h 10000"/>
                <a:gd name="connsiteX12" fmla="*/ 6468 w 7010"/>
                <a:gd name="connsiteY12" fmla="*/ 7081 h 10000"/>
                <a:gd name="connsiteX13" fmla="*/ 7010 w 7010"/>
                <a:gd name="connsiteY13" fmla="*/ 7081 h 10000"/>
                <a:gd name="connsiteX14" fmla="*/ 6461 w 7010"/>
                <a:gd name="connsiteY14" fmla="*/ 2999 h 10000"/>
                <a:gd name="connsiteX15" fmla="*/ 5285 w 7010"/>
                <a:gd name="connsiteY15" fmla="*/ 858 h 10000"/>
                <a:gd name="connsiteX16" fmla="*/ 3641 w 7010"/>
                <a:gd name="connsiteY16" fmla="*/ 1946 h 10000"/>
                <a:gd name="connsiteX17" fmla="*/ 1983 w 7010"/>
                <a:gd name="connsiteY17" fmla="*/ 0 h 10000"/>
                <a:gd name="connsiteX18" fmla="*/ 2609 w 7010"/>
                <a:gd name="connsiteY18" fmla="*/ 3108 h 10000"/>
                <a:gd name="connsiteX0" fmla="*/ 3722 w 10000"/>
                <a:gd name="connsiteY0" fmla="*/ 3108 h 11186"/>
                <a:gd name="connsiteX1" fmla="*/ 1130 w 10000"/>
                <a:gd name="connsiteY1" fmla="*/ 2871 h 11186"/>
                <a:gd name="connsiteX2" fmla="*/ 944 w 10000"/>
                <a:gd name="connsiteY2" fmla="*/ 4982 h 11186"/>
                <a:gd name="connsiteX3" fmla="*/ 0 w 10000"/>
                <a:gd name="connsiteY3" fmla="*/ 6858 h 11186"/>
                <a:gd name="connsiteX4" fmla="*/ 573 w 10000"/>
                <a:gd name="connsiteY4" fmla="*/ 7361 h 11186"/>
                <a:gd name="connsiteX5" fmla="*/ 1528 w 10000"/>
                <a:gd name="connsiteY5" fmla="*/ 7372 h 11186"/>
                <a:gd name="connsiteX6" fmla="*/ 1512 w 10000"/>
                <a:gd name="connsiteY6" fmla="*/ 7815 h 11186"/>
                <a:gd name="connsiteX7" fmla="*/ 739 w 10000"/>
                <a:gd name="connsiteY7" fmla="*/ 8551 h 11186"/>
                <a:gd name="connsiteX8" fmla="*/ 5615 w 10000"/>
                <a:gd name="connsiteY8" fmla="*/ 6631 h 11186"/>
                <a:gd name="connsiteX9" fmla="*/ 4454 w 10000"/>
                <a:gd name="connsiteY9" fmla="*/ 9122 h 11186"/>
                <a:gd name="connsiteX10" fmla="*/ 6860 w 10000"/>
                <a:gd name="connsiteY10" fmla="*/ 11186 h 11186"/>
                <a:gd name="connsiteX11" fmla="*/ 7685 w 10000"/>
                <a:gd name="connsiteY11" fmla="*/ 9287 h 11186"/>
                <a:gd name="connsiteX12" fmla="*/ 9227 w 10000"/>
                <a:gd name="connsiteY12" fmla="*/ 7081 h 11186"/>
                <a:gd name="connsiteX13" fmla="*/ 10000 w 10000"/>
                <a:gd name="connsiteY13" fmla="*/ 7081 h 11186"/>
                <a:gd name="connsiteX14" fmla="*/ 9217 w 10000"/>
                <a:gd name="connsiteY14" fmla="*/ 2999 h 11186"/>
                <a:gd name="connsiteX15" fmla="*/ 7539 w 10000"/>
                <a:gd name="connsiteY15" fmla="*/ 858 h 11186"/>
                <a:gd name="connsiteX16" fmla="*/ 5194 w 10000"/>
                <a:gd name="connsiteY16" fmla="*/ 1946 h 11186"/>
                <a:gd name="connsiteX17" fmla="*/ 2829 w 10000"/>
                <a:gd name="connsiteY17" fmla="*/ 0 h 11186"/>
                <a:gd name="connsiteX18" fmla="*/ 3722 w 10000"/>
                <a:gd name="connsiteY18" fmla="*/ 3108 h 11186"/>
                <a:gd name="connsiteX0" fmla="*/ 3722 w 10000"/>
                <a:gd name="connsiteY0" fmla="*/ 3108 h 11186"/>
                <a:gd name="connsiteX1" fmla="*/ 1130 w 10000"/>
                <a:gd name="connsiteY1" fmla="*/ 2871 h 11186"/>
                <a:gd name="connsiteX2" fmla="*/ 944 w 10000"/>
                <a:gd name="connsiteY2" fmla="*/ 4982 h 11186"/>
                <a:gd name="connsiteX3" fmla="*/ 0 w 10000"/>
                <a:gd name="connsiteY3" fmla="*/ 6858 h 11186"/>
                <a:gd name="connsiteX4" fmla="*/ 573 w 10000"/>
                <a:gd name="connsiteY4" fmla="*/ 7361 h 11186"/>
                <a:gd name="connsiteX5" fmla="*/ 1528 w 10000"/>
                <a:gd name="connsiteY5" fmla="*/ 7372 h 11186"/>
                <a:gd name="connsiteX6" fmla="*/ 1512 w 10000"/>
                <a:gd name="connsiteY6" fmla="*/ 7815 h 11186"/>
                <a:gd name="connsiteX7" fmla="*/ 739 w 10000"/>
                <a:gd name="connsiteY7" fmla="*/ 8551 h 11186"/>
                <a:gd name="connsiteX8" fmla="*/ 5615 w 10000"/>
                <a:gd name="connsiteY8" fmla="*/ 6631 h 11186"/>
                <a:gd name="connsiteX9" fmla="*/ 5133 w 10000"/>
                <a:gd name="connsiteY9" fmla="*/ 9359 h 11186"/>
                <a:gd name="connsiteX10" fmla="*/ 6860 w 10000"/>
                <a:gd name="connsiteY10" fmla="*/ 11186 h 11186"/>
                <a:gd name="connsiteX11" fmla="*/ 7685 w 10000"/>
                <a:gd name="connsiteY11" fmla="*/ 9287 h 11186"/>
                <a:gd name="connsiteX12" fmla="*/ 9227 w 10000"/>
                <a:gd name="connsiteY12" fmla="*/ 7081 h 11186"/>
                <a:gd name="connsiteX13" fmla="*/ 10000 w 10000"/>
                <a:gd name="connsiteY13" fmla="*/ 7081 h 11186"/>
                <a:gd name="connsiteX14" fmla="*/ 9217 w 10000"/>
                <a:gd name="connsiteY14" fmla="*/ 2999 h 11186"/>
                <a:gd name="connsiteX15" fmla="*/ 7539 w 10000"/>
                <a:gd name="connsiteY15" fmla="*/ 858 h 11186"/>
                <a:gd name="connsiteX16" fmla="*/ 5194 w 10000"/>
                <a:gd name="connsiteY16" fmla="*/ 1946 h 11186"/>
                <a:gd name="connsiteX17" fmla="*/ 2829 w 10000"/>
                <a:gd name="connsiteY17" fmla="*/ 0 h 11186"/>
                <a:gd name="connsiteX18" fmla="*/ 3722 w 10000"/>
                <a:gd name="connsiteY18" fmla="*/ 3108 h 11186"/>
                <a:gd name="connsiteX0" fmla="*/ 3722 w 10000"/>
                <a:gd name="connsiteY0" fmla="*/ 3108 h 11186"/>
                <a:gd name="connsiteX1" fmla="*/ 1130 w 10000"/>
                <a:gd name="connsiteY1" fmla="*/ 2871 h 11186"/>
                <a:gd name="connsiteX2" fmla="*/ 944 w 10000"/>
                <a:gd name="connsiteY2" fmla="*/ 4982 h 11186"/>
                <a:gd name="connsiteX3" fmla="*/ 0 w 10000"/>
                <a:gd name="connsiteY3" fmla="*/ 6858 h 11186"/>
                <a:gd name="connsiteX4" fmla="*/ 573 w 10000"/>
                <a:gd name="connsiteY4" fmla="*/ 7361 h 11186"/>
                <a:gd name="connsiteX5" fmla="*/ 1528 w 10000"/>
                <a:gd name="connsiteY5" fmla="*/ 7372 h 11186"/>
                <a:gd name="connsiteX6" fmla="*/ 1512 w 10000"/>
                <a:gd name="connsiteY6" fmla="*/ 7815 h 11186"/>
                <a:gd name="connsiteX7" fmla="*/ 739 w 10000"/>
                <a:gd name="connsiteY7" fmla="*/ 8551 h 11186"/>
                <a:gd name="connsiteX8" fmla="*/ 6747 w 10000"/>
                <a:gd name="connsiteY8" fmla="*/ 6868 h 11186"/>
                <a:gd name="connsiteX9" fmla="*/ 5133 w 10000"/>
                <a:gd name="connsiteY9" fmla="*/ 9359 h 11186"/>
                <a:gd name="connsiteX10" fmla="*/ 6860 w 10000"/>
                <a:gd name="connsiteY10" fmla="*/ 11186 h 11186"/>
                <a:gd name="connsiteX11" fmla="*/ 7685 w 10000"/>
                <a:gd name="connsiteY11" fmla="*/ 9287 h 11186"/>
                <a:gd name="connsiteX12" fmla="*/ 9227 w 10000"/>
                <a:gd name="connsiteY12" fmla="*/ 7081 h 11186"/>
                <a:gd name="connsiteX13" fmla="*/ 10000 w 10000"/>
                <a:gd name="connsiteY13" fmla="*/ 7081 h 11186"/>
                <a:gd name="connsiteX14" fmla="*/ 9217 w 10000"/>
                <a:gd name="connsiteY14" fmla="*/ 2999 h 11186"/>
                <a:gd name="connsiteX15" fmla="*/ 7539 w 10000"/>
                <a:gd name="connsiteY15" fmla="*/ 858 h 11186"/>
                <a:gd name="connsiteX16" fmla="*/ 5194 w 10000"/>
                <a:gd name="connsiteY16" fmla="*/ 1946 h 11186"/>
                <a:gd name="connsiteX17" fmla="*/ 2829 w 10000"/>
                <a:gd name="connsiteY17" fmla="*/ 0 h 11186"/>
                <a:gd name="connsiteX18" fmla="*/ 3722 w 10000"/>
                <a:gd name="connsiteY18" fmla="*/ 3108 h 11186"/>
                <a:gd name="connsiteX0" fmla="*/ 3722 w 10000"/>
                <a:gd name="connsiteY0" fmla="*/ 3108 h 11186"/>
                <a:gd name="connsiteX1" fmla="*/ 1130 w 10000"/>
                <a:gd name="connsiteY1" fmla="*/ 2871 h 11186"/>
                <a:gd name="connsiteX2" fmla="*/ 944 w 10000"/>
                <a:gd name="connsiteY2" fmla="*/ 4982 h 11186"/>
                <a:gd name="connsiteX3" fmla="*/ 0 w 10000"/>
                <a:gd name="connsiteY3" fmla="*/ 6858 h 11186"/>
                <a:gd name="connsiteX4" fmla="*/ 573 w 10000"/>
                <a:gd name="connsiteY4" fmla="*/ 7361 h 11186"/>
                <a:gd name="connsiteX5" fmla="*/ 1528 w 10000"/>
                <a:gd name="connsiteY5" fmla="*/ 7372 h 11186"/>
                <a:gd name="connsiteX6" fmla="*/ 1512 w 10000"/>
                <a:gd name="connsiteY6" fmla="*/ 7815 h 11186"/>
                <a:gd name="connsiteX7" fmla="*/ 3908 w 10000"/>
                <a:gd name="connsiteY7" fmla="*/ 6891 h 11186"/>
                <a:gd name="connsiteX8" fmla="*/ 6747 w 10000"/>
                <a:gd name="connsiteY8" fmla="*/ 6868 h 11186"/>
                <a:gd name="connsiteX9" fmla="*/ 5133 w 10000"/>
                <a:gd name="connsiteY9" fmla="*/ 9359 h 11186"/>
                <a:gd name="connsiteX10" fmla="*/ 6860 w 10000"/>
                <a:gd name="connsiteY10" fmla="*/ 11186 h 11186"/>
                <a:gd name="connsiteX11" fmla="*/ 7685 w 10000"/>
                <a:gd name="connsiteY11" fmla="*/ 9287 h 11186"/>
                <a:gd name="connsiteX12" fmla="*/ 9227 w 10000"/>
                <a:gd name="connsiteY12" fmla="*/ 7081 h 11186"/>
                <a:gd name="connsiteX13" fmla="*/ 10000 w 10000"/>
                <a:gd name="connsiteY13" fmla="*/ 7081 h 11186"/>
                <a:gd name="connsiteX14" fmla="*/ 9217 w 10000"/>
                <a:gd name="connsiteY14" fmla="*/ 2999 h 11186"/>
                <a:gd name="connsiteX15" fmla="*/ 7539 w 10000"/>
                <a:gd name="connsiteY15" fmla="*/ 858 h 11186"/>
                <a:gd name="connsiteX16" fmla="*/ 5194 w 10000"/>
                <a:gd name="connsiteY16" fmla="*/ 1946 h 11186"/>
                <a:gd name="connsiteX17" fmla="*/ 2829 w 10000"/>
                <a:gd name="connsiteY17" fmla="*/ 0 h 11186"/>
                <a:gd name="connsiteX18" fmla="*/ 3722 w 10000"/>
                <a:gd name="connsiteY18" fmla="*/ 3108 h 11186"/>
                <a:gd name="connsiteX0" fmla="*/ 3722 w 10000"/>
                <a:gd name="connsiteY0" fmla="*/ 3108 h 11186"/>
                <a:gd name="connsiteX1" fmla="*/ 1130 w 10000"/>
                <a:gd name="connsiteY1" fmla="*/ 2871 h 11186"/>
                <a:gd name="connsiteX2" fmla="*/ 944 w 10000"/>
                <a:gd name="connsiteY2" fmla="*/ 4982 h 11186"/>
                <a:gd name="connsiteX3" fmla="*/ 0 w 10000"/>
                <a:gd name="connsiteY3" fmla="*/ 6858 h 11186"/>
                <a:gd name="connsiteX4" fmla="*/ 573 w 10000"/>
                <a:gd name="connsiteY4" fmla="*/ 7361 h 11186"/>
                <a:gd name="connsiteX5" fmla="*/ 1528 w 10000"/>
                <a:gd name="connsiteY5" fmla="*/ 7372 h 11186"/>
                <a:gd name="connsiteX6" fmla="*/ 1965 w 10000"/>
                <a:gd name="connsiteY6" fmla="*/ 10661 h 11186"/>
                <a:gd name="connsiteX7" fmla="*/ 3908 w 10000"/>
                <a:gd name="connsiteY7" fmla="*/ 6891 h 11186"/>
                <a:gd name="connsiteX8" fmla="*/ 6747 w 10000"/>
                <a:gd name="connsiteY8" fmla="*/ 6868 h 11186"/>
                <a:gd name="connsiteX9" fmla="*/ 5133 w 10000"/>
                <a:gd name="connsiteY9" fmla="*/ 9359 h 11186"/>
                <a:gd name="connsiteX10" fmla="*/ 6860 w 10000"/>
                <a:gd name="connsiteY10" fmla="*/ 11186 h 11186"/>
                <a:gd name="connsiteX11" fmla="*/ 7685 w 10000"/>
                <a:gd name="connsiteY11" fmla="*/ 9287 h 11186"/>
                <a:gd name="connsiteX12" fmla="*/ 9227 w 10000"/>
                <a:gd name="connsiteY12" fmla="*/ 7081 h 11186"/>
                <a:gd name="connsiteX13" fmla="*/ 10000 w 10000"/>
                <a:gd name="connsiteY13" fmla="*/ 7081 h 11186"/>
                <a:gd name="connsiteX14" fmla="*/ 9217 w 10000"/>
                <a:gd name="connsiteY14" fmla="*/ 2999 h 11186"/>
                <a:gd name="connsiteX15" fmla="*/ 7539 w 10000"/>
                <a:gd name="connsiteY15" fmla="*/ 858 h 11186"/>
                <a:gd name="connsiteX16" fmla="*/ 5194 w 10000"/>
                <a:gd name="connsiteY16" fmla="*/ 1946 h 11186"/>
                <a:gd name="connsiteX17" fmla="*/ 2829 w 10000"/>
                <a:gd name="connsiteY17" fmla="*/ 0 h 11186"/>
                <a:gd name="connsiteX18" fmla="*/ 3722 w 10000"/>
                <a:gd name="connsiteY18" fmla="*/ 3108 h 11186"/>
                <a:gd name="connsiteX0" fmla="*/ 3722 w 10000"/>
                <a:gd name="connsiteY0" fmla="*/ 3108 h 11186"/>
                <a:gd name="connsiteX1" fmla="*/ 1130 w 10000"/>
                <a:gd name="connsiteY1" fmla="*/ 2871 h 11186"/>
                <a:gd name="connsiteX2" fmla="*/ 944 w 10000"/>
                <a:gd name="connsiteY2" fmla="*/ 4982 h 11186"/>
                <a:gd name="connsiteX3" fmla="*/ 0 w 10000"/>
                <a:gd name="connsiteY3" fmla="*/ 6858 h 11186"/>
                <a:gd name="connsiteX4" fmla="*/ 573 w 10000"/>
                <a:gd name="connsiteY4" fmla="*/ 7361 h 11186"/>
                <a:gd name="connsiteX5" fmla="*/ 1528 w 10000"/>
                <a:gd name="connsiteY5" fmla="*/ 7372 h 11186"/>
                <a:gd name="connsiteX6" fmla="*/ 1965 w 10000"/>
                <a:gd name="connsiteY6" fmla="*/ 10661 h 11186"/>
                <a:gd name="connsiteX7" fmla="*/ 3908 w 10000"/>
                <a:gd name="connsiteY7" fmla="*/ 6891 h 11186"/>
                <a:gd name="connsiteX8" fmla="*/ 6747 w 10000"/>
                <a:gd name="connsiteY8" fmla="*/ 6868 h 11186"/>
                <a:gd name="connsiteX9" fmla="*/ 6038 w 10000"/>
                <a:gd name="connsiteY9" fmla="*/ 9359 h 11186"/>
                <a:gd name="connsiteX10" fmla="*/ 6860 w 10000"/>
                <a:gd name="connsiteY10" fmla="*/ 11186 h 11186"/>
                <a:gd name="connsiteX11" fmla="*/ 7685 w 10000"/>
                <a:gd name="connsiteY11" fmla="*/ 9287 h 11186"/>
                <a:gd name="connsiteX12" fmla="*/ 9227 w 10000"/>
                <a:gd name="connsiteY12" fmla="*/ 7081 h 11186"/>
                <a:gd name="connsiteX13" fmla="*/ 10000 w 10000"/>
                <a:gd name="connsiteY13" fmla="*/ 7081 h 11186"/>
                <a:gd name="connsiteX14" fmla="*/ 9217 w 10000"/>
                <a:gd name="connsiteY14" fmla="*/ 2999 h 11186"/>
                <a:gd name="connsiteX15" fmla="*/ 7539 w 10000"/>
                <a:gd name="connsiteY15" fmla="*/ 858 h 11186"/>
                <a:gd name="connsiteX16" fmla="*/ 5194 w 10000"/>
                <a:gd name="connsiteY16" fmla="*/ 1946 h 11186"/>
                <a:gd name="connsiteX17" fmla="*/ 2829 w 10000"/>
                <a:gd name="connsiteY17" fmla="*/ 0 h 11186"/>
                <a:gd name="connsiteX18" fmla="*/ 3722 w 10000"/>
                <a:gd name="connsiteY18" fmla="*/ 3108 h 11186"/>
                <a:gd name="connsiteX0" fmla="*/ 3722 w 10000"/>
                <a:gd name="connsiteY0" fmla="*/ 3108 h 11186"/>
                <a:gd name="connsiteX1" fmla="*/ 1130 w 10000"/>
                <a:gd name="connsiteY1" fmla="*/ 2871 h 11186"/>
                <a:gd name="connsiteX2" fmla="*/ 944 w 10000"/>
                <a:gd name="connsiteY2" fmla="*/ 4982 h 11186"/>
                <a:gd name="connsiteX3" fmla="*/ 0 w 10000"/>
                <a:gd name="connsiteY3" fmla="*/ 6858 h 11186"/>
                <a:gd name="connsiteX4" fmla="*/ 573 w 10000"/>
                <a:gd name="connsiteY4" fmla="*/ 7361 h 11186"/>
                <a:gd name="connsiteX5" fmla="*/ 1528 w 10000"/>
                <a:gd name="connsiteY5" fmla="*/ 7372 h 11186"/>
                <a:gd name="connsiteX6" fmla="*/ 1965 w 10000"/>
                <a:gd name="connsiteY6" fmla="*/ 10661 h 11186"/>
                <a:gd name="connsiteX7" fmla="*/ 3908 w 10000"/>
                <a:gd name="connsiteY7" fmla="*/ 6891 h 11186"/>
                <a:gd name="connsiteX8" fmla="*/ 5842 w 10000"/>
                <a:gd name="connsiteY8" fmla="*/ 8054 h 11186"/>
                <a:gd name="connsiteX9" fmla="*/ 6038 w 10000"/>
                <a:gd name="connsiteY9" fmla="*/ 9359 h 11186"/>
                <a:gd name="connsiteX10" fmla="*/ 6860 w 10000"/>
                <a:gd name="connsiteY10" fmla="*/ 11186 h 11186"/>
                <a:gd name="connsiteX11" fmla="*/ 7685 w 10000"/>
                <a:gd name="connsiteY11" fmla="*/ 9287 h 11186"/>
                <a:gd name="connsiteX12" fmla="*/ 9227 w 10000"/>
                <a:gd name="connsiteY12" fmla="*/ 7081 h 11186"/>
                <a:gd name="connsiteX13" fmla="*/ 10000 w 10000"/>
                <a:gd name="connsiteY13" fmla="*/ 7081 h 11186"/>
                <a:gd name="connsiteX14" fmla="*/ 9217 w 10000"/>
                <a:gd name="connsiteY14" fmla="*/ 2999 h 11186"/>
                <a:gd name="connsiteX15" fmla="*/ 7539 w 10000"/>
                <a:gd name="connsiteY15" fmla="*/ 858 h 11186"/>
                <a:gd name="connsiteX16" fmla="*/ 5194 w 10000"/>
                <a:gd name="connsiteY16" fmla="*/ 1946 h 11186"/>
                <a:gd name="connsiteX17" fmla="*/ 2829 w 10000"/>
                <a:gd name="connsiteY17" fmla="*/ 0 h 11186"/>
                <a:gd name="connsiteX18" fmla="*/ 3722 w 10000"/>
                <a:gd name="connsiteY18" fmla="*/ 3108 h 11186"/>
                <a:gd name="connsiteX0" fmla="*/ 3722 w 10000"/>
                <a:gd name="connsiteY0" fmla="*/ 3108 h 11186"/>
                <a:gd name="connsiteX1" fmla="*/ 1130 w 10000"/>
                <a:gd name="connsiteY1" fmla="*/ 2871 h 11186"/>
                <a:gd name="connsiteX2" fmla="*/ 944 w 10000"/>
                <a:gd name="connsiteY2" fmla="*/ 4982 h 11186"/>
                <a:gd name="connsiteX3" fmla="*/ 0 w 10000"/>
                <a:gd name="connsiteY3" fmla="*/ 6858 h 11186"/>
                <a:gd name="connsiteX4" fmla="*/ 573 w 10000"/>
                <a:gd name="connsiteY4" fmla="*/ 7361 h 11186"/>
                <a:gd name="connsiteX5" fmla="*/ 1528 w 10000"/>
                <a:gd name="connsiteY5" fmla="*/ 7372 h 11186"/>
                <a:gd name="connsiteX6" fmla="*/ 1965 w 10000"/>
                <a:gd name="connsiteY6" fmla="*/ 10661 h 11186"/>
                <a:gd name="connsiteX7" fmla="*/ 4134 w 10000"/>
                <a:gd name="connsiteY7" fmla="*/ 9026 h 11186"/>
                <a:gd name="connsiteX8" fmla="*/ 5842 w 10000"/>
                <a:gd name="connsiteY8" fmla="*/ 8054 h 11186"/>
                <a:gd name="connsiteX9" fmla="*/ 6038 w 10000"/>
                <a:gd name="connsiteY9" fmla="*/ 9359 h 11186"/>
                <a:gd name="connsiteX10" fmla="*/ 6860 w 10000"/>
                <a:gd name="connsiteY10" fmla="*/ 11186 h 11186"/>
                <a:gd name="connsiteX11" fmla="*/ 7685 w 10000"/>
                <a:gd name="connsiteY11" fmla="*/ 9287 h 11186"/>
                <a:gd name="connsiteX12" fmla="*/ 9227 w 10000"/>
                <a:gd name="connsiteY12" fmla="*/ 7081 h 11186"/>
                <a:gd name="connsiteX13" fmla="*/ 10000 w 10000"/>
                <a:gd name="connsiteY13" fmla="*/ 7081 h 11186"/>
                <a:gd name="connsiteX14" fmla="*/ 9217 w 10000"/>
                <a:gd name="connsiteY14" fmla="*/ 2999 h 11186"/>
                <a:gd name="connsiteX15" fmla="*/ 7539 w 10000"/>
                <a:gd name="connsiteY15" fmla="*/ 858 h 11186"/>
                <a:gd name="connsiteX16" fmla="*/ 5194 w 10000"/>
                <a:gd name="connsiteY16" fmla="*/ 1946 h 11186"/>
                <a:gd name="connsiteX17" fmla="*/ 2829 w 10000"/>
                <a:gd name="connsiteY17" fmla="*/ 0 h 11186"/>
                <a:gd name="connsiteX18" fmla="*/ 3722 w 10000"/>
                <a:gd name="connsiteY18" fmla="*/ 3108 h 11186"/>
                <a:gd name="connsiteX0" fmla="*/ 3722 w 10000"/>
                <a:gd name="connsiteY0" fmla="*/ 3108 h 11847"/>
                <a:gd name="connsiteX1" fmla="*/ 1130 w 10000"/>
                <a:gd name="connsiteY1" fmla="*/ 2871 h 11847"/>
                <a:gd name="connsiteX2" fmla="*/ 944 w 10000"/>
                <a:gd name="connsiteY2" fmla="*/ 4982 h 11847"/>
                <a:gd name="connsiteX3" fmla="*/ 0 w 10000"/>
                <a:gd name="connsiteY3" fmla="*/ 6858 h 11847"/>
                <a:gd name="connsiteX4" fmla="*/ 573 w 10000"/>
                <a:gd name="connsiteY4" fmla="*/ 7361 h 11847"/>
                <a:gd name="connsiteX5" fmla="*/ 1528 w 10000"/>
                <a:gd name="connsiteY5" fmla="*/ 7372 h 11847"/>
                <a:gd name="connsiteX6" fmla="*/ 2191 w 10000"/>
                <a:gd name="connsiteY6" fmla="*/ 11847 h 11847"/>
                <a:gd name="connsiteX7" fmla="*/ 4134 w 10000"/>
                <a:gd name="connsiteY7" fmla="*/ 9026 h 11847"/>
                <a:gd name="connsiteX8" fmla="*/ 5842 w 10000"/>
                <a:gd name="connsiteY8" fmla="*/ 8054 h 11847"/>
                <a:gd name="connsiteX9" fmla="*/ 6038 w 10000"/>
                <a:gd name="connsiteY9" fmla="*/ 9359 h 11847"/>
                <a:gd name="connsiteX10" fmla="*/ 6860 w 10000"/>
                <a:gd name="connsiteY10" fmla="*/ 11186 h 11847"/>
                <a:gd name="connsiteX11" fmla="*/ 7685 w 10000"/>
                <a:gd name="connsiteY11" fmla="*/ 9287 h 11847"/>
                <a:gd name="connsiteX12" fmla="*/ 9227 w 10000"/>
                <a:gd name="connsiteY12" fmla="*/ 7081 h 11847"/>
                <a:gd name="connsiteX13" fmla="*/ 10000 w 10000"/>
                <a:gd name="connsiteY13" fmla="*/ 7081 h 11847"/>
                <a:gd name="connsiteX14" fmla="*/ 9217 w 10000"/>
                <a:gd name="connsiteY14" fmla="*/ 2999 h 11847"/>
                <a:gd name="connsiteX15" fmla="*/ 7539 w 10000"/>
                <a:gd name="connsiteY15" fmla="*/ 858 h 11847"/>
                <a:gd name="connsiteX16" fmla="*/ 5194 w 10000"/>
                <a:gd name="connsiteY16" fmla="*/ 1946 h 11847"/>
                <a:gd name="connsiteX17" fmla="*/ 2829 w 10000"/>
                <a:gd name="connsiteY17" fmla="*/ 0 h 11847"/>
                <a:gd name="connsiteX18" fmla="*/ 3722 w 10000"/>
                <a:gd name="connsiteY18" fmla="*/ 3108 h 11847"/>
                <a:gd name="connsiteX0" fmla="*/ 3722 w 10000"/>
                <a:gd name="connsiteY0" fmla="*/ 3108 h 11847"/>
                <a:gd name="connsiteX1" fmla="*/ 1130 w 10000"/>
                <a:gd name="connsiteY1" fmla="*/ 2871 h 11847"/>
                <a:gd name="connsiteX2" fmla="*/ 944 w 10000"/>
                <a:gd name="connsiteY2" fmla="*/ 4982 h 11847"/>
                <a:gd name="connsiteX3" fmla="*/ 0 w 10000"/>
                <a:gd name="connsiteY3" fmla="*/ 6858 h 11847"/>
                <a:gd name="connsiteX4" fmla="*/ 573 w 10000"/>
                <a:gd name="connsiteY4" fmla="*/ 7361 h 11847"/>
                <a:gd name="connsiteX5" fmla="*/ 849 w 10000"/>
                <a:gd name="connsiteY5" fmla="*/ 9032 h 11847"/>
                <a:gd name="connsiteX6" fmla="*/ 2191 w 10000"/>
                <a:gd name="connsiteY6" fmla="*/ 11847 h 11847"/>
                <a:gd name="connsiteX7" fmla="*/ 4134 w 10000"/>
                <a:gd name="connsiteY7" fmla="*/ 9026 h 11847"/>
                <a:gd name="connsiteX8" fmla="*/ 5842 w 10000"/>
                <a:gd name="connsiteY8" fmla="*/ 8054 h 11847"/>
                <a:gd name="connsiteX9" fmla="*/ 6038 w 10000"/>
                <a:gd name="connsiteY9" fmla="*/ 9359 h 11847"/>
                <a:gd name="connsiteX10" fmla="*/ 6860 w 10000"/>
                <a:gd name="connsiteY10" fmla="*/ 11186 h 11847"/>
                <a:gd name="connsiteX11" fmla="*/ 7685 w 10000"/>
                <a:gd name="connsiteY11" fmla="*/ 9287 h 11847"/>
                <a:gd name="connsiteX12" fmla="*/ 9227 w 10000"/>
                <a:gd name="connsiteY12" fmla="*/ 7081 h 11847"/>
                <a:gd name="connsiteX13" fmla="*/ 10000 w 10000"/>
                <a:gd name="connsiteY13" fmla="*/ 7081 h 11847"/>
                <a:gd name="connsiteX14" fmla="*/ 9217 w 10000"/>
                <a:gd name="connsiteY14" fmla="*/ 2999 h 11847"/>
                <a:gd name="connsiteX15" fmla="*/ 7539 w 10000"/>
                <a:gd name="connsiteY15" fmla="*/ 858 h 11847"/>
                <a:gd name="connsiteX16" fmla="*/ 5194 w 10000"/>
                <a:gd name="connsiteY16" fmla="*/ 1946 h 11847"/>
                <a:gd name="connsiteX17" fmla="*/ 2829 w 10000"/>
                <a:gd name="connsiteY17" fmla="*/ 0 h 11847"/>
                <a:gd name="connsiteX18" fmla="*/ 3722 w 10000"/>
                <a:gd name="connsiteY18" fmla="*/ 3108 h 11847"/>
                <a:gd name="connsiteX0" fmla="*/ 3722 w 10000"/>
                <a:gd name="connsiteY0" fmla="*/ 3108 h 11186"/>
                <a:gd name="connsiteX1" fmla="*/ 1130 w 10000"/>
                <a:gd name="connsiteY1" fmla="*/ 2871 h 11186"/>
                <a:gd name="connsiteX2" fmla="*/ 944 w 10000"/>
                <a:gd name="connsiteY2" fmla="*/ 4982 h 11186"/>
                <a:gd name="connsiteX3" fmla="*/ 0 w 10000"/>
                <a:gd name="connsiteY3" fmla="*/ 6858 h 11186"/>
                <a:gd name="connsiteX4" fmla="*/ 573 w 10000"/>
                <a:gd name="connsiteY4" fmla="*/ 7361 h 11186"/>
                <a:gd name="connsiteX5" fmla="*/ 849 w 10000"/>
                <a:gd name="connsiteY5" fmla="*/ 9032 h 11186"/>
                <a:gd name="connsiteX6" fmla="*/ 2870 w 10000"/>
                <a:gd name="connsiteY6" fmla="*/ 10898 h 11186"/>
                <a:gd name="connsiteX7" fmla="*/ 4134 w 10000"/>
                <a:gd name="connsiteY7" fmla="*/ 9026 h 11186"/>
                <a:gd name="connsiteX8" fmla="*/ 5842 w 10000"/>
                <a:gd name="connsiteY8" fmla="*/ 8054 h 11186"/>
                <a:gd name="connsiteX9" fmla="*/ 6038 w 10000"/>
                <a:gd name="connsiteY9" fmla="*/ 9359 h 11186"/>
                <a:gd name="connsiteX10" fmla="*/ 6860 w 10000"/>
                <a:gd name="connsiteY10" fmla="*/ 11186 h 11186"/>
                <a:gd name="connsiteX11" fmla="*/ 7685 w 10000"/>
                <a:gd name="connsiteY11" fmla="*/ 9287 h 11186"/>
                <a:gd name="connsiteX12" fmla="*/ 9227 w 10000"/>
                <a:gd name="connsiteY12" fmla="*/ 7081 h 11186"/>
                <a:gd name="connsiteX13" fmla="*/ 10000 w 10000"/>
                <a:gd name="connsiteY13" fmla="*/ 7081 h 11186"/>
                <a:gd name="connsiteX14" fmla="*/ 9217 w 10000"/>
                <a:gd name="connsiteY14" fmla="*/ 2999 h 11186"/>
                <a:gd name="connsiteX15" fmla="*/ 7539 w 10000"/>
                <a:gd name="connsiteY15" fmla="*/ 858 h 11186"/>
                <a:gd name="connsiteX16" fmla="*/ 5194 w 10000"/>
                <a:gd name="connsiteY16" fmla="*/ 1946 h 11186"/>
                <a:gd name="connsiteX17" fmla="*/ 2829 w 10000"/>
                <a:gd name="connsiteY17" fmla="*/ 0 h 11186"/>
                <a:gd name="connsiteX18" fmla="*/ 3722 w 10000"/>
                <a:gd name="connsiteY18" fmla="*/ 3108 h 11186"/>
                <a:gd name="connsiteX0" fmla="*/ 3722 w 10000"/>
                <a:gd name="connsiteY0" fmla="*/ 3108 h 11186"/>
                <a:gd name="connsiteX1" fmla="*/ 1130 w 10000"/>
                <a:gd name="connsiteY1" fmla="*/ 2871 h 11186"/>
                <a:gd name="connsiteX2" fmla="*/ 944 w 10000"/>
                <a:gd name="connsiteY2" fmla="*/ 4982 h 11186"/>
                <a:gd name="connsiteX3" fmla="*/ 0 w 10000"/>
                <a:gd name="connsiteY3" fmla="*/ 6858 h 11186"/>
                <a:gd name="connsiteX4" fmla="*/ 573 w 10000"/>
                <a:gd name="connsiteY4" fmla="*/ 7361 h 11186"/>
                <a:gd name="connsiteX5" fmla="*/ 2870 w 10000"/>
                <a:gd name="connsiteY5" fmla="*/ 10898 h 11186"/>
                <a:gd name="connsiteX6" fmla="*/ 4134 w 10000"/>
                <a:gd name="connsiteY6" fmla="*/ 9026 h 11186"/>
                <a:gd name="connsiteX7" fmla="*/ 5842 w 10000"/>
                <a:gd name="connsiteY7" fmla="*/ 8054 h 11186"/>
                <a:gd name="connsiteX8" fmla="*/ 6038 w 10000"/>
                <a:gd name="connsiteY8" fmla="*/ 9359 h 11186"/>
                <a:gd name="connsiteX9" fmla="*/ 6860 w 10000"/>
                <a:gd name="connsiteY9" fmla="*/ 11186 h 11186"/>
                <a:gd name="connsiteX10" fmla="*/ 7685 w 10000"/>
                <a:gd name="connsiteY10" fmla="*/ 9287 h 11186"/>
                <a:gd name="connsiteX11" fmla="*/ 9227 w 10000"/>
                <a:gd name="connsiteY11" fmla="*/ 7081 h 11186"/>
                <a:gd name="connsiteX12" fmla="*/ 10000 w 10000"/>
                <a:gd name="connsiteY12" fmla="*/ 7081 h 11186"/>
                <a:gd name="connsiteX13" fmla="*/ 9217 w 10000"/>
                <a:gd name="connsiteY13" fmla="*/ 2999 h 11186"/>
                <a:gd name="connsiteX14" fmla="*/ 7539 w 10000"/>
                <a:gd name="connsiteY14" fmla="*/ 858 h 11186"/>
                <a:gd name="connsiteX15" fmla="*/ 5194 w 10000"/>
                <a:gd name="connsiteY15" fmla="*/ 1946 h 11186"/>
                <a:gd name="connsiteX16" fmla="*/ 2829 w 10000"/>
                <a:gd name="connsiteY16" fmla="*/ 0 h 11186"/>
                <a:gd name="connsiteX17" fmla="*/ 3722 w 10000"/>
                <a:gd name="connsiteY17" fmla="*/ 3108 h 11186"/>
                <a:gd name="connsiteX0" fmla="*/ 3722 w 10000"/>
                <a:gd name="connsiteY0" fmla="*/ 3108 h 11186"/>
                <a:gd name="connsiteX1" fmla="*/ 1130 w 10000"/>
                <a:gd name="connsiteY1" fmla="*/ 2871 h 11186"/>
                <a:gd name="connsiteX2" fmla="*/ 944 w 10000"/>
                <a:gd name="connsiteY2" fmla="*/ 4982 h 11186"/>
                <a:gd name="connsiteX3" fmla="*/ 0 w 10000"/>
                <a:gd name="connsiteY3" fmla="*/ 6858 h 11186"/>
                <a:gd name="connsiteX4" fmla="*/ 2870 w 10000"/>
                <a:gd name="connsiteY4" fmla="*/ 10898 h 11186"/>
                <a:gd name="connsiteX5" fmla="*/ 4134 w 10000"/>
                <a:gd name="connsiteY5" fmla="*/ 9026 h 11186"/>
                <a:gd name="connsiteX6" fmla="*/ 5842 w 10000"/>
                <a:gd name="connsiteY6" fmla="*/ 8054 h 11186"/>
                <a:gd name="connsiteX7" fmla="*/ 6038 w 10000"/>
                <a:gd name="connsiteY7" fmla="*/ 9359 h 11186"/>
                <a:gd name="connsiteX8" fmla="*/ 6860 w 10000"/>
                <a:gd name="connsiteY8" fmla="*/ 11186 h 11186"/>
                <a:gd name="connsiteX9" fmla="*/ 7685 w 10000"/>
                <a:gd name="connsiteY9" fmla="*/ 9287 h 11186"/>
                <a:gd name="connsiteX10" fmla="*/ 9227 w 10000"/>
                <a:gd name="connsiteY10" fmla="*/ 7081 h 11186"/>
                <a:gd name="connsiteX11" fmla="*/ 10000 w 10000"/>
                <a:gd name="connsiteY11" fmla="*/ 7081 h 11186"/>
                <a:gd name="connsiteX12" fmla="*/ 9217 w 10000"/>
                <a:gd name="connsiteY12" fmla="*/ 2999 h 11186"/>
                <a:gd name="connsiteX13" fmla="*/ 7539 w 10000"/>
                <a:gd name="connsiteY13" fmla="*/ 858 h 11186"/>
                <a:gd name="connsiteX14" fmla="*/ 5194 w 10000"/>
                <a:gd name="connsiteY14" fmla="*/ 1946 h 11186"/>
                <a:gd name="connsiteX15" fmla="*/ 2829 w 10000"/>
                <a:gd name="connsiteY15" fmla="*/ 0 h 11186"/>
                <a:gd name="connsiteX16" fmla="*/ 3722 w 10000"/>
                <a:gd name="connsiteY16" fmla="*/ 3108 h 11186"/>
                <a:gd name="connsiteX0" fmla="*/ 3722 w 10000"/>
                <a:gd name="connsiteY0" fmla="*/ 3108 h 11186"/>
                <a:gd name="connsiteX1" fmla="*/ 1130 w 10000"/>
                <a:gd name="connsiteY1" fmla="*/ 2871 h 11186"/>
                <a:gd name="connsiteX2" fmla="*/ 0 w 10000"/>
                <a:gd name="connsiteY2" fmla="*/ 6858 h 11186"/>
                <a:gd name="connsiteX3" fmla="*/ 2870 w 10000"/>
                <a:gd name="connsiteY3" fmla="*/ 10898 h 11186"/>
                <a:gd name="connsiteX4" fmla="*/ 4134 w 10000"/>
                <a:gd name="connsiteY4" fmla="*/ 9026 h 11186"/>
                <a:gd name="connsiteX5" fmla="*/ 5842 w 10000"/>
                <a:gd name="connsiteY5" fmla="*/ 8054 h 11186"/>
                <a:gd name="connsiteX6" fmla="*/ 6038 w 10000"/>
                <a:gd name="connsiteY6" fmla="*/ 9359 h 11186"/>
                <a:gd name="connsiteX7" fmla="*/ 6860 w 10000"/>
                <a:gd name="connsiteY7" fmla="*/ 11186 h 11186"/>
                <a:gd name="connsiteX8" fmla="*/ 7685 w 10000"/>
                <a:gd name="connsiteY8" fmla="*/ 9287 h 11186"/>
                <a:gd name="connsiteX9" fmla="*/ 9227 w 10000"/>
                <a:gd name="connsiteY9" fmla="*/ 7081 h 11186"/>
                <a:gd name="connsiteX10" fmla="*/ 10000 w 10000"/>
                <a:gd name="connsiteY10" fmla="*/ 7081 h 11186"/>
                <a:gd name="connsiteX11" fmla="*/ 9217 w 10000"/>
                <a:gd name="connsiteY11" fmla="*/ 2999 h 11186"/>
                <a:gd name="connsiteX12" fmla="*/ 7539 w 10000"/>
                <a:gd name="connsiteY12" fmla="*/ 858 h 11186"/>
                <a:gd name="connsiteX13" fmla="*/ 5194 w 10000"/>
                <a:gd name="connsiteY13" fmla="*/ 1946 h 11186"/>
                <a:gd name="connsiteX14" fmla="*/ 2829 w 10000"/>
                <a:gd name="connsiteY14" fmla="*/ 0 h 11186"/>
                <a:gd name="connsiteX15" fmla="*/ 3722 w 10000"/>
                <a:gd name="connsiteY15" fmla="*/ 3108 h 11186"/>
                <a:gd name="connsiteX0" fmla="*/ 2592 w 8870"/>
                <a:gd name="connsiteY0" fmla="*/ 3108 h 11186"/>
                <a:gd name="connsiteX1" fmla="*/ 0 w 8870"/>
                <a:gd name="connsiteY1" fmla="*/ 2871 h 11186"/>
                <a:gd name="connsiteX2" fmla="*/ 228 w 8870"/>
                <a:gd name="connsiteY2" fmla="*/ 6858 h 11186"/>
                <a:gd name="connsiteX3" fmla="*/ 1740 w 8870"/>
                <a:gd name="connsiteY3" fmla="*/ 10898 h 11186"/>
                <a:gd name="connsiteX4" fmla="*/ 3004 w 8870"/>
                <a:gd name="connsiteY4" fmla="*/ 9026 h 11186"/>
                <a:gd name="connsiteX5" fmla="*/ 4712 w 8870"/>
                <a:gd name="connsiteY5" fmla="*/ 8054 h 11186"/>
                <a:gd name="connsiteX6" fmla="*/ 4908 w 8870"/>
                <a:gd name="connsiteY6" fmla="*/ 9359 h 11186"/>
                <a:gd name="connsiteX7" fmla="*/ 5730 w 8870"/>
                <a:gd name="connsiteY7" fmla="*/ 11186 h 11186"/>
                <a:gd name="connsiteX8" fmla="*/ 6555 w 8870"/>
                <a:gd name="connsiteY8" fmla="*/ 9287 h 11186"/>
                <a:gd name="connsiteX9" fmla="*/ 8097 w 8870"/>
                <a:gd name="connsiteY9" fmla="*/ 7081 h 11186"/>
                <a:gd name="connsiteX10" fmla="*/ 8870 w 8870"/>
                <a:gd name="connsiteY10" fmla="*/ 7081 h 11186"/>
                <a:gd name="connsiteX11" fmla="*/ 8087 w 8870"/>
                <a:gd name="connsiteY11" fmla="*/ 2999 h 11186"/>
                <a:gd name="connsiteX12" fmla="*/ 6409 w 8870"/>
                <a:gd name="connsiteY12" fmla="*/ 858 h 11186"/>
                <a:gd name="connsiteX13" fmla="*/ 4064 w 8870"/>
                <a:gd name="connsiteY13" fmla="*/ 1946 h 11186"/>
                <a:gd name="connsiteX14" fmla="*/ 1699 w 8870"/>
                <a:gd name="connsiteY14" fmla="*/ 0 h 11186"/>
                <a:gd name="connsiteX15" fmla="*/ 2592 w 8870"/>
                <a:gd name="connsiteY15" fmla="*/ 3108 h 11186"/>
                <a:gd name="connsiteX0" fmla="*/ 2922 w 10000"/>
                <a:gd name="connsiteY0" fmla="*/ 2778 h 10000"/>
                <a:gd name="connsiteX1" fmla="*/ 0 w 10000"/>
                <a:gd name="connsiteY1" fmla="*/ 2567 h 10000"/>
                <a:gd name="connsiteX2" fmla="*/ 257 w 10000"/>
                <a:gd name="connsiteY2" fmla="*/ 6979 h 10000"/>
                <a:gd name="connsiteX3" fmla="*/ 1962 w 10000"/>
                <a:gd name="connsiteY3" fmla="*/ 9743 h 10000"/>
                <a:gd name="connsiteX4" fmla="*/ 3387 w 10000"/>
                <a:gd name="connsiteY4" fmla="*/ 8069 h 10000"/>
                <a:gd name="connsiteX5" fmla="*/ 5312 w 10000"/>
                <a:gd name="connsiteY5" fmla="*/ 7200 h 10000"/>
                <a:gd name="connsiteX6" fmla="*/ 5533 w 10000"/>
                <a:gd name="connsiteY6" fmla="*/ 8367 h 10000"/>
                <a:gd name="connsiteX7" fmla="*/ 6460 w 10000"/>
                <a:gd name="connsiteY7" fmla="*/ 10000 h 10000"/>
                <a:gd name="connsiteX8" fmla="*/ 7390 w 10000"/>
                <a:gd name="connsiteY8" fmla="*/ 8302 h 10000"/>
                <a:gd name="connsiteX9" fmla="*/ 9129 w 10000"/>
                <a:gd name="connsiteY9" fmla="*/ 6330 h 10000"/>
                <a:gd name="connsiteX10" fmla="*/ 10000 w 10000"/>
                <a:gd name="connsiteY10" fmla="*/ 6330 h 10000"/>
                <a:gd name="connsiteX11" fmla="*/ 9117 w 10000"/>
                <a:gd name="connsiteY11" fmla="*/ 2681 h 10000"/>
                <a:gd name="connsiteX12" fmla="*/ 7225 w 10000"/>
                <a:gd name="connsiteY12" fmla="*/ 767 h 10000"/>
                <a:gd name="connsiteX13" fmla="*/ 4582 w 10000"/>
                <a:gd name="connsiteY13" fmla="*/ 1740 h 10000"/>
                <a:gd name="connsiteX14" fmla="*/ 1915 w 10000"/>
                <a:gd name="connsiteY14" fmla="*/ 0 h 10000"/>
                <a:gd name="connsiteX15" fmla="*/ 2922 w 10000"/>
                <a:gd name="connsiteY15" fmla="*/ 2778 h 10000"/>
                <a:gd name="connsiteX0" fmla="*/ 2922 w 10000"/>
                <a:gd name="connsiteY0" fmla="*/ 2778 h 10000"/>
                <a:gd name="connsiteX1" fmla="*/ 0 w 10000"/>
                <a:gd name="connsiteY1" fmla="*/ 2567 h 10000"/>
                <a:gd name="connsiteX2" fmla="*/ 257 w 10000"/>
                <a:gd name="connsiteY2" fmla="*/ 6979 h 10000"/>
                <a:gd name="connsiteX3" fmla="*/ 1962 w 10000"/>
                <a:gd name="connsiteY3" fmla="*/ 9743 h 10000"/>
                <a:gd name="connsiteX4" fmla="*/ 3387 w 10000"/>
                <a:gd name="connsiteY4" fmla="*/ 8069 h 10000"/>
                <a:gd name="connsiteX5" fmla="*/ 5312 w 10000"/>
                <a:gd name="connsiteY5" fmla="*/ 7200 h 10000"/>
                <a:gd name="connsiteX6" fmla="*/ 5533 w 10000"/>
                <a:gd name="connsiteY6" fmla="*/ 8367 h 10000"/>
                <a:gd name="connsiteX7" fmla="*/ 6460 w 10000"/>
                <a:gd name="connsiteY7" fmla="*/ 10000 h 10000"/>
                <a:gd name="connsiteX8" fmla="*/ 7390 w 10000"/>
                <a:gd name="connsiteY8" fmla="*/ 8302 h 10000"/>
                <a:gd name="connsiteX9" fmla="*/ 10000 w 10000"/>
                <a:gd name="connsiteY9" fmla="*/ 6330 h 10000"/>
                <a:gd name="connsiteX10" fmla="*/ 9117 w 10000"/>
                <a:gd name="connsiteY10" fmla="*/ 2681 h 10000"/>
                <a:gd name="connsiteX11" fmla="*/ 7225 w 10000"/>
                <a:gd name="connsiteY11" fmla="*/ 767 h 10000"/>
                <a:gd name="connsiteX12" fmla="*/ 4582 w 10000"/>
                <a:gd name="connsiteY12" fmla="*/ 1740 h 10000"/>
                <a:gd name="connsiteX13" fmla="*/ 1915 w 10000"/>
                <a:gd name="connsiteY13" fmla="*/ 0 h 10000"/>
                <a:gd name="connsiteX14" fmla="*/ 2922 w 10000"/>
                <a:gd name="connsiteY14" fmla="*/ 2778 h 10000"/>
                <a:gd name="connsiteX0" fmla="*/ 2922 w 10000"/>
                <a:gd name="connsiteY0" fmla="*/ 2778 h 10000"/>
                <a:gd name="connsiteX1" fmla="*/ 0 w 10000"/>
                <a:gd name="connsiteY1" fmla="*/ 2567 h 10000"/>
                <a:gd name="connsiteX2" fmla="*/ 257 w 10000"/>
                <a:gd name="connsiteY2" fmla="*/ 6979 h 10000"/>
                <a:gd name="connsiteX3" fmla="*/ 1962 w 10000"/>
                <a:gd name="connsiteY3" fmla="*/ 9743 h 10000"/>
                <a:gd name="connsiteX4" fmla="*/ 3387 w 10000"/>
                <a:gd name="connsiteY4" fmla="*/ 8069 h 10000"/>
                <a:gd name="connsiteX5" fmla="*/ 5312 w 10000"/>
                <a:gd name="connsiteY5" fmla="*/ 7200 h 10000"/>
                <a:gd name="connsiteX6" fmla="*/ 5533 w 10000"/>
                <a:gd name="connsiteY6" fmla="*/ 8367 h 10000"/>
                <a:gd name="connsiteX7" fmla="*/ 6460 w 10000"/>
                <a:gd name="connsiteY7" fmla="*/ 10000 h 10000"/>
                <a:gd name="connsiteX8" fmla="*/ 10000 w 10000"/>
                <a:gd name="connsiteY8" fmla="*/ 6330 h 10000"/>
                <a:gd name="connsiteX9" fmla="*/ 9117 w 10000"/>
                <a:gd name="connsiteY9" fmla="*/ 2681 h 10000"/>
                <a:gd name="connsiteX10" fmla="*/ 7225 w 10000"/>
                <a:gd name="connsiteY10" fmla="*/ 767 h 10000"/>
                <a:gd name="connsiteX11" fmla="*/ 4582 w 10000"/>
                <a:gd name="connsiteY11" fmla="*/ 1740 h 10000"/>
                <a:gd name="connsiteX12" fmla="*/ 1915 w 10000"/>
                <a:gd name="connsiteY12" fmla="*/ 0 h 10000"/>
                <a:gd name="connsiteX13" fmla="*/ 2922 w 10000"/>
                <a:gd name="connsiteY13" fmla="*/ 2778 h 10000"/>
                <a:gd name="connsiteX0" fmla="*/ 2922 w 10000"/>
                <a:gd name="connsiteY0" fmla="*/ 2778 h 10005"/>
                <a:gd name="connsiteX1" fmla="*/ 0 w 10000"/>
                <a:gd name="connsiteY1" fmla="*/ 2567 h 10005"/>
                <a:gd name="connsiteX2" fmla="*/ 257 w 10000"/>
                <a:gd name="connsiteY2" fmla="*/ 6979 h 10005"/>
                <a:gd name="connsiteX3" fmla="*/ 1962 w 10000"/>
                <a:gd name="connsiteY3" fmla="*/ 9743 h 10005"/>
                <a:gd name="connsiteX4" fmla="*/ 3387 w 10000"/>
                <a:gd name="connsiteY4" fmla="*/ 8069 h 10005"/>
                <a:gd name="connsiteX5" fmla="*/ 5312 w 10000"/>
                <a:gd name="connsiteY5" fmla="*/ 7200 h 10005"/>
                <a:gd name="connsiteX6" fmla="*/ 6460 w 10000"/>
                <a:gd name="connsiteY6" fmla="*/ 10000 h 10005"/>
                <a:gd name="connsiteX7" fmla="*/ 10000 w 10000"/>
                <a:gd name="connsiteY7" fmla="*/ 6330 h 10005"/>
                <a:gd name="connsiteX8" fmla="*/ 9117 w 10000"/>
                <a:gd name="connsiteY8" fmla="*/ 2681 h 10005"/>
                <a:gd name="connsiteX9" fmla="*/ 7225 w 10000"/>
                <a:gd name="connsiteY9" fmla="*/ 767 h 10005"/>
                <a:gd name="connsiteX10" fmla="*/ 4582 w 10000"/>
                <a:gd name="connsiteY10" fmla="*/ 1740 h 10005"/>
                <a:gd name="connsiteX11" fmla="*/ 1915 w 10000"/>
                <a:gd name="connsiteY11" fmla="*/ 0 h 10005"/>
                <a:gd name="connsiteX12" fmla="*/ 2922 w 10000"/>
                <a:gd name="connsiteY12" fmla="*/ 2778 h 10005"/>
                <a:gd name="connsiteX0" fmla="*/ 2922 w 10000"/>
                <a:gd name="connsiteY0" fmla="*/ 2778 h 10007"/>
                <a:gd name="connsiteX1" fmla="*/ 0 w 10000"/>
                <a:gd name="connsiteY1" fmla="*/ 2567 h 10007"/>
                <a:gd name="connsiteX2" fmla="*/ 257 w 10000"/>
                <a:gd name="connsiteY2" fmla="*/ 6979 h 10007"/>
                <a:gd name="connsiteX3" fmla="*/ 1962 w 10000"/>
                <a:gd name="connsiteY3" fmla="*/ 9743 h 10007"/>
                <a:gd name="connsiteX4" fmla="*/ 3387 w 10000"/>
                <a:gd name="connsiteY4" fmla="*/ 8069 h 10007"/>
                <a:gd name="connsiteX5" fmla="*/ 5312 w 10000"/>
                <a:gd name="connsiteY5" fmla="*/ 7836 h 10007"/>
                <a:gd name="connsiteX6" fmla="*/ 6460 w 10000"/>
                <a:gd name="connsiteY6" fmla="*/ 10000 h 10007"/>
                <a:gd name="connsiteX7" fmla="*/ 10000 w 10000"/>
                <a:gd name="connsiteY7" fmla="*/ 6330 h 10007"/>
                <a:gd name="connsiteX8" fmla="*/ 9117 w 10000"/>
                <a:gd name="connsiteY8" fmla="*/ 2681 h 10007"/>
                <a:gd name="connsiteX9" fmla="*/ 7225 w 10000"/>
                <a:gd name="connsiteY9" fmla="*/ 767 h 10007"/>
                <a:gd name="connsiteX10" fmla="*/ 4582 w 10000"/>
                <a:gd name="connsiteY10" fmla="*/ 1740 h 10007"/>
                <a:gd name="connsiteX11" fmla="*/ 1915 w 10000"/>
                <a:gd name="connsiteY11" fmla="*/ 0 h 10007"/>
                <a:gd name="connsiteX12" fmla="*/ 2922 w 10000"/>
                <a:gd name="connsiteY12" fmla="*/ 2778 h 10007"/>
                <a:gd name="connsiteX0" fmla="*/ 2922 w 10000"/>
                <a:gd name="connsiteY0" fmla="*/ 2778 h 10007"/>
                <a:gd name="connsiteX1" fmla="*/ 0 w 10000"/>
                <a:gd name="connsiteY1" fmla="*/ 2567 h 10007"/>
                <a:gd name="connsiteX2" fmla="*/ 257 w 10000"/>
                <a:gd name="connsiteY2" fmla="*/ 6979 h 10007"/>
                <a:gd name="connsiteX3" fmla="*/ 1962 w 10000"/>
                <a:gd name="connsiteY3" fmla="*/ 9743 h 10007"/>
                <a:gd name="connsiteX4" fmla="*/ 3897 w 10000"/>
                <a:gd name="connsiteY4" fmla="*/ 8917 h 10007"/>
                <a:gd name="connsiteX5" fmla="*/ 5312 w 10000"/>
                <a:gd name="connsiteY5" fmla="*/ 7836 h 10007"/>
                <a:gd name="connsiteX6" fmla="*/ 6460 w 10000"/>
                <a:gd name="connsiteY6" fmla="*/ 10000 h 10007"/>
                <a:gd name="connsiteX7" fmla="*/ 10000 w 10000"/>
                <a:gd name="connsiteY7" fmla="*/ 6330 h 10007"/>
                <a:gd name="connsiteX8" fmla="*/ 9117 w 10000"/>
                <a:gd name="connsiteY8" fmla="*/ 2681 h 10007"/>
                <a:gd name="connsiteX9" fmla="*/ 7225 w 10000"/>
                <a:gd name="connsiteY9" fmla="*/ 767 h 10007"/>
                <a:gd name="connsiteX10" fmla="*/ 4582 w 10000"/>
                <a:gd name="connsiteY10" fmla="*/ 1740 h 10007"/>
                <a:gd name="connsiteX11" fmla="*/ 1915 w 10000"/>
                <a:gd name="connsiteY11" fmla="*/ 0 h 10007"/>
                <a:gd name="connsiteX12" fmla="*/ 2922 w 10000"/>
                <a:gd name="connsiteY12" fmla="*/ 2778 h 10007"/>
                <a:gd name="connsiteX0" fmla="*/ 2922 w 10000"/>
                <a:gd name="connsiteY0" fmla="*/ 2778 h 10007"/>
                <a:gd name="connsiteX1" fmla="*/ 0 w 10000"/>
                <a:gd name="connsiteY1" fmla="*/ 2567 h 10007"/>
                <a:gd name="connsiteX2" fmla="*/ 257 w 10000"/>
                <a:gd name="connsiteY2" fmla="*/ 6979 h 10007"/>
                <a:gd name="connsiteX3" fmla="*/ 1962 w 10000"/>
                <a:gd name="connsiteY3" fmla="*/ 9743 h 10007"/>
                <a:gd name="connsiteX4" fmla="*/ 3642 w 10000"/>
                <a:gd name="connsiteY4" fmla="*/ 7857 h 10007"/>
                <a:gd name="connsiteX5" fmla="*/ 5312 w 10000"/>
                <a:gd name="connsiteY5" fmla="*/ 7836 h 10007"/>
                <a:gd name="connsiteX6" fmla="*/ 6460 w 10000"/>
                <a:gd name="connsiteY6" fmla="*/ 10000 h 10007"/>
                <a:gd name="connsiteX7" fmla="*/ 10000 w 10000"/>
                <a:gd name="connsiteY7" fmla="*/ 6330 h 10007"/>
                <a:gd name="connsiteX8" fmla="*/ 9117 w 10000"/>
                <a:gd name="connsiteY8" fmla="*/ 2681 h 10007"/>
                <a:gd name="connsiteX9" fmla="*/ 7225 w 10000"/>
                <a:gd name="connsiteY9" fmla="*/ 767 h 10007"/>
                <a:gd name="connsiteX10" fmla="*/ 4582 w 10000"/>
                <a:gd name="connsiteY10" fmla="*/ 1740 h 10007"/>
                <a:gd name="connsiteX11" fmla="*/ 1915 w 10000"/>
                <a:gd name="connsiteY11" fmla="*/ 0 h 10007"/>
                <a:gd name="connsiteX12" fmla="*/ 2922 w 10000"/>
                <a:gd name="connsiteY12" fmla="*/ 2778 h 10007"/>
                <a:gd name="connsiteX0" fmla="*/ 2922 w 10000"/>
                <a:gd name="connsiteY0" fmla="*/ 2778 h 10007"/>
                <a:gd name="connsiteX1" fmla="*/ 0 w 10000"/>
                <a:gd name="connsiteY1" fmla="*/ 2567 h 10007"/>
                <a:gd name="connsiteX2" fmla="*/ 1023 w 10000"/>
                <a:gd name="connsiteY2" fmla="*/ 6979 h 10007"/>
                <a:gd name="connsiteX3" fmla="*/ 1962 w 10000"/>
                <a:gd name="connsiteY3" fmla="*/ 9743 h 10007"/>
                <a:gd name="connsiteX4" fmla="*/ 3642 w 10000"/>
                <a:gd name="connsiteY4" fmla="*/ 7857 h 10007"/>
                <a:gd name="connsiteX5" fmla="*/ 5312 w 10000"/>
                <a:gd name="connsiteY5" fmla="*/ 7836 h 10007"/>
                <a:gd name="connsiteX6" fmla="*/ 6460 w 10000"/>
                <a:gd name="connsiteY6" fmla="*/ 10000 h 10007"/>
                <a:gd name="connsiteX7" fmla="*/ 10000 w 10000"/>
                <a:gd name="connsiteY7" fmla="*/ 6330 h 10007"/>
                <a:gd name="connsiteX8" fmla="*/ 9117 w 10000"/>
                <a:gd name="connsiteY8" fmla="*/ 2681 h 10007"/>
                <a:gd name="connsiteX9" fmla="*/ 7225 w 10000"/>
                <a:gd name="connsiteY9" fmla="*/ 767 h 10007"/>
                <a:gd name="connsiteX10" fmla="*/ 4582 w 10000"/>
                <a:gd name="connsiteY10" fmla="*/ 1740 h 10007"/>
                <a:gd name="connsiteX11" fmla="*/ 1915 w 10000"/>
                <a:gd name="connsiteY11" fmla="*/ 0 h 10007"/>
                <a:gd name="connsiteX12" fmla="*/ 2922 w 10000"/>
                <a:gd name="connsiteY12" fmla="*/ 2778 h 10007"/>
                <a:gd name="connsiteX0" fmla="*/ 1925 w 9003"/>
                <a:gd name="connsiteY0" fmla="*/ 2778 h 10007"/>
                <a:gd name="connsiteX1" fmla="*/ 24 w 9003"/>
                <a:gd name="connsiteY1" fmla="*/ 3415 h 10007"/>
                <a:gd name="connsiteX2" fmla="*/ 26 w 9003"/>
                <a:gd name="connsiteY2" fmla="*/ 6979 h 10007"/>
                <a:gd name="connsiteX3" fmla="*/ 965 w 9003"/>
                <a:gd name="connsiteY3" fmla="*/ 9743 h 10007"/>
                <a:gd name="connsiteX4" fmla="*/ 2645 w 9003"/>
                <a:gd name="connsiteY4" fmla="*/ 7857 h 10007"/>
                <a:gd name="connsiteX5" fmla="*/ 4315 w 9003"/>
                <a:gd name="connsiteY5" fmla="*/ 7836 h 10007"/>
                <a:gd name="connsiteX6" fmla="*/ 5463 w 9003"/>
                <a:gd name="connsiteY6" fmla="*/ 10000 h 10007"/>
                <a:gd name="connsiteX7" fmla="*/ 9003 w 9003"/>
                <a:gd name="connsiteY7" fmla="*/ 6330 h 10007"/>
                <a:gd name="connsiteX8" fmla="*/ 8120 w 9003"/>
                <a:gd name="connsiteY8" fmla="*/ 2681 h 10007"/>
                <a:gd name="connsiteX9" fmla="*/ 6228 w 9003"/>
                <a:gd name="connsiteY9" fmla="*/ 767 h 10007"/>
                <a:gd name="connsiteX10" fmla="*/ 3585 w 9003"/>
                <a:gd name="connsiteY10" fmla="*/ 1740 h 10007"/>
                <a:gd name="connsiteX11" fmla="*/ 918 w 9003"/>
                <a:gd name="connsiteY11" fmla="*/ 0 h 10007"/>
                <a:gd name="connsiteX12" fmla="*/ 1925 w 9003"/>
                <a:gd name="connsiteY12" fmla="*/ 2778 h 10007"/>
                <a:gd name="connsiteX0" fmla="*/ 2421 w 10000"/>
                <a:gd name="connsiteY0" fmla="*/ 4047 h 10000"/>
                <a:gd name="connsiteX1" fmla="*/ 27 w 10000"/>
                <a:gd name="connsiteY1" fmla="*/ 3413 h 10000"/>
                <a:gd name="connsiteX2" fmla="*/ 29 w 10000"/>
                <a:gd name="connsiteY2" fmla="*/ 6974 h 10000"/>
                <a:gd name="connsiteX3" fmla="*/ 1072 w 10000"/>
                <a:gd name="connsiteY3" fmla="*/ 9736 h 10000"/>
                <a:gd name="connsiteX4" fmla="*/ 2938 w 10000"/>
                <a:gd name="connsiteY4" fmla="*/ 7852 h 10000"/>
                <a:gd name="connsiteX5" fmla="*/ 4793 w 10000"/>
                <a:gd name="connsiteY5" fmla="*/ 7831 h 10000"/>
                <a:gd name="connsiteX6" fmla="*/ 6068 w 10000"/>
                <a:gd name="connsiteY6" fmla="*/ 9993 h 10000"/>
                <a:gd name="connsiteX7" fmla="*/ 10000 w 10000"/>
                <a:gd name="connsiteY7" fmla="*/ 6326 h 10000"/>
                <a:gd name="connsiteX8" fmla="*/ 9019 w 10000"/>
                <a:gd name="connsiteY8" fmla="*/ 2679 h 10000"/>
                <a:gd name="connsiteX9" fmla="*/ 6918 w 10000"/>
                <a:gd name="connsiteY9" fmla="*/ 766 h 10000"/>
                <a:gd name="connsiteX10" fmla="*/ 3982 w 10000"/>
                <a:gd name="connsiteY10" fmla="*/ 1739 h 10000"/>
                <a:gd name="connsiteX11" fmla="*/ 1020 w 10000"/>
                <a:gd name="connsiteY11" fmla="*/ 0 h 10000"/>
                <a:gd name="connsiteX12" fmla="*/ 2421 w 10000"/>
                <a:gd name="connsiteY12" fmla="*/ 4047 h 10000"/>
                <a:gd name="connsiteX0" fmla="*/ 2421 w 10000"/>
                <a:gd name="connsiteY0" fmla="*/ 3386 h 9339"/>
                <a:gd name="connsiteX1" fmla="*/ 27 w 10000"/>
                <a:gd name="connsiteY1" fmla="*/ 2752 h 9339"/>
                <a:gd name="connsiteX2" fmla="*/ 29 w 10000"/>
                <a:gd name="connsiteY2" fmla="*/ 6313 h 9339"/>
                <a:gd name="connsiteX3" fmla="*/ 1072 w 10000"/>
                <a:gd name="connsiteY3" fmla="*/ 9075 h 9339"/>
                <a:gd name="connsiteX4" fmla="*/ 2938 w 10000"/>
                <a:gd name="connsiteY4" fmla="*/ 7191 h 9339"/>
                <a:gd name="connsiteX5" fmla="*/ 4793 w 10000"/>
                <a:gd name="connsiteY5" fmla="*/ 7170 h 9339"/>
                <a:gd name="connsiteX6" fmla="*/ 6068 w 10000"/>
                <a:gd name="connsiteY6" fmla="*/ 9332 h 9339"/>
                <a:gd name="connsiteX7" fmla="*/ 10000 w 10000"/>
                <a:gd name="connsiteY7" fmla="*/ 5665 h 9339"/>
                <a:gd name="connsiteX8" fmla="*/ 9019 w 10000"/>
                <a:gd name="connsiteY8" fmla="*/ 2018 h 9339"/>
                <a:gd name="connsiteX9" fmla="*/ 6918 w 10000"/>
                <a:gd name="connsiteY9" fmla="*/ 105 h 9339"/>
                <a:gd name="connsiteX10" fmla="*/ 3982 w 10000"/>
                <a:gd name="connsiteY10" fmla="*/ 1078 h 9339"/>
                <a:gd name="connsiteX11" fmla="*/ 2154 w 10000"/>
                <a:gd name="connsiteY11" fmla="*/ 822 h 9339"/>
                <a:gd name="connsiteX12" fmla="*/ 2421 w 10000"/>
                <a:gd name="connsiteY12" fmla="*/ 3386 h 9339"/>
                <a:gd name="connsiteX0" fmla="*/ 2421 w 10000"/>
                <a:gd name="connsiteY0" fmla="*/ 3593 h 9968"/>
                <a:gd name="connsiteX1" fmla="*/ 27 w 10000"/>
                <a:gd name="connsiteY1" fmla="*/ 2914 h 9968"/>
                <a:gd name="connsiteX2" fmla="*/ 29 w 10000"/>
                <a:gd name="connsiteY2" fmla="*/ 6727 h 9968"/>
                <a:gd name="connsiteX3" fmla="*/ 1072 w 10000"/>
                <a:gd name="connsiteY3" fmla="*/ 9684 h 9968"/>
                <a:gd name="connsiteX4" fmla="*/ 2938 w 10000"/>
                <a:gd name="connsiteY4" fmla="*/ 7667 h 9968"/>
                <a:gd name="connsiteX5" fmla="*/ 4793 w 10000"/>
                <a:gd name="connsiteY5" fmla="*/ 7644 h 9968"/>
                <a:gd name="connsiteX6" fmla="*/ 6068 w 10000"/>
                <a:gd name="connsiteY6" fmla="*/ 9960 h 9968"/>
                <a:gd name="connsiteX7" fmla="*/ 10000 w 10000"/>
                <a:gd name="connsiteY7" fmla="*/ 6033 h 9968"/>
                <a:gd name="connsiteX8" fmla="*/ 9019 w 10000"/>
                <a:gd name="connsiteY8" fmla="*/ 2128 h 9968"/>
                <a:gd name="connsiteX9" fmla="*/ 6918 w 10000"/>
                <a:gd name="connsiteY9" fmla="*/ 79 h 9968"/>
                <a:gd name="connsiteX10" fmla="*/ 4832 w 10000"/>
                <a:gd name="connsiteY10" fmla="*/ 2255 h 9968"/>
                <a:gd name="connsiteX11" fmla="*/ 2154 w 10000"/>
                <a:gd name="connsiteY11" fmla="*/ 847 h 9968"/>
                <a:gd name="connsiteX12" fmla="*/ 2421 w 10000"/>
                <a:gd name="connsiteY12" fmla="*/ 3593 h 9968"/>
                <a:gd name="connsiteX0" fmla="*/ 2421 w 10000"/>
                <a:gd name="connsiteY0" fmla="*/ 2755 h 9150"/>
                <a:gd name="connsiteX1" fmla="*/ 27 w 10000"/>
                <a:gd name="connsiteY1" fmla="*/ 2073 h 9150"/>
                <a:gd name="connsiteX2" fmla="*/ 29 w 10000"/>
                <a:gd name="connsiteY2" fmla="*/ 5899 h 9150"/>
                <a:gd name="connsiteX3" fmla="*/ 1072 w 10000"/>
                <a:gd name="connsiteY3" fmla="*/ 8865 h 9150"/>
                <a:gd name="connsiteX4" fmla="*/ 2938 w 10000"/>
                <a:gd name="connsiteY4" fmla="*/ 6842 h 9150"/>
                <a:gd name="connsiteX5" fmla="*/ 4793 w 10000"/>
                <a:gd name="connsiteY5" fmla="*/ 6819 h 9150"/>
                <a:gd name="connsiteX6" fmla="*/ 6068 w 10000"/>
                <a:gd name="connsiteY6" fmla="*/ 9142 h 9150"/>
                <a:gd name="connsiteX7" fmla="*/ 10000 w 10000"/>
                <a:gd name="connsiteY7" fmla="*/ 5202 h 9150"/>
                <a:gd name="connsiteX8" fmla="*/ 9019 w 10000"/>
                <a:gd name="connsiteY8" fmla="*/ 1285 h 9150"/>
                <a:gd name="connsiteX9" fmla="*/ 7202 w 10000"/>
                <a:gd name="connsiteY9" fmla="*/ 139 h 9150"/>
                <a:gd name="connsiteX10" fmla="*/ 4832 w 10000"/>
                <a:gd name="connsiteY10" fmla="*/ 1412 h 9150"/>
                <a:gd name="connsiteX11" fmla="*/ 2154 w 10000"/>
                <a:gd name="connsiteY11" fmla="*/ 0 h 9150"/>
                <a:gd name="connsiteX12" fmla="*/ 2421 w 10000"/>
                <a:gd name="connsiteY12" fmla="*/ 2755 h 9150"/>
                <a:gd name="connsiteX0" fmla="*/ 2421 w 10000"/>
                <a:gd name="connsiteY0" fmla="*/ 3011 h 9999"/>
                <a:gd name="connsiteX1" fmla="*/ 27 w 10000"/>
                <a:gd name="connsiteY1" fmla="*/ 2266 h 9999"/>
                <a:gd name="connsiteX2" fmla="*/ 29 w 10000"/>
                <a:gd name="connsiteY2" fmla="*/ 6447 h 9999"/>
                <a:gd name="connsiteX3" fmla="*/ 1072 w 10000"/>
                <a:gd name="connsiteY3" fmla="*/ 9689 h 9999"/>
                <a:gd name="connsiteX4" fmla="*/ 4355 w 10000"/>
                <a:gd name="connsiteY4" fmla="*/ 7727 h 9999"/>
                <a:gd name="connsiteX5" fmla="*/ 4793 w 10000"/>
                <a:gd name="connsiteY5" fmla="*/ 7452 h 9999"/>
                <a:gd name="connsiteX6" fmla="*/ 6068 w 10000"/>
                <a:gd name="connsiteY6" fmla="*/ 9991 h 9999"/>
                <a:gd name="connsiteX7" fmla="*/ 10000 w 10000"/>
                <a:gd name="connsiteY7" fmla="*/ 5685 h 9999"/>
                <a:gd name="connsiteX8" fmla="*/ 9019 w 10000"/>
                <a:gd name="connsiteY8" fmla="*/ 1404 h 9999"/>
                <a:gd name="connsiteX9" fmla="*/ 7202 w 10000"/>
                <a:gd name="connsiteY9" fmla="*/ 152 h 9999"/>
                <a:gd name="connsiteX10" fmla="*/ 4832 w 10000"/>
                <a:gd name="connsiteY10" fmla="*/ 1543 h 9999"/>
                <a:gd name="connsiteX11" fmla="*/ 2154 w 10000"/>
                <a:gd name="connsiteY11" fmla="*/ 0 h 9999"/>
                <a:gd name="connsiteX12" fmla="*/ 2421 w 10000"/>
                <a:gd name="connsiteY12" fmla="*/ 3011 h 9999"/>
                <a:gd name="connsiteX0" fmla="*/ 2421 w 10000"/>
                <a:gd name="connsiteY0" fmla="*/ 3011 h 10000"/>
                <a:gd name="connsiteX1" fmla="*/ 27 w 10000"/>
                <a:gd name="connsiteY1" fmla="*/ 2266 h 10000"/>
                <a:gd name="connsiteX2" fmla="*/ 29 w 10000"/>
                <a:gd name="connsiteY2" fmla="*/ 6448 h 10000"/>
                <a:gd name="connsiteX3" fmla="*/ 1072 w 10000"/>
                <a:gd name="connsiteY3" fmla="*/ 9690 h 10000"/>
                <a:gd name="connsiteX4" fmla="*/ 4355 w 10000"/>
                <a:gd name="connsiteY4" fmla="*/ 7728 h 10000"/>
                <a:gd name="connsiteX5" fmla="*/ 5927 w 10000"/>
                <a:gd name="connsiteY5" fmla="*/ 7453 h 10000"/>
                <a:gd name="connsiteX6" fmla="*/ 6068 w 10000"/>
                <a:gd name="connsiteY6" fmla="*/ 9992 h 10000"/>
                <a:gd name="connsiteX7" fmla="*/ 10000 w 10000"/>
                <a:gd name="connsiteY7" fmla="*/ 5686 h 10000"/>
                <a:gd name="connsiteX8" fmla="*/ 9019 w 10000"/>
                <a:gd name="connsiteY8" fmla="*/ 1404 h 10000"/>
                <a:gd name="connsiteX9" fmla="*/ 7202 w 10000"/>
                <a:gd name="connsiteY9" fmla="*/ 152 h 10000"/>
                <a:gd name="connsiteX10" fmla="*/ 4832 w 10000"/>
                <a:gd name="connsiteY10" fmla="*/ 1543 h 10000"/>
                <a:gd name="connsiteX11" fmla="*/ 2154 w 10000"/>
                <a:gd name="connsiteY11" fmla="*/ 0 h 10000"/>
                <a:gd name="connsiteX12" fmla="*/ 2421 w 10000"/>
                <a:gd name="connsiteY12" fmla="*/ 301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000" h="10000">
                  <a:moveTo>
                    <a:pt x="2421" y="3011"/>
                  </a:moveTo>
                  <a:lnTo>
                    <a:pt x="27" y="2266"/>
                  </a:lnTo>
                  <a:cubicBezTo>
                    <a:pt x="122" y="3991"/>
                    <a:pt x="-67" y="4721"/>
                    <a:pt x="29" y="6448"/>
                  </a:cubicBezTo>
                  <a:lnTo>
                    <a:pt x="1072" y="9690"/>
                  </a:lnTo>
                  <a:lnTo>
                    <a:pt x="4355" y="7728"/>
                  </a:lnTo>
                  <a:cubicBezTo>
                    <a:pt x="4594" y="8384"/>
                    <a:pt x="5686" y="6797"/>
                    <a:pt x="5927" y="7453"/>
                  </a:cubicBezTo>
                  <a:cubicBezTo>
                    <a:pt x="6496" y="7831"/>
                    <a:pt x="5200" y="10162"/>
                    <a:pt x="6068" y="9992"/>
                  </a:cubicBezTo>
                  <a:lnTo>
                    <a:pt x="10000" y="5686"/>
                  </a:lnTo>
                  <a:lnTo>
                    <a:pt x="9019" y="1404"/>
                  </a:lnTo>
                  <a:cubicBezTo>
                    <a:pt x="8698" y="75"/>
                    <a:pt x="7525" y="1484"/>
                    <a:pt x="7202" y="152"/>
                  </a:cubicBezTo>
                  <a:cubicBezTo>
                    <a:pt x="7264" y="-544"/>
                    <a:pt x="4772" y="2239"/>
                    <a:pt x="4832" y="1543"/>
                  </a:cubicBezTo>
                  <a:lnTo>
                    <a:pt x="2154" y="0"/>
                  </a:lnTo>
                  <a:cubicBezTo>
                    <a:pt x="2150" y="1169"/>
                    <a:pt x="2426" y="1843"/>
                    <a:pt x="2421" y="3011"/>
                  </a:cubicBez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267" name="MD"/>
            <p:cNvSpPr>
              <a:spLocks/>
            </p:cNvSpPr>
            <p:nvPr/>
          </p:nvSpPr>
          <p:spPr bwMode="auto">
            <a:xfrm>
              <a:off x="4923939" y="3060926"/>
              <a:ext cx="90636" cy="113757"/>
            </a:xfrm>
            <a:custGeom>
              <a:avLst/>
              <a:gdLst>
                <a:gd name="T0" fmla="*/ 76535066 w 10000"/>
                <a:gd name="T1" fmla="*/ 22574748 h 10000"/>
                <a:gd name="T2" fmla="*/ 83691327 w 10000"/>
                <a:gd name="T3" fmla="*/ 19197435 h 10000"/>
                <a:gd name="T4" fmla="*/ 82314503 w 10000"/>
                <a:gd name="T5" fmla="*/ 11073437 h 10000"/>
                <a:gd name="T6" fmla="*/ 61804450 w 10000"/>
                <a:gd name="T7" fmla="*/ 0 h 10000"/>
                <a:gd name="T8" fmla="*/ 47671854 w 10000"/>
                <a:gd name="T9" fmla="*/ 3400804 h 10000"/>
                <a:gd name="T10" fmla="*/ 21707381 w 10000"/>
                <a:gd name="T11" fmla="*/ 5317827 h 10000"/>
                <a:gd name="T12" fmla="*/ 18817447 w 10000"/>
                <a:gd name="T13" fmla="*/ 3400804 h 10000"/>
                <a:gd name="T14" fmla="*/ 10156903 w 10000"/>
                <a:gd name="T15" fmla="*/ 12985361 h 10000"/>
                <a:gd name="T16" fmla="*/ 4385841 w 10000"/>
                <a:gd name="T17" fmla="*/ 20657725 h 10000"/>
                <a:gd name="T18" fmla="*/ 4120806 w 10000"/>
                <a:gd name="T19" fmla="*/ 21894580 h 10000"/>
                <a:gd name="T20" fmla="*/ 3607896 w 10000"/>
                <a:gd name="T21" fmla="*/ 22912274 h 10000"/>
                <a:gd name="T22" fmla="*/ 17202 w 10000"/>
                <a:gd name="T23" fmla="*/ 24567662 h 10000"/>
                <a:gd name="T24" fmla="*/ 15295111 w 10000"/>
                <a:gd name="T25" fmla="*/ 39146671 h 10000"/>
                <a:gd name="T26" fmla="*/ 24579703 w 10000"/>
                <a:gd name="T27" fmla="*/ 41743575 h 10000"/>
                <a:gd name="T28" fmla="*/ 27136223 w 10000"/>
                <a:gd name="T29" fmla="*/ 45372897 h 10000"/>
                <a:gd name="T30" fmla="*/ 47774616 w 10000"/>
                <a:gd name="T31" fmla="*/ 47532320 h 10000"/>
                <a:gd name="T32" fmla="*/ 73653959 w 10000"/>
                <a:gd name="T33" fmla="*/ 43660615 h 10000"/>
                <a:gd name="T34" fmla="*/ 76535066 w 10000"/>
                <a:gd name="T35" fmla="*/ 32159304 h 10000"/>
                <a:gd name="T36" fmla="*/ 82314503 w 10000"/>
                <a:gd name="T37" fmla="*/ 30242282 h 10000"/>
                <a:gd name="T38" fmla="*/ 81374265 w 10000"/>
                <a:gd name="T39" fmla="*/ 27526155 h 10000"/>
                <a:gd name="T40" fmla="*/ 76535066 w 10000"/>
                <a:gd name="T41" fmla="*/ 22574748 h 1000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connsiteX0" fmla="*/ 8952 w 10000"/>
                <a:gd name="connsiteY0" fmla="*/ 4746 h 10000"/>
                <a:gd name="connsiteX1" fmla="*/ 9789 w 10000"/>
                <a:gd name="connsiteY1" fmla="*/ 4036 h 10000"/>
                <a:gd name="connsiteX2" fmla="*/ 9628 w 10000"/>
                <a:gd name="connsiteY2" fmla="*/ 2328 h 10000"/>
                <a:gd name="connsiteX3" fmla="*/ 7229 w 10000"/>
                <a:gd name="connsiteY3" fmla="*/ 0 h 10000"/>
                <a:gd name="connsiteX4" fmla="*/ 5576 w 10000"/>
                <a:gd name="connsiteY4" fmla="*/ 715 h 10000"/>
                <a:gd name="connsiteX5" fmla="*/ 2539 w 10000"/>
                <a:gd name="connsiteY5" fmla="*/ 1118 h 10000"/>
                <a:gd name="connsiteX6" fmla="*/ 1188 w 10000"/>
                <a:gd name="connsiteY6" fmla="*/ 2730 h 10000"/>
                <a:gd name="connsiteX7" fmla="*/ 513 w 10000"/>
                <a:gd name="connsiteY7" fmla="*/ 4343 h 10000"/>
                <a:gd name="connsiteX8" fmla="*/ 482 w 10000"/>
                <a:gd name="connsiteY8" fmla="*/ 4603 h 10000"/>
                <a:gd name="connsiteX9" fmla="*/ 422 w 10000"/>
                <a:gd name="connsiteY9" fmla="*/ 4817 h 10000"/>
                <a:gd name="connsiteX10" fmla="*/ 2 w 10000"/>
                <a:gd name="connsiteY10" fmla="*/ 5165 h 10000"/>
                <a:gd name="connsiteX11" fmla="*/ 1789 w 10000"/>
                <a:gd name="connsiteY11" fmla="*/ 8230 h 10000"/>
                <a:gd name="connsiteX12" fmla="*/ 2875 w 10000"/>
                <a:gd name="connsiteY12" fmla="*/ 8776 h 10000"/>
                <a:gd name="connsiteX13" fmla="*/ 3174 w 10000"/>
                <a:gd name="connsiteY13" fmla="*/ 9539 h 10000"/>
                <a:gd name="connsiteX14" fmla="*/ 5588 w 10000"/>
                <a:gd name="connsiteY14" fmla="*/ 9993 h 10000"/>
                <a:gd name="connsiteX15" fmla="*/ 8615 w 10000"/>
                <a:gd name="connsiteY15" fmla="*/ 9179 h 10000"/>
                <a:gd name="connsiteX16" fmla="*/ 8952 w 10000"/>
                <a:gd name="connsiteY16" fmla="*/ 6761 h 10000"/>
                <a:gd name="connsiteX17" fmla="*/ 9628 w 10000"/>
                <a:gd name="connsiteY17" fmla="*/ 6358 h 10000"/>
                <a:gd name="connsiteX18" fmla="*/ 9518 w 10000"/>
                <a:gd name="connsiteY18" fmla="*/ 5787 h 10000"/>
                <a:gd name="connsiteX19" fmla="*/ 8952 w 10000"/>
                <a:gd name="connsiteY19" fmla="*/ 4746 h 10000"/>
                <a:gd name="connsiteX0" fmla="*/ 1188 w 10000"/>
                <a:gd name="connsiteY0" fmla="*/ 2730 h 10000"/>
                <a:gd name="connsiteX1" fmla="*/ 513 w 10000"/>
                <a:gd name="connsiteY1" fmla="*/ 4343 h 10000"/>
                <a:gd name="connsiteX2" fmla="*/ 482 w 10000"/>
                <a:gd name="connsiteY2" fmla="*/ 4603 h 10000"/>
                <a:gd name="connsiteX3" fmla="*/ 422 w 10000"/>
                <a:gd name="connsiteY3" fmla="*/ 4817 h 10000"/>
                <a:gd name="connsiteX4" fmla="*/ 2 w 10000"/>
                <a:gd name="connsiteY4" fmla="*/ 5165 h 10000"/>
                <a:gd name="connsiteX5" fmla="*/ 1789 w 10000"/>
                <a:gd name="connsiteY5" fmla="*/ 8230 h 10000"/>
                <a:gd name="connsiteX6" fmla="*/ 2875 w 10000"/>
                <a:gd name="connsiteY6" fmla="*/ 8776 h 10000"/>
                <a:gd name="connsiteX7" fmla="*/ 3174 w 10000"/>
                <a:gd name="connsiteY7" fmla="*/ 9539 h 10000"/>
                <a:gd name="connsiteX8" fmla="*/ 5588 w 10000"/>
                <a:gd name="connsiteY8" fmla="*/ 9993 h 10000"/>
                <a:gd name="connsiteX9" fmla="*/ 8615 w 10000"/>
                <a:gd name="connsiteY9" fmla="*/ 9179 h 10000"/>
                <a:gd name="connsiteX10" fmla="*/ 8952 w 10000"/>
                <a:gd name="connsiteY10" fmla="*/ 6761 h 10000"/>
                <a:gd name="connsiteX11" fmla="*/ 9628 w 10000"/>
                <a:gd name="connsiteY11" fmla="*/ 6358 h 10000"/>
                <a:gd name="connsiteX12" fmla="*/ 9518 w 10000"/>
                <a:gd name="connsiteY12" fmla="*/ 5787 h 10000"/>
                <a:gd name="connsiteX13" fmla="*/ 8952 w 10000"/>
                <a:gd name="connsiteY13" fmla="*/ 4746 h 10000"/>
                <a:gd name="connsiteX14" fmla="*/ 9789 w 10000"/>
                <a:gd name="connsiteY14" fmla="*/ 4036 h 10000"/>
                <a:gd name="connsiteX15" fmla="*/ 9628 w 10000"/>
                <a:gd name="connsiteY15" fmla="*/ 2328 h 10000"/>
                <a:gd name="connsiteX16" fmla="*/ 7229 w 10000"/>
                <a:gd name="connsiteY16" fmla="*/ 0 h 10000"/>
                <a:gd name="connsiteX17" fmla="*/ 5576 w 10000"/>
                <a:gd name="connsiteY17" fmla="*/ 715 h 10000"/>
                <a:gd name="connsiteX18" fmla="*/ 7004 w 10000"/>
                <a:gd name="connsiteY18" fmla="*/ 6552 h 10000"/>
                <a:gd name="connsiteX0" fmla="*/ 1188 w 10000"/>
                <a:gd name="connsiteY0" fmla="*/ 2730 h 10000"/>
                <a:gd name="connsiteX1" fmla="*/ 513 w 10000"/>
                <a:gd name="connsiteY1" fmla="*/ 4343 h 10000"/>
                <a:gd name="connsiteX2" fmla="*/ 482 w 10000"/>
                <a:gd name="connsiteY2" fmla="*/ 4603 h 10000"/>
                <a:gd name="connsiteX3" fmla="*/ 422 w 10000"/>
                <a:gd name="connsiteY3" fmla="*/ 4817 h 10000"/>
                <a:gd name="connsiteX4" fmla="*/ 2 w 10000"/>
                <a:gd name="connsiteY4" fmla="*/ 5165 h 10000"/>
                <a:gd name="connsiteX5" fmla="*/ 1789 w 10000"/>
                <a:gd name="connsiteY5" fmla="*/ 8230 h 10000"/>
                <a:gd name="connsiteX6" fmla="*/ 2875 w 10000"/>
                <a:gd name="connsiteY6" fmla="*/ 8776 h 10000"/>
                <a:gd name="connsiteX7" fmla="*/ 3174 w 10000"/>
                <a:gd name="connsiteY7" fmla="*/ 9539 h 10000"/>
                <a:gd name="connsiteX8" fmla="*/ 5588 w 10000"/>
                <a:gd name="connsiteY8" fmla="*/ 9993 h 10000"/>
                <a:gd name="connsiteX9" fmla="*/ 8615 w 10000"/>
                <a:gd name="connsiteY9" fmla="*/ 9179 h 10000"/>
                <a:gd name="connsiteX10" fmla="*/ 8952 w 10000"/>
                <a:gd name="connsiteY10" fmla="*/ 6761 h 10000"/>
                <a:gd name="connsiteX11" fmla="*/ 9628 w 10000"/>
                <a:gd name="connsiteY11" fmla="*/ 6358 h 10000"/>
                <a:gd name="connsiteX12" fmla="*/ 9518 w 10000"/>
                <a:gd name="connsiteY12" fmla="*/ 5787 h 10000"/>
                <a:gd name="connsiteX13" fmla="*/ 8952 w 10000"/>
                <a:gd name="connsiteY13" fmla="*/ 4746 h 10000"/>
                <a:gd name="connsiteX14" fmla="*/ 9789 w 10000"/>
                <a:gd name="connsiteY14" fmla="*/ 4036 h 10000"/>
                <a:gd name="connsiteX15" fmla="*/ 9628 w 10000"/>
                <a:gd name="connsiteY15" fmla="*/ 2328 h 10000"/>
                <a:gd name="connsiteX16" fmla="*/ 7229 w 10000"/>
                <a:gd name="connsiteY16" fmla="*/ 0 h 10000"/>
                <a:gd name="connsiteX17" fmla="*/ 5576 w 10000"/>
                <a:gd name="connsiteY17" fmla="*/ 715 h 10000"/>
                <a:gd name="connsiteX18" fmla="*/ 7004 w 10000"/>
                <a:gd name="connsiteY18" fmla="*/ 6552 h 10000"/>
                <a:gd name="connsiteX19" fmla="*/ 1188 w 10000"/>
                <a:gd name="connsiteY19" fmla="*/ 2730 h 10000"/>
                <a:gd name="connsiteX0" fmla="*/ 7004 w 10000"/>
                <a:gd name="connsiteY0" fmla="*/ 6552 h 10000"/>
                <a:gd name="connsiteX1" fmla="*/ 513 w 10000"/>
                <a:gd name="connsiteY1" fmla="*/ 4343 h 10000"/>
                <a:gd name="connsiteX2" fmla="*/ 482 w 10000"/>
                <a:gd name="connsiteY2" fmla="*/ 4603 h 10000"/>
                <a:gd name="connsiteX3" fmla="*/ 422 w 10000"/>
                <a:gd name="connsiteY3" fmla="*/ 4817 h 10000"/>
                <a:gd name="connsiteX4" fmla="*/ 2 w 10000"/>
                <a:gd name="connsiteY4" fmla="*/ 5165 h 10000"/>
                <a:gd name="connsiteX5" fmla="*/ 1789 w 10000"/>
                <a:gd name="connsiteY5" fmla="*/ 8230 h 10000"/>
                <a:gd name="connsiteX6" fmla="*/ 2875 w 10000"/>
                <a:gd name="connsiteY6" fmla="*/ 8776 h 10000"/>
                <a:gd name="connsiteX7" fmla="*/ 3174 w 10000"/>
                <a:gd name="connsiteY7" fmla="*/ 9539 h 10000"/>
                <a:gd name="connsiteX8" fmla="*/ 5588 w 10000"/>
                <a:gd name="connsiteY8" fmla="*/ 9993 h 10000"/>
                <a:gd name="connsiteX9" fmla="*/ 8615 w 10000"/>
                <a:gd name="connsiteY9" fmla="*/ 9179 h 10000"/>
                <a:gd name="connsiteX10" fmla="*/ 8952 w 10000"/>
                <a:gd name="connsiteY10" fmla="*/ 6761 h 10000"/>
                <a:gd name="connsiteX11" fmla="*/ 9628 w 10000"/>
                <a:gd name="connsiteY11" fmla="*/ 6358 h 10000"/>
                <a:gd name="connsiteX12" fmla="*/ 9518 w 10000"/>
                <a:gd name="connsiteY12" fmla="*/ 5787 h 10000"/>
                <a:gd name="connsiteX13" fmla="*/ 8952 w 10000"/>
                <a:gd name="connsiteY13" fmla="*/ 4746 h 10000"/>
                <a:gd name="connsiteX14" fmla="*/ 9789 w 10000"/>
                <a:gd name="connsiteY14" fmla="*/ 4036 h 10000"/>
                <a:gd name="connsiteX15" fmla="*/ 9628 w 10000"/>
                <a:gd name="connsiteY15" fmla="*/ 2328 h 10000"/>
                <a:gd name="connsiteX16" fmla="*/ 7229 w 10000"/>
                <a:gd name="connsiteY16" fmla="*/ 0 h 10000"/>
                <a:gd name="connsiteX17" fmla="*/ 5576 w 10000"/>
                <a:gd name="connsiteY17" fmla="*/ 715 h 10000"/>
                <a:gd name="connsiteX18" fmla="*/ 7004 w 10000"/>
                <a:gd name="connsiteY18" fmla="*/ 6552 h 10000"/>
                <a:gd name="connsiteX0" fmla="*/ 7048 w 10044"/>
                <a:gd name="connsiteY0" fmla="*/ 6552 h 10000"/>
                <a:gd name="connsiteX1" fmla="*/ 557 w 10044"/>
                <a:gd name="connsiteY1" fmla="*/ 4343 h 10000"/>
                <a:gd name="connsiteX2" fmla="*/ 526 w 10044"/>
                <a:gd name="connsiteY2" fmla="*/ 4603 h 10000"/>
                <a:gd name="connsiteX3" fmla="*/ 46 w 10044"/>
                <a:gd name="connsiteY3" fmla="*/ 5165 h 10000"/>
                <a:gd name="connsiteX4" fmla="*/ 1833 w 10044"/>
                <a:gd name="connsiteY4" fmla="*/ 8230 h 10000"/>
                <a:gd name="connsiteX5" fmla="*/ 2919 w 10044"/>
                <a:gd name="connsiteY5" fmla="*/ 8776 h 10000"/>
                <a:gd name="connsiteX6" fmla="*/ 3218 w 10044"/>
                <a:gd name="connsiteY6" fmla="*/ 9539 h 10000"/>
                <a:gd name="connsiteX7" fmla="*/ 5632 w 10044"/>
                <a:gd name="connsiteY7" fmla="*/ 9993 h 10000"/>
                <a:gd name="connsiteX8" fmla="*/ 8659 w 10044"/>
                <a:gd name="connsiteY8" fmla="*/ 9179 h 10000"/>
                <a:gd name="connsiteX9" fmla="*/ 8996 w 10044"/>
                <a:gd name="connsiteY9" fmla="*/ 6761 h 10000"/>
                <a:gd name="connsiteX10" fmla="*/ 9672 w 10044"/>
                <a:gd name="connsiteY10" fmla="*/ 6358 h 10000"/>
                <a:gd name="connsiteX11" fmla="*/ 9562 w 10044"/>
                <a:gd name="connsiteY11" fmla="*/ 5787 h 10000"/>
                <a:gd name="connsiteX12" fmla="*/ 8996 w 10044"/>
                <a:gd name="connsiteY12" fmla="*/ 4746 h 10000"/>
                <a:gd name="connsiteX13" fmla="*/ 9833 w 10044"/>
                <a:gd name="connsiteY13" fmla="*/ 4036 h 10000"/>
                <a:gd name="connsiteX14" fmla="*/ 9672 w 10044"/>
                <a:gd name="connsiteY14" fmla="*/ 2328 h 10000"/>
                <a:gd name="connsiteX15" fmla="*/ 7273 w 10044"/>
                <a:gd name="connsiteY15" fmla="*/ 0 h 10000"/>
                <a:gd name="connsiteX16" fmla="*/ 5620 w 10044"/>
                <a:gd name="connsiteY16" fmla="*/ 715 h 10000"/>
                <a:gd name="connsiteX17" fmla="*/ 7048 w 10044"/>
                <a:gd name="connsiteY17" fmla="*/ 6552 h 10000"/>
                <a:gd name="connsiteX0" fmla="*/ 6549 w 9545"/>
                <a:gd name="connsiteY0" fmla="*/ 6552 h 10000"/>
                <a:gd name="connsiteX1" fmla="*/ 58 w 9545"/>
                <a:gd name="connsiteY1" fmla="*/ 4343 h 10000"/>
                <a:gd name="connsiteX2" fmla="*/ 27 w 9545"/>
                <a:gd name="connsiteY2" fmla="*/ 4603 h 10000"/>
                <a:gd name="connsiteX3" fmla="*/ 1334 w 9545"/>
                <a:gd name="connsiteY3" fmla="*/ 8230 h 10000"/>
                <a:gd name="connsiteX4" fmla="*/ 2420 w 9545"/>
                <a:gd name="connsiteY4" fmla="*/ 8776 h 10000"/>
                <a:gd name="connsiteX5" fmla="*/ 2719 w 9545"/>
                <a:gd name="connsiteY5" fmla="*/ 9539 h 10000"/>
                <a:gd name="connsiteX6" fmla="*/ 5133 w 9545"/>
                <a:gd name="connsiteY6" fmla="*/ 9993 h 10000"/>
                <a:gd name="connsiteX7" fmla="*/ 8160 w 9545"/>
                <a:gd name="connsiteY7" fmla="*/ 9179 h 10000"/>
                <a:gd name="connsiteX8" fmla="*/ 8497 w 9545"/>
                <a:gd name="connsiteY8" fmla="*/ 6761 h 10000"/>
                <a:gd name="connsiteX9" fmla="*/ 9173 w 9545"/>
                <a:gd name="connsiteY9" fmla="*/ 6358 h 10000"/>
                <a:gd name="connsiteX10" fmla="*/ 9063 w 9545"/>
                <a:gd name="connsiteY10" fmla="*/ 5787 h 10000"/>
                <a:gd name="connsiteX11" fmla="*/ 8497 w 9545"/>
                <a:gd name="connsiteY11" fmla="*/ 4746 h 10000"/>
                <a:gd name="connsiteX12" fmla="*/ 9334 w 9545"/>
                <a:gd name="connsiteY12" fmla="*/ 4036 h 10000"/>
                <a:gd name="connsiteX13" fmla="*/ 9173 w 9545"/>
                <a:gd name="connsiteY13" fmla="*/ 2328 h 10000"/>
                <a:gd name="connsiteX14" fmla="*/ 6774 w 9545"/>
                <a:gd name="connsiteY14" fmla="*/ 0 h 10000"/>
                <a:gd name="connsiteX15" fmla="*/ 5121 w 9545"/>
                <a:gd name="connsiteY15" fmla="*/ 715 h 10000"/>
                <a:gd name="connsiteX16" fmla="*/ 6549 w 9545"/>
                <a:gd name="connsiteY16" fmla="*/ 6552 h 10000"/>
                <a:gd name="connsiteX0" fmla="*/ 7050 w 10190"/>
                <a:gd name="connsiteY0" fmla="*/ 6552 h 10000"/>
                <a:gd name="connsiteX1" fmla="*/ 250 w 10190"/>
                <a:gd name="connsiteY1" fmla="*/ 4343 h 10000"/>
                <a:gd name="connsiteX2" fmla="*/ 1587 w 10190"/>
                <a:gd name="connsiteY2" fmla="*/ 8230 h 10000"/>
                <a:gd name="connsiteX3" fmla="*/ 2724 w 10190"/>
                <a:gd name="connsiteY3" fmla="*/ 8776 h 10000"/>
                <a:gd name="connsiteX4" fmla="*/ 3038 w 10190"/>
                <a:gd name="connsiteY4" fmla="*/ 9539 h 10000"/>
                <a:gd name="connsiteX5" fmla="*/ 5567 w 10190"/>
                <a:gd name="connsiteY5" fmla="*/ 9993 h 10000"/>
                <a:gd name="connsiteX6" fmla="*/ 8738 w 10190"/>
                <a:gd name="connsiteY6" fmla="*/ 9179 h 10000"/>
                <a:gd name="connsiteX7" fmla="*/ 9091 w 10190"/>
                <a:gd name="connsiteY7" fmla="*/ 6761 h 10000"/>
                <a:gd name="connsiteX8" fmla="*/ 9799 w 10190"/>
                <a:gd name="connsiteY8" fmla="*/ 6358 h 10000"/>
                <a:gd name="connsiteX9" fmla="*/ 9684 w 10190"/>
                <a:gd name="connsiteY9" fmla="*/ 5787 h 10000"/>
                <a:gd name="connsiteX10" fmla="*/ 9091 w 10190"/>
                <a:gd name="connsiteY10" fmla="*/ 4746 h 10000"/>
                <a:gd name="connsiteX11" fmla="*/ 9968 w 10190"/>
                <a:gd name="connsiteY11" fmla="*/ 4036 h 10000"/>
                <a:gd name="connsiteX12" fmla="*/ 9799 w 10190"/>
                <a:gd name="connsiteY12" fmla="*/ 2328 h 10000"/>
                <a:gd name="connsiteX13" fmla="*/ 7286 w 10190"/>
                <a:gd name="connsiteY13" fmla="*/ 0 h 10000"/>
                <a:gd name="connsiteX14" fmla="*/ 5554 w 10190"/>
                <a:gd name="connsiteY14" fmla="*/ 715 h 10000"/>
                <a:gd name="connsiteX15" fmla="*/ 7050 w 10190"/>
                <a:gd name="connsiteY15" fmla="*/ 6552 h 10000"/>
                <a:gd name="connsiteX0" fmla="*/ 5463 w 8603"/>
                <a:gd name="connsiteY0" fmla="*/ 6552 h 10000"/>
                <a:gd name="connsiteX1" fmla="*/ 0 w 8603"/>
                <a:gd name="connsiteY1" fmla="*/ 8230 h 10000"/>
                <a:gd name="connsiteX2" fmla="*/ 1137 w 8603"/>
                <a:gd name="connsiteY2" fmla="*/ 8776 h 10000"/>
                <a:gd name="connsiteX3" fmla="*/ 1451 w 8603"/>
                <a:gd name="connsiteY3" fmla="*/ 9539 h 10000"/>
                <a:gd name="connsiteX4" fmla="*/ 3980 w 8603"/>
                <a:gd name="connsiteY4" fmla="*/ 9993 h 10000"/>
                <a:gd name="connsiteX5" fmla="*/ 7151 w 8603"/>
                <a:gd name="connsiteY5" fmla="*/ 9179 h 10000"/>
                <a:gd name="connsiteX6" fmla="*/ 7504 w 8603"/>
                <a:gd name="connsiteY6" fmla="*/ 6761 h 10000"/>
                <a:gd name="connsiteX7" fmla="*/ 8212 w 8603"/>
                <a:gd name="connsiteY7" fmla="*/ 6358 h 10000"/>
                <a:gd name="connsiteX8" fmla="*/ 8097 w 8603"/>
                <a:gd name="connsiteY8" fmla="*/ 5787 h 10000"/>
                <a:gd name="connsiteX9" fmla="*/ 7504 w 8603"/>
                <a:gd name="connsiteY9" fmla="*/ 4746 h 10000"/>
                <a:gd name="connsiteX10" fmla="*/ 8381 w 8603"/>
                <a:gd name="connsiteY10" fmla="*/ 4036 h 10000"/>
                <a:gd name="connsiteX11" fmla="*/ 8212 w 8603"/>
                <a:gd name="connsiteY11" fmla="*/ 2328 h 10000"/>
                <a:gd name="connsiteX12" fmla="*/ 5699 w 8603"/>
                <a:gd name="connsiteY12" fmla="*/ 0 h 10000"/>
                <a:gd name="connsiteX13" fmla="*/ 3967 w 8603"/>
                <a:gd name="connsiteY13" fmla="*/ 715 h 10000"/>
                <a:gd name="connsiteX14" fmla="*/ 5463 w 8603"/>
                <a:gd name="connsiteY14" fmla="*/ 6552 h 10000"/>
                <a:gd name="connsiteX0" fmla="*/ 5028 w 8678"/>
                <a:gd name="connsiteY0" fmla="*/ 6552 h 10000"/>
                <a:gd name="connsiteX1" fmla="*/ 0 w 8678"/>
                <a:gd name="connsiteY1" fmla="*/ 8776 h 10000"/>
                <a:gd name="connsiteX2" fmla="*/ 365 w 8678"/>
                <a:gd name="connsiteY2" fmla="*/ 9539 h 10000"/>
                <a:gd name="connsiteX3" fmla="*/ 3304 w 8678"/>
                <a:gd name="connsiteY3" fmla="*/ 9993 h 10000"/>
                <a:gd name="connsiteX4" fmla="*/ 6990 w 8678"/>
                <a:gd name="connsiteY4" fmla="*/ 9179 h 10000"/>
                <a:gd name="connsiteX5" fmla="*/ 7401 w 8678"/>
                <a:gd name="connsiteY5" fmla="*/ 6761 h 10000"/>
                <a:gd name="connsiteX6" fmla="*/ 8224 w 8678"/>
                <a:gd name="connsiteY6" fmla="*/ 6358 h 10000"/>
                <a:gd name="connsiteX7" fmla="*/ 8090 w 8678"/>
                <a:gd name="connsiteY7" fmla="*/ 5787 h 10000"/>
                <a:gd name="connsiteX8" fmla="*/ 7401 w 8678"/>
                <a:gd name="connsiteY8" fmla="*/ 4746 h 10000"/>
                <a:gd name="connsiteX9" fmla="*/ 8420 w 8678"/>
                <a:gd name="connsiteY9" fmla="*/ 4036 h 10000"/>
                <a:gd name="connsiteX10" fmla="*/ 8224 w 8678"/>
                <a:gd name="connsiteY10" fmla="*/ 2328 h 10000"/>
                <a:gd name="connsiteX11" fmla="*/ 5302 w 8678"/>
                <a:gd name="connsiteY11" fmla="*/ 0 h 10000"/>
                <a:gd name="connsiteX12" fmla="*/ 3289 w 8678"/>
                <a:gd name="connsiteY12" fmla="*/ 715 h 10000"/>
                <a:gd name="connsiteX13" fmla="*/ 5028 w 8678"/>
                <a:gd name="connsiteY13" fmla="*/ 6552 h 10000"/>
                <a:gd name="connsiteX0" fmla="*/ 5820 w 10026"/>
                <a:gd name="connsiteY0" fmla="*/ 6552 h 10001"/>
                <a:gd name="connsiteX1" fmla="*/ 26 w 10026"/>
                <a:gd name="connsiteY1" fmla="*/ 8776 h 10001"/>
                <a:gd name="connsiteX2" fmla="*/ 3833 w 10026"/>
                <a:gd name="connsiteY2" fmla="*/ 9993 h 10001"/>
                <a:gd name="connsiteX3" fmla="*/ 8081 w 10026"/>
                <a:gd name="connsiteY3" fmla="*/ 9179 h 10001"/>
                <a:gd name="connsiteX4" fmla="*/ 8554 w 10026"/>
                <a:gd name="connsiteY4" fmla="*/ 6761 h 10001"/>
                <a:gd name="connsiteX5" fmla="*/ 9503 w 10026"/>
                <a:gd name="connsiteY5" fmla="*/ 6358 h 10001"/>
                <a:gd name="connsiteX6" fmla="*/ 9348 w 10026"/>
                <a:gd name="connsiteY6" fmla="*/ 5787 h 10001"/>
                <a:gd name="connsiteX7" fmla="*/ 8554 w 10026"/>
                <a:gd name="connsiteY7" fmla="*/ 4746 h 10001"/>
                <a:gd name="connsiteX8" fmla="*/ 9729 w 10026"/>
                <a:gd name="connsiteY8" fmla="*/ 4036 h 10001"/>
                <a:gd name="connsiteX9" fmla="*/ 9503 w 10026"/>
                <a:gd name="connsiteY9" fmla="*/ 2328 h 10001"/>
                <a:gd name="connsiteX10" fmla="*/ 6136 w 10026"/>
                <a:gd name="connsiteY10" fmla="*/ 0 h 10001"/>
                <a:gd name="connsiteX11" fmla="*/ 3816 w 10026"/>
                <a:gd name="connsiteY11" fmla="*/ 715 h 10001"/>
                <a:gd name="connsiteX12" fmla="*/ 5820 w 10026"/>
                <a:gd name="connsiteY12" fmla="*/ 6552 h 10001"/>
                <a:gd name="connsiteX0" fmla="*/ 3231 w 7437"/>
                <a:gd name="connsiteY0" fmla="*/ 6552 h 10001"/>
                <a:gd name="connsiteX1" fmla="*/ 1244 w 7437"/>
                <a:gd name="connsiteY1" fmla="*/ 9993 h 10001"/>
                <a:gd name="connsiteX2" fmla="*/ 5492 w 7437"/>
                <a:gd name="connsiteY2" fmla="*/ 9179 h 10001"/>
                <a:gd name="connsiteX3" fmla="*/ 5965 w 7437"/>
                <a:gd name="connsiteY3" fmla="*/ 6761 h 10001"/>
                <a:gd name="connsiteX4" fmla="*/ 6914 w 7437"/>
                <a:gd name="connsiteY4" fmla="*/ 6358 h 10001"/>
                <a:gd name="connsiteX5" fmla="*/ 6759 w 7437"/>
                <a:gd name="connsiteY5" fmla="*/ 5787 h 10001"/>
                <a:gd name="connsiteX6" fmla="*/ 5965 w 7437"/>
                <a:gd name="connsiteY6" fmla="*/ 4746 h 10001"/>
                <a:gd name="connsiteX7" fmla="*/ 7140 w 7437"/>
                <a:gd name="connsiteY7" fmla="*/ 4036 h 10001"/>
                <a:gd name="connsiteX8" fmla="*/ 6914 w 7437"/>
                <a:gd name="connsiteY8" fmla="*/ 2328 h 10001"/>
                <a:gd name="connsiteX9" fmla="*/ 3547 w 7437"/>
                <a:gd name="connsiteY9" fmla="*/ 0 h 10001"/>
                <a:gd name="connsiteX10" fmla="*/ 1227 w 7437"/>
                <a:gd name="connsiteY10" fmla="*/ 715 h 10001"/>
                <a:gd name="connsiteX11" fmla="*/ 3231 w 7437"/>
                <a:gd name="connsiteY11" fmla="*/ 6552 h 10001"/>
                <a:gd name="connsiteX0" fmla="*/ 4344 w 10000"/>
                <a:gd name="connsiteY0" fmla="*/ 6551 h 9178"/>
                <a:gd name="connsiteX1" fmla="*/ 7385 w 10000"/>
                <a:gd name="connsiteY1" fmla="*/ 9178 h 9178"/>
                <a:gd name="connsiteX2" fmla="*/ 8021 w 10000"/>
                <a:gd name="connsiteY2" fmla="*/ 6760 h 9178"/>
                <a:gd name="connsiteX3" fmla="*/ 9297 w 10000"/>
                <a:gd name="connsiteY3" fmla="*/ 6357 h 9178"/>
                <a:gd name="connsiteX4" fmla="*/ 9088 w 10000"/>
                <a:gd name="connsiteY4" fmla="*/ 5786 h 9178"/>
                <a:gd name="connsiteX5" fmla="*/ 8021 w 10000"/>
                <a:gd name="connsiteY5" fmla="*/ 4746 h 9178"/>
                <a:gd name="connsiteX6" fmla="*/ 9601 w 10000"/>
                <a:gd name="connsiteY6" fmla="*/ 4036 h 9178"/>
                <a:gd name="connsiteX7" fmla="*/ 9297 w 10000"/>
                <a:gd name="connsiteY7" fmla="*/ 2328 h 9178"/>
                <a:gd name="connsiteX8" fmla="*/ 4769 w 10000"/>
                <a:gd name="connsiteY8" fmla="*/ 0 h 9178"/>
                <a:gd name="connsiteX9" fmla="*/ 1650 w 10000"/>
                <a:gd name="connsiteY9" fmla="*/ 715 h 9178"/>
                <a:gd name="connsiteX10" fmla="*/ 4344 w 10000"/>
                <a:gd name="connsiteY10" fmla="*/ 6551 h 9178"/>
                <a:gd name="connsiteX0" fmla="*/ 4344 w 10000"/>
                <a:gd name="connsiteY0" fmla="*/ 7138 h 7365"/>
                <a:gd name="connsiteX1" fmla="*/ 8021 w 10000"/>
                <a:gd name="connsiteY1" fmla="*/ 7365 h 7365"/>
                <a:gd name="connsiteX2" fmla="*/ 9297 w 10000"/>
                <a:gd name="connsiteY2" fmla="*/ 6926 h 7365"/>
                <a:gd name="connsiteX3" fmla="*/ 9088 w 10000"/>
                <a:gd name="connsiteY3" fmla="*/ 6304 h 7365"/>
                <a:gd name="connsiteX4" fmla="*/ 8021 w 10000"/>
                <a:gd name="connsiteY4" fmla="*/ 5171 h 7365"/>
                <a:gd name="connsiteX5" fmla="*/ 9601 w 10000"/>
                <a:gd name="connsiteY5" fmla="*/ 4397 h 7365"/>
                <a:gd name="connsiteX6" fmla="*/ 9297 w 10000"/>
                <a:gd name="connsiteY6" fmla="*/ 2537 h 7365"/>
                <a:gd name="connsiteX7" fmla="*/ 4769 w 10000"/>
                <a:gd name="connsiteY7" fmla="*/ 0 h 7365"/>
                <a:gd name="connsiteX8" fmla="*/ 1650 w 10000"/>
                <a:gd name="connsiteY8" fmla="*/ 779 h 7365"/>
                <a:gd name="connsiteX9" fmla="*/ 4344 w 10000"/>
                <a:gd name="connsiteY9" fmla="*/ 7138 h 7365"/>
                <a:gd name="connsiteX0" fmla="*/ 3593 w 9907"/>
                <a:gd name="connsiteY0" fmla="*/ 4878 h 10000"/>
                <a:gd name="connsiteX1" fmla="*/ 7928 w 9907"/>
                <a:gd name="connsiteY1" fmla="*/ 10000 h 10000"/>
                <a:gd name="connsiteX2" fmla="*/ 9204 w 9907"/>
                <a:gd name="connsiteY2" fmla="*/ 9404 h 10000"/>
                <a:gd name="connsiteX3" fmla="*/ 8995 w 9907"/>
                <a:gd name="connsiteY3" fmla="*/ 8559 h 10000"/>
                <a:gd name="connsiteX4" fmla="*/ 7928 w 9907"/>
                <a:gd name="connsiteY4" fmla="*/ 7021 h 10000"/>
                <a:gd name="connsiteX5" fmla="*/ 9508 w 9907"/>
                <a:gd name="connsiteY5" fmla="*/ 5970 h 10000"/>
                <a:gd name="connsiteX6" fmla="*/ 9204 w 9907"/>
                <a:gd name="connsiteY6" fmla="*/ 3445 h 10000"/>
                <a:gd name="connsiteX7" fmla="*/ 4676 w 9907"/>
                <a:gd name="connsiteY7" fmla="*/ 0 h 10000"/>
                <a:gd name="connsiteX8" fmla="*/ 1557 w 9907"/>
                <a:gd name="connsiteY8" fmla="*/ 1058 h 10000"/>
                <a:gd name="connsiteX9" fmla="*/ 3593 w 9907"/>
                <a:gd name="connsiteY9" fmla="*/ 4878 h 10000"/>
                <a:gd name="connsiteX0" fmla="*/ 2055 w 8428"/>
                <a:gd name="connsiteY0" fmla="*/ 4878 h 10000"/>
                <a:gd name="connsiteX1" fmla="*/ 6430 w 8428"/>
                <a:gd name="connsiteY1" fmla="*/ 10000 h 10000"/>
                <a:gd name="connsiteX2" fmla="*/ 7718 w 8428"/>
                <a:gd name="connsiteY2" fmla="*/ 9404 h 10000"/>
                <a:gd name="connsiteX3" fmla="*/ 7507 w 8428"/>
                <a:gd name="connsiteY3" fmla="*/ 8559 h 10000"/>
                <a:gd name="connsiteX4" fmla="*/ 6430 w 8428"/>
                <a:gd name="connsiteY4" fmla="*/ 7021 h 10000"/>
                <a:gd name="connsiteX5" fmla="*/ 8025 w 8428"/>
                <a:gd name="connsiteY5" fmla="*/ 5970 h 10000"/>
                <a:gd name="connsiteX6" fmla="*/ 7718 w 8428"/>
                <a:gd name="connsiteY6" fmla="*/ 3445 h 10000"/>
                <a:gd name="connsiteX7" fmla="*/ 3148 w 8428"/>
                <a:gd name="connsiteY7" fmla="*/ 0 h 10000"/>
                <a:gd name="connsiteX8" fmla="*/ 0 w 8428"/>
                <a:gd name="connsiteY8" fmla="*/ 1058 h 10000"/>
                <a:gd name="connsiteX9" fmla="*/ 2055 w 8428"/>
                <a:gd name="connsiteY9" fmla="*/ 4878 h 10000"/>
                <a:gd name="connsiteX0" fmla="*/ 4279 w 10002"/>
                <a:gd name="connsiteY0" fmla="*/ 4041 h 10000"/>
                <a:gd name="connsiteX1" fmla="*/ 7631 w 10002"/>
                <a:gd name="connsiteY1" fmla="*/ 10000 h 10000"/>
                <a:gd name="connsiteX2" fmla="*/ 9160 w 10002"/>
                <a:gd name="connsiteY2" fmla="*/ 9404 h 10000"/>
                <a:gd name="connsiteX3" fmla="*/ 8909 w 10002"/>
                <a:gd name="connsiteY3" fmla="*/ 8559 h 10000"/>
                <a:gd name="connsiteX4" fmla="*/ 7631 w 10002"/>
                <a:gd name="connsiteY4" fmla="*/ 7021 h 10000"/>
                <a:gd name="connsiteX5" fmla="*/ 9524 w 10002"/>
                <a:gd name="connsiteY5" fmla="*/ 5970 h 10000"/>
                <a:gd name="connsiteX6" fmla="*/ 9160 w 10002"/>
                <a:gd name="connsiteY6" fmla="*/ 3445 h 10000"/>
                <a:gd name="connsiteX7" fmla="*/ 3737 w 10002"/>
                <a:gd name="connsiteY7" fmla="*/ 0 h 10000"/>
                <a:gd name="connsiteX8" fmla="*/ 2 w 10002"/>
                <a:gd name="connsiteY8" fmla="*/ 1058 h 10000"/>
                <a:gd name="connsiteX9" fmla="*/ 4279 w 10002"/>
                <a:gd name="connsiteY9" fmla="*/ 404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002" h="10000">
                  <a:moveTo>
                    <a:pt x="4279" y="4041"/>
                  </a:moveTo>
                  <a:lnTo>
                    <a:pt x="7631" y="10000"/>
                  </a:lnTo>
                  <a:lnTo>
                    <a:pt x="9160" y="9404"/>
                  </a:lnTo>
                  <a:cubicBezTo>
                    <a:pt x="9077" y="9123"/>
                    <a:pt x="8993" y="8840"/>
                    <a:pt x="8909" y="8559"/>
                  </a:cubicBezTo>
                  <a:cubicBezTo>
                    <a:pt x="9161" y="7963"/>
                    <a:pt x="7380" y="7616"/>
                    <a:pt x="7631" y="7021"/>
                  </a:cubicBezTo>
                  <a:cubicBezTo>
                    <a:pt x="7631" y="7021"/>
                    <a:pt x="9524" y="6565"/>
                    <a:pt x="9524" y="5970"/>
                  </a:cubicBezTo>
                  <a:cubicBezTo>
                    <a:pt x="10282" y="4777"/>
                    <a:pt x="10123" y="4439"/>
                    <a:pt x="9160" y="3445"/>
                  </a:cubicBezTo>
                  <a:cubicBezTo>
                    <a:pt x="8195" y="2448"/>
                    <a:pt x="5543" y="1149"/>
                    <a:pt x="3737" y="0"/>
                  </a:cubicBezTo>
                  <a:cubicBezTo>
                    <a:pt x="2491" y="353"/>
                    <a:pt x="-88" y="385"/>
                    <a:pt x="2" y="1058"/>
                  </a:cubicBezTo>
                  <a:cubicBezTo>
                    <a:pt x="92" y="1731"/>
                    <a:pt x="2853" y="3047"/>
                    <a:pt x="4279" y="4041"/>
                  </a:cubicBez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268" name="AM"/>
            <p:cNvSpPr>
              <a:spLocks/>
            </p:cNvSpPr>
            <p:nvPr/>
          </p:nvSpPr>
          <p:spPr bwMode="auto">
            <a:xfrm>
              <a:off x="5334877" y="3295184"/>
              <a:ext cx="70366" cy="85988"/>
            </a:xfrm>
            <a:custGeom>
              <a:avLst/>
              <a:gdLst>
                <a:gd name="T0" fmla="*/ 22159047 w 10000"/>
                <a:gd name="T1" fmla="*/ 1471825 h 10000"/>
                <a:gd name="T2" fmla="*/ 5539588 w 10000"/>
                <a:gd name="T3" fmla="*/ 1471825 h 10000"/>
                <a:gd name="T4" fmla="*/ 0 w 10000"/>
                <a:gd name="T5" fmla="*/ 0 h 10000"/>
                <a:gd name="T6" fmla="*/ 0 w 10000"/>
                <a:gd name="T7" fmla="*/ 2940641 h 10000"/>
                <a:gd name="T8" fmla="*/ 2772971 w 10000"/>
                <a:gd name="T9" fmla="*/ 7356103 h 10000"/>
                <a:gd name="T10" fmla="*/ 4138115 w 10000"/>
                <a:gd name="T11" fmla="*/ 12109724 h 10000"/>
                <a:gd name="T12" fmla="*/ 2772971 w 10000"/>
                <a:gd name="T13" fmla="*/ 14954558 h 10000"/>
                <a:gd name="T14" fmla="*/ 5539588 w 10000"/>
                <a:gd name="T15" fmla="*/ 17897996 h 10000"/>
                <a:gd name="T16" fmla="*/ 9738697 w 10000"/>
                <a:gd name="T17" fmla="*/ 21659295 h 10000"/>
                <a:gd name="T18" fmla="*/ 25047652 w 10000"/>
                <a:gd name="T19" fmla="*/ 18924256 h 10000"/>
                <a:gd name="T20" fmla="*/ 27107390 w 10000"/>
                <a:gd name="T21" fmla="*/ 19930961 h 10000"/>
                <a:gd name="T22" fmla="*/ 30532582 w 10000"/>
                <a:gd name="T23" fmla="*/ 19950516 h 10000"/>
                <a:gd name="T24" fmla="*/ 30471606 w 10000"/>
                <a:gd name="T25" fmla="*/ 20838638 h 10000"/>
                <a:gd name="T26" fmla="*/ 27698635 w 10000"/>
                <a:gd name="T27" fmla="*/ 22310463 h 10000"/>
                <a:gd name="T28" fmla="*/ 30471606 w 10000"/>
                <a:gd name="T29" fmla="*/ 28194755 h 10000"/>
                <a:gd name="T30" fmla="*/ 41551111 w 10000"/>
                <a:gd name="T31" fmla="*/ 23782288 h 10000"/>
                <a:gd name="T32" fmla="*/ 52630635 w 10000"/>
                <a:gd name="T33" fmla="*/ 23782288 h 10000"/>
                <a:gd name="T34" fmla="*/ 58170241 w 10000"/>
                <a:gd name="T35" fmla="*/ 19369822 h 10000"/>
                <a:gd name="T36" fmla="*/ 60943194 w 10000"/>
                <a:gd name="T37" fmla="*/ 19369822 h 10000"/>
                <a:gd name="T38" fmla="*/ 44324082 w 10000"/>
                <a:gd name="T39" fmla="*/ 16426171 h 10000"/>
                <a:gd name="T40" fmla="*/ 41551111 w 10000"/>
                <a:gd name="T41" fmla="*/ 8824933 h 10000"/>
                <a:gd name="T42" fmla="*/ 52630635 w 10000"/>
                <a:gd name="T43" fmla="*/ 2940641 h 10000"/>
                <a:gd name="T44" fmla="*/ 36011194 w 10000"/>
                <a:gd name="T45" fmla="*/ 0 h 10000"/>
                <a:gd name="T46" fmla="*/ 22159047 w 10000"/>
                <a:gd name="T47" fmla="*/ 1471825 h 10000"/>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connsiteX0" fmla="*/ 3636 w 10000"/>
                <a:gd name="connsiteY0" fmla="*/ 522 h 10000"/>
                <a:gd name="connsiteX1" fmla="*/ 909 w 10000"/>
                <a:gd name="connsiteY1" fmla="*/ 522 h 10000"/>
                <a:gd name="connsiteX2" fmla="*/ 0 w 10000"/>
                <a:gd name="connsiteY2" fmla="*/ 0 h 10000"/>
                <a:gd name="connsiteX3" fmla="*/ 0 w 10000"/>
                <a:gd name="connsiteY3" fmla="*/ 1043 h 10000"/>
                <a:gd name="connsiteX4" fmla="*/ 455 w 10000"/>
                <a:gd name="connsiteY4" fmla="*/ 2609 h 10000"/>
                <a:gd name="connsiteX5" fmla="*/ 679 w 10000"/>
                <a:gd name="connsiteY5" fmla="*/ 4295 h 10000"/>
                <a:gd name="connsiteX6" fmla="*/ 455 w 10000"/>
                <a:gd name="connsiteY6" fmla="*/ 5304 h 10000"/>
                <a:gd name="connsiteX7" fmla="*/ 909 w 10000"/>
                <a:gd name="connsiteY7" fmla="*/ 6348 h 10000"/>
                <a:gd name="connsiteX8" fmla="*/ 1598 w 10000"/>
                <a:gd name="connsiteY8" fmla="*/ 7682 h 10000"/>
                <a:gd name="connsiteX9" fmla="*/ 4110 w 10000"/>
                <a:gd name="connsiteY9" fmla="*/ 6712 h 10000"/>
                <a:gd name="connsiteX10" fmla="*/ 4448 w 10000"/>
                <a:gd name="connsiteY10" fmla="*/ 7069 h 10000"/>
                <a:gd name="connsiteX11" fmla="*/ 5010 w 10000"/>
                <a:gd name="connsiteY11" fmla="*/ 7076 h 10000"/>
                <a:gd name="connsiteX12" fmla="*/ 5000 w 10000"/>
                <a:gd name="connsiteY12" fmla="*/ 7391 h 10000"/>
                <a:gd name="connsiteX13" fmla="*/ 4545 w 10000"/>
                <a:gd name="connsiteY13" fmla="*/ 7913 h 10000"/>
                <a:gd name="connsiteX14" fmla="*/ 5000 w 10000"/>
                <a:gd name="connsiteY14" fmla="*/ 10000 h 10000"/>
                <a:gd name="connsiteX15" fmla="*/ 8151 w 10000"/>
                <a:gd name="connsiteY15" fmla="*/ 8940 h 10000"/>
                <a:gd name="connsiteX16" fmla="*/ 8636 w 10000"/>
                <a:gd name="connsiteY16" fmla="*/ 8435 h 10000"/>
                <a:gd name="connsiteX17" fmla="*/ 9545 w 10000"/>
                <a:gd name="connsiteY17" fmla="*/ 6870 h 10000"/>
                <a:gd name="connsiteX18" fmla="*/ 10000 w 10000"/>
                <a:gd name="connsiteY18" fmla="*/ 6870 h 10000"/>
                <a:gd name="connsiteX19" fmla="*/ 7273 w 10000"/>
                <a:gd name="connsiteY19" fmla="*/ 5826 h 10000"/>
                <a:gd name="connsiteX20" fmla="*/ 6818 w 10000"/>
                <a:gd name="connsiteY20" fmla="*/ 3130 h 10000"/>
                <a:gd name="connsiteX21" fmla="*/ 8636 w 10000"/>
                <a:gd name="connsiteY21" fmla="*/ 1043 h 10000"/>
                <a:gd name="connsiteX22" fmla="*/ 5909 w 10000"/>
                <a:gd name="connsiteY22" fmla="*/ 0 h 10000"/>
                <a:gd name="connsiteX23" fmla="*/ 3636 w 10000"/>
                <a:gd name="connsiteY23" fmla="*/ 522 h 10000"/>
                <a:gd name="connsiteX0" fmla="*/ 3636 w 10000"/>
                <a:gd name="connsiteY0" fmla="*/ 522 h 10000"/>
                <a:gd name="connsiteX1" fmla="*/ 909 w 10000"/>
                <a:gd name="connsiteY1" fmla="*/ 522 h 10000"/>
                <a:gd name="connsiteX2" fmla="*/ 0 w 10000"/>
                <a:gd name="connsiteY2" fmla="*/ 0 h 10000"/>
                <a:gd name="connsiteX3" fmla="*/ 0 w 10000"/>
                <a:gd name="connsiteY3" fmla="*/ 1043 h 10000"/>
                <a:gd name="connsiteX4" fmla="*/ 455 w 10000"/>
                <a:gd name="connsiteY4" fmla="*/ 2609 h 10000"/>
                <a:gd name="connsiteX5" fmla="*/ 679 w 10000"/>
                <a:gd name="connsiteY5" fmla="*/ 4295 h 10000"/>
                <a:gd name="connsiteX6" fmla="*/ 455 w 10000"/>
                <a:gd name="connsiteY6" fmla="*/ 5304 h 10000"/>
                <a:gd name="connsiteX7" fmla="*/ 909 w 10000"/>
                <a:gd name="connsiteY7" fmla="*/ 6348 h 10000"/>
                <a:gd name="connsiteX8" fmla="*/ 1598 w 10000"/>
                <a:gd name="connsiteY8" fmla="*/ 7682 h 10000"/>
                <a:gd name="connsiteX9" fmla="*/ 4110 w 10000"/>
                <a:gd name="connsiteY9" fmla="*/ 6712 h 10000"/>
                <a:gd name="connsiteX10" fmla="*/ 4448 w 10000"/>
                <a:gd name="connsiteY10" fmla="*/ 7069 h 10000"/>
                <a:gd name="connsiteX11" fmla="*/ 5010 w 10000"/>
                <a:gd name="connsiteY11" fmla="*/ 7076 h 10000"/>
                <a:gd name="connsiteX12" fmla="*/ 5000 w 10000"/>
                <a:gd name="connsiteY12" fmla="*/ 7391 h 10000"/>
                <a:gd name="connsiteX13" fmla="*/ 4545 w 10000"/>
                <a:gd name="connsiteY13" fmla="*/ 7913 h 10000"/>
                <a:gd name="connsiteX14" fmla="*/ 7417 w 10000"/>
                <a:gd name="connsiteY14" fmla="*/ 6551 h 10000"/>
                <a:gd name="connsiteX15" fmla="*/ 5000 w 10000"/>
                <a:gd name="connsiteY15" fmla="*/ 10000 h 10000"/>
                <a:gd name="connsiteX16" fmla="*/ 8151 w 10000"/>
                <a:gd name="connsiteY16" fmla="*/ 8940 h 10000"/>
                <a:gd name="connsiteX17" fmla="*/ 8636 w 10000"/>
                <a:gd name="connsiteY17" fmla="*/ 8435 h 10000"/>
                <a:gd name="connsiteX18" fmla="*/ 9545 w 10000"/>
                <a:gd name="connsiteY18" fmla="*/ 6870 h 10000"/>
                <a:gd name="connsiteX19" fmla="*/ 10000 w 10000"/>
                <a:gd name="connsiteY19" fmla="*/ 6870 h 10000"/>
                <a:gd name="connsiteX20" fmla="*/ 7273 w 10000"/>
                <a:gd name="connsiteY20" fmla="*/ 5826 h 10000"/>
                <a:gd name="connsiteX21" fmla="*/ 6818 w 10000"/>
                <a:gd name="connsiteY21" fmla="*/ 3130 h 10000"/>
                <a:gd name="connsiteX22" fmla="*/ 8636 w 10000"/>
                <a:gd name="connsiteY22" fmla="*/ 1043 h 10000"/>
                <a:gd name="connsiteX23" fmla="*/ 5909 w 10000"/>
                <a:gd name="connsiteY23" fmla="*/ 0 h 10000"/>
                <a:gd name="connsiteX24" fmla="*/ 3636 w 10000"/>
                <a:gd name="connsiteY24" fmla="*/ 522 h 10000"/>
                <a:gd name="connsiteX0" fmla="*/ 3636 w 10000"/>
                <a:gd name="connsiteY0" fmla="*/ 522 h 8940"/>
                <a:gd name="connsiteX1" fmla="*/ 909 w 10000"/>
                <a:gd name="connsiteY1" fmla="*/ 522 h 8940"/>
                <a:gd name="connsiteX2" fmla="*/ 0 w 10000"/>
                <a:gd name="connsiteY2" fmla="*/ 0 h 8940"/>
                <a:gd name="connsiteX3" fmla="*/ 0 w 10000"/>
                <a:gd name="connsiteY3" fmla="*/ 1043 h 8940"/>
                <a:gd name="connsiteX4" fmla="*/ 455 w 10000"/>
                <a:gd name="connsiteY4" fmla="*/ 2609 h 8940"/>
                <a:gd name="connsiteX5" fmla="*/ 679 w 10000"/>
                <a:gd name="connsiteY5" fmla="*/ 4295 h 8940"/>
                <a:gd name="connsiteX6" fmla="*/ 455 w 10000"/>
                <a:gd name="connsiteY6" fmla="*/ 5304 h 8940"/>
                <a:gd name="connsiteX7" fmla="*/ 909 w 10000"/>
                <a:gd name="connsiteY7" fmla="*/ 6348 h 8940"/>
                <a:gd name="connsiteX8" fmla="*/ 1598 w 10000"/>
                <a:gd name="connsiteY8" fmla="*/ 7682 h 8940"/>
                <a:gd name="connsiteX9" fmla="*/ 4110 w 10000"/>
                <a:gd name="connsiteY9" fmla="*/ 6712 h 8940"/>
                <a:gd name="connsiteX10" fmla="*/ 4448 w 10000"/>
                <a:gd name="connsiteY10" fmla="*/ 7069 h 8940"/>
                <a:gd name="connsiteX11" fmla="*/ 5010 w 10000"/>
                <a:gd name="connsiteY11" fmla="*/ 7076 h 8940"/>
                <a:gd name="connsiteX12" fmla="*/ 5000 w 10000"/>
                <a:gd name="connsiteY12" fmla="*/ 7391 h 8940"/>
                <a:gd name="connsiteX13" fmla="*/ 4545 w 10000"/>
                <a:gd name="connsiteY13" fmla="*/ 7913 h 8940"/>
                <a:gd name="connsiteX14" fmla="*/ 7417 w 10000"/>
                <a:gd name="connsiteY14" fmla="*/ 6551 h 8940"/>
                <a:gd name="connsiteX15" fmla="*/ 6733 w 10000"/>
                <a:gd name="connsiteY15" fmla="*/ 8318 h 8940"/>
                <a:gd name="connsiteX16" fmla="*/ 8151 w 10000"/>
                <a:gd name="connsiteY16" fmla="*/ 8940 h 8940"/>
                <a:gd name="connsiteX17" fmla="*/ 8636 w 10000"/>
                <a:gd name="connsiteY17" fmla="*/ 8435 h 8940"/>
                <a:gd name="connsiteX18" fmla="*/ 9545 w 10000"/>
                <a:gd name="connsiteY18" fmla="*/ 6870 h 8940"/>
                <a:gd name="connsiteX19" fmla="*/ 10000 w 10000"/>
                <a:gd name="connsiteY19" fmla="*/ 6870 h 8940"/>
                <a:gd name="connsiteX20" fmla="*/ 7273 w 10000"/>
                <a:gd name="connsiteY20" fmla="*/ 5826 h 8940"/>
                <a:gd name="connsiteX21" fmla="*/ 6818 w 10000"/>
                <a:gd name="connsiteY21" fmla="*/ 3130 h 8940"/>
                <a:gd name="connsiteX22" fmla="*/ 8636 w 10000"/>
                <a:gd name="connsiteY22" fmla="*/ 1043 h 8940"/>
                <a:gd name="connsiteX23" fmla="*/ 5909 w 10000"/>
                <a:gd name="connsiteY23" fmla="*/ 0 h 8940"/>
                <a:gd name="connsiteX24" fmla="*/ 3636 w 10000"/>
                <a:gd name="connsiteY24" fmla="*/ 522 h 8940"/>
                <a:gd name="connsiteX0" fmla="*/ 3636 w 10000"/>
                <a:gd name="connsiteY0" fmla="*/ 584 h 10000"/>
                <a:gd name="connsiteX1" fmla="*/ 909 w 10000"/>
                <a:gd name="connsiteY1" fmla="*/ 584 h 10000"/>
                <a:gd name="connsiteX2" fmla="*/ 0 w 10000"/>
                <a:gd name="connsiteY2" fmla="*/ 0 h 10000"/>
                <a:gd name="connsiteX3" fmla="*/ 0 w 10000"/>
                <a:gd name="connsiteY3" fmla="*/ 1167 h 10000"/>
                <a:gd name="connsiteX4" fmla="*/ 455 w 10000"/>
                <a:gd name="connsiteY4" fmla="*/ 2918 h 10000"/>
                <a:gd name="connsiteX5" fmla="*/ 679 w 10000"/>
                <a:gd name="connsiteY5" fmla="*/ 4804 h 10000"/>
                <a:gd name="connsiteX6" fmla="*/ 455 w 10000"/>
                <a:gd name="connsiteY6" fmla="*/ 5933 h 10000"/>
                <a:gd name="connsiteX7" fmla="*/ 909 w 10000"/>
                <a:gd name="connsiteY7" fmla="*/ 7101 h 10000"/>
                <a:gd name="connsiteX8" fmla="*/ 1598 w 10000"/>
                <a:gd name="connsiteY8" fmla="*/ 8593 h 10000"/>
                <a:gd name="connsiteX9" fmla="*/ 4110 w 10000"/>
                <a:gd name="connsiteY9" fmla="*/ 7508 h 10000"/>
                <a:gd name="connsiteX10" fmla="*/ 4448 w 10000"/>
                <a:gd name="connsiteY10" fmla="*/ 7907 h 10000"/>
                <a:gd name="connsiteX11" fmla="*/ 5010 w 10000"/>
                <a:gd name="connsiteY11" fmla="*/ 7915 h 10000"/>
                <a:gd name="connsiteX12" fmla="*/ 5000 w 10000"/>
                <a:gd name="connsiteY12" fmla="*/ 8267 h 10000"/>
                <a:gd name="connsiteX13" fmla="*/ 4545 w 10000"/>
                <a:gd name="connsiteY13" fmla="*/ 8851 h 10000"/>
                <a:gd name="connsiteX14" fmla="*/ 7417 w 10000"/>
                <a:gd name="connsiteY14" fmla="*/ 7328 h 10000"/>
                <a:gd name="connsiteX15" fmla="*/ 6733 w 10000"/>
                <a:gd name="connsiteY15" fmla="*/ 9304 h 10000"/>
                <a:gd name="connsiteX16" fmla="*/ 8151 w 10000"/>
                <a:gd name="connsiteY16" fmla="*/ 10000 h 10000"/>
                <a:gd name="connsiteX17" fmla="*/ 8636 w 10000"/>
                <a:gd name="connsiteY17" fmla="*/ 9435 h 10000"/>
                <a:gd name="connsiteX18" fmla="*/ 9545 w 10000"/>
                <a:gd name="connsiteY18" fmla="*/ 7685 h 10000"/>
                <a:gd name="connsiteX19" fmla="*/ 10000 w 10000"/>
                <a:gd name="connsiteY19" fmla="*/ 7685 h 10000"/>
                <a:gd name="connsiteX20" fmla="*/ 9539 w 10000"/>
                <a:gd name="connsiteY20" fmla="*/ 4448 h 10000"/>
                <a:gd name="connsiteX21" fmla="*/ 6818 w 10000"/>
                <a:gd name="connsiteY21" fmla="*/ 3501 h 10000"/>
                <a:gd name="connsiteX22" fmla="*/ 8636 w 10000"/>
                <a:gd name="connsiteY22" fmla="*/ 1167 h 10000"/>
                <a:gd name="connsiteX23" fmla="*/ 5909 w 10000"/>
                <a:gd name="connsiteY23" fmla="*/ 0 h 10000"/>
                <a:gd name="connsiteX24" fmla="*/ 3636 w 10000"/>
                <a:gd name="connsiteY24" fmla="*/ 584 h 10000"/>
                <a:gd name="connsiteX0" fmla="*/ 3636 w 10000"/>
                <a:gd name="connsiteY0" fmla="*/ 584 h 10000"/>
                <a:gd name="connsiteX1" fmla="*/ 909 w 10000"/>
                <a:gd name="connsiteY1" fmla="*/ 584 h 10000"/>
                <a:gd name="connsiteX2" fmla="*/ 0 w 10000"/>
                <a:gd name="connsiteY2" fmla="*/ 0 h 10000"/>
                <a:gd name="connsiteX3" fmla="*/ 0 w 10000"/>
                <a:gd name="connsiteY3" fmla="*/ 1167 h 10000"/>
                <a:gd name="connsiteX4" fmla="*/ 455 w 10000"/>
                <a:gd name="connsiteY4" fmla="*/ 2918 h 10000"/>
                <a:gd name="connsiteX5" fmla="*/ 679 w 10000"/>
                <a:gd name="connsiteY5" fmla="*/ 4804 h 10000"/>
                <a:gd name="connsiteX6" fmla="*/ 455 w 10000"/>
                <a:gd name="connsiteY6" fmla="*/ 5933 h 10000"/>
                <a:gd name="connsiteX7" fmla="*/ 909 w 10000"/>
                <a:gd name="connsiteY7" fmla="*/ 7101 h 10000"/>
                <a:gd name="connsiteX8" fmla="*/ 1598 w 10000"/>
                <a:gd name="connsiteY8" fmla="*/ 8593 h 10000"/>
                <a:gd name="connsiteX9" fmla="*/ 4110 w 10000"/>
                <a:gd name="connsiteY9" fmla="*/ 7508 h 10000"/>
                <a:gd name="connsiteX10" fmla="*/ 4448 w 10000"/>
                <a:gd name="connsiteY10" fmla="*/ 7907 h 10000"/>
                <a:gd name="connsiteX11" fmla="*/ 5010 w 10000"/>
                <a:gd name="connsiteY11" fmla="*/ 7915 h 10000"/>
                <a:gd name="connsiteX12" fmla="*/ 5000 w 10000"/>
                <a:gd name="connsiteY12" fmla="*/ 8267 h 10000"/>
                <a:gd name="connsiteX13" fmla="*/ 4545 w 10000"/>
                <a:gd name="connsiteY13" fmla="*/ 8851 h 10000"/>
                <a:gd name="connsiteX14" fmla="*/ 7417 w 10000"/>
                <a:gd name="connsiteY14" fmla="*/ 7328 h 10000"/>
                <a:gd name="connsiteX15" fmla="*/ 6733 w 10000"/>
                <a:gd name="connsiteY15" fmla="*/ 9304 h 10000"/>
                <a:gd name="connsiteX16" fmla="*/ 8151 w 10000"/>
                <a:gd name="connsiteY16" fmla="*/ 10000 h 10000"/>
                <a:gd name="connsiteX17" fmla="*/ 8636 w 10000"/>
                <a:gd name="connsiteY17" fmla="*/ 9435 h 10000"/>
                <a:gd name="connsiteX18" fmla="*/ 9545 w 10000"/>
                <a:gd name="connsiteY18" fmla="*/ 7685 h 10000"/>
                <a:gd name="connsiteX19" fmla="*/ 10000 w 10000"/>
                <a:gd name="connsiteY19" fmla="*/ 7685 h 10000"/>
                <a:gd name="connsiteX20" fmla="*/ 9539 w 10000"/>
                <a:gd name="connsiteY20" fmla="*/ 4448 h 10000"/>
                <a:gd name="connsiteX21" fmla="*/ 8551 w 10000"/>
                <a:gd name="connsiteY21" fmla="*/ 2749 h 10000"/>
                <a:gd name="connsiteX22" fmla="*/ 8636 w 10000"/>
                <a:gd name="connsiteY22" fmla="*/ 1167 h 10000"/>
                <a:gd name="connsiteX23" fmla="*/ 5909 w 10000"/>
                <a:gd name="connsiteY23" fmla="*/ 0 h 10000"/>
                <a:gd name="connsiteX24" fmla="*/ 3636 w 10000"/>
                <a:gd name="connsiteY24" fmla="*/ 584 h 10000"/>
                <a:gd name="connsiteX0" fmla="*/ 3636 w 10000"/>
                <a:gd name="connsiteY0" fmla="*/ 584 h 10000"/>
                <a:gd name="connsiteX1" fmla="*/ 909 w 10000"/>
                <a:gd name="connsiteY1" fmla="*/ 584 h 10000"/>
                <a:gd name="connsiteX2" fmla="*/ 0 w 10000"/>
                <a:gd name="connsiteY2" fmla="*/ 0 h 10000"/>
                <a:gd name="connsiteX3" fmla="*/ 0 w 10000"/>
                <a:gd name="connsiteY3" fmla="*/ 1167 h 10000"/>
                <a:gd name="connsiteX4" fmla="*/ 455 w 10000"/>
                <a:gd name="connsiteY4" fmla="*/ 2918 h 10000"/>
                <a:gd name="connsiteX5" fmla="*/ 679 w 10000"/>
                <a:gd name="connsiteY5" fmla="*/ 4804 h 10000"/>
                <a:gd name="connsiteX6" fmla="*/ 455 w 10000"/>
                <a:gd name="connsiteY6" fmla="*/ 5933 h 10000"/>
                <a:gd name="connsiteX7" fmla="*/ 909 w 10000"/>
                <a:gd name="connsiteY7" fmla="*/ 7101 h 10000"/>
                <a:gd name="connsiteX8" fmla="*/ 1598 w 10000"/>
                <a:gd name="connsiteY8" fmla="*/ 8593 h 10000"/>
                <a:gd name="connsiteX9" fmla="*/ 4110 w 10000"/>
                <a:gd name="connsiteY9" fmla="*/ 7508 h 10000"/>
                <a:gd name="connsiteX10" fmla="*/ 4448 w 10000"/>
                <a:gd name="connsiteY10" fmla="*/ 7907 h 10000"/>
                <a:gd name="connsiteX11" fmla="*/ 5010 w 10000"/>
                <a:gd name="connsiteY11" fmla="*/ 7915 h 10000"/>
                <a:gd name="connsiteX12" fmla="*/ 5000 w 10000"/>
                <a:gd name="connsiteY12" fmla="*/ 8267 h 10000"/>
                <a:gd name="connsiteX13" fmla="*/ 4545 w 10000"/>
                <a:gd name="connsiteY13" fmla="*/ 8851 h 10000"/>
                <a:gd name="connsiteX14" fmla="*/ 7417 w 10000"/>
                <a:gd name="connsiteY14" fmla="*/ 7328 h 10000"/>
                <a:gd name="connsiteX15" fmla="*/ 6733 w 10000"/>
                <a:gd name="connsiteY15" fmla="*/ 9304 h 10000"/>
                <a:gd name="connsiteX16" fmla="*/ 8151 w 10000"/>
                <a:gd name="connsiteY16" fmla="*/ 10000 h 10000"/>
                <a:gd name="connsiteX17" fmla="*/ 8636 w 10000"/>
                <a:gd name="connsiteY17" fmla="*/ 9435 h 10000"/>
                <a:gd name="connsiteX18" fmla="*/ 9545 w 10000"/>
                <a:gd name="connsiteY18" fmla="*/ 7685 h 10000"/>
                <a:gd name="connsiteX19" fmla="*/ 10000 w 10000"/>
                <a:gd name="connsiteY19" fmla="*/ 7685 h 10000"/>
                <a:gd name="connsiteX20" fmla="*/ 9539 w 10000"/>
                <a:gd name="connsiteY20" fmla="*/ 4448 h 10000"/>
                <a:gd name="connsiteX21" fmla="*/ 8551 w 10000"/>
                <a:gd name="connsiteY21" fmla="*/ 2749 h 10000"/>
                <a:gd name="connsiteX22" fmla="*/ 7169 w 10000"/>
                <a:gd name="connsiteY22" fmla="*/ 3612 h 10000"/>
                <a:gd name="connsiteX23" fmla="*/ 5909 w 10000"/>
                <a:gd name="connsiteY23" fmla="*/ 0 h 10000"/>
                <a:gd name="connsiteX24" fmla="*/ 3636 w 10000"/>
                <a:gd name="connsiteY24" fmla="*/ 584 h 10000"/>
                <a:gd name="connsiteX0" fmla="*/ 3636 w 10000"/>
                <a:gd name="connsiteY0" fmla="*/ 584 h 10000"/>
                <a:gd name="connsiteX1" fmla="*/ 909 w 10000"/>
                <a:gd name="connsiteY1" fmla="*/ 584 h 10000"/>
                <a:gd name="connsiteX2" fmla="*/ 0 w 10000"/>
                <a:gd name="connsiteY2" fmla="*/ 0 h 10000"/>
                <a:gd name="connsiteX3" fmla="*/ 0 w 10000"/>
                <a:gd name="connsiteY3" fmla="*/ 1167 h 10000"/>
                <a:gd name="connsiteX4" fmla="*/ 455 w 10000"/>
                <a:gd name="connsiteY4" fmla="*/ 2918 h 10000"/>
                <a:gd name="connsiteX5" fmla="*/ 679 w 10000"/>
                <a:gd name="connsiteY5" fmla="*/ 4804 h 10000"/>
                <a:gd name="connsiteX6" fmla="*/ 455 w 10000"/>
                <a:gd name="connsiteY6" fmla="*/ 5933 h 10000"/>
                <a:gd name="connsiteX7" fmla="*/ 909 w 10000"/>
                <a:gd name="connsiteY7" fmla="*/ 7101 h 10000"/>
                <a:gd name="connsiteX8" fmla="*/ 1598 w 10000"/>
                <a:gd name="connsiteY8" fmla="*/ 8593 h 10000"/>
                <a:gd name="connsiteX9" fmla="*/ 4110 w 10000"/>
                <a:gd name="connsiteY9" fmla="*/ 7508 h 10000"/>
                <a:gd name="connsiteX10" fmla="*/ 4448 w 10000"/>
                <a:gd name="connsiteY10" fmla="*/ 7907 h 10000"/>
                <a:gd name="connsiteX11" fmla="*/ 5010 w 10000"/>
                <a:gd name="connsiteY11" fmla="*/ 7915 h 10000"/>
                <a:gd name="connsiteX12" fmla="*/ 5000 w 10000"/>
                <a:gd name="connsiteY12" fmla="*/ 8267 h 10000"/>
                <a:gd name="connsiteX13" fmla="*/ 4545 w 10000"/>
                <a:gd name="connsiteY13" fmla="*/ 8851 h 10000"/>
                <a:gd name="connsiteX14" fmla="*/ 7417 w 10000"/>
                <a:gd name="connsiteY14" fmla="*/ 7328 h 10000"/>
                <a:gd name="connsiteX15" fmla="*/ 6733 w 10000"/>
                <a:gd name="connsiteY15" fmla="*/ 9304 h 10000"/>
                <a:gd name="connsiteX16" fmla="*/ 8151 w 10000"/>
                <a:gd name="connsiteY16" fmla="*/ 10000 h 10000"/>
                <a:gd name="connsiteX17" fmla="*/ 8636 w 10000"/>
                <a:gd name="connsiteY17" fmla="*/ 9435 h 10000"/>
                <a:gd name="connsiteX18" fmla="*/ 9545 w 10000"/>
                <a:gd name="connsiteY18" fmla="*/ 7685 h 10000"/>
                <a:gd name="connsiteX19" fmla="*/ 10000 w 10000"/>
                <a:gd name="connsiteY19" fmla="*/ 7685 h 10000"/>
                <a:gd name="connsiteX20" fmla="*/ 9539 w 10000"/>
                <a:gd name="connsiteY20" fmla="*/ 4448 h 10000"/>
                <a:gd name="connsiteX21" fmla="*/ 8551 w 10000"/>
                <a:gd name="connsiteY21" fmla="*/ 2749 h 10000"/>
                <a:gd name="connsiteX22" fmla="*/ 7169 w 10000"/>
                <a:gd name="connsiteY22" fmla="*/ 3612 h 10000"/>
                <a:gd name="connsiteX23" fmla="*/ 5776 w 10000"/>
                <a:gd name="connsiteY23" fmla="*/ 2069 h 10000"/>
                <a:gd name="connsiteX24" fmla="*/ 3636 w 10000"/>
                <a:gd name="connsiteY24" fmla="*/ 584 h 10000"/>
                <a:gd name="connsiteX0" fmla="*/ 4969 w 10000"/>
                <a:gd name="connsiteY0" fmla="*/ 4346 h 10000"/>
                <a:gd name="connsiteX1" fmla="*/ 909 w 10000"/>
                <a:gd name="connsiteY1" fmla="*/ 584 h 10000"/>
                <a:gd name="connsiteX2" fmla="*/ 0 w 10000"/>
                <a:gd name="connsiteY2" fmla="*/ 0 h 10000"/>
                <a:gd name="connsiteX3" fmla="*/ 0 w 10000"/>
                <a:gd name="connsiteY3" fmla="*/ 1167 h 10000"/>
                <a:gd name="connsiteX4" fmla="*/ 455 w 10000"/>
                <a:gd name="connsiteY4" fmla="*/ 2918 h 10000"/>
                <a:gd name="connsiteX5" fmla="*/ 679 w 10000"/>
                <a:gd name="connsiteY5" fmla="*/ 4804 h 10000"/>
                <a:gd name="connsiteX6" fmla="*/ 455 w 10000"/>
                <a:gd name="connsiteY6" fmla="*/ 5933 h 10000"/>
                <a:gd name="connsiteX7" fmla="*/ 909 w 10000"/>
                <a:gd name="connsiteY7" fmla="*/ 7101 h 10000"/>
                <a:gd name="connsiteX8" fmla="*/ 1598 w 10000"/>
                <a:gd name="connsiteY8" fmla="*/ 8593 h 10000"/>
                <a:gd name="connsiteX9" fmla="*/ 4110 w 10000"/>
                <a:gd name="connsiteY9" fmla="*/ 7508 h 10000"/>
                <a:gd name="connsiteX10" fmla="*/ 4448 w 10000"/>
                <a:gd name="connsiteY10" fmla="*/ 7907 h 10000"/>
                <a:gd name="connsiteX11" fmla="*/ 5010 w 10000"/>
                <a:gd name="connsiteY11" fmla="*/ 7915 h 10000"/>
                <a:gd name="connsiteX12" fmla="*/ 5000 w 10000"/>
                <a:gd name="connsiteY12" fmla="*/ 8267 h 10000"/>
                <a:gd name="connsiteX13" fmla="*/ 4545 w 10000"/>
                <a:gd name="connsiteY13" fmla="*/ 8851 h 10000"/>
                <a:gd name="connsiteX14" fmla="*/ 7417 w 10000"/>
                <a:gd name="connsiteY14" fmla="*/ 7328 h 10000"/>
                <a:gd name="connsiteX15" fmla="*/ 6733 w 10000"/>
                <a:gd name="connsiteY15" fmla="*/ 9304 h 10000"/>
                <a:gd name="connsiteX16" fmla="*/ 8151 w 10000"/>
                <a:gd name="connsiteY16" fmla="*/ 10000 h 10000"/>
                <a:gd name="connsiteX17" fmla="*/ 8636 w 10000"/>
                <a:gd name="connsiteY17" fmla="*/ 9435 h 10000"/>
                <a:gd name="connsiteX18" fmla="*/ 9545 w 10000"/>
                <a:gd name="connsiteY18" fmla="*/ 7685 h 10000"/>
                <a:gd name="connsiteX19" fmla="*/ 10000 w 10000"/>
                <a:gd name="connsiteY19" fmla="*/ 7685 h 10000"/>
                <a:gd name="connsiteX20" fmla="*/ 9539 w 10000"/>
                <a:gd name="connsiteY20" fmla="*/ 4448 h 10000"/>
                <a:gd name="connsiteX21" fmla="*/ 8551 w 10000"/>
                <a:gd name="connsiteY21" fmla="*/ 2749 h 10000"/>
                <a:gd name="connsiteX22" fmla="*/ 7169 w 10000"/>
                <a:gd name="connsiteY22" fmla="*/ 3612 h 10000"/>
                <a:gd name="connsiteX23" fmla="*/ 5776 w 10000"/>
                <a:gd name="connsiteY23" fmla="*/ 2069 h 10000"/>
                <a:gd name="connsiteX24" fmla="*/ 4969 w 10000"/>
                <a:gd name="connsiteY24" fmla="*/ 4346 h 10000"/>
                <a:gd name="connsiteX0" fmla="*/ 4969 w 10000"/>
                <a:gd name="connsiteY0" fmla="*/ 4346 h 10000"/>
                <a:gd name="connsiteX1" fmla="*/ 3709 w 10000"/>
                <a:gd name="connsiteY1" fmla="*/ 4158 h 10000"/>
                <a:gd name="connsiteX2" fmla="*/ 0 w 10000"/>
                <a:gd name="connsiteY2" fmla="*/ 0 h 10000"/>
                <a:gd name="connsiteX3" fmla="*/ 0 w 10000"/>
                <a:gd name="connsiteY3" fmla="*/ 1167 h 10000"/>
                <a:gd name="connsiteX4" fmla="*/ 455 w 10000"/>
                <a:gd name="connsiteY4" fmla="*/ 2918 h 10000"/>
                <a:gd name="connsiteX5" fmla="*/ 679 w 10000"/>
                <a:gd name="connsiteY5" fmla="*/ 4804 h 10000"/>
                <a:gd name="connsiteX6" fmla="*/ 455 w 10000"/>
                <a:gd name="connsiteY6" fmla="*/ 5933 h 10000"/>
                <a:gd name="connsiteX7" fmla="*/ 909 w 10000"/>
                <a:gd name="connsiteY7" fmla="*/ 7101 h 10000"/>
                <a:gd name="connsiteX8" fmla="*/ 1598 w 10000"/>
                <a:gd name="connsiteY8" fmla="*/ 8593 h 10000"/>
                <a:gd name="connsiteX9" fmla="*/ 4110 w 10000"/>
                <a:gd name="connsiteY9" fmla="*/ 7508 h 10000"/>
                <a:gd name="connsiteX10" fmla="*/ 4448 w 10000"/>
                <a:gd name="connsiteY10" fmla="*/ 7907 h 10000"/>
                <a:gd name="connsiteX11" fmla="*/ 5010 w 10000"/>
                <a:gd name="connsiteY11" fmla="*/ 7915 h 10000"/>
                <a:gd name="connsiteX12" fmla="*/ 5000 w 10000"/>
                <a:gd name="connsiteY12" fmla="*/ 8267 h 10000"/>
                <a:gd name="connsiteX13" fmla="*/ 4545 w 10000"/>
                <a:gd name="connsiteY13" fmla="*/ 8851 h 10000"/>
                <a:gd name="connsiteX14" fmla="*/ 7417 w 10000"/>
                <a:gd name="connsiteY14" fmla="*/ 7328 h 10000"/>
                <a:gd name="connsiteX15" fmla="*/ 6733 w 10000"/>
                <a:gd name="connsiteY15" fmla="*/ 9304 h 10000"/>
                <a:gd name="connsiteX16" fmla="*/ 8151 w 10000"/>
                <a:gd name="connsiteY16" fmla="*/ 10000 h 10000"/>
                <a:gd name="connsiteX17" fmla="*/ 8636 w 10000"/>
                <a:gd name="connsiteY17" fmla="*/ 9435 h 10000"/>
                <a:gd name="connsiteX18" fmla="*/ 9545 w 10000"/>
                <a:gd name="connsiteY18" fmla="*/ 7685 h 10000"/>
                <a:gd name="connsiteX19" fmla="*/ 10000 w 10000"/>
                <a:gd name="connsiteY19" fmla="*/ 7685 h 10000"/>
                <a:gd name="connsiteX20" fmla="*/ 9539 w 10000"/>
                <a:gd name="connsiteY20" fmla="*/ 4448 h 10000"/>
                <a:gd name="connsiteX21" fmla="*/ 8551 w 10000"/>
                <a:gd name="connsiteY21" fmla="*/ 2749 h 10000"/>
                <a:gd name="connsiteX22" fmla="*/ 7169 w 10000"/>
                <a:gd name="connsiteY22" fmla="*/ 3612 h 10000"/>
                <a:gd name="connsiteX23" fmla="*/ 5776 w 10000"/>
                <a:gd name="connsiteY23" fmla="*/ 2069 h 10000"/>
                <a:gd name="connsiteX24" fmla="*/ 4969 w 10000"/>
                <a:gd name="connsiteY24" fmla="*/ 4346 h 10000"/>
                <a:gd name="connsiteX0" fmla="*/ 5769 w 10000"/>
                <a:gd name="connsiteY0" fmla="*/ 4722 h 10000"/>
                <a:gd name="connsiteX1" fmla="*/ 3709 w 10000"/>
                <a:gd name="connsiteY1" fmla="*/ 4158 h 10000"/>
                <a:gd name="connsiteX2" fmla="*/ 0 w 10000"/>
                <a:gd name="connsiteY2" fmla="*/ 0 h 10000"/>
                <a:gd name="connsiteX3" fmla="*/ 0 w 10000"/>
                <a:gd name="connsiteY3" fmla="*/ 1167 h 10000"/>
                <a:gd name="connsiteX4" fmla="*/ 455 w 10000"/>
                <a:gd name="connsiteY4" fmla="*/ 2918 h 10000"/>
                <a:gd name="connsiteX5" fmla="*/ 679 w 10000"/>
                <a:gd name="connsiteY5" fmla="*/ 4804 h 10000"/>
                <a:gd name="connsiteX6" fmla="*/ 455 w 10000"/>
                <a:gd name="connsiteY6" fmla="*/ 5933 h 10000"/>
                <a:gd name="connsiteX7" fmla="*/ 909 w 10000"/>
                <a:gd name="connsiteY7" fmla="*/ 7101 h 10000"/>
                <a:gd name="connsiteX8" fmla="*/ 1598 w 10000"/>
                <a:gd name="connsiteY8" fmla="*/ 8593 h 10000"/>
                <a:gd name="connsiteX9" fmla="*/ 4110 w 10000"/>
                <a:gd name="connsiteY9" fmla="*/ 7508 h 10000"/>
                <a:gd name="connsiteX10" fmla="*/ 4448 w 10000"/>
                <a:gd name="connsiteY10" fmla="*/ 7907 h 10000"/>
                <a:gd name="connsiteX11" fmla="*/ 5010 w 10000"/>
                <a:gd name="connsiteY11" fmla="*/ 7915 h 10000"/>
                <a:gd name="connsiteX12" fmla="*/ 5000 w 10000"/>
                <a:gd name="connsiteY12" fmla="*/ 8267 h 10000"/>
                <a:gd name="connsiteX13" fmla="*/ 4545 w 10000"/>
                <a:gd name="connsiteY13" fmla="*/ 8851 h 10000"/>
                <a:gd name="connsiteX14" fmla="*/ 7417 w 10000"/>
                <a:gd name="connsiteY14" fmla="*/ 7328 h 10000"/>
                <a:gd name="connsiteX15" fmla="*/ 6733 w 10000"/>
                <a:gd name="connsiteY15" fmla="*/ 9304 h 10000"/>
                <a:gd name="connsiteX16" fmla="*/ 8151 w 10000"/>
                <a:gd name="connsiteY16" fmla="*/ 10000 h 10000"/>
                <a:gd name="connsiteX17" fmla="*/ 8636 w 10000"/>
                <a:gd name="connsiteY17" fmla="*/ 9435 h 10000"/>
                <a:gd name="connsiteX18" fmla="*/ 9545 w 10000"/>
                <a:gd name="connsiteY18" fmla="*/ 7685 h 10000"/>
                <a:gd name="connsiteX19" fmla="*/ 10000 w 10000"/>
                <a:gd name="connsiteY19" fmla="*/ 7685 h 10000"/>
                <a:gd name="connsiteX20" fmla="*/ 9539 w 10000"/>
                <a:gd name="connsiteY20" fmla="*/ 4448 h 10000"/>
                <a:gd name="connsiteX21" fmla="*/ 8551 w 10000"/>
                <a:gd name="connsiteY21" fmla="*/ 2749 h 10000"/>
                <a:gd name="connsiteX22" fmla="*/ 7169 w 10000"/>
                <a:gd name="connsiteY22" fmla="*/ 3612 h 10000"/>
                <a:gd name="connsiteX23" fmla="*/ 5776 w 10000"/>
                <a:gd name="connsiteY23" fmla="*/ 2069 h 10000"/>
                <a:gd name="connsiteX24" fmla="*/ 5769 w 10000"/>
                <a:gd name="connsiteY24" fmla="*/ 4722 h 10000"/>
                <a:gd name="connsiteX0" fmla="*/ 6302 w 10000"/>
                <a:gd name="connsiteY0" fmla="*/ 4534 h 10000"/>
                <a:gd name="connsiteX1" fmla="*/ 3709 w 10000"/>
                <a:gd name="connsiteY1" fmla="*/ 4158 h 10000"/>
                <a:gd name="connsiteX2" fmla="*/ 0 w 10000"/>
                <a:gd name="connsiteY2" fmla="*/ 0 h 10000"/>
                <a:gd name="connsiteX3" fmla="*/ 0 w 10000"/>
                <a:gd name="connsiteY3" fmla="*/ 1167 h 10000"/>
                <a:gd name="connsiteX4" fmla="*/ 455 w 10000"/>
                <a:gd name="connsiteY4" fmla="*/ 2918 h 10000"/>
                <a:gd name="connsiteX5" fmla="*/ 679 w 10000"/>
                <a:gd name="connsiteY5" fmla="*/ 4804 h 10000"/>
                <a:gd name="connsiteX6" fmla="*/ 455 w 10000"/>
                <a:gd name="connsiteY6" fmla="*/ 5933 h 10000"/>
                <a:gd name="connsiteX7" fmla="*/ 909 w 10000"/>
                <a:gd name="connsiteY7" fmla="*/ 7101 h 10000"/>
                <a:gd name="connsiteX8" fmla="*/ 1598 w 10000"/>
                <a:gd name="connsiteY8" fmla="*/ 8593 h 10000"/>
                <a:gd name="connsiteX9" fmla="*/ 4110 w 10000"/>
                <a:gd name="connsiteY9" fmla="*/ 7508 h 10000"/>
                <a:gd name="connsiteX10" fmla="*/ 4448 w 10000"/>
                <a:gd name="connsiteY10" fmla="*/ 7907 h 10000"/>
                <a:gd name="connsiteX11" fmla="*/ 5010 w 10000"/>
                <a:gd name="connsiteY11" fmla="*/ 7915 h 10000"/>
                <a:gd name="connsiteX12" fmla="*/ 5000 w 10000"/>
                <a:gd name="connsiteY12" fmla="*/ 8267 h 10000"/>
                <a:gd name="connsiteX13" fmla="*/ 4545 w 10000"/>
                <a:gd name="connsiteY13" fmla="*/ 8851 h 10000"/>
                <a:gd name="connsiteX14" fmla="*/ 7417 w 10000"/>
                <a:gd name="connsiteY14" fmla="*/ 7328 h 10000"/>
                <a:gd name="connsiteX15" fmla="*/ 6733 w 10000"/>
                <a:gd name="connsiteY15" fmla="*/ 9304 h 10000"/>
                <a:gd name="connsiteX16" fmla="*/ 8151 w 10000"/>
                <a:gd name="connsiteY16" fmla="*/ 10000 h 10000"/>
                <a:gd name="connsiteX17" fmla="*/ 8636 w 10000"/>
                <a:gd name="connsiteY17" fmla="*/ 9435 h 10000"/>
                <a:gd name="connsiteX18" fmla="*/ 9545 w 10000"/>
                <a:gd name="connsiteY18" fmla="*/ 7685 h 10000"/>
                <a:gd name="connsiteX19" fmla="*/ 10000 w 10000"/>
                <a:gd name="connsiteY19" fmla="*/ 7685 h 10000"/>
                <a:gd name="connsiteX20" fmla="*/ 9539 w 10000"/>
                <a:gd name="connsiteY20" fmla="*/ 4448 h 10000"/>
                <a:gd name="connsiteX21" fmla="*/ 8551 w 10000"/>
                <a:gd name="connsiteY21" fmla="*/ 2749 h 10000"/>
                <a:gd name="connsiteX22" fmla="*/ 7169 w 10000"/>
                <a:gd name="connsiteY22" fmla="*/ 3612 h 10000"/>
                <a:gd name="connsiteX23" fmla="*/ 5776 w 10000"/>
                <a:gd name="connsiteY23" fmla="*/ 2069 h 10000"/>
                <a:gd name="connsiteX24" fmla="*/ 6302 w 10000"/>
                <a:gd name="connsiteY24" fmla="*/ 4534 h 10000"/>
                <a:gd name="connsiteX0" fmla="*/ 6302 w 10000"/>
                <a:gd name="connsiteY0" fmla="*/ 4534 h 10000"/>
                <a:gd name="connsiteX1" fmla="*/ 4776 w 10000"/>
                <a:gd name="connsiteY1" fmla="*/ 4346 h 10000"/>
                <a:gd name="connsiteX2" fmla="*/ 0 w 10000"/>
                <a:gd name="connsiteY2" fmla="*/ 0 h 10000"/>
                <a:gd name="connsiteX3" fmla="*/ 0 w 10000"/>
                <a:gd name="connsiteY3" fmla="*/ 1167 h 10000"/>
                <a:gd name="connsiteX4" fmla="*/ 455 w 10000"/>
                <a:gd name="connsiteY4" fmla="*/ 2918 h 10000"/>
                <a:gd name="connsiteX5" fmla="*/ 679 w 10000"/>
                <a:gd name="connsiteY5" fmla="*/ 4804 h 10000"/>
                <a:gd name="connsiteX6" fmla="*/ 455 w 10000"/>
                <a:gd name="connsiteY6" fmla="*/ 5933 h 10000"/>
                <a:gd name="connsiteX7" fmla="*/ 909 w 10000"/>
                <a:gd name="connsiteY7" fmla="*/ 7101 h 10000"/>
                <a:gd name="connsiteX8" fmla="*/ 1598 w 10000"/>
                <a:gd name="connsiteY8" fmla="*/ 8593 h 10000"/>
                <a:gd name="connsiteX9" fmla="*/ 4110 w 10000"/>
                <a:gd name="connsiteY9" fmla="*/ 7508 h 10000"/>
                <a:gd name="connsiteX10" fmla="*/ 4448 w 10000"/>
                <a:gd name="connsiteY10" fmla="*/ 7907 h 10000"/>
                <a:gd name="connsiteX11" fmla="*/ 5010 w 10000"/>
                <a:gd name="connsiteY11" fmla="*/ 7915 h 10000"/>
                <a:gd name="connsiteX12" fmla="*/ 5000 w 10000"/>
                <a:gd name="connsiteY12" fmla="*/ 8267 h 10000"/>
                <a:gd name="connsiteX13" fmla="*/ 4545 w 10000"/>
                <a:gd name="connsiteY13" fmla="*/ 8851 h 10000"/>
                <a:gd name="connsiteX14" fmla="*/ 7417 w 10000"/>
                <a:gd name="connsiteY14" fmla="*/ 7328 h 10000"/>
                <a:gd name="connsiteX15" fmla="*/ 6733 w 10000"/>
                <a:gd name="connsiteY15" fmla="*/ 9304 h 10000"/>
                <a:gd name="connsiteX16" fmla="*/ 8151 w 10000"/>
                <a:gd name="connsiteY16" fmla="*/ 10000 h 10000"/>
                <a:gd name="connsiteX17" fmla="*/ 8636 w 10000"/>
                <a:gd name="connsiteY17" fmla="*/ 9435 h 10000"/>
                <a:gd name="connsiteX18" fmla="*/ 9545 w 10000"/>
                <a:gd name="connsiteY18" fmla="*/ 7685 h 10000"/>
                <a:gd name="connsiteX19" fmla="*/ 10000 w 10000"/>
                <a:gd name="connsiteY19" fmla="*/ 7685 h 10000"/>
                <a:gd name="connsiteX20" fmla="*/ 9539 w 10000"/>
                <a:gd name="connsiteY20" fmla="*/ 4448 h 10000"/>
                <a:gd name="connsiteX21" fmla="*/ 8551 w 10000"/>
                <a:gd name="connsiteY21" fmla="*/ 2749 h 10000"/>
                <a:gd name="connsiteX22" fmla="*/ 7169 w 10000"/>
                <a:gd name="connsiteY22" fmla="*/ 3612 h 10000"/>
                <a:gd name="connsiteX23" fmla="*/ 5776 w 10000"/>
                <a:gd name="connsiteY23" fmla="*/ 2069 h 10000"/>
                <a:gd name="connsiteX24" fmla="*/ 6302 w 10000"/>
                <a:gd name="connsiteY24" fmla="*/ 4534 h 10000"/>
                <a:gd name="connsiteX0" fmla="*/ 6302 w 10000"/>
                <a:gd name="connsiteY0" fmla="*/ 3367 h 8833"/>
                <a:gd name="connsiteX1" fmla="*/ 4776 w 10000"/>
                <a:gd name="connsiteY1" fmla="*/ 3179 h 8833"/>
                <a:gd name="connsiteX2" fmla="*/ 4666 w 10000"/>
                <a:gd name="connsiteY2" fmla="*/ 4853 h 8833"/>
                <a:gd name="connsiteX3" fmla="*/ 0 w 10000"/>
                <a:gd name="connsiteY3" fmla="*/ 0 h 8833"/>
                <a:gd name="connsiteX4" fmla="*/ 455 w 10000"/>
                <a:gd name="connsiteY4" fmla="*/ 1751 h 8833"/>
                <a:gd name="connsiteX5" fmla="*/ 679 w 10000"/>
                <a:gd name="connsiteY5" fmla="*/ 3637 h 8833"/>
                <a:gd name="connsiteX6" fmla="*/ 455 w 10000"/>
                <a:gd name="connsiteY6" fmla="*/ 4766 h 8833"/>
                <a:gd name="connsiteX7" fmla="*/ 909 w 10000"/>
                <a:gd name="connsiteY7" fmla="*/ 5934 h 8833"/>
                <a:gd name="connsiteX8" fmla="*/ 1598 w 10000"/>
                <a:gd name="connsiteY8" fmla="*/ 7426 h 8833"/>
                <a:gd name="connsiteX9" fmla="*/ 4110 w 10000"/>
                <a:gd name="connsiteY9" fmla="*/ 6341 h 8833"/>
                <a:gd name="connsiteX10" fmla="*/ 4448 w 10000"/>
                <a:gd name="connsiteY10" fmla="*/ 6740 h 8833"/>
                <a:gd name="connsiteX11" fmla="*/ 5010 w 10000"/>
                <a:gd name="connsiteY11" fmla="*/ 6748 h 8833"/>
                <a:gd name="connsiteX12" fmla="*/ 5000 w 10000"/>
                <a:gd name="connsiteY12" fmla="*/ 7100 h 8833"/>
                <a:gd name="connsiteX13" fmla="*/ 4545 w 10000"/>
                <a:gd name="connsiteY13" fmla="*/ 7684 h 8833"/>
                <a:gd name="connsiteX14" fmla="*/ 7417 w 10000"/>
                <a:gd name="connsiteY14" fmla="*/ 6161 h 8833"/>
                <a:gd name="connsiteX15" fmla="*/ 6733 w 10000"/>
                <a:gd name="connsiteY15" fmla="*/ 8137 h 8833"/>
                <a:gd name="connsiteX16" fmla="*/ 8151 w 10000"/>
                <a:gd name="connsiteY16" fmla="*/ 8833 h 8833"/>
                <a:gd name="connsiteX17" fmla="*/ 8636 w 10000"/>
                <a:gd name="connsiteY17" fmla="*/ 8268 h 8833"/>
                <a:gd name="connsiteX18" fmla="*/ 9545 w 10000"/>
                <a:gd name="connsiteY18" fmla="*/ 6518 h 8833"/>
                <a:gd name="connsiteX19" fmla="*/ 10000 w 10000"/>
                <a:gd name="connsiteY19" fmla="*/ 6518 h 8833"/>
                <a:gd name="connsiteX20" fmla="*/ 9539 w 10000"/>
                <a:gd name="connsiteY20" fmla="*/ 3281 h 8833"/>
                <a:gd name="connsiteX21" fmla="*/ 8551 w 10000"/>
                <a:gd name="connsiteY21" fmla="*/ 1582 h 8833"/>
                <a:gd name="connsiteX22" fmla="*/ 7169 w 10000"/>
                <a:gd name="connsiteY22" fmla="*/ 2445 h 8833"/>
                <a:gd name="connsiteX23" fmla="*/ 5776 w 10000"/>
                <a:gd name="connsiteY23" fmla="*/ 902 h 8833"/>
                <a:gd name="connsiteX24" fmla="*/ 6302 w 10000"/>
                <a:gd name="connsiteY24" fmla="*/ 3367 h 8833"/>
                <a:gd name="connsiteX0" fmla="*/ 6702 w 10400"/>
                <a:gd name="connsiteY0" fmla="*/ 3812 h 10000"/>
                <a:gd name="connsiteX1" fmla="*/ 5176 w 10400"/>
                <a:gd name="connsiteY1" fmla="*/ 3599 h 10000"/>
                <a:gd name="connsiteX2" fmla="*/ 5066 w 10400"/>
                <a:gd name="connsiteY2" fmla="*/ 5494 h 10000"/>
                <a:gd name="connsiteX3" fmla="*/ 0 w 10400"/>
                <a:gd name="connsiteY3" fmla="*/ 0 h 10000"/>
                <a:gd name="connsiteX4" fmla="*/ 855 w 10400"/>
                <a:gd name="connsiteY4" fmla="*/ 1982 h 10000"/>
                <a:gd name="connsiteX5" fmla="*/ 1079 w 10400"/>
                <a:gd name="connsiteY5" fmla="*/ 4118 h 10000"/>
                <a:gd name="connsiteX6" fmla="*/ 855 w 10400"/>
                <a:gd name="connsiteY6" fmla="*/ 5396 h 10000"/>
                <a:gd name="connsiteX7" fmla="*/ 1309 w 10400"/>
                <a:gd name="connsiteY7" fmla="*/ 6718 h 10000"/>
                <a:gd name="connsiteX8" fmla="*/ 1998 w 10400"/>
                <a:gd name="connsiteY8" fmla="*/ 8407 h 10000"/>
                <a:gd name="connsiteX9" fmla="*/ 4510 w 10400"/>
                <a:gd name="connsiteY9" fmla="*/ 7179 h 10000"/>
                <a:gd name="connsiteX10" fmla="*/ 4848 w 10400"/>
                <a:gd name="connsiteY10" fmla="*/ 7630 h 10000"/>
                <a:gd name="connsiteX11" fmla="*/ 5410 w 10400"/>
                <a:gd name="connsiteY11" fmla="*/ 7640 h 10000"/>
                <a:gd name="connsiteX12" fmla="*/ 5400 w 10400"/>
                <a:gd name="connsiteY12" fmla="*/ 8038 h 10000"/>
                <a:gd name="connsiteX13" fmla="*/ 4945 w 10400"/>
                <a:gd name="connsiteY13" fmla="*/ 8699 h 10000"/>
                <a:gd name="connsiteX14" fmla="*/ 7817 w 10400"/>
                <a:gd name="connsiteY14" fmla="*/ 6975 h 10000"/>
                <a:gd name="connsiteX15" fmla="*/ 7133 w 10400"/>
                <a:gd name="connsiteY15" fmla="*/ 9212 h 10000"/>
                <a:gd name="connsiteX16" fmla="*/ 8551 w 10400"/>
                <a:gd name="connsiteY16" fmla="*/ 10000 h 10000"/>
                <a:gd name="connsiteX17" fmla="*/ 9036 w 10400"/>
                <a:gd name="connsiteY17" fmla="*/ 9360 h 10000"/>
                <a:gd name="connsiteX18" fmla="*/ 9945 w 10400"/>
                <a:gd name="connsiteY18" fmla="*/ 7379 h 10000"/>
                <a:gd name="connsiteX19" fmla="*/ 10400 w 10400"/>
                <a:gd name="connsiteY19" fmla="*/ 7379 h 10000"/>
                <a:gd name="connsiteX20" fmla="*/ 9939 w 10400"/>
                <a:gd name="connsiteY20" fmla="*/ 3714 h 10000"/>
                <a:gd name="connsiteX21" fmla="*/ 8951 w 10400"/>
                <a:gd name="connsiteY21" fmla="*/ 1791 h 10000"/>
                <a:gd name="connsiteX22" fmla="*/ 7569 w 10400"/>
                <a:gd name="connsiteY22" fmla="*/ 2768 h 10000"/>
                <a:gd name="connsiteX23" fmla="*/ 6176 w 10400"/>
                <a:gd name="connsiteY23" fmla="*/ 1021 h 10000"/>
                <a:gd name="connsiteX24" fmla="*/ 6702 w 10400"/>
                <a:gd name="connsiteY24" fmla="*/ 3812 h 10000"/>
                <a:gd name="connsiteX0" fmla="*/ 5847 w 9545"/>
                <a:gd name="connsiteY0" fmla="*/ 2791 h 8979"/>
                <a:gd name="connsiteX1" fmla="*/ 4321 w 9545"/>
                <a:gd name="connsiteY1" fmla="*/ 2578 h 8979"/>
                <a:gd name="connsiteX2" fmla="*/ 4211 w 9545"/>
                <a:gd name="connsiteY2" fmla="*/ 4473 h 8979"/>
                <a:gd name="connsiteX3" fmla="*/ 0 w 9545"/>
                <a:gd name="connsiteY3" fmla="*/ 961 h 8979"/>
                <a:gd name="connsiteX4" fmla="*/ 224 w 9545"/>
                <a:gd name="connsiteY4" fmla="*/ 3097 h 8979"/>
                <a:gd name="connsiteX5" fmla="*/ 0 w 9545"/>
                <a:gd name="connsiteY5" fmla="*/ 4375 h 8979"/>
                <a:gd name="connsiteX6" fmla="*/ 454 w 9545"/>
                <a:gd name="connsiteY6" fmla="*/ 5697 h 8979"/>
                <a:gd name="connsiteX7" fmla="*/ 1143 w 9545"/>
                <a:gd name="connsiteY7" fmla="*/ 7386 h 8979"/>
                <a:gd name="connsiteX8" fmla="*/ 3655 w 9545"/>
                <a:gd name="connsiteY8" fmla="*/ 6158 h 8979"/>
                <a:gd name="connsiteX9" fmla="*/ 3993 w 9545"/>
                <a:gd name="connsiteY9" fmla="*/ 6609 h 8979"/>
                <a:gd name="connsiteX10" fmla="*/ 4555 w 9545"/>
                <a:gd name="connsiteY10" fmla="*/ 6619 h 8979"/>
                <a:gd name="connsiteX11" fmla="*/ 4545 w 9545"/>
                <a:gd name="connsiteY11" fmla="*/ 7017 h 8979"/>
                <a:gd name="connsiteX12" fmla="*/ 4090 w 9545"/>
                <a:gd name="connsiteY12" fmla="*/ 7678 h 8979"/>
                <a:gd name="connsiteX13" fmla="*/ 6962 w 9545"/>
                <a:gd name="connsiteY13" fmla="*/ 5954 h 8979"/>
                <a:gd name="connsiteX14" fmla="*/ 6278 w 9545"/>
                <a:gd name="connsiteY14" fmla="*/ 8191 h 8979"/>
                <a:gd name="connsiteX15" fmla="*/ 7696 w 9545"/>
                <a:gd name="connsiteY15" fmla="*/ 8979 h 8979"/>
                <a:gd name="connsiteX16" fmla="*/ 8181 w 9545"/>
                <a:gd name="connsiteY16" fmla="*/ 8339 h 8979"/>
                <a:gd name="connsiteX17" fmla="*/ 9090 w 9545"/>
                <a:gd name="connsiteY17" fmla="*/ 6358 h 8979"/>
                <a:gd name="connsiteX18" fmla="*/ 9545 w 9545"/>
                <a:gd name="connsiteY18" fmla="*/ 6358 h 8979"/>
                <a:gd name="connsiteX19" fmla="*/ 9084 w 9545"/>
                <a:gd name="connsiteY19" fmla="*/ 2693 h 8979"/>
                <a:gd name="connsiteX20" fmla="*/ 8096 w 9545"/>
                <a:gd name="connsiteY20" fmla="*/ 770 h 8979"/>
                <a:gd name="connsiteX21" fmla="*/ 6714 w 9545"/>
                <a:gd name="connsiteY21" fmla="*/ 1747 h 8979"/>
                <a:gd name="connsiteX22" fmla="*/ 5321 w 9545"/>
                <a:gd name="connsiteY22" fmla="*/ 0 h 8979"/>
                <a:gd name="connsiteX23" fmla="*/ 5847 w 9545"/>
                <a:gd name="connsiteY23" fmla="*/ 2791 h 8979"/>
                <a:gd name="connsiteX0" fmla="*/ 6126 w 10000"/>
                <a:gd name="connsiteY0" fmla="*/ 3108 h 10000"/>
                <a:gd name="connsiteX1" fmla="*/ 4527 w 10000"/>
                <a:gd name="connsiteY1" fmla="*/ 2871 h 10000"/>
                <a:gd name="connsiteX2" fmla="*/ 4412 w 10000"/>
                <a:gd name="connsiteY2" fmla="*/ 4982 h 10000"/>
                <a:gd name="connsiteX3" fmla="*/ 235 w 10000"/>
                <a:gd name="connsiteY3" fmla="*/ 3449 h 10000"/>
                <a:gd name="connsiteX4" fmla="*/ 0 w 10000"/>
                <a:gd name="connsiteY4" fmla="*/ 4872 h 10000"/>
                <a:gd name="connsiteX5" fmla="*/ 476 w 10000"/>
                <a:gd name="connsiteY5" fmla="*/ 6345 h 10000"/>
                <a:gd name="connsiteX6" fmla="*/ 1197 w 10000"/>
                <a:gd name="connsiteY6" fmla="*/ 8226 h 10000"/>
                <a:gd name="connsiteX7" fmla="*/ 3829 w 10000"/>
                <a:gd name="connsiteY7" fmla="*/ 6858 h 10000"/>
                <a:gd name="connsiteX8" fmla="*/ 4183 w 10000"/>
                <a:gd name="connsiteY8" fmla="*/ 7361 h 10000"/>
                <a:gd name="connsiteX9" fmla="*/ 4772 w 10000"/>
                <a:gd name="connsiteY9" fmla="*/ 7372 h 10000"/>
                <a:gd name="connsiteX10" fmla="*/ 4762 w 10000"/>
                <a:gd name="connsiteY10" fmla="*/ 7815 h 10000"/>
                <a:gd name="connsiteX11" fmla="*/ 4285 w 10000"/>
                <a:gd name="connsiteY11" fmla="*/ 8551 h 10000"/>
                <a:gd name="connsiteX12" fmla="*/ 7294 w 10000"/>
                <a:gd name="connsiteY12" fmla="*/ 6631 h 10000"/>
                <a:gd name="connsiteX13" fmla="*/ 6577 w 10000"/>
                <a:gd name="connsiteY13" fmla="*/ 9122 h 10000"/>
                <a:gd name="connsiteX14" fmla="*/ 8063 w 10000"/>
                <a:gd name="connsiteY14" fmla="*/ 10000 h 10000"/>
                <a:gd name="connsiteX15" fmla="*/ 8571 w 10000"/>
                <a:gd name="connsiteY15" fmla="*/ 9287 h 10000"/>
                <a:gd name="connsiteX16" fmla="*/ 9523 w 10000"/>
                <a:gd name="connsiteY16" fmla="*/ 7081 h 10000"/>
                <a:gd name="connsiteX17" fmla="*/ 10000 w 10000"/>
                <a:gd name="connsiteY17" fmla="*/ 7081 h 10000"/>
                <a:gd name="connsiteX18" fmla="*/ 9517 w 10000"/>
                <a:gd name="connsiteY18" fmla="*/ 2999 h 10000"/>
                <a:gd name="connsiteX19" fmla="*/ 8482 w 10000"/>
                <a:gd name="connsiteY19" fmla="*/ 858 h 10000"/>
                <a:gd name="connsiteX20" fmla="*/ 7034 w 10000"/>
                <a:gd name="connsiteY20" fmla="*/ 1946 h 10000"/>
                <a:gd name="connsiteX21" fmla="*/ 5575 w 10000"/>
                <a:gd name="connsiteY21" fmla="*/ 0 h 10000"/>
                <a:gd name="connsiteX22" fmla="*/ 6126 w 10000"/>
                <a:gd name="connsiteY22" fmla="*/ 3108 h 10000"/>
                <a:gd name="connsiteX0" fmla="*/ 6126 w 10000"/>
                <a:gd name="connsiteY0" fmla="*/ 3108 h 10000"/>
                <a:gd name="connsiteX1" fmla="*/ 4527 w 10000"/>
                <a:gd name="connsiteY1" fmla="*/ 2871 h 10000"/>
                <a:gd name="connsiteX2" fmla="*/ 4412 w 10000"/>
                <a:gd name="connsiteY2" fmla="*/ 4982 h 10000"/>
                <a:gd name="connsiteX3" fmla="*/ 0 w 10000"/>
                <a:gd name="connsiteY3" fmla="*/ 4872 h 10000"/>
                <a:gd name="connsiteX4" fmla="*/ 476 w 10000"/>
                <a:gd name="connsiteY4" fmla="*/ 6345 h 10000"/>
                <a:gd name="connsiteX5" fmla="*/ 1197 w 10000"/>
                <a:gd name="connsiteY5" fmla="*/ 8226 h 10000"/>
                <a:gd name="connsiteX6" fmla="*/ 3829 w 10000"/>
                <a:gd name="connsiteY6" fmla="*/ 6858 h 10000"/>
                <a:gd name="connsiteX7" fmla="*/ 4183 w 10000"/>
                <a:gd name="connsiteY7" fmla="*/ 7361 h 10000"/>
                <a:gd name="connsiteX8" fmla="*/ 4772 w 10000"/>
                <a:gd name="connsiteY8" fmla="*/ 7372 h 10000"/>
                <a:gd name="connsiteX9" fmla="*/ 4762 w 10000"/>
                <a:gd name="connsiteY9" fmla="*/ 7815 h 10000"/>
                <a:gd name="connsiteX10" fmla="*/ 4285 w 10000"/>
                <a:gd name="connsiteY10" fmla="*/ 8551 h 10000"/>
                <a:gd name="connsiteX11" fmla="*/ 7294 w 10000"/>
                <a:gd name="connsiteY11" fmla="*/ 6631 h 10000"/>
                <a:gd name="connsiteX12" fmla="*/ 6577 w 10000"/>
                <a:gd name="connsiteY12" fmla="*/ 9122 h 10000"/>
                <a:gd name="connsiteX13" fmla="*/ 8063 w 10000"/>
                <a:gd name="connsiteY13" fmla="*/ 10000 h 10000"/>
                <a:gd name="connsiteX14" fmla="*/ 8571 w 10000"/>
                <a:gd name="connsiteY14" fmla="*/ 9287 h 10000"/>
                <a:gd name="connsiteX15" fmla="*/ 9523 w 10000"/>
                <a:gd name="connsiteY15" fmla="*/ 7081 h 10000"/>
                <a:gd name="connsiteX16" fmla="*/ 10000 w 10000"/>
                <a:gd name="connsiteY16" fmla="*/ 7081 h 10000"/>
                <a:gd name="connsiteX17" fmla="*/ 9517 w 10000"/>
                <a:gd name="connsiteY17" fmla="*/ 2999 h 10000"/>
                <a:gd name="connsiteX18" fmla="*/ 8482 w 10000"/>
                <a:gd name="connsiteY18" fmla="*/ 858 h 10000"/>
                <a:gd name="connsiteX19" fmla="*/ 7034 w 10000"/>
                <a:gd name="connsiteY19" fmla="*/ 1946 h 10000"/>
                <a:gd name="connsiteX20" fmla="*/ 5575 w 10000"/>
                <a:gd name="connsiteY20" fmla="*/ 0 h 10000"/>
                <a:gd name="connsiteX21" fmla="*/ 6126 w 10000"/>
                <a:gd name="connsiteY21" fmla="*/ 3108 h 10000"/>
                <a:gd name="connsiteX0" fmla="*/ 5650 w 9524"/>
                <a:gd name="connsiteY0" fmla="*/ 3108 h 10000"/>
                <a:gd name="connsiteX1" fmla="*/ 4051 w 9524"/>
                <a:gd name="connsiteY1" fmla="*/ 2871 h 10000"/>
                <a:gd name="connsiteX2" fmla="*/ 3936 w 9524"/>
                <a:gd name="connsiteY2" fmla="*/ 4982 h 10000"/>
                <a:gd name="connsiteX3" fmla="*/ 0 w 9524"/>
                <a:gd name="connsiteY3" fmla="*/ 6345 h 10000"/>
                <a:gd name="connsiteX4" fmla="*/ 721 w 9524"/>
                <a:gd name="connsiteY4" fmla="*/ 8226 h 10000"/>
                <a:gd name="connsiteX5" fmla="*/ 3353 w 9524"/>
                <a:gd name="connsiteY5" fmla="*/ 6858 h 10000"/>
                <a:gd name="connsiteX6" fmla="*/ 3707 w 9524"/>
                <a:gd name="connsiteY6" fmla="*/ 7361 h 10000"/>
                <a:gd name="connsiteX7" fmla="*/ 4296 w 9524"/>
                <a:gd name="connsiteY7" fmla="*/ 7372 h 10000"/>
                <a:gd name="connsiteX8" fmla="*/ 4286 w 9524"/>
                <a:gd name="connsiteY8" fmla="*/ 7815 h 10000"/>
                <a:gd name="connsiteX9" fmla="*/ 3809 w 9524"/>
                <a:gd name="connsiteY9" fmla="*/ 8551 h 10000"/>
                <a:gd name="connsiteX10" fmla="*/ 6818 w 9524"/>
                <a:gd name="connsiteY10" fmla="*/ 6631 h 10000"/>
                <a:gd name="connsiteX11" fmla="*/ 6101 w 9524"/>
                <a:gd name="connsiteY11" fmla="*/ 9122 h 10000"/>
                <a:gd name="connsiteX12" fmla="*/ 7587 w 9524"/>
                <a:gd name="connsiteY12" fmla="*/ 10000 h 10000"/>
                <a:gd name="connsiteX13" fmla="*/ 8095 w 9524"/>
                <a:gd name="connsiteY13" fmla="*/ 9287 h 10000"/>
                <a:gd name="connsiteX14" fmla="*/ 9047 w 9524"/>
                <a:gd name="connsiteY14" fmla="*/ 7081 h 10000"/>
                <a:gd name="connsiteX15" fmla="*/ 9524 w 9524"/>
                <a:gd name="connsiteY15" fmla="*/ 7081 h 10000"/>
                <a:gd name="connsiteX16" fmla="*/ 9041 w 9524"/>
                <a:gd name="connsiteY16" fmla="*/ 2999 h 10000"/>
                <a:gd name="connsiteX17" fmla="*/ 8006 w 9524"/>
                <a:gd name="connsiteY17" fmla="*/ 858 h 10000"/>
                <a:gd name="connsiteX18" fmla="*/ 6558 w 9524"/>
                <a:gd name="connsiteY18" fmla="*/ 1946 h 10000"/>
                <a:gd name="connsiteX19" fmla="*/ 5099 w 9524"/>
                <a:gd name="connsiteY19" fmla="*/ 0 h 10000"/>
                <a:gd name="connsiteX20" fmla="*/ 5650 w 9524"/>
                <a:gd name="connsiteY20" fmla="*/ 3108 h 10000"/>
                <a:gd name="connsiteX0" fmla="*/ 5175 w 9243"/>
                <a:gd name="connsiteY0" fmla="*/ 3108 h 10000"/>
                <a:gd name="connsiteX1" fmla="*/ 3496 w 9243"/>
                <a:gd name="connsiteY1" fmla="*/ 2871 h 10000"/>
                <a:gd name="connsiteX2" fmla="*/ 3376 w 9243"/>
                <a:gd name="connsiteY2" fmla="*/ 4982 h 10000"/>
                <a:gd name="connsiteX3" fmla="*/ 0 w 9243"/>
                <a:gd name="connsiteY3" fmla="*/ 8226 h 10000"/>
                <a:gd name="connsiteX4" fmla="*/ 2764 w 9243"/>
                <a:gd name="connsiteY4" fmla="*/ 6858 h 10000"/>
                <a:gd name="connsiteX5" fmla="*/ 3135 w 9243"/>
                <a:gd name="connsiteY5" fmla="*/ 7361 h 10000"/>
                <a:gd name="connsiteX6" fmla="*/ 3754 w 9243"/>
                <a:gd name="connsiteY6" fmla="*/ 7372 h 10000"/>
                <a:gd name="connsiteX7" fmla="*/ 3743 w 9243"/>
                <a:gd name="connsiteY7" fmla="*/ 7815 h 10000"/>
                <a:gd name="connsiteX8" fmla="*/ 3242 w 9243"/>
                <a:gd name="connsiteY8" fmla="*/ 8551 h 10000"/>
                <a:gd name="connsiteX9" fmla="*/ 6402 w 9243"/>
                <a:gd name="connsiteY9" fmla="*/ 6631 h 10000"/>
                <a:gd name="connsiteX10" fmla="*/ 5649 w 9243"/>
                <a:gd name="connsiteY10" fmla="*/ 9122 h 10000"/>
                <a:gd name="connsiteX11" fmla="*/ 7209 w 9243"/>
                <a:gd name="connsiteY11" fmla="*/ 10000 h 10000"/>
                <a:gd name="connsiteX12" fmla="*/ 7743 w 9243"/>
                <a:gd name="connsiteY12" fmla="*/ 9287 h 10000"/>
                <a:gd name="connsiteX13" fmla="*/ 8742 w 9243"/>
                <a:gd name="connsiteY13" fmla="*/ 7081 h 10000"/>
                <a:gd name="connsiteX14" fmla="*/ 9243 w 9243"/>
                <a:gd name="connsiteY14" fmla="*/ 7081 h 10000"/>
                <a:gd name="connsiteX15" fmla="*/ 8736 w 9243"/>
                <a:gd name="connsiteY15" fmla="*/ 2999 h 10000"/>
                <a:gd name="connsiteX16" fmla="*/ 7649 w 9243"/>
                <a:gd name="connsiteY16" fmla="*/ 858 h 10000"/>
                <a:gd name="connsiteX17" fmla="*/ 6129 w 9243"/>
                <a:gd name="connsiteY17" fmla="*/ 1946 h 10000"/>
                <a:gd name="connsiteX18" fmla="*/ 4597 w 9243"/>
                <a:gd name="connsiteY18" fmla="*/ 0 h 10000"/>
                <a:gd name="connsiteX19" fmla="*/ 5175 w 9243"/>
                <a:gd name="connsiteY19" fmla="*/ 3108 h 10000"/>
                <a:gd name="connsiteX0" fmla="*/ 2609 w 7010"/>
                <a:gd name="connsiteY0" fmla="*/ 3108 h 10000"/>
                <a:gd name="connsiteX1" fmla="*/ 792 w 7010"/>
                <a:gd name="connsiteY1" fmla="*/ 2871 h 10000"/>
                <a:gd name="connsiteX2" fmla="*/ 662 w 7010"/>
                <a:gd name="connsiteY2" fmla="*/ 4982 h 10000"/>
                <a:gd name="connsiteX3" fmla="*/ 0 w 7010"/>
                <a:gd name="connsiteY3" fmla="*/ 6858 h 10000"/>
                <a:gd name="connsiteX4" fmla="*/ 402 w 7010"/>
                <a:gd name="connsiteY4" fmla="*/ 7361 h 10000"/>
                <a:gd name="connsiteX5" fmla="*/ 1071 w 7010"/>
                <a:gd name="connsiteY5" fmla="*/ 7372 h 10000"/>
                <a:gd name="connsiteX6" fmla="*/ 1060 w 7010"/>
                <a:gd name="connsiteY6" fmla="*/ 7815 h 10000"/>
                <a:gd name="connsiteX7" fmla="*/ 518 w 7010"/>
                <a:gd name="connsiteY7" fmla="*/ 8551 h 10000"/>
                <a:gd name="connsiteX8" fmla="*/ 3936 w 7010"/>
                <a:gd name="connsiteY8" fmla="*/ 6631 h 10000"/>
                <a:gd name="connsiteX9" fmla="*/ 3122 w 7010"/>
                <a:gd name="connsiteY9" fmla="*/ 9122 h 10000"/>
                <a:gd name="connsiteX10" fmla="*/ 4809 w 7010"/>
                <a:gd name="connsiteY10" fmla="*/ 10000 h 10000"/>
                <a:gd name="connsiteX11" fmla="*/ 5387 w 7010"/>
                <a:gd name="connsiteY11" fmla="*/ 9287 h 10000"/>
                <a:gd name="connsiteX12" fmla="*/ 6468 w 7010"/>
                <a:gd name="connsiteY12" fmla="*/ 7081 h 10000"/>
                <a:gd name="connsiteX13" fmla="*/ 7010 w 7010"/>
                <a:gd name="connsiteY13" fmla="*/ 7081 h 10000"/>
                <a:gd name="connsiteX14" fmla="*/ 6461 w 7010"/>
                <a:gd name="connsiteY14" fmla="*/ 2999 h 10000"/>
                <a:gd name="connsiteX15" fmla="*/ 5285 w 7010"/>
                <a:gd name="connsiteY15" fmla="*/ 858 h 10000"/>
                <a:gd name="connsiteX16" fmla="*/ 3641 w 7010"/>
                <a:gd name="connsiteY16" fmla="*/ 1946 h 10000"/>
                <a:gd name="connsiteX17" fmla="*/ 1983 w 7010"/>
                <a:gd name="connsiteY17" fmla="*/ 0 h 10000"/>
                <a:gd name="connsiteX18" fmla="*/ 2609 w 7010"/>
                <a:gd name="connsiteY18" fmla="*/ 3108 h 10000"/>
                <a:gd name="connsiteX0" fmla="*/ 3722 w 10000"/>
                <a:gd name="connsiteY0" fmla="*/ 3108 h 11186"/>
                <a:gd name="connsiteX1" fmla="*/ 1130 w 10000"/>
                <a:gd name="connsiteY1" fmla="*/ 2871 h 11186"/>
                <a:gd name="connsiteX2" fmla="*/ 944 w 10000"/>
                <a:gd name="connsiteY2" fmla="*/ 4982 h 11186"/>
                <a:gd name="connsiteX3" fmla="*/ 0 w 10000"/>
                <a:gd name="connsiteY3" fmla="*/ 6858 h 11186"/>
                <a:gd name="connsiteX4" fmla="*/ 573 w 10000"/>
                <a:gd name="connsiteY4" fmla="*/ 7361 h 11186"/>
                <a:gd name="connsiteX5" fmla="*/ 1528 w 10000"/>
                <a:gd name="connsiteY5" fmla="*/ 7372 h 11186"/>
                <a:gd name="connsiteX6" fmla="*/ 1512 w 10000"/>
                <a:gd name="connsiteY6" fmla="*/ 7815 h 11186"/>
                <a:gd name="connsiteX7" fmla="*/ 739 w 10000"/>
                <a:gd name="connsiteY7" fmla="*/ 8551 h 11186"/>
                <a:gd name="connsiteX8" fmla="*/ 5615 w 10000"/>
                <a:gd name="connsiteY8" fmla="*/ 6631 h 11186"/>
                <a:gd name="connsiteX9" fmla="*/ 4454 w 10000"/>
                <a:gd name="connsiteY9" fmla="*/ 9122 h 11186"/>
                <a:gd name="connsiteX10" fmla="*/ 6860 w 10000"/>
                <a:gd name="connsiteY10" fmla="*/ 11186 h 11186"/>
                <a:gd name="connsiteX11" fmla="*/ 7685 w 10000"/>
                <a:gd name="connsiteY11" fmla="*/ 9287 h 11186"/>
                <a:gd name="connsiteX12" fmla="*/ 9227 w 10000"/>
                <a:gd name="connsiteY12" fmla="*/ 7081 h 11186"/>
                <a:gd name="connsiteX13" fmla="*/ 10000 w 10000"/>
                <a:gd name="connsiteY13" fmla="*/ 7081 h 11186"/>
                <a:gd name="connsiteX14" fmla="*/ 9217 w 10000"/>
                <a:gd name="connsiteY14" fmla="*/ 2999 h 11186"/>
                <a:gd name="connsiteX15" fmla="*/ 7539 w 10000"/>
                <a:gd name="connsiteY15" fmla="*/ 858 h 11186"/>
                <a:gd name="connsiteX16" fmla="*/ 5194 w 10000"/>
                <a:gd name="connsiteY16" fmla="*/ 1946 h 11186"/>
                <a:gd name="connsiteX17" fmla="*/ 2829 w 10000"/>
                <a:gd name="connsiteY17" fmla="*/ 0 h 11186"/>
                <a:gd name="connsiteX18" fmla="*/ 3722 w 10000"/>
                <a:gd name="connsiteY18" fmla="*/ 3108 h 11186"/>
                <a:gd name="connsiteX0" fmla="*/ 3722 w 10000"/>
                <a:gd name="connsiteY0" fmla="*/ 3108 h 11186"/>
                <a:gd name="connsiteX1" fmla="*/ 1130 w 10000"/>
                <a:gd name="connsiteY1" fmla="*/ 2871 h 11186"/>
                <a:gd name="connsiteX2" fmla="*/ 944 w 10000"/>
                <a:gd name="connsiteY2" fmla="*/ 4982 h 11186"/>
                <a:gd name="connsiteX3" fmla="*/ 0 w 10000"/>
                <a:gd name="connsiteY3" fmla="*/ 6858 h 11186"/>
                <a:gd name="connsiteX4" fmla="*/ 573 w 10000"/>
                <a:gd name="connsiteY4" fmla="*/ 7361 h 11186"/>
                <a:gd name="connsiteX5" fmla="*/ 1528 w 10000"/>
                <a:gd name="connsiteY5" fmla="*/ 7372 h 11186"/>
                <a:gd name="connsiteX6" fmla="*/ 1512 w 10000"/>
                <a:gd name="connsiteY6" fmla="*/ 7815 h 11186"/>
                <a:gd name="connsiteX7" fmla="*/ 739 w 10000"/>
                <a:gd name="connsiteY7" fmla="*/ 8551 h 11186"/>
                <a:gd name="connsiteX8" fmla="*/ 5615 w 10000"/>
                <a:gd name="connsiteY8" fmla="*/ 6631 h 11186"/>
                <a:gd name="connsiteX9" fmla="*/ 5133 w 10000"/>
                <a:gd name="connsiteY9" fmla="*/ 9359 h 11186"/>
                <a:gd name="connsiteX10" fmla="*/ 6860 w 10000"/>
                <a:gd name="connsiteY10" fmla="*/ 11186 h 11186"/>
                <a:gd name="connsiteX11" fmla="*/ 7685 w 10000"/>
                <a:gd name="connsiteY11" fmla="*/ 9287 h 11186"/>
                <a:gd name="connsiteX12" fmla="*/ 9227 w 10000"/>
                <a:gd name="connsiteY12" fmla="*/ 7081 h 11186"/>
                <a:gd name="connsiteX13" fmla="*/ 10000 w 10000"/>
                <a:gd name="connsiteY13" fmla="*/ 7081 h 11186"/>
                <a:gd name="connsiteX14" fmla="*/ 9217 w 10000"/>
                <a:gd name="connsiteY14" fmla="*/ 2999 h 11186"/>
                <a:gd name="connsiteX15" fmla="*/ 7539 w 10000"/>
                <a:gd name="connsiteY15" fmla="*/ 858 h 11186"/>
                <a:gd name="connsiteX16" fmla="*/ 5194 w 10000"/>
                <a:gd name="connsiteY16" fmla="*/ 1946 h 11186"/>
                <a:gd name="connsiteX17" fmla="*/ 2829 w 10000"/>
                <a:gd name="connsiteY17" fmla="*/ 0 h 11186"/>
                <a:gd name="connsiteX18" fmla="*/ 3722 w 10000"/>
                <a:gd name="connsiteY18" fmla="*/ 3108 h 11186"/>
                <a:gd name="connsiteX0" fmla="*/ 3722 w 10000"/>
                <a:gd name="connsiteY0" fmla="*/ 3108 h 11186"/>
                <a:gd name="connsiteX1" fmla="*/ 1130 w 10000"/>
                <a:gd name="connsiteY1" fmla="*/ 2871 h 11186"/>
                <a:gd name="connsiteX2" fmla="*/ 944 w 10000"/>
                <a:gd name="connsiteY2" fmla="*/ 4982 h 11186"/>
                <a:gd name="connsiteX3" fmla="*/ 0 w 10000"/>
                <a:gd name="connsiteY3" fmla="*/ 6858 h 11186"/>
                <a:gd name="connsiteX4" fmla="*/ 573 w 10000"/>
                <a:gd name="connsiteY4" fmla="*/ 7361 h 11186"/>
                <a:gd name="connsiteX5" fmla="*/ 1528 w 10000"/>
                <a:gd name="connsiteY5" fmla="*/ 7372 h 11186"/>
                <a:gd name="connsiteX6" fmla="*/ 1512 w 10000"/>
                <a:gd name="connsiteY6" fmla="*/ 7815 h 11186"/>
                <a:gd name="connsiteX7" fmla="*/ 739 w 10000"/>
                <a:gd name="connsiteY7" fmla="*/ 8551 h 11186"/>
                <a:gd name="connsiteX8" fmla="*/ 6747 w 10000"/>
                <a:gd name="connsiteY8" fmla="*/ 6868 h 11186"/>
                <a:gd name="connsiteX9" fmla="*/ 5133 w 10000"/>
                <a:gd name="connsiteY9" fmla="*/ 9359 h 11186"/>
                <a:gd name="connsiteX10" fmla="*/ 6860 w 10000"/>
                <a:gd name="connsiteY10" fmla="*/ 11186 h 11186"/>
                <a:gd name="connsiteX11" fmla="*/ 7685 w 10000"/>
                <a:gd name="connsiteY11" fmla="*/ 9287 h 11186"/>
                <a:gd name="connsiteX12" fmla="*/ 9227 w 10000"/>
                <a:gd name="connsiteY12" fmla="*/ 7081 h 11186"/>
                <a:gd name="connsiteX13" fmla="*/ 10000 w 10000"/>
                <a:gd name="connsiteY13" fmla="*/ 7081 h 11186"/>
                <a:gd name="connsiteX14" fmla="*/ 9217 w 10000"/>
                <a:gd name="connsiteY14" fmla="*/ 2999 h 11186"/>
                <a:gd name="connsiteX15" fmla="*/ 7539 w 10000"/>
                <a:gd name="connsiteY15" fmla="*/ 858 h 11186"/>
                <a:gd name="connsiteX16" fmla="*/ 5194 w 10000"/>
                <a:gd name="connsiteY16" fmla="*/ 1946 h 11186"/>
                <a:gd name="connsiteX17" fmla="*/ 2829 w 10000"/>
                <a:gd name="connsiteY17" fmla="*/ 0 h 11186"/>
                <a:gd name="connsiteX18" fmla="*/ 3722 w 10000"/>
                <a:gd name="connsiteY18" fmla="*/ 3108 h 11186"/>
                <a:gd name="connsiteX0" fmla="*/ 3722 w 10000"/>
                <a:gd name="connsiteY0" fmla="*/ 3108 h 11186"/>
                <a:gd name="connsiteX1" fmla="*/ 1130 w 10000"/>
                <a:gd name="connsiteY1" fmla="*/ 2871 h 11186"/>
                <a:gd name="connsiteX2" fmla="*/ 944 w 10000"/>
                <a:gd name="connsiteY2" fmla="*/ 4982 h 11186"/>
                <a:gd name="connsiteX3" fmla="*/ 0 w 10000"/>
                <a:gd name="connsiteY3" fmla="*/ 6858 h 11186"/>
                <a:gd name="connsiteX4" fmla="*/ 573 w 10000"/>
                <a:gd name="connsiteY4" fmla="*/ 7361 h 11186"/>
                <a:gd name="connsiteX5" fmla="*/ 1528 w 10000"/>
                <a:gd name="connsiteY5" fmla="*/ 7372 h 11186"/>
                <a:gd name="connsiteX6" fmla="*/ 1512 w 10000"/>
                <a:gd name="connsiteY6" fmla="*/ 7815 h 11186"/>
                <a:gd name="connsiteX7" fmla="*/ 3908 w 10000"/>
                <a:gd name="connsiteY7" fmla="*/ 6891 h 11186"/>
                <a:gd name="connsiteX8" fmla="*/ 6747 w 10000"/>
                <a:gd name="connsiteY8" fmla="*/ 6868 h 11186"/>
                <a:gd name="connsiteX9" fmla="*/ 5133 w 10000"/>
                <a:gd name="connsiteY9" fmla="*/ 9359 h 11186"/>
                <a:gd name="connsiteX10" fmla="*/ 6860 w 10000"/>
                <a:gd name="connsiteY10" fmla="*/ 11186 h 11186"/>
                <a:gd name="connsiteX11" fmla="*/ 7685 w 10000"/>
                <a:gd name="connsiteY11" fmla="*/ 9287 h 11186"/>
                <a:gd name="connsiteX12" fmla="*/ 9227 w 10000"/>
                <a:gd name="connsiteY12" fmla="*/ 7081 h 11186"/>
                <a:gd name="connsiteX13" fmla="*/ 10000 w 10000"/>
                <a:gd name="connsiteY13" fmla="*/ 7081 h 11186"/>
                <a:gd name="connsiteX14" fmla="*/ 9217 w 10000"/>
                <a:gd name="connsiteY14" fmla="*/ 2999 h 11186"/>
                <a:gd name="connsiteX15" fmla="*/ 7539 w 10000"/>
                <a:gd name="connsiteY15" fmla="*/ 858 h 11186"/>
                <a:gd name="connsiteX16" fmla="*/ 5194 w 10000"/>
                <a:gd name="connsiteY16" fmla="*/ 1946 h 11186"/>
                <a:gd name="connsiteX17" fmla="*/ 2829 w 10000"/>
                <a:gd name="connsiteY17" fmla="*/ 0 h 11186"/>
                <a:gd name="connsiteX18" fmla="*/ 3722 w 10000"/>
                <a:gd name="connsiteY18" fmla="*/ 3108 h 11186"/>
                <a:gd name="connsiteX0" fmla="*/ 3722 w 10000"/>
                <a:gd name="connsiteY0" fmla="*/ 3108 h 11186"/>
                <a:gd name="connsiteX1" fmla="*/ 1130 w 10000"/>
                <a:gd name="connsiteY1" fmla="*/ 2871 h 11186"/>
                <a:gd name="connsiteX2" fmla="*/ 944 w 10000"/>
                <a:gd name="connsiteY2" fmla="*/ 4982 h 11186"/>
                <a:gd name="connsiteX3" fmla="*/ 0 w 10000"/>
                <a:gd name="connsiteY3" fmla="*/ 6858 h 11186"/>
                <a:gd name="connsiteX4" fmla="*/ 573 w 10000"/>
                <a:gd name="connsiteY4" fmla="*/ 7361 h 11186"/>
                <a:gd name="connsiteX5" fmla="*/ 1528 w 10000"/>
                <a:gd name="connsiteY5" fmla="*/ 7372 h 11186"/>
                <a:gd name="connsiteX6" fmla="*/ 1965 w 10000"/>
                <a:gd name="connsiteY6" fmla="*/ 10661 h 11186"/>
                <a:gd name="connsiteX7" fmla="*/ 3908 w 10000"/>
                <a:gd name="connsiteY7" fmla="*/ 6891 h 11186"/>
                <a:gd name="connsiteX8" fmla="*/ 6747 w 10000"/>
                <a:gd name="connsiteY8" fmla="*/ 6868 h 11186"/>
                <a:gd name="connsiteX9" fmla="*/ 5133 w 10000"/>
                <a:gd name="connsiteY9" fmla="*/ 9359 h 11186"/>
                <a:gd name="connsiteX10" fmla="*/ 6860 w 10000"/>
                <a:gd name="connsiteY10" fmla="*/ 11186 h 11186"/>
                <a:gd name="connsiteX11" fmla="*/ 7685 w 10000"/>
                <a:gd name="connsiteY11" fmla="*/ 9287 h 11186"/>
                <a:gd name="connsiteX12" fmla="*/ 9227 w 10000"/>
                <a:gd name="connsiteY12" fmla="*/ 7081 h 11186"/>
                <a:gd name="connsiteX13" fmla="*/ 10000 w 10000"/>
                <a:gd name="connsiteY13" fmla="*/ 7081 h 11186"/>
                <a:gd name="connsiteX14" fmla="*/ 9217 w 10000"/>
                <a:gd name="connsiteY14" fmla="*/ 2999 h 11186"/>
                <a:gd name="connsiteX15" fmla="*/ 7539 w 10000"/>
                <a:gd name="connsiteY15" fmla="*/ 858 h 11186"/>
                <a:gd name="connsiteX16" fmla="*/ 5194 w 10000"/>
                <a:gd name="connsiteY16" fmla="*/ 1946 h 11186"/>
                <a:gd name="connsiteX17" fmla="*/ 2829 w 10000"/>
                <a:gd name="connsiteY17" fmla="*/ 0 h 11186"/>
                <a:gd name="connsiteX18" fmla="*/ 3722 w 10000"/>
                <a:gd name="connsiteY18" fmla="*/ 3108 h 11186"/>
                <a:gd name="connsiteX0" fmla="*/ 3722 w 10000"/>
                <a:gd name="connsiteY0" fmla="*/ 3108 h 11186"/>
                <a:gd name="connsiteX1" fmla="*/ 1130 w 10000"/>
                <a:gd name="connsiteY1" fmla="*/ 2871 h 11186"/>
                <a:gd name="connsiteX2" fmla="*/ 944 w 10000"/>
                <a:gd name="connsiteY2" fmla="*/ 4982 h 11186"/>
                <a:gd name="connsiteX3" fmla="*/ 0 w 10000"/>
                <a:gd name="connsiteY3" fmla="*/ 6858 h 11186"/>
                <a:gd name="connsiteX4" fmla="*/ 573 w 10000"/>
                <a:gd name="connsiteY4" fmla="*/ 7361 h 11186"/>
                <a:gd name="connsiteX5" fmla="*/ 1528 w 10000"/>
                <a:gd name="connsiteY5" fmla="*/ 7372 h 11186"/>
                <a:gd name="connsiteX6" fmla="*/ 1965 w 10000"/>
                <a:gd name="connsiteY6" fmla="*/ 10661 h 11186"/>
                <a:gd name="connsiteX7" fmla="*/ 3908 w 10000"/>
                <a:gd name="connsiteY7" fmla="*/ 6891 h 11186"/>
                <a:gd name="connsiteX8" fmla="*/ 6747 w 10000"/>
                <a:gd name="connsiteY8" fmla="*/ 6868 h 11186"/>
                <a:gd name="connsiteX9" fmla="*/ 6038 w 10000"/>
                <a:gd name="connsiteY9" fmla="*/ 9359 h 11186"/>
                <a:gd name="connsiteX10" fmla="*/ 6860 w 10000"/>
                <a:gd name="connsiteY10" fmla="*/ 11186 h 11186"/>
                <a:gd name="connsiteX11" fmla="*/ 7685 w 10000"/>
                <a:gd name="connsiteY11" fmla="*/ 9287 h 11186"/>
                <a:gd name="connsiteX12" fmla="*/ 9227 w 10000"/>
                <a:gd name="connsiteY12" fmla="*/ 7081 h 11186"/>
                <a:gd name="connsiteX13" fmla="*/ 10000 w 10000"/>
                <a:gd name="connsiteY13" fmla="*/ 7081 h 11186"/>
                <a:gd name="connsiteX14" fmla="*/ 9217 w 10000"/>
                <a:gd name="connsiteY14" fmla="*/ 2999 h 11186"/>
                <a:gd name="connsiteX15" fmla="*/ 7539 w 10000"/>
                <a:gd name="connsiteY15" fmla="*/ 858 h 11186"/>
                <a:gd name="connsiteX16" fmla="*/ 5194 w 10000"/>
                <a:gd name="connsiteY16" fmla="*/ 1946 h 11186"/>
                <a:gd name="connsiteX17" fmla="*/ 2829 w 10000"/>
                <a:gd name="connsiteY17" fmla="*/ 0 h 11186"/>
                <a:gd name="connsiteX18" fmla="*/ 3722 w 10000"/>
                <a:gd name="connsiteY18" fmla="*/ 3108 h 11186"/>
                <a:gd name="connsiteX0" fmla="*/ 3722 w 10000"/>
                <a:gd name="connsiteY0" fmla="*/ 3108 h 11186"/>
                <a:gd name="connsiteX1" fmla="*/ 1130 w 10000"/>
                <a:gd name="connsiteY1" fmla="*/ 2871 h 11186"/>
                <a:gd name="connsiteX2" fmla="*/ 944 w 10000"/>
                <a:gd name="connsiteY2" fmla="*/ 4982 h 11186"/>
                <a:gd name="connsiteX3" fmla="*/ 0 w 10000"/>
                <a:gd name="connsiteY3" fmla="*/ 6858 h 11186"/>
                <a:gd name="connsiteX4" fmla="*/ 573 w 10000"/>
                <a:gd name="connsiteY4" fmla="*/ 7361 h 11186"/>
                <a:gd name="connsiteX5" fmla="*/ 1528 w 10000"/>
                <a:gd name="connsiteY5" fmla="*/ 7372 h 11186"/>
                <a:gd name="connsiteX6" fmla="*/ 1965 w 10000"/>
                <a:gd name="connsiteY6" fmla="*/ 10661 h 11186"/>
                <a:gd name="connsiteX7" fmla="*/ 3908 w 10000"/>
                <a:gd name="connsiteY7" fmla="*/ 6891 h 11186"/>
                <a:gd name="connsiteX8" fmla="*/ 5842 w 10000"/>
                <a:gd name="connsiteY8" fmla="*/ 8054 h 11186"/>
                <a:gd name="connsiteX9" fmla="*/ 6038 w 10000"/>
                <a:gd name="connsiteY9" fmla="*/ 9359 h 11186"/>
                <a:gd name="connsiteX10" fmla="*/ 6860 w 10000"/>
                <a:gd name="connsiteY10" fmla="*/ 11186 h 11186"/>
                <a:gd name="connsiteX11" fmla="*/ 7685 w 10000"/>
                <a:gd name="connsiteY11" fmla="*/ 9287 h 11186"/>
                <a:gd name="connsiteX12" fmla="*/ 9227 w 10000"/>
                <a:gd name="connsiteY12" fmla="*/ 7081 h 11186"/>
                <a:gd name="connsiteX13" fmla="*/ 10000 w 10000"/>
                <a:gd name="connsiteY13" fmla="*/ 7081 h 11186"/>
                <a:gd name="connsiteX14" fmla="*/ 9217 w 10000"/>
                <a:gd name="connsiteY14" fmla="*/ 2999 h 11186"/>
                <a:gd name="connsiteX15" fmla="*/ 7539 w 10000"/>
                <a:gd name="connsiteY15" fmla="*/ 858 h 11186"/>
                <a:gd name="connsiteX16" fmla="*/ 5194 w 10000"/>
                <a:gd name="connsiteY16" fmla="*/ 1946 h 11186"/>
                <a:gd name="connsiteX17" fmla="*/ 2829 w 10000"/>
                <a:gd name="connsiteY17" fmla="*/ 0 h 11186"/>
                <a:gd name="connsiteX18" fmla="*/ 3722 w 10000"/>
                <a:gd name="connsiteY18" fmla="*/ 3108 h 11186"/>
                <a:gd name="connsiteX0" fmla="*/ 3722 w 10000"/>
                <a:gd name="connsiteY0" fmla="*/ 3108 h 11186"/>
                <a:gd name="connsiteX1" fmla="*/ 1130 w 10000"/>
                <a:gd name="connsiteY1" fmla="*/ 2871 h 11186"/>
                <a:gd name="connsiteX2" fmla="*/ 944 w 10000"/>
                <a:gd name="connsiteY2" fmla="*/ 4982 h 11186"/>
                <a:gd name="connsiteX3" fmla="*/ 0 w 10000"/>
                <a:gd name="connsiteY3" fmla="*/ 6858 h 11186"/>
                <a:gd name="connsiteX4" fmla="*/ 573 w 10000"/>
                <a:gd name="connsiteY4" fmla="*/ 7361 h 11186"/>
                <a:gd name="connsiteX5" fmla="*/ 1528 w 10000"/>
                <a:gd name="connsiteY5" fmla="*/ 7372 h 11186"/>
                <a:gd name="connsiteX6" fmla="*/ 1965 w 10000"/>
                <a:gd name="connsiteY6" fmla="*/ 10661 h 11186"/>
                <a:gd name="connsiteX7" fmla="*/ 4134 w 10000"/>
                <a:gd name="connsiteY7" fmla="*/ 9026 h 11186"/>
                <a:gd name="connsiteX8" fmla="*/ 5842 w 10000"/>
                <a:gd name="connsiteY8" fmla="*/ 8054 h 11186"/>
                <a:gd name="connsiteX9" fmla="*/ 6038 w 10000"/>
                <a:gd name="connsiteY9" fmla="*/ 9359 h 11186"/>
                <a:gd name="connsiteX10" fmla="*/ 6860 w 10000"/>
                <a:gd name="connsiteY10" fmla="*/ 11186 h 11186"/>
                <a:gd name="connsiteX11" fmla="*/ 7685 w 10000"/>
                <a:gd name="connsiteY11" fmla="*/ 9287 h 11186"/>
                <a:gd name="connsiteX12" fmla="*/ 9227 w 10000"/>
                <a:gd name="connsiteY12" fmla="*/ 7081 h 11186"/>
                <a:gd name="connsiteX13" fmla="*/ 10000 w 10000"/>
                <a:gd name="connsiteY13" fmla="*/ 7081 h 11186"/>
                <a:gd name="connsiteX14" fmla="*/ 9217 w 10000"/>
                <a:gd name="connsiteY14" fmla="*/ 2999 h 11186"/>
                <a:gd name="connsiteX15" fmla="*/ 7539 w 10000"/>
                <a:gd name="connsiteY15" fmla="*/ 858 h 11186"/>
                <a:gd name="connsiteX16" fmla="*/ 5194 w 10000"/>
                <a:gd name="connsiteY16" fmla="*/ 1946 h 11186"/>
                <a:gd name="connsiteX17" fmla="*/ 2829 w 10000"/>
                <a:gd name="connsiteY17" fmla="*/ 0 h 11186"/>
                <a:gd name="connsiteX18" fmla="*/ 3722 w 10000"/>
                <a:gd name="connsiteY18" fmla="*/ 3108 h 11186"/>
                <a:gd name="connsiteX0" fmla="*/ 3722 w 10000"/>
                <a:gd name="connsiteY0" fmla="*/ 3108 h 11847"/>
                <a:gd name="connsiteX1" fmla="*/ 1130 w 10000"/>
                <a:gd name="connsiteY1" fmla="*/ 2871 h 11847"/>
                <a:gd name="connsiteX2" fmla="*/ 944 w 10000"/>
                <a:gd name="connsiteY2" fmla="*/ 4982 h 11847"/>
                <a:gd name="connsiteX3" fmla="*/ 0 w 10000"/>
                <a:gd name="connsiteY3" fmla="*/ 6858 h 11847"/>
                <a:gd name="connsiteX4" fmla="*/ 573 w 10000"/>
                <a:gd name="connsiteY4" fmla="*/ 7361 h 11847"/>
                <a:gd name="connsiteX5" fmla="*/ 1528 w 10000"/>
                <a:gd name="connsiteY5" fmla="*/ 7372 h 11847"/>
                <a:gd name="connsiteX6" fmla="*/ 2191 w 10000"/>
                <a:gd name="connsiteY6" fmla="*/ 11847 h 11847"/>
                <a:gd name="connsiteX7" fmla="*/ 4134 w 10000"/>
                <a:gd name="connsiteY7" fmla="*/ 9026 h 11847"/>
                <a:gd name="connsiteX8" fmla="*/ 5842 w 10000"/>
                <a:gd name="connsiteY8" fmla="*/ 8054 h 11847"/>
                <a:gd name="connsiteX9" fmla="*/ 6038 w 10000"/>
                <a:gd name="connsiteY9" fmla="*/ 9359 h 11847"/>
                <a:gd name="connsiteX10" fmla="*/ 6860 w 10000"/>
                <a:gd name="connsiteY10" fmla="*/ 11186 h 11847"/>
                <a:gd name="connsiteX11" fmla="*/ 7685 w 10000"/>
                <a:gd name="connsiteY11" fmla="*/ 9287 h 11847"/>
                <a:gd name="connsiteX12" fmla="*/ 9227 w 10000"/>
                <a:gd name="connsiteY12" fmla="*/ 7081 h 11847"/>
                <a:gd name="connsiteX13" fmla="*/ 10000 w 10000"/>
                <a:gd name="connsiteY13" fmla="*/ 7081 h 11847"/>
                <a:gd name="connsiteX14" fmla="*/ 9217 w 10000"/>
                <a:gd name="connsiteY14" fmla="*/ 2999 h 11847"/>
                <a:gd name="connsiteX15" fmla="*/ 7539 w 10000"/>
                <a:gd name="connsiteY15" fmla="*/ 858 h 11847"/>
                <a:gd name="connsiteX16" fmla="*/ 5194 w 10000"/>
                <a:gd name="connsiteY16" fmla="*/ 1946 h 11847"/>
                <a:gd name="connsiteX17" fmla="*/ 2829 w 10000"/>
                <a:gd name="connsiteY17" fmla="*/ 0 h 11847"/>
                <a:gd name="connsiteX18" fmla="*/ 3722 w 10000"/>
                <a:gd name="connsiteY18" fmla="*/ 3108 h 11847"/>
                <a:gd name="connsiteX0" fmla="*/ 3722 w 10000"/>
                <a:gd name="connsiteY0" fmla="*/ 3108 h 11847"/>
                <a:gd name="connsiteX1" fmla="*/ 1130 w 10000"/>
                <a:gd name="connsiteY1" fmla="*/ 2871 h 11847"/>
                <a:gd name="connsiteX2" fmla="*/ 944 w 10000"/>
                <a:gd name="connsiteY2" fmla="*/ 4982 h 11847"/>
                <a:gd name="connsiteX3" fmla="*/ 0 w 10000"/>
                <a:gd name="connsiteY3" fmla="*/ 6858 h 11847"/>
                <a:gd name="connsiteX4" fmla="*/ 573 w 10000"/>
                <a:gd name="connsiteY4" fmla="*/ 7361 h 11847"/>
                <a:gd name="connsiteX5" fmla="*/ 849 w 10000"/>
                <a:gd name="connsiteY5" fmla="*/ 9032 h 11847"/>
                <a:gd name="connsiteX6" fmla="*/ 2191 w 10000"/>
                <a:gd name="connsiteY6" fmla="*/ 11847 h 11847"/>
                <a:gd name="connsiteX7" fmla="*/ 4134 w 10000"/>
                <a:gd name="connsiteY7" fmla="*/ 9026 h 11847"/>
                <a:gd name="connsiteX8" fmla="*/ 5842 w 10000"/>
                <a:gd name="connsiteY8" fmla="*/ 8054 h 11847"/>
                <a:gd name="connsiteX9" fmla="*/ 6038 w 10000"/>
                <a:gd name="connsiteY9" fmla="*/ 9359 h 11847"/>
                <a:gd name="connsiteX10" fmla="*/ 6860 w 10000"/>
                <a:gd name="connsiteY10" fmla="*/ 11186 h 11847"/>
                <a:gd name="connsiteX11" fmla="*/ 7685 w 10000"/>
                <a:gd name="connsiteY11" fmla="*/ 9287 h 11847"/>
                <a:gd name="connsiteX12" fmla="*/ 9227 w 10000"/>
                <a:gd name="connsiteY12" fmla="*/ 7081 h 11847"/>
                <a:gd name="connsiteX13" fmla="*/ 10000 w 10000"/>
                <a:gd name="connsiteY13" fmla="*/ 7081 h 11847"/>
                <a:gd name="connsiteX14" fmla="*/ 9217 w 10000"/>
                <a:gd name="connsiteY14" fmla="*/ 2999 h 11847"/>
                <a:gd name="connsiteX15" fmla="*/ 7539 w 10000"/>
                <a:gd name="connsiteY15" fmla="*/ 858 h 11847"/>
                <a:gd name="connsiteX16" fmla="*/ 5194 w 10000"/>
                <a:gd name="connsiteY16" fmla="*/ 1946 h 11847"/>
                <a:gd name="connsiteX17" fmla="*/ 2829 w 10000"/>
                <a:gd name="connsiteY17" fmla="*/ 0 h 11847"/>
                <a:gd name="connsiteX18" fmla="*/ 3722 w 10000"/>
                <a:gd name="connsiteY18" fmla="*/ 3108 h 11847"/>
                <a:gd name="connsiteX0" fmla="*/ 3722 w 10000"/>
                <a:gd name="connsiteY0" fmla="*/ 3108 h 11186"/>
                <a:gd name="connsiteX1" fmla="*/ 1130 w 10000"/>
                <a:gd name="connsiteY1" fmla="*/ 2871 h 11186"/>
                <a:gd name="connsiteX2" fmla="*/ 944 w 10000"/>
                <a:gd name="connsiteY2" fmla="*/ 4982 h 11186"/>
                <a:gd name="connsiteX3" fmla="*/ 0 w 10000"/>
                <a:gd name="connsiteY3" fmla="*/ 6858 h 11186"/>
                <a:gd name="connsiteX4" fmla="*/ 573 w 10000"/>
                <a:gd name="connsiteY4" fmla="*/ 7361 h 11186"/>
                <a:gd name="connsiteX5" fmla="*/ 849 w 10000"/>
                <a:gd name="connsiteY5" fmla="*/ 9032 h 11186"/>
                <a:gd name="connsiteX6" fmla="*/ 2870 w 10000"/>
                <a:gd name="connsiteY6" fmla="*/ 10898 h 11186"/>
                <a:gd name="connsiteX7" fmla="*/ 4134 w 10000"/>
                <a:gd name="connsiteY7" fmla="*/ 9026 h 11186"/>
                <a:gd name="connsiteX8" fmla="*/ 5842 w 10000"/>
                <a:gd name="connsiteY8" fmla="*/ 8054 h 11186"/>
                <a:gd name="connsiteX9" fmla="*/ 6038 w 10000"/>
                <a:gd name="connsiteY9" fmla="*/ 9359 h 11186"/>
                <a:gd name="connsiteX10" fmla="*/ 6860 w 10000"/>
                <a:gd name="connsiteY10" fmla="*/ 11186 h 11186"/>
                <a:gd name="connsiteX11" fmla="*/ 7685 w 10000"/>
                <a:gd name="connsiteY11" fmla="*/ 9287 h 11186"/>
                <a:gd name="connsiteX12" fmla="*/ 9227 w 10000"/>
                <a:gd name="connsiteY12" fmla="*/ 7081 h 11186"/>
                <a:gd name="connsiteX13" fmla="*/ 10000 w 10000"/>
                <a:gd name="connsiteY13" fmla="*/ 7081 h 11186"/>
                <a:gd name="connsiteX14" fmla="*/ 9217 w 10000"/>
                <a:gd name="connsiteY14" fmla="*/ 2999 h 11186"/>
                <a:gd name="connsiteX15" fmla="*/ 7539 w 10000"/>
                <a:gd name="connsiteY15" fmla="*/ 858 h 11186"/>
                <a:gd name="connsiteX16" fmla="*/ 5194 w 10000"/>
                <a:gd name="connsiteY16" fmla="*/ 1946 h 11186"/>
                <a:gd name="connsiteX17" fmla="*/ 2829 w 10000"/>
                <a:gd name="connsiteY17" fmla="*/ 0 h 11186"/>
                <a:gd name="connsiteX18" fmla="*/ 3722 w 10000"/>
                <a:gd name="connsiteY18" fmla="*/ 3108 h 11186"/>
                <a:gd name="connsiteX0" fmla="*/ 3722 w 10000"/>
                <a:gd name="connsiteY0" fmla="*/ 3108 h 11186"/>
                <a:gd name="connsiteX1" fmla="*/ 1130 w 10000"/>
                <a:gd name="connsiteY1" fmla="*/ 2871 h 11186"/>
                <a:gd name="connsiteX2" fmla="*/ 944 w 10000"/>
                <a:gd name="connsiteY2" fmla="*/ 4982 h 11186"/>
                <a:gd name="connsiteX3" fmla="*/ 0 w 10000"/>
                <a:gd name="connsiteY3" fmla="*/ 6858 h 11186"/>
                <a:gd name="connsiteX4" fmla="*/ 573 w 10000"/>
                <a:gd name="connsiteY4" fmla="*/ 7361 h 11186"/>
                <a:gd name="connsiteX5" fmla="*/ 2870 w 10000"/>
                <a:gd name="connsiteY5" fmla="*/ 10898 h 11186"/>
                <a:gd name="connsiteX6" fmla="*/ 4134 w 10000"/>
                <a:gd name="connsiteY6" fmla="*/ 9026 h 11186"/>
                <a:gd name="connsiteX7" fmla="*/ 5842 w 10000"/>
                <a:gd name="connsiteY7" fmla="*/ 8054 h 11186"/>
                <a:gd name="connsiteX8" fmla="*/ 6038 w 10000"/>
                <a:gd name="connsiteY8" fmla="*/ 9359 h 11186"/>
                <a:gd name="connsiteX9" fmla="*/ 6860 w 10000"/>
                <a:gd name="connsiteY9" fmla="*/ 11186 h 11186"/>
                <a:gd name="connsiteX10" fmla="*/ 7685 w 10000"/>
                <a:gd name="connsiteY10" fmla="*/ 9287 h 11186"/>
                <a:gd name="connsiteX11" fmla="*/ 9227 w 10000"/>
                <a:gd name="connsiteY11" fmla="*/ 7081 h 11186"/>
                <a:gd name="connsiteX12" fmla="*/ 10000 w 10000"/>
                <a:gd name="connsiteY12" fmla="*/ 7081 h 11186"/>
                <a:gd name="connsiteX13" fmla="*/ 9217 w 10000"/>
                <a:gd name="connsiteY13" fmla="*/ 2999 h 11186"/>
                <a:gd name="connsiteX14" fmla="*/ 7539 w 10000"/>
                <a:gd name="connsiteY14" fmla="*/ 858 h 11186"/>
                <a:gd name="connsiteX15" fmla="*/ 5194 w 10000"/>
                <a:gd name="connsiteY15" fmla="*/ 1946 h 11186"/>
                <a:gd name="connsiteX16" fmla="*/ 2829 w 10000"/>
                <a:gd name="connsiteY16" fmla="*/ 0 h 11186"/>
                <a:gd name="connsiteX17" fmla="*/ 3722 w 10000"/>
                <a:gd name="connsiteY17" fmla="*/ 3108 h 11186"/>
                <a:gd name="connsiteX0" fmla="*/ 3722 w 10000"/>
                <a:gd name="connsiteY0" fmla="*/ 3108 h 11186"/>
                <a:gd name="connsiteX1" fmla="*/ 1130 w 10000"/>
                <a:gd name="connsiteY1" fmla="*/ 2871 h 11186"/>
                <a:gd name="connsiteX2" fmla="*/ 944 w 10000"/>
                <a:gd name="connsiteY2" fmla="*/ 4982 h 11186"/>
                <a:gd name="connsiteX3" fmla="*/ 0 w 10000"/>
                <a:gd name="connsiteY3" fmla="*/ 6858 h 11186"/>
                <a:gd name="connsiteX4" fmla="*/ 2870 w 10000"/>
                <a:gd name="connsiteY4" fmla="*/ 10898 h 11186"/>
                <a:gd name="connsiteX5" fmla="*/ 4134 w 10000"/>
                <a:gd name="connsiteY5" fmla="*/ 9026 h 11186"/>
                <a:gd name="connsiteX6" fmla="*/ 5842 w 10000"/>
                <a:gd name="connsiteY6" fmla="*/ 8054 h 11186"/>
                <a:gd name="connsiteX7" fmla="*/ 6038 w 10000"/>
                <a:gd name="connsiteY7" fmla="*/ 9359 h 11186"/>
                <a:gd name="connsiteX8" fmla="*/ 6860 w 10000"/>
                <a:gd name="connsiteY8" fmla="*/ 11186 h 11186"/>
                <a:gd name="connsiteX9" fmla="*/ 7685 w 10000"/>
                <a:gd name="connsiteY9" fmla="*/ 9287 h 11186"/>
                <a:gd name="connsiteX10" fmla="*/ 9227 w 10000"/>
                <a:gd name="connsiteY10" fmla="*/ 7081 h 11186"/>
                <a:gd name="connsiteX11" fmla="*/ 10000 w 10000"/>
                <a:gd name="connsiteY11" fmla="*/ 7081 h 11186"/>
                <a:gd name="connsiteX12" fmla="*/ 9217 w 10000"/>
                <a:gd name="connsiteY12" fmla="*/ 2999 h 11186"/>
                <a:gd name="connsiteX13" fmla="*/ 7539 w 10000"/>
                <a:gd name="connsiteY13" fmla="*/ 858 h 11186"/>
                <a:gd name="connsiteX14" fmla="*/ 5194 w 10000"/>
                <a:gd name="connsiteY14" fmla="*/ 1946 h 11186"/>
                <a:gd name="connsiteX15" fmla="*/ 2829 w 10000"/>
                <a:gd name="connsiteY15" fmla="*/ 0 h 11186"/>
                <a:gd name="connsiteX16" fmla="*/ 3722 w 10000"/>
                <a:gd name="connsiteY16" fmla="*/ 3108 h 11186"/>
                <a:gd name="connsiteX0" fmla="*/ 3722 w 10000"/>
                <a:gd name="connsiteY0" fmla="*/ 3108 h 11186"/>
                <a:gd name="connsiteX1" fmla="*/ 1130 w 10000"/>
                <a:gd name="connsiteY1" fmla="*/ 2871 h 11186"/>
                <a:gd name="connsiteX2" fmla="*/ 0 w 10000"/>
                <a:gd name="connsiteY2" fmla="*/ 6858 h 11186"/>
                <a:gd name="connsiteX3" fmla="*/ 2870 w 10000"/>
                <a:gd name="connsiteY3" fmla="*/ 10898 h 11186"/>
                <a:gd name="connsiteX4" fmla="*/ 4134 w 10000"/>
                <a:gd name="connsiteY4" fmla="*/ 9026 h 11186"/>
                <a:gd name="connsiteX5" fmla="*/ 5842 w 10000"/>
                <a:gd name="connsiteY5" fmla="*/ 8054 h 11186"/>
                <a:gd name="connsiteX6" fmla="*/ 6038 w 10000"/>
                <a:gd name="connsiteY6" fmla="*/ 9359 h 11186"/>
                <a:gd name="connsiteX7" fmla="*/ 6860 w 10000"/>
                <a:gd name="connsiteY7" fmla="*/ 11186 h 11186"/>
                <a:gd name="connsiteX8" fmla="*/ 7685 w 10000"/>
                <a:gd name="connsiteY8" fmla="*/ 9287 h 11186"/>
                <a:gd name="connsiteX9" fmla="*/ 9227 w 10000"/>
                <a:gd name="connsiteY9" fmla="*/ 7081 h 11186"/>
                <a:gd name="connsiteX10" fmla="*/ 10000 w 10000"/>
                <a:gd name="connsiteY10" fmla="*/ 7081 h 11186"/>
                <a:gd name="connsiteX11" fmla="*/ 9217 w 10000"/>
                <a:gd name="connsiteY11" fmla="*/ 2999 h 11186"/>
                <a:gd name="connsiteX12" fmla="*/ 7539 w 10000"/>
                <a:gd name="connsiteY12" fmla="*/ 858 h 11186"/>
                <a:gd name="connsiteX13" fmla="*/ 5194 w 10000"/>
                <a:gd name="connsiteY13" fmla="*/ 1946 h 11186"/>
                <a:gd name="connsiteX14" fmla="*/ 2829 w 10000"/>
                <a:gd name="connsiteY14" fmla="*/ 0 h 11186"/>
                <a:gd name="connsiteX15" fmla="*/ 3722 w 10000"/>
                <a:gd name="connsiteY15" fmla="*/ 3108 h 11186"/>
                <a:gd name="connsiteX0" fmla="*/ 2592 w 8870"/>
                <a:gd name="connsiteY0" fmla="*/ 3108 h 11186"/>
                <a:gd name="connsiteX1" fmla="*/ 0 w 8870"/>
                <a:gd name="connsiteY1" fmla="*/ 2871 h 11186"/>
                <a:gd name="connsiteX2" fmla="*/ 228 w 8870"/>
                <a:gd name="connsiteY2" fmla="*/ 6858 h 11186"/>
                <a:gd name="connsiteX3" fmla="*/ 1740 w 8870"/>
                <a:gd name="connsiteY3" fmla="*/ 10898 h 11186"/>
                <a:gd name="connsiteX4" fmla="*/ 3004 w 8870"/>
                <a:gd name="connsiteY4" fmla="*/ 9026 h 11186"/>
                <a:gd name="connsiteX5" fmla="*/ 4712 w 8870"/>
                <a:gd name="connsiteY5" fmla="*/ 8054 h 11186"/>
                <a:gd name="connsiteX6" fmla="*/ 4908 w 8870"/>
                <a:gd name="connsiteY6" fmla="*/ 9359 h 11186"/>
                <a:gd name="connsiteX7" fmla="*/ 5730 w 8870"/>
                <a:gd name="connsiteY7" fmla="*/ 11186 h 11186"/>
                <a:gd name="connsiteX8" fmla="*/ 6555 w 8870"/>
                <a:gd name="connsiteY8" fmla="*/ 9287 h 11186"/>
                <a:gd name="connsiteX9" fmla="*/ 8097 w 8870"/>
                <a:gd name="connsiteY9" fmla="*/ 7081 h 11186"/>
                <a:gd name="connsiteX10" fmla="*/ 8870 w 8870"/>
                <a:gd name="connsiteY10" fmla="*/ 7081 h 11186"/>
                <a:gd name="connsiteX11" fmla="*/ 8087 w 8870"/>
                <a:gd name="connsiteY11" fmla="*/ 2999 h 11186"/>
                <a:gd name="connsiteX12" fmla="*/ 6409 w 8870"/>
                <a:gd name="connsiteY12" fmla="*/ 858 h 11186"/>
                <a:gd name="connsiteX13" fmla="*/ 4064 w 8870"/>
                <a:gd name="connsiteY13" fmla="*/ 1946 h 11186"/>
                <a:gd name="connsiteX14" fmla="*/ 1699 w 8870"/>
                <a:gd name="connsiteY14" fmla="*/ 0 h 11186"/>
                <a:gd name="connsiteX15" fmla="*/ 2592 w 8870"/>
                <a:gd name="connsiteY15" fmla="*/ 3108 h 11186"/>
                <a:gd name="connsiteX0" fmla="*/ 2922 w 10000"/>
                <a:gd name="connsiteY0" fmla="*/ 2778 h 10000"/>
                <a:gd name="connsiteX1" fmla="*/ 0 w 10000"/>
                <a:gd name="connsiteY1" fmla="*/ 2567 h 10000"/>
                <a:gd name="connsiteX2" fmla="*/ 257 w 10000"/>
                <a:gd name="connsiteY2" fmla="*/ 6979 h 10000"/>
                <a:gd name="connsiteX3" fmla="*/ 1962 w 10000"/>
                <a:gd name="connsiteY3" fmla="*/ 9743 h 10000"/>
                <a:gd name="connsiteX4" fmla="*/ 3387 w 10000"/>
                <a:gd name="connsiteY4" fmla="*/ 8069 h 10000"/>
                <a:gd name="connsiteX5" fmla="*/ 5312 w 10000"/>
                <a:gd name="connsiteY5" fmla="*/ 7200 h 10000"/>
                <a:gd name="connsiteX6" fmla="*/ 5533 w 10000"/>
                <a:gd name="connsiteY6" fmla="*/ 8367 h 10000"/>
                <a:gd name="connsiteX7" fmla="*/ 6460 w 10000"/>
                <a:gd name="connsiteY7" fmla="*/ 10000 h 10000"/>
                <a:gd name="connsiteX8" fmla="*/ 7390 w 10000"/>
                <a:gd name="connsiteY8" fmla="*/ 8302 h 10000"/>
                <a:gd name="connsiteX9" fmla="*/ 9129 w 10000"/>
                <a:gd name="connsiteY9" fmla="*/ 6330 h 10000"/>
                <a:gd name="connsiteX10" fmla="*/ 10000 w 10000"/>
                <a:gd name="connsiteY10" fmla="*/ 6330 h 10000"/>
                <a:gd name="connsiteX11" fmla="*/ 9117 w 10000"/>
                <a:gd name="connsiteY11" fmla="*/ 2681 h 10000"/>
                <a:gd name="connsiteX12" fmla="*/ 7225 w 10000"/>
                <a:gd name="connsiteY12" fmla="*/ 767 h 10000"/>
                <a:gd name="connsiteX13" fmla="*/ 4582 w 10000"/>
                <a:gd name="connsiteY13" fmla="*/ 1740 h 10000"/>
                <a:gd name="connsiteX14" fmla="*/ 1915 w 10000"/>
                <a:gd name="connsiteY14" fmla="*/ 0 h 10000"/>
                <a:gd name="connsiteX15" fmla="*/ 2922 w 10000"/>
                <a:gd name="connsiteY15" fmla="*/ 2778 h 10000"/>
                <a:gd name="connsiteX0" fmla="*/ 2922 w 10000"/>
                <a:gd name="connsiteY0" fmla="*/ 2778 h 10000"/>
                <a:gd name="connsiteX1" fmla="*/ 0 w 10000"/>
                <a:gd name="connsiteY1" fmla="*/ 2567 h 10000"/>
                <a:gd name="connsiteX2" fmla="*/ 257 w 10000"/>
                <a:gd name="connsiteY2" fmla="*/ 6979 h 10000"/>
                <a:gd name="connsiteX3" fmla="*/ 1962 w 10000"/>
                <a:gd name="connsiteY3" fmla="*/ 9743 h 10000"/>
                <a:gd name="connsiteX4" fmla="*/ 3387 w 10000"/>
                <a:gd name="connsiteY4" fmla="*/ 8069 h 10000"/>
                <a:gd name="connsiteX5" fmla="*/ 5312 w 10000"/>
                <a:gd name="connsiteY5" fmla="*/ 7200 h 10000"/>
                <a:gd name="connsiteX6" fmla="*/ 5533 w 10000"/>
                <a:gd name="connsiteY6" fmla="*/ 8367 h 10000"/>
                <a:gd name="connsiteX7" fmla="*/ 6460 w 10000"/>
                <a:gd name="connsiteY7" fmla="*/ 10000 h 10000"/>
                <a:gd name="connsiteX8" fmla="*/ 7390 w 10000"/>
                <a:gd name="connsiteY8" fmla="*/ 8302 h 10000"/>
                <a:gd name="connsiteX9" fmla="*/ 10000 w 10000"/>
                <a:gd name="connsiteY9" fmla="*/ 6330 h 10000"/>
                <a:gd name="connsiteX10" fmla="*/ 9117 w 10000"/>
                <a:gd name="connsiteY10" fmla="*/ 2681 h 10000"/>
                <a:gd name="connsiteX11" fmla="*/ 7225 w 10000"/>
                <a:gd name="connsiteY11" fmla="*/ 767 h 10000"/>
                <a:gd name="connsiteX12" fmla="*/ 4582 w 10000"/>
                <a:gd name="connsiteY12" fmla="*/ 1740 h 10000"/>
                <a:gd name="connsiteX13" fmla="*/ 1915 w 10000"/>
                <a:gd name="connsiteY13" fmla="*/ 0 h 10000"/>
                <a:gd name="connsiteX14" fmla="*/ 2922 w 10000"/>
                <a:gd name="connsiteY14" fmla="*/ 2778 h 10000"/>
                <a:gd name="connsiteX0" fmla="*/ 2922 w 10000"/>
                <a:gd name="connsiteY0" fmla="*/ 2778 h 10000"/>
                <a:gd name="connsiteX1" fmla="*/ 0 w 10000"/>
                <a:gd name="connsiteY1" fmla="*/ 2567 h 10000"/>
                <a:gd name="connsiteX2" fmla="*/ 257 w 10000"/>
                <a:gd name="connsiteY2" fmla="*/ 6979 h 10000"/>
                <a:gd name="connsiteX3" fmla="*/ 1962 w 10000"/>
                <a:gd name="connsiteY3" fmla="*/ 9743 h 10000"/>
                <a:gd name="connsiteX4" fmla="*/ 3387 w 10000"/>
                <a:gd name="connsiteY4" fmla="*/ 8069 h 10000"/>
                <a:gd name="connsiteX5" fmla="*/ 5312 w 10000"/>
                <a:gd name="connsiteY5" fmla="*/ 7200 h 10000"/>
                <a:gd name="connsiteX6" fmla="*/ 5533 w 10000"/>
                <a:gd name="connsiteY6" fmla="*/ 8367 h 10000"/>
                <a:gd name="connsiteX7" fmla="*/ 6460 w 10000"/>
                <a:gd name="connsiteY7" fmla="*/ 10000 h 10000"/>
                <a:gd name="connsiteX8" fmla="*/ 10000 w 10000"/>
                <a:gd name="connsiteY8" fmla="*/ 6330 h 10000"/>
                <a:gd name="connsiteX9" fmla="*/ 9117 w 10000"/>
                <a:gd name="connsiteY9" fmla="*/ 2681 h 10000"/>
                <a:gd name="connsiteX10" fmla="*/ 7225 w 10000"/>
                <a:gd name="connsiteY10" fmla="*/ 767 h 10000"/>
                <a:gd name="connsiteX11" fmla="*/ 4582 w 10000"/>
                <a:gd name="connsiteY11" fmla="*/ 1740 h 10000"/>
                <a:gd name="connsiteX12" fmla="*/ 1915 w 10000"/>
                <a:gd name="connsiteY12" fmla="*/ 0 h 10000"/>
                <a:gd name="connsiteX13" fmla="*/ 2922 w 10000"/>
                <a:gd name="connsiteY13" fmla="*/ 2778 h 10000"/>
                <a:gd name="connsiteX0" fmla="*/ 2922 w 10000"/>
                <a:gd name="connsiteY0" fmla="*/ 2778 h 10005"/>
                <a:gd name="connsiteX1" fmla="*/ 0 w 10000"/>
                <a:gd name="connsiteY1" fmla="*/ 2567 h 10005"/>
                <a:gd name="connsiteX2" fmla="*/ 257 w 10000"/>
                <a:gd name="connsiteY2" fmla="*/ 6979 h 10005"/>
                <a:gd name="connsiteX3" fmla="*/ 1962 w 10000"/>
                <a:gd name="connsiteY3" fmla="*/ 9743 h 10005"/>
                <a:gd name="connsiteX4" fmla="*/ 3387 w 10000"/>
                <a:gd name="connsiteY4" fmla="*/ 8069 h 10005"/>
                <a:gd name="connsiteX5" fmla="*/ 5312 w 10000"/>
                <a:gd name="connsiteY5" fmla="*/ 7200 h 10005"/>
                <a:gd name="connsiteX6" fmla="*/ 6460 w 10000"/>
                <a:gd name="connsiteY6" fmla="*/ 10000 h 10005"/>
                <a:gd name="connsiteX7" fmla="*/ 10000 w 10000"/>
                <a:gd name="connsiteY7" fmla="*/ 6330 h 10005"/>
                <a:gd name="connsiteX8" fmla="*/ 9117 w 10000"/>
                <a:gd name="connsiteY8" fmla="*/ 2681 h 10005"/>
                <a:gd name="connsiteX9" fmla="*/ 7225 w 10000"/>
                <a:gd name="connsiteY9" fmla="*/ 767 h 10005"/>
                <a:gd name="connsiteX10" fmla="*/ 4582 w 10000"/>
                <a:gd name="connsiteY10" fmla="*/ 1740 h 10005"/>
                <a:gd name="connsiteX11" fmla="*/ 1915 w 10000"/>
                <a:gd name="connsiteY11" fmla="*/ 0 h 10005"/>
                <a:gd name="connsiteX12" fmla="*/ 2922 w 10000"/>
                <a:gd name="connsiteY12" fmla="*/ 2778 h 10005"/>
                <a:gd name="connsiteX0" fmla="*/ 2922 w 10000"/>
                <a:gd name="connsiteY0" fmla="*/ 2778 h 10007"/>
                <a:gd name="connsiteX1" fmla="*/ 0 w 10000"/>
                <a:gd name="connsiteY1" fmla="*/ 2567 h 10007"/>
                <a:gd name="connsiteX2" fmla="*/ 257 w 10000"/>
                <a:gd name="connsiteY2" fmla="*/ 6979 h 10007"/>
                <a:gd name="connsiteX3" fmla="*/ 1962 w 10000"/>
                <a:gd name="connsiteY3" fmla="*/ 9743 h 10007"/>
                <a:gd name="connsiteX4" fmla="*/ 3387 w 10000"/>
                <a:gd name="connsiteY4" fmla="*/ 8069 h 10007"/>
                <a:gd name="connsiteX5" fmla="*/ 5312 w 10000"/>
                <a:gd name="connsiteY5" fmla="*/ 7836 h 10007"/>
                <a:gd name="connsiteX6" fmla="*/ 6460 w 10000"/>
                <a:gd name="connsiteY6" fmla="*/ 10000 h 10007"/>
                <a:gd name="connsiteX7" fmla="*/ 10000 w 10000"/>
                <a:gd name="connsiteY7" fmla="*/ 6330 h 10007"/>
                <a:gd name="connsiteX8" fmla="*/ 9117 w 10000"/>
                <a:gd name="connsiteY8" fmla="*/ 2681 h 10007"/>
                <a:gd name="connsiteX9" fmla="*/ 7225 w 10000"/>
                <a:gd name="connsiteY9" fmla="*/ 767 h 10007"/>
                <a:gd name="connsiteX10" fmla="*/ 4582 w 10000"/>
                <a:gd name="connsiteY10" fmla="*/ 1740 h 10007"/>
                <a:gd name="connsiteX11" fmla="*/ 1915 w 10000"/>
                <a:gd name="connsiteY11" fmla="*/ 0 h 10007"/>
                <a:gd name="connsiteX12" fmla="*/ 2922 w 10000"/>
                <a:gd name="connsiteY12" fmla="*/ 2778 h 10007"/>
                <a:gd name="connsiteX0" fmla="*/ 2922 w 10000"/>
                <a:gd name="connsiteY0" fmla="*/ 2778 h 10007"/>
                <a:gd name="connsiteX1" fmla="*/ 0 w 10000"/>
                <a:gd name="connsiteY1" fmla="*/ 2567 h 10007"/>
                <a:gd name="connsiteX2" fmla="*/ 257 w 10000"/>
                <a:gd name="connsiteY2" fmla="*/ 6979 h 10007"/>
                <a:gd name="connsiteX3" fmla="*/ 1962 w 10000"/>
                <a:gd name="connsiteY3" fmla="*/ 9743 h 10007"/>
                <a:gd name="connsiteX4" fmla="*/ 3897 w 10000"/>
                <a:gd name="connsiteY4" fmla="*/ 8917 h 10007"/>
                <a:gd name="connsiteX5" fmla="*/ 5312 w 10000"/>
                <a:gd name="connsiteY5" fmla="*/ 7836 h 10007"/>
                <a:gd name="connsiteX6" fmla="*/ 6460 w 10000"/>
                <a:gd name="connsiteY6" fmla="*/ 10000 h 10007"/>
                <a:gd name="connsiteX7" fmla="*/ 10000 w 10000"/>
                <a:gd name="connsiteY7" fmla="*/ 6330 h 10007"/>
                <a:gd name="connsiteX8" fmla="*/ 9117 w 10000"/>
                <a:gd name="connsiteY8" fmla="*/ 2681 h 10007"/>
                <a:gd name="connsiteX9" fmla="*/ 7225 w 10000"/>
                <a:gd name="connsiteY9" fmla="*/ 767 h 10007"/>
                <a:gd name="connsiteX10" fmla="*/ 4582 w 10000"/>
                <a:gd name="connsiteY10" fmla="*/ 1740 h 10007"/>
                <a:gd name="connsiteX11" fmla="*/ 1915 w 10000"/>
                <a:gd name="connsiteY11" fmla="*/ 0 h 10007"/>
                <a:gd name="connsiteX12" fmla="*/ 2922 w 10000"/>
                <a:gd name="connsiteY12" fmla="*/ 2778 h 10007"/>
                <a:gd name="connsiteX0" fmla="*/ 2922 w 10000"/>
                <a:gd name="connsiteY0" fmla="*/ 2778 h 10007"/>
                <a:gd name="connsiteX1" fmla="*/ 0 w 10000"/>
                <a:gd name="connsiteY1" fmla="*/ 2567 h 10007"/>
                <a:gd name="connsiteX2" fmla="*/ 257 w 10000"/>
                <a:gd name="connsiteY2" fmla="*/ 6979 h 10007"/>
                <a:gd name="connsiteX3" fmla="*/ 1962 w 10000"/>
                <a:gd name="connsiteY3" fmla="*/ 9743 h 10007"/>
                <a:gd name="connsiteX4" fmla="*/ 3642 w 10000"/>
                <a:gd name="connsiteY4" fmla="*/ 7857 h 10007"/>
                <a:gd name="connsiteX5" fmla="*/ 5312 w 10000"/>
                <a:gd name="connsiteY5" fmla="*/ 7836 h 10007"/>
                <a:gd name="connsiteX6" fmla="*/ 6460 w 10000"/>
                <a:gd name="connsiteY6" fmla="*/ 10000 h 10007"/>
                <a:gd name="connsiteX7" fmla="*/ 10000 w 10000"/>
                <a:gd name="connsiteY7" fmla="*/ 6330 h 10007"/>
                <a:gd name="connsiteX8" fmla="*/ 9117 w 10000"/>
                <a:gd name="connsiteY8" fmla="*/ 2681 h 10007"/>
                <a:gd name="connsiteX9" fmla="*/ 7225 w 10000"/>
                <a:gd name="connsiteY9" fmla="*/ 767 h 10007"/>
                <a:gd name="connsiteX10" fmla="*/ 4582 w 10000"/>
                <a:gd name="connsiteY10" fmla="*/ 1740 h 10007"/>
                <a:gd name="connsiteX11" fmla="*/ 1915 w 10000"/>
                <a:gd name="connsiteY11" fmla="*/ 0 h 10007"/>
                <a:gd name="connsiteX12" fmla="*/ 2922 w 10000"/>
                <a:gd name="connsiteY12" fmla="*/ 2778 h 10007"/>
                <a:gd name="connsiteX0" fmla="*/ 2922 w 10000"/>
                <a:gd name="connsiteY0" fmla="*/ 2778 h 10007"/>
                <a:gd name="connsiteX1" fmla="*/ 0 w 10000"/>
                <a:gd name="connsiteY1" fmla="*/ 2567 h 10007"/>
                <a:gd name="connsiteX2" fmla="*/ 1023 w 10000"/>
                <a:gd name="connsiteY2" fmla="*/ 6979 h 10007"/>
                <a:gd name="connsiteX3" fmla="*/ 1962 w 10000"/>
                <a:gd name="connsiteY3" fmla="*/ 9743 h 10007"/>
                <a:gd name="connsiteX4" fmla="*/ 3642 w 10000"/>
                <a:gd name="connsiteY4" fmla="*/ 7857 h 10007"/>
                <a:gd name="connsiteX5" fmla="*/ 5312 w 10000"/>
                <a:gd name="connsiteY5" fmla="*/ 7836 h 10007"/>
                <a:gd name="connsiteX6" fmla="*/ 6460 w 10000"/>
                <a:gd name="connsiteY6" fmla="*/ 10000 h 10007"/>
                <a:gd name="connsiteX7" fmla="*/ 10000 w 10000"/>
                <a:gd name="connsiteY7" fmla="*/ 6330 h 10007"/>
                <a:gd name="connsiteX8" fmla="*/ 9117 w 10000"/>
                <a:gd name="connsiteY8" fmla="*/ 2681 h 10007"/>
                <a:gd name="connsiteX9" fmla="*/ 7225 w 10000"/>
                <a:gd name="connsiteY9" fmla="*/ 767 h 10007"/>
                <a:gd name="connsiteX10" fmla="*/ 4582 w 10000"/>
                <a:gd name="connsiteY10" fmla="*/ 1740 h 10007"/>
                <a:gd name="connsiteX11" fmla="*/ 1915 w 10000"/>
                <a:gd name="connsiteY11" fmla="*/ 0 h 10007"/>
                <a:gd name="connsiteX12" fmla="*/ 2922 w 10000"/>
                <a:gd name="connsiteY12" fmla="*/ 2778 h 10007"/>
                <a:gd name="connsiteX0" fmla="*/ 1925 w 9003"/>
                <a:gd name="connsiteY0" fmla="*/ 2778 h 10007"/>
                <a:gd name="connsiteX1" fmla="*/ 24 w 9003"/>
                <a:gd name="connsiteY1" fmla="*/ 3415 h 10007"/>
                <a:gd name="connsiteX2" fmla="*/ 26 w 9003"/>
                <a:gd name="connsiteY2" fmla="*/ 6979 h 10007"/>
                <a:gd name="connsiteX3" fmla="*/ 965 w 9003"/>
                <a:gd name="connsiteY3" fmla="*/ 9743 h 10007"/>
                <a:gd name="connsiteX4" fmla="*/ 2645 w 9003"/>
                <a:gd name="connsiteY4" fmla="*/ 7857 h 10007"/>
                <a:gd name="connsiteX5" fmla="*/ 4315 w 9003"/>
                <a:gd name="connsiteY5" fmla="*/ 7836 h 10007"/>
                <a:gd name="connsiteX6" fmla="*/ 5463 w 9003"/>
                <a:gd name="connsiteY6" fmla="*/ 10000 h 10007"/>
                <a:gd name="connsiteX7" fmla="*/ 9003 w 9003"/>
                <a:gd name="connsiteY7" fmla="*/ 6330 h 10007"/>
                <a:gd name="connsiteX8" fmla="*/ 8120 w 9003"/>
                <a:gd name="connsiteY8" fmla="*/ 2681 h 10007"/>
                <a:gd name="connsiteX9" fmla="*/ 6228 w 9003"/>
                <a:gd name="connsiteY9" fmla="*/ 767 h 10007"/>
                <a:gd name="connsiteX10" fmla="*/ 3585 w 9003"/>
                <a:gd name="connsiteY10" fmla="*/ 1740 h 10007"/>
                <a:gd name="connsiteX11" fmla="*/ 918 w 9003"/>
                <a:gd name="connsiteY11" fmla="*/ 0 h 10007"/>
                <a:gd name="connsiteX12" fmla="*/ 1925 w 9003"/>
                <a:gd name="connsiteY12" fmla="*/ 2778 h 10007"/>
                <a:gd name="connsiteX0" fmla="*/ 2421 w 10000"/>
                <a:gd name="connsiteY0" fmla="*/ 4047 h 10000"/>
                <a:gd name="connsiteX1" fmla="*/ 27 w 10000"/>
                <a:gd name="connsiteY1" fmla="*/ 3413 h 10000"/>
                <a:gd name="connsiteX2" fmla="*/ 29 w 10000"/>
                <a:gd name="connsiteY2" fmla="*/ 6974 h 10000"/>
                <a:gd name="connsiteX3" fmla="*/ 1072 w 10000"/>
                <a:gd name="connsiteY3" fmla="*/ 9736 h 10000"/>
                <a:gd name="connsiteX4" fmla="*/ 2938 w 10000"/>
                <a:gd name="connsiteY4" fmla="*/ 7852 h 10000"/>
                <a:gd name="connsiteX5" fmla="*/ 4793 w 10000"/>
                <a:gd name="connsiteY5" fmla="*/ 7831 h 10000"/>
                <a:gd name="connsiteX6" fmla="*/ 6068 w 10000"/>
                <a:gd name="connsiteY6" fmla="*/ 9993 h 10000"/>
                <a:gd name="connsiteX7" fmla="*/ 10000 w 10000"/>
                <a:gd name="connsiteY7" fmla="*/ 6326 h 10000"/>
                <a:gd name="connsiteX8" fmla="*/ 9019 w 10000"/>
                <a:gd name="connsiteY8" fmla="*/ 2679 h 10000"/>
                <a:gd name="connsiteX9" fmla="*/ 6918 w 10000"/>
                <a:gd name="connsiteY9" fmla="*/ 766 h 10000"/>
                <a:gd name="connsiteX10" fmla="*/ 3982 w 10000"/>
                <a:gd name="connsiteY10" fmla="*/ 1739 h 10000"/>
                <a:gd name="connsiteX11" fmla="*/ 1020 w 10000"/>
                <a:gd name="connsiteY11" fmla="*/ 0 h 10000"/>
                <a:gd name="connsiteX12" fmla="*/ 2421 w 10000"/>
                <a:gd name="connsiteY12" fmla="*/ 4047 h 10000"/>
                <a:gd name="connsiteX0" fmla="*/ 2421 w 10000"/>
                <a:gd name="connsiteY0" fmla="*/ 3386 h 9339"/>
                <a:gd name="connsiteX1" fmla="*/ 27 w 10000"/>
                <a:gd name="connsiteY1" fmla="*/ 2752 h 9339"/>
                <a:gd name="connsiteX2" fmla="*/ 29 w 10000"/>
                <a:gd name="connsiteY2" fmla="*/ 6313 h 9339"/>
                <a:gd name="connsiteX3" fmla="*/ 1072 w 10000"/>
                <a:gd name="connsiteY3" fmla="*/ 9075 h 9339"/>
                <a:gd name="connsiteX4" fmla="*/ 2938 w 10000"/>
                <a:gd name="connsiteY4" fmla="*/ 7191 h 9339"/>
                <a:gd name="connsiteX5" fmla="*/ 4793 w 10000"/>
                <a:gd name="connsiteY5" fmla="*/ 7170 h 9339"/>
                <a:gd name="connsiteX6" fmla="*/ 6068 w 10000"/>
                <a:gd name="connsiteY6" fmla="*/ 9332 h 9339"/>
                <a:gd name="connsiteX7" fmla="*/ 10000 w 10000"/>
                <a:gd name="connsiteY7" fmla="*/ 5665 h 9339"/>
                <a:gd name="connsiteX8" fmla="*/ 9019 w 10000"/>
                <a:gd name="connsiteY8" fmla="*/ 2018 h 9339"/>
                <a:gd name="connsiteX9" fmla="*/ 6918 w 10000"/>
                <a:gd name="connsiteY9" fmla="*/ 105 h 9339"/>
                <a:gd name="connsiteX10" fmla="*/ 3982 w 10000"/>
                <a:gd name="connsiteY10" fmla="*/ 1078 h 9339"/>
                <a:gd name="connsiteX11" fmla="*/ 2154 w 10000"/>
                <a:gd name="connsiteY11" fmla="*/ 822 h 9339"/>
                <a:gd name="connsiteX12" fmla="*/ 2421 w 10000"/>
                <a:gd name="connsiteY12" fmla="*/ 3386 h 9339"/>
                <a:gd name="connsiteX0" fmla="*/ 2421 w 10000"/>
                <a:gd name="connsiteY0" fmla="*/ 3593 h 9968"/>
                <a:gd name="connsiteX1" fmla="*/ 27 w 10000"/>
                <a:gd name="connsiteY1" fmla="*/ 2914 h 9968"/>
                <a:gd name="connsiteX2" fmla="*/ 29 w 10000"/>
                <a:gd name="connsiteY2" fmla="*/ 6727 h 9968"/>
                <a:gd name="connsiteX3" fmla="*/ 1072 w 10000"/>
                <a:gd name="connsiteY3" fmla="*/ 9684 h 9968"/>
                <a:gd name="connsiteX4" fmla="*/ 2938 w 10000"/>
                <a:gd name="connsiteY4" fmla="*/ 7667 h 9968"/>
                <a:gd name="connsiteX5" fmla="*/ 4793 w 10000"/>
                <a:gd name="connsiteY5" fmla="*/ 7644 h 9968"/>
                <a:gd name="connsiteX6" fmla="*/ 6068 w 10000"/>
                <a:gd name="connsiteY6" fmla="*/ 9960 h 9968"/>
                <a:gd name="connsiteX7" fmla="*/ 10000 w 10000"/>
                <a:gd name="connsiteY7" fmla="*/ 6033 h 9968"/>
                <a:gd name="connsiteX8" fmla="*/ 9019 w 10000"/>
                <a:gd name="connsiteY8" fmla="*/ 2128 h 9968"/>
                <a:gd name="connsiteX9" fmla="*/ 6918 w 10000"/>
                <a:gd name="connsiteY9" fmla="*/ 79 h 9968"/>
                <a:gd name="connsiteX10" fmla="*/ 4832 w 10000"/>
                <a:gd name="connsiteY10" fmla="*/ 2255 h 9968"/>
                <a:gd name="connsiteX11" fmla="*/ 2154 w 10000"/>
                <a:gd name="connsiteY11" fmla="*/ 847 h 9968"/>
                <a:gd name="connsiteX12" fmla="*/ 2421 w 10000"/>
                <a:gd name="connsiteY12" fmla="*/ 3593 h 9968"/>
                <a:gd name="connsiteX0" fmla="*/ 2421 w 10000"/>
                <a:gd name="connsiteY0" fmla="*/ 2755 h 9150"/>
                <a:gd name="connsiteX1" fmla="*/ 27 w 10000"/>
                <a:gd name="connsiteY1" fmla="*/ 2073 h 9150"/>
                <a:gd name="connsiteX2" fmla="*/ 29 w 10000"/>
                <a:gd name="connsiteY2" fmla="*/ 5899 h 9150"/>
                <a:gd name="connsiteX3" fmla="*/ 1072 w 10000"/>
                <a:gd name="connsiteY3" fmla="*/ 8865 h 9150"/>
                <a:gd name="connsiteX4" fmla="*/ 2938 w 10000"/>
                <a:gd name="connsiteY4" fmla="*/ 6842 h 9150"/>
                <a:gd name="connsiteX5" fmla="*/ 4793 w 10000"/>
                <a:gd name="connsiteY5" fmla="*/ 6819 h 9150"/>
                <a:gd name="connsiteX6" fmla="*/ 6068 w 10000"/>
                <a:gd name="connsiteY6" fmla="*/ 9142 h 9150"/>
                <a:gd name="connsiteX7" fmla="*/ 10000 w 10000"/>
                <a:gd name="connsiteY7" fmla="*/ 5202 h 9150"/>
                <a:gd name="connsiteX8" fmla="*/ 9019 w 10000"/>
                <a:gd name="connsiteY8" fmla="*/ 1285 h 9150"/>
                <a:gd name="connsiteX9" fmla="*/ 7202 w 10000"/>
                <a:gd name="connsiteY9" fmla="*/ 139 h 9150"/>
                <a:gd name="connsiteX10" fmla="*/ 4832 w 10000"/>
                <a:gd name="connsiteY10" fmla="*/ 1412 h 9150"/>
                <a:gd name="connsiteX11" fmla="*/ 2154 w 10000"/>
                <a:gd name="connsiteY11" fmla="*/ 0 h 9150"/>
                <a:gd name="connsiteX12" fmla="*/ 2421 w 10000"/>
                <a:gd name="connsiteY12" fmla="*/ 2755 h 9150"/>
                <a:gd name="connsiteX0" fmla="*/ 2421 w 18786"/>
                <a:gd name="connsiteY0" fmla="*/ 3011 h 9999"/>
                <a:gd name="connsiteX1" fmla="*/ 27 w 18786"/>
                <a:gd name="connsiteY1" fmla="*/ 2266 h 9999"/>
                <a:gd name="connsiteX2" fmla="*/ 29 w 18786"/>
                <a:gd name="connsiteY2" fmla="*/ 6447 h 9999"/>
                <a:gd name="connsiteX3" fmla="*/ 1072 w 18786"/>
                <a:gd name="connsiteY3" fmla="*/ 9689 h 9999"/>
                <a:gd name="connsiteX4" fmla="*/ 2938 w 18786"/>
                <a:gd name="connsiteY4" fmla="*/ 7478 h 9999"/>
                <a:gd name="connsiteX5" fmla="*/ 4793 w 18786"/>
                <a:gd name="connsiteY5" fmla="*/ 7452 h 9999"/>
                <a:gd name="connsiteX6" fmla="*/ 6068 w 18786"/>
                <a:gd name="connsiteY6" fmla="*/ 9991 h 9999"/>
                <a:gd name="connsiteX7" fmla="*/ 18786 w 18786"/>
                <a:gd name="connsiteY7" fmla="*/ 7675 h 9999"/>
                <a:gd name="connsiteX8" fmla="*/ 9019 w 18786"/>
                <a:gd name="connsiteY8" fmla="*/ 1404 h 9999"/>
                <a:gd name="connsiteX9" fmla="*/ 7202 w 18786"/>
                <a:gd name="connsiteY9" fmla="*/ 152 h 9999"/>
                <a:gd name="connsiteX10" fmla="*/ 4832 w 18786"/>
                <a:gd name="connsiteY10" fmla="*/ 1543 h 9999"/>
                <a:gd name="connsiteX11" fmla="*/ 2154 w 18786"/>
                <a:gd name="connsiteY11" fmla="*/ 0 h 9999"/>
                <a:gd name="connsiteX12" fmla="*/ 2421 w 18786"/>
                <a:gd name="connsiteY12" fmla="*/ 3011 h 9999"/>
                <a:gd name="connsiteX0" fmla="*/ 1289 w 10000"/>
                <a:gd name="connsiteY0" fmla="*/ 3011 h 10000"/>
                <a:gd name="connsiteX1" fmla="*/ 14 w 10000"/>
                <a:gd name="connsiteY1" fmla="*/ 2266 h 10000"/>
                <a:gd name="connsiteX2" fmla="*/ 15 w 10000"/>
                <a:gd name="connsiteY2" fmla="*/ 6448 h 10000"/>
                <a:gd name="connsiteX3" fmla="*/ 571 w 10000"/>
                <a:gd name="connsiteY3" fmla="*/ 9690 h 10000"/>
                <a:gd name="connsiteX4" fmla="*/ 1564 w 10000"/>
                <a:gd name="connsiteY4" fmla="*/ 7479 h 10000"/>
                <a:gd name="connsiteX5" fmla="*/ 2551 w 10000"/>
                <a:gd name="connsiteY5" fmla="*/ 7453 h 10000"/>
                <a:gd name="connsiteX6" fmla="*/ 3230 w 10000"/>
                <a:gd name="connsiteY6" fmla="*/ 9992 h 10000"/>
                <a:gd name="connsiteX7" fmla="*/ 10000 w 10000"/>
                <a:gd name="connsiteY7" fmla="*/ 7676 h 10000"/>
                <a:gd name="connsiteX8" fmla="*/ 7517 w 10000"/>
                <a:gd name="connsiteY8" fmla="*/ 3892 h 10000"/>
                <a:gd name="connsiteX9" fmla="*/ 3834 w 10000"/>
                <a:gd name="connsiteY9" fmla="*/ 152 h 10000"/>
                <a:gd name="connsiteX10" fmla="*/ 2572 w 10000"/>
                <a:gd name="connsiteY10" fmla="*/ 1543 h 10000"/>
                <a:gd name="connsiteX11" fmla="*/ 1147 w 10000"/>
                <a:gd name="connsiteY11" fmla="*/ 0 h 10000"/>
                <a:gd name="connsiteX12" fmla="*/ 1289 w 10000"/>
                <a:gd name="connsiteY12" fmla="*/ 3011 h 10000"/>
                <a:gd name="connsiteX0" fmla="*/ 1289 w 10000"/>
                <a:gd name="connsiteY0" fmla="*/ 3011 h 10000"/>
                <a:gd name="connsiteX1" fmla="*/ 14 w 10000"/>
                <a:gd name="connsiteY1" fmla="*/ 2266 h 10000"/>
                <a:gd name="connsiteX2" fmla="*/ 15 w 10000"/>
                <a:gd name="connsiteY2" fmla="*/ 6448 h 10000"/>
                <a:gd name="connsiteX3" fmla="*/ 571 w 10000"/>
                <a:gd name="connsiteY3" fmla="*/ 9690 h 10000"/>
                <a:gd name="connsiteX4" fmla="*/ 1564 w 10000"/>
                <a:gd name="connsiteY4" fmla="*/ 7479 h 10000"/>
                <a:gd name="connsiteX5" fmla="*/ 2551 w 10000"/>
                <a:gd name="connsiteY5" fmla="*/ 7453 h 10000"/>
                <a:gd name="connsiteX6" fmla="*/ 3230 w 10000"/>
                <a:gd name="connsiteY6" fmla="*/ 9992 h 10000"/>
                <a:gd name="connsiteX7" fmla="*/ 10000 w 10000"/>
                <a:gd name="connsiteY7" fmla="*/ 7676 h 10000"/>
                <a:gd name="connsiteX8" fmla="*/ 7517 w 10000"/>
                <a:gd name="connsiteY8" fmla="*/ 3892 h 10000"/>
                <a:gd name="connsiteX9" fmla="*/ 4588 w 10000"/>
                <a:gd name="connsiteY9" fmla="*/ 2640 h 10000"/>
                <a:gd name="connsiteX10" fmla="*/ 2572 w 10000"/>
                <a:gd name="connsiteY10" fmla="*/ 1543 h 10000"/>
                <a:gd name="connsiteX11" fmla="*/ 1147 w 10000"/>
                <a:gd name="connsiteY11" fmla="*/ 0 h 10000"/>
                <a:gd name="connsiteX12" fmla="*/ 1289 w 10000"/>
                <a:gd name="connsiteY12" fmla="*/ 3011 h 10000"/>
                <a:gd name="connsiteX0" fmla="*/ 0 w 11125"/>
                <a:gd name="connsiteY0" fmla="*/ 372 h 10098"/>
                <a:gd name="connsiteX1" fmla="*/ 1139 w 11125"/>
                <a:gd name="connsiteY1" fmla="*/ 2364 h 10098"/>
                <a:gd name="connsiteX2" fmla="*/ 1140 w 11125"/>
                <a:gd name="connsiteY2" fmla="*/ 6546 h 10098"/>
                <a:gd name="connsiteX3" fmla="*/ 1696 w 11125"/>
                <a:gd name="connsiteY3" fmla="*/ 9788 h 10098"/>
                <a:gd name="connsiteX4" fmla="*/ 2689 w 11125"/>
                <a:gd name="connsiteY4" fmla="*/ 7577 h 10098"/>
                <a:gd name="connsiteX5" fmla="*/ 3676 w 11125"/>
                <a:gd name="connsiteY5" fmla="*/ 7551 h 10098"/>
                <a:gd name="connsiteX6" fmla="*/ 4355 w 11125"/>
                <a:gd name="connsiteY6" fmla="*/ 10090 h 10098"/>
                <a:gd name="connsiteX7" fmla="*/ 11125 w 11125"/>
                <a:gd name="connsiteY7" fmla="*/ 7774 h 10098"/>
                <a:gd name="connsiteX8" fmla="*/ 8642 w 11125"/>
                <a:gd name="connsiteY8" fmla="*/ 3990 h 10098"/>
                <a:gd name="connsiteX9" fmla="*/ 5713 w 11125"/>
                <a:gd name="connsiteY9" fmla="*/ 2738 h 10098"/>
                <a:gd name="connsiteX10" fmla="*/ 3697 w 11125"/>
                <a:gd name="connsiteY10" fmla="*/ 1641 h 10098"/>
                <a:gd name="connsiteX11" fmla="*/ 2272 w 11125"/>
                <a:gd name="connsiteY11" fmla="*/ 98 h 10098"/>
                <a:gd name="connsiteX12" fmla="*/ 0 w 11125"/>
                <a:gd name="connsiteY12" fmla="*/ 372 h 10098"/>
                <a:gd name="connsiteX0" fmla="*/ 0 w 11125"/>
                <a:gd name="connsiteY0" fmla="*/ 372 h 10098"/>
                <a:gd name="connsiteX1" fmla="*/ 1743 w 11125"/>
                <a:gd name="connsiteY1" fmla="*/ 3857 h 10098"/>
                <a:gd name="connsiteX2" fmla="*/ 1140 w 11125"/>
                <a:gd name="connsiteY2" fmla="*/ 6546 h 10098"/>
                <a:gd name="connsiteX3" fmla="*/ 1696 w 11125"/>
                <a:gd name="connsiteY3" fmla="*/ 9788 h 10098"/>
                <a:gd name="connsiteX4" fmla="*/ 2689 w 11125"/>
                <a:gd name="connsiteY4" fmla="*/ 7577 h 10098"/>
                <a:gd name="connsiteX5" fmla="*/ 3676 w 11125"/>
                <a:gd name="connsiteY5" fmla="*/ 7551 h 10098"/>
                <a:gd name="connsiteX6" fmla="*/ 4355 w 11125"/>
                <a:gd name="connsiteY6" fmla="*/ 10090 h 10098"/>
                <a:gd name="connsiteX7" fmla="*/ 11125 w 11125"/>
                <a:gd name="connsiteY7" fmla="*/ 7774 h 10098"/>
                <a:gd name="connsiteX8" fmla="*/ 8642 w 11125"/>
                <a:gd name="connsiteY8" fmla="*/ 3990 h 10098"/>
                <a:gd name="connsiteX9" fmla="*/ 5713 w 11125"/>
                <a:gd name="connsiteY9" fmla="*/ 2738 h 10098"/>
                <a:gd name="connsiteX10" fmla="*/ 3697 w 11125"/>
                <a:gd name="connsiteY10" fmla="*/ 1641 h 10098"/>
                <a:gd name="connsiteX11" fmla="*/ 2272 w 11125"/>
                <a:gd name="connsiteY11" fmla="*/ 98 h 10098"/>
                <a:gd name="connsiteX12" fmla="*/ 0 w 11125"/>
                <a:gd name="connsiteY12" fmla="*/ 372 h 10098"/>
                <a:gd name="connsiteX0" fmla="*/ 0 w 11125"/>
                <a:gd name="connsiteY0" fmla="*/ 271 h 9997"/>
                <a:gd name="connsiteX1" fmla="*/ 1743 w 11125"/>
                <a:gd name="connsiteY1" fmla="*/ 3756 h 9997"/>
                <a:gd name="connsiteX2" fmla="*/ 1140 w 11125"/>
                <a:gd name="connsiteY2" fmla="*/ 6445 h 9997"/>
                <a:gd name="connsiteX3" fmla="*/ 1696 w 11125"/>
                <a:gd name="connsiteY3" fmla="*/ 9687 h 9997"/>
                <a:gd name="connsiteX4" fmla="*/ 2689 w 11125"/>
                <a:gd name="connsiteY4" fmla="*/ 7476 h 9997"/>
                <a:gd name="connsiteX5" fmla="*/ 3676 w 11125"/>
                <a:gd name="connsiteY5" fmla="*/ 7450 h 9997"/>
                <a:gd name="connsiteX6" fmla="*/ 4355 w 11125"/>
                <a:gd name="connsiteY6" fmla="*/ 9989 h 9997"/>
                <a:gd name="connsiteX7" fmla="*/ 11125 w 11125"/>
                <a:gd name="connsiteY7" fmla="*/ 7673 h 9997"/>
                <a:gd name="connsiteX8" fmla="*/ 8642 w 11125"/>
                <a:gd name="connsiteY8" fmla="*/ 3889 h 9997"/>
                <a:gd name="connsiteX9" fmla="*/ 5713 w 11125"/>
                <a:gd name="connsiteY9" fmla="*/ 2637 h 9997"/>
                <a:gd name="connsiteX10" fmla="*/ 3697 w 11125"/>
                <a:gd name="connsiteY10" fmla="*/ 1540 h 9997"/>
                <a:gd name="connsiteX11" fmla="*/ 2272 w 11125"/>
                <a:gd name="connsiteY11" fmla="*/ 992 h 9997"/>
                <a:gd name="connsiteX12" fmla="*/ 0 w 11125"/>
                <a:gd name="connsiteY12" fmla="*/ 271 h 9997"/>
                <a:gd name="connsiteX0" fmla="*/ 0 w 10000"/>
                <a:gd name="connsiteY0" fmla="*/ 271 h 10000"/>
                <a:gd name="connsiteX1" fmla="*/ 1567 w 10000"/>
                <a:gd name="connsiteY1" fmla="*/ 3757 h 10000"/>
                <a:gd name="connsiteX2" fmla="*/ 1025 w 10000"/>
                <a:gd name="connsiteY2" fmla="*/ 6447 h 10000"/>
                <a:gd name="connsiteX3" fmla="*/ 1524 w 10000"/>
                <a:gd name="connsiteY3" fmla="*/ 9690 h 10000"/>
                <a:gd name="connsiteX4" fmla="*/ 2417 w 10000"/>
                <a:gd name="connsiteY4" fmla="*/ 7478 h 10000"/>
                <a:gd name="connsiteX5" fmla="*/ 3304 w 10000"/>
                <a:gd name="connsiteY5" fmla="*/ 7452 h 10000"/>
                <a:gd name="connsiteX6" fmla="*/ 3915 w 10000"/>
                <a:gd name="connsiteY6" fmla="*/ 9992 h 10000"/>
                <a:gd name="connsiteX7" fmla="*/ 10000 w 10000"/>
                <a:gd name="connsiteY7" fmla="*/ 7675 h 10000"/>
                <a:gd name="connsiteX8" fmla="*/ 7768 w 10000"/>
                <a:gd name="connsiteY8" fmla="*/ 3890 h 10000"/>
                <a:gd name="connsiteX9" fmla="*/ 5135 w 10000"/>
                <a:gd name="connsiteY9" fmla="*/ 2638 h 10000"/>
                <a:gd name="connsiteX10" fmla="*/ 3594 w 10000"/>
                <a:gd name="connsiteY10" fmla="*/ 2784 h 10000"/>
                <a:gd name="connsiteX11" fmla="*/ 2042 w 10000"/>
                <a:gd name="connsiteY11" fmla="*/ 992 h 10000"/>
                <a:gd name="connsiteX12" fmla="*/ 0 w 10000"/>
                <a:gd name="connsiteY12" fmla="*/ 271 h 10000"/>
                <a:gd name="connsiteX0" fmla="*/ 0 w 10000"/>
                <a:gd name="connsiteY0" fmla="*/ 271 h 10000"/>
                <a:gd name="connsiteX1" fmla="*/ 1567 w 10000"/>
                <a:gd name="connsiteY1" fmla="*/ 3757 h 10000"/>
                <a:gd name="connsiteX2" fmla="*/ 1025 w 10000"/>
                <a:gd name="connsiteY2" fmla="*/ 6447 h 10000"/>
                <a:gd name="connsiteX3" fmla="*/ 1524 w 10000"/>
                <a:gd name="connsiteY3" fmla="*/ 9690 h 10000"/>
                <a:gd name="connsiteX4" fmla="*/ 2417 w 10000"/>
                <a:gd name="connsiteY4" fmla="*/ 7478 h 10000"/>
                <a:gd name="connsiteX5" fmla="*/ 3304 w 10000"/>
                <a:gd name="connsiteY5" fmla="*/ 7452 h 10000"/>
                <a:gd name="connsiteX6" fmla="*/ 3915 w 10000"/>
                <a:gd name="connsiteY6" fmla="*/ 9992 h 10000"/>
                <a:gd name="connsiteX7" fmla="*/ 10000 w 10000"/>
                <a:gd name="connsiteY7" fmla="*/ 7675 h 10000"/>
                <a:gd name="connsiteX8" fmla="*/ 7768 w 10000"/>
                <a:gd name="connsiteY8" fmla="*/ 3890 h 10000"/>
                <a:gd name="connsiteX9" fmla="*/ 5949 w 10000"/>
                <a:gd name="connsiteY9" fmla="*/ 3385 h 10000"/>
                <a:gd name="connsiteX10" fmla="*/ 3594 w 10000"/>
                <a:gd name="connsiteY10" fmla="*/ 2784 h 10000"/>
                <a:gd name="connsiteX11" fmla="*/ 2042 w 10000"/>
                <a:gd name="connsiteY11" fmla="*/ 992 h 10000"/>
                <a:gd name="connsiteX12" fmla="*/ 0 w 10000"/>
                <a:gd name="connsiteY12" fmla="*/ 271 h 10000"/>
                <a:gd name="connsiteX0" fmla="*/ 0 w 10000"/>
                <a:gd name="connsiteY0" fmla="*/ 271 h 10000"/>
                <a:gd name="connsiteX1" fmla="*/ 889 w 10000"/>
                <a:gd name="connsiteY1" fmla="*/ 3757 h 10000"/>
                <a:gd name="connsiteX2" fmla="*/ 1025 w 10000"/>
                <a:gd name="connsiteY2" fmla="*/ 6447 h 10000"/>
                <a:gd name="connsiteX3" fmla="*/ 1524 w 10000"/>
                <a:gd name="connsiteY3" fmla="*/ 9690 h 10000"/>
                <a:gd name="connsiteX4" fmla="*/ 2417 w 10000"/>
                <a:gd name="connsiteY4" fmla="*/ 7478 h 10000"/>
                <a:gd name="connsiteX5" fmla="*/ 3304 w 10000"/>
                <a:gd name="connsiteY5" fmla="*/ 7452 h 10000"/>
                <a:gd name="connsiteX6" fmla="*/ 3915 w 10000"/>
                <a:gd name="connsiteY6" fmla="*/ 9992 h 10000"/>
                <a:gd name="connsiteX7" fmla="*/ 10000 w 10000"/>
                <a:gd name="connsiteY7" fmla="*/ 7675 h 10000"/>
                <a:gd name="connsiteX8" fmla="*/ 7768 w 10000"/>
                <a:gd name="connsiteY8" fmla="*/ 3890 h 10000"/>
                <a:gd name="connsiteX9" fmla="*/ 5949 w 10000"/>
                <a:gd name="connsiteY9" fmla="*/ 3385 h 10000"/>
                <a:gd name="connsiteX10" fmla="*/ 3594 w 10000"/>
                <a:gd name="connsiteY10" fmla="*/ 2784 h 10000"/>
                <a:gd name="connsiteX11" fmla="*/ 2042 w 10000"/>
                <a:gd name="connsiteY11" fmla="*/ 992 h 10000"/>
                <a:gd name="connsiteX12" fmla="*/ 0 w 10000"/>
                <a:gd name="connsiteY12" fmla="*/ 271 h 10000"/>
                <a:gd name="connsiteX0" fmla="*/ 0 w 10000"/>
                <a:gd name="connsiteY0" fmla="*/ 271 h 10000"/>
                <a:gd name="connsiteX1" fmla="*/ 889 w 10000"/>
                <a:gd name="connsiteY1" fmla="*/ 3757 h 10000"/>
                <a:gd name="connsiteX2" fmla="*/ 1974 w 10000"/>
                <a:gd name="connsiteY2" fmla="*/ 6198 h 10000"/>
                <a:gd name="connsiteX3" fmla="*/ 1524 w 10000"/>
                <a:gd name="connsiteY3" fmla="*/ 9690 h 10000"/>
                <a:gd name="connsiteX4" fmla="*/ 2417 w 10000"/>
                <a:gd name="connsiteY4" fmla="*/ 7478 h 10000"/>
                <a:gd name="connsiteX5" fmla="*/ 3304 w 10000"/>
                <a:gd name="connsiteY5" fmla="*/ 7452 h 10000"/>
                <a:gd name="connsiteX6" fmla="*/ 3915 w 10000"/>
                <a:gd name="connsiteY6" fmla="*/ 9992 h 10000"/>
                <a:gd name="connsiteX7" fmla="*/ 10000 w 10000"/>
                <a:gd name="connsiteY7" fmla="*/ 7675 h 10000"/>
                <a:gd name="connsiteX8" fmla="*/ 7768 w 10000"/>
                <a:gd name="connsiteY8" fmla="*/ 3890 h 10000"/>
                <a:gd name="connsiteX9" fmla="*/ 5949 w 10000"/>
                <a:gd name="connsiteY9" fmla="*/ 3385 h 10000"/>
                <a:gd name="connsiteX10" fmla="*/ 3594 w 10000"/>
                <a:gd name="connsiteY10" fmla="*/ 2784 h 10000"/>
                <a:gd name="connsiteX11" fmla="*/ 2042 w 10000"/>
                <a:gd name="connsiteY11" fmla="*/ 992 h 10000"/>
                <a:gd name="connsiteX12" fmla="*/ 0 w 10000"/>
                <a:gd name="connsiteY12" fmla="*/ 271 h 10000"/>
                <a:gd name="connsiteX0" fmla="*/ 0 w 10000"/>
                <a:gd name="connsiteY0" fmla="*/ 271 h 10000"/>
                <a:gd name="connsiteX1" fmla="*/ 889 w 10000"/>
                <a:gd name="connsiteY1" fmla="*/ 3757 h 10000"/>
                <a:gd name="connsiteX2" fmla="*/ 1974 w 10000"/>
                <a:gd name="connsiteY2" fmla="*/ 6198 h 10000"/>
                <a:gd name="connsiteX3" fmla="*/ 2417 w 10000"/>
                <a:gd name="connsiteY3" fmla="*/ 7478 h 10000"/>
                <a:gd name="connsiteX4" fmla="*/ 3304 w 10000"/>
                <a:gd name="connsiteY4" fmla="*/ 7452 h 10000"/>
                <a:gd name="connsiteX5" fmla="*/ 3915 w 10000"/>
                <a:gd name="connsiteY5" fmla="*/ 9992 h 10000"/>
                <a:gd name="connsiteX6" fmla="*/ 10000 w 10000"/>
                <a:gd name="connsiteY6" fmla="*/ 7675 h 10000"/>
                <a:gd name="connsiteX7" fmla="*/ 7768 w 10000"/>
                <a:gd name="connsiteY7" fmla="*/ 3890 h 10000"/>
                <a:gd name="connsiteX8" fmla="*/ 5949 w 10000"/>
                <a:gd name="connsiteY8" fmla="*/ 3385 h 10000"/>
                <a:gd name="connsiteX9" fmla="*/ 3594 w 10000"/>
                <a:gd name="connsiteY9" fmla="*/ 2784 h 10000"/>
                <a:gd name="connsiteX10" fmla="*/ 2042 w 10000"/>
                <a:gd name="connsiteY10" fmla="*/ 992 h 10000"/>
                <a:gd name="connsiteX11" fmla="*/ 0 w 10000"/>
                <a:gd name="connsiteY11" fmla="*/ 271 h 10000"/>
                <a:gd name="connsiteX0" fmla="*/ 0 w 10000"/>
                <a:gd name="connsiteY0" fmla="*/ 271 h 9992"/>
                <a:gd name="connsiteX1" fmla="*/ 889 w 10000"/>
                <a:gd name="connsiteY1" fmla="*/ 3757 h 9992"/>
                <a:gd name="connsiteX2" fmla="*/ 1974 w 10000"/>
                <a:gd name="connsiteY2" fmla="*/ 6198 h 9992"/>
                <a:gd name="connsiteX3" fmla="*/ 2417 w 10000"/>
                <a:gd name="connsiteY3" fmla="*/ 7478 h 9992"/>
                <a:gd name="connsiteX4" fmla="*/ 3915 w 10000"/>
                <a:gd name="connsiteY4" fmla="*/ 9992 h 9992"/>
                <a:gd name="connsiteX5" fmla="*/ 10000 w 10000"/>
                <a:gd name="connsiteY5" fmla="*/ 7675 h 9992"/>
                <a:gd name="connsiteX6" fmla="*/ 7768 w 10000"/>
                <a:gd name="connsiteY6" fmla="*/ 3890 h 9992"/>
                <a:gd name="connsiteX7" fmla="*/ 5949 w 10000"/>
                <a:gd name="connsiteY7" fmla="*/ 3385 h 9992"/>
                <a:gd name="connsiteX8" fmla="*/ 3594 w 10000"/>
                <a:gd name="connsiteY8" fmla="*/ 2784 h 9992"/>
                <a:gd name="connsiteX9" fmla="*/ 2042 w 10000"/>
                <a:gd name="connsiteY9" fmla="*/ 992 h 9992"/>
                <a:gd name="connsiteX10" fmla="*/ 0 w 10000"/>
                <a:gd name="connsiteY10" fmla="*/ 271 h 9992"/>
                <a:gd name="connsiteX0" fmla="*/ 0 w 10000"/>
                <a:gd name="connsiteY0" fmla="*/ 271 h 10000"/>
                <a:gd name="connsiteX1" fmla="*/ 889 w 10000"/>
                <a:gd name="connsiteY1" fmla="*/ 3760 h 10000"/>
                <a:gd name="connsiteX2" fmla="*/ 1974 w 10000"/>
                <a:gd name="connsiteY2" fmla="*/ 6203 h 10000"/>
                <a:gd name="connsiteX3" fmla="*/ 2417 w 10000"/>
                <a:gd name="connsiteY3" fmla="*/ 8729 h 10000"/>
                <a:gd name="connsiteX4" fmla="*/ 3915 w 10000"/>
                <a:gd name="connsiteY4" fmla="*/ 10000 h 10000"/>
                <a:gd name="connsiteX5" fmla="*/ 10000 w 10000"/>
                <a:gd name="connsiteY5" fmla="*/ 7681 h 10000"/>
                <a:gd name="connsiteX6" fmla="*/ 7768 w 10000"/>
                <a:gd name="connsiteY6" fmla="*/ 3893 h 10000"/>
                <a:gd name="connsiteX7" fmla="*/ 5949 w 10000"/>
                <a:gd name="connsiteY7" fmla="*/ 3388 h 10000"/>
                <a:gd name="connsiteX8" fmla="*/ 3594 w 10000"/>
                <a:gd name="connsiteY8" fmla="*/ 2786 h 10000"/>
                <a:gd name="connsiteX9" fmla="*/ 2042 w 10000"/>
                <a:gd name="connsiteY9" fmla="*/ 993 h 10000"/>
                <a:gd name="connsiteX10" fmla="*/ 0 w 10000"/>
                <a:gd name="connsiteY10" fmla="*/ 271 h 10000"/>
                <a:gd name="connsiteX0" fmla="*/ 0 w 9864"/>
                <a:gd name="connsiteY0" fmla="*/ 373 h 9106"/>
                <a:gd name="connsiteX1" fmla="*/ 753 w 9864"/>
                <a:gd name="connsiteY1" fmla="*/ 2866 h 9106"/>
                <a:gd name="connsiteX2" fmla="*/ 1838 w 9864"/>
                <a:gd name="connsiteY2" fmla="*/ 5309 h 9106"/>
                <a:gd name="connsiteX3" fmla="*/ 2281 w 9864"/>
                <a:gd name="connsiteY3" fmla="*/ 7835 h 9106"/>
                <a:gd name="connsiteX4" fmla="*/ 3779 w 9864"/>
                <a:gd name="connsiteY4" fmla="*/ 9106 h 9106"/>
                <a:gd name="connsiteX5" fmla="*/ 9864 w 9864"/>
                <a:gd name="connsiteY5" fmla="*/ 6787 h 9106"/>
                <a:gd name="connsiteX6" fmla="*/ 7632 w 9864"/>
                <a:gd name="connsiteY6" fmla="*/ 2999 h 9106"/>
                <a:gd name="connsiteX7" fmla="*/ 5813 w 9864"/>
                <a:gd name="connsiteY7" fmla="*/ 2494 h 9106"/>
                <a:gd name="connsiteX8" fmla="*/ 3458 w 9864"/>
                <a:gd name="connsiteY8" fmla="*/ 1892 h 9106"/>
                <a:gd name="connsiteX9" fmla="*/ 1906 w 9864"/>
                <a:gd name="connsiteY9" fmla="*/ 99 h 9106"/>
                <a:gd name="connsiteX10" fmla="*/ 0 w 9864"/>
                <a:gd name="connsiteY10" fmla="*/ 373 h 9106"/>
                <a:gd name="connsiteX0" fmla="*/ 0 w 10000"/>
                <a:gd name="connsiteY0" fmla="*/ 409 h 9002"/>
                <a:gd name="connsiteX1" fmla="*/ 763 w 10000"/>
                <a:gd name="connsiteY1" fmla="*/ 3146 h 9002"/>
                <a:gd name="connsiteX2" fmla="*/ 1863 w 10000"/>
                <a:gd name="connsiteY2" fmla="*/ 5829 h 9002"/>
                <a:gd name="connsiteX3" fmla="*/ 2312 w 10000"/>
                <a:gd name="connsiteY3" fmla="*/ 8603 h 9002"/>
                <a:gd name="connsiteX4" fmla="*/ 3968 w 10000"/>
                <a:gd name="connsiteY4" fmla="*/ 8905 h 9002"/>
                <a:gd name="connsiteX5" fmla="*/ 10000 w 10000"/>
                <a:gd name="connsiteY5" fmla="*/ 7452 h 9002"/>
                <a:gd name="connsiteX6" fmla="*/ 7737 w 10000"/>
                <a:gd name="connsiteY6" fmla="*/ 3292 h 9002"/>
                <a:gd name="connsiteX7" fmla="*/ 5893 w 10000"/>
                <a:gd name="connsiteY7" fmla="*/ 2738 h 9002"/>
                <a:gd name="connsiteX8" fmla="*/ 3506 w 10000"/>
                <a:gd name="connsiteY8" fmla="*/ 2077 h 9002"/>
                <a:gd name="connsiteX9" fmla="*/ 1932 w 10000"/>
                <a:gd name="connsiteY9" fmla="*/ 108 h 9002"/>
                <a:gd name="connsiteX10" fmla="*/ 0 w 10000"/>
                <a:gd name="connsiteY10" fmla="*/ 409 h 9002"/>
                <a:gd name="connsiteX0" fmla="*/ 0 w 10000"/>
                <a:gd name="connsiteY0" fmla="*/ 454 h 9892"/>
                <a:gd name="connsiteX1" fmla="*/ 763 w 10000"/>
                <a:gd name="connsiteY1" fmla="*/ 3495 h 9892"/>
                <a:gd name="connsiteX2" fmla="*/ 1863 w 10000"/>
                <a:gd name="connsiteY2" fmla="*/ 6475 h 9892"/>
                <a:gd name="connsiteX3" fmla="*/ 2862 w 10000"/>
                <a:gd name="connsiteY3" fmla="*/ 8038 h 9892"/>
                <a:gd name="connsiteX4" fmla="*/ 3968 w 10000"/>
                <a:gd name="connsiteY4" fmla="*/ 9892 h 9892"/>
                <a:gd name="connsiteX5" fmla="*/ 10000 w 10000"/>
                <a:gd name="connsiteY5" fmla="*/ 8278 h 9892"/>
                <a:gd name="connsiteX6" fmla="*/ 7737 w 10000"/>
                <a:gd name="connsiteY6" fmla="*/ 3657 h 9892"/>
                <a:gd name="connsiteX7" fmla="*/ 5893 w 10000"/>
                <a:gd name="connsiteY7" fmla="*/ 3042 h 9892"/>
                <a:gd name="connsiteX8" fmla="*/ 3506 w 10000"/>
                <a:gd name="connsiteY8" fmla="*/ 2307 h 9892"/>
                <a:gd name="connsiteX9" fmla="*/ 1932 w 10000"/>
                <a:gd name="connsiteY9" fmla="*/ 120 h 9892"/>
                <a:gd name="connsiteX10" fmla="*/ 0 w 10000"/>
                <a:gd name="connsiteY10" fmla="*/ 454 h 9892"/>
                <a:gd name="connsiteX0" fmla="*/ 0 w 10000"/>
                <a:gd name="connsiteY0" fmla="*/ 459 h 10000"/>
                <a:gd name="connsiteX1" fmla="*/ 763 w 10000"/>
                <a:gd name="connsiteY1" fmla="*/ 3533 h 10000"/>
                <a:gd name="connsiteX2" fmla="*/ 2275 w 10000"/>
                <a:gd name="connsiteY2" fmla="*/ 6546 h 10000"/>
                <a:gd name="connsiteX3" fmla="*/ 2862 w 10000"/>
                <a:gd name="connsiteY3" fmla="*/ 8126 h 10000"/>
                <a:gd name="connsiteX4" fmla="*/ 3968 w 10000"/>
                <a:gd name="connsiteY4" fmla="*/ 10000 h 10000"/>
                <a:gd name="connsiteX5" fmla="*/ 10000 w 10000"/>
                <a:gd name="connsiteY5" fmla="*/ 8368 h 10000"/>
                <a:gd name="connsiteX6" fmla="*/ 7737 w 10000"/>
                <a:gd name="connsiteY6" fmla="*/ 3697 h 10000"/>
                <a:gd name="connsiteX7" fmla="*/ 5893 w 10000"/>
                <a:gd name="connsiteY7" fmla="*/ 3075 h 10000"/>
                <a:gd name="connsiteX8" fmla="*/ 3506 w 10000"/>
                <a:gd name="connsiteY8" fmla="*/ 2332 h 10000"/>
                <a:gd name="connsiteX9" fmla="*/ 1932 w 10000"/>
                <a:gd name="connsiteY9" fmla="*/ 121 h 10000"/>
                <a:gd name="connsiteX10" fmla="*/ 0 w 10000"/>
                <a:gd name="connsiteY10" fmla="*/ 459 h 10000"/>
                <a:gd name="connsiteX0" fmla="*/ 0 w 10000"/>
                <a:gd name="connsiteY0" fmla="*/ 459 h 10000"/>
                <a:gd name="connsiteX1" fmla="*/ 763 w 10000"/>
                <a:gd name="connsiteY1" fmla="*/ 3533 h 10000"/>
                <a:gd name="connsiteX2" fmla="*/ 2825 w 10000"/>
                <a:gd name="connsiteY2" fmla="*/ 6546 h 10000"/>
                <a:gd name="connsiteX3" fmla="*/ 2862 w 10000"/>
                <a:gd name="connsiteY3" fmla="*/ 8126 h 10000"/>
                <a:gd name="connsiteX4" fmla="*/ 3968 w 10000"/>
                <a:gd name="connsiteY4" fmla="*/ 10000 h 10000"/>
                <a:gd name="connsiteX5" fmla="*/ 10000 w 10000"/>
                <a:gd name="connsiteY5" fmla="*/ 8368 h 10000"/>
                <a:gd name="connsiteX6" fmla="*/ 7737 w 10000"/>
                <a:gd name="connsiteY6" fmla="*/ 3697 h 10000"/>
                <a:gd name="connsiteX7" fmla="*/ 5893 w 10000"/>
                <a:gd name="connsiteY7" fmla="*/ 3075 h 10000"/>
                <a:gd name="connsiteX8" fmla="*/ 3506 w 10000"/>
                <a:gd name="connsiteY8" fmla="*/ 2332 h 10000"/>
                <a:gd name="connsiteX9" fmla="*/ 1932 w 10000"/>
                <a:gd name="connsiteY9" fmla="*/ 121 h 10000"/>
                <a:gd name="connsiteX10" fmla="*/ 0 w 10000"/>
                <a:gd name="connsiteY10" fmla="*/ 459 h 10000"/>
                <a:gd name="connsiteX0" fmla="*/ 0 w 10000"/>
                <a:gd name="connsiteY0" fmla="*/ 459 h 10000"/>
                <a:gd name="connsiteX1" fmla="*/ 1450 w 10000"/>
                <a:gd name="connsiteY1" fmla="*/ 2919 h 10000"/>
                <a:gd name="connsiteX2" fmla="*/ 2825 w 10000"/>
                <a:gd name="connsiteY2" fmla="*/ 6546 h 10000"/>
                <a:gd name="connsiteX3" fmla="*/ 2862 w 10000"/>
                <a:gd name="connsiteY3" fmla="*/ 8126 h 10000"/>
                <a:gd name="connsiteX4" fmla="*/ 3968 w 10000"/>
                <a:gd name="connsiteY4" fmla="*/ 10000 h 10000"/>
                <a:gd name="connsiteX5" fmla="*/ 10000 w 10000"/>
                <a:gd name="connsiteY5" fmla="*/ 8368 h 10000"/>
                <a:gd name="connsiteX6" fmla="*/ 7737 w 10000"/>
                <a:gd name="connsiteY6" fmla="*/ 3697 h 10000"/>
                <a:gd name="connsiteX7" fmla="*/ 5893 w 10000"/>
                <a:gd name="connsiteY7" fmla="*/ 3075 h 10000"/>
                <a:gd name="connsiteX8" fmla="*/ 3506 w 10000"/>
                <a:gd name="connsiteY8" fmla="*/ 2332 h 10000"/>
                <a:gd name="connsiteX9" fmla="*/ 1932 w 10000"/>
                <a:gd name="connsiteY9" fmla="*/ 121 h 10000"/>
                <a:gd name="connsiteX10" fmla="*/ 0 w 10000"/>
                <a:gd name="connsiteY10" fmla="*/ 459 h 10000"/>
                <a:gd name="connsiteX0" fmla="*/ 0 w 10000"/>
                <a:gd name="connsiteY0" fmla="*/ 459 h 10000"/>
                <a:gd name="connsiteX1" fmla="*/ 762 w 10000"/>
                <a:gd name="connsiteY1" fmla="*/ 3840 h 10000"/>
                <a:gd name="connsiteX2" fmla="*/ 2825 w 10000"/>
                <a:gd name="connsiteY2" fmla="*/ 6546 h 10000"/>
                <a:gd name="connsiteX3" fmla="*/ 2862 w 10000"/>
                <a:gd name="connsiteY3" fmla="*/ 8126 h 10000"/>
                <a:gd name="connsiteX4" fmla="*/ 3968 w 10000"/>
                <a:gd name="connsiteY4" fmla="*/ 10000 h 10000"/>
                <a:gd name="connsiteX5" fmla="*/ 10000 w 10000"/>
                <a:gd name="connsiteY5" fmla="*/ 8368 h 10000"/>
                <a:gd name="connsiteX6" fmla="*/ 7737 w 10000"/>
                <a:gd name="connsiteY6" fmla="*/ 3697 h 10000"/>
                <a:gd name="connsiteX7" fmla="*/ 5893 w 10000"/>
                <a:gd name="connsiteY7" fmla="*/ 3075 h 10000"/>
                <a:gd name="connsiteX8" fmla="*/ 3506 w 10000"/>
                <a:gd name="connsiteY8" fmla="*/ 2332 h 10000"/>
                <a:gd name="connsiteX9" fmla="*/ 1932 w 10000"/>
                <a:gd name="connsiteY9" fmla="*/ 121 h 10000"/>
                <a:gd name="connsiteX10" fmla="*/ 0 w 10000"/>
                <a:gd name="connsiteY10" fmla="*/ 459 h 10000"/>
                <a:gd name="connsiteX0" fmla="*/ 0 w 10000"/>
                <a:gd name="connsiteY0" fmla="*/ 459 h 10000"/>
                <a:gd name="connsiteX1" fmla="*/ 1174 w 10000"/>
                <a:gd name="connsiteY1" fmla="*/ 3533 h 10000"/>
                <a:gd name="connsiteX2" fmla="*/ 2825 w 10000"/>
                <a:gd name="connsiteY2" fmla="*/ 6546 h 10000"/>
                <a:gd name="connsiteX3" fmla="*/ 2862 w 10000"/>
                <a:gd name="connsiteY3" fmla="*/ 8126 h 10000"/>
                <a:gd name="connsiteX4" fmla="*/ 3968 w 10000"/>
                <a:gd name="connsiteY4" fmla="*/ 10000 h 10000"/>
                <a:gd name="connsiteX5" fmla="*/ 10000 w 10000"/>
                <a:gd name="connsiteY5" fmla="*/ 8368 h 10000"/>
                <a:gd name="connsiteX6" fmla="*/ 7737 w 10000"/>
                <a:gd name="connsiteY6" fmla="*/ 3697 h 10000"/>
                <a:gd name="connsiteX7" fmla="*/ 5893 w 10000"/>
                <a:gd name="connsiteY7" fmla="*/ 3075 h 10000"/>
                <a:gd name="connsiteX8" fmla="*/ 3506 w 10000"/>
                <a:gd name="connsiteY8" fmla="*/ 2332 h 10000"/>
                <a:gd name="connsiteX9" fmla="*/ 1932 w 10000"/>
                <a:gd name="connsiteY9" fmla="*/ 121 h 10000"/>
                <a:gd name="connsiteX10" fmla="*/ 0 w 10000"/>
                <a:gd name="connsiteY10" fmla="*/ 459 h 10000"/>
                <a:gd name="connsiteX0" fmla="*/ 0 w 10000"/>
                <a:gd name="connsiteY0" fmla="*/ 459 h 10000"/>
                <a:gd name="connsiteX1" fmla="*/ 1174 w 10000"/>
                <a:gd name="connsiteY1" fmla="*/ 3533 h 10000"/>
                <a:gd name="connsiteX2" fmla="*/ 2862 w 10000"/>
                <a:gd name="connsiteY2" fmla="*/ 8126 h 10000"/>
                <a:gd name="connsiteX3" fmla="*/ 3968 w 10000"/>
                <a:gd name="connsiteY3" fmla="*/ 10000 h 10000"/>
                <a:gd name="connsiteX4" fmla="*/ 10000 w 10000"/>
                <a:gd name="connsiteY4" fmla="*/ 8368 h 10000"/>
                <a:gd name="connsiteX5" fmla="*/ 7737 w 10000"/>
                <a:gd name="connsiteY5" fmla="*/ 3697 h 10000"/>
                <a:gd name="connsiteX6" fmla="*/ 5893 w 10000"/>
                <a:gd name="connsiteY6" fmla="*/ 3075 h 10000"/>
                <a:gd name="connsiteX7" fmla="*/ 3506 w 10000"/>
                <a:gd name="connsiteY7" fmla="*/ 2332 h 10000"/>
                <a:gd name="connsiteX8" fmla="*/ 1932 w 10000"/>
                <a:gd name="connsiteY8" fmla="*/ 121 h 10000"/>
                <a:gd name="connsiteX9" fmla="*/ 0 w 10000"/>
                <a:gd name="connsiteY9" fmla="*/ 459 h 10000"/>
                <a:gd name="connsiteX0" fmla="*/ 0 w 10000"/>
                <a:gd name="connsiteY0" fmla="*/ 459 h 11229"/>
                <a:gd name="connsiteX1" fmla="*/ 1174 w 10000"/>
                <a:gd name="connsiteY1" fmla="*/ 3533 h 11229"/>
                <a:gd name="connsiteX2" fmla="*/ 2862 w 10000"/>
                <a:gd name="connsiteY2" fmla="*/ 8126 h 11229"/>
                <a:gd name="connsiteX3" fmla="*/ 9605 w 10000"/>
                <a:gd name="connsiteY3" fmla="*/ 11229 h 11229"/>
                <a:gd name="connsiteX4" fmla="*/ 10000 w 10000"/>
                <a:gd name="connsiteY4" fmla="*/ 8368 h 11229"/>
                <a:gd name="connsiteX5" fmla="*/ 7737 w 10000"/>
                <a:gd name="connsiteY5" fmla="*/ 3697 h 11229"/>
                <a:gd name="connsiteX6" fmla="*/ 5893 w 10000"/>
                <a:gd name="connsiteY6" fmla="*/ 3075 h 11229"/>
                <a:gd name="connsiteX7" fmla="*/ 3506 w 10000"/>
                <a:gd name="connsiteY7" fmla="*/ 2332 h 11229"/>
                <a:gd name="connsiteX8" fmla="*/ 1932 w 10000"/>
                <a:gd name="connsiteY8" fmla="*/ 121 h 11229"/>
                <a:gd name="connsiteX9" fmla="*/ 0 w 10000"/>
                <a:gd name="connsiteY9" fmla="*/ 459 h 11229"/>
                <a:gd name="connsiteX0" fmla="*/ 0 w 10000"/>
                <a:gd name="connsiteY0" fmla="*/ 459 h 11229"/>
                <a:gd name="connsiteX1" fmla="*/ 1174 w 10000"/>
                <a:gd name="connsiteY1" fmla="*/ 3533 h 11229"/>
                <a:gd name="connsiteX2" fmla="*/ 8087 w 10000"/>
                <a:gd name="connsiteY2" fmla="*/ 9355 h 11229"/>
                <a:gd name="connsiteX3" fmla="*/ 9605 w 10000"/>
                <a:gd name="connsiteY3" fmla="*/ 11229 h 11229"/>
                <a:gd name="connsiteX4" fmla="*/ 10000 w 10000"/>
                <a:gd name="connsiteY4" fmla="*/ 8368 h 11229"/>
                <a:gd name="connsiteX5" fmla="*/ 7737 w 10000"/>
                <a:gd name="connsiteY5" fmla="*/ 3697 h 11229"/>
                <a:gd name="connsiteX6" fmla="*/ 5893 w 10000"/>
                <a:gd name="connsiteY6" fmla="*/ 3075 h 11229"/>
                <a:gd name="connsiteX7" fmla="*/ 3506 w 10000"/>
                <a:gd name="connsiteY7" fmla="*/ 2332 h 11229"/>
                <a:gd name="connsiteX8" fmla="*/ 1932 w 10000"/>
                <a:gd name="connsiteY8" fmla="*/ 121 h 11229"/>
                <a:gd name="connsiteX9" fmla="*/ 0 w 10000"/>
                <a:gd name="connsiteY9" fmla="*/ 459 h 11229"/>
                <a:gd name="connsiteX0" fmla="*/ 0 w 10000"/>
                <a:gd name="connsiteY0" fmla="*/ 459 h 11229"/>
                <a:gd name="connsiteX1" fmla="*/ 1174 w 10000"/>
                <a:gd name="connsiteY1" fmla="*/ 3533 h 11229"/>
                <a:gd name="connsiteX2" fmla="*/ 3900 w 10000"/>
                <a:gd name="connsiteY2" fmla="*/ 5636 h 11229"/>
                <a:gd name="connsiteX3" fmla="*/ 8087 w 10000"/>
                <a:gd name="connsiteY3" fmla="*/ 9355 h 11229"/>
                <a:gd name="connsiteX4" fmla="*/ 9605 w 10000"/>
                <a:gd name="connsiteY4" fmla="*/ 11229 h 11229"/>
                <a:gd name="connsiteX5" fmla="*/ 10000 w 10000"/>
                <a:gd name="connsiteY5" fmla="*/ 8368 h 11229"/>
                <a:gd name="connsiteX6" fmla="*/ 7737 w 10000"/>
                <a:gd name="connsiteY6" fmla="*/ 3697 h 11229"/>
                <a:gd name="connsiteX7" fmla="*/ 5893 w 10000"/>
                <a:gd name="connsiteY7" fmla="*/ 3075 h 11229"/>
                <a:gd name="connsiteX8" fmla="*/ 3506 w 10000"/>
                <a:gd name="connsiteY8" fmla="*/ 2332 h 11229"/>
                <a:gd name="connsiteX9" fmla="*/ 1932 w 10000"/>
                <a:gd name="connsiteY9" fmla="*/ 121 h 11229"/>
                <a:gd name="connsiteX10" fmla="*/ 0 w 10000"/>
                <a:gd name="connsiteY10" fmla="*/ 459 h 11229"/>
                <a:gd name="connsiteX0" fmla="*/ 0 w 10000"/>
                <a:gd name="connsiteY0" fmla="*/ 459 h 11229"/>
                <a:gd name="connsiteX1" fmla="*/ 1174 w 10000"/>
                <a:gd name="connsiteY1" fmla="*/ 3533 h 11229"/>
                <a:gd name="connsiteX2" fmla="*/ 3900 w 10000"/>
                <a:gd name="connsiteY2" fmla="*/ 5636 h 11229"/>
                <a:gd name="connsiteX3" fmla="*/ 4862 w 10000"/>
                <a:gd name="connsiteY3" fmla="*/ 10243 h 11229"/>
                <a:gd name="connsiteX4" fmla="*/ 8087 w 10000"/>
                <a:gd name="connsiteY4" fmla="*/ 9355 h 11229"/>
                <a:gd name="connsiteX5" fmla="*/ 9605 w 10000"/>
                <a:gd name="connsiteY5" fmla="*/ 11229 h 11229"/>
                <a:gd name="connsiteX6" fmla="*/ 10000 w 10000"/>
                <a:gd name="connsiteY6" fmla="*/ 8368 h 11229"/>
                <a:gd name="connsiteX7" fmla="*/ 7737 w 10000"/>
                <a:gd name="connsiteY7" fmla="*/ 3697 h 11229"/>
                <a:gd name="connsiteX8" fmla="*/ 5893 w 10000"/>
                <a:gd name="connsiteY8" fmla="*/ 3075 h 11229"/>
                <a:gd name="connsiteX9" fmla="*/ 3506 w 10000"/>
                <a:gd name="connsiteY9" fmla="*/ 2332 h 11229"/>
                <a:gd name="connsiteX10" fmla="*/ 1932 w 10000"/>
                <a:gd name="connsiteY10" fmla="*/ 121 h 11229"/>
                <a:gd name="connsiteX11" fmla="*/ 0 w 10000"/>
                <a:gd name="connsiteY11" fmla="*/ 459 h 11229"/>
                <a:gd name="connsiteX0" fmla="*/ 0 w 10000"/>
                <a:gd name="connsiteY0" fmla="*/ 459 h 11229"/>
                <a:gd name="connsiteX1" fmla="*/ 1174 w 10000"/>
                <a:gd name="connsiteY1" fmla="*/ 3533 h 11229"/>
                <a:gd name="connsiteX2" fmla="*/ 3900 w 10000"/>
                <a:gd name="connsiteY2" fmla="*/ 5636 h 11229"/>
                <a:gd name="connsiteX3" fmla="*/ 4862 w 10000"/>
                <a:gd name="connsiteY3" fmla="*/ 10243 h 11229"/>
                <a:gd name="connsiteX4" fmla="*/ 8087 w 10000"/>
                <a:gd name="connsiteY4" fmla="*/ 9355 h 11229"/>
                <a:gd name="connsiteX5" fmla="*/ 9605 w 10000"/>
                <a:gd name="connsiteY5" fmla="*/ 11229 h 11229"/>
                <a:gd name="connsiteX6" fmla="*/ 10000 w 10000"/>
                <a:gd name="connsiteY6" fmla="*/ 8368 h 11229"/>
                <a:gd name="connsiteX7" fmla="*/ 7737 w 10000"/>
                <a:gd name="connsiteY7" fmla="*/ 3697 h 11229"/>
                <a:gd name="connsiteX8" fmla="*/ 5893 w 10000"/>
                <a:gd name="connsiteY8" fmla="*/ 3075 h 11229"/>
                <a:gd name="connsiteX9" fmla="*/ 3506 w 10000"/>
                <a:gd name="connsiteY9" fmla="*/ 2332 h 11229"/>
                <a:gd name="connsiteX10" fmla="*/ 1932 w 10000"/>
                <a:gd name="connsiteY10" fmla="*/ 121 h 11229"/>
                <a:gd name="connsiteX11" fmla="*/ 0 w 10000"/>
                <a:gd name="connsiteY11" fmla="*/ 459 h 11229"/>
                <a:gd name="connsiteX0" fmla="*/ 0 w 10000"/>
                <a:gd name="connsiteY0" fmla="*/ 459 h 11229"/>
                <a:gd name="connsiteX1" fmla="*/ 1174 w 10000"/>
                <a:gd name="connsiteY1" fmla="*/ 3533 h 11229"/>
                <a:gd name="connsiteX2" fmla="*/ 3900 w 10000"/>
                <a:gd name="connsiteY2" fmla="*/ 5636 h 11229"/>
                <a:gd name="connsiteX3" fmla="*/ 4862 w 10000"/>
                <a:gd name="connsiteY3" fmla="*/ 10243 h 11229"/>
                <a:gd name="connsiteX4" fmla="*/ 8087 w 10000"/>
                <a:gd name="connsiteY4" fmla="*/ 9355 h 11229"/>
                <a:gd name="connsiteX5" fmla="*/ 9605 w 10000"/>
                <a:gd name="connsiteY5" fmla="*/ 11229 h 11229"/>
                <a:gd name="connsiteX6" fmla="*/ 10000 w 10000"/>
                <a:gd name="connsiteY6" fmla="*/ 8368 h 11229"/>
                <a:gd name="connsiteX7" fmla="*/ 7737 w 10000"/>
                <a:gd name="connsiteY7" fmla="*/ 3697 h 11229"/>
                <a:gd name="connsiteX8" fmla="*/ 5893 w 10000"/>
                <a:gd name="connsiteY8" fmla="*/ 3075 h 11229"/>
                <a:gd name="connsiteX9" fmla="*/ 3506 w 10000"/>
                <a:gd name="connsiteY9" fmla="*/ 2332 h 11229"/>
                <a:gd name="connsiteX10" fmla="*/ 1932 w 10000"/>
                <a:gd name="connsiteY10" fmla="*/ 121 h 11229"/>
                <a:gd name="connsiteX11" fmla="*/ 0 w 10000"/>
                <a:gd name="connsiteY11" fmla="*/ 459 h 11229"/>
                <a:gd name="connsiteX0" fmla="*/ 0 w 10000"/>
                <a:gd name="connsiteY0" fmla="*/ 459 h 11229"/>
                <a:gd name="connsiteX1" fmla="*/ 1174 w 10000"/>
                <a:gd name="connsiteY1" fmla="*/ 3533 h 11229"/>
                <a:gd name="connsiteX2" fmla="*/ 3900 w 10000"/>
                <a:gd name="connsiteY2" fmla="*/ 5636 h 11229"/>
                <a:gd name="connsiteX3" fmla="*/ 4862 w 10000"/>
                <a:gd name="connsiteY3" fmla="*/ 10243 h 11229"/>
                <a:gd name="connsiteX4" fmla="*/ 8087 w 10000"/>
                <a:gd name="connsiteY4" fmla="*/ 9355 h 11229"/>
                <a:gd name="connsiteX5" fmla="*/ 9605 w 10000"/>
                <a:gd name="connsiteY5" fmla="*/ 11229 h 11229"/>
                <a:gd name="connsiteX6" fmla="*/ 10000 w 10000"/>
                <a:gd name="connsiteY6" fmla="*/ 8368 h 11229"/>
                <a:gd name="connsiteX7" fmla="*/ 7737 w 10000"/>
                <a:gd name="connsiteY7" fmla="*/ 3697 h 11229"/>
                <a:gd name="connsiteX8" fmla="*/ 5893 w 10000"/>
                <a:gd name="connsiteY8" fmla="*/ 3075 h 11229"/>
                <a:gd name="connsiteX9" fmla="*/ 3506 w 10000"/>
                <a:gd name="connsiteY9" fmla="*/ 2332 h 11229"/>
                <a:gd name="connsiteX10" fmla="*/ 1932 w 10000"/>
                <a:gd name="connsiteY10" fmla="*/ 121 h 11229"/>
                <a:gd name="connsiteX11" fmla="*/ 0 w 10000"/>
                <a:gd name="connsiteY11" fmla="*/ 459 h 11229"/>
                <a:gd name="connsiteX0" fmla="*/ 0 w 10000"/>
                <a:gd name="connsiteY0" fmla="*/ 338 h 11108"/>
                <a:gd name="connsiteX1" fmla="*/ 1174 w 10000"/>
                <a:gd name="connsiteY1" fmla="*/ 3412 h 11108"/>
                <a:gd name="connsiteX2" fmla="*/ 3900 w 10000"/>
                <a:gd name="connsiteY2" fmla="*/ 5515 h 11108"/>
                <a:gd name="connsiteX3" fmla="*/ 4862 w 10000"/>
                <a:gd name="connsiteY3" fmla="*/ 10122 h 11108"/>
                <a:gd name="connsiteX4" fmla="*/ 8087 w 10000"/>
                <a:gd name="connsiteY4" fmla="*/ 9234 h 11108"/>
                <a:gd name="connsiteX5" fmla="*/ 9605 w 10000"/>
                <a:gd name="connsiteY5" fmla="*/ 11108 h 11108"/>
                <a:gd name="connsiteX6" fmla="*/ 10000 w 10000"/>
                <a:gd name="connsiteY6" fmla="*/ 8247 h 11108"/>
                <a:gd name="connsiteX7" fmla="*/ 7737 w 10000"/>
                <a:gd name="connsiteY7" fmla="*/ 3576 h 11108"/>
                <a:gd name="connsiteX8" fmla="*/ 5893 w 10000"/>
                <a:gd name="connsiteY8" fmla="*/ 2954 h 11108"/>
                <a:gd name="connsiteX9" fmla="*/ 3506 w 10000"/>
                <a:gd name="connsiteY9" fmla="*/ 2211 h 11108"/>
                <a:gd name="connsiteX10" fmla="*/ 1932 w 10000"/>
                <a:gd name="connsiteY10" fmla="*/ 0 h 11108"/>
                <a:gd name="connsiteX11" fmla="*/ 0 w 10000"/>
                <a:gd name="connsiteY11" fmla="*/ 338 h 11108"/>
                <a:gd name="connsiteX0" fmla="*/ 0 w 10000"/>
                <a:gd name="connsiteY0" fmla="*/ 338 h 11108"/>
                <a:gd name="connsiteX1" fmla="*/ 1312 w 10000"/>
                <a:gd name="connsiteY1" fmla="*/ 4641 h 11108"/>
                <a:gd name="connsiteX2" fmla="*/ 3900 w 10000"/>
                <a:gd name="connsiteY2" fmla="*/ 5515 h 11108"/>
                <a:gd name="connsiteX3" fmla="*/ 4862 w 10000"/>
                <a:gd name="connsiteY3" fmla="*/ 10122 h 11108"/>
                <a:gd name="connsiteX4" fmla="*/ 8087 w 10000"/>
                <a:gd name="connsiteY4" fmla="*/ 9234 h 11108"/>
                <a:gd name="connsiteX5" fmla="*/ 9605 w 10000"/>
                <a:gd name="connsiteY5" fmla="*/ 11108 h 11108"/>
                <a:gd name="connsiteX6" fmla="*/ 10000 w 10000"/>
                <a:gd name="connsiteY6" fmla="*/ 8247 h 11108"/>
                <a:gd name="connsiteX7" fmla="*/ 7737 w 10000"/>
                <a:gd name="connsiteY7" fmla="*/ 3576 h 11108"/>
                <a:gd name="connsiteX8" fmla="*/ 5893 w 10000"/>
                <a:gd name="connsiteY8" fmla="*/ 2954 h 11108"/>
                <a:gd name="connsiteX9" fmla="*/ 3506 w 10000"/>
                <a:gd name="connsiteY9" fmla="*/ 2211 h 11108"/>
                <a:gd name="connsiteX10" fmla="*/ 1932 w 10000"/>
                <a:gd name="connsiteY10" fmla="*/ 0 h 11108"/>
                <a:gd name="connsiteX11" fmla="*/ 0 w 10000"/>
                <a:gd name="connsiteY11" fmla="*/ 338 h 11108"/>
                <a:gd name="connsiteX0" fmla="*/ 0 w 9725"/>
                <a:gd name="connsiteY0" fmla="*/ 338 h 11108"/>
                <a:gd name="connsiteX1" fmla="*/ 1312 w 9725"/>
                <a:gd name="connsiteY1" fmla="*/ 4641 h 11108"/>
                <a:gd name="connsiteX2" fmla="*/ 3900 w 9725"/>
                <a:gd name="connsiteY2" fmla="*/ 5515 h 11108"/>
                <a:gd name="connsiteX3" fmla="*/ 4862 w 9725"/>
                <a:gd name="connsiteY3" fmla="*/ 10122 h 11108"/>
                <a:gd name="connsiteX4" fmla="*/ 8087 w 9725"/>
                <a:gd name="connsiteY4" fmla="*/ 9234 h 11108"/>
                <a:gd name="connsiteX5" fmla="*/ 9605 w 9725"/>
                <a:gd name="connsiteY5" fmla="*/ 11108 h 11108"/>
                <a:gd name="connsiteX6" fmla="*/ 9725 w 9725"/>
                <a:gd name="connsiteY6" fmla="*/ 6404 h 11108"/>
                <a:gd name="connsiteX7" fmla="*/ 7737 w 9725"/>
                <a:gd name="connsiteY7" fmla="*/ 3576 h 11108"/>
                <a:gd name="connsiteX8" fmla="*/ 5893 w 9725"/>
                <a:gd name="connsiteY8" fmla="*/ 2954 h 11108"/>
                <a:gd name="connsiteX9" fmla="*/ 3506 w 9725"/>
                <a:gd name="connsiteY9" fmla="*/ 2211 h 11108"/>
                <a:gd name="connsiteX10" fmla="*/ 1932 w 9725"/>
                <a:gd name="connsiteY10" fmla="*/ 0 h 11108"/>
                <a:gd name="connsiteX11" fmla="*/ 0 w 9725"/>
                <a:gd name="connsiteY11" fmla="*/ 338 h 11108"/>
                <a:gd name="connsiteX0" fmla="*/ 0 w 10000"/>
                <a:gd name="connsiteY0" fmla="*/ 304 h 10000"/>
                <a:gd name="connsiteX1" fmla="*/ 1349 w 10000"/>
                <a:gd name="connsiteY1" fmla="*/ 4178 h 10000"/>
                <a:gd name="connsiteX2" fmla="*/ 4010 w 10000"/>
                <a:gd name="connsiteY2" fmla="*/ 4965 h 10000"/>
                <a:gd name="connsiteX3" fmla="*/ 4999 w 10000"/>
                <a:gd name="connsiteY3" fmla="*/ 9112 h 10000"/>
                <a:gd name="connsiteX4" fmla="*/ 8316 w 10000"/>
                <a:gd name="connsiteY4" fmla="*/ 8313 h 10000"/>
                <a:gd name="connsiteX5" fmla="*/ 9877 w 10000"/>
                <a:gd name="connsiteY5" fmla="*/ 10000 h 10000"/>
                <a:gd name="connsiteX6" fmla="*/ 10000 w 10000"/>
                <a:gd name="connsiteY6" fmla="*/ 5765 h 10000"/>
                <a:gd name="connsiteX7" fmla="*/ 9653 w 10000"/>
                <a:gd name="connsiteY7" fmla="*/ 1560 h 10000"/>
                <a:gd name="connsiteX8" fmla="*/ 6060 w 10000"/>
                <a:gd name="connsiteY8" fmla="*/ 2659 h 10000"/>
                <a:gd name="connsiteX9" fmla="*/ 3605 w 10000"/>
                <a:gd name="connsiteY9" fmla="*/ 1990 h 10000"/>
                <a:gd name="connsiteX10" fmla="*/ 1987 w 10000"/>
                <a:gd name="connsiteY10" fmla="*/ 0 h 10000"/>
                <a:gd name="connsiteX11" fmla="*/ 0 w 10000"/>
                <a:gd name="connsiteY11" fmla="*/ 304 h 10000"/>
                <a:gd name="connsiteX0" fmla="*/ 0 w 10000"/>
                <a:gd name="connsiteY0" fmla="*/ 788 h 10484"/>
                <a:gd name="connsiteX1" fmla="*/ 1349 w 10000"/>
                <a:gd name="connsiteY1" fmla="*/ 4662 h 10484"/>
                <a:gd name="connsiteX2" fmla="*/ 4010 w 10000"/>
                <a:gd name="connsiteY2" fmla="*/ 5449 h 10484"/>
                <a:gd name="connsiteX3" fmla="*/ 4999 w 10000"/>
                <a:gd name="connsiteY3" fmla="*/ 9596 h 10484"/>
                <a:gd name="connsiteX4" fmla="*/ 8316 w 10000"/>
                <a:gd name="connsiteY4" fmla="*/ 8797 h 10484"/>
                <a:gd name="connsiteX5" fmla="*/ 9877 w 10000"/>
                <a:gd name="connsiteY5" fmla="*/ 10484 h 10484"/>
                <a:gd name="connsiteX6" fmla="*/ 10000 w 10000"/>
                <a:gd name="connsiteY6" fmla="*/ 6249 h 10484"/>
                <a:gd name="connsiteX7" fmla="*/ 9653 w 10000"/>
                <a:gd name="connsiteY7" fmla="*/ 2044 h 10484"/>
                <a:gd name="connsiteX8" fmla="*/ 9029 w 10000"/>
                <a:gd name="connsiteY8" fmla="*/ 101 h 10484"/>
                <a:gd name="connsiteX9" fmla="*/ 3605 w 10000"/>
                <a:gd name="connsiteY9" fmla="*/ 2474 h 10484"/>
                <a:gd name="connsiteX10" fmla="*/ 1987 w 10000"/>
                <a:gd name="connsiteY10" fmla="*/ 484 h 10484"/>
                <a:gd name="connsiteX11" fmla="*/ 0 w 10000"/>
                <a:gd name="connsiteY11" fmla="*/ 788 h 10484"/>
                <a:gd name="connsiteX0" fmla="*/ 0 w 10000"/>
                <a:gd name="connsiteY0" fmla="*/ 893 h 10589"/>
                <a:gd name="connsiteX1" fmla="*/ 1349 w 10000"/>
                <a:gd name="connsiteY1" fmla="*/ 4767 h 10589"/>
                <a:gd name="connsiteX2" fmla="*/ 4010 w 10000"/>
                <a:gd name="connsiteY2" fmla="*/ 5554 h 10589"/>
                <a:gd name="connsiteX3" fmla="*/ 4999 w 10000"/>
                <a:gd name="connsiteY3" fmla="*/ 9701 h 10589"/>
                <a:gd name="connsiteX4" fmla="*/ 8316 w 10000"/>
                <a:gd name="connsiteY4" fmla="*/ 8902 h 10589"/>
                <a:gd name="connsiteX5" fmla="*/ 9877 w 10000"/>
                <a:gd name="connsiteY5" fmla="*/ 10589 h 10589"/>
                <a:gd name="connsiteX6" fmla="*/ 10000 w 10000"/>
                <a:gd name="connsiteY6" fmla="*/ 6354 h 10589"/>
                <a:gd name="connsiteX7" fmla="*/ 9653 w 10000"/>
                <a:gd name="connsiteY7" fmla="*/ 2149 h 10589"/>
                <a:gd name="connsiteX8" fmla="*/ 9029 w 10000"/>
                <a:gd name="connsiteY8" fmla="*/ 206 h 10589"/>
                <a:gd name="connsiteX9" fmla="*/ 5726 w 10000"/>
                <a:gd name="connsiteY9" fmla="*/ 367 h 10589"/>
                <a:gd name="connsiteX10" fmla="*/ 1987 w 10000"/>
                <a:gd name="connsiteY10" fmla="*/ 589 h 10589"/>
                <a:gd name="connsiteX11" fmla="*/ 0 w 10000"/>
                <a:gd name="connsiteY11" fmla="*/ 893 h 10589"/>
                <a:gd name="connsiteX0" fmla="*/ 0 w 10000"/>
                <a:gd name="connsiteY0" fmla="*/ 893 h 10589"/>
                <a:gd name="connsiteX1" fmla="*/ 1349 w 10000"/>
                <a:gd name="connsiteY1" fmla="*/ 4767 h 10589"/>
                <a:gd name="connsiteX2" fmla="*/ 4010 w 10000"/>
                <a:gd name="connsiteY2" fmla="*/ 5554 h 10589"/>
                <a:gd name="connsiteX3" fmla="*/ 4999 w 10000"/>
                <a:gd name="connsiteY3" fmla="*/ 9701 h 10589"/>
                <a:gd name="connsiteX4" fmla="*/ 8316 w 10000"/>
                <a:gd name="connsiteY4" fmla="*/ 8902 h 10589"/>
                <a:gd name="connsiteX5" fmla="*/ 9877 w 10000"/>
                <a:gd name="connsiteY5" fmla="*/ 10589 h 10589"/>
                <a:gd name="connsiteX6" fmla="*/ 10000 w 10000"/>
                <a:gd name="connsiteY6" fmla="*/ 6354 h 10589"/>
                <a:gd name="connsiteX7" fmla="*/ 9653 w 10000"/>
                <a:gd name="connsiteY7" fmla="*/ 2149 h 10589"/>
                <a:gd name="connsiteX8" fmla="*/ 9029 w 10000"/>
                <a:gd name="connsiteY8" fmla="*/ 206 h 10589"/>
                <a:gd name="connsiteX9" fmla="*/ 5726 w 10000"/>
                <a:gd name="connsiteY9" fmla="*/ 367 h 10589"/>
                <a:gd name="connsiteX10" fmla="*/ 5380 w 10000"/>
                <a:gd name="connsiteY10" fmla="*/ 3078 h 10589"/>
                <a:gd name="connsiteX11" fmla="*/ 0 w 10000"/>
                <a:gd name="connsiteY11" fmla="*/ 893 h 10589"/>
                <a:gd name="connsiteX0" fmla="*/ 0 w 10000"/>
                <a:gd name="connsiteY0" fmla="*/ 893 h 10589"/>
                <a:gd name="connsiteX1" fmla="*/ 1349 w 10000"/>
                <a:gd name="connsiteY1" fmla="*/ 4767 h 10589"/>
                <a:gd name="connsiteX2" fmla="*/ 4010 w 10000"/>
                <a:gd name="connsiteY2" fmla="*/ 5554 h 10589"/>
                <a:gd name="connsiteX3" fmla="*/ 4999 w 10000"/>
                <a:gd name="connsiteY3" fmla="*/ 9701 h 10589"/>
                <a:gd name="connsiteX4" fmla="*/ 8316 w 10000"/>
                <a:gd name="connsiteY4" fmla="*/ 8902 h 10589"/>
                <a:gd name="connsiteX5" fmla="*/ 9877 w 10000"/>
                <a:gd name="connsiteY5" fmla="*/ 10589 h 10589"/>
                <a:gd name="connsiteX6" fmla="*/ 10000 w 10000"/>
                <a:gd name="connsiteY6" fmla="*/ 6354 h 10589"/>
                <a:gd name="connsiteX7" fmla="*/ 9653 w 10000"/>
                <a:gd name="connsiteY7" fmla="*/ 2149 h 10589"/>
                <a:gd name="connsiteX8" fmla="*/ 9029 w 10000"/>
                <a:gd name="connsiteY8" fmla="*/ 206 h 10589"/>
                <a:gd name="connsiteX9" fmla="*/ 5726 w 10000"/>
                <a:gd name="connsiteY9" fmla="*/ 367 h 10589"/>
                <a:gd name="connsiteX10" fmla="*/ 5380 w 10000"/>
                <a:gd name="connsiteY10" fmla="*/ 3078 h 10589"/>
                <a:gd name="connsiteX11" fmla="*/ 5938 w 10000"/>
                <a:gd name="connsiteY11" fmla="*/ 6396 h 10589"/>
                <a:gd name="connsiteX12" fmla="*/ 0 w 10000"/>
                <a:gd name="connsiteY12" fmla="*/ 893 h 10589"/>
                <a:gd name="connsiteX0" fmla="*/ 4589 w 8651"/>
                <a:gd name="connsiteY0" fmla="*/ 6396 h 10589"/>
                <a:gd name="connsiteX1" fmla="*/ 0 w 8651"/>
                <a:gd name="connsiteY1" fmla="*/ 4767 h 10589"/>
                <a:gd name="connsiteX2" fmla="*/ 2661 w 8651"/>
                <a:gd name="connsiteY2" fmla="*/ 5554 h 10589"/>
                <a:gd name="connsiteX3" fmla="*/ 3650 w 8651"/>
                <a:gd name="connsiteY3" fmla="*/ 9701 h 10589"/>
                <a:gd name="connsiteX4" fmla="*/ 6967 w 8651"/>
                <a:gd name="connsiteY4" fmla="*/ 8902 h 10589"/>
                <a:gd name="connsiteX5" fmla="*/ 8528 w 8651"/>
                <a:gd name="connsiteY5" fmla="*/ 10589 h 10589"/>
                <a:gd name="connsiteX6" fmla="*/ 8651 w 8651"/>
                <a:gd name="connsiteY6" fmla="*/ 6354 h 10589"/>
                <a:gd name="connsiteX7" fmla="*/ 8304 w 8651"/>
                <a:gd name="connsiteY7" fmla="*/ 2149 h 10589"/>
                <a:gd name="connsiteX8" fmla="*/ 7680 w 8651"/>
                <a:gd name="connsiteY8" fmla="*/ 206 h 10589"/>
                <a:gd name="connsiteX9" fmla="*/ 4377 w 8651"/>
                <a:gd name="connsiteY9" fmla="*/ 367 h 10589"/>
                <a:gd name="connsiteX10" fmla="*/ 4031 w 8651"/>
                <a:gd name="connsiteY10" fmla="*/ 3078 h 10589"/>
                <a:gd name="connsiteX11" fmla="*/ 4589 w 8651"/>
                <a:gd name="connsiteY11" fmla="*/ 6396 h 10589"/>
                <a:gd name="connsiteX0" fmla="*/ 2229 w 6924"/>
                <a:gd name="connsiteY0" fmla="*/ 6040 h 10000"/>
                <a:gd name="connsiteX1" fmla="*/ 0 w 6924"/>
                <a:gd name="connsiteY1" fmla="*/ 5245 h 10000"/>
                <a:gd name="connsiteX2" fmla="*/ 1143 w 6924"/>
                <a:gd name="connsiteY2" fmla="*/ 9161 h 10000"/>
                <a:gd name="connsiteX3" fmla="*/ 4977 w 6924"/>
                <a:gd name="connsiteY3" fmla="*/ 8407 h 10000"/>
                <a:gd name="connsiteX4" fmla="*/ 6782 w 6924"/>
                <a:gd name="connsiteY4" fmla="*/ 10000 h 10000"/>
                <a:gd name="connsiteX5" fmla="*/ 6924 w 6924"/>
                <a:gd name="connsiteY5" fmla="*/ 6001 h 10000"/>
                <a:gd name="connsiteX6" fmla="*/ 6523 w 6924"/>
                <a:gd name="connsiteY6" fmla="*/ 2029 h 10000"/>
                <a:gd name="connsiteX7" fmla="*/ 5802 w 6924"/>
                <a:gd name="connsiteY7" fmla="*/ 195 h 10000"/>
                <a:gd name="connsiteX8" fmla="*/ 1984 w 6924"/>
                <a:gd name="connsiteY8" fmla="*/ 347 h 10000"/>
                <a:gd name="connsiteX9" fmla="*/ 1584 w 6924"/>
                <a:gd name="connsiteY9" fmla="*/ 2907 h 10000"/>
                <a:gd name="connsiteX10" fmla="*/ 2229 w 6924"/>
                <a:gd name="connsiteY10" fmla="*/ 6040 h 10000"/>
                <a:gd name="connsiteX0" fmla="*/ 1634 w 8415"/>
                <a:gd name="connsiteY0" fmla="*/ 6040 h 10000"/>
                <a:gd name="connsiteX1" fmla="*/ 66 w 8415"/>
                <a:gd name="connsiteY1" fmla="*/ 9161 h 10000"/>
                <a:gd name="connsiteX2" fmla="*/ 5603 w 8415"/>
                <a:gd name="connsiteY2" fmla="*/ 8407 h 10000"/>
                <a:gd name="connsiteX3" fmla="*/ 8210 w 8415"/>
                <a:gd name="connsiteY3" fmla="*/ 10000 h 10000"/>
                <a:gd name="connsiteX4" fmla="*/ 8415 w 8415"/>
                <a:gd name="connsiteY4" fmla="*/ 6001 h 10000"/>
                <a:gd name="connsiteX5" fmla="*/ 7836 w 8415"/>
                <a:gd name="connsiteY5" fmla="*/ 2029 h 10000"/>
                <a:gd name="connsiteX6" fmla="*/ 6795 w 8415"/>
                <a:gd name="connsiteY6" fmla="*/ 195 h 10000"/>
                <a:gd name="connsiteX7" fmla="*/ 1280 w 8415"/>
                <a:gd name="connsiteY7" fmla="*/ 347 h 10000"/>
                <a:gd name="connsiteX8" fmla="*/ 703 w 8415"/>
                <a:gd name="connsiteY8" fmla="*/ 2907 h 10000"/>
                <a:gd name="connsiteX9" fmla="*/ 1634 w 8415"/>
                <a:gd name="connsiteY9" fmla="*/ 6040 h 10000"/>
                <a:gd name="connsiteX0" fmla="*/ 1942 w 10000"/>
                <a:gd name="connsiteY0" fmla="*/ 6040 h 10000"/>
                <a:gd name="connsiteX1" fmla="*/ 4285 w 10000"/>
                <a:gd name="connsiteY1" fmla="*/ 7594 h 10000"/>
                <a:gd name="connsiteX2" fmla="*/ 6658 w 10000"/>
                <a:gd name="connsiteY2" fmla="*/ 8407 h 10000"/>
                <a:gd name="connsiteX3" fmla="*/ 9756 w 10000"/>
                <a:gd name="connsiteY3" fmla="*/ 10000 h 10000"/>
                <a:gd name="connsiteX4" fmla="*/ 10000 w 10000"/>
                <a:gd name="connsiteY4" fmla="*/ 6001 h 10000"/>
                <a:gd name="connsiteX5" fmla="*/ 9312 w 10000"/>
                <a:gd name="connsiteY5" fmla="*/ 2029 h 10000"/>
                <a:gd name="connsiteX6" fmla="*/ 8075 w 10000"/>
                <a:gd name="connsiteY6" fmla="*/ 195 h 10000"/>
                <a:gd name="connsiteX7" fmla="*/ 1521 w 10000"/>
                <a:gd name="connsiteY7" fmla="*/ 347 h 10000"/>
                <a:gd name="connsiteX8" fmla="*/ 835 w 10000"/>
                <a:gd name="connsiteY8" fmla="*/ 2907 h 10000"/>
                <a:gd name="connsiteX9" fmla="*/ 1942 w 10000"/>
                <a:gd name="connsiteY9" fmla="*/ 6040 h 10000"/>
                <a:gd name="connsiteX0" fmla="*/ 422 w 8480"/>
                <a:gd name="connsiteY0" fmla="*/ 6040 h 10000"/>
                <a:gd name="connsiteX1" fmla="*/ 2765 w 8480"/>
                <a:gd name="connsiteY1" fmla="*/ 7594 h 10000"/>
                <a:gd name="connsiteX2" fmla="*/ 5138 w 8480"/>
                <a:gd name="connsiteY2" fmla="*/ 8407 h 10000"/>
                <a:gd name="connsiteX3" fmla="*/ 8236 w 8480"/>
                <a:gd name="connsiteY3" fmla="*/ 10000 h 10000"/>
                <a:gd name="connsiteX4" fmla="*/ 8480 w 8480"/>
                <a:gd name="connsiteY4" fmla="*/ 6001 h 10000"/>
                <a:gd name="connsiteX5" fmla="*/ 7792 w 8480"/>
                <a:gd name="connsiteY5" fmla="*/ 2029 h 10000"/>
                <a:gd name="connsiteX6" fmla="*/ 6555 w 8480"/>
                <a:gd name="connsiteY6" fmla="*/ 195 h 10000"/>
                <a:gd name="connsiteX7" fmla="*/ 1 w 8480"/>
                <a:gd name="connsiteY7" fmla="*/ 347 h 10000"/>
                <a:gd name="connsiteX8" fmla="*/ 1839 w 8480"/>
                <a:gd name="connsiteY8" fmla="*/ 4213 h 10000"/>
                <a:gd name="connsiteX9" fmla="*/ 422 w 8480"/>
                <a:gd name="connsiteY9" fmla="*/ 6040 h 10000"/>
                <a:gd name="connsiteX0" fmla="*/ 4467 w 10000"/>
                <a:gd name="connsiteY0" fmla="*/ 6040 h 10000"/>
                <a:gd name="connsiteX1" fmla="*/ 3261 w 10000"/>
                <a:gd name="connsiteY1" fmla="*/ 7594 h 10000"/>
                <a:gd name="connsiteX2" fmla="*/ 6059 w 10000"/>
                <a:gd name="connsiteY2" fmla="*/ 8407 h 10000"/>
                <a:gd name="connsiteX3" fmla="*/ 9712 w 10000"/>
                <a:gd name="connsiteY3" fmla="*/ 10000 h 10000"/>
                <a:gd name="connsiteX4" fmla="*/ 10000 w 10000"/>
                <a:gd name="connsiteY4" fmla="*/ 6001 h 10000"/>
                <a:gd name="connsiteX5" fmla="*/ 9189 w 10000"/>
                <a:gd name="connsiteY5" fmla="*/ 2029 h 10000"/>
                <a:gd name="connsiteX6" fmla="*/ 7730 w 10000"/>
                <a:gd name="connsiteY6" fmla="*/ 195 h 10000"/>
                <a:gd name="connsiteX7" fmla="*/ 1 w 10000"/>
                <a:gd name="connsiteY7" fmla="*/ 347 h 10000"/>
                <a:gd name="connsiteX8" fmla="*/ 2169 w 10000"/>
                <a:gd name="connsiteY8" fmla="*/ 4213 h 10000"/>
                <a:gd name="connsiteX9" fmla="*/ 4467 w 10000"/>
                <a:gd name="connsiteY9" fmla="*/ 6040 h 10000"/>
                <a:gd name="connsiteX0" fmla="*/ 4467 w 10000"/>
                <a:gd name="connsiteY0" fmla="*/ 6040 h 10000"/>
                <a:gd name="connsiteX1" fmla="*/ 5245 w 10000"/>
                <a:gd name="connsiteY1" fmla="*/ 7072 h 10000"/>
                <a:gd name="connsiteX2" fmla="*/ 6059 w 10000"/>
                <a:gd name="connsiteY2" fmla="*/ 8407 h 10000"/>
                <a:gd name="connsiteX3" fmla="*/ 9712 w 10000"/>
                <a:gd name="connsiteY3" fmla="*/ 10000 h 10000"/>
                <a:gd name="connsiteX4" fmla="*/ 10000 w 10000"/>
                <a:gd name="connsiteY4" fmla="*/ 6001 h 10000"/>
                <a:gd name="connsiteX5" fmla="*/ 9189 w 10000"/>
                <a:gd name="connsiteY5" fmla="*/ 2029 h 10000"/>
                <a:gd name="connsiteX6" fmla="*/ 7730 w 10000"/>
                <a:gd name="connsiteY6" fmla="*/ 195 h 10000"/>
                <a:gd name="connsiteX7" fmla="*/ 1 w 10000"/>
                <a:gd name="connsiteY7" fmla="*/ 347 h 10000"/>
                <a:gd name="connsiteX8" fmla="*/ 2169 w 10000"/>
                <a:gd name="connsiteY8" fmla="*/ 4213 h 10000"/>
                <a:gd name="connsiteX9" fmla="*/ 4467 w 10000"/>
                <a:gd name="connsiteY9" fmla="*/ 6040 h 10000"/>
                <a:gd name="connsiteX0" fmla="*/ 4467 w 10000"/>
                <a:gd name="connsiteY0" fmla="*/ 6040 h 10000"/>
                <a:gd name="connsiteX1" fmla="*/ 5245 w 10000"/>
                <a:gd name="connsiteY1" fmla="*/ 7072 h 10000"/>
                <a:gd name="connsiteX2" fmla="*/ 6059 w 10000"/>
                <a:gd name="connsiteY2" fmla="*/ 8407 h 10000"/>
                <a:gd name="connsiteX3" fmla="*/ 9712 w 10000"/>
                <a:gd name="connsiteY3" fmla="*/ 10000 h 10000"/>
                <a:gd name="connsiteX4" fmla="*/ 10000 w 10000"/>
                <a:gd name="connsiteY4" fmla="*/ 6001 h 10000"/>
                <a:gd name="connsiteX5" fmla="*/ 9189 w 10000"/>
                <a:gd name="connsiteY5" fmla="*/ 2029 h 10000"/>
                <a:gd name="connsiteX6" fmla="*/ 7730 w 10000"/>
                <a:gd name="connsiteY6" fmla="*/ 195 h 10000"/>
                <a:gd name="connsiteX7" fmla="*/ 1 w 10000"/>
                <a:gd name="connsiteY7" fmla="*/ 347 h 10000"/>
                <a:gd name="connsiteX8" fmla="*/ 1507 w 10000"/>
                <a:gd name="connsiteY8" fmla="*/ 2907 h 10000"/>
                <a:gd name="connsiteX9" fmla="*/ 4467 w 10000"/>
                <a:gd name="connsiteY9" fmla="*/ 6040 h 10000"/>
                <a:gd name="connsiteX0" fmla="*/ 4467 w 10000"/>
                <a:gd name="connsiteY0" fmla="*/ 6040 h 10000"/>
                <a:gd name="connsiteX1" fmla="*/ 5245 w 10000"/>
                <a:gd name="connsiteY1" fmla="*/ 7072 h 10000"/>
                <a:gd name="connsiteX2" fmla="*/ 6059 w 10000"/>
                <a:gd name="connsiteY2" fmla="*/ 8407 h 10000"/>
                <a:gd name="connsiteX3" fmla="*/ 9712 w 10000"/>
                <a:gd name="connsiteY3" fmla="*/ 10000 h 10000"/>
                <a:gd name="connsiteX4" fmla="*/ 10000 w 10000"/>
                <a:gd name="connsiteY4" fmla="*/ 6001 h 10000"/>
                <a:gd name="connsiteX5" fmla="*/ 9189 w 10000"/>
                <a:gd name="connsiteY5" fmla="*/ 2029 h 10000"/>
                <a:gd name="connsiteX6" fmla="*/ 7730 w 10000"/>
                <a:gd name="connsiteY6" fmla="*/ 195 h 10000"/>
                <a:gd name="connsiteX7" fmla="*/ 1 w 10000"/>
                <a:gd name="connsiteY7" fmla="*/ 347 h 10000"/>
                <a:gd name="connsiteX8" fmla="*/ 1507 w 10000"/>
                <a:gd name="connsiteY8" fmla="*/ 2907 h 10000"/>
                <a:gd name="connsiteX9" fmla="*/ 2481 w 10000"/>
                <a:gd name="connsiteY9" fmla="*/ 4734 h 10000"/>
                <a:gd name="connsiteX10" fmla="*/ 4467 w 10000"/>
                <a:gd name="connsiteY10" fmla="*/ 6040 h 10000"/>
                <a:gd name="connsiteX0" fmla="*/ 2481 w 10000"/>
                <a:gd name="connsiteY0" fmla="*/ 4734 h 10000"/>
                <a:gd name="connsiteX1" fmla="*/ 5245 w 10000"/>
                <a:gd name="connsiteY1" fmla="*/ 7072 h 10000"/>
                <a:gd name="connsiteX2" fmla="*/ 6059 w 10000"/>
                <a:gd name="connsiteY2" fmla="*/ 8407 h 10000"/>
                <a:gd name="connsiteX3" fmla="*/ 9712 w 10000"/>
                <a:gd name="connsiteY3" fmla="*/ 10000 h 10000"/>
                <a:gd name="connsiteX4" fmla="*/ 10000 w 10000"/>
                <a:gd name="connsiteY4" fmla="*/ 6001 h 10000"/>
                <a:gd name="connsiteX5" fmla="*/ 9189 w 10000"/>
                <a:gd name="connsiteY5" fmla="*/ 2029 h 10000"/>
                <a:gd name="connsiteX6" fmla="*/ 7730 w 10000"/>
                <a:gd name="connsiteY6" fmla="*/ 195 h 10000"/>
                <a:gd name="connsiteX7" fmla="*/ 1 w 10000"/>
                <a:gd name="connsiteY7" fmla="*/ 347 h 10000"/>
                <a:gd name="connsiteX8" fmla="*/ 1507 w 10000"/>
                <a:gd name="connsiteY8" fmla="*/ 2907 h 10000"/>
                <a:gd name="connsiteX9" fmla="*/ 2481 w 10000"/>
                <a:gd name="connsiteY9" fmla="*/ 4734 h 10000"/>
                <a:gd name="connsiteX0" fmla="*/ 3804 w 10000"/>
                <a:gd name="connsiteY0" fmla="*/ 4734 h 10000"/>
                <a:gd name="connsiteX1" fmla="*/ 5245 w 10000"/>
                <a:gd name="connsiteY1" fmla="*/ 7072 h 10000"/>
                <a:gd name="connsiteX2" fmla="*/ 6059 w 10000"/>
                <a:gd name="connsiteY2" fmla="*/ 8407 h 10000"/>
                <a:gd name="connsiteX3" fmla="*/ 9712 w 10000"/>
                <a:gd name="connsiteY3" fmla="*/ 10000 h 10000"/>
                <a:gd name="connsiteX4" fmla="*/ 10000 w 10000"/>
                <a:gd name="connsiteY4" fmla="*/ 6001 h 10000"/>
                <a:gd name="connsiteX5" fmla="*/ 9189 w 10000"/>
                <a:gd name="connsiteY5" fmla="*/ 2029 h 10000"/>
                <a:gd name="connsiteX6" fmla="*/ 7730 w 10000"/>
                <a:gd name="connsiteY6" fmla="*/ 195 h 10000"/>
                <a:gd name="connsiteX7" fmla="*/ 1 w 10000"/>
                <a:gd name="connsiteY7" fmla="*/ 347 h 10000"/>
                <a:gd name="connsiteX8" fmla="*/ 1507 w 10000"/>
                <a:gd name="connsiteY8" fmla="*/ 2907 h 10000"/>
                <a:gd name="connsiteX9" fmla="*/ 3804 w 10000"/>
                <a:gd name="connsiteY9" fmla="*/ 4734 h 10000"/>
                <a:gd name="connsiteX0" fmla="*/ 3804 w 10000"/>
                <a:gd name="connsiteY0" fmla="*/ 4387 h 9653"/>
                <a:gd name="connsiteX1" fmla="*/ 5245 w 10000"/>
                <a:gd name="connsiteY1" fmla="*/ 6725 h 9653"/>
                <a:gd name="connsiteX2" fmla="*/ 6059 w 10000"/>
                <a:gd name="connsiteY2" fmla="*/ 8060 h 9653"/>
                <a:gd name="connsiteX3" fmla="*/ 9712 w 10000"/>
                <a:gd name="connsiteY3" fmla="*/ 9653 h 9653"/>
                <a:gd name="connsiteX4" fmla="*/ 10000 w 10000"/>
                <a:gd name="connsiteY4" fmla="*/ 5654 h 9653"/>
                <a:gd name="connsiteX5" fmla="*/ 9189 w 10000"/>
                <a:gd name="connsiteY5" fmla="*/ 1682 h 9653"/>
                <a:gd name="connsiteX6" fmla="*/ 7068 w 10000"/>
                <a:gd name="connsiteY6" fmla="*/ 631 h 9653"/>
                <a:gd name="connsiteX7" fmla="*/ 1 w 10000"/>
                <a:gd name="connsiteY7" fmla="*/ 0 h 9653"/>
                <a:gd name="connsiteX8" fmla="*/ 1507 w 10000"/>
                <a:gd name="connsiteY8" fmla="*/ 2560 h 9653"/>
                <a:gd name="connsiteX9" fmla="*/ 3804 w 10000"/>
                <a:gd name="connsiteY9" fmla="*/ 4387 h 9653"/>
                <a:gd name="connsiteX0" fmla="*/ 3804 w 10000"/>
                <a:gd name="connsiteY0" fmla="*/ 4664 h 10119"/>
                <a:gd name="connsiteX1" fmla="*/ 5245 w 10000"/>
                <a:gd name="connsiteY1" fmla="*/ 7086 h 10119"/>
                <a:gd name="connsiteX2" fmla="*/ 6059 w 10000"/>
                <a:gd name="connsiteY2" fmla="*/ 8469 h 10119"/>
                <a:gd name="connsiteX3" fmla="*/ 9712 w 10000"/>
                <a:gd name="connsiteY3" fmla="*/ 10119 h 10119"/>
                <a:gd name="connsiteX4" fmla="*/ 10000 w 10000"/>
                <a:gd name="connsiteY4" fmla="*/ 5976 h 10119"/>
                <a:gd name="connsiteX5" fmla="*/ 9189 w 10000"/>
                <a:gd name="connsiteY5" fmla="*/ 1861 h 10119"/>
                <a:gd name="connsiteX6" fmla="*/ 6737 w 10000"/>
                <a:gd name="connsiteY6" fmla="*/ 232 h 10119"/>
                <a:gd name="connsiteX7" fmla="*/ 1 w 10000"/>
                <a:gd name="connsiteY7" fmla="*/ 119 h 10119"/>
                <a:gd name="connsiteX8" fmla="*/ 1507 w 10000"/>
                <a:gd name="connsiteY8" fmla="*/ 2771 h 10119"/>
                <a:gd name="connsiteX9" fmla="*/ 3804 w 10000"/>
                <a:gd name="connsiteY9" fmla="*/ 4664 h 10119"/>
                <a:gd name="connsiteX0" fmla="*/ 3804 w 10000"/>
                <a:gd name="connsiteY0" fmla="*/ 4664 h 10119"/>
                <a:gd name="connsiteX1" fmla="*/ 5245 w 10000"/>
                <a:gd name="connsiteY1" fmla="*/ 7086 h 10119"/>
                <a:gd name="connsiteX2" fmla="*/ 6059 w 10000"/>
                <a:gd name="connsiteY2" fmla="*/ 8469 h 10119"/>
                <a:gd name="connsiteX3" fmla="*/ 9712 w 10000"/>
                <a:gd name="connsiteY3" fmla="*/ 10119 h 10119"/>
                <a:gd name="connsiteX4" fmla="*/ 10000 w 10000"/>
                <a:gd name="connsiteY4" fmla="*/ 5976 h 10119"/>
                <a:gd name="connsiteX5" fmla="*/ 8527 w 10000"/>
                <a:gd name="connsiteY5" fmla="*/ 2131 h 10119"/>
                <a:gd name="connsiteX6" fmla="*/ 6737 w 10000"/>
                <a:gd name="connsiteY6" fmla="*/ 232 h 10119"/>
                <a:gd name="connsiteX7" fmla="*/ 1 w 10000"/>
                <a:gd name="connsiteY7" fmla="*/ 119 h 10119"/>
                <a:gd name="connsiteX8" fmla="*/ 1507 w 10000"/>
                <a:gd name="connsiteY8" fmla="*/ 2771 h 10119"/>
                <a:gd name="connsiteX9" fmla="*/ 3804 w 10000"/>
                <a:gd name="connsiteY9" fmla="*/ 4664 h 10119"/>
                <a:gd name="connsiteX0" fmla="*/ 3804 w 9774"/>
                <a:gd name="connsiteY0" fmla="*/ 4664 h 10119"/>
                <a:gd name="connsiteX1" fmla="*/ 5245 w 9774"/>
                <a:gd name="connsiteY1" fmla="*/ 7086 h 10119"/>
                <a:gd name="connsiteX2" fmla="*/ 6059 w 9774"/>
                <a:gd name="connsiteY2" fmla="*/ 8469 h 10119"/>
                <a:gd name="connsiteX3" fmla="*/ 9712 w 9774"/>
                <a:gd name="connsiteY3" fmla="*/ 10119 h 10119"/>
                <a:gd name="connsiteX4" fmla="*/ 9339 w 9774"/>
                <a:gd name="connsiteY4" fmla="*/ 5976 h 10119"/>
                <a:gd name="connsiteX5" fmla="*/ 8527 w 9774"/>
                <a:gd name="connsiteY5" fmla="*/ 2131 h 10119"/>
                <a:gd name="connsiteX6" fmla="*/ 6737 w 9774"/>
                <a:gd name="connsiteY6" fmla="*/ 232 h 10119"/>
                <a:gd name="connsiteX7" fmla="*/ 1 w 9774"/>
                <a:gd name="connsiteY7" fmla="*/ 119 h 10119"/>
                <a:gd name="connsiteX8" fmla="*/ 1507 w 9774"/>
                <a:gd name="connsiteY8" fmla="*/ 2771 h 10119"/>
                <a:gd name="connsiteX9" fmla="*/ 3804 w 9774"/>
                <a:gd name="connsiteY9" fmla="*/ 4664 h 10119"/>
                <a:gd name="connsiteX0" fmla="*/ 3892 w 10000"/>
                <a:gd name="connsiteY0" fmla="*/ 4609 h 9465"/>
                <a:gd name="connsiteX1" fmla="*/ 5366 w 10000"/>
                <a:gd name="connsiteY1" fmla="*/ 7003 h 9465"/>
                <a:gd name="connsiteX2" fmla="*/ 6199 w 10000"/>
                <a:gd name="connsiteY2" fmla="*/ 8369 h 9465"/>
                <a:gd name="connsiteX3" fmla="*/ 9937 w 10000"/>
                <a:gd name="connsiteY3" fmla="*/ 9465 h 9465"/>
                <a:gd name="connsiteX4" fmla="*/ 9555 w 10000"/>
                <a:gd name="connsiteY4" fmla="*/ 5906 h 9465"/>
                <a:gd name="connsiteX5" fmla="*/ 8724 w 10000"/>
                <a:gd name="connsiteY5" fmla="*/ 2106 h 9465"/>
                <a:gd name="connsiteX6" fmla="*/ 6893 w 10000"/>
                <a:gd name="connsiteY6" fmla="*/ 229 h 9465"/>
                <a:gd name="connsiteX7" fmla="*/ 1 w 10000"/>
                <a:gd name="connsiteY7" fmla="*/ 118 h 9465"/>
                <a:gd name="connsiteX8" fmla="*/ 1542 w 10000"/>
                <a:gd name="connsiteY8" fmla="*/ 2738 h 9465"/>
                <a:gd name="connsiteX9" fmla="*/ 3892 w 10000"/>
                <a:gd name="connsiteY9" fmla="*/ 4609 h 9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000" h="9465">
                  <a:moveTo>
                    <a:pt x="3892" y="4609"/>
                  </a:moveTo>
                  <a:cubicBezTo>
                    <a:pt x="4529" y="5320"/>
                    <a:pt x="4756" y="6376"/>
                    <a:pt x="5366" y="7003"/>
                  </a:cubicBezTo>
                  <a:lnTo>
                    <a:pt x="6199" y="8369"/>
                  </a:lnTo>
                  <a:cubicBezTo>
                    <a:pt x="7006" y="9047"/>
                    <a:pt x="6782" y="9430"/>
                    <a:pt x="9937" y="9465"/>
                  </a:cubicBezTo>
                  <a:cubicBezTo>
                    <a:pt x="10260" y="8635"/>
                    <a:pt x="9230" y="6736"/>
                    <a:pt x="9555" y="5906"/>
                  </a:cubicBezTo>
                  <a:cubicBezTo>
                    <a:pt x="9277" y="4551"/>
                    <a:pt x="9000" y="3462"/>
                    <a:pt x="8724" y="2106"/>
                  </a:cubicBezTo>
                  <a:cubicBezTo>
                    <a:pt x="8337" y="680"/>
                    <a:pt x="7276" y="1659"/>
                    <a:pt x="6893" y="229"/>
                  </a:cubicBezTo>
                  <a:cubicBezTo>
                    <a:pt x="6968" y="-520"/>
                    <a:pt x="-74" y="866"/>
                    <a:pt x="1" y="118"/>
                  </a:cubicBezTo>
                  <a:lnTo>
                    <a:pt x="1542" y="2738"/>
                  </a:lnTo>
                  <a:cubicBezTo>
                    <a:pt x="1964" y="3309"/>
                    <a:pt x="3255" y="3899"/>
                    <a:pt x="3892" y="4609"/>
                  </a:cubicBez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269" name="TM"/>
            <p:cNvSpPr>
              <a:spLocks/>
            </p:cNvSpPr>
            <p:nvPr/>
          </p:nvSpPr>
          <p:spPr bwMode="auto">
            <a:xfrm>
              <a:off x="5573442" y="3263416"/>
              <a:ext cx="349311" cy="229918"/>
            </a:xfrm>
            <a:custGeom>
              <a:avLst/>
              <a:gdLst>
                <a:gd name="T0" fmla="*/ 327261 w 10348"/>
                <a:gd name="T1" fmla="*/ 8222 h 11017"/>
                <a:gd name="T2" fmla="*/ 294275 w 10348"/>
                <a:gd name="T3" fmla="*/ 29389 h 11017"/>
                <a:gd name="T4" fmla="*/ 271988 w 10348"/>
                <a:gd name="T5" fmla="*/ 29389 h 11017"/>
                <a:gd name="T6" fmla="*/ 264536 w 10348"/>
                <a:gd name="T7" fmla="*/ 7347 h 11017"/>
                <a:gd name="T8" fmla="*/ 257119 w 10348"/>
                <a:gd name="T9" fmla="*/ 0 h 11017"/>
                <a:gd name="T10" fmla="*/ 234832 w 10348"/>
                <a:gd name="T11" fmla="*/ 22042 h 11017"/>
                <a:gd name="T12" fmla="*/ 219963 w 10348"/>
                <a:gd name="T13" fmla="*/ 36761 h 11017"/>
                <a:gd name="T14" fmla="*/ 191557 w 10348"/>
                <a:gd name="T15" fmla="*/ 28989 h 11017"/>
                <a:gd name="T16" fmla="*/ 175389 w 10348"/>
                <a:gd name="T17" fmla="*/ 29389 h 11017"/>
                <a:gd name="T18" fmla="*/ 153068 w 10348"/>
                <a:gd name="T19" fmla="*/ 29389 h 11017"/>
                <a:gd name="T20" fmla="*/ 123364 w 10348"/>
                <a:gd name="T21" fmla="*/ 22042 h 11017"/>
                <a:gd name="T22" fmla="*/ 115912 w 10348"/>
                <a:gd name="T23" fmla="*/ 58803 h 11017"/>
                <a:gd name="T24" fmla="*/ 78790 w 10348"/>
                <a:gd name="T25" fmla="*/ 73498 h 11017"/>
                <a:gd name="T26" fmla="*/ 63921 w 10348"/>
                <a:gd name="T27" fmla="*/ 88192 h 11017"/>
                <a:gd name="T28" fmla="*/ 41634 w 10348"/>
                <a:gd name="T29" fmla="*/ 80845 h 11017"/>
                <a:gd name="T30" fmla="*/ 19621 w 10348"/>
                <a:gd name="T31" fmla="*/ 71124 h 11017"/>
                <a:gd name="T32" fmla="*/ 12169 w 10348"/>
                <a:gd name="T33" fmla="*/ 117606 h 11017"/>
                <a:gd name="T34" fmla="*/ 11895 w 10348"/>
                <a:gd name="T35" fmla="*/ 146996 h 11017"/>
                <a:gd name="T36" fmla="*/ 0 w 10348"/>
                <a:gd name="T37" fmla="*/ 193278 h 11017"/>
                <a:gd name="T38" fmla="*/ 27346 w 10348"/>
                <a:gd name="T39" fmla="*/ 210347 h 11017"/>
                <a:gd name="T40" fmla="*/ 26765 w 10348"/>
                <a:gd name="T41" fmla="*/ 242560 h 11017"/>
                <a:gd name="T42" fmla="*/ 16134 w 10348"/>
                <a:gd name="T43" fmla="*/ 265427 h 11017"/>
                <a:gd name="T44" fmla="*/ 46659 w 10348"/>
                <a:gd name="T45" fmla="*/ 271949 h 11017"/>
                <a:gd name="T46" fmla="*/ 61802 w 10348"/>
                <a:gd name="T47" fmla="*/ 272224 h 11017"/>
                <a:gd name="T48" fmla="*/ 103367 w 10348"/>
                <a:gd name="T49" fmla="*/ 274398 h 11017"/>
                <a:gd name="T50" fmla="*/ 163460 w 10348"/>
                <a:gd name="T51" fmla="*/ 256430 h 11017"/>
                <a:gd name="T52" fmla="*/ 172655 w 10348"/>
                <a:gd name="T53" fmla="*/ 222942 h 11017"/>
                <a:gd name="T54" fmla="*/ 201539 w 10348"/>
                <a:gd name="T55" fmla="*/ 214795 h 11017"/>
                <a:gd name="T56" fmla="*/ 247719 w 10348"/>
                <a:gd name="T57" fmla="*/ 194378 h 11017"/>
                <a:gd name="T58" fmla="*/ 249428 w 10348"/>
                <a:gd name="T59" fmla="*/ 169037 h 11017"/>
                <a:gd name="T60" fmla="*/ 259341 w 10348"/>
                <a:gd name="T61" fmla="*/ 162515 h 11017"/>
                <a:gd name="T62" fmla="*/ 272398 w 10348"/>
                <a:gd name="T63" fmla="*/ 151894 h 11017"/>
                <a:gd name="T64" fmla="*/ 294617 w 10348"/>
                <a:gd name="T65" fmla="*/ 123329 h 11017"/>
                <a:gd name="T66" fmla="*/ 298855 w 10348"/>
                <a:gd name="T67" fmla="*/ 106161 h 11017"/>
                <a:gd name="T68" fmla="*/ 313554 w 10348"/>
                <a:gd name="T69" fmla="*/ 80045 h 11017"/>
                <a:gd name="T70" fmla="*/ 301693 w 10348"/>
                <a:gd name="T71" fmla="*/ 51456 h 11017"/>
                <a:gd name="T72" fmla="*/ 353718 w 10348"/>
                <a:gd name="T73" fmla="*/ 44109 h 11017"/>
                <a:gd name="T74" fmla="*/ 338849 w 10348"/>
                <a:gd name="T75" fmla="*/ 22042 h 11017"/>
                <a:gd name="T76" fmla="*/ 327261 w 10348"/>
                <a:gd name="T77" fmla="*/ 8222 h 11017"/>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connsiteX0" fmla="*/ 9574 w 10348"/>
                <a:gd name="connsiteY0" fmla="*/ 329 h 10984"/>
                <a:gd name="connsiteX1" fmla="*/ 8609 w 10348"/>
                <a:gd name="connsiteY1" fmla="*/ 1176 h 10984"/>
                <a:gd name="connsiteX2" fmla="*/ 7957 w 10348"/>
                <a:gd name="connsiteY2" fmla="*/ 1176 h 10984"/>
                <a:gd name="connsiteX3" fmla="*/ 7739 w 10348"/>
                <a:gd name="connsiteY3" fmla="*/ 294 h 10984"/>
                <a:gd name="connsiteX4" fmla="*/ 7522 w 10348"/>
                <a:gd name="connsiteY4" fmla="*/ 0 h 10984"/>
                <a:gd name="connsiteX5" fmla="*/ 6870 w 10348"/>
                <a:gd name="connsiteY5" fmla="*/ 882 h 10984"/>
                <a:gd name="connsiteX6" fmla="*/ 6435 w 10348"/>
                <a:gd name="connsiteY6" fmla="*/ 1471 h 10984"/>
                <a:gd name="connsiteX7" fmla="*/ 5604 w 10348"/>
                <a:gd name="connsiteY7" fmla="*/ 1160 h 10984"/>
                <a:gd name="connsiteX8" fmla="*/ 5131 w 10348"/>
                <a:gd name="connsiteY8" fmla="*/ 1176 h 10984"/>
                <a:gd name="connsiteX9" fmla="*/ 4478 w 10348"/>
                <a:gd name="connsiteY9" fmla="*/ 1176 h 10984"/>
                <a:gd name="connsiteX10" fmla="*/ 3609 w 10348"/>
                <a:gd name="connsiteY10" fmla="*/ 882 h 10984"/>
                <a:gd name="connsiteX11" fmla="*/ 3391 w 10348"/>
                <a:gd name="connsiteY11" fmla="*/ 2353 h 10984"/>
                <a:gd name="connsiteX12" fmla="*/ 2305 w 10348"/>
                <a:gd name="connsiteY12" fmla="*/ 2941 h 10984"/>
                <a:gd name="connsiteX13" fmla="*/ 1870 w 10348"/>
                <a:gd name="connsiteY13" fmla="*/ 3529 h 10984"/>
                <a:gd name="connsiteX14" fmla="*/ 1218 w 10348"/>
                <a:gd name="connsiteY14" fmla="*/ 3235 h 10984"/>
                <a:gd name="connsiteX15" fmla="*/ 574 w 10348"/>
                <a:gd name="connsiteY15" fmla="*/ 2846 h 10984"/>
                <a:gd name="connsiteX16" fmla="*/ 356 w 10348"/>
                <a:gd name="connsiteY16" fmla="*/ 4706 h 10984"/>
                <a:gd name="connsiteX17" fmla="*/ 348 w 10348"/>
                <a:gd name="connsiteY17" fmla="*/ 5882 h 10984"/>
                <a:gd name="connsiteX18" fmla="*/ 0 w 10348"/>
                <a:gd name="connsiteY18" fmla="*/ 7734 h 10984"/>
                <a:gd name="connsiteX19" fmla="*/ 800 w 10348"/>
                <a:gd name="connsiteY19" fmla="*/ 8417 h 10984"/>
                <a:gd name="connsiteX20" fmla="*/ 783 w 10348"/>
                <a:gd name="connsiteY20" fmla="*/ 9706 h 10984"/>
                <a:gd name="connsiteX21" fmla="*/ 472 w 10348"/>
                <a:gd name="connsiteY21" fmla="*/ 10621 h 10984"/>
                <a:gd name="connsiteX22" fmla="*/ 1365 w 10348"/>
                <a:gd name="connsiteY22" fmla="*/ 10882 h 10984"/>
                <a:gd name="connsiteX23" fmla="*/ 1808 w 10348"/>
                <a:gd name="connsiteY23" fmla="*/ 9923 h 10984"/>
                <a:gd name="connsiteX24" fmla="*/ 3024 w 10348"/>
                <a:gd name="connsiteY24" fmla="*/ 10980 h 10984"/>
                <a:gd name="connsiteX25" fmla="*/ 4782 w 10348"/>
                <a:gd name="connsiteY25" fmla="*/ 10261 h 10984"/>
                <a:gd name="connsiteX26" fmla="*/ 5051 w 10348"/>
                <a:gd name="connsiteY26" fmla="*/ 8921 h 10984"/>
                <a:gd name="connsiteX27" fmla="*/ 5896 w 10348"/>
                <a:gd name="connsiteY27" fmla="*/ 8595 h 10984"/>
                <a:gd name="connsiteX28" fmla="*/ 7247 w 10348"/>
                <a:gd name="connsiteY28" fmla="*/ 7778 h 10984"/>
                <a:gd name="connsiteX29" fmla="*/ 7297 w 10348"/>
                <a:gd name="connsiteY29" fmla="*/ 6764 h 10984"/>
                <a:gd name="connsiteX30" fmla="*/ 7587 w 10348"/>
                <a:gd name="connsiteY30" fmla="*/ 6503 h 10984"/>
                <a:gd name="connsiteX31" fmla="*/ 7969 w 10348"/>
                <a:gd name="connsiteY31" fmla="*/ 6078 h 10984"/>
                <a:gd name="connsiteX32" fmla="*/ 8619 w 10348"/>
                <a:gd name="connsiteY32" fmla="*/ 4935 h 10984"/>
                <a:gd name="connsiteX33" fmla="*/ 8743 w 10348"/>
                <a:gd name="connsiteY33" fmla="*/ 4248 h 10984"/>
                <a:gd name="connsiteX34" fmla="*/ 9173 w 10348"/>
                <a:gd name="connsiteY34" fmla="*/ 3203 h 10984"/>
                <a:gd name="connsiteX35" fmla="*/ 8826 w 10348"/>
                <a:gd name="connsiteY35" fmla="*/ 2059 h 10984"/>
                <a:gd name="connsiteX36" fmla="*/ 10348 w 10348"/>
                <a:gd name="connsiteY36" fmla="*/ 1765 h 10984"/>
                <a:gd name="connsiteX37" fmla="*/ 9913 w 10348"/>
                <a:gd name="connsiteY37" fmla="*/ 882 h 10984"/>
                <a:gd name="connsiteX38" fmla="*/ 9574 w 10348"/>
                <a:gd name="connsiteY38" fmla="*/ 329 h 10984"/>
                <a:gd name="connsiteX0" fmla="*/ 9574 w 10348"/>
                <a:gd name="connsiteY0" fmla="*/ 329 h 11026"/>
                <a:gd name="connsiteX1" fmla="*/ 8609 w 10348"/>
                <a:gd name="connsiteY1" fmla="*/ 1176 h 11026"/>
                <a:gd name="connsiteX2" fmla="*/ 7957 w 10348"/>
                <a:gd name="connsiteY2" fmla="*/ 1176 h 11026"/>
                <a:gd name="connsiteX3" fmla="*/ 7739 w 10348"/>
                <a:gd name="connsiteY3" fmla="*/ 294 h 11026"/>
                <a:gd name="connsiteX4" fmla="*/ 7522 w 10348"/>
                <a:gd name="connsiteY4" fmla="*/ 0 h 11026"/>
                <a:gd name="connsiteX5" fmla="*/ 6870 w 10348"/>
                <a:gd name="connsiteY5" fmla="*/ 882 h 11026"/>
                <a:gd name="connsiteX6" fmla="*/ 6435 w 10348"/>
                <a:gd name="connsiteY6" fmla="*/ 1471 h 11026"/>
                <a:gd name="connsiteX7" fmla="*/ 5604 w 10348"/>
                <a:gd name="connsiteY7" fmla="*/ 1160 h 11026"/>
                <a:gd name="connsiteX8" fmla="*/ 5131 w 10348"/>
                <a:gd name="connsiteY8" fmla="*/ 1176 h 11026"/>
                <a:gd name="connsiteX9" fmla="*/ 4478 w 10348"/>
                <a:gd name="connsiteY9" fmla="*/ 1176 h 11026"/>
                <a:gd name="connsiteX10" fmla="*/ 3609 w 10348"/>
                <a:gd name="connsiteY10" fmla="*/ 882 h 11026"/>
                <a:gd name="connsiteX11" fmla="*/ 3391 w 10348"/>
                <a:gd name="connsiteY11" fmla="*/ 2353 h 11026"/>
                <a:gd name="connsiteX12" fmla="*/ 2305 w 10348"/>
                <a:gd name="connsiteY12" fmla="*/ 2941 h 11026"/>
                <a:gd name="connsiteX13" fmla="*/ 1870 w 10348"/>
                <a:gd name="connsiteY13" fmla="*/ 3529 h 11026"/>
                <a:gd name="connsiteX14" fmla="*/ 1218 w 10348"/>
                <a:gd name="connsiteY14" fmla="*/ 3235 h 11026"/>
                <a:gd name="connsiteX15" fmla="*/ 574 w 10348"/>
                <a:gd name="connsiteY15" fmla="*/ 2846 h 11026"/>
                <a:gd name="connsiteX16" fmla="*/ 356 w 10348"/>
                <a:gd name="connsiteY16" fmla="*/ 4706 h 11026"/>
                <a:gd name="connsiteX17" fmla="*/ 348 w 10348"/>
                <a:gd name="connsiteY17" fmla="*/ 5882 h 11026"/>
                <a:gd name="connsiteX18" fmla="*/ 0 w 10348"/>
                <a:gd name="connsiteY18" fmla="*/ 7734 h 11026"/>
                <a:gd name="connsiteX19" fmla="*/ 800 w 10348"/>
                <a:gd name="connsiteY19" fmla="*/ 8417 h 11026"/>
                <a:gd name="connsiteX20" fmla="*/ 783 w 10348"/>
                <a:gd name="connsiteY20" fmla="*/ 9706 h 11026"/>
                <a:gd name="connsiteX21" fmla="*/ 472 w 10348"/>
                <a:gd name="connsiteY21" fmla="*/ 10621 h 11026"/>
                <a:gd name="connsiteX22" fmla="*/ 1365 w 10348"/>
                <a:gd name="connsiteY22" fmla="*/ 10882 h 11026"/>
                <a:gd name="connsiteX23" fmla="*/ 2017 w 10348"/>
                <a:gd name="connsiteY23" fmla="*/ 8953 h 11026"/>
                <a:gd name="connsiteX24" fmla="*/ 3024 w 10348"/>
                <a:gd name="connsiteY24" fmla="*/ 10980 h 11026"/>
                <a:gd name="connsiteX25" fmla="*/ 4782 w 10348"/>
                <a:gd name="connsiteY25" fmla="*/ 10261 h 11026"/>
                <a:gd name="connsiteX26" fmla="*/ 5051 w 10348"/>
                <a:gd name="connsiteY26" fmla="*/ 8921 h 11026"/>
                <a:gd name="connsiteX27" fmla="*/ 5896 w 10348"/>
                <a:gd name="connsiteY27" fmla="*/ 8595 h 11026"/>
                <a:gd name="connsiteX28" fmla="*/ 7247 w 10348"/>
                <a:gd name="connsiteY28" fmla="*/ 7778 h 11026"/>
                <a:gd name="connsiteX29" fmla="*/ 7297 w 10348"/>
                <a:gd name="connsiteY29" fmla="*/ 6764 h 11026"/>
                <a:gd name="connsiteX30" fmla="*/ 7587 w 10348"/>
                <a:gd name="connsiteY30" fmla="*/ 6503 h 11026"/>
                <a:gd name="connsiteX31" fmla="*/ 7969 w 10348"/>
                <a:gd name="connsiteY31" fmla="*/ 6078 h 11026"/>
                <a:gd name="connsiteX32" fmla="*/ 8619 w 10348"/>
                <a:gd name="connsiteY32" fmla="*/ 4935 h 11026"/>
                <a:gd name="connsiteX33" fmla="*/ 8743 w 10348"/>
                <a:gd name="connsiteY33" fmla="*/ 4248 h 11026"/>
                <a:gd name="connsiteX34" fmla="*/ 9173 w 10348"/>
                <a:gd name="connsiteY34" fmla="*/ 3203 h 11026"/>
                <a:gd name="connsiteX35" fmla="*/ 8826 w 10348"/>
                <a:gd name="connsiteY35" fmla="*/ 2059 h 11026"/>
                <a:gd name="connsiteX36" fmla="*/ 10348 w 10348"/>
                <a:gd name="connsiteY36" fmla="*/ 1765 h 11026"/>
                <a:gd name="connsiteX37" fmla="*/ 9913 w 10348"/>
                <a:gd name="connsiteY37" fmla="*/ 882 h 11026"/>
                <a:gd name="connsiteX38" fmla="*/ 9574 w 10348"/>
                <a:gd name="connsiteY38" fmla="*/ 329 h 11026"/>
                <a:gd name="connsiteX0" fmla="*/ 9574 w 10348"/>
                <a:gd name="connsiteY0" fmla="*/ 329 h 11026"/>
                <a:gd name="connsiteX1" fmla="*/ 8609 w 10348"/>
                <a:gd name="connsiteY1" fmla="*/ 1176 h 11026"/>
                <a:gd name="connsiteX2" fmla="*/ 7957 w 10348"/>
                <a:gd name="connsiteY2" fmla="*/ 1176 h 11026"/>
                <a:gd name="connsiteX3" fmla="*/ 7739 w 10348"/>
                <a:gd name="connsiteY3" fmla="*/ 294 h 11026"/>
                <a:gd name="connsiteX4" fmla="*/ 7522 w 10348"/>
                <a:gd name="connsiteY4" fmla="*/ 0 h 11026"/>
                <a:gd name="connsiteX5" fmla="*/ 6870 w 10348"/>
                <a:gd name="connsiteY5" fmla="*/ 882 h 11026"/>
                <a:gd name="connsiteX6" fmla="*/ 6435 w 10348"/>
                <a:gd name="connsiteY6" fmla="*/ 1471 h 11026"/>
                <a:gd name="connsiteX7" fmla="*/ 5604 w 10348"/>
                <a:gd name="connsiteY7" fmla="*/ 1160 h 11026"/>
                <a:gd name="connsiteX8" fmla="*/ 5131 w 10348"/>
                <a:gd name="connsiteY8" fmla="*/ 1176 h 11026"/>
                <a:gd name="connsiteX9" fmla="*/ 4478 w 10348"/>
                <a:gd name="connsiteY9" fmla="*/ 1176 h 11026"/>
                <a:gd name="connsiteX10" fmla="*/ 3609 w 10348"/>
                <a:gd name="connsiteY10" fmla="*/ 882 h 11026"/>
                <a:gd name="connsiteX11" fmla="*/ 3391 w 10348"/>
                <a:gd name="connsiteY11" fmla="*/ 2353 h 11026"/>
                <a:gd name="connsiteX12" fmla="*/ 2305 w 10348"/>
                <a:gd name="connsiteY12" fmla="*/ 2941 h 11026"/>
                <a:gd name="connsiteX13" fmla="*/ 1870 w 10348"/>
                <a:gd name="connsiteY13" fmla="*/ 3529 h 11026"/>
                <a:gd name="connsiteX14" fmla="*/ 1218 w 10348"/>
                <a:gd name="connsiteY14" fmla="*/ 3235 h 11026"/>
                <a:gd name="connsiteX15" fmla="*/ 574 w 10348"/>
                <a:gd name="connsiteY15" fmla="*/ 2846 h 11026"/>
                <a:gd name="connsiteX16" fmla="*/ 356 w 10348"/>
                <a:gd name="connsiteY16" fmla="*/ 4706 h 11026"/>
                <a:gd name="connsiteX17" fmla="*/ 348 w 10348"/>
                <a:gd name="connsiteY17" fmla="*/ 5882 h 11026"/>
                <a:gd name="connsiteX18" fmla="*/ 0 w 10348"/>
                <a:gd name="connsiteY18" fmla="*/ 7734 h 11026"/>
                <a:gd name="connsiteX19" fmla="*/ 800 w 10348"/>
                <a:gd name="connsiteY19" fmla="*/ 8417 h 11026"/>
                <a:gd name="connsiteX20" fmla="*/ 783 w 10348"/>
                <a:gd name="connsiteY20" fmla="*/ 9706 h 11026"/>
                <a:gd name="connsiteX21" fmla="*/ 472 w 10348"/>
                <a:gd name="connsiteY21" fmla="*/ 10621 h 11026"/>
                <a:gd name="connsiteX22" fmla="*/ 1017 w 10348"/>
                <a:gd name="connsiteY22" fmla="*/ 9428 h 11026"/>
                <a:gd name="connsiteX23" fmla="*/ 2017 w 10348"/>
                <a:gd name="connsiteY23" fmla="*/ 8953 h 11026"/>
                <a:gd name="connsiteX24" fmla="*/ 3024 w 10348"/>
                <a:gd name="connsiteY24" fmla="*/ 10980 h 11026"/>
                <a:gd name="connsiteX25" fmla="*/ 4782 w 10348"/>
                <a:gd name="connsiteY25" fmla="*/ 10261 h 11026"/>
                <a:gd name="connsiteX26" fmla="*/ 5051 w 10348"/>
                <a:gd name="connsiteY26" fmla="*/ 8921 h 11026"/>
                <a:gd name="connsiteX27" fmla="*/ 5896 w 10348"/>
                <a:gd name="connsiteY27" fmla="*/ 8595 h 11026"/>
                <a:gd name="connsiteX28" fmla="*/ 7247 w 10348"/>
                <a:gd name="connsiteY28" fmla="*/ 7778 h 11026"/>
                <a:gd name="connsiteX29" fmla="*/ 7297 w 10348"/>
                <a:gd name="connsiteY29" fmla="*/ 6764 h 11026"/>
                <a:gd name="connsiteX30" fmla="*/ 7587 w 10348"/>
                <a:gd name="connsiteY30" fmla="*/ 6503 h 11026"/>
                <a:gd name="connsiteX31" fmla="*/ 7969 w 10348"/>
                <a:gd name="connsiteY31" fmla="*/ 6078 h 11026"/>
                <a:gd name="connsiteX32" fmla="*/ 8619 w 10348"/>
                <a:gd name="connsiteY32" fmla="*/ 4935 h 11026"/>
                <a:gd name="connsiteX33" fmla="*/ 8743 w 10348"/>
                <a:gd name="connsiteY33" fmla="*/ 4248 h 11026"/>
                <a:gd name="connsiteX34" fmla="*/ 9173 w 10348"/>
                <a:gd name="connsiteY34" fmla="*/ 3203 h 11026"/>
                <a:gd name="connsiteX35" fmla="*/ 8826 w 10348"/>
                <a:gd name="connsiteY35" fmla="*/ 2059 h 11026"/>
                <a:gd name="connsiteX36" fmla="*/ 10348 w 10348"/>
                <a:gd name="connsiteY36" fmla="*/ 1765 h 11026"/>
                <a:gd name="connsiteX37" fmla="*/ 9913 w 10348"/>
                <a:gd name="connsiteY37" fmla="*/ 882 h 11026"/>
                <a:gd name="connsiteX38" fmla="*/ 9574 w 10348"/>
                <a:gd name="connsiteY38" fmla="*/ 329 h 11026"/>
                <a:gd name="connsiteX0" fmla="*/ 9574 w 10348"/>
                <a:gd name="connsiteY0" fmla="*/ 329 h 11026"/>
                <a:gd name="connsiteX1" fmla="*/ 8609 w 10348"/>
                <a:gd name="connsiteY1" fmla="*/ 1176 h 11026"/>
                <a:gd name="connsiteX2" fmla="*/ 7957 w 10348"/>
                <a:gd name="connsiteY2" fmla="*/ 1176 h 11026"/>
                <a:gd name="connsiteX3" fmla="*/ 7739 w 10348"/>
                <a:gd name="connsiteY3" fmla="*/ 294 h 11026"/>
                <a:gd name="connsiteX4" fmla="*/ 7522 w 10348"/>
                <a:gd name="connsiteY4" fmla="*/ 0 h 11026"/>
                <a:gd name="connsiteX5" fmla="*/ 6870 w 10348"/>
                <a:gd name="connsiteY5" fmla="*/ 882 h 11026"/>
                <a:gd name="connsiteX6" fmla="*/ 6435 w 10348"/>
                <a:gd name="connsiteY6" fmla="*/ 1471 h 11026"/>
                <a:gd name="connsiteX7" fmla="*/ 5604 w 10348"/>
                <a:gd name="connsiteY7" fmla="*/ 1160 h 11026"/>
                <a:gd name="connsiteX8" fmla="*/ 5131 w 10348"/>
                <a:gd name="connsiteY8" fmla="*/ 1176 h 11026"/>
                <a:gd name="connsiteX9" fmla="*/ 4478 w 10348"/>
                <a:gd name="connsiteY9" fmla="*/ 1176 h 11026"/>
                <a:gd name="connsiteX10" fmla="*/ 3609 w 10348"/>
                <a:gd name="connsiteY10" fmla="*/ 882 h 11026"/>
                <a:gd name="connsiteX11" fmla="*/ 3391 w 10348"/>
                <a:gd name="connsiteY11" fmla="*/ 2353 h 11026"/>
                <a:gd name="connsiteX12" fmla="*/ 2305 w 10348"/>
                <a:gd name="connsiteY12" fmla="*/ 2941 h 11026"/>
                <a:gd name="connsiteX13" fmla="*/ 1870 w 10348"/>
                <a:gd name="connsiteY13" fmla="*/ 3529 h 11026"/>
                <a:gd name="connsiteX14" fmla="*/ 1218 w 10348"/>
                <a:gd name="connsiteY14" fmla="*/ 3235 h 11026"/>
                <a:gd name="connsiteX15" fmla="*/ 574 w 10348"/>
                <a:gd name="connsiteY15" fmla="*/ 2846 h 11026"/>
                <a:gd name="connsiteX16" fmla="*/ 356 w 10348"/>
                <a:gd name="connsiteY16" fmla="*/ 4706 h 11026"/>
                <a:gd name="connsiteX17" fmla="*/ 348 w 10348"/>
                <a:gd name="connsiteY17" fmla="*/ 5882 h 11026"/>
                <a:gd name="connsiteX18" fmla="*/ 0 w 10348"/>
                <a:gd name="connsiteY18" fmla="*/ 7734 h 11026"/>
                <a:gd name="connsiteX19" fmla="*/ 800 w 10348"/>
                <a:gd name="connsiteY19" fmla="*/ 8417 h 11026"/>
                <a:gd name="connsiteX20" fmla="*/ 783 w 10348"/>
                <a:gd name="connsiteY20" fmla="*/ 9706 h 11026"/>
                <a:gd name="connsiteX21" fmla="*/ 472 w 10348"/>
                <a:gd name="connsiteY21" fmla="*/ 10621 h 11026"/>
                <a:gd name="connsiteX22" fmla="*/ 1156 w 10348"/>
                <a:gd name="connsiteY22" fmla="*/ 10204 h 11026"/>
                <a:gd name="connsiteX23" fmla="*/ 2017 w 10348"/>
                <a:gd name="connsiteY23" fmla="*/ 8953 h 11026"/>
                <a:gd name="connsiteX24" fmla="*/ 3024 w 10348"/>
                <a:gd name="connsiteY24" fmla="*/ 10980 h 11026"/>
                <a:gd name="connsiteX25" fmla="*/ 4782 w 10348"/>
                <a:gd name="connsiteY25" fmla="*/ 10261 h 11026"/>
                <a:gd name="connsiteX26" fmla="*/ 5051 w 10348"/>
                <a:gd name="connsiteY26" fmla="*/ 8921 h 11026"/>
                <a:gd name="connsiteX27" fmla="*/ 5896 w 10348"/>
                <a:gd name="connsiteY27" fmla="*/ 8595 h 11026"/>
                <a:gd name="connsiteX28" fmla="*/ 7247 w 10348"/>
                <a:gd name="connsiteY28" fmla="*/ 7778 h 11026"/>
                <a:gd name="connsiteX29" fmla="*/ 7297 w 10348"/>
                <a:gd name="connsiteY29" fmla="*/ 6764 h 11026"/>
                <a:gd name="connsiteX30" fmla="*/ 7587 w 10348"/>
                <a:gd name="connsiteY30" fmla="*/ 6503 h 11026"/>
                <a:gd name="connsiteX31" fmla="*/ 7969 w 10348"/>
                <a:gd name="connsiteY31" fmla="*/ 6078 h 11026"/>
                <a:gd name="connsiteX32" fmla="*/ 8619 w 10348"/>
                <a:gd name="connsiteY32" fmla="*/ 4935 h 11026"/>
                <a:gd name="connsiteX33" fmla="*/ 8743 w 10348"/>
                <a:gd name="connsiteY33" fmla="*/ 4248 h 11026"/>
                <a:gd name="connsiteX34" fmla="*/ 9173 w 10348"/>
                <a:gd name="connsiteY34" fmla="*/ 3203 h 11026"/>
                <a:gd name="connsiteX35" fmla="*/ 8826 w 10348"/>
                <a:gd name="connsiteY35" fmla="*/ 2059 h 11026"/>
                <a:gd name="connsiteX36" fmla="*/ 10348 w 10348"/>
                <a:gd name="connsiteY36" fmla="*/ 1765 h 11026"/>
                <a:gd name="connsiteX37" fmla="*/ 9913 w 10348"/>
                <a:gd name="connsiteY37" fmla="*/ 882 h 11026"/>
                <a:gd name="connsiteX38" fmla="*/ 9574 w 10348"/>
                <a:gd name="connsiteY38" fmla="*/ 329 h 11026"/>
                <a:gd name="connsiteX0" fmla="*/ 9574 w 10348"/>
                <a:gd name="connsiteY0" fmla="*/ 329 h 10987"/>
                <a:gd name="connsiteX1" fmla="*/ 8609 w 10348"/>
                <a:gd name="connsiteY1" fmla="*/ 1176 h 10987"/>
                <a:gd name="connsiteX2" fmla="*/ 7957 w 10348"/>
                <a:gd name="connsiteY2" fmla="*/ 1176 h 10987"/>
                <a:gd name="connsiteX3" fmla="*/ 7739 w 10348"/>
                <a:gd name="connsiteY3" fmla="*/ 294 h 10987"/>
                <a:gd name="connsiteX4" fmla="*/ 7522 w 10348"/>
                <a:gd name="connsiteY4" fmla="*/ 0 h 10987"/>
                <a:gd name="connsiteX5" fmla="*/ 6870 w 10348"/>
                <a:gd name="connsiteY5" fmla="*/ 882 h 10987"/>
                <a:gd name="connsiteX6" fmla="*/ 6435 w 10348"/>
                <a:gd name="connsiteY6" fmla="*/ 1471 h 10987"/>
                <a:gd name="connsiteX7" fmla="*/ 5604 w 10348"/>
                <a:gd name="connsiteY7" fmla="*/ 1160 h 10987"/>
                <a:gd name="connsiteX8" fmla="*/ 5131 w 10348"/>
                <a:gd name="connsiteY8" fmla="*/ 1176 h 10987"/>
                <a:gd name="connsiteX9" fmla="*/ 4478 w 10348"/>
                <a:gd name="connsiteY9" fmla="*/ 1176 h 10987"/>
                <a:gd name="connsiteX10" fmla="*/ 3609 w 10348"/>
                <a:gd name="connsiteY10" fmla="*/ 882 h 10987"/>
                <a:gd name="connsiteX11" fmla="*/ 3391 w 10348"/>
                <a:gd name="connsiteY11" fmla="*/ 2353 h 10987"/>
                <a:gd name="connsiteX12" fmla="*/ 2305 w 10348"/>
                <a:gd name="connsiteY12" fmla="*/ 2941 h 10987"/>
                <a:gd name="connsiteX13" fmla="*/ 1870 w 10348"/>
                <a:gd name="connsiteY13" fmla="*/ 3529 h 10987"/>
                <a:gd name="connsiteX14" fmla="*/ 1218 w 10348"/>
                <a:gd name="connsiteY14" fmla="*/ 3235 h 10987"/>
                <a:gd name="connsiteX15" fmla="*/ 574 w 10348"/>
                <a:gd name="connsiteY15" fmla="*/ 2846 h 10987"/>
                <a:gd name="connsiteX16" fmla="*/ 356 w 10348"/>
                <a:gd name="connsiteY16" fmla="*/ 4706 h 10987"/>
                <a:gd name="connsiteX17" fmla="*/ 348 w 10348"/>
                <a:gd name="connsiteY17" fmla="*/ 5882 h 10987"/>
                <a:gd name="connsiteX18" fmla="*/ 0 w 10348"/>
                <a:gd name="connsiteY18" fmla="*/ 7734 h 10987"/>
                <a:gd name="connsiteX19" fmla="*/ 800 w 10348"/>
                <a:gd name="connsiteY19" fmla="*/ 8417 h 10987"/>
                <a:gd name="connsiteX20" fmla="*/ 783 w 10348"/>
                <a:gd name="connsiteY20" fmla="*/ 9706 h 10987"/>
                <a:gd name="connsiteX21" fmla="*/ 472 w 10348"/>
                <a:gd name="connsiteY21" fmla="*/ 10621 h 10987"/>
                <a:gd name="connsiteX22" fmla="*/ 1156 w 10348"/>
                <a:gd name="connsiteY22" fmla="*/ 10204 h 10987"/>
                <a:gd name="connsiteX23" fmla="*/ 2017 w 10348"/>
                <a:gd name="connsiteY23" fmla="*/ 9826 h 10987"/>
                <a:gd name="connsiteX24" fmla="*/ 3024 w 10348"/>
                <a:gd name="connsiteY24" fmla="*/ 10980 h 10987"/>
                <a:gd name="connsiteX25" fmla="*/ 4782 w 10348"/>
                <a:gd name="connsiteY25" fmla="*/ 10261 h 10987"/>
                <a:gd name="connsiteX26" fmla="*/ 5051 w 10348"/>
                <a:gd name="connsiteY26" fmla="*/ 8921 h 10987"/>
                <a:gd name="connsiteX27" fmla="*/ 5896 w 10348"/>
                <a:gd name="connsiteY27" fmla="*/ 8595 h 10987"/>
                <a:gd name="connsiteX28" fmla="*/ 7247 w 10348"/>
                <a:gd name="connsiteY28" fmla="*/ 7778 h 10987"/>
                <a:gd name="connsiteX29" fmla="*/ 7297 w 10348"/>
                <a:gd name="connsiteY29" fmla="*/ 6764 h 10987"/>
                <a:gd name="connsiteX30" fmla="*/ 7587 w 10348"/>
                <a:gd name="connsiteY30" fmla="*/ 6503 h 10987"/>
                <a:gd name="connsiteX31" fmla="*/ 7969 w 10348"/>
                <a:gd name="connsiteY31" fmla="*/ 6078 h 10987"/>
                <a:gd name="connsiteX32" fmla="*/ 8619 w 10348"/>
                <a:gd name="connsiteY32" fmla="*/ 4935 h 10987"/>
                <a:gd name="connsiteX33" fmla="*/ 8743 w 10348"/>
                <a:gd name="connsiteY33" fmla="*/ 4248 h 10987"/>
                <a:gd name="connsiteX34" fmla="*/ 9173 w 10348"/>
                <a:gd name="connsiteY34" fmla="*/ 3203 h 10987"/>
                <a:gd name="connsiteX35" fmla="*/ 8826 w 10348"/>
                <a:gd name="connsiteY35" fmla="*/ 2059 h 10987"/>
                <a:gd name="connsiteX36" fmla="*/ 10348 w 10348"/>
                <a:gd name="connsiteY36" fmla="*/ 1765 h 10987"/>
                <a:gd name="connsiteX37" fmla="*/ 9913 w 10348"/>
                <a:gd name="connsiteY37" fmla="*/ 882 h 10987"/>
                <a:gd name="connsiteX38" fmla="*/ 9574 w 10348"/>
                <a:gd name="connsiteY38" fmla="*/ 329 h 10987"/>
                <a:gd name="connsiteX0" fmla="*/ 9574 w 10348"/>
                <a:gd name="connsiteY0" fmla="*/ 329 h 10633"/>
                <a:gd name="connsiteX1" fmla="*/ 8609 w 10348"/>
                <a:gd name="connsiteY1" fmla="*/ 1176 h 10633"/>
                <a:gd name="connsiteX2" fmla="*/ 7957 w 10348"/>
                <a:gd name="connsiteY2" fmla="*/ 1176 h 10633"/>
                <a:gd name="connsiteX3" fmla="*/ 7739 w 10348"/>
                <a:gd name="connsiteY3" fmla="*/ 294 h 10633"/>
                <a:gd name="connsiteX4" fmla="*/ 7522 w 10348"/>
                <a:gd name="connsiteY4" fmla="*/ 0 h 10633"/>
                <a:gd name="connsiteX5" fmla="*/ 6870 w 10348"/>
                <a:gd name="connsiteY5" fmla="*/ 882 h 10633"/>
                <a:gd name="connsiteX6" fmla="*/ 6435 w 10348"/>
                <a:gd name="connsiteY6" fmla="*/ 1471 h 10633"/>
                <a:gd name="connsiteX7" fmla="*/ 5604 w 10348"/>
                <a:gd name="connsiteY7" fmla="*/ 1160 h 10633"/>
                <a:gd name="connsiteX8" fmla="*/ 5131 w 10348"/>
                <a:gd name="connsiteY8" fmla="*/ 1176 h 10633"/>
                <a:gd name="connsiteX9" fmla="*/ 4478 w 10348"/>
                <a:gd name="connsiteY9" fmla="*/ 1176 h 10633"/>
                <a:gd name="connsiteX10" fmla="*/ 3609 w 10348"/>
                <a:gd name="connsiteY10" fmla="*/ 882 h 10633"/>
                <a:gd name="connsiteX11" fmla="*/ 3391 w 10348"/>
                <a:gd name="connsiteY11" fmla="*/ 2353 h 10633"/>
                <a:gd name="connsiteX12" fmla="*/ 2305 w 10348"/>
                <a:gd name="connsiteY12" fmla="*/ 2941 h 10633"/>
                <a:gd name="connsiteX13" fmla="*/ 1870 w 10348"/>
                <a:gd name="connsiteY13" fmla="*/ 3529 h 10633"/>
                <a:gd name="connsiteX14" fmla="*/ 1218 w 10348"/>
                <a:gd name="connsiteY14" fmla="*/ 3235 h 10633"/>
                <a:gd name="connsiteX15" fmla="*/ 574 w 10348"/>
                <a:gd name="connsiteY15" fmla="*/ 2846 h 10633"/>
                <a:gd name="connsiteX16" fmla="*/ 356 w 10348"/>
                <a:gd name="connsiteY16" fmla="*/ 4706 h 10633"/>
                <a:gd name="connsiteX17" fmla="*/ 348 w 10348"/>
                <a:gd name="connsiteY17" fmla="*/ 5882 h 10633"/>
                <a:gd name="connsiteX18" fmla="*/ 0 w 10348"/>
                <a:gd name="connsiteY18" fmla="*/ 7734 h 10633"/>
                <a:gd name="connsiteX19" fmla="*/ 800 w 10348"/>
                <a:gd name="connsiteY19" fmla="*/ 8417 h 10633"/>
                <a:gd name="connsiteX20" fmla="*/ 783 w 10348"/>
                <a:gd name="connsiteY20" fmla="*/ 9706 h 10633"/>
                <a:gd name="connsiteX21" fmla="*/ 472 w 10348"/>
                <a:gd name="connsiteY21" fmla="*/ 10621 h 10633"/>
                <a:gd name="connsiteX22" fmla="*/ 1156 w 10348"/>
                <a:gd name="connsiteY22" fmla="*/ 10204 h 10633"/>
                <a:gd name="connsiteX23" fmla="*/ 2017 w 10348"/>
                <a:gd name="connsiteY23" fmla="*/ 9826 h 10633"/>
                <a:gd name="connsiteX24" fmla="*/ 3442 w 10348"/>
                <a:gd name="connsiteY24" fmla="*/ 10010 h 10633"/>
                <a:gd name="connsiteX25" fmla="*/ 4782 w 10348"/>
                <a:gd name="connsiteY25" fmla="*/ 10261 h 10633"/>
                <a:gd name="connsiteX26" fmla="*/ 5051 w 10348"/>
                <a:gd name="connsiteY26" fmla="*/ 8921 h 10633"/>
                <a:gd name="connsiteX27" fmla="*/ 5896 w 10348"/>
                <a:gd name="connsiteY27" fmla="*/ 8595 h 10633"/>
                <a:gd name="connsiteX28" fmla="*/ 7247 w 10348"/>
                <a:gd name="connsiteY28" fmla="*/ 7778 h 10633"/>
                <a:gd name="connsiteX29" fmla="*/ 7297 w 10348"/>
                <a:gd name="connsiteY29" fmla="*/ 6764 h 10633"/>
                <a:gd name="connsiteX30" fmla="*/ 7587 w 10348"/>
                <a:gd name="connsiteY30" fmla="*/ 6503 h 10633"/>
                <a:gd name="connsiteX31" fmla="*/ 7969 w 10348"/>
                <a:gd name="connsiteY31" fmla="*/ 6078 h 10633"/>
                <a:gd name="connsiteX32" fmla="*/ 8619 w 10348"/>
                <a:gd name="connsiteY32" fmla="*/ 4935 h 10633"/>
                <a:gd name="connsiteX33" fmla="*/ 8743 w 10348"/>
                <a:gd name="connsiteY33" fmla="*/ 4248 h 10633"/>
                <a:gd name="connsiteX34" fmla="*/ 9173 w 10348"/>
                <a:gd name="connsiteY34" fmla="*/ 3203 h 10633"/>
                <a:gd name="connsiteX35" fmla="*/ 8826 w 10348"/>
                <a:gd name="connsiteY35" fmla="*/ 2059 h 10633"/>
                <a:gd name="connsiteX36" fmla="*/ 10348 w 10348"/>
                <a:gd name="connsiteY36" fmla="*/ 1765 h 10633"/>
                <a:gd name="connsiteX37" fmla="*/ 9913 w 10348"/>
                <a:gd name="connsiteY37" fmla="*/ 882 h 10633"/>
                <a:gd name="connsiteX38" fmla="*/ 9574 w 10348"/>
                <a:gd name="connsiteY38" fmla="*/ 329 h 10633"/>
                <a:gd name="connsiteX0" fmla="*/ 9574 w 10348"/>
                <a:gd name="connsiteY0" fmla="*/ 329 h 10633"/>
                <a:gd name="connsiteX1" fmla="*/ 8609 w 10348"/>
                <a:gd name="connsiteY1" fmla="*/ 1176 h 10633"/>
                <a:gd name="connsiteX2" fmla="*/ 7957 w 10348"/>
                <a:gd name="connsiteY2" fmla="*/ 1176 h 10633"/>
                <a:gd name="connsiteX3" fmla="*/ 7739 w 10348"/>
                <a:gd name="connsiteY3" fmla="*/ 294 h 10633"/>
                <a:gd name="connsiteX4" fmla="*/ 7522 w 10348"/>
                <a:gd name="connsiteY4" fmla="*/ 0 h 10633"/>
                <a:gd name="connsiteX5" fmla="*/ 6870 w 10348"/>
                <a:gd name="connsiteY5" fmla="*/ 882 h 10633"/>
                <a:gd name="connsiteX6" fmla="*/ 6435 w 10348"/>
                <a:gd name="connsiteY6" fmla="*/ 1471 h 10633"/>
                <a:gd name="connsiteX7" fmla="*/ 5604 w 10348"/>
                <a:gd name="connsiteY7" fmla="*/ 1160 h 10633"/>
                <a:gd name="connsiteX8" fmla="*/ 5131 w 10348"/>
                <a:gd name="connsiteY8" fmla="*/ 1176 h 10633"/>
                <a:gd name="connsiteX9" fmla="*/ 4478 w 10348"/>
                <a:gd name="connsiteY9" fmla="*/ 1176 h 10633"/>
                <a:gd name="connsiteX10" fmla="*/ 3609 w 10348"/>
                <a:gd name="connsiteY10" fmla="*/ 882 h 10633"/>
                <a:gd name="connsiteX11" fmla="*/ 3391 w 10348"/>
                <a:gd name="connsiteY11" fmla="*/ 2353 h 10633"/>
                <a:gd name="connsiteX12" fmla="*/ 2305 w 10348"/>
                <a:gd name="connsiteY12" fmla="*/ 2941 h 10633"/>
                <a:gd name="connsiteX13" fmla="*/ 1870 w 10348"/>
                <a:gd name="connsiteY13" fmla="*/ 3529 h 10633"/>
                <a:gd name="connsiteX14" fmla="*/ 1218 w 10348"/>
                <a:gd name="connsiteY14" fmla="*/ 3235 h 10633"/>
                <a:gd name="connsiteX15" fmla="*/ 574 w 10348"/>
                <a:gd name="connsiteY15" fmla="*/ 2846 h 10633"/>
                <a:gd name="connsiteX16" fmla="*/ 356 w 10348"/>
                <a:gd name="connsiteY16" fmla="*/ 4706 h 10633"/>
                <a:gd name="connsiteX17" fmla="*/ 348 w 10348"/>
                <a:gd name="connsiteY17" fmla="*/ 5882 h 10633"/>
                <a:gd name="connsiteX18" fmla="*/ 0 w 10348"/>
                <a:gd name="connsiteY18" fmla="*/ 7734 h 10633"/>
                <a:gd name="connsiteX19" fmla="*/ 800 w 10348"/>
                <a:gd name="connsiteY19" fmla="*/ 8417 h 10633"/>
                <a:gd name="connsiteX20" fmla="*/ 783 w 10348"/>
                <a:gd name="connsiteY20" fmla="*/ 9706 h 10633"/>
                <a:gd name="connsiteX21" fmla="*/ 472 w 10348"/>
                <a:gd name="connsiteY21" fmla="*/ 10621 h 10633"/>
                <a:gd name="connsiteX22" fmla="*/ 1156 w 10348"/>
                <a:gd name="connsiteY22" fmla="*/ 10204 h 10633"/>
                <a:gd name="connsiteX23" fmla="*/ 2017 w 10348"/>
                <a:gd name="connsiteY23" fmla="*/ 9826 h 10633"/>
                <a:gd name="connsiteX24" fmla="*/ 3094 w 10348"/>
                <a:gd name="connsiteY24" fmla="*/ 8652 h 10633"/>
                <a:gd name="connsiteX25" fmla="*/ 4782 w 10348"/>
                <a:gd name="connsiteY25" fmla="*/ 10261 h 10633"/>
                <a:gd name="connsiteX26" fmla="*/ 5051 w 10348"/>
                <a:gd name="connsiteY26" fmla="*/ 8921 h 10633"/>
                <a:gd name="connsiteX27" fmla="*/ 5896 w 10348"/>
                <a:gd name="connsiteY27" fmla="*/ 8595 h 10633"/>
                <a:gd name="connsiteX28" fmla="*/ 7247 w 10348"/>
                <a:gd name="connsiteY28" fmla="*/ 7778 h 10633"/>
                <a:gd name="connsiteX29" fmla="*/ 7297 w 10348"/>
                <a:gd name="connsiteY29" fmla="*/ 6764 h 10633"/>
                <a:gd name="connsiteX30" fmla="*/ 7587 w 10348"/>
                <a:gd name="connsiteY30" fmla="*/ 6503 h 10633"/>
                <a:gd name="connsiteX31" fmla="*/ 7969 w 10348"/>
                <a:gd name="connsiteY31" fmla="*/ 6078 h 10633"/>
                <a:gd name="connsiteX32" fmla="*/ 8619 w 10348"/>
                <a:gd name="connsiteY32" fmla="*/ 4935 h 10633"/>
                <a:gd name="connsiteX33" fmla="*/ 8743 w 10348"/>
                <a:gd name="connsiteY33" fmla="*/ 4248 h 10633"/>
                <a:gd name="connsiteX34" fmla="*/ 9173 w 10348"/>
                <a:gd name="connsiteY34" fmla="*/ 3203 h 10633"/>
                <a:gd name="connsiteX35" fmla="*/ 8826 w 10348"/>
                <a:gd name="connsiteY35" fmla="*/ 2059 h 10633"/>
                <a:gd name="connsiteX36" fmla="*/ 10348 w 10348"/>
                <a:gd name="connsiteY36" fmla="*/ 1765 h 10633"/>
                <a:gd name="connsiteX37" fmla="*/ 9913 w 10348"/>
                <a:gd name="connsiteY37" fmla="*/ 882 h 10633"/>
                <a:gd name="connsiteX38" fmla="*/ 9574 w 10348"/>
                <a:gd name="connsiteY38" fmla="*/ 329 h 10633"/>
                <a:gd name="connsiteX0" fmla="*/ 9574 w 10348"/>
                <a:gd name="connsiteY0" fmla="*/ 329 h 10633"/>
                <a:gd name="connsiteX1" fmla="*/ 8609 w 10348"/>
                <a:gd name="connsiteY1" fmla="*/ 1176 h 10633"/>
                <a:gd name="connsiteX2" fmla="*/ 7957 w 10348"/>
                <a:gd name="connsiteY2" fmla="*/ 1176 h 10633"/>
                <a:gd name="connsiteX3" fmla="*/ 7739 w 10348"/>
                <a:gd name="connsiteY3" fmla="*/ 294 h 10633"/>
                <a:gd name="connsiteX4" fmla="*/ 7522 w 10348"/>
                <a:gd name="connsiteY4" fmla="*/ 0 h 10633"/>
                <a:gd name="connsiteX5" fmla="*/ 6870 w 10348"/>
                <a:gd name="connsiteY5" fmla="*/ 882 h 10633"/>
                <a:gd name="connsiteX6" fmla="*/ 6435 w 10348"/>
                <a:gd name="connsiteY6" fmla="*/ 1471 h 10633"/>
                <a:gd name="connsiteX7" fmla="*/ 5604 w 10348"/>
                <a:gd name="connsiteY7" fmla="*/ 1160 h 10633"/>
                <a:gd name="connsiteX8" fmla="*/ 5131 w 10348"/>
                <a:gd name="connsiteY8" fmla="*/ 1176 h 10633"/>
                <a:gd name="connsiteX9" fmla="*/ 4478 w 10348"/>
                <a:gd name="connsiteY9" fmla="*/ 1176 h 10633"/>
                <a:gd name="connsiteX10" fmla="*/ 3609 w 10348"/>
                <a:gd name="connsiteY10" fmla="*/ 882 h 10633"/>
                <a:gd name="connsiteX11" fmla="*/ 3391 w 10348"/>
                <a:gd name="connsiteY11" fmla="*/ 2353 h 10633"/>
                <a:gd name="connsiteX12" fmla="*/ 2305 w 10348"/>
                <a:gd name="connsiteY12" fmla="*/ 2941 h 10633"/>
                <a:gd name="connsiteX13" fmla="*/ 1870 w 10348"/>
                <a:gd name="connsiteY13" fmla="*/ 3529 h 10633"/>
                <a:gd name="connsiteX14" fmla="*/ 1218 w 10348"/>
                <a:gd name="connsiteY14" fmla="*/ 3235 h 10633"/>
                <a:gd name="connsiteX15" fmla="*/ 574 w 10348"/>
                <a:gd name="connsiteY15" fmla="*/ 2846 h 10633"/>
                <a:gd name="connsiteX16" fmla="*/ 356 w 10348"/>
                <a:gd name="connsiteY16" fmla="*/ 4706 h 10633"/>
                <a:gd name="connsiteX17" fmla="*/ 348 w 10348"/>
                <a:gd name="connsiteY17" fmla="*/ 5882 h 10633"/>
                <a:gd name="connsiteX18" fmla="*/ 0 w 10348"/>
                <a:gd name="connsiteY18" fmla="*/ 7734 h 10633"/>
                <a:gd name="connsiteX19" fmla="*/ 800 w 10348"/>
                <a:gd name="connsiteY19" fmla="*/ 8417 h 10633"/>
                <a:gd name="connsiteX20" fmla="*/ 783 w 10348"/>
                <a:gd name="connsiteY20" fmla="*/ 9706 h 10633"/>
                <a:gd name="connsiteX21" fmla="*/ 472 w 10348"/>
                <a:gd name="connsiteY21" fmla="*/ 10621 h 10633"/>
                <a:gd name="connsiteX22" fmla="*/ 1156 w 10348"/>
                <a:gd name="connsiteY22" fmla="*/ 10204 h 10633"/>
                <a:gd name="connsiteX23" fmla="*/ 2017 w 10348"/>
                <a:gd name="connsiteY23" fmla="*/ 9826 h 10633"/>
                <a:gd name="connsiteX24" fmla="*/ 2816 w 10348"/>
                <a:gd name="connsiteY24" fmla="*/ 9816 h 10633"/>
                <a:gd name="connsiteX25" fmla="*/ 4782 w 10348"/>
                <a:gd name="connsiteY25" fmla="*/ 10261 h 10633"/>
                <a:gd name="connsiteX26" fmla="*/ 5051 w 10348"/>
                <a:gd name="connsiteY26" fmla="*/ 8921 h 10633"/>
                <a:gd name="connsiteX27" fmla="*/ 5896 w 10348"/>
                <a:gd name="connsiteY27" fmla="*/ 8595 h 10633"/>
                <a:gd name="connsiteX28" fmla="*/ 7247 w 10348"/>
                <a:gd name="connsiteY28" fmla="*/ 7778 h 10633"/>
                <a:gd name="connsiteX29" fmla="*/ 7297 w 10348"/>
                <a:gd name="connsiteY29" fmla="*/ 6764 h 10633"/>
                <a:gd name="connsiteX30" fmla="*/ 7587 w 10348"/>
                <a:gd name="connsiteY30" fmla="*/ 6503 h 10633"/>
                <a:gd name="connsiteX31" fmla="*/ 7969 w 10348"/>
                <a:gd name="connsiteY31" fmla="*/ 6078 h 10633"/>
                <a:gd name="connsiteX32" fmla="*/ 8619 w 10348"/>
                <a:gd name="connsiteY32" fmla="*/ 4935 h 10633"/>
                <a:gd name="connsiteX33" fmla="*/ 8743 w 10348"/>
                <a:gd name="connsiteY33" fmla="*/ 4248 h 10633"/>
                <a:gd name="connsiteX34" fmla="*/ 9173 w 10348"/>
                <a:gd name="connsiteY34" fmla="*/ 3203 h 10633"/>
                <a:gd name="connsiteX35" fmla="*/ 8826 w 10348"/>
                <a:gd name="connsiteY35" fmla="*/ 2059 h 10633"/>
                <a:gd name="connsiteX36" fmla="*/ 10348 w 10348"/>
                <a:gd name="connsiteY36" fmla="*/ 1765 h 10633"/>
                <a:gd name="connsiteX37" fmla="*/ 9913 w 10348"/>
                <a:gd name="connsiteY37" fmla="*/ 882 h 10633"/>
                <a:gd name="connsiteX38" fmla="*/ 9574 w 10348"/>
                <a:gd name="connsiteY38" fmla="*/ 329 h 10633"/>
                <a:gd name="connsiteX0" fmla="*/ 9574 w 10348"/>
                <a:gd name="connsiteY0" fmla="*/ 329 h 10857"/>
                <a:gd name="connsiteX1" fmla="*/ 8609 w 10348"/>
                <a:gd name="connsiteY1" fmla="*/ 1176 h 10857"/>
                <a:gd name="connsiteX2" fmla="*/ 7957 w 10348"/>
                <a:gd name="connsiteY2" fmla="*/ 1176 h 10857"/>
                <a:gd name="connsiteX3" fmla="*/ 7739 w 10348"/>
                <a:gd name="connsiteY3" fmla="*/ 294 h 10857"/>
                <a:gd name="connsiteX4" fmla="*/ 7522 w 10348"/>
                <a:gd name="connsiteY4" fmla="*/ 0 h 10857"/>
                <a:gd name="connsiteX5" fmla="*/ 6870 w 10348"/>
                <a:gd name="connsiteY5" fmla="*/ 882 h 10857"/>
                <a:gd name="connsiteX6" fmla="*/ 6435 w 10348"/>
                <a:gd name="connsiteY6" fmla="*/ 1471 h 10857"/>
                <a:gd name="connsiteX7" fmla="*/ 5604 w 10348"/>
                <a:gd name="connsiteY7" fmla="*/ 1160 h 10857"/>
                <a:gd name="connsiteX8" fmla="*/ 5131 w 10348"/>
                <a:gd name="connsiteY8" fmla="*/ 1176 h 10857"/>
                <a:gd name="connsiteX9" fmla="*/ 4478 w 10348"/>
                <a:gd name="connsiteY9" fmla="*/ 1176 h 10857"/>
                <a:gd name="connsiteX10" fmla="*/ 3609 w 10348"/>
                <a:gd name="connsiteY10" fmla="*/ 882 h 10857"/>
                <a:gd name="connsiteX11" fmla="*/ 3391 w 10348"/>
                <a:gd name="connsiteY11" fmla="*/ 2353 h 10857"/>
                <a:gd name="connsiteX12" fmla="*/ 2305 w 10348"/>
                <a:gd name="connsiteY12" fmla="*/ 2941 h 10857"/>
                <a:gd name="connsiteX13" fmla="*/ 1870 w 10348"/>
                <a:gd name="connsiteY13" fmla="*/ 3529 h 10857"/>
                <a:gd name="connsiteX14" fmla="*/ 1218 w 10348"/>
                <a:gd name="connsiteY14" fmla="*/ 3235 h 10857"/>
                <a:gd name="connsiteX15" fmla="*/ 574 w 10348"/>
                <a:gd name="connsiteY15" fmla="*/ 2846 h 10857"/>
                <a:gd name="connsiteX16" fmla="*/ 356 w 10348"/>
                <a:gd name="connsiteY16" fmla="*/ 4706 h 10857"/>
                <a:gd name="connsiteX17" fmla="*/ 348 w 10348"/>
                <a:gd name="connsiteY17" fmla="*/ 5882 h 10857"/>
                <a:gd name="connsiteX18" fmla="*/ 0 w 10348"/>
                <a:gd name="connsiteY18" fmla="*/ 7734 h 10857"/>
                <a:gd name="connsiteX19" fmla="*/ 800 w 10348"/>
                <a:gd name="connsiteY19" fmla="*/ 8417 h 10857"/>
                <a:gd name="connsiteX20" fmla="*/ 783 w 10348"/>
                <a:gd name="connsiteY20" fmla="*/ 9706 h 10857"/>
                <a:gd name="connsiteX21" fmla="*/ 472 w 10348"/>
                <a:gd name="connsiteY21" fmla="*/ 10621 h 10857"/>
                <a:gd name="connsiteX22" fmla="*/ 1156 w 10348"/>
                <a:gd name="connsiteY22" fmla="*/ 10204 h 10857"/>
                <a:gd name="connsiteX23" fmla="*/ 2017 w 10348"/>
                <a:gd name="connsiteY23" fmla="*/ 9826 h 10857"/>
                <a:gd name="connsiteX24" fmla="*/ 2816 w 10348"/>
                <a:gd name="connsiteY24" fmla="*/ 9816 h 10857"/>
                <a:gd name="connsiteX25" fmla="*/ 4016 w 10348"/>
                <a:gd name="connsiteY25" fmla="*/ 10843 h 10857"/>
                <a:gd name="connsiteX26" fmla="*/ 5051 w 10348"/>
                <a:gd name="connsiteY26" fmla="*/ 8921 h 10857"/>
                <a:gd name="connsiteX27" fmla="*/ 5896 w 10348"/>
                <a:gd name="connsiteY27" fmla="*/ 8595 h 10857"/>
                <a:gd name="connsiteX28" fmla="*/ 7247 w 10348"/>
                <a:gd name="connsiteY28" fmla="*/ 7778 h 10857"/>
                <a:gd name="connsiteX29" fmla="*/ 7297 w 10348"/>
                <a:gd name="connsiteY29" fmla="*/ 6764 h 10857"/>
                <a:gd name="connsiteX30" fmla="*/ 7587 w 10348"/>
                <a:gd name="connsiteY30" fmla="*/ 6503 h 10857"/>
                <a:gd name="connsiteX31" fmla="*/ 7969 w 10348"/>
                <a:gd name="connsiteY31" fmla="*/ 6078 h 10857"/>
                <a:gd name="connsiteX32" fmla="*/ 8619 w 10348"/>
                <a:gd name="connsiteY32" fmla="*/ 4935 h 10857"/>
                <a:gd name="connsiteX33" fmla="*/ 8743 w 10348"/>
                <a:gd name="connsiteY33" fmla="*/ 4248 h 10857"/>
                <a:gd name="connsiteX34" fmla="*/ 9173 w 10348"/>
                <a:gd name="connsiteY34" fmla="*/ 3203 h 10857"/>
                <a:gd name="connsiteX35" fmla="*/ 8826 w 10348"/>
                <a:gd name="connsiteY35" fmla="*/ 2059 h 10857"/>
                <a:gd name="connsiteX36" fmla="*/ 10348 w 10348"/>
                <a:gd name="connsiteY36" fmla="*/ 1765 h 10857"/>
                <a:gd name="connsiteX37" fmla="*/ 9913 w 10348"/>
                <a:gd name="connsiteY37" fmla="*/ 882 h 10857"/>
                <a:gd name="connsiteX38" fmla="*/ 9574 w 10348"/>
                <a:gd name="connsiteY38" fmla="*/ 329 h 10857"/>
                <a:gd name="connsiteX0" fmla="*/ 9574 w 10348"/>
                <a:gd name="connsiteY0" fmla="*/ 329 h 11549"/>
                <a:gd name="connsiteX1" fmla="*/ 8609 w 10348"/>
                <a:gd name="connsiteY1" fmla="*/ 1176 h 11549"/>
                <a:gd name="connsiteX2" fmla="*/ 7957 w 10348"/>
                <a:gd name="connsiteY2" fmla="*/ 1176 h 11549"/>
                <a:gd name="connsiteX3" fmla="*/ 7739 w 10348"/>
                <a:gd name="connsiteY3" fmla="*/ 294 h 11549"/>
                <a:gd name="connsiteX4" fmla="*/ 7522 w 10348"/>
                <a:gd name="connsiteY4" fmla="*/ 0 h 11549"/>
                <a:gd name="connsiteX5" fmla="*/ 6870 w 10348"/>
                <a:gd name="connsiteY5" fmla="*/ 882 h 11549"/>
                <a:gd name="connsiteX6" fmla="*/ 6435 w 10348"/>
                <a:gd name="connsiteY6" fmla="*/ 1471 h 11549"/>
                <a:gd name="connsiteX7" fmla="*/ 5604 w 10348"/>
                <a:gd name="connsiteY7" fmla="*/ 1160 h 11549"/>
                <a:gd name="connsiteX8" fmla="*/ 5131 w 10348"/>
                <a:gd name="connsiteY8" fmla="*/ 1176 h 11549"/>
                <a:gd name="connsiteX9" fmla="*/ 4478 w 10348"/>
                <a:gd name="connsiteY9" fmla="*/ 1176 h 11549"/>
                <a:gd name="connsiteX10" fmla="*/ 3609 w 10348"/>
                <a:gd name="connsiteY10" fmla="*/ 882 h 11549"/>
                <a:gd name="connsiteX11" fmla="*/ 3391 w 10348"/>
                <a:gd name="connsiteY11" fmla="*/ 2353 h 11549"/>
                <a:gd name="connsiteX12" fmla="*/ 2305 w 10348"/>
                <a:gd name="connsiteY12" fmla="*/ 2941 h 11549"/>
                <a:gd name="connsiteX13" fmla="*/ 1870 w 10348"/>
                <a:gd name="connsiteY13" fmla="*/ 3529 h 11549"/>
                <a:gd name="connsiteX14" fmla="*/ 1218 w 10348"/>
                <a:gd name="connsiteY14" fmla="*/ 3235 h 11549"/>
                <a:gd name="connsiteX15" fmla="*/ 574 w 10348"/>
                <a:gd name="connsiteY15" fmla="*/ 2846 h 11549"/>
                <a:gd name="connsiteX16" fmla="*/ 356 w 10348"/>
                <a:gd name="connsiteY16" fmla="*/ 4706 h 11549"/>
                <a:gd name="connsiteX17" fmla="*/ 348 w 10348"/>
                <a:gd name="connsiteY17" fmla="*/ 5882 h 11549"/>
                <a:gd name="connsiteX18" fmla="*/ 0 w 10348"/>
                <a:gd name="connsiteY18" fmla="*/ 7734 h 11549"/>
                <a:gd name="connsiteX19" fmla="*/ 800 w 10348"/>
                <a:gd name="connsiteY19" fmla="*/ 8417 h 11549"/>
                <a:gd name="connsiteX20" fmla="*/ 783 w 10348"/>
                <a:gd name="connsiteY20" fmla="*/ 9706 h 11549"/>
                <a:gd name="connsiteX21" fmla="*/ 472 w 10348"/>
                <a:gd name="connsiteY21" fmla="*/ 10621 h 11549"/>
                <a:gd name="connsiteX22" fmla="*/ 1156 w 10348"/>
                <a:gd name="connsiteY22" fmla="*/ 10204 h 11549"/>
                <a:gd name="connsiteX23" fmla="*/ 2017 w 10348"/>
                <a:gd name="connsiteY23" fmla="*/ 9826 h 11549"/>
                <a:gd name="connsiteX24" fmla="*/ 2816 w 10348"/>
                <a:gd name="connsiteY24" fmla="*/ 9816 h 11549"/>
                <a:gd name="connsiteX25" fmla="*/ 4016 w 10348"/>
                <a:gd name="connsiteY25" fmla="*/ 10843 h 11549"/>
                <a:gd name="connsiteX26" fmla="*/ 5121 w 10348"/>
                <a:gd name="connsiteY26" fmla="*/ 11442 h 11549"/>
                <a:gd name="connsiteX27" fmla="*/ 5896 w 10348"/>
                <a:gd name="connsiteY27" fmla="*/ 8595 h 11549"/>
                <a:gd name="connsiteX28" fmla="*/ 7247 w 10348"/>
                <a:gd name="connsiteY28" fmla="*/ 7778 h 11549"/>
                <a:gd name="connsiteX29" fmla="*/ 7297 w 10348"/>
                <a:gd name="connsiteY29" fmla="*/ 6764 h 11549"/>
                <a:gd name="connsiteX30" fmla="*/ 7587 w 10348"/>
                <a:gd name="connsiteY30" fmla="*/ 6503 h 11549"/>
                <a:gd name="connsiteX31" fmla="*/ 7969 w 10348"/>
                <a:gd name="connsiteY31" fmla="*/ 6078 h 11549"/>
                <a:gd name="connsiteX32" fmla="*/ 8619 w 10348"/>
                <a:gd name="connsiteY32" fmla="*/ 4935 h 11549"/>
                <a:gd name="connsiteX33" fmla="*/ 8743 w 10348"/>
                <a:gd name="connsiteY33" fmla="*/ 4248 h 11549"/>
                <a:gd name="connsiteX34" fmla="*/ 9173 w 10348"/>
                <a:gd name="connsiteY34" fmla="*/ 3203 h 11549"/>
                <a:gd name="connsiteX35" fmla="*/ 8826 w 10348"/>
                <a:gd name="connsiteY35" fmla="*/ 2059 h 11549"/>
                <a:gd name="connsiteX36" fmla="*/ 10348 w 10348"/>
                <a:gd name="connsiteY36" fmla="*/ 1765 h 11549"/>
                <a:gd name="connsiteX37" fmla="*/ 9913 w 10348"/>
                <a:gd name="connsiteY37" fmla="*/ 882 h 11549"/>
                <a:gd name="connsiteX38" fmla="*/ 9574 w 10348"/>
                <a:gd name="connsiteY38" fmla="*/ 329 h 11549"/>
                <a:gd name="connsiteX0" fmla="*/ 9574 w 10348"/>
                <a:gd name="connsiteY0" fmla="*/ 329 h 11911"/>
                <a:gd name="connsiteX1" fmla="*/ 8609 w 10348"/>
                <a:gd name="connsiteY1" fmla="*/ 1176 h 11911"/>
                <a:gd name="connsiteX2" fmla="*/ 7957 w 10348"/>
                <a:gd name="connsiteY2" fmla="*/ 1176 h 11911"/>
                <a:gd name="connsiteX3" fmla="*/ 7739 w 10348"/>
                <a:gd name="connsiteY3" fmla="*/ 294 h 11911"/>
                <a:gd name="connsiteX4" fmla="*/ 7522 w 10348"/>
                <a:gd name="connsiteY4" fmla="*/ 0 h 11911"/>
                <a:gd name="connsiteX5" fmla="*/ 6870 w 10348"/>
                <a:gd name="connsiteY5" fmla="*/ 882 h 11911"/>
                <a:gd name="connsiteX6" fmla="*/ 6435 w 10348"/>
                <a:gd name="connsiteY6" fmla="*/ 1471 h 11911"/>
                <a:gd name="connsiteX7" fmla="*/ 5604 w 10348"/>
                <a:gd name="connsiteY7" fmla="*/ 1160 h 11911"/>
                <a:gd name="connsiteX8" fmla="*/ 5131 w 10348"/>
                <a:gd name="connsiteY8" fmla="*/ 1176 h 11911"/>
                <a:gd name="connsiteX9" fmla="*/ 4478 w 10348"/>
                <a:gd name="connsiteY9" fmla="*/ 1176 h 11911"/>
                <a:gd name="connsiteX10" fmla="*/ 3609 w 10348"/>
                <a:gd name="connsiteY10" fmla="*/ 882 h 11911"/>
                <a:gd name="connsiteX11" fmla="*/ 3391 w 10348"/>
                <a:gd name="connsiteY11" fmla="*/ 2353 h 11911"/>
                <a:gd name="connsiteX12" fmla="*/ 2305 w 10348"/>
                <a:gd name="connsiteY12" fmla="*/ 2941 h 11911"/>
                <a:gd name="connsiteX13" fmla="*/ 1870 w 10348"/>
                <a:gd name="connsiteY13" fmla="*/ 3529 h 11911"/>
                <a:gd name="connsiteX14" fmla="*/ 1218 w 10348"/>
                <a:gd name="connsiteY14" fmla="*/ 3235 h 11911"/>
                <a:gd name="connsiteX15" fmla="*/ 574 w 10348"/>
                <a:gd name="connsiteY15" fmla="*/ 2846 h 11911"/>
                <a:gd name="connsiteX16" fmla="*/ 356 w 10348"/>
                <a:gd name="connsiteY16" fmla="*/ 4706 h 11911"/>
                <a:gd name="connsiteX17" fmla="*/ 348 w 10348"/>
                <a:gd name="connsiteY17" fmla="*/ 5882 h 11911"/>
                <a:gd name="connsiteX18" fmla="*/ 0 w 10348"/>
                <a:gd name="connsiteY18" fmla="*/ 7734 h 11911"/>
                <a:gd name="connsiteX19" fmla="*/ 800 w 10348"/>
                <a:gd name="connsiteY19" fmla="*/ 8417 h 11911"/>
                <a:gd name="connsiteX20" fmla="*/ 783 w 10348"/>
                <a:gd name="connsiteY20" fmla="*/ 9706 h 11911"/>
                <a:gd name="connsiteX21" fmla="*/ 472 w 10348"/>
                <a:gd name="connsiteY21" fmla="*/ 10621 h 11911"/>
                <a:gd name="connsiteX22" fmla="*/ 1156 w 10348"/>
                <a:gd name="connsiteY22" fmla="*/ 10204 h 11911"/>
                <a:gd name="connsiteX23" fmla="*/ 2017 w 10348"/>
                <a:gd name="connsiteY23" fmla="*/ 9826 h 11911"/>
                <a:gd name="connsiteX24" fmla="*/ 2816 w 10348"/>
                <a:gd name="connsiteY24" fmla="*/ 9816 h 11911"/>
                <a:gd name="connsiteX25" fmla="*/ 4016 w 10348"/>
                <a:gd name="connsiteY25" fmla="*/ 10843 h 11911"/>
                <a:gd name="connsiteX26" fmla="*/ 5469 w 10348"/>
                <a:gd name="connsiteY26" fmla="*/ 11830 h 11911"/>
                <a:gd name="connsiteX27" fmla="*/ 5896 w 10348"/>
                <a:gd name="connsiteY27" fmla="*/ 8595 h 11911"/>
                <a:gd name="connsiteX28" fmla="*/ 7247 w 10348"/>
                <a:gd name="connsiteY28" fmla="*/ 7778 h 11911"/>
                <a:gd name="connsiteX29" fmla="*/ 7297 w 10348"/>
                <a:gd name="connsiteY29" fmla="*/ 6764 h 11911"/>
                <a:gd name="connsiteX30" fmla="*/ 7587 w 10348"/>
                <a:gd name="connsiteY30" fmla="*/ 6503 h 11911"/>
                <a:gd name="connsiteX31" fmla="*/ 7969 w 10348"/>
                <a:gd name="connsiteY31" fmla="*/ 6078 h 11911"/>
                <a:gd name="connsiteX32" fmla="*/ 8619 w 10348"/>
                <a:gd name="connsiteY32" fmla="*/ 4935 h 11911"/>
                <a:gd name="connsiteX33" fmla="*/ 8743 w 10348"/>
                <a:gd name="connsiteY33" fmla="*/ 4248 h 11911"/>
                <a:gd name="connsiteX34" fmla="*/ 9173 w 10348"/>
                <a:gd name="connsiteY34" fmla="*/ 3203 h 11911"/>
                <a:gd name="connsiteX35" fmla="*/ 8826 w 10348"/>
                <a:gd name="connsiteY35" fmla="*/ 2059 h 11911"/>
                <a:gd name="connsiteX36" fmla="*/ 10348 w 10348"/>
                <a:gd name="connsiteY36" fmla="*/ 1765 h 11911"/>
                <a:gd name="connsiteX37" fmla="*/ 9913 w 10348"/>
                <a:gd name="connsiteY37" fmla="*/ 882 h 11911"/>
                <a:gd name="connsiteX38" fmla="*/ 9574 w 10348"/>
                <a:gd name="connsiteY38" fmla="*/ 329 h 11911"/>
                <a:gd name="connsiteX0" fmla="*/ 9574 w 10348"/>
                <a:gd name="connsiteY0" fmla="*/ 329 h 12956"/>
                <a:gd name="connsiteX1" fmla="*/ 8609 w 10348"/>
                <a:gd name="connsiteY1" fmla="*/ 1176 h 12956"/>
                <a:gd name="connsiteX2" fmla="*/ 7957 w 10348"/>
                <a:gd name="connsiteY2" fmla="*/ 1176 h 12956"/>
                <a:gd name="connsiteX3" fmla="*/ 7739 w 10348"/>
                <a:gd name="connsiteY3" fmla="*/ 294 h 12956"/>
                <a:gd name="connsiteX4" fmla="*/ 7522 w 10348"/>
                <a:gd name="connsiteY4" fmla="*/ 0 h 12956"/>
                <a:gd name="connsiteX5" fmla="*/ 6870 w 10348"/>
                <a:gd name="connsiteY5" fmla="*/ 882 h 12956"/>
                <a:gd name="connsiteX6" fmla="*/ 6435 w 10348"/>
                <a:gd name="connsiteY6" fmla="*/ 1471 h 12956"/>
                <a:gd name="connsiteX7" fmla="*/ 5604 w 10348"/>
                <a:gd name="connsiteY7" fmla="*/ 1160 h 12956"/>
                <a:gd name="connsiteX8" fmla="*/ 5131 w 10348"/>
                <a:gd name="connsiteY8" fmla="*/ 1176 h 12956"/>
                <a:gd name="connsiteX9" fmla="*/ 4478 w 10348"/>
                <a:gd name="connsiteY9" fmla="*/ 1176 h 12956"/>
                <a:gd name="connsiteX10" fmla="*/ 3609 w 10348"/>
                <a:gd name="connsiteY10" fmla="*/ 882 h 12956"/>
                <a:gd name="connsiteX11" fmla="*/ 3391 w 10348"/>
                <a:gd name="connsiteY11" fmla="*/ 2353 h 12956"/>
                <a:gd name="connsiteX12" fmla="*/ 2305 w 10348"/>
                <a:gd name="connsiteY12" fmla="*/ 2941 h 12956"/>
                <a:gd name="connsiteX13" fmla="*/ 1870 w 10348"/>
                <a:gd name="connsiteY13" fmla="*/ 3529 h 12956"/>
                <a:gd name="connsiteX14" fmla="*/ 1218 w 10348"/>
                <a:gd name="connsiteY14" fmla="*/ 3235 h 12956"/>
                <a:gd name="connsiteX15" fmla="*/ 574 w 10348"/>
                <a:gd name="connsiteY15" fmla="*/ 2846 h 12956"/>
                <a:gd name="connsiteX16" fmla="*/ 356 w 10348"/>
                <a:gd name="connsiteY16" fmla="*/ 4706 h 12956"/>
                <a:gd name="connsiteX17" fmla="*/ 348 w 10348"/>
                <a:gd name="connsiteY17" fmla="*/ 5882 h 12956"/>
                <a:gd name="connsiteX18" fmla="*/ 0 w 10348"/>
                <a:gd name="connsiteY18" fmla="*/ 7734 h 12956"/>
                <a:gd name="connsiteX19" fmla="*/ 800 w 10348"/>
                <a:gd name="connsiteY19" fmla="*/ 8417 h 12956"/>
                <a:gd name="connsiteX20" fmla="*/ 783 w 10348"/>
                <a:gd name="connsiteY20" fmla="*/ 9706 h 12956"/>
                <a:gd name="connsiteX21" fmla="*/ 472 w 10348"/>
                <a:gd name="connsiteY21" fmla="*/ 10621 h 12956"/>
                <a:gd name="connsiteX22" fmla="*/ 1156 w 10348"/>
                <a:gd name="connsiteY22" fmla="*/ 10204 h 12956"/>
                <a:gd name="connsiteX23" fmla="*/ 2017 w 10348"/>
                <a:gd name="connsiteY23" fmla="*/ 9826 h 12956"/>
                <a:gd name="connsiteX24" fmla="*/ 2816 w 10348"/>
                <a:gd name="connsiteY24" fmla="*/ 9816 h 12956"/>
                <a:gd name="connsiteX25" fmla="*/ 4016 w 10348"/>
                <a:gd name="connsiteY25" fmla="*/ 10843 h 12956"/>
                <a:gd name="connsiteX26" fmla="*/ 5469 w 10348"/>
                <a:gd name="connsiteY26" fmla="*/ 11830 h 12956"/>
                <a:gd name="connsiteX27" fmla="*/ 5478 w 10348"/>
                <a:gd name="connsiteY27" fmla="*/ 12764 h 12956"/>
                <a:gd name="connsiteX28" fmla="*/ 7247 w 10348"/>
                <a:gd name="connsiteY28" fmla="*/ 7778 h 12956"/>
                <a:gd name="connsiteX29" fmla="*/ 7297 w 10348"/>
                <a:gd name="connsiteY29" fmla="*/ 6764 h 12956"/>
                <a:gd name="connsiteX30" fmla="*/ 7587 w 10348"/>
                <a:gd name="connsiteY30" fmla="*/ 6503 h 12956"/>
                <a:gd name="connsiteX31" fmla="*/ 7969 w 10348"/>
                <a:gd name="connsiteY31" fmla="*/ 6078 h 12956"/>
                <a:gd name="connsiteX32" fmla="*/ 8619 w 10348"/>
                <a:gd name="connsiteY32" fmla="*/ 4935 h 12956"/>
                <a:gd name="connsiteX33" fmla="*/ 8743 w 10348"/>
                <a:gd name="connsiteY33" fmla="*/ 4248 h 12956"/>
                <a:gd name="connsiteX34" fmla="*/ 9173 w 10348"/>
                <a:gd name="connsiteY34" fmla="*/ 3203 h 12956"/>
                <a:gd name="connsiteX35" fmla="*/ 8826 w 10348"/>
                <a:gd name="connsiteY35" fmla="*/ 2059 h 12956"/>
                <a:gd name="connsiteX36" fmla="*/ 10348 w 10348"/>
                <a:gd name="connsiteY36" fmla="*/ 1765 h 12956"/>
                <a:gd name="connsiteX37" fmla="*/ 9913 w 10348"/>
                <a:gd name="connsiteY37" fmla="*/ 882 h 12956"/>
                <a:gd name="connsiteX38" fmla="*/ 9574 w 10348"/>
                <a:gd name="connsiteY38" fmla="*/ 329 h 12956"/>
                <a:gd name="connsiteX0" fmla="*/ 9574 w 10348"/>
                <a:gd name="connsiteY0" fmla="*/ 329 h 13761"/>
                <a:gd name="connsiteX1" fmla="*/ 8609 w 10348"/>
                <a:gd name="connsiteY1" fmla="*/ 1176 h 13761"/>
                <a:gd name="connsiteX2" fmla="*/ 7957 w 10348"/>
                <a:gd name="connsiteY2" fmla="*/ 1176 h 13761"/>
                <a:gd name="connsiteX3" fmla="*/ 7739 w 10348"/>
                <a:gd name="connsiteY3" fmla="*/ 294 h 13761"/>
                <a:gd name="connsiteX4" fmla="*/ 7522 w 10348"/>
                <a:gd name="connsiteY4" fmla="*/ 0 h 13761"/>
                <a:gd name="connsiteX5" fmla="*/ 6870 w 10348"/>
                <a:gd name="connsiteY5" fmla="*/ 882 h 13761"/>
                <a:gd name="connsiteX6" fmla="*/ 6435 w 10348"/>
                <a:gd name="connsiteY6" fmla="*/ 1471 h 13761"/>
                <a:gd name="connsiteX7" fmla="*/ 5604 w 10348"/>
                <a:gd name="connsiteY7" fmla="*/ 1160 h 13761"/>
                <a:gd name="connsiteX8" fmla="*/ 5131 w 10348"/>
                <a:gd name="connsiteY8" fmla="*/ 1176 h 13761"/>
                <a:gd name="connsiteX9" fmla="*/ 4478 w 10348"/>
                <a:gd name="connsiteY9" fmla="*/ 1176 h 13761"/>
                <a:gd name="connsiteX10" fmla="*/ 3609 w 10348"/>
                <a:gd name="connsiteY10" fmla="*/ 882 h 13761"/>
                <a:gd name="connsiteX11" fmla="*/ 3391 w 10348"/>
                <a:gd name="connsiteY11" fmla="*/ 2353 h 13761"/>
                <a:gd name="connsiteX12" fmla="*/ 2305 w 10348"/>
                <a:gd name="connsiteY12" fmla="*/ 2941 h 13761"/>
                <a:gd name="connsiteX13" fmla="*/ 1870 w 10348"/>
                <a:gd name="connsiteY13" fmla="*/ 3529 h 13761"/>
                <a:gd name="connsiteX14" fmla="*/ 1218 w 10348"/>
                <a:gd name="connsiteY14" fmla="*/ 3235 h 13761"/>
                <a:gd name="connsiteX15" fmla="*/ 574 w 10348"/>
                <a:gd name="connsiteY15" fmla="*/ 2846 h 13761"/>
                <a:gd name="connsiteX16" fmla="*/ 356 w 10348"/>
                <a:gd name="connsiteY16" fmla="*/ 4706 h 13761"/>
                <a:gd name="connsiteX17" fmla="*/ 348 w 10348"/>
                <a:gd name="connsiteY17" fmla="*/ 5882 h 13761"/>
                <a:gd name="connsiteX18" fmla="*/ 0 w 10348"/>
                <a:gd name="connsiteY18" fmla="*/ 7734 h 13761"/>
                <a:gd name="connsiteX19" fmla="*/ 800 w 10348"/>
                <a:gd name="connsiteY19" fmla="*/ 8417 h 13761"/>
                <a:gd name="connsiteX20" fmla="*/ 783 w 10348"/>
                <a:gd name="connsiteY20" fmla="*/ 9706 h 13761"/>
                <a:gd name="connsiteX21" fmla="*/ 472 w 10348"/>
                <a:gd name="connsiteY21" fmla="*/ 10621 h 13761"/>
                <a:gd name="connsiteX22" fmla="*/ 1156 w 10348"/>
                <a:gd name="connsiteY22" fmla="*/ 10204 h 13761"/>
                <a:gd name="connsiteX23" fmla="*/ 2017 w 10348"/>
                <a:gd name="connsiteY23" fmla="*/ 9826 h 13761"/>
                <a:gd name="connsiteX24" fmla="*/ 2816 w 10348"/>
                <a:gd name="connsiteY24" fmla="*/ 9816 h 13761"/>
                <a:gd name="connsiteX25" fmla="*/ 4016 w 10348"/>
                <a:gd name="connsiteY25" fmla="*/ 10843 h 13761"/>
                <a:gd name="connsiteX26" fmla="*/ 5469 w 10348"/>
                <a:gd name="connsiteY26" fmla="*/ 11830 h 13761"/>
                <a:gd name="connsiteX27" fmla="*/ 5478 w 10348"/>
                <a:gd name="connsiteY27" fmla="*/ 12764 h 13761"/>
                <a:gd name="connsiteX28" fmla="*/ 6829 w 10348"/>
                <a:gd name="connsiteY28" fmla="*/ 13402 h 13761"/>
                <a:gd name="connsiteX29" fmla="*/ 7297 w 10348"/>
                <a:gd name="connsiteY29" fmla="*/ 6764 h 13761"/>
                <a:gd name="connsiteX30" fmla="*/ 7587 w 10348"/>
                <a:gd name="connsiteY30" fmla="*/ 6503 h 13761"/>
                <a:gd name="connsiteX31" fmla="*/ 7969 w 10348"/>
                <a:gd name="connsiteY31" fmla="*/ 6078 h 13761"/>
                <a:gd name="connsiteX32" fmla="*/ 8619 w 10348"/>
                <a:gd name="connsiteY32" fmla="*/ 4935 h 13761"/>
                <a:gd name="connsiteX33" fmla="*/ 8743 w 10348"/>
                <a:gd name="connsiteY33" fmla="*/ 4248 h 13761"/>
                <a:gd name="connsiteX34" fmla="*/ 9173 w 10348"/>
                <a:gd name="connsiteY34" fmla="*/ 3203 h 13761"/>
                <a:gd name="connsiteX35" fmla="*/ 8826 w 10348"/>
                <a:gd name="connsiteY35" fmla="*/ 2059 h 13761"/>
                <a:gd name="connsiteX36" fmla="*/ 10348 w 10348"/>
                <a:gd name="connsiteY36" fmla="*/ 1765 h 13761"/>
                <a:gd name="connsiteX37" fmla="*/ 9913 w 10348"/>
                <a:gd name="connsiteY37" fmla="*/ 882 h 13761"/>
                <a:gd name="connsiteX38" fmla="*/ 9574 w 10348"/>
                <a:gd name="connsiteY38" fmla="*/ 329 h 13761"/>
                <a:gd name="connsiteX0" fmla="*/ 9574 w 10348"/>
                <a:gd name="connsiteY0" fmla="*/ 329 h 13402"/>
                <a:gd name="connsiteX1" fmla="*/ 8609 w 10348"/>
                <a:gd name="connsiteY1" fmla="*/ 1176 h 13402"/>
                <a:gd name="connsiteX2" fmla="*/ 7957 w 10348"/>
                <a:gd name="connsiteY2" fmla="*/ 1176 h 13402"/>
                <a:gd name="connsiteX3" fmla="*/ 7739 w 10348"/>
                <a:gd name="connsiteY3" fmla="*/ 294 h 13402"/>
                <a:gd name="connsiteX4" fmla="*/ 7522 w 10348"/>
                <a:gd name="connsiteY4" fmla="*/ 0 h 13402"/>
                <a:gd name="connsiteX5" fmla="*/ 6870 w 10348"/>
                <a:gd name="connsiteY5" fmla="*/ 882 h 13402"/>
                <a:gd name="connsiteX6" fmla="*/ 6435 w 10348"/>
                <a:gd name="connsiteY6" fmla="*/ 1471 h 13402"/>
                <a:gd name="connsiteX7" fmla="*/ 5604 w 10348"/>
                <a:gd name="connsiteY7" fmla="*/ 1160 h 13402"/>
                <a:gd name="connsiteX8" fmla="*/ 5131 w 10348"/>
                <a:gd name="connsiteY8" fmla="*/ 1176 h 13402"/>
                <a:gd name="connsiteX9" fmla="*/ 4478 w 10348"/>
                <a:gd name="connsiteY9" fmla="*/ 1176 h 13402"/>
                <a:gd name="connsiteX10" fmla="*/ 3609 w 10348"/>
                <a:gd name="connsiteY10" fmla="*/ 882 h 13402"/>
                <a:gd name="connsiteX11" fmla="*/ 3391 w 10348"/>
                <a:gd name="connsiteY11" fmla="*/ 2353 h 13402"/>
                <a:gd name="connsiteX12" fmla="*/ 2305 w 10348"/>
                <a:gd name="connsiteY12" fmla="*/ 2941 h 13402"/>
                <a:gd name="connsiteX13" fmla="*/ 1870 w 10348"/>
                <a:gd name="connsiteY13" fmla="*/ 3529 h 13402"/>
                <a:gd name="connsiteX14" fmla="*/ 1218 w 10348"/>
                <a:gd name="connsiteY14" fmla="*/ 3235 h 13402"/>
                <a:gd name="connsiteX15" fmla="*/ 574 w 10348"/>
                <a:gd name="connsiteY15" fmla="*/ 2846 h 13402"/>
                <a:gd name="connsiteX16" fmla="*/ 356 w 10348"/>
                <a:gd name="connsiteY16" fmla="*/ 4706 h 13402"/>
                <a:gd name="connsiteX17" fmla="*/ 348 w 10348"/>
                <a:gd name="connsiteY17" fmla="*/ 5882 h 13402"/>
                <a:gd name="connsiteX18" fmla="*/ 0 w 10348"/>
                <a:gd name="connsiteY18" fmla="*/ 7734 h 13402"/>
                <a:gd name="connsiteX19" fmla="*/ 800 w 10348"/>
                <a:gd name="connsiteY19" fmla="*/ 8417 h 13402"/>
                <a:gd name="connsiteX20" fmla="*/ 783 w 10348"/>
                <a:gd name="connsiteY20" fmla="*/ 9706 h 13402"/>
                <a:gd name="connsiteX21" fmla="*/ 472 w 10348"/>
                <a:gd name="connsiteY21" fmla="*/ 10621 h 13402"/>
                <a:gd name="connsiteX22" fmla="*/ 1156 w 10348"/>
                <a:gd name="connsiteY22" fmla="*/ 10204 h 13402"/>
                <a:gd name="connsiteX23" fmla="*/ 2017 w 10348"/>
                <a:gd name="connsiteY23" fmla="*/ 9826 h 13402"/>
                <a:gd name="connsiteX24" fmla="*/ 2816 w 10348"/>
                <a:gd name="connsiteY24" fmla="*/ 9816 h 13402"/>
                <a:gd name="connsiteX25" fmla="*/ 4016 w 10348"/>
                <a:gd name="connsiteY25" fmla="*/ 10843 h 13402"/>
                <a:gd name="connsiteX26" fmla="*/ 5469 w 10348"/>
                <a:gd name="connsiteY26" fmla="*/ 11830 h 13402"/>
                <a:gd name="connsiteX27" fmla="*/ 5478 w 10348"/>
                <a:gd name="connsiteY27" fmla="*/ 12764 h 13402"/>
                <a:gd name="connsiteX28" fmla="*/ 6829 w 10348"/>
                <a:gd name="connsiteY28" fmla="*/ 13402 h 13402"/>
                <a:gd name="connsiteX29" fmla="*/ 7297 w 10348"/>
                <a:gd name="connsiteY29" fmla="*/ 6764 h 13402"/>
                <a:gd name="connsiteX30" fmla="*/ 7587 w 10348"/>
                <a:gd name="connsiteY30" fmla="*/ 6503 h 13402"/>
                <a:gd name="connsiteX31" fmla="*/ 7969 w 10348"/>
                <a:gd name="connsiteY31" fmla="*/ 6078 h 13402"/>
                <a:gd name="connsiteX32" fmla="*/ 8619 w 10348"/>
                <a:gd name="connsiteY32" fmla="*/ 4935 h 13402"/>
                <a:gd name="connsiteX33" fmla="*/ 8743 w 10348"/>
                <a:gd name="connsiteY33" fmla="*/ 4248 h 13402"/>
                <a:gd name="connsiteX34" fmla="*/ 9173 w 10348"/>
                <a:gd name="connsiteY34" fmla="*/ 3203 h 13402"/>
                <a:gd name="connsiteX35" fmla="*/ 8826 w 10348"/>
                <a:gd name="connsiteY35" fmla="*/ 2059 h 13402"/>
                <a:gd name="connsiteX36" fmla="*/ 10348 w 10348"/>
                <a:gd name="connsiteY36" fmla="*/ 1765 h 13402"/>
                <a:gd name="connsiteX37" fmla="*/ 9913 w 10348"/>
                <a:gd name="connsiteY37" fmla="*/ 882 h 13402"/>
                <a:gd name="connsiteX38" fmla="*/ 9574 w 10348"/>
                <a:gd name="connsiteY38" fmla="*/ 329 h 13402"/>
                <a:gd name="connsiteX0" fmla="*/ 9574 w 10348"/>
                <a:gd name="connsiteY0" fmla="*/ 329 h 13402"/>
                <a:gd name="connsiteX1" fmla="*/ 8609 w 10348"/>
                <a:gd name="connsiteY1" fmla="*/ 1176 h 13402"/>
                <a:gd name="connsiteX2" fmla="*/ 7957 w 10348"/>
                <a:gd name="connsiteY2" fmla="*/ 1176 h 13402"/>
                <a:gd name="connsiteX3" fmla="*/ 7739 w 10348"/>
                <a:gd name="connsiteY3" fmla="*/ 294 h 13402"/>
                <a:gd name="connsiteX4" fmla="*/ 7522 w 10348"/>
                <a:gd name="connsiteY4" fmla="*/ 0 h 13402"/>
                <a:gd name="connsiteX5" fmla="*/ 6870 w 10348"/>
                <a:gd name="connsiteY5" fmla="*/ 882 h 13402"/>
                <a:gd name="connsiteX6" fmla="*/ 6435 w 10348"/>
                <a:gd name="connsiteY6" fmla="*/ 1471 h 13402"/>
                <a:gd name="connsiteX7" fmla="*/ 5604 w 10348"/>
                <a:gd name="connsiteY7" fmla="*/ 1160 h 13402"/>
                <a:gd name="connsiteX8" fmla="*/ 5131 w 10348"/>
                <a:gd name="connsiteY8" fmla="*/ 1176 h 13402"/>
                <a:gd name="connsiteX9" fmla="*/ 4478 w 10348"/>
                <a:gd name="connsiteY9" fmla="*/ 1176 h 13402"/>
                <a:gd name="connsiteX10" fmla="*/ 3609 w 10348"/>
                <a:gd name="connsiteY10" fmla="*/ 882 h 13402"/>
                <a:gd name="connsiteX11" fmla="*/ 3391 w 10348"/>
                <a:gd name="connsiteY11" fmla="*/ 2353 h 13402"/>
                <a:gd name="connsiteX12" fmla="*/ 2305 w 10348"/>
                <a:gd name="connsiteY12" fmla="*/ 2941 h 13402"/>
                <a:gd name="connsiteX13" fmla="*/ 1870 w 10348"/>
                <a:gd name="connsiteY13" fmla="*/ 3529 h 13402"/>
                <a:gd name="connsiteX14" fmla="*/ 1218 w 10348"/>
                <a:gd name="connsiteY14" fmla="*/ 3235 h 13402"/>
                <a:gd name="connsiteX15" fmla="*/ 574 w 10348"/>
                <a:gd name="connsiteY15" fmla="*/ 2846 h 13402"/>
                <a:gd name="connsiteX16" fmla="*/ 356 w 10348"/>
                <a:gd name="connsiteY16" fmla="*/ 4706 h 13402"/>
                <a:gd name="connsiteX17" fmla="*/ 348 w 10348"/>
                <a:gd name="connsiteY17" fmla="*/ 5882 h 13402"/>
                <a:gd name="connsiteX18" fmla="*/ 0 w 10348"/>
                <a:gd name="connsiteY18" fmla="*/ 7734 h 13402"/>
                <a:gd name="connsiteX19" fmla="*/ 800 w 10348"/>
                <a:gd name="connsiteY19" fmla="*/ 8417 h 13402"/>
                <a:gd name="connsiteX20" fmla="*/ 783 w 10348"/>
                <a:gd name="connsiteY20" fmla="*/ 9706 h 13402"/>
                <a:gd name="connsiteX21" fmla="*/ 472 w 10348"/>
                <a:gd name="connsiteY21" fmla="*/ 10621 h 13402"/>
                <a:gd name="connsiteX22" fmla="*/ 1156 w 10348"/>
                <a:gd name="connsiteY22" fmla="*/ 10204 h 13402"/>
                <a:gd name="connsiteX23" fmla="*/ 2017 w 10348"/>
                <a:gd name="connsiteY23" fmla="*/ 9826 h 13402"/>
                <a:gd name="connsiteX24" fmla="*/ 2816 w 10348"/>
                <a:gd name="connsiteY24" fmla="*/ 9816 h 13402"/>
                <a:gd name="connsiteX25" fmla="*/ 4016 w 10348"/>
                <a:gd name="connsiteY25" fmla="*/ 10843 h 13402"/>
                <a:gd name="connsiteX26" fmla="*/ 5469 w 10348"/>
                <a:gd name="connsiteY26" fmla="*/ 11830 h 13402"/>
                <a:gd name="connsiteX27" fmla="*/ 5478 w 10348"/>
                <a:gd name="connsiteY27" fmla="*/ 12764 h 13402"/>
                <a:gd name="connsiteX28" fmla="*/ 6829 w 10348"/>
                <a:gd name="connsiteY28" fmla="*/ 13402 h 13402"/>
                <a:gd name="connsiteX29" fmla="*/ 7297 w 10348"/>
                <a:gd name="connsiteY29" fmla="*/ 6764 h 13402"/>
                <a:gd name="connsiteX30" fmla="*/ 7587 w 10348"/>
                <a:gd name="connsiteY30" fmla="*/ 6503 h 13402"/>
                <a:gd name="connsiteX31" fmla="*/ 7969 w 10348"/>
                <a:gd name="connsiteY31" fmla="*/ 6078 h 13402"/>
                <a:gd name="connsiteX32" fmla="*/ 8619 w 10348"/>
                <a:gd name="connsiteY32" fmla="*/ 4935 h 13402"/>
                <a:gd name="connsiteX33" fmla="*/ 8743 w 10348"/>
                <a:gd name="connsiteY33" fmla="*/ 4248 h 13402"/>
                <a:gd name="connsiteX34" fmla="*/ 9173 w 10348"/>
                <a:gd name="connsiteY34" fmla="*/ 3203 h 13402"/>
                <a:gd name="connsiteX35" fmla="*/ 8826 w 10348"/>
                <a:gd name="connsiteY35" fmla="*/ 2059 h 13402"/>
                <a:gd name="connsiteX36" fmla="*/ 10348 w 10348"/>
                <a:gd name="connsiteY36" fmla="*/ 1765 h 13402"/>
                <a:gd name="connsiteX37" fmla="*/ 9913 w 10348"/>
                <a:gd name="connsiteY37" fmla="*/ 882 h 13402"/>
                <a:gd name="connsiteX38" fmla="*/ 9574 w 10348"/>
                <a:gd name="connsiteY38" fmla="*/ 329 h 13402"/>
                <a:gd name="connsiteX0" fmla="*/ 9574 w 10348"/>
                <a:gd name="connsiteY0" fmla="*/ 329 h 13402"/>
                <a:gd name="connsiteX1" fmla="*/ 8609 w 10348"/>
                <a:gd name="connsiteY1" fmla="*/ 1176 h 13402"/>
                <a:gd name="connsiteX2" fmla="*/ 7957 w 10348"/>
                <a:gd name="connsiteY2" fmla="*/ 1176 h 13402"/>
                <a:gd name="connsiteX3" fmla="*/ 7739 w 10348"/>
                <a:gd name="connsiteY3" fmla="*/ 294 h 13402"/>
                <a:gd name="connsiteX4" fmla="*/ 7522 w 10348"/>
                <a:gd name="connsiteY4" fmla="*/ 0 h 13402"/>
                <a:gd name="connsiteX5" fmla="*/ 6870 w 10348"/>
                <a:gd name="connsiteY5" fmla="*/ 882 h 13402"/>
                <a:gd name="connsiteX6" fmla="*/ 6435 w 10348"/>
                <a:gd name="connsiteY6" fmla="*/ 1471 h 13402"/>
                <a:gd name="connsiteX7" fmla="*/ 5604 w 10348"/>
                <a:gd name="connsiteY7" fmla="*/ 1160 h 13402"/>
                <a:gd name="connsiteX8" fmla="*/ 5131 w 10348"/>
                <a:gd name="connsiteY8" fmla="*/ 1176 h 13402"/>
                <a:gd name="connsiteX9" fmla="*/ 4478 w 10348"/>
                <a:gd name="connsiteY9" fmla="*/ 1176 h 13402"/>
                <a:gd name="connsiteX10" fmla="*/ 3609 w 10348"/>
                <a:gd name="connsiteY10" fmla="*/ 882 h 13402"/>
                <a:gd name="connsiteX11" fmla="*/ 3391 w 10348"/>
                <a:gd name="connsiteY11" fmla="*/ 2353 h 13402"/>
                <a:gd name="connsiteX12" fmla="*/ 2305 w 10348"/>
                <a:gd name="connsiteY12" fmla="*/ 2941 h 13402"/>
                <a:gd name="connsiteX13" fmla="*/ 1870 w 10348"/>
                <a:gd name="connsiteY13" fmla="*/ 3529 h 13402"/>
                <a:gd name="connsiteX14" fmla="*/ 1218 w 10348"/>
                <a:gd name="connsiteY14" fmla="*/ 3235 h 13402"/>
                <a:gd name="connsiteX15" fmla="*/ 574 w 10348"/>
                <a:gd name="connsiteY15" fmla="*/ 2846 h 13402"/>
                <a:gd name="connsiteX16" fmla="*/ 356 w 10348"/>
                <a:gd name="connsiteY16" fmla="*/ 4706 h 13402"/>
                <a:gd name="connsiteX17" fmla="*/ 348 w 10348"/>
                <a:gd name="connsiteY17" fmla="*/ 5882 h 13402"/>
                <a:gd name="connsiteX18" fmla="*/ 0 w 10348"/>
                <a:gd name="connsiteY18" fmla="*/ 7734 h 13402"/>
                <a:gd name="connsiteX19" fmla="*/ 800 w 10348"/>
                <a:gd name="connsiteY19" fmla="*/ 8417 h 13402"/>
                <a:gd name="connsiteX20" fmla="*/ 783 w 10348"/>
                <a:gd name="connsiteY20" fmla="*/ 9706 h 13402"/>
                <a:gd name="connsiteX21" fmla="*/ 472 w 10348"/>
                <a:gd name="connsiteY21" fmla="*/ 10621 h 13402"/>
                <a:gd name="connsiteX22" fmla="*/ 1156 w 10348"/>
                <a:gd name="connsiteY22" fmla="*/ 10204 h 13402"/>
                <a:gd name="connsiteX23" fmla="*/ 2017 w 10348"/>
                <a:gd name="connsiteY23" fmla="*/ 9826 h 13402"/>
                <a:gd name="connsiteX24" fmla="*/ 2816 w 10348"/>
                <a:gd name="connsiteY24" fmla="*/ 9816 h 13402"/>
                <a:gd name="connsiteX25" fmla="*/ 4016 w 10348"/>
                <a:gd name="connsiteY25" fmla="*/ 10843 h 13402"/>
                <a:gd name="connsiteX26" fmla="*/ 5469 w 10348"/>
                <a:gd name="connsiteY26" fmla="*/ 11830 h 13402"/>
                <a:gd name="connsiteX27" fmla="*/ 5478 w 10348"/>
                <a:gd name="connsiteY27" fmla="*/ 12764 h 13402"/>
                <a:gd name="connsiteX28" fmla="*/ 6829 w 10348"/>
                <a:gd name="connsiteY28" fmla="*/ 13402 h 13402"/>
                <a:gd name="connsiteX29" fmla="*/ 7297 w 10348"/>
                <a:gd name="connsiteY29" fmla="*/ 6764 h 13402"/>
                <a:gd name="connsiteX30" fmla="*/ 7587 w 10348"/>
                <a:gd name="connsiteY30" fmla="*/ 6503 h 13402"/>
                <a:gd name="connsiteX31" fmla="*/ 7969 w 10348"/>
                <a:gd name="connsiteY31" fmla="*/ 6078 h 13402"/>
                <a:gd name="connsiteX32" fmla="*/ 8619 w 10348"/>
                <a:gd name="connsiteY32" fmla="*/ 4935 h 13402"/>
                <a:gd name="connsiteX33" fmla="*/ 8743 w 10348"/>
                <a:gd name="connsiteY33" fmla="*/ 4248 h 13402"/>
                <a:gd name="connsiteX34" fmla="*/ 9173 w 10348"/>
                <a:gd name="connsiteY34" fmla="*/ 3203 h 13402"/>
                <a:gd name="connsiteX35" fmla="*/ 8826 w 10348"/>
                <a:gd name="connsiteY35" fmla="*/ 2059 h 13402"/>
                <a:gd name="connsiteX36" fmla="*/ 10348 w 10348"/>
                <a:gd name="connsiteY36" fmla="*/ 1765 h 13402"/>
                <a:gd name="connsiteX37" fmla="*/ 9913 w 10348"/>
                <a:gd name="connsiteY37" fmla="*/ 882 h 13402"/>
                <a:gd name="connsiteX38" fmla="*/ 9574 w 10348"/>
                <a:gd name="connsiteY38" fmla="*/ 329 h 13402"/>
                <a:gd name="connsiteX0" fmla="*/ 9574 w 10348"/>
                <a:gd name="connsiteY0" fmla="*/ 329 h 13402"/>
                <a:gd name="connsiteX1" fmla="*/ 8609 w 10348"/>
                <a:gd name="connsiteY1" fmla="*/ 1176 h 13402"/>
                <a:gd name="connsiteX2" fmla="*/ 7957 w 10348"/>
                <a:gd name="connsiteY2" fmla="*/ 1176 h 13402"/>
                <a:gd name="connsiteX3" fmla="*/ 7739 w 10348"/>
                <a:gd name="connsiteY3" fmla="*/ 294 h 13402"/>
                <a:gd name="connsiteX4" fmla="*/ 7522 w 10348"/>
                <a:gd name="connsiteY4" fmla="*/ 0 h 13402"/>
                <a:gd name="connsiteX5" fmla="*/ 6870 w 10348"/>
                <a:gd name="connsiteY5" fmla="*/ 882 h 13402"/>
                <a:gd name="connsiteX6" fmla="*/ 6435 w 10348"/>
                <a:gd name="connsiteY6" fmla="*/ 1471 h 13402"/>
                <a:gd name="connsiteX7" fmla="*/ 5604 w 10348"/>
                <a:gd name="connsiteY7" fmla="*/ 1160 h 13402"/>
                <a:gd name="connsiteX8" fmla="*/ 5131 w 10348"/>
                <a:gd name="connsiteY8" fmla="*/ 1176 h 13402"/>
                <a:gd name="connsiteX9" fmla="*/ 4478 w 10348"/>
                <a:gd name="connsiteY9" fmla="*/ 1176 h 13402"/>
                <a:gd name="connsiteX10" fmla="*/ 3609 w 10348"/>
                <a:gd name="connsiteY10" fmla="*/ 882 h 13402"/>
                <a:gd name="connsiteX11" fmla="*/ 3391 w 10348"/>
                <a:gd name="connsiteY11" fmla="*/ 2353 h 13402"/>
                <a:gd name="connsiteX12" fmla="*/ 2305 w 10348"/>
                <a:gd name="connsiteY12" fmla="*/ 2941 h 13402"/>
                <a:gd name="connsiteX13" fmla="*/ 1870 w 10348"/>
                <a:gd name="connsiteY13" fmla="*/ 3529 h 13402"/>
                <a:gd name="connsiteX14" fmla="*/ 1218 w 10348"/>
                <a:gd name="connsiteY14" fmla="*/ 3235 h 13402"/>
                <a:gd name="connsiteX15" fmla="*/ 574 w 10348"/>
                <a:gd name="connsiteY15" fmla="*/ 2846 h 13402"/>
                <a:gd name="connsiteX16" fmla="*/ 356 w 10348"/>
                <a:gd name="connsiteY16" fmla="*/ 4706 h 13402"/>
                <a:gd name="connsiteX17" fmla="*/ 348 w 10348"/>
                <a:gd name="connsiteY17" fmla="*/ 5882 h 13402"/>
                <a:gd name="connsiteX18" fmla="*/ 0 w 10348"/>
                <a:gd name="connsiteY18" fmla="*/ 7734 h 13402"/>
                <a:gd name="connsiteX19" fmla="*/ 800 w 10348"/>
                <a:gd name="connsiteY19" fmla="*/ 8417 h 13402"/>
                <a:gd name="connsiteX20" fmla="*/ 783 w 10348"/>
                <a:gd name="connsiteY20" fmla="*/ 9706 h 13402"/>
                <a:gd name="connsiteX21" fmla="*/ 472 w 10348"/>
                <a:gd name="connsiteY21" fmla="*/ 10621 h 13402"/>
                <a:gd name="connsiteX22" fmla="*/ 1156 w 10348"/>
                <a:gd name="connsiteY22" fmla="*/ 10204 h 13402"/>
                <a:gd name="connsiteX23" fmla="*/ 2017 w 10348"/>
                <a:gd name="connsiteY23" fmla="*/ 9826 h 13402"/>
                <a:gd name="connsiteX24" fmla="*/ 2816 w 10348"/>
                <a:gd name="connsiteY24" fmla="*/ 9816 h 13402"/>
                <a:gd name="connsiteX25" fmla="*/ 4016 w 10348"/>
                <a:gd name="connsiteY25" fmla="*/ 10843 h 13402"/>
                <a:gd name="connsiteX26" fmla="*/ 5469 w 10348"/>
                <a:gd name="connsiteY26" fmla="*/ 11830 h 13402"/>
                <a:gd name="connsiteX27" fmla="*/ 5478 w 10348"/>
                <a:gd name="connsiteY27" fmla="*/ 12764 h 13402"/>
                <a:gd name="connsiteX28" fmla="*/ 6829 w 10348"/>
                <a:gd name="connsiteY28" fmla="*/ 13402 h 13402"/>
                <a:gd name="connsiteX29" fmla="*/ 7297 w 10348"/>
                <a:gd name="connsiteY29" fmla="*/ 6764 h 13402"/>
                <a:gd name="connsiteX30" fmla="*/ 7587 w 10348"/>
                <a:gd name="connsiteY30" fmla="*/ 6503 h 13402"/>
                <a:gd name="connsiteX31" fmla="*/ 7969 w 10348"/>
                <a:gd name="connsiteY31" fmla="*/ 6078 h 13402"/>
                <a:gd name="connsiteX32" fmla="*/ 8619 w 10348"/>
                <a:gd name="connsiteY32" fmla="*/ 4935 h 13402"/>
                <a:gd name="connsiteX33" fmla="*/ 8743 w 10348"/>
                <a:gd name="connsiteY33" fmla="*/ 4248 h 13402"/>
                <a:gd name="connsiteX34" fmla="*/ 9173 w 10348"/>
                <a:gd name="connsiteY34" fmla="*/ 3203 h 13402"/>
                <a:gd name="connsiteX35" fmla="*/ 8826 w 10348"/>
                <a:gd name="connsiteY35" fmla="*/ 2059 h 13402"/>
                <a:gd name="connsiteX36" fmla="*/ 10348 w 10348"/>
                <a:gd name="connsiteY36" fmla="*/ 1765 h 13402"/>
                <a:gd name="connsiteX37" fmla="*/ 9913 w 10348"/>
                <a:gd name="connsiteY37" fmla="*/ 882 h 13402"/>
                <a:gd name="connsiteX38" fmla="*/ 9574 w 10348"/>
                <a:gd name="connsiteY38" fmla="*/ 329 h 13402"/>
                <a:gd name="connsiteX0" fmla="*/ 9574 w 10348"/>
                <a:gd name="connsiteY0" fmla="*/ 329 h 13402"/>
                <a:gd name="connsiteX1" fmla="*/ 8609 w 10348"/>
                <a:gd name="connsiteY1" fmla="*/ 1176 h 13402"/>
                <a:gd name="connsiteX2" fmla="*/ 7957 w 10348"/>
                <a:gd name="connsiteY2" fmla="*/ 1176 h 13402"/>
                <a:gd name="connsiteX3" fmla="*/ 7739 w 10348"/>
                <a:gd name="connsiteY3" fmla="*/ 294 h 13402"/>
                <a:gd name="connsiteX4" fmla="*/ 7522 w 10348"/>
                <a:gd name="connsiteY4" fmla="*/ 0 h 13402"/>
                <a:gd name="connsiteX5" fmla="*/ 6870 w 10348"/>
                <a:gd name="connsiteY5" fmla="*/ 882 h 13402"/>
                <a:gd name="connsiteX6" fmla="*/ 6435 w 10348"/>
                <a:gd name="connsiteY6" fmla="*/ 1471 h 13402"/>
                <a:gd name="connsiteX7" fmla="*/ 5604 w 10348"/>
                <a:gd name="connsiteY7" fmla="*/ 1160 h 13402"/>
                <a:gd name="connsiteX8" fmla="*/ 5131 w 10348"/>
                <a:gd name="connsiteY8" fmla="*/ 1176 h 13402"/>
                <a:gd name="connsiteX9" fmla="*/ 4478 w 10348"/>
                <a:gd name="connsiteY9" fmla="*/ 1176 h 13402"/>
                <a:gd name="connsiteX10" fmla="*/ 3609 w 10348"/>
                <a:gd name="connsiteY10" fmla="*/ 882 h 13402"/>
                <a:gd name="connsiteX11" fmla="*/ 3391 w 10348"/>
                <a:gd name="connsiteY11" fmla="*/ 2353 h 13402"/>
                <a:gd name="connsiteX12" fmla="*/ 2305 w 10348"/>
                <a:gd name="connsiteY12" fmla="*/ 2941 h 13402"/>
                <a:gd name="connsiteX13" fmla="*/ 1870 w 10348"/>
                <a:gd name="connsiteY13" fmla="*/ 3529 h 13402"/>
                <a:gd name="connsiteX14" fmla="*/ 1218 w 10348"/>
                <a:gd name="connsiteY14" fmla="*/ 3235 h 13402"/>
                <a:gd name="connsiteX15" fmla="*/ 574 w 10348"/>
                <a:gd name="connsiteY15" fmla="*/ 2846 h 13402"/>
                <a:gd name="connsiteX16" fmla="*/ 356 w 10348"/>
                <a:gd name="connsiteY16" fmla="*/ 4706 h 13402"/>
                <a:gd name="connsiteX17" fmla="*/ 348 w 10348"/>
                <a:gd name="connsiteY17" fmla="*/ 5882 h 13402"/>
                <a:gd name="connsiteX18" fmla="*/ 0 w 10348"/>
                <a:gd name="connsiteY18" fmla="*/ 7734 h 13402"/>
                <a:gd name="connsiteX19" fmla="*/ 800 w 10348"/>
                <a:gd name="connsiteY19" fmla="*/ 8417 h 13402"/>
                <a:gd name="connsiteX20" fmla="*/ 783 w 10348"/>
                <a:gd name="connsiteY20" fmla="*/ 9706 h 13402"/>
                <a:gd name="connsiteX21" fmla="*/ 472 w 10348"/>
                <a:gd name="connsiteY21" fmla="*/ 10621 h 13402"/>
                <a:gd name="connsiteX22" fmla="*/ 1156 w 10348"/>
                <a:gd name="connsiteY22" fmla="*/ 10204 h 13402"/>
                <a:gd name="connsiteX23" fmla="*/ 2017 w 10348"/>
                <a:gd name="connsiteY23" fmla="*/ 9826 h 13402"/>
                <a:gd name="connsiteX24" fmla="*/ 2816 w 10348"/>
                <a:gd name="connsiteY24" fmla="*/ 9816 h 13402"/>
                <a:gd name="connsiteX25" fmla="*/ 4016 w 10348"/>
                <a:gd name="connsiteY25" fmla="*/ 10843 h 13402"/>
                <a:gd name="connsiteX26" fmla="*/ 5469 w 10348"/>
                <a:gd name="connsiteY26" fmla="*/ 11830 h 13402"/>
                <a:gd name="connsiteX27" fmla="*/ 5478 w 10348"/>
                <a:gd name="connsiteY27" fmla="*/ 12764 h 13402"/>
                <a:gd name="connsiteX28" fmla="*/ 6829 w 10348"/>
                <a:gd name="connsiteY28" fmla="*/ 13402 h 13402"/>
                <a:gd name="connsiteX29" fmla="*/ 7297 w 10348"/>
                <a:gd name="connsiteY29" fmla="*/ 6764 h 13402"/>
                <a:gd name="connsiteX30" fmla="*/ 7587 w 10348"/>
                <a:gd name="connsiteY30" fmla="*/ 6503 h 13402"/>
                <a:gd name="connsiteX31" fmla="*/ 7969 w 10348"/>
                <a:gd name="connsiteY31" fmla="*/ 6078 h 13402"/>
                <a:gd name="connsiteX32" fmla="*/ 8619 w 10348"/>
                <a:gd name="connsiteY32" fmla="*/ 4935 h 13402"/>
                <a:gd name="connsiteX33" fmla="*/ 8743 w 10348"/>
                <a:gd name="connsiteY33" fmla="*/ 4248 h 13402"/>
                <a:gd name="connsiteX34" fmla="*/ 9173 w 10348"/>
                <a:gd name="connsiteY34" fmla="*/ 3203 h 13402"/>
                <a:gd name="connsiteX35" fmla="*/ 8826 w 10348"/>
                <a:gd name="connsiteY35" fmla="*/ 2059 h 13402"/>
                <a:gd name="connsiteX36" fmla="*/ 10348 w 10348"/>
                <a:gd name="connsiteY36" fmla="*/ 1765 h 13402"/>
                <a:gd name="connsiteX37" fmla="*/ 9913 w 10348"/>
                <a:gd name="connsiteY37" fmla="*/ 882 h 13402"/>
                <a:gd name="connsiteX38" fmla="*/ 9574 w 10348"/>
                <a:gd name="connsiteY38" fmla="*/ 329 h 13402"/>
                <a:gd name="connsiteX0" fmla="*/ 9574 w 10348"/>
                <a:gd name="connsiteY0" fmla="*/ 329 h 13402"/>
                <a:gd name="connsiteX1" fmla="*/ 8609 w 10348"/>
                <a:gd name="connsiteY1" fmla="*/ 1176 h 13402"/>
                <a:gd name="connsiteX2" fmla="*/ 7957 w 10348"/>
                <a:gd name="connsiteY2" fmla="*/ 1176 h 13402"/>
                <a:gd name="connsiteX3" fmla="*/ 7739 w 10348"/>
                <a:gd name="connsiteY3" fmla="*/ 294 h 13402"/>
                <a:gd name="connsiteX4" fmla="*/ 7522 w 10348"/>
                <a:gd name="connsiteY4" fmla="*/ 0 h 13402"/>
                <a:gd name="connsiteX5" fmla="*/ 6870 w 10348"/>
                <a:gd name="connsiteY5" fmla="*/ 882 h 13402"/>
                <a:gd name="connsiteX6" fmla="*/ 6435 w 10348"/>
                <a:gd name="connsiteY6" fmla="*/ 1471 h 13402"/>
                <a:gd name="connsiteX7" fmla="*/ 5604 w 10348"/>
                <a:gd name="connsiteY7" fmla="*/ 1160 h 13402"/>
                <a:gd name="connsiteX8" fmla="*/ 5131 w 10348"/>
                <a:gd name="connsiteY8" fmla="*/ 1176 h 13402"/>
                <a:gd name="connsiteX9" fmla="*/ 4478 w 10348"/>
                <a:gd name="connsiteY9" fmla="*/ 1176 h 13402"/>
                <a:gd name="connsiteX10" fmla="*/ 3609 w 10348"/>
                <a:gd name="connsiteY10" fmla="*/ 882 h 13402"/>
                <a:gd name="connsiteX11" fmla="*/ 3391 w 10348"/>
                <a:gd name="connsiteY11" fmla="*/ 2353 h 13402"/>
                <a:gd name="connsiteX12" fmla="*/ 2305 w 10348"/>
                <a:gd name="connsiteY12" fmla="*/ 2941 h 13402"/>
                <a:gd name="connsiteX13" fmla="*/ 1870 w 10348"/>
                <a:gd name="connsiteY13" fmla="*/ 3529 h 13402"/>
                <a:gd name="connsiteX14" fmla="*/ 1218 w 10348"/>
                <a:gd name="connsiteY14" fmla="*/ 3235 h 13402"/>
                <a:gd name="connsiteX15" fmla="*/ 574 w 10348"/>
                <a:gd name="connsiteY15" fmla="*/ 2846 h 13402"/>
                <a:gd name="connsiteX16" fmla="*/ 356 w 10348"/>
                <a:gd name="connsiteY16" fmla="*/ 4706 h 13402"/>
                <a:gd name="connsiteX17" fmla="*/ 348 w 10348"/>
                <a:gd name="connsiteY17" fmla="*/ 5882 h 13402"/>
                <a:gd name="connsiteX18" fmla="*/ 0 w 10348"/>
                <a:gd name="connsiteY18" fmla="*/ 7734 h 13402"/>
                <a:gd name="connsiteX19" fmla="*/ 800 w 10348"/>
                <a:gd name="connsiteY19" fmla="*/ 8417 h 13402"/>
                <a:gd name="connsiteX20" fmla="*/ 783 w 10348"/>
                <a:gd name="connsiteY20" fmla="*/ 9706 h 13402"/>
                <a:gd name="connsiteX21" fmla="*/ 472 w 10348"/>
                <a:gd name="connsiteY21" fmla="*/ 10621 h 13402"/>
                <a:gd name="connsiteX22" fmla="*/ 1156 w 10348"/>
                <a:gd name="connsiteY22" fmla="*/ 10204 h 13402"/>
                <a:gd name="connsiteX23" fmla="*/ 2017 w 10348"/>
                <a:gd name="connsiteY23" fmla="*/ 9826 h 13402"/>
                <a:gd name="connsiteX24" fmla="*/ 2816 w 10348"/>
                <a:gd name="connsiteY24" fmla="*/ 9816 h 13402"/>
                <a:gd name="connsiteX25" fmla="*/ 4016 w 10348"/>
                <a:gd name="connsiteY25" fmla="*/ 10843 h 13402"/>
                <a:gd name="connsiteX26" fmla="*/ 5469 w 10348"/>
                <a:gd name="connsiteY26" fmla="*/ 11830 h 13402"/>
                <a:gd name="connsiteX27" fmla="*/ 5478 w 10348"/>
                <a:gd name="connsiteY27" fmla="*/ 12764 h 13402"/>
                <a:gd name="connsiteX28" fmla="*/ 6829 w 10348"/>
                <a:gd name="connsiteY28" fmla="*/ 13402 h 13402"/>
                <a:gd name="connsiteX29" fmla="*/ 7297 w 10348"/>
                <a:gd name="connsiteY29" fmla="*/ 6764 h 13402"/>
                <a:gd name="connsiteX30" fmla="*/ 7587 w 10348"/>
                <a:gd name="connsiteY30" fmla="*/ 6503 h 13402"/>
                <a:gd name="connsiteX31" fmla="*/ 7969 w 10348"/>
                <a:gd name="connsiteY31" fmla="*/ 6078 h 13402"/>
                <a:gd name="connsiteX32" fmla="*/ 8619 w 10348"/>
                <a:gd name="connsiteY32" fmla="*/ 4935 h 13402"/>
                <a:gd name="connsiteX33" fmla="*/ 8743 w 10348"/>
                <a:gd name="connsiteY33" fmla="*/ 4248 h 13402"/>
                <a:gd name="connsiteX34" fmla="*/ 9173 w 10348"/>
                <a:gd name="connsiteY34" fmla="*/ 3203 h 13402"/>
                <a:gd name="connsiteX35" fmla="*/ 8826 w 10348"/>
                <a:gd name="connsiteY35" fmla="*/ 2059 h 13402"/>
                <a:gd name="connsiteX36" fmla="*/ 10348 w 10348"/>
                <a:gd name="connsiteY36" fmla="*/ 1765 h 13402"/>
                <a:gd name="connsiteX37" fmla="*/ 9913 w 10348"/>
                <a:gd name="connsiteY37" fmla="*/ 882 h 13402"/>
                <a:gd name="connsiteX38" fmla="*/ 9574 w 10348"/>
                <a:gd name="connsiteY38" fmla="*/ 329 h 13402"/>
                <a:gd name="connsiteX0" fmla="*/ 9574 w 10348"/>
                <a:gd name="connsiteY0" fmla="*/ 329 h 13402"/>
                <a:gd name="connsiteX1" fmla="*/ 8609 w 10348"/>
                <a:gd name="connsiteY1" fmla="*/ 1176 h 13402"/>
                <a:gd name="connsiteX2" fmla="*/ 7957 w 10348"/>
                <a:gd name="connsiteY2" fmla="*/ 1176 h 13402"/>
                <a:gd name="connsiteX3" fmla="*/ 7739 w 10348"/>
                <a:gd name="connsiteY3" fmla="*/ 294 h 13402"/>
                <a:gd name="connsiteX4" fmla="*/ 7522 w 10348"/>
                <a:gd name="connsiteY4" fmla="*/ 0 h 13402"/>
                <a:gd name="connsiteX5" fmla="*/ 6870 w 10348"/>
                <a:gd name="connsiteY5" fmla="*/ 882 h 13402"/>
                <a:gd name="connsiteX6" fmla="*/ 6435 w 10348"/>
                <a:gd name="connsiteY6" fmla="*/ 1471 h 13402"/>
                <a:gd name="connsiteX7" fmla="*/ 5604 w 10348"/>
                <a:gd name="connsiteY7" fmla="*/ 1160 h 13402"/>
                <a:gd name="connsiteX8" fmla="*/ 5131 w 10348"/>
                <a:gd name="connsiteY8" fmla="*/ 1176 h 13402"/>
                <a:gd name="connsiteX9" fmla="*/ 4478 w 10348"/>
                <a:gd name="connsiteY9" fmla="*/ 1176 h 13402"/>
                <a:gd name="connsiteX10" fmla="*/ 3609 w 10348"/>
                <a:gd name="connsiteY10" fmla="*/ 882 h 13402"/>
                <a:gd name="connsiteX11" fmla="*/ 3391 w 10348"/>
                <a:gd name="connsiteY11" fmla="*/ 2353 h 13402"/>
                <a:gd name="connsiteX12" fmla="*/ 2305 w 10348"/>
                <a:gd name="connsiteY12" fmla="*/ 2941 h 13402"/>
                <a:gd name="connsiteX13" fmla="*/ 1870 w 10348"/>
                <a:gd name="connsiteY13" fmla="*/ 3529 h 13402"/>
                <a:gd name="connsiteX14" fmla="*/ 1218 w 10348"/>
                <a:gd name="connsiteY14" fmla="*/ 3235 h 13402"/>
                <a:gd name="connsiteX15" fmla="*/ 574 w 10348"/>
                <a:gd name="connsiteY15" fmla="*/ 2846 h 13402"/>
                <a:gd name="connsiteX16" fmla="*/ 356 w 10348"/>
                <a:gd name="connsiteY16" fmla="*/ 4706 h 13402"/>
                <a:gd name="connsiteX17" fmla="*/ 348 w 10348"/>
                <a:gd name="connsiteY17" fmla="*/ 5882 h 13402"/>
                <a:gd name="connsiteX18" fmla="*/ 0 w 10348"/>
                <a:gd name="connsiteY18" fmla="*/ 7734 h 13402"/>
                <a:gd name="connsiteX19" fmla="*/ 800 w 10348"/>
                <a:gd name="connsiteY19" fmla="*/ 8417 h 13402"/>
                <a:gd name="connsiteX20" fmla="*/ 783 w 10348"/>
                <a:gd name="connsiteY20" fmla="*/ 9706 h 13402"/>
                <a:gd name="connsiteX21" fmla="*/ 472 w 10348"/>
                <a:gd name="connsiteY21" fmla="*/ 10621 h 13402"/>
                <a:gd name="connsiteX22" fmla="*/ 1156 w 10348"/>
                <a:gd name="connsiteY22" fmla="*/ 10204 h 13402"/>
                <a:gd name="connsiteX23" fmla="*/ 2017 w 10348"/>
                <a:gd name="connsiteY23" fmla="*/ 9826 h 13402"/>
                <a:gd name="connsiteX24" fmla="*/ 2816 w 10348"/>
                <a:gd name="connsiteY24" fmla="*/ 9816 h 13402"/>
                <a:gd name="connsiteX25" fmla="*/ 4016 w 10348"/>
                <a:gd name="connsiteY25" fmla="*/ 10843 h 13402"/>
                <a:gd name="connsiteX26" fmla="*/ 5469 w 10348"/>
                <a:gd name="connsiteY26" fmla="*/ 11830 h 13402"/>
                <a:gd name="connsiteX27" fmla="*/ 5478 w 10348"/>
                <a:gd name="connsiteY27" fmla="*/ 12764 h 13402"/>
                <a:gd name="connsiteX28" fmla="*/ 6829 w 10348"/>
                <a:gd name="connsiteY28" fmla="*/ 13402 h 13402"/>
                <a:gd name="connsiteX29" fmla="*/ 7297 w 10348"/>
                <a:gd name="connsiteY29" fmla="*/ 6764 h 13402"/>
                <a:gd name="connsiteX30" fmla="*/ 7587 w 10348"/>
                <a:gd name="connsiteY30" fmla="*/ 6503 h 13402"/>
                <a:gd name="connsiteX31" fmla="*/ 7969 w 10348"/>
                <a:gd name="connsiteY31" fmla="*/ 6078 h 13402"/>
                <a:gd name="connsiteX32" fmla="*/ 8619 w 10348"/>
                <a:gd name="connsiteY32" fmla="*/ 4935 h 13402"/>
                <a:gd name="connsiteX33" fmla="*/ 8743 w 10348"/>
                <a:gd name="connsiteY33" fmla="*/ 4248 h 13402"/>
                <a:gd name="connsiteX34" fmla="*/ 9173 w 10348"/>
                <a:gd name="connsiteY34" fmla="*/ 3203 h 13402"/>
                <a:gd name="connsiteX35" fmla="*/ 8826 w 10348"/>
                <a:gd name="connsiteY35" fmla="*/ 2059 h 13402"/>
                <a:gd name="connsiteX36" fmla="*/ 10348 w 10348"/>
                <a:gd name="connsiteY36" fmla="*/ 1765 h 13402"/>
                <a:gd name="connsiteX37" fmla="*/ 9913 w 10348"/>
                <a:gd name="connsiteY37" fmla="*/ 882 h 13402"/>
                <a:gd name="connsiteX38" fmla="*/ 9574 w 10348"/>
                <a:gd name="connsiteY38" fmla="*/ 329 h 13402"/>
                <a:gd name="connsiteX0" fmla="*/ 9574 w 10348"/>
                <a:gd name="connsiteY0" fmla="*/ 329 h 13432"/>
                <a:gd name="connsiteX1" fmla="*/ 8609 w 10348"/>
                <a:gd name="connsiteY1" fmla="*/ 1176 h 13432"/>
                <a:gd name="connsiteX2" fmla="*/ 7957 w 10348"/>
                <a:gd name="connsiteY2" fmla="*/ 1176 h 13432"/>
                <a:gd name="connsiteX3" fmla="*/ 7739 w 10348"/>
                <a:gd name="connsiteY3" fmla="*/ 294 h 13432"/>
                <a:gd name="connsiteX4" fmla="*/ 7522 w 10348"/>
                <a:gd name="connsiteY4" fmla="*/ 0 h 13432"/>
                <a:gd name="connsiteX5" fmla="*/ 6870 w 10348"/>
                <a:gd name="connsiteY5" fmla="*/ 882 h 13432"/>
                <a:gd name="connsiteX6" fmla="*/ 6435 w 10348"/>
                <a:gd name="connsiteY6" fmla="*/ 1471 h 13432"/>
                <a:gd name="connsiteX7" fmla="*/ 5604 w 10348"/>
                <a:gd name="connsiteY7" fmla="*/ 1160 h 13432"/>
                <a:gd name="connsiteX8" fmla="*/ 5131 w 10348"/>
                <a:gd name="connsiteY8" fmla="*/ 1176 h 13432"/>
                <a:gd name="connsiteX9" fmla="*/ 4478 w 10348"/>
                <a:gd name="connsiteY9" fmla="*/ 1176 h 13432"/>
                <a:gd name="connsiteX10" fmla="*/ 3609 w 10348"/>
                <a:gd name="connsiteY10" fmla="*/ 882 h 13432"/>
                <a:gd name="connsiteX11" fmla="*/ 3391 w 10348"/>
                <a:gd name="connsiteY11" fmla="*/ 2353 h 13432"/>
                <a:gd name="connsiteX12" fmla="*/ 2305 w 10348"/>
                <a:gd name="connsiteY12" fmla="*/ 2941 h 13432"/>
                <a:gd name="connsiteX13" fmla="*/ 1870 w 10348"/>
                <a:gd name="connsiteY13" fmla="*/ 3529 h 13432"/>
                <a:gd name="connsiteX14" fmla="*/ 1218 w 10348"/>
                <a:gd name="connsiteY14" fmla="*/ 3235 h 13432"/>
                <a:gd name="connsiteX15" fmla="*/ 574 w 10348"/>
                <a:gd name="connsiteY15" fmla="*/ 2846 h 13432"/>
                <a:gd name="connsiteX16" fmla="*/ 356 w 10348"/>
                <a:gd name="connsiteY16" fmla="*/ 4706 h 13432"/>
                <a:gd name="connsiteX17" fmla="*/ 348 w 10348"/>
                <a:gd name="connsiteY17" fmla="*/ 5882 h 13432"/>
                <a:gd name="connsiteX18" fmla="*/ 0 w 10348"/>
                <a:gd name="connsiteY18" fmla="*/ 7734 h 13432"/>
                <a:gd name="connsiteX19" fmla="*/ 800 w 10348"/>
                <a:gd name="connsiteY19" fmla="*/ 8417 h 13432"/>
                <a:gd name="connsiteX20" fmla="*/ 783 w 10348"/>
                <a:gd name="connsiteY20" fmla="*/ 9706 h 13432"/>
                <a:gd name="connsiteX21" fmla="*/ 472 w 10348"/>
                <a:gd name="connsiteY21" fmla="*/ 10621 h 13432"/>
                <a:gd name="connsiteX22" fmla="*/ 1156 w 10348"/>
                <a:gd name="connsiteY22" fmla="*/ 10204 h 13432"/>
                <a:gd name="connsiteX23" fmla="*/ 2017 w 10348"/>
                <a:gd name="connsiteY23" fmla="*/ 9826 h 13432"/>
                <a:gd name="connsiteX24" fmla="*/ 2816 w 10348"/>
                <a:gd name="connsiteY24" fmla="*/ 9816 h 13432"/>
                <a:gd name="connsiteX25" fmla="*/ 4016 w 10348"/>
                <a:gd name="connsiteY25" fmla="*/ 10843 h 13432"/>
                <a:gd name="connsiteX26" fmla="*/ 5469 w 10348"/>
                <a:gd name="connsiteY26" fmla="*/ 11830 h 13432"/>
                <a:gd name="connsiteX27" fmla="*/ 5478 w 10348"/>
                <a:gd name="connsiteY27" fmla="*/ 12764 h 13432"/>
                <a:gd name="connsiteX28" fmla="*/ 6829 w 10348"/>
                <a:gd name="connsiteY28" fmla="*/ 13402 h 13432"/>
                <a:gd name="connsiteX29" fmla="*/ 7923 w 10348"/>
                <a:gd name="connsiteY29" fmla="*/ 12582 h 13432"/>
                <a:gd name="connsiteX30" fmla="*/ 7587 w 10348"/>
                <a:gd name="connsiteY30" fmla="*/ 6503 h 13432"/>
                <a:gd name="connsiteX31" fmla="*/ 7969 w 10348"/>
                <a:gd name="connsiteY31" fmla="*/ 6078 h 13432"/>
                <a:gd name="connsiteX32" fmla="*/ 8619 w 10348"/>
                <a:gd name="connsiteY32" fmla="*/ 4935 h 13432"/>
                <a:gd name="connsiteX33" fmla="*/ 8743 w 10348"/>
                <a:gd name="connsiteY33" fmla="*/ 4248 h 13432"/>
                <a:gd name="connsiteX34" fmla="*/ 9173 w 10348"/>
                <a:gd name="connsiteY34" fmla="*/ 3203 h 13432"/>
                <a:gd name="connsiteX35" fmla="*/ 8826 w 10348"/>
                <a:gd name="connsiteY35" fmla="*/ 2059 h 13432"/>
                <a:gd name="connsiteX36" fmla="*/ 10348 w 10348"/>
                <a:gd name="connsiteY36" fmla="*/ 1765 h 13432"/>
                <a:gd name="connsiteX37" fmla="*/ 9913 w 10348"/>
                <a:gd name="connsiteY37" fmla="*/ 882 h 13432"/>
                <a:gd name="connsiteX38" fmla="*/ 9574 w 10348"/>
                <a:gd name="connsiteY38" fmla="*/ 329 h 13432"/>
                <a:gd name="connsiteX0" fmla="*/ 9574 w 10348"/>
                <a:gd name="connsiteY0" fmla="*/ 329 h 13403"/>
                <a:gd name="connsiteX1" fmla="*/ 8609 w 10348"/>
                <a:gd name="connsiteY1" fmla="*/ 1176 h 13403"/>
                <a:gd name="connsiteX2" fmla="*/ 7957 w 10348"/>
                <a:gd name="connsiteY2" fmla="*/ 1176 h 13403"/>
                <a:gd name="connsiteX3" fmla="*/ 7739 w 10348"/>
                <a:gd name="connsiteY3" fmla="*/ 294 h 13403"/>
                <a:gd name="connsiteX4" fmla="*/ 7522 w 10348"/>
                <a:gd name="connsiteY4" fmla="*/ 0 h 13403"/>
                <a:gd name="connsiteX5" fmla="*/ 6870 w 10348"/>
                <a:gd name="connsiteY5" fmla="*/ 882 h 13403"/>
                <a:gd name="connsiteX6" fmla="*/ 6435 w 10348"/>
                <a:gd name="connsiteY6" fmla="*/ 1471 h 13403"/>
                <a:gd name="connsiteX7" fmla="*/ 5604 w 10348"/>
                <a:gd name="connsiteY7" fmla="*/ 1160 h 13403"/>
                <a:gd name="connsiteX8" fmla="*/ 5131 w 10348"/>
                <a:gd name="connsiteY8" fmla="*/ 1176 h 13403"/>
                <a:gd name="connsiteX9" fmla="*/ 4478 w 10348"/>
                <a:gd name="connsiteY9" fmla="*/ 1176 h 13403"/>
                <a:gd name="connsiteX10" fmla="*/ 3609 w 10348"/>
                <a:gd name="connsiteY10" fmla="*/ 882 h 13403"/>
                <a:gd name="connsiteX11" fmla="*/ 3391 w 10348"/>
                <a:gd name="connsiteY11" fmla="*/ 2353 h 13403"/>
                <a:gd name="connsiteX12" fmla="*/ 2305 w 10348"/>
                <a:gd name="connsiteY12" fmla="*/ 2941 h 13403"/>
                <a:gd name="connsiteX13" fmla="*/ 1870 w 10348"/>
                <a:gd name="connsiteY13" fmla="*/ 3529 h 13403"/>
                <a:gd name="connsiteX14" fmla="*/ 1218 w 10348"/>
                <a:gd name="connsiteY14" fmla="*/ 3235 h 13403"/>
                <a:gd name="connsiteX15" fmla="*/ 574 w 10348"/>
                <a:gd name="connsiteY15" fmla="*/ 2846 h 13403"/>
                <a:gd name="connsiteX16" fmla="*/ 356 w 10348"/>
                <a:gd name="connsiteY16" fmla="*/ 4706 h 13403"/>
                <a:gd name="connsiteX17" fmla="*/ 348 w 10348"/>
                <a:gd name="connsiteY17" fmla="*/ 5882 h 13403"/>
                <a:gd name="connsiteX18" fmla="*/ 0 w 10348"/>
                <a:gd name="connsiteY18" fmla="*/ 7734 h 13403"/>
                <a:gd name="connsiteX19" fmla="*/ 800 w 10348"/>
                <a:gd name="connsiteY19" fmla="*/ 8417 h 13403"/>
                <a:gd name="connsiteX20" fmla="*/ 783 w 10348"/>
                <a:gd name="connsiteY20" fmla="*/ 9706 h 13403"/>
                <a:gd name="connsiteX21" fmla="*/ 472 w 10348"/>
                <a:gd name="connsiteY21" fmla="*/ 10621 h 13403"/>
                <a:gd name="connsiteX22" fmla="*/ 1156 w 10348"/>
                <a:gd name="connsiteY22" fmla="*/ 10204 h 13403"/>
                <a:gd name="connsiteX23" fmla="*/ 2017 w 10348"/>
                <a:gd name="connsiteY23" fmla="*/ 9826 h 13403"/>
                <a:gd name="connsiteX24" fmla="*/ 2816 w 10348"/>
                <a:gd name="connsiteY24" fmla="*/ 9816 h 13403"/>
                <a:gd name="connsiteX25" fmla="*/ 4016 w 10348"/>
                <a:gd name="connsiteY25" fmla="*/ 10843 h 13403"/>
                <a:gd name="connsiteX26" fmla="*/ 5469 w 10348"/>
                <a:gd name="connsiteY26" fmla="*/ 11830 h 13403"/>
                <a:gd name="connsiteX27" fmla="*/ 5478 w 10348"/>
                <a:gd name="connsiteY27" fmla="*/ 12764 h 13403"/>
                <a:gd name="connsiteX28" fmla="*/ 6829 w 10348"/>
                <a:gd name="connsiteY28" fmla="*/ 13402 h 13403"/>
                <a:gd name="connsiteX29" fmla="*/ 7923 w 10348"/>
                <a:gd name="connsiteY29" fmla="*/ 12582 h 13403"/>
                <a:gd name="connsiteX30" fmla="*/ 7587 w 10348"/>
                <a:gd name="connsiteY30" fmla="*/ 6503 h 13403"/>
                <a:gd name="connsiteX31" fmla="*/ 7969 w 10348"/>
                <a:gd name="connsiteY31" fmla="*/ 6078 h 13403"/>
                <a:gd name="connsiteX32" fmla="*/ 8619 w 10348"/>
                <a:gd name="connsiteY32" fmla="*/ 4935 h 13403"/>
                <a:gd name="connsiteX33" fmla="*/ 8743 w 10348"/>
                <a:gd name="connsiteY33" fmla="*/ 4248 h 13403"/>
                <a:gd name="connsiteX34" fmla="*/ 9173 w 10348"/>
                <a:gd name="connsiteY34" fmla="*/ 3203 h 13403"/>
                <a:gd name="connsiteX35" fmla="*/ 8826 w 10348"/>
                <a:gd name="connsiteY35" fmla="*/ 2059 h 13403"/>
                <a:gd name="connsiteX36" fmla="*/ 10348 w 10348"/>
                <a:gd name="connsiteY36" fmla="*/ 1765 h 13403"/>
                <a:gd name="connsiteX37" fmla="*/ 9913 w 10348"/>
                <a:gd name="connsiteY37" fmla="*/ 882 h 13403"/>
                <a:gd name="connsiteX38" fmla="*/ 9574 w 10348"/>
                <a:gd name="connsiteY38" fmla="*/ 329 h 13403"/>
                <a:gd name="connsiteX0" fmla="*/ 9574 w 10348"/>
                <a:gd name="connsiteY0" fmla="*/ 329 h 13403"/>
                <a:gd name="connsiteX1" fmla="*/ 8609 w 10348"/>
                <a:gd name="connsiteY1" fmla="*/ 1176 h 13403"/>
                <a:gd name="connsiteX2" fmla="*/ 7957 w 10348"/>
                <a:gd name="connsiteY2" fmla="*/ 1176 h 13403"/>
                <a:gd name="connsiteX3" fmla="*/ 7739 w 10348"/>
                <a:gd name="connsiteY3" fmla="*/ 294 h 13403"/>
                <a:gd name="connsiteX4" fmla="*/ 7522 w 10348"/>
                <a:gd name="connsiteY4" fmla="*/ 0 h 13403"/>
                <a:gd name="connsiteX5" fmla="*/ 6870 w 10348"/>
                <a:gd name="connsiteY5" fmla="*/ 882 h 13403"/>
                <a:gd name="connsiteX6" fmla="*/ 6435 w 10348"/>
                <a:gd name="connsiteY6" fmla="*/ 1471 h 13403"/>
                <a:gd name="connsiteX7" fmla="*/ 5604 w 10348"/>
                <a:gd name="connsiteY7" fmla="*/ 1160 h 13403"/>
                <a:gd name="connsiteX8" fmla="*/ 5131 w 10348"/>
                <a:gd name="connsiteY8" fmla="*/ 1176 h 13403"/>
                <a:gd name="connsiteX9" fmla="*/ 4478 w 10348"/>
                <a:gd name="connsiteY9" fmla="*/ 1176 h 13403"/>
                <a:gd name="connsiteX10" fmla="*/ 3609 w 10348"/>
                <a:gd name="connsiteY10" fmla="*/ 882 h 13403"/>
                <a:gd name="connsiteX11" fmla="*/ 3391 w 10348"/>
                <a:gd name="connsiteY11" fmla="*/ 2353 h 13403"/>
                <a:gd name="connsiteX12" fmla="*/ 2305 w 10348"/>
                <a:gd name="connsiteY12" fmla="*/ 2941 h 13403"/>
                <a:gd name="connsiteX13" fmla="*/ 1870 w 10348"/>
                <a:gd name="connsiteY13" fmla="*/ 3529 h 13403"/>
                <a:gd name="connsiteX14" fmla="*/ 1218 w 10348"/>
                <a:gd name="connsiteY14" fmla="*/ 3235 h 13403"/>
                <a:gd name="connsiteX15" fmla="*/ 574 w 10348"/>
                <a:gd name="connsiteY15" fmla="*/ 2846 h 13403"/>
                <a:gd name="connsiteX16" fmla="*/ 356 w 10348"/>
                <a:gd name="connsiteY16" fmla="*/ 4706 h 13403"/>
                <a:gd name="connsiteX17" fmla="*/ 348 w 10348"/>
                <a:gd name="connsiteY17" fmla="*/ 5882 h 13403"/>
                <a:gd name="connsiteX18" fmla="*/ 0 w 10348"/>
                <a:gd name="connsiteY18" fmla="*/ 7734 h 13403"/>
                <a:gd name="connsiteX19" fmla="*/ 800 w 10348"/>
                <a:gd name="connsiteY19" fmla="*/ 8417 h 13403"/>
                <a:gd name="connsiteX20" fmla="*/ 783 w 10348"/>
                <a:gd name="connsiteY20" fmla="*/ 9706 h 13403"/>
                <a:gd name="connsiteX21" fmla="*/ 472 w 10348"/>
                <a:gd name="connsiteY21" fmla="*/ 10621 h 13403"/>
                <a:gd name="connsiteX22" fmla="*/ 1156 w 10348"/>
                <a:gd name="connsiteY22" fmla="*/ 10204 h 13403"/>
                <a:gd name="connsiteX23" fmla="*/ 2017 w 10348"/>
                <a:gd name="connsiteY23" fmla="*/ 9826 h 13403"/>
                <a:gd name="connsiteX24" fmla="*/ 2816 w 10348"/>
                <a:gd name="connsiteY24" fmla="*/ 9816 h 13403"/>
                <a:gd name="connsiteX25" fmla="*/ 4016 w 10348"/>
                <a:gd name="connsiteY25" fmla="*/ 10843 h 13403"/>
                <a:gd name="connsiteX26" fmla="*/ 5469 w 10348"/>
                <a:gd name="connsiteY26" fmla="*/ 11830 h 13403"/>
                <a:gd name="connsiteX27" fmla="*/ 5478 w 10348"/>
                <a:gd name="connsiteY27" fmla="*/ 12764 h 13403"/>
                <a:gd name="connsiteX28" fmla="*/ 6829 w 10348"/>
                <a:gd name="connsiteY28" fmla="*/ 13402 h 13403"/>
                <a:gd name="connsiteX29" fmla="*/ 7923 w 10348"/>
                <a:gd name="connsiteY29" fmla="*/ 12582 h 13403"/>
                <a:gd name="connsiteX30" fmla="*/ 7587 w 10348"/>
                <a:gd name="connsiteY30" fmla="*/ 6503 h 13403"/>
                <a:gd name="connsiteX31" fmla="*/ 7969 w 10348"/>
                <a:gd name="connsiteY31" fmla="*/ 6078 h 13403"/>
                <a:gd name="connsiteX32" fmla="*/ 8619 w 10348"/>
                <a:gd name="connsiteY32" fmla="*/ 4935 h 13403"/>
                <a:gd name="connsiteX33" fmla="*/ 8743 w 10348"/>
                <a:gd name="connsiteY33" fmla="*/ 4248 h 13403"/>
                <a:gd name="connsiteX34" fmla="*/ 9173 w 10348"/>
                <a:gd name="connsiteY34" fmla="*/ 3203 h 13403"/>
                <a:gd name="connsiteX35" fmla="*/ 8826 w 10348"/>
                <a:gd name="connsiteY35" fmla="*/ 2059 h 13403"/>
                <a:gd name="connsiteX36" fmla="*/ 10348 w 10348"/>
                <a:gd name="connsiteY36" fmla="*/ 1765 h 13403"/>
                <a:gd name="connsiteX37" fmla="*/ 9913 w 10348"/>
                <a:gd name="connsiteY37" fmla="*/ 882 h 13403"/>
                <a:gd name="connsiteX38" fmla="*/ 9574 w 10348"/>
                <a:gd name="connsiteY38" fmla="*/ 329 h 13403"/>
                <a:gd name="connsiteX0" fmla="*/ 9574 w 10348"/>
                <a:gd name="connsiteY0" fmla="*/ 329 h 13403"/>
                <a:gd name="connsiteX1" fmla="*/ 8609 w 10348"/>
                <a:gd name="connsiteY1" fmla="*/ 1176 h 13403"/>
                <a:gd name="connsiteX2" fmla="*/ 7957 w 10348"/>
                <a:gd name="connsiteY2" fmla="*/ 1176 h 13403"/>
                <a:gd name="connsiteX3" fmla="*/ 7739 w 10348"/>
                <a:gd name="connsiteY3" fmla="*/ 294 h 13403"/>
                <a:gd name="connsiteX4" fmla="*/ 7522 w 10348"/>
                <a:gd name="connsiteY4" fmla="*/ 0 h 13403"/>
                <a:gd name="connsiteX5" fmla="*/ 6870 w 10348"/>
                <a:gd name="connsiteY5" fmla="*/ 882 h 13403"/>
                <a:gd name="connsiteX6" fmla="*/ 6435 w 10348"/>
                <a:gd name="connsiteY6" fmla="*/ 1471 h 13403"/>
                <a:gd name="connsiteX7" fmla="*/ 5604 w 10348"/>
                <a:gd name="connsiteY7" fmla="*/ 1160 h 13403"/>
                <a:gd name="connsiteX8" fmla="*/ 5131 w 10348"/>
                <a:gd name="connsiteY8" fmla="*/ 1176 h 13403"/>
                <a:gd name="connsiteX9" fmla="*/ 4478 w 10348"/>
                <a:gd name="connsiteY9" fmla="*/ 1176 h 13403"/>
                <a:gd name="connsiteX10" fmla="*/ 3609 w 10348"/>
                <a:gd name="connsiteY10" fmla="*/ 882 h 13403"/>
                <a:gd name="connsiteX11" fmla="*/ 3391 w 10348"/>
                <a:gd name="connsiteY11" fmla="*/ 2353 h 13403"/>
                <a:gd name="connsiteX12" fmla="*/ 2305 w 10348"/>
                <a:gd name="connsiteY12" fmla="*/ 2941 h 13403"/>
                <a:gd name="connsiteX13" fmla="*/ 1870 w 10348"/>
                <a:gd name="connsiteY13" fmla="*/ 3529 h 13403"/>
                <a:gd name="connsiteX14" fmla="*/ 1218 w 10348"/>
                <a:gd name="connsiteY14" fmla="*/ 3235 h 13403"/>
                <a:gd name="connsiteX15" fmla="*/ 574 w 10348"/>
                <a:gd name="connsiteY15" fmla="*/ 2846 h 13403"/>
                <a:gd name="connsiteX16" fmla="*/ 356 w 10348"/>
                <a:gd name="connsiteY16" fmla="*/ 4706 h 13403"/>
                <a:gd name="connsiteX17" fmla="*/ 348 w 10348"/>
                <a:gd name="connsiteY17" fmla="*/ 5882 h 13403"/>
                <a:gd name="connsiteX18" fmla="*/ 0 w 10348"/>
                <a:gd name="connsiteY18" fmla="*/ 7734 h 13403"/>
                <a:gd name="connsiteX19" fmla="*/ 800 w 10348"/>
                <a:gd name="connsiteY19" fmla="*/ 8417 h 13403"/>
                <a:gd name="connsiteX20" fmla="*/ 783 w 10348"/>
                <a:gd name="connsiteY20" fmla="*/ 9706 h 13403"/>
                <a:gd name="connsiteX21" fmla="*/ 472 w 10348"/>
                <a:gd name="connsiteY21" fmla="*/ 10621 h 13403"/>
                <a:gd name="connsiteX22" fmla="*/ 1156 w 10348"/>
                <a:gd name="connsiteY22" fmla="*/ 10204 h 13403"/>
                <a:gd name="connsiteX23" fmla="*/ 2017 w 10348"/>
                <a:gd name="connsiteY23" fmla="*/ 9826 h 13403"/>
                <a:gd name="connsiteX24" fmla="*/ 2816 w 10348"/>
                <a:gd name="connsiteY24" fmla="*/ 9816 h 13403"/>
                <a:gd name="connsiteX25" fmla="*/ 4016 w 10348"/>
                <a:gd name="connsiteY25" fmla="*/ 10843 h 13403"/>
                <a:gd name="connsiteX26" fmla="*/ 5469 w 10348"/>
                <a:gd name="connsiteY26" fmla="*/ 11830 h 13403"/>
                <a:gd name="connsiteX27" fmla="*/ 5478 w 10348"/>
                <a:gd name="connsiteY27" fmla="*/ 12764 h 13403"/>
                <a:gd name="connsiteX28" fmla="*/ 6829 w 10348"/>
                <a:gd name="connsiteY28" fmla="*/ 13402 h 13403"/>
                <a:gd name="connsiteX29" fmla="*/ 7923 w 10348"/>
                <a:gd name="connsiteY29" fmla="*/ 12582 h 13403"/>
                <a:gd name="connsiteX30" fmla="*/ 8561 w 10348"/>
                <a:gd name="connsiteY30" fmla="*/ 11933 h 13403"/>
                <a:gd name="connsiteX31" fmla="*/ 7969 w 10348"/>
                <a:gd name="connsiteY31" fmla="*/ 6078 h 13403"/>
                <a:gd name="connsiteX32" fmla="*/ 8619 w 10348"/>
                <a:gd name="connsiteY32" fmla="*/ 4935 h 13403"/>
                <a:gd name="connsiteX33" fmla="*/ 8743 w 10348"/>
                <a:gd name="connsiteY33" fmla="*/ 4248 h 13403"/>
                <a:gd name="connsiteX34" fmla="*/ 9173 w 10348"/>
                <a:gd name="connsiteY34" fmla="*/ 3203 h 13403"/>
                <a:gd name="connsiteX35" fmla="*/ 8826 w 10348"/>
                <a:gd name="connsiteY35" fmla="*/ 2059 h 13403"/>
                <a:gd name="connsiteX36" fmla="*/ 10348 w 10348"/>
                <a:gd name="connsiteY36" fmla="*/ 1765 h 13403"/>
                <a:gd name="connsiteX37" fmla="*/ 9913 w 10348"/>
                <a:gd name="connsiteY37" fmla="*/ 882 h 13403"/>
                <a:gd name="connsiteX38" fmla="*/ 9574 w 10348"/>
                <a:gd name="connsiteY38" fmla="*/ 329 h 13403"/>
                <a:gd name="connsiteX0" fmla="*/ 9574 w 10348"/>
                <a:gd name="connsiteY0" fmla="*/ 329 h 13403"/>
                <a:gd name="connsiteX1" fmla="*/ 8609 w 10348"/>
                <a:gd name="connsiteY1" fmla="*/ 1176 h 13403"/>
                <a:gd name="connsiteX2" fmla="*/ 7957 w 10348"/>
                <a:gd name="connsiteY2" fmla="*/ 1176 h 13403"/>
                <a:gd name="connsiteX3" fmla="*/ 7739 w 10348"/>
                <a:gd name="connsiteY3" fmla="*/ 294 h 13403"/>
                <a:gd name="connsiteX4" fmla="*/ 7522 w 10348"/>
                <a:gd name="connsiteY4" fmla="*/ 0 h 13403"/>
                <a:gd name="connsiteX5" fmla="*/ 6870 w 10348"/>
                <a:gd name="connsiteY5" fmla="*/ 882 h 13403"/>
                <a:gd name="connsiteX6" fmla="*/ 6435 w 10348"/>
                <a:gd name="connsiteY6" fmla="*/ 1471 h 13403"/>
                <a:gd name="connsiteX7" fmla="*/ 5604 w 10348"/>
                <a:gd name="connsiteY7" fmla="*/ 1160 h 13403"/>
                <a:gd name="connsiteX8" fmla="*/ 5131 w 10348"/>
                <a:gd name="connsiteY8" fmla="*/ 1176 h 13403"/>
                <a:gd name="connsiteX9" fmla="*/ 4478 w 10348"/>
                <a:gd name="connsiteY9" fmla="*/ 1176 h 13403"/>
                <a:gd name="connsiteX10" fmla="*/ 3609 w 10348"/>
                <a:gd name="connsiteY10" fmla="*/ 882 h 13403"/>
                <a:gd name="connsiteX11" fmla="*/ 3391 w 10348"/>
                <a:gd name="connsiteY11" fmla="*/ 2353 h 13403"/>
                <a:gd name="connsiteX12" fmla="*/ 2305 w 10348"/>
                <a:gd name="connsiteY12" fmla="*/ 2941 h 13403"/>
                <a:gd name="connsiteX13" fmla="*/ 1870 w 10348"/>
                <a:gd name="connsiteY13" fmla="*/ 3529 h 13403"/>
                <a:gd name="connsiteX14" fmla="*/ 1218 w 10348"/>
                <a:gd name="connsiteY14" fmla="*/ 3235 h 13403"/>
                <a:gd name="connsiteX15" fmla="*/ 574 w 10348"/>
                <a:gd name="connsiteY15" fmla="*/ 2846 h 13403"/>
                <a:gd name="connsiteX16" fmla="*/ 356 w 10348"/>
                <a:gd name="connsiteY16" fmla="*/ 4706 h 13403"/>
                <a:gd name="connsiteX17" fmla="*/ 348 w 10348"/>
                <a:gd name="connsiteY17" fmla="*/ 5882 h 13403"/>
                <a:gd name="connsiteX18" fmla="*/ 0 w 10348"/>
                <a:gd name="connsiteY18" fmla="*/ 7734 h 13403"/>
                <a:gd name="connsiteX19" fmla="*/ 800 w 10348"/>
                <a:gd name="connsiteY19" fmla="*/ 8417 h 13403"/>
                <a:gd name="connsiteX20" fmla="*/ 783 w 10348"/>
                <a:gd name="connsiteY20" fmla="*/ 9706 h 13403"/>
                <a:gd name="connsiteX21" fmla="*/ 472 w 10348"/>
                <a:gd name="connsiteY21" fmla="*/ 10621 h 13403"/>
                <a:gd name="connsiteX22" fmla="*/ 1156 w 10348"/>
                <a:gd name="connsiteY22" fmla="*/ 10204 h 13403"/>
                <a:gd name="connsiteX23" fmla="*/ 2017 w 10348"/>
                <a:gd name="connsiteY23" fmla="*/ 9826 h 13403"/>
                <a:gd name="connsiteX24" fmla="*/ 2816 w 10348"/>
                <a:gd name="connsiteY24" fmla="*/ 9816 h 13403"/>
                <a:gd name="connsiteX25" fmla="*/ 4016 w 10348"/>
                <a:gd name="connsiteY25" fmla="*/ 10843 h 13403"/>
                <a:gd name="connsiteX26" fmla="*/ 5469 w 10348"/>
                <a:gd name="connsiteY26" fmla="*/ 11830 h 13403"/>
                <a:gd name="connsiteX27" fmla="*/ 5478 w 10348"/>
                <a:gd name="connsiteY27" fmla="*/ 12764 h 13403"/>
                <a:gd name="connsiteX28" fmla="*/ 6829 w 10348"/>
                <a:gd name="connsiteY28" fmla="*/ 13402 h 13403"/>
                <a:gd name="connsiteX29" fmla="*/ 7923 w 10348"/>
                <a:gd name="connsiteY29" fmla="*/ 12582 h 13403"/>
                <a:gd name="connsiteX30" fmla="*/ 8561 w 10348"/>
                <a:gd name="connsiteY30" fmla="*/ 11933 h 13403"/>
                <a:gd name="connsiteX31" fmla="*/ 7969 w 10348"/>
                <a:gd name="connsiteY31" fmla="*/ 6078 h 13403"/>
                <a:gd name="connsiteX32" fmla="*/ 8619 w 10348"/>
                <a:gd name="connsiteY32" fmla="*/ 4935 h 13403"/>
                <a:gd name="connsiteX33" fmla="*/ 8743 w 10348"/>
                <a:gd name="connsiteY33" fmla="*/ 4248 h 13403"/>
                <a:gd name="connsiteX34" fmla="*/ 9173 w 10348"/>
                <a:gd name="connsiteY34" fmla="*/ 3203 h 13403"/>
                <a:gd name="connsiteX35" fmla="*/ 8826 w 10348"/>
                <a:gd name="connsiteY35" fmla="*/ 2059 h 13403"/>
                <a:gd name="connsiteX36" fmla="*/ 10348 w 10348"/>
                <a:gd name="connsiteY36" fmla="*/ 1765 h 13403"/>
                <a:gd name="connsiteX37" fmla="*/ 9913 w 10348"/>
                <a:gd name="connsiteY37" fmla="*/ 882 h 13403"/>
                <a:gd name="connsiteX38" fmla="*/ 9574 w 10348"/>
                <a:gd name="connsiteY38" fmla="*/ 329 h 13403"/>
                <a:gd name="connsiteX0" fmla="*/ 9574 w 10348"/>
                <a:gd name="connsiteY0" fmla="*/ 329 h 13403"/>
                <a:gd name="connsiteX1" fmla="*/ 8609 w 10348"/>
                <a:gd name="connsiteY1" fmla="*/ 1176 h 13403"/>
                <a:gd name="connsiteX2" fmla="*/ 7957 w 10348"/>
                <a:gd name="connsiteY2" fmla="*/ 1176 h 13403"/>
                <a:gd name="connsiteX3" fmla="*/ 7739 w 10348"/>
                <a:gd name="connsiteY3" fmla="*/ 294 h 13403"/>
                <a:gd name="connsiteX4" fmla="*/ 7522 w 10348"/>
                <a:gd name="connsiteY4" fmla="*/ 0 h 13403"/>
                <a:gd name="connsiteX5" fmla="*/ 6870 w 10348"/>
                <a:gd name="connsiteY5" fmla="*/ 882 h 13403"/>
                <a:gd name="connsiteX6" fmla="*/ 6435 w 10348"/>
                <a:gd name="connsiteY6" fmla="*/ 1471 h 13403"/>
                <a:gd name="connsiteX7" fmla="*/ 5604 w 10348"/>
                <a:gd name="connsiteY7" fmla="*/ 1160 h 13403"/>
                <a:gd name="connsiteX8" fmla="*/ 5131 w 10348"/>
                <a:gd name="connsiteY8" fmla="*/ 1176 h 13403"/>
                <a:gd name="connsiteX9" fmla="*/ 4478 w 10348"/>
                <a:gd name="connsiteY9" fmla="*/ 1176 h 13403"/>
                <a:gd name="connsiteX10" fmla="*/ 3609 w 10348"/>
                <a:gd name="connsiteY10" fmla="*/ 882 h 13403"/>
                <a:gd name="connsiteX11" fmla="*/ 3391 w 10348"/>
                <a:gd name="connsiteY11" fmla="*/ 2353 h 13403"/>
                <a:gd name="connsiteX12" fmla="*/ 2305 w 10348"/>
                <a:gd name="connsiteY12" fmla="*/ 2941 h 13403"/>
                <a:gd name="connsiteX13" fmla="*/ 1870 w 10348"/>
                <a:gd name="connsiteY13" fmla="*/ 3529 h 13403"/>
                <a:gd name="connsiteX14" fmla="*/ 1218 w 10348"/>
                <a:gd name="connsiteY14" fmla="*/ 3235 h 13403"/>
                <a:gd name="connsiteX15" fmla="*/ 574 w 10348"/>
                <a:gd name="connsiteY15" fmla="*/ 2846 h 13403"/>
                <a:gd name="connsiteX16" fmla="*/ 356 w 10348"/>
                <a:gd name="connsiteY16" fmla="*/ 4706 h 13403"/>
                <a:gd name="connsiteX17" fmla="*/ 348 w 10348"/>
                <a:gd name="connsiteY17" fmla="*/ 5882 h 13403"/>
                <a:gd name="connsiteX18" fmla="*/ 0 w 10348"/>
                <a:gd name="connsiteY18" fmla="*/ 7734 h 13403"/>
                <a:gd name="connsiteX19" fmla="*/ 800 w 10348"/>
                <a:gd name="connsiteY19" fmla="*/ 8417 h 13403"/>
                <a:gd name="connsiteX20" fmla="*/ 783 w 10348"/>
                <a:gd name="connsiteY20" fmla="*/ 9706 h 13403"/>
                <a:gd name="connsiteX21" fmla="*/ 472 w 10348"/>
                <a:gd name="connsiteY21" fmla="*/ 10621 h 13403"/>
                <a:gd name="connsiteX22" fmla="*/ 1156 w 10348"/>
                <a:gd name="connsiteY22" fmla="*/ 10204 h 13403"/>
                <a:gd name="connsiteX23" fmla="*/ 2017 w 10348"/>
                <a:gd name="connsiteY23" fmla="*/ 9826 h 13403"/>
                <a:gd name="connsiteX24" fmla="*/ 2816 w 10348"/>
                <a:gd name="connsiteY24" fmla="*/ 9816 h 13403"/>
                <a:gd name="connsiteX25" fmla="*/ 4016 w 10348"/>
                <a:gd name="connsiteY25" fmla="*/ 10843 h 13403"/>
                <a:gd name="connsiteX26" fmla="*/ 5469 w 10348"/>
                <a:gd name="connsiteY26" fmla="*/ 11830 h 13403"/>
                <a:gd name="connsiteX27" fmla="*/ 5478 w 10348"/>
                <a:gd name="connsiteY27" fmla="*/ 12764 h 13403"/>
                <a:gd name="connsiteX28" fmla="*/ 6829 w 10348"/>
                <a:gd name="connsiteY28" fmla="*/ 13402 h 13403"/>
                <a:gd name="connsiteX29" fmla="*/ 7923 w 10348"/>
                <a:gd name="connsiteY29" fmla="*/ 12582 h 13403"/>
                <a:gd name="connsiteX30" fmla="*/ 8561 w 10348"/>
                <a:gd name="connsiteY30" fmla="*/ 11933 h 13403"/>
                <a:gd name="connsiteX31" fmla="*/ 8740 w 10348"/>
                <a:gd name="connsiteY31" fmla="*/ 10758 h 13403"/>
                <a:gd name="connsiteX32" fmla="*/ 7969 w 10348"/>
                <a:gd name="connsiteY32" fmla="*/ 6078 h 13403"/>
                <a:gd name="connsiteX33" fmla="*/ 8619 w 10348"/>
                <a:gd name="connsiteY33" fmla="*/ 4935 h 13403"/>
                <a:gd name="connsiteX34" fmla="*/ 8743 w 10348"/>
                <a:gd name="connsiteY34" fmla="*/ 4248 h 13403"/>
                <a:gd name="connsiteX35" fmla="*/ 9173 w 10348"/>
                <a:gd name="connsiteY35" fmla="*/ 3203 h 13403"/>
                <a:gd name="connsiteX36" fmla="*/ 8826 w 10348"/>
                <a:gd name="connsiteY36" fmla="*/ 2059 h 13403"/>
                <a:gd name="connsiteX37" fmla="*/ 10348 w 10348"/>
                <a:gd name="connsiteY37" fmla="*/ 1765 h 13403"/>
                <a:gd name="connsiteX38" fmla="*/ 9913 w 10348"/>
                <a:gd name="connsiteY38" fmla="*/ 882 h 13403"/>
                <a:gd name="connsiteX39" fmla="*/ 9574 w 10348"/>
                <a:gd name="connsiteY39" fmla="*/ 329 h 13403"/>
                <a:gd name="connsiteX0" fmla="*/ 9574 w 10348"/>
                <a:gd name="connsiteY0" fmla="*/ 329 h 13403"/>
                <a:gd name="connsiteX1" fmla="*/ 8609 w 10348"/>
                <a:gd name="connsiteY1" fmla="*/ 1176 h 13403"/>
                <a:gd name="connsiteX2" fmla="*/ 7957 w 10348"/>
                <a:gd name="connsiteY2" fmla="*/ 1176 h 13403"/>
                <a:gd name="connsiteX3" fmla="*/ 7739 w 10348"/>
                <a:gd name="connsiteY3" fmla="*/ 294 h 13403"/>
                <a:gd name="connsiteX4" fmla="*/ 7522 w 10348"/>
                <a:gd name="connsiteY4" fmla="*/ 0 h 13403"/>
                <a:gd name="connsiteX5" fmla="*/ 6870 w 10348"/>
                <a:gd name="connsiteY5" fmla="*/ 882 h 13403"/>
                <a:gd name="connsiteX6" fmla="*/ 6435 w 10348"/>
                <a:gd name="connsiteY6" fmla="*/ 1471 h 13403"/>
                <a:gd name="connsiteX7" fmla="*/ 5604 w 10348"/>
                <a:gd name="connsiteY7" fmla="*/ 1160 h 13403"/>
                <a:gd name="connsiteX8" fmla="*/ 5131 w 10348"/>
                <a:gd name="connsiteY8" fmla="*/ 1176 h 13403"/>
                <a:gd name="connsiteX9" fmla="*/ 4478 w 10348"/>
                <a:gd name="connsiteY9" fmla="*/ 1176 h 13403"/>
                <a:gd name="connsiteX10" fmla="*/ 3609 w 10348"/>
                <a:gd name="connsiteY10" fmla="*/ 882 h 13403"/>
                <a:gd name="connsiteX11" fmla="*/ 3391 w 10348"/>
                <a:gd name="connsiteY11" fmla="*/ 2353 h 13403"/>
                <a:gd name="connsiteX12" fmla="*/ 2305 w 10348"/>
                <a:gd name="connsiteY12" fmla="*/ 2941 h 13403"/>
                <a:gd name="connsiteX13" fmla="*/ 1870 w 10348"/>
                <a:gd name="connsiteY13" fmla="*/ 3529 h 13403"/>
                <a:gd name="connsiteX14" fmla="*/ 1218 w 10348"/>
                <a:gd name="connsiteY14" fmla="*/ 3235 h 13403"/>
                <a:gd name="connsiteX15" fmla="*/ 574 w 10348"/>
                <a:gd name="connsiteY15" fmla="*/ 2846 h 13403"/>
                <a:gd name="connsiteX16" fmla="*/ 356 w 10348"/>
                <a:gd name="connsiteY16" fmla="*/ 4706 h 13403"/>
                <a:gd name="connsiteX17" fmla="*/ 348 w 10348"/>
                <a:gd name="connsiteY17" fmla="*/ 5882 h 13403"/>
                <a:gd name="connsiteX18" fmla="*/ 0 w 10348"/>
                <a:gd name="connsiteY18" fmla="*/ 7734 h 13403"/>
                <a:gd name="connsiteX19" fmla="*/ 800 w 10348"/>
                <a:gd name="connsiteY19" fmla="*/ 8417 h 13403"/>
                <a:gd name="connsiteX20" fmla="*/ 783 w 10348"/>
                <a:gd name="connsiteY20" fmla="*/ 9706 h 13403"/>
                <a:gd name="connsiteX21" fmla="*/ 472 w 10348"/>
                <a:gd name="connsiteY21" fmla="*/ 10621 h 13403"/>
                <a:gd name="connsiteX22" fmla="*/ 1156 w 10348"/>
                <a:gd name="connsiteY22" fmla="*/ 10204 h 13403"/>
                <a:gd name="connsiteX23" fmla="*/ 2017 w 10348"/>
                <a:gd name="connsiteY23" fmla="*/ 9826 h 13403"/>
                <a:gd name="connsiteX24" fmla="*/ 2816 w 10348"/>
                <a:gd name="connsiteY24" fmla="*/ 9816 h 13403"/>
                <a:gd name="connsiteX25" fmla="*/ 4016 w 10348"/>
                <a:gd name="connsiteY25" fmla="*/ 10843 h 13403"/>
                <a:gd name="connsiteX26" fmla="*/ 5469 w 10348"/>
                <a:gd name="connsiteY26" fmla="*/ 11830 h 13403"/>
                <a:gd name="connsiteX27" fmla="*/ 5478 w 10348"/>
                <a:gd name="connsiteY27" fmla="*/ 12764 h 13403"/>
                <a:gd name="connsiteX28" fmla="*/ 6829 w 10348"/>
                <a:gd name="connsiteY28" fmla="*/ 13402 h 13403"/>
                <a:gd name="connsiteX29" fmla="*/ 7923 w 10348"/>
                <a:gd name="connsiteY29" fmla="*/ 12582 h 13403"/>
                <a:gd name="connsiteX30" fmla="*/ 8561 w 10348"/>
                <a:gd name="connsiteY30" fmla="*/ 11933 h 13403"/>
                <a:gd name="connsiteX31" fmla="*/ 8740 w 10348"/>
                <a:gd name="connsiteY31" fmla="*/ 10758 h 13403"/>
                <a:gd name="connsiteX32" fmla="*/ 7969 w 10348"/>
                <a:gd name="connsiteY32" fmla="*/ 6078 h 13403"/>
                <a:gd name="connsiteX33" fmla="*/ 8619 w 10348"/>
                <a:gd name="connsiteY33" fmla="*/ 4935 h 13403"/>
                <a:gd name="connsiteX34" fmla="*/ 8743 w 10348"/>
                <a:gd name="connsiteY34" fmla="*/ 4248 h 13403"/>
                <a:gd name="connsiteX35" fmla="*/ 9173 w 10348"/>
                <a:gd name="connsiteY35" fmla="*/ 3203 h 13403"/>
                <a:gd name="connsiteX36" fmla="*/ 8826 w 10348"/>
                <a:gd name="connsiteY36" fmla="*/ 2059 h 13403"/>
                <a:gd name="connsiteX37" fmla="*/ 10348 w 10348"/>
                <a:gd name="connsiteY37" fmla="*/ 1765 h 13403"/>
                <a:gd name="connsiteX38" fmla="*/ 9913 w 10348"/>
                <a:gd name="connsiteY38" fmla="*/ 882 h 13403"/>
                <a:gd name="connsiteX39" fmla="*/ 9574 w 10348"/>
                <a:gd name="connsiteY39" fmla="*/ 329 h 13403"/>
                <a:gd name="connsiteX0" fmla="*/ 9574 w 10348"/>
                <a:gd name="connsiteY0" fmla="*/ 329 h 13403"/>
                <a:gd name="connsiteX1" fmla="*/ 8609 w 10348"/>
                <a:gd name="connsiteY1" fmla="*/ 1176 h 13403"/>
                <a:gd name="connsiteX2" fmla="*/ 7957 w 10348"/>
                <a:gd name="connsiteY2" fmla="*/ 1176 h 13403"/>
                <a:gd name="connsiteX3" fmla="*/ 7739 w 10348"/>
                <a:gd name="connsiteY3" fmla="*/ 294 h 13403"/>
                <a:gd name="connsiteX4" fmla="*/ 7522 w 10348"/>
                <a:gd name="connsiteY4" fmla="*/ 0 h 13403"/>
                <a:gd name="connsiteX5" fmla="*/ 6870 w 10348"/>
                <a:gd name="connsiteY5" fmla="*/ 882 h 13403"/>
                <a:gd name="connsiteX6" fmla="*/ 6435 w 10348"/>
                <a:gd name="connsiteY6" fmla="*/ 1471 h 13403"/>
                <a:gd name="connsiteX7" fmla="*/ 5604 w 10348"/>
                <a:gd name="connsiteY7" fmla="*/ 1160 h 13403"/>
                <a:gd name="connsiteX8" fmla="*/ 5131 w 10348"/>
                <a:gd name="connsiteY8" fmla="*/ 1176 h 13403"/>
                <a:gd name="connsiteX9" fmla="*/ 4478 w 10348"/>
                <a:gd name="connsiteY9" fmla="*/ 1176 h 13403"/>
                <a:gd name="connsiteX10" fmla="*/ 3609 w 10348"/>
                <a:gd name="connsiteY10" fmla="*/ 882 h 13403"/>
                <a:gd name="connsiteX11" fmla="*/ 3391 w 10348"/>
                <a:gd name="connsiteY11" fmla="*/ 2353 h 13403"/>
                <a:gd name="connsiteX12" fmla="*/ 2305 w 10348"/>
                <a:gd name="connsiteY12" fmla="*/ 2941 h 13403"/>
                <a:gd name="connsiteX13" fmla="*/ 1870 w 10348"/>
                <a:gd name="connsiteY13" fmla="*/ 3529 h 13403"/>
                <a:gd name="connsiteX14" fmla="*/ 1218 w 10348"/>
                <a:gd name="connsiteY14" fmla="*/ 3235 h 13403"/>
                <a:gd name="connsiteX15" fmla="*/ 574 w 10348"/>
                <a:gd name="connsiteY15" fmla="*/ 2846 h 13403"/>
                <a:gd name="connsiteX16" fmla="*/ 356 w 10348"/>
                <a:gd name="connsiteY16" fmla="*/ 4706 h 13403"/>
                <a:gd name="connsiteX17" fmla="*/ 348 w 10348"/>
                <a:gd name="connsiteY17" fmla="*/ 5882 h 13403"/>
                <a:gd name="connsiteX18" fmla="*/ 0 w 10348"/>
                <a:gd name="connsiteY18" fmla="*/ 7734 h 13403"/>
                <a:gd name="connsiteX19" fmla="*/ 800 w 10348"/>
                <a:gd name="connsiteY19" fmla="*/ 8417 h 13403"/>
                <a:gd name="connsiteX20" fmla="*/ 783 w 10348"/>
                <a:gd name="connsiteY20" fmla="*/ 9706 h 13403"/>
                <a:gd name="connsiteX21" fmla="*/ 472 w 10348"/>
                <a:gd name="connsiteY21" fmla="*/ 10621 h 13403"/>
                <a:gd name="connsiteX22" fmla="*/ 1156 w 10348"/>
                <a:gd name="connsiteY22" fmla="*/ 10204 h 13403"/>
                <a:gd name="connsiteX23" fmla="*/ 2017 w 10348"/>
                <a:gd name="connsiteY23" fmla="*/ 9826 h 13403"/>
                <a:gd name="connsiteX24" fmla="*/ 2816 w 10348"/>
                <a:gd name="connsiteY24" fmla="*/ 9816 h 13403"/>
                <a:gd name="connsiteX25" fmla="*/ 4016 w 10348"/>
                <a:gd name="connsiteY25" fmla="*/ 10843 h 13403"/>
                <a:gd name="connsiteX26" fmla="*/ 5469 w 10348"/>
                <a:gd name="connsiteY26" fmla="*/ 11830 h 13403"/>
                <a:gd name="connsiteX27" fmla="*/ 5478 w 10348"/>
                <a:gd name="connsiteY27" fmla="*/ 12764 h 13403"/>
                <a:gd name="connsiteX28" fmla="*/ 6829 w 10348"/>
                <a:gd name="connsiteY28" fmla="*/ 13402 h 13403"/>
                <a:gd name="connsiteX29" fmla="*/ 7923 w 10348"/>
                <a:gd name="connsiteY29" fmla="*/ 12582 h 13403"/>
                <a:gd name="connsiteX30" fmla="*/ 8561 w 10348"/>
                <a:gd name="connsiteY30" fmla="*/ 11933 h 13403"/>
                <a:gd name="connsiteX31" fmla="*/ 8740 w 10348"/>
                <a:gd name="connsiteY31" fmla="*/ 10758 h 13403"/>
                <a:gd name="connsiteX32" fmla="*/ 7969 w 10348"/>
                <a:gd name="connsiteY32" fmla="*/ 6078 h 13403"/>
                <a:gd name="connsiteX33" fmla="*/ 8619 w 10348"/>
                <a:gd name="connsiteY33" fmla="*/ 4935 h 13403"/>
                <a:gd name="connsiteX34" fmla="*/ 8743 w 10348"/>
                <a:gd name="connsiteY34" fmla="*/ 4248 h 13403"/>
                <a:gd name="connsiteX35" fmla="*/ 9173 w 10348"/>
                <a:gd name="connsiteY35" fmla="*/ 3203 h 13403"/>
                <a:gd name="connsiteX36" fmla="*/ 8826 w 10348"/>
                <a:gd name="connsiteY36" fmla="*/ 2059 h 13403"/>
                <a:gd name="connsiteX37" fmla="*/ 10348 w 10348"/>
                <a:gd name="connsiteY37" fmla="*/ 1765 h 13403"/>
                <a:gd name="connsiteX38" fmla="*/ 9913 w 10348"/>
                <a:gd name="connsiteY38" fmla="*/ 882 h 13403"/>
                <a:gd name="connsiteX39" fmla="*/ 9574 w 10348"/>
                <a:gd name="connsiteY39" fmla="*/ 329 h 13403"/>
                <a:gd name="connsiteX0" fmla="*/ 9574 w 10348"/>
                <a:gd name="connsiteY0" fmla="*/ 329 h 13403"/>
                <a:gd name="connsiteX1" fmla="*/ 8609 w 10348"/>
                <a:gd name="connsiteY1" fmla="*/ 1176 h 13403"/>
                <a:gd name="connsiteX2" fmla="*/ 7957 w 10348"/>
                <a:gd name="connsiteY2" fmla="*/ 1176 h 13403"/>
                <a:gd name="connsiteX3" fmla="*/ 7739 w 10348"/>
                <a:gd name="connsiteY3" fmla="*/ 294 h 13403"/>
                <a:gd name="connsiteX4" fmla="*/ 7522 w 10348"/>
                <a:gd name="connsiteY4" fmla="*/ 0 h 13403"/>
                <a:gd name="connsiteX5" fmla="*/ 6870 w 10348"/>
                <a:gd name="connsiteY5" fmla="*/ 882 h 13403"/>
                <a:gd name="connsiteX6" fmla="*/ 6435 w 10348"/>
                <a:gd name="connsiteY6" fmla="*/ 1471 h 13403"/>
                <a:gd name="connsiteX7" fmla="*/ 5604 w 10348"/>
                <a:gd name="connsiteY7" fmla="*/ 1160 h 13403"/>
                <a:gd name="connsiteX8" fmla="*/ 5131 w 10348"/>
                <a:gd name="connsiteY8" fmla="*/ 1176 h 13403"/>
                <a:gd name="connsiteX9" fmla="*/ 4478 w 10348"/>
                <a:gd name="connsiteY9" fmla="*/ 1176 h 13403"/>
                <a:gd name="connsiteX10" fmla="*/ 3609 w 10348"/>
                <a:gd name="connsiteY10" fmla="*/ 882 h 13403"/>
                <a:gd name="connsiteX11" fmla="*/ 3391 w 10348"/>
                <a:gd name="connsiteY11" fmla="*/ 2353 h 13403"/>
                <a:gd name="connsiteX12" fmla="*/ 2305 w 10348"/>
                <a:gd name="connsiteY12" fmla="*/ 2941 h 13403"/>
                <a:gd name="connsiteX13" fmla="*/ 1870 w 10348"/>
                <a:gd name="connsiteY13" fmla="*/ 3529 h 13403"/>
                <a:gd name="connsiteX14" fmla="*/ 1218 w 10348"/>
                <a:gd name="connsiteY14" fmla="*/ 3235 h 13403"/>
                <a:gd name="connsiteX15" fmla="*/ 574 w 10348"/>
                <a:gd name="connsiteY15" fmla="*/ 2846 h 13403"/>
                <a:gd name="connsiteX16" fmla="*/ 356 w 10348"/>
                <a:gd name="connsiteY16" fmla="*/ 4706 h 13403"/>
                <a:gd name="connsiteX17" fmla="*/ 348 w 10348"/>
                <a:gd name="connsiteY17" fmla="*/ 5882 h 13403"/>
                <a:gd name="connsiteX18" fmla="*/ 0 w 10348"/>
                <a:gd name="connsiteY18" fmla="*/ 7734 h 13403"/>
                <a:gd name="connsiteX19" fmla="*/ 800 w 10348"/>
                <a:gd name="connsiteY19" fmla="*/ 8417 h 13403"/>
                <a:gd name="connsiteX20" fmla="*/ 783 w 10348"/>
                <a:gd name="connsiteY20" fmla="*/ 9706 h 13403"/>
                <a:gd name="connsiteX21" fmla="*/ 472 w 10348"/>
                <a:gd name="connsiteY21" fmla="*/ 10621 h 13403"/>
                <a:gd name="connsiteX22" fmla="*/ 1156 w 10348"/>
                <a:gd name="connsiteY22" fmla="*/ 10204 h 13403"/>
                <a:gd name="connsiteX23" fmla="*/ 2017 w 10348"/>
                <a:gd name="connsiteY23" fmla="*/ 9826 h 13403"/>
                <a:gd name="connsiteX24" fmla="*/ 2816 w 10348"/>
                <a:gd name="connsiteY24" fmla="*/ 9816 h 13403"/>
                <a:gd name="connsiteX25" fmla="*/ 4016 w 10348"/>
                <a:gd name="connsiteY25" fmla="*/ 10843 h 13403"/>
                <a:gd name="connsiteX26" fmla="*/ 5469 w 10348"/>
                <a:gd name="connsiteY26" fmla="*/ 11830 h 13403"/>
                <a:gd name="connsiteX27" fmla="*/ 5478 w 10348"/>
                <a:gd name="connsiteY27" fmla="*/ 12764 h 13403"/>
                <a:gd name="connsiteX28" fmla="*/ 6829 w 10348"/>
                <a:gd name="connsiteY28" fmla="*/ 13402 h 13403"/>
                <a:gd name="connsiteX29" fmla="*/ 7923 w 10348"/>
                <a:gd name="connsiteY29" fmla="*/ 12582 h 13403"/>
                <a:gd name="connsiteX30" fmla="*/ 8561 w 10348"/>
                <a:gd name="connsiteY30" fmla="*/ 11933 h 13403"/>
                <a:gd name="connsiteX31" fmla="*/ 8740 w 10348"/>
                <a:gd name="connsiteY31" fmla="*/ 10758 h 13403"/>
                <a:gd name="connsiteX32" fmla="*/ 9779 w 10348"/>
                <a:gd name="connsiteY32" fmla="*/ 10829 h 13403"/>
                <a:gd name="connsiteX33" fmla="*/ 8619 w 10348"/>
                <a:gd name="connsiteY33" fmla="*/ 4935 h 13403"/>
                <a:gd name="connsiteX34" fmla="*/ 8743 w 10348"/>
                <a:gd name="connsiteY34" fmla="*/ 4248 h 13403"/>
                <a:gd name="connsiteX35" fmla="*/ 9173 w 10348"/>
                <a:gd name="connsiteY35" fmla="*/ 3203 h 13403"/>
                <a:gd name="connsiteX36" fmla="*/ 8826 w 10348"/>
                <a:gd name="connsiteY36" fmla="*/ 2059 h 13403"/>
                <a:gd name="connsiteX37" fmla="*/ 10348 w 10348"/>
                <a:gd name="connsiteY37" fmla="*/ 1765 h 13403"/>
                <a:gd name="connsiteX38" fmla="*/ 9913 w 10348"/>
                <a:gd name="connsiteY38" fmla="*/ 882 h 13403"/>
                <a:gd name="connsiteX39" fmla="*/ 9574 w 10348"/>
                <a:gd name="connsiteY39" fmla="*/ 329 h 13403"/>
                <a:gd name="connsiteX0" fmla="*/ 9574 w 10348"/>
                <a:gd name="connsiteY0" fmla="*/ 329 h 13403"/>
                <a:gd name="connsiteX1" fmla="*/ 8609 w 10348"/>
                <a:gd name="connsiteY1" fmla="*/ 1176 h 13403"/>
                <a:gd name="connsiteX2" fmla="*/ 7957 w 10348"/>
                <a:gd name="connsiteY2" fmla="*/ 1176 h 13403"/>
                <a:gd name="connsiteX3" fmla="*/ 7739 w 10348"/>
                <a:gd name="connsiteY3" fmla="*/ 294 h 13403"/>
                <a:gd name="connsiteX4" fmla="*/ 7522 w 10348"/>
                <a:gd name="connsiteY4" fmla="*/ 0 h 13403"/>
                <a:gd name="connsiteX5" fmla="*/ 6870 w 10348"/>
                <a:gd name="connsiteY5" fmla="*/ 882 h 13403"/>
                <a:gd name="connsiteX6" fmla="*/ 6435 w 10348"/>
                <a:gd name="connsiteY6" fmla="*/ 1471 h 13403"/>
                <a:gd name="connsiteX7" fmla="*/ 5604 w 10348"/>
                <a:gd name="connsiteY7" fmla="*/ 1160 h 13403"/>
                <a:gd name="connsiteX8" fmla="*/ 5131 w 10348"/>
                <a:gd name="connsiteY8" fmla="*/ 1176 h 13403"/>
                <a:gd name="connsiteX9" fmla="*/ 4478 w 10348"/>
                <a:gd name="connsiteY9" fmla="*/ 1176 h 13403"/>
                <a:gd name="connsiteX10" fmla="*/ 3609 w 10348"/>
                <a:gd name="connsiteY10" fmla="*/ 882 h 13403"/>
                <a:gd name="connsiteX11" fmla="*/ 3391 w 10348"/>
                <a:gd name="connsiteY11" fmla="*/ 2353 h 13403"/>
                <a:gd name="connsiteX12" fmla="*/ 2305 w 10348"/>
                <a:gd name="connsiteY12" fmla="*/ 2941 h 13403"/>
                <a:gd name="connsiteX13" fmla="*/ 1870 w 10348"/>
                <a:gd name="connsiteY13" fmla="*/ 3529 h 13403"/>
                <a:gd name="connsiteX14" fmla="*/ 1218 w 10348"/>
                <a:gd name="connsiteY14" fmla="*/ 3235 h 13403"/>
                <a:gd name="connsiteX15" fmla="*/ 574 w 10348"/>
                <a:gd name="connsiteY15" fmla="*/ 2846 h 13403"/>
                <a:gd name="connsiteX16" fmla="*/ 356 w 10348"/>
                <a:gd name="connsiteY16" fmla="*/ 4706 h 13403"/>
                <a:gd name="connsiteX17" fmla="*/ 348 w 10348"/>
                <a:gd name="connsiteY17" fmla="*/ 5882 h 13403"/>
                <a:gd name="connsiteX18" fmla="*/ 0 w 10348"/>
                <a:gd name="connsiteY18" fmla="*/ 7734 h 13403"/>
                <a:gd name="connsiteX19" fmla="*/ 800 w 10348"/>
                <a:gd name="connsiteY19" fmla="*/ 8417 h 13403"/>
                <a:gd name="connsiteX20" fmla="*/ 783 w 10348"/>
                <a:gd name="connsiteY20" fmla="*/ 9706 h 13403"/>
                <a:gd name="connsiteX21" fmla="*/ 472 w 10348"/>
                <a:gd name="connsiteY21" fmla="*/ 10621 h 13403"/>
                <a:gd name="connsiteX22" fmla="*/ 1156 w 10348"/>
                <a:gd name="connsiteY22" fmla="*/ 10204 h 13403"/>
                <a:gd name="connsiteX23" fmla="*/ 2017 w 10348"/>
                <a:gd name="connsiteY23" fmla="*/ 9826 h 13403"/>
                <a:gd name="connsiteX24" fmla="*/ 2816 w 10348"/>
                <a:gd name="connsiteY24" fmla="*/ 9816 h 13403"/>
                <a:gd name="connsiteX25" fmla="*/ 4016 w 10348"/>
                <a:gd name="connsiteY25" fmla="*/ 10843 h 13403"/>
                <a:gd name="connsiteX26" fmla="*/ 5469 w 10348"/>
                <a:gd name="connsiteY26" fmla="*/ 11830 h 13403"/>
                <a:gd name="connsiteX27" fmla="*/ 5478 w 10348"/>
                <a:gd name="connsiteY27" fmla="*/ 12764 h 13403"/>
                <a:gd name="connsiteX28" fmla="*/ 6829 w 10348"/>
                <a:gd name="connsiteY28" fmla="*/ 13402 h 13403"/>
                <a:gd name="connsiteX29" fmla="*/ 7923 w 10348"/>
                <a:gd name="connsiteY29" fmla="*/ 12582 h 13403"/>
                <a:gd name="connsiteX30" fmla="*/ 8561 w 10348"/>
                <a:gd name="connsiteY30" fmla="*/ 11933 h 13403"/>
                <a:gd name="connsiteX31" fmla="*/ 8740 w 10348"/>
                <a:gd name="connsiteY31" fmla="*/ 10758 h 13403"/>
                <a:gd name="connsiteX32" fmla="*/ 9779 w 10348"/>
                <a:gd name="connsiteY32" fmla="*/ 10829 h 13403"/>
                <a:gd name="connsiteX33" fmla="*/ 8619 w 10348"/>
                <a:gd name="connsiteY33" fmla="*/ 4935 h 13403"/>
                <a:gd name="connsiteX34" fmla="*/ 8743 w 10348"/>
                <a:gd name="connsiteY34" fmla="*/ 4248 h 13403"/>
                <a:gd name="connsiteX35" fmla="*/ 9173 w 10348"/>
                <a:gd name="connsiteY35" fmla="*/ 3203 h 13403"/>
                <a:gd name="connsiteX36" fmla="*/ 8826 w 10348"/>
                <a:gd name="connsiteY36" fmla="*/ 2059 h 13403"/>
                <a:gd name="connsiteX37" fmla="*/ 10348 w 10348"/>
                <a:gd name="connsiteY37" fmla="*/ 1765 h 13403"/>
                <a:gd name="connsiteX38" fmla="*/ 9913 w 10348"/>
                <a:gd name="connsiteY38" fmla="*/ 882 h 13403"/>
                <a:gd name="connsiteX39" fmla="*/ 9574 w 10348"/>
                <a:gd name="connsiteY39" fmla="*/ 329 h 13403"/>
                <a:gd name="connsiteX0" fmla="*/ 9574 w 10348"/>
                <a:gd name="connsiteY0" fmla="*/ 329 h 13403"/>
                <a:gd name="connsiteX1" fmla="*/ 8609 w 10348"/>
                <a:gd name="connsiteY1" fmla="*/ 1176 h 13403"/>
                <a:gd name="connsiteX2" fmla="*/ 7957 w 10348"/>
                <a:gd name="connsiteY2" fmla="*/ 1176 h 13403"/>
                <a:gd name="connsiteX3" fmla="*/ 7739 w 10348"/>
                <a:gd name="connsiteY3" fmla="*/ 294 h 13403"/>
                <a:gd name="connsiteX4" fmla="*/ 7522 w 10348"/>
                <a:gd name="connsiteY4" fmla="*/ 0 h 13403"/>
                <a:gd name="connsiteX5" fmla="*/ 6870 w 10348"/>
                <a:gd name="connsiteY5" fmla="*/ 882 h 13403"/>
                <a:gd name="connsiteX6" fmla="*/ 6435 w 10348"/>
                <a:gd name="connsiteY6" fmla="*/ 1471 h 13403"/>
                <a:gd name="connsiteX7" fmla="*/ 5604 w 10348"/>
                <a:gd name="connsiteY7" fmla="*/ 1160 h 13403"/>
                <a:gd name="connsiteX8" fmla="*/ 5131 w 10348"/>
                <a:gd name="connsiteY8" fmla="*/ 1176 h 13403"/>
                <a:gd name="connsiteX9" fmla="*/ 4478 w 10348"/>
                <a:gd name="connsiteY9" fmla="*/ 1176 h 13403"/>
                <a:gd name="connsiteX10" fmla="*/ 3609 w 10348"/>
                <a:gd name="connsiteY10" fmla="*/ 882 h 13403"/>
                <a:gd name="connsiteX11" fmla="*/ 3391 w 10348"/>
                <a:gd name="connsiteY11" fmla="*/ 2353 h 13403"/>
                <a:gd name="connsiteX12" fmla="*/ 2305 w 10348"/>
                <a:gd name="connsiteY12" fmla="*/ 2941 h 13403"/>
                <a:gd name="connsiteX13" fmla="*/ 1870 w 10348"/>
                <a:gd name="connsiteY13" fmla="*/ 3529 h 13403"/>
                <a:gd name="connsiteX14" fmla="*/ 1218 w 10348"/>
                <a:gd name="connsiteY14" fmla="*/ 3235 h 13403"/>
                <a:gd name="connsiteX15" fmla="*/ 574 w 10348"/>
                <a:gd name="connsiteY15" fmla="*/ 2846 h 13403"/>
                <a:gd name="connsiteX16" fmla="*/ 356 w 10348"/>
                <a:gd name="connsiteY16" fmla="*/ 4706 h 13403"/>
                <a:gd name="connsiteX17" fmla="*/ 348 w 10348"/>
                <a:gd name="connsiteY17" fmla="*/ 5882 h 13403"/>
                <a:gd name="connsiteX18" fmla="*/ 0 w 10348"/>
                <a:gd name="connsiteY18" fmla="*/ 7734 h 13403"/>
                <a:gd name="connsiteX19" fmla="*/ 800 w 10348"/>
                <a:gd name="connsiteY19" fmla="*/ 8417 h 13403"/>
                <a:gd name="connsiteX20" fmla="*/ 783 w 10348"/>
                <a:gd name="connsiteY20" fmla="*/ 9706 h 13403"/>
                <a:gd name="connsiteX21" fmla="*/ 472 w 10348"/>
                <a:gd name="connsiteY21" fmla="*/ 10621 h 13403"/>
                <a:gd name="connsiteX22" fmla="*/ 1156 w 10348"/>
                <a:gd name="connsiteY22" fmla="*/ 10204 h 13403"/>
                <a:gd name="connsiteX23" fmla="*/ 2017 w 10348"/>
                <a:gd name="connsiteY23" fmla="*/ 9826 h 13403"/>
                <a:gd name="connsiteX24" fmla="*/ 2816 w 10348"/>
                <a:gd name="connsiteY24" fmla="*/ 9816 h 13403"/>
                <a:gd name="connsiteX25" fmla="*/ 4016 w 10348"/>
                <a:gd name="connsiteY25" fmla="*/ 10843 h 13403"/>
                <a:gd name="connsiteX26" fmla="*/ 5469 w 10348"/>
                <a:gd name="connsiteY26" fmla="*/ 11830 h 13403"/>
                <a:gd name="connsiteX27" fmla="*/ 5478 w 10348"/>
                <a:gd name="connsiteY27" fmla="*/ 12764 h 13403"/>
                <a:gd name="connsiteX28" fmla="*/ 6829 w 10348"/>
                <a:gd name="connsiteY28" fmla="*/ 13402 h 13403"/>
                <a:gd name="connsiteX29" fmla="*/ 7923 w 10348"/>
                <a:gd name="connsiteY29" fmla="*/ 12582 h 13403"/>
                <a:gd name="connsiteX30" fmla="*/ 8561 w 10348"/>
                <a:gd name="connsiteY30" fmla="*/ 11933 h 13403"/>
                <a:gd name="connsiteX31" fmla="*/ 8740 w 10348"/>
                <a:gd name="connsiteY31" fmla="*/ 10758 h 13403"/>
                <a:gd name="connsiteX32" fmla="*/ 9779 w 10348"/>
                <a:gd name="connsiteY32" fmla="*/ 10829 h 13403"/>
                <a:gd name="connsiteX33" fmla="*/ 9872 w 10348"/>
                <a:gd name="connsiteY33" fmla="*/ 9686 h 13403"/>
                <a:gd name="connsiteX34" fmla="*/ 8743 w 10348"/>
                <a:gd name="connsiteY34" fmla="*/ 4248 h 13403"/>
                <a:gd name="connsiteX35" fmla="*/ 9173 w 10348"/>
                <a:gd name="connsiteY35" fmla="*/ 3203 h 13403"/>
                <a:gd name="connsiteX36" fmla="*/ 8826 w 10348"/>
                <a:gd name="connsiteY36" fmla="*/ 2059 h 13403"/>
                <a:gd name="connsiteX37" fmla="*/ 10348 w 10348"/>
                <a:gd name="connsiteY37" fmla="*/ 1765 h 13403"/>
                <a:gd name="connsiteX38" fmla="*/ 9913 w 10348"/>
                <a:gd name="connsiteY38" fmla="*/ 882 h 13403"/>
                <a:gd name="connsiteX39" fmla="*/ 9574 w 10348"/>
                <a:gd name="connsiteY39" fmla="*/ 329 h 13403"/>
                <a:gd name="connsiteX0" fmla="*/ 9574 w 10348"/>
                <a:gd name="connsiteY0" fmla="*/ 329 h 13403"/>
                <a:gd name="connsiteX1" fmla="*/ 8609 w 10348"/>
                <a:gd name="connsiteY1" fmla="*/ 1176 h 13403"/>
                <a:gd name="connsiteX2" fmla="*/ 7957 w 10348"/>
                <a:gd name="connsiteY2" fmla="*/ 1176 h 13403"/>
                <a:gd name="connsiteX3" fmla="*/ 7739 w 10348"/>
                <a:gd name="connsiteY3" fmla="*/ 294 h 13403"/>
                <a:gd name="connsiteX4" fmla="*/ 7522 w 10348"/>
                <a:gd name="connsiteY4" fmla="*/ 0 h 13403"/>
                <a:gd name="connsiteX5" fmla="*/ 6870 w 10348"/>
                <a:gd name="connsiteY5" fmla="*/ 882 h 13403"/>
                <a:gd name="connsiteX6" fmla="*/ 6435 w 10348"/>
                <a:gd name="connsiteY6" fmla="*/ 1471 h 13403"/>
                <a:gd name="connsiteX7" fmla="*/ 5604 w 10348"/>
                <a:gd name="connsiteY7" fmla="*/ 1160 h 13403"/>
                <a:gd name="connsiteX8" fmla="*/ 5131 w 10348"/>
                <a:gd name="connsiteY8" fmla="*/ 1176 h 13403"/>
                <a:gd name="connsiteX9" fmla="*/ 4478 w 10348"/>
                <a:gd name="connsiteY9" fmla="*/ 1176 h 13403"/>
                <a:gd name="connsiteX10" fmla="*/ 3609 w 10348"/>
                <a:gd name="connsiteY10" fmla="*/ 882 h 13403"/>
                <a:gd name="connsiteX11" fmla="*/ 3391 w 10348"/>
                <a:gd name="connsiteY11" fmla="*/ 2353 h 13403"/>
                <a:gd name="connsiteX12" fmla="*/ 2305 w 10348"/>
                <a:gd name="connsiteY12" fmla="*/ 2941 h 13403"/>
                <a:gd name="connsiteX13" fmla="*/ 1870 w 10348"/>
                <a:gd name="connsiteY13" fmla="*/ 3529 h 13403"/>
                <a:gd name="connsiteX14" fmla="*/ 1218 w 10348"/>
                <a:gd name="connsiteY14" fmla="*/ 3235 h 13403"/>
                <a:gd name="connsiteX15" fmla="*/ 574 w 10348"/>
                <a:gd name="connsiteY15" fmla="*/ 2846 h 13403"/>
                <a:gd name="connsiteX16" fmla="*/ 356 w 10348"/>
                <a:gd name="connsiteY16" fmla="*/ 4706 h 13403"/>
                <a:gd name="connsiteX17" fmla="*/ 348 w 10348"/>
                <a:gd name="connsiteY17" fmla="*/ 5882 h 13403"/>
                <a:gd name="connsiteX18" fmla="*/ 0 w 10348"/>
                <a:gd name="connsiteY18" fmla="*/ 7734 h 13403"/>
                <a:gd name="connsiteX19" fmla="*/ 800 w 10348"/>
                <a:gd name="connsiteY19" fmla="*/ 8417 h 13403"/>
                <a:gd name="connsiteX20" fmla="*/ 783 w 10348"/>
                <a:gd name="connsiteY20" fmla="*/ 9706 h 13403"/>
                <a:gd name="connsiteX21" fmla="*/ 472 w 10348"/>
                <a:gd name="connsiteY21" fmla="*/ 10621 h 13403"/>
                <a:gd name="connsiteX22" fmla="*/ 1156 w 10348"/>
                <a:gd name="connsiteY22" fmla="*/ 10204 h 13403"/>
                <a:gd name="connsiteX23" fmla="*/ 2017 w 10348"/>
                <a:gd name="connsiteY23" fmla="*/ 9826 h 13403"/>
                <a:gd name="connsiteX24" fmla="*/ 2816 w 10348"/>
                <a:gd name="connsiteY24" fmla="*/ 9816 h 13403"/>
                <a:gd name="connsiteX25" fmla="*/ 4016 w 10348"/>
                <a:gd name="connsiteY25" fmla="*/ 10843 h 13403"/>
                <a:gd name="connsiteX26" fmla="*/ 5469 w 10348"/>
                <a:gd name="connsiteY26" fmla="*/ 11830 h 13403"/>
                <a:gd name="connsiteX27" fmla="*/ 5478 w 10348"/>
                <a:gd name="connsiteY27" fmla="*/ 12764 h 13403"/>
                <a:gd name="connsiteX28" fmla="*/ 6829 w 10348"/>
                <a:gd name="connsiteY28" fmla="*/ 13402 h 13403"/>
                <a:gd name="connsiteX29" fmla="*/ 7923 w 10348"/>
                <a:gd name="connsiteY29" fmla="*/ 12582 h 13403"/>
                <a:gd name="connsiteX30" fmla="*/ 8561 w 10348"/>
                <a:gd name="connsiteY30" fmla="*/ 11933 h 13403"/>
                <a:gd name="connsiteX31" fmla="*/ 8740 w 10348"/>
                <a:gd name="connsiteY31" fmla="*/ 10758 h 13403"/>
                <a:gd name="connsiteX32" fmla="*/ 9779 w 10348"/>
                <a:gd name="connsiteY32" fmla="*/ 10829 h 13403"/>
                <a:gd name="connsiteX33" fmla="*/ 9872 w 10348"/>
                <a:gd name="connsiteY33" fmla="*/ 9686 h 13403"/>
                <a:gd name="connsiteX34" fmla="*/ 8743 w 10348"/>
                <a:gd name="connsiteY34" fmla="*/ 4248 h 13403"/>
                <a:gd name="connsiteX35" fmla="*/ 9173 w 10348"/>
                <a:gd name="connsiteY35" fmla="*/ 3203 h 13403"/>
                <a:gd name="connsiteX36" fmla="*/ 8826 w 10348"/>
                <a:gd name="connsiteY36" fmla="*/ 2059 h 13403"/>
                <a:gd name="connsiteX37" fmla="*/ 10348 w 10348"/>
                <a:gd name="connsiteY37" fmla="*/ 1765 h 13403"/>
                <a:gd name="connsiteX38" fmla="*/ 9913 w 10348"/>
                <a:gd name="connsiteY38" fmla="*/ 882 h 13403"/>
                <a:gd name="connsiteX39" fmla="*/ 9574 w 10348"/>
                <a:gd name="connsiteY39" fmla="*/ 329 h 13403"/>
                <a:gd name="connsiteX0" fmla="*/ 9574 w 10348"/>
                <a:gd name="connsiteY0" fmla="*/ 329 h 13403"/>
                <a:gd name="connsiteX1" fmla="*/ 8609 w 10348"/>
                <a:gd name="connsiteY1" fmla="*/ 1176 h 13403"/>
                <a:gd name="connsiteX2" fmla="*/ 7957 w 10348"/>
                <a:gd name="connsiteY2" fmla="*/ 1176 h 13403"/>
                <a:gd name="connsiteX3" fmla="*/ 7739 w 10348"/>
                <a:gd name="connsiteY3" fmla="*/ 294 h 13403"/>
                <a:gd name="connsiteX4" fmla="*/ 7522 w 10348"/>
                <a:gd name="connsiteY4" fmla="*/ 0 h 13403"/>
                <a:gd name="connsiteX5" fmla="*/ 6870 w 10348"/>
                <a:gd name="connsiteY5" fmla="*/ 882 h 13403"/>
                <a:gd name="connsiteX6" fmla="*/ 6435 w 10348"/>
                <a:gd name="connsiteY6" fmla="*/ 1471 h 13403"/>
                <a:gd name="connsiteX7" fmla="*/ 5604 w 10348"/>
                <a:gd name="connsiteY7" fmla="*/ 1160 h 13403"/>
                <a:gd name="connsiteX8" fmla="*/ 5131 w 10348"/>
                <a:gd name="connsiteY8" fmla="*/ 1176 h 13403"/>
                <a:gd name="connsiteX9" fmla="*/ 4478 w 10348"/>
                <a:gd name="connsiteY9" fmla="*/ 1176 h 13403"/>
                <a:gd name="connsiteX10" fmla="*/ 3609 w 10348"/>
                <a:gd name="connsiteY10" fmla="*/ 882 h 13403"/>
                <a:gd name="connsiteX11" fmla="*/ 3391 w 10348"/>
                <a:gd name="connsiteY11" fmla="*/ 2353 h 13403"/>
                <a:gd name="connsiteX12" fmla="*/ 2305 w 10348"/>
                <a:gd name="connsiteY12" fmla="*/ 2941 h 13403"/>
                <a:gd name="connsiteX13" fmla="*/ 1870 w 10348"/>
                <a:gd name="connsiteY13" fmla="*/ 3529 h 13403"/>
                <a:gd name="connsiteX14" fmla="*/ 1218 w 10348"/>
                <a:gd name="connsiteY14" fmla="*/ 3235 h 13403"/>
                <a:gd name="connsiteX15" fmla="*/ 574 w 10348"/>
                <a:gd name="connsiteY15" fmla="*/ 2846 h 13403"/>
                <a:gd name="connsiteX16" fmla="*/ 356 w 10348"/>
                <a:gd name="connsiteY16" fmla="*/ 4706 h 13403"/>
                <a:gd name="connsiteX17" fmla="*/ 348 w 10348"/>
                <a:gd name="connsiteY17" fmla="*/ 5882 h 13403"/>
                <a:gd name="connsiteX18" fmla="*/ 0 w 10348"/>
                <a:gd name="connsiteY18" fmla="*/ 7734 h 13403"/>
                <a:gd name="connsiteX19" fmla="*/ 800 w 10348"/>
                <a:gd name="connsiteY19" fmla="*/ 8417 h 13403"/>
                <a:gd name="connsiteX20" fmla="*/ 783 w 10348"/>
                <a:gd name="connsiteY20" fmla="*/ 9706 h 13403"/>
                <a:gd name="connsiteX21" fmla="*/ 472 w 10348"/>
                <a:gd name="connsiteY21" fmla="*/ 10621 h 13403"/>
                <a:gd name="connsiteX22" fmla="*/ 1156 w 10348"/>
                <a:gd name="connsiteY22" fmla="*/ 10204 h 13403"/>
                <a:gd name="connsiteX23" fmla="*/ 2017 w 10348"/>
                <a:gd name="connsiteY23" fmla="*/ 9826 h 13403"/>
                <a:gd name="connsiteX24" fmla="*/ 2816 w 10348"/>
                <a:gd name="connsiteY24" fmla="*/ 9816 h 13403"/>
                <a:gd name="connsiteX25" fmla="*/ 4016 w 10348"/>
                <a:gd name="connsiteY25" fmla="*/ 10843 h 13403"/>
                <a:gd name="connsiteX26" fmla="*/ 5469 w 10348"/>
                <a:gd name="connsiteY26" fmla="*/ 11830 h 13403"/>
                <a:gd name="connsiteX27" fmla="*/ 5478 w 10348"/>
                <a:gd name="connsiteY27" fmla="*/ 12764 h 13403"/>
                <a:gd name="connsiteX28" fmla="*/ 6829 w 10348"/>
                <a:gd name="connsiteY28" fmla="*/ 13402 h 13403"/>
                <a:gd name="connsiteX29" fmla="*/ 7923 w 10348"/>
                <a:gd name="connsiteY29" fmla="*/ 12582 h 13403"/>
                <a:gd name="connsiteX30" fmla="*/ 8561 w 10348"/>
                <a:gd name="connsiteY30" fmla="*/ 11933 h 13403"/>
                <a:gd name="connsiteX31" fmla="*/ 8740 w 10348"/>
                <a:gd name="connsiteY31" fmla="*/ 10758 h 13403"/>
                <a:gd name="connsiteX32" fmla="*/ 9779 w 10348"/>
                <a:gd name="connsiteY32" fmla="*/ 10829 h 13403"/>
                <a:gd name="connsiteX33" fmla="*/ 9872 w 10348"/>
                <a:gd name="connsiteY33" fmla="*/ 9686 h 13403"/>
                <a:gd name="connsiteX34" fmla="*/ 7003 w 10348"/>
                <a:gd name="connsiteY34" fmla="*/ 7157 h 13403"/>
                <a:gd name="connsiteX35" fmla="*/ 9173 w 10348"/>
                <a:gd name="connsiteY35" fmla="*/ 3203 h 13403"/>
                <a:gd name="connsiteX36" fmla="*/ 8826 w 10348"/>
                <a:gd name="connsiteY36" fmla="*/ 2059 h 13403"/>
                <a:gd name="connsiteX37" fmla="*/ 10348 w 10348"/>
                <a:gd name="connsiteY37" fmla="*/ 1765 h 13403"/>
                <a:gd name="connsiteX38" fmla="*/ 9913 w 10348"/>
                <a:gd name="connsiteY38" fmla="*/ 882 h 13403"/>
                <a:gd name="connsiteX39" fmla="*/ 9574 w 10348"/>
                <a:gd name="connsiteY39" fmla="*/ 329 h 13403"/>
                <a:gd name="connsiteX0" fmla="*/ 9574 w 10348"/>
                <a:gd name="connsiteY0" fmla="*/ 329 h 13403"/>
                <a:gd name="connsiteX1" fmla="*/ 8609 w 10348"/>
                <a:gd name="connsiteY1" fmla="*/ 1176 h 13403"/>
                <a:gd name="connsiteX2" fmla="*/ 7957 w 10348"/>
                <a:gd name="connsiteY2" fmla="*/ 1176 h 13403"/>
                <a:gd name="connsiteX3" fmla="*/ 7739 w 10348"/>
                <a:gd name="connsiteY3" fmla="*/ 294 h 13403"/>
                <a:gd name="connsiteX4" fmla="*/ 7522 w 10348"/>
                <a:gd name="connsiteY4" fmla="*/ 0 h 13403"/>
                <a:gd name="connsiteX5" fmla="*/ 6870 w 10348"/>
                <a:gd name="connsiteY5" fmla="*/ 882 h 13403"/>
                <a:gd name="connsiteX6" fmla="*/ 6435 w 10348"/>
                <a:gd name="connsiteY6" fmla="*/ 1471 h 13403"/>
                <a:gd name="connsiteX7" fmla="*/ 5604 w 10348"/>
                <a:gd name="connsiteY7" fmla="*/ 1160 h 13403"/>
                <a:gd name="connsiteX8" fmla="*/ 5131 w 10348"/>
                <a:gd name="connsiteY8" fmla="*/ 1176 h 13403"/>
                <a:gd name="connsiteX9" fmla="*/ 4478 w 10348"/>
                <a:gd name="connsiteY9" fmla="*/ 1176 h 13403"/>
                <a:gd name="connsiteX10" fmla="*/ 3609 w 10348"/>
                <a:gd name="connsiteY10" fmla="*/ 882 h 13403"/>
                <a:gd name="connsiteX11" fmla="*/ 3391 w 10348"/>
                <a:gd name="connsiteY11" fmla="*/ 2353 h 13403"/>
                <a:gd name="connsiteX12" fmla="*/ 2305 w 10348"/>
                <a:gd name="connsiteY12" fmla="*/ 2941 h 13403"/>
                <a:gd name="connsiteX13" fmla="*/ 1870 w 10348"/>
                <a:gd name="connsiteY13" fmla="*/ 3529 h 13403"/>
                <a:gd name="connsiteX14" fmla="*/ 1218 w 10348"/>
                <a:gd name="connsiteY14" fmla="*/ 3235 h 13403"/>
                <a:gd name="connsiteX15" fmla="*/ 574 w 10348"/>
                <a:gd name="connsiteY15" fmla="*/ 2846 h 13403"/>
                <a:gd name="connsiteX16" fmla="*/ 356 w 10348"/>
                <a:gd name="connsiteY16" fmla="*/ 4706 h 13403"/>
                <a:gd name="connsiteX17" fmla="*/ 348 w 10348"/>
                <a:gd name="connsiteY17" fmla="*/ 5882 h 13403"/>
                <a:gd name="connsiteX18" fmla="*/ 0 w 10348"/>
                <a:gd name="connsiteY18" fmla="*/ 7734 h 13403"/>
                <a:gd name="connsiteX19" fmla="*/ 800 w 10348"/>
                <a:gd name="connsiteY19" fmla="*/ 8417 h 13403"/>
                <a:gd name="connsiteX20" fmla="*/ 783 w 10348"/>
                <a:gd name="connsiteY20" fmla="*/ 9706 h 13403"/>
                <a:gd name="connsiteX21" fmla="*/ 472 w 10348"/>
                <a:gd name="connsiteY21" fmla="*/ 10621 h 13403"/>
                <a:gd name="connsiteX22" fmla="*/ 1156 w 10348"/>
                <a:gd name="connsiteY22" fmla="*/ 10204 h 13403"/>
                <a:gd name="connsiteX23" fmla="*/ 2017 w 10348"/>
                <a:gd name="connsiteY23" fmla="*/ 9826 h 13403"/>
                <a:gd name="connsiteX24" fmla="*/ 2816 w 10348"/>
                <a:gd name="connsiteY24" fmla="*/ 9816 h 13403"/>
                <a:gd name="connsiteX25" fmla="*/ 4016 w 10348"/>
                <a:gd name="connsiteY25" fmla="*/ 10843 h 13403"/>
                <a:gd name="connsiteX26" fmla="*/ 5469 w 10348"/>
                <a:gd name="connsiteY26" fmla="*/ 11830 h 13403"/>
                <a:gd name="connsiteX27" fmla="*/ 5478 w 10348"/>
                <a:gd name="connsiteY27" fmla="*/ 12764 h 13403"/>
                <a:gd name="connsiteX28" fmla="*/ 6829 w 10348"/>
                <a:gd name="connsiteY28" fmla="*/ 13402 h 13403"/>
                <a:gd name="connsiteX29" fmla="*/ 7923 w 10348"/>
                <a:gd name="connsiteY29" fmla="*/ 12582 h 13403"/>
                <a:gd name="connsiteX30" fmla="*/ 8561 w 10348"/>
                <a:gd name="connsiteY30" fmla="*/ 11933 h 13403"/>
                <a:gd name="connsiteX31" fmla="*/ 8740 w 10348"/>
                <a:gd name="connsiteY31" fmla="*/ 10758 h 13403"/>
                <a:gd name="connsiteX32" fmla="*/ 9779 w 10348"/>
                <a:gd name="connsiteY32" fmla="*/ 10829 h 13403"/>
                <a:gd name="connsiteX33" fmla="*/ 9872 w 10348"/>
                <a:gd name="connsiteY33" fmla="*/ 9686 h 13403"/>
                <a:gd name="connsiteX34" fmla="*/ 7003 w 10348"/>
                <a:gd name="connsiteY34" fmla="*/ 7157 h 13403"/>
                <a:gd name="connsiteX35" fmla="*/ 6876 w 10348"/>
                <a:gd name="connsiteY35" fmla="*/ 5821 h 13403"/>
                <a:gd name="connsiteX36" fmla="*/ 8826 w 10348"/>
                <a:gd name="connsiteY36" fmla="*/ 2059 h 13403"/>
                <a:gd name="connsiteX37" fmla="*/ 10348 w 10348"/>
                <a:gd name="connsiteY37" fmla="*/ 1765 h 13403"/>
                <a:gd name="connsiteX38" fmla="*/ 9913 w 10348"/>
                <a:gd name="connsiteY38" fmla="*/ 882 h 13403"/>
                <a:gd name="connsiteX39" fmla="*/ 9574 w 10348"/>
                <a:gd name="connsiteY39" fmla="*/ 329 h 13403"/>
                <a:gd name="connsiteX0" fmla="*/ 9574 w 10348"/>
                <a:gd name="connsiteY0" fmla="*/ 329 h 13403"/>
                <a:gd name="connsiteX1" fmla="*/ 8609 w 10348"/>
                <a:gd name="connsiteY1" fmla="*/ 1176 h 13403"/>
                <a:gd name="connsiteX2" fmla="*/ 7957 w 10348"/>
                <a:gd name="connsiteY2" fmla="*/ 1176 h 13403"/>
                <a:gd name="connsiteX3" fmla="*/ 7739 w 10348"/>
                <a:gd name="connsiteY3" fmla="*/ 294 h 13403"/>
                <a:gd name="connsiteX4" fmla="*/ 7522 w 10348"/>
                <a:gd name="connsiteY4" fmla="*/ 0 h 13403"/>
                <a:gd name="connsiteX5" fmla="*/ 6870 w 10348"/>
                <a:gd name="connsiteY5" fmla="*/ 882 h 13403"/>
                <a:gd name="connsiteX6" fmla="*/ 6435 w 10348"/>
                <a:gd name="connsiteY6" fmla="*/ 1471 h 13403"/>
                <a:gd name="connsiteX7" fmla="*/ 5604 w 10348"/>
                <a:gd name="connsiteY7" fmla="*/ 1160 h 13403"/>
                <a:gd name="connsiteX8" fmla="*/ 5131 w 10348"/>
                <a:gd name="connsiteY8" fmla="*/ 1176 h 13403"/>
                <a:gd name="connsiteX9" fmla="*/ 4478 w 10348"/>
                <a:gd name="connsiteY9" fmla="*/ 1176 h 13403"/>
                <a:gd name="connsiteX10" fmla="*/ 3609 w 10348"/>
                <a:gd name="connsiteY10" fmla="*/ 882 h 13403"/>
                <a:gd name="connsiteX11" fmla="*/ 3391 w 10348"/>
                <a:gd name="connsiteY11" fmla="*/ 2353 h 13403"/>
                <a:gd name="connsiteX12" fmla="*/ 2305 w 10348"/>
                <a:gd name="connsiteY12" fmla="*/ 2941 h 13403"/>
                <a:gd name="connsiteX13" fmla="*/ 1870 w 10348"/>
                <a:gd name="connsiteY13" fmla="*/ 3529 h 13403"/>
                <a:gd name="connsiteX14" fmla="*/ 1218 w 10348"/>
                <a:gd name="connsiteY14" fmla="*/ 3235 h 13403"/>
                <a:gd name="connsiteX15" fmla="*/ 574 w 10348"/>
                <a:gd name="connsiteY15" fmla="*/ 2846 h 13403"/>
                <a:gd name="connsiteX16" fmla="*/ 356 w 10348"/>
                <a:gd name="connsiteY16" fmla="*/ 4706 h 13403"/>
                <a:gd name="connsiteX17" fmla="*/ 348 w 10348"/>
                <a:gd name="connsiteY17" fmla="*/ 5882 h 13403"/>
                <a:gd name="connsiteX18" fmla="*/ 0 w 10348"/>
                <a:gd name="connsiteY18" fmla="*/ 7734 h 13403"/>
                <a:gd name="connsiteX19" fmla="*/ 800 w 10348"/>
                <a:gd name="connsiteY19" fmla="*/ 8417 h 13403"/>
                <a:gd name="connsiteX20" fmla="*/ 783 w 10348"/>
                <a:gd name="connsiteY20" fmla="*/ 9706 h 13403"/>
                <a:gd name="connsiteX21" fmla="*/ 472 w 10348"/>
                <a:gd name="connsiteY21" fmla="*/ 10621 h 13403"/>
                <a:gd name="connsiteX22" fmla="*/ 1156 w 10348"/>
                <a:gd name="connsiteY22" fmla="*/ 10204 h 13403"/>
                <a:gd name="connsiteX23" fmla="*/ 2017 w 10348"/>
                <a:gd name="connsiteY23" fmla="*/ 9826 h 13403"/>
                <a:gd name="connsiteX24" fmla="*/ 2816 w 10348"/>
                <a:gd name="connsiteY24" fmla="*/ 9816 h 13403"/>
                <a:gd name="connsiteX25" fmla="*/ 4016 w 10348"/>
                <a:gd name="connsiteY25" fmla="*/ 10843 h 13403"/>
                <a:gd name="connsiteX26" fmla="*/ 5469 w 10348"/>
                <a:gd name="connsiteY26" fmla="*/ 11830 h 13403"/>
                <a:gd name="connsiteX27" fmla="*/ 5478 w 10348"/>
                <a:gd name="connsiteY27" fmla="*/ 12764 h 13403"/>
                <a:gd name="connsiteX28" fmla="*/ 6829 w 10348"/>
                <a:gd name="connsiteY28" fmla="*/ 13402 h 13403"/>
                <a:gd name="connsiteX29" fmla="*/ 7923 w 10348"/>
                <a:gd name="connsiteY29" fmla="*/ 12582 h 13403"/>
                <a:gd name="connsiteX30" fmla="*/ 8561 w 10348"/>
                <a:gd name="connsiteY30" fmla="*/ 11933 h 13403"/>
                <a:gd name="connsiteX31" fmla="*/ 8740 w 10348"/>
                <a:gd name="connsiteY31" fmla="*/ 10758 h 13403"/>
                <a:gd name="connsiteX32" fmla="*/ 9779 w 10348"/>
                <a:gd name="connsiteY32" fmla="*/ 10829 h 13403"/>
                <a:gd name="connsiteX33" fmla="*/ 9872 w 10348"/>
                <a:gd name="connsiteY33" fmla="*/ 9686 h 13403"/>
                <a:gd name="connsiteX34" fmla="*/ 7003 w 10348"/>
                <a:gd name="connsiteY34" fmla="*/ 7157 h 13403"/>
                <a:gd name="connsiteX35" fmla="*/ 6876 w 10348"/>
                <a:gd name="connsiteY35" fmla="*/ 5821 h 13403"/>
                <a:gd name="connsiteX36" fmla="*/ 8826 w 10348"/>
                <a:gd name="connsiteY36" fmla="*/ 2059 h 13403"/>
                <a:gd name="connsiteX37" fmla="*/ 10348 w 10348"/>
                <a:gd name="connsiteY37" fmla="*/ 1765 h 13403"/>
                <a:gd name="connsiteX38" fmla="*/ 9913 w 10348"/>
                <a:gd name="connsiteY38" fmla="*/ 882 h 13403"/>
                <a:gd name="connsiteX39" fmla="*/ 9574 w 10348"/>
                <a:gd name="connsiteY39" fmla="*/ 329 h 13403"/>
                <a:gd name="connsiteX0" fmla="*/ 9574 w 10348"/>
                <a:gd name="connsiteY0" fmla="*/ 329 h 13403"/>
                <a:gd name="connsiteX1" fmla="*/ 8609 w 10348"/>
                <a:gd name="connsiteY1" fmla="*/ 1176 h 13403"/>
                <a:gd name="connsiteX2" fmla="*/ 7957 w 10348"/>
                <a:gd name="connsiteY2" fmla="*/ 1176 h 13403"/>
                <a:gd name="connsiteX3" fmla="*/ 7739 w 10348"/>
                <a:gd name="connsiteY3" fmla="*/ 294 h 13403"/>
                <a:gd name="connsiteX4" fmla="*/ 7522 w 10348"/>
                <a:gd name="connsiteY4" fmla="*/ 0 h 13403"/>
                <a:gd name="connsiteX5" fmla="*/ 6870 w 10348"/>
                <a:gd name="connsiteY5" fmla="*/ 882 h 13403"/>
                <a:gd name="connsiteX6" fmla="*/ 6435 w 10348"/>
                <a:gd name="connsiteY6" fmla="*/ 1471 h 13403"/>
                <a:gd name="connsiteX7" fmla="*/ 5604 w 10348"/>
                <a:gd name="connsiteY7" fmla="*/ 1160 h 13403"/>
                <a:gd name="connsiteX8" fmla="*/ 5131 w 10348"/>
                <a:gd name="connsiteY8" fmla="*/ 1176 h 13403"/>
                <a:gd name="connsiteX9" fmla="*/ 4478 w 10348"/>
                <a:gd name="connsiteY9" fmla="*/ 1176 h 13403"/>
                <a:gd name="connsiteX10" fmla="*/ 3609 w 10348"/>
                <a:gd name="connsiteY10" fmla="*/ 882 h 13403"/>
                <a:gd name="connsiteX11" fmla="*/ 3391 w 10348"/>
                <a:gd name="connsiteY11" fmla="*/ 2353 h 13403"/>
                <a:gd name="connsiteX12" fmla="*/ 2305 w 10348"/>
                <a:gd name="connsiteY12" fmla="*/ 2941 h 13403"/>
                <a:gd name="connsiteX13" fmla="*/ 1870 w 10348"/>
                <a:gd name="connsiteY13" fmla="*/ 3529 h 13403"/>
                <a:gd name="connsiteX14" fmla="*/ 1218 w 10348"/>
                <a:gd name="connsiteY14" fmla="*/ 3235 h 13403"/>
                <a:gd name="connsiteX15" fmla="*/ 574 w 10348"/>
                <a:gd name="connsiteY15" fmla="*/ 2846 h 13403"/>
                <a:gd name="connsiteX16" fmla="*/ 356 w 10348"/>
                <a:gd name="connsiteY16" fmla="*/ 4706 h 13403"/>
                <a:gd name="connsiteX17" fmla="*/ 348 w 10348"/>
                <a:gd name="connsiteY17" fmla="*/ 5882 h 13403"/>
                <a:gd name="connsiteX18" fmla="*/ 0 w 10348"/>
                <a:gd name="connsiteY18" fmla="*/ 7734 h 13403"/>
                <a:gd name="connsiteX19" fmla="*/ 800 w 10348"/>
                <a:gd name="connsiteY19" fmla="*/ 8417 h 13403"/>
                <a:gd name="connsiteX20" fmla="*/ 783 w 10348"/>
                <a:gd name="connsiteY20" fmla="*/ 9706 h 13403"/>
                <a:gd name="connsiteX21" fmla="*/ 472 w 10348"/>
                <a:gd name="connsiteY21" fmla="*/ 10621 h 13403"/>
                <a:gd name="connsiteX22" fmla="*/ 1156 w 10348"/>
                <a:gd name="connsiteY22" fmla="*/ 10204 h 13403"/>
                <a:gd name="connsiteX23" fmla="*/ 2017 w 10348"/>
                <a:gd name="connsiteY23" fmla="*/ 9826 h 13403"/>
                <a:gd name="connsiteX24" fmla="*/ 2816 w 10348"/>
                <a:gd name="connsiteY24" fmla="*/ 9816 h 13403"/>
                <a:gd name="connsiteX25" fmla="*/ 4016 w 10348"/>
                <a:gd name="connsiteY25" fmla="*/ 10843 h 13403"/>
                <a:gd name="connsiteX26" fmla="*/ 5469 w 10348"/>
                <a:gd name="connsiteY26" fmla="*/ 11830 h 13403"/>
                <a:gd name="connsiteX27" fmla="*/ 5478 w 10348"/>
                <a:gd name="connsiteY27" fmla="*/ 12764 h 13403"/>
                <a:gd name="connsiteX28" fmla="*/ 6829 w 10348"/>
                <a:gd name="connsiteY28" fmla="*/ 13402 h 13403"/>
                <a:gd name="connsiteX29" fmla="*/ 7923 w 10348"/>
                <a:gd name="connsiteY29" fmla="*/ 12582 h 13403"/>
                <a:gd name="connsiteX30" fmla="*/ 8561 w 10348"/>
                <a:gd name="connsiteY30" fmla="*/ 11933 h 13403"/>
                <a:gd name="connsiteX31" fmla="*/ 8740 w 10348"/>
                <a:gd name="connsiteY31" fmla="*/ 10758 h 13403"/>
                <a:gd name="connsiteX32" fmla="*/ 9779 w 10348"/>
                <a:gd name="connsiteY32" fmla="*/ 10829 h 13403"/>
                <a:gd name="connsiteX33" fmla="*/ 9872 w 10348"/>
                <a:gd name="connsiteY33" fmla="*/ 9686 h 13403"/>
                <a:gd name="connsiteX34" fmla="*/ 7003 w 10348"/>
                <a:gd name="connsiteY34" fmla="*/ 7157 h 13403"/>
                <a:gd name="connsiteX35" fmla="*/ 6876 w 10348"/>
                <a:gd name="connsiteY35" fmla="*/ 5821 h 13403"/>
                <a:gd name="connsiteX36" fmla="*/ 8826 w 10348"/>
                <a:gd name="connsiteY36" fmla="*/ 2059 h 13403"/>
                <a:gd name="connsiteX37" fmla="*/ 10348 w 10348"/>
                <a:gd name="connsiteY37" fmla="*/ 1765 h 13403"/>
                <a:gd name="connsiteX38" fmla="*/ 9913 w 10348"/>
                <a:gd name="connsiteY38" fmla="*/ 882 h 13403"/>
                <a:gd name="connsiteX39" fmla="*/ 9574 w 10348"/>
                <a:gd name="connsiteY39" fmla="*/ 329 h 13403"/>
                <a:gd name="connsiteX0" fmla="*/ 9574 w 10348"/>
                <a:gd name="connsiteY0" fmla="*/ 329 h 13403"/>
                <a:gd name="connsiteX1" fmla="*/ 8609 w 10348"/>
                <a:gd name="connsiteY1" fmla="*/ 1176 h 13403"/>
                <a:gd name="connsiteX2" fmla="*/ 7957 w 10348"/>
                <a:gd name="connsiteY2" fmla="*/ 1176 h 13403"/>
                <a:gd name="connsiteX3" fmla="*/ 7739 w 10348"/>
                <a:gd name="connsiteY3" fmla="*/ 294 h 13403"/>
                <a:gd name="connsiteX4" fmla="*/ 7522 w 10348"/>
                <a:gd name="connsiteY4" fmla="*/ 0 h 13403"/>
                <a:gd name="connsiteX5" fmla="*/ 6870 w 10348"/>
                <a:gd name="connsiteY5" fmla="*/ 882 h 13403"/>
                <a:gd name="connsiteX6" fmla="*/ 6435 w 10348"/>
                <a:gd name="connsiteY6" fmla="*/ 1471 h 13403"/>
                <a:gd name="connsiteX7" fmla="*/ 5604 w 10348"/>
                <a:gd name="connsiteY7" fmla="*/ 1160 h 13403"/>
                <a:gd name="connsiteX8" fmla="*/ 5131 w 10348"/>
                <a:gd name="connsiteY8" fmla="*/ 1176 h 13403"/>
                <a:gd name="connsiteX9" fmla="*/ 4478 w 10348"/>
                <a:gd name="connsiteY9" fmla="*/ 1176 h 13403"/>
                <a:gd name="connsiteX10" fmla="*/ 3609 w 10348"/>
                <a:gd name="connsiteY10" fmla="*/ 882 h 13403"/>
                <a:gd name="connsiteX11" fmla="*/ 3391 w 10348"/>
                <a:gd name="connsiteY11" fmla="*/ 2353 h 13403"/>
                <a:gd name="connsiteX12" fmla="*/ 2305 w 10348"/>
                <a:gd name="connsiteY12" fmla="*/ 2941 h 13403"/>
                <a:gd name="connsiteX13" fmla="*/ 1870 w 10348"/>
                <a:gd name="connsiteY13" fmla="*/ 3529 h 13403"/>
                <a:gd name="connsiteX14" fmla="*/ 1218 w 10348"/>
                <a:gd name="connsiteY14" fmla="*/ 3235 h 13403"/>
                <a:gd name="connsiteX15" fmla="*/ 574 w 10348"/>
                <a:gd name="connsiteY15" fmla="*/ 2846 h 13403"/>
                <a:gd name="connsiteX16" fmla="*/ 356 w 10348"/>
                <a:gd name="connsiteY16" fmla="*/ 4706 h 13403"/>
                <a:gd name="connsiteX17" fmla="*/ 348 w 10348"/>
                <a:gd name="connsiteY17" fmla="*/ 5882 h 13403"/>
                <a:gd name="connsiteX18" fmla="*/ 0 w 10348"/>
                <a:gd name="connsiteY18" fmla="*/ 7734 h 13403"/>
                <a:gd name="connsiteX19" fmla="*/ 800 w 10348"/>
                <a:gd name="connsiteY19" fmla="*/ 8417 h 13403"/>
                <a:gd name="connsiteX20" fmla="*/ 783 w 10348"/>
                <a:gd name="connsiteY20" fmla="*/ 9706 h 13403"/>
                <a:gd name="connsiteX21" fmla="*/ 472 w 10348"/>
                <a:gd name="connsiteY21" fmla="*/ 10621 h 13403"/>
                <a:gd name="connsiteX22" fmla="*/ 1156 w 10348"/>
                <a:gd name="connsiteY22" fmla="*/ 10204 h 13403"/>
                <a:gd name="connsiteX23" fmla="*/ 2017 w 10348"/>
                <a:gd name="connsiteY23" fmla="*/ 9826 h 13403"/>
                <a:gd name="connsiteX24" fmla="*/ 2816 w 10348"/>
                <a:gd name="connsiteY24" fmla="*/ 9816 h 13403"/>
                <a:gd name="connsiteX25" fmla="*/ 4016 w 10348"/>
                <a:gd name="connsiteY25" fmla="*/ 10843 h 13403"/>
                <a:gd name="connsiteX26" fmla="*/ 5469 w 10348"/>
                <a:gd name="connsiteY26" fmla="*/ 11830 h 13403"/>
                <a:gd name="connsiteX27" fmla="*/ 5478 w 10348"/>
                <a:gd name="connsiteY27" fmla="*/ 12764 h 13403"/>
                <a:gd name="connsiteX28" fmla="*/ 6829 w 10348"/>
                <a:gd name="connsiteY28" fmla="*/ 13402 h 13403"/>
                <a:gd name="connsiteX29" fmla="*/ 7923 w 10348"/>
                <a:gd name="connsiteY29" fmla="*/ 12582 h 13403"/>
                <a:gd name="connsiteX30" fmla="*/ 8561 w 10348"/>
                <a:gd name="connsiteY30" fmla="*/ 11933 h 13403"/>
                <a:gd name="connsiteX31" fmla="*/ 8740 w 10348"/>
                <a:gd name="connsiteY31" fmla="*/ 10758 h 13403"/>
                <a:gd name="connsiteX32" fmla="*/ 9779 w 10348"/>
                <a:gd name="connsiteY32" fmla="*/ 10829 h 13403"/>
                <a:gd name="connsiteX33" fmla="*/ 9872 w 10348"/>
                <a:gd name="connsiteY33" fmla="*/ 9686 h 13403"/>
                <a:gd name="connsiteX34" fmla="*/ 7003 w 10348"/>
                <a:gd name="connsiteY34" fmla="*/ 7157 h 13403"/>
                <a:gd name="connsiteX35" fmla="*/ 6876 w 10348"/>
                <a:gd name="connsiteY35" fmla="*/ 5821 h 13403"/>
                <a:gd name="connsiteX36" fmla="*/ 8826 w 10348"/>
                <a:gd name="connsiteY36" fmla="*/ 2059 h 13403"/>
                <a:gd name="connsiteX37" fmla="*/ 10348 w 10348"/>
                <a:gd name="connsiteY37" fmla="*/ 1765 h 13403"/>
                <a:gd name="connsiteX38" fmla="*/ 9913 w 10348"/>
                <a:gd name="connsiteY38" fmla="*/ 882 h 13403"/>
                <a:gd name="connsiteX39" fmla="*/ 9574 w 10348"/>
                <a:gd name="connsiteY39" fmla="*/ 329 h 13403"/>
                <a:gd name="connsiteX0" fmla="*/ 9574 w 10348"/>
                <a:gd name="connsiteY0" fmla="*/ 329 h 13403"/>
                <a:gd name="connsiteX1" fmla="*/ 8609 w 10348"/>
                <a:gd name="connsiteY1" fmla="*/ 1176 h 13403"/>
                <a:gd name="connsiteX2" fmla="*/ 7957 w 10348"/>
                <a:gd name="connsiteY2" fmla="*/ 1176 h 13403"/>
                <a:gd name="connsiteX3" fmla="*/ 7739 w 10348"/>
                <a:gd name="connsiteY3" fmla="*/ 294 h 13403"/>
                <a:gd name="connsiteX4" fmla="*/ 7522 w 10348"/>
                <a:gd name="connsiteY4" fmla="*/ 0 h 13403"/>
                <a:gd name="connsiteX5" fmla="*/ 6870 w 10348"/>
                <a:gd name="connsiteY5" fmla="*/ 882 h 13403"/>
                <a:gd name="connsiteX6" fmla="*/ 6435 w 10348"/>
                <a:gd name="connsiteY6" fmla="*/ 1471 h 13403"/>
                <a:gd name="connsiteX7" fmla="*/ 5604 w 10348"/>
                <a:gd name="connsiteY7" fmla="*/ 1160 h 13403"/>
                <a:gd name="connsiteX8" fmla="*/ 5131 w 10348"/>
                <a:gd name="connsiteY8" fmla="*/ 1176 h 13403"/>
                <a:gd name="connsiteX9" fmla="*/ 4478 w 10348"/>
                <a:gd name="connsiteY9" fmla="*/ 1176 h 13403"/>
                <a:gd name="connsiteX10" fmla="*/ 3609 w 10348"/>
                <a:gd name="connsiteY10" fmla="*/ 882 h 13403"/>
                <a:gd name="connsiteX11" fmla="*/ 3391 w 10348"/>
                <a:gd name="connsiteY11" fmla="*/ 2353 h 13403"/>
                <a:gd name="connsiteX12" fmla="*/ 2305 w 10348"/>
                <a:gd name="connsiteY12" fmla="*/ 2941 h 13403"/>
                <a:gd name="connsiteX13" fmla="*/ 1870 w 10348"/>
                <a:gd name="connsiteY13" fmla="*/ 3529 h 13403"/>
                <a:gd name="connsiteX14" fmla="*/ 1218 w 10348"/>
                <a:gd name="connsiteY14" fmla="*/ 3235 h 13403"/>
                <a:gd name="connsiteX15" fmla="*/ 574 w 10348"/>
                <a:gd name="connsiteY15" fmla="*/ 2846 h 13403"/>
                <a:gd name="connsiteX16" fmla="*/ 356 w 10348"/>
                <a:gd name="connsiteY16" fmla="*/ 4706 h 13403"/>
                <a:gd name="connsiteX17" fmla="*/ 348 w 10348"/>
                <a:gd name="connsiteY17" fmla="*/ 5882 h 13403"/>
                <a:gd name="connsiteX18" fmla="*/ 0 w 10348"/>
                <a:gd name="connsiteY18" fmla="*/ 7734 h 13403"/>
                <a:gd name="connsiteX19" fmla="*/ 800 w 10348"/>
                <a:gd name="connsiteY19" fmla="*/ 8417 h 13403"/>
                <a:gd name="connsiteX20" fmla="*/ 783 w 10348"/>
                <a:gd name="connsiteY20" fmla="*/ 9706 h 13403"/>
                <a:gd name="connsiteX21" fmla="*/ 472 w 10348"/>
                <a:gd name="connsiteY21" fmla="*/ 10621 h 13403"/>
                <a:gd name="connsiteX22" fmla="*/ 1156 w 10348"/>
                <a:gd name="connsiteY22" fmla="*/ 10204 h 13403"/>
                <a:gd name="connsiteX23" fmla="*/ 2017 w 10348"/>
                <a:gd name="connsiteY23" fmla="*/ 9826 h 13403"/>
                <a:gd name="connsiteX24" fmla="*/ 2816 w 10348"/>
                <a:gd name="connsiteY24" fmla="*/ 9816 h 13403"/>
                <a:gd name="connsiteX25" fmla="*/ 4016 w 10348"/>
                <a:gd name="connsiteY25" fmla="*/ 10843 h 13403"/>
                <a:gd name="connsiteX26" fmla="*/ 5469 w 10348"/>
                <a:gd name="connsiteY26" fmla="*/ 11830 h 13403"/>
                <a:gd name="connsiteX27" fmla="*/ 5478 w 10348"/>
                <a:gd name="connsiteY27" fmla="*/ 12764 h 13403"/>
                <a:gd name="connsiteX28" fmla="*/ 6829 w 10348"/>
                <a:gd name="connsiteY28" fmla="*/ 13402 h 13403"/>
                <a:gd name="connsiteX29" fmla="*/ 7923 w 10348"/>
                <a:gd name="connsiteY29" fmla="*/ 12582 h 13403"/>
                <a:gd name="connsiteX30" fmla="*/ 8561 w 10348"/>
                <a:gd name="connsiteY30" fmla="*/ 11933 h 13403"/>
                <a:gd name="connsiteX31" fmla="*/ 8740 w 10348"/>
                <a:gd name="connsiteY31" fmla="*/ 10758 h 13403"/>
                <a:gd name="connsiteX32" fmla="*/ 9779 w 10348"/>
                <a:gd name="connsiteY32" fmla="*/ 10829 h 13403"/>
                <a:gd name="connsiteX33" fmla="*/ 9872 w 10348"/>
                <a:gd name="connsiteY33" fmla="*/ 9686 h 13403"/>
                <a:gd name="connsiteX34" fmla="*/ 7003 w 10348"/>
                <a:gd name="connsiteY34" fmla="*/ 7157 h 13403"/>
                <a:gd name="connsiteX35" fmla="*/ 6876 w 10348"/>
                <a:gd name="connsiteY35" fmla="*/ 5821 h 13403"/>
                <a:gd name="connsiteX36" fmla="*/ 8826 w 10348"/>
                <a:gd name="connsiteY36" fmla="*/ 2059 h 13403"/>
                <a:gd name="connsiteX37" fmla="*/ 10348 w 10348"/>
                <a:gd name="connsiteY37" fmla="*/ 1765 h 13403"/>
                <a:gd name="connsiteX38" fmla="*/ 9913 w 10348"/>
                <a:gd name="connsiteY38" fmla="*/ 882 h 13403"/>
                <a:gd name="connsiteX39" fmla="*/ 9574 w 10348"/>
                <a:gd name="connsiteY39" fmla="*/ 329 h 13403"/>
                <a:gd name="connsiteX0" fmla="*/ 9574 w 10348"/>
                <a:gd name="connsiteY0" fmla="*/ 329 h 13403"/>
                <a:gd name="connsiteX1" fmla="*/ 8609 w 10348"/>
                <a:gd name="connsiteY1" fmla="*/ 1176 h 13403"/>
                <a:gd name="connsiteX2" fmla="*/ 7957 w 10348"/>
                <a:gd name="connsiteY2" fmla="*/ 1176 h 13403"/>
                <a:gd name="connsiteX3" fmla="*/ 7739 w 10348"/>
                <a:gd name="connsiteY3" fmla="*/ 294 h 13403"/>
                <a:gd name="connsiteX4" fmla="*/ 7522 w 10348"/>
                <a:gd name="connsiteY4" fmla="*/ 0 h 13403"/>
                <a:gd name="connsiteX5" fmla="*/ 6870 w 10348"/>
                <a:gd name="connsiteY5" fmla="*/ 882 h 13403"/>
                <a:gd name="connsiteX6" fmla="*/ 6435 w 10348"/>
                <a:gd name="connsiteY6" fmla="*/ 1471 h 13403"/>
                <a:gd name="connsiteX7" fmla="*/ 5604 w 10348"/>
                <a:gd name="connsiteY7" fmla="*/ 1160 h 13403"/>
                <a:gd name="connsiteX8" fmla="*/ 5131 w 10348"/>
                <a:gd name="connsiteY8" fmla="*/ 1176 h 13403"/>
                <a:gd name="connsiteX9" fmla="*/ 4478 w 10348"/>
                <a:gd name="connsiteY9" fmla="*/ 1176 h 13403"/>
                <a:gd name="connsiteX10" fmla="*/ 3609 w 10348"/>
                <a:gd name="connsiteY10" fmla="*/ 882 h 13403"/>
                <a:gd name="connsiteX11" fmla="*/ 3391 w 10348"/>
                <a:gd name="connsiteY11" fmla="*/ 2353 h 13403"/>
                <a:gd name="connsiteX12" fmla="*/ 2305 w 10348"/>
                <a:gd name="connsiteY12" fmla="*/ 2941 h 13403"/>
                <a:gd name="connsiteX13" fmla="*/ 1870 w 10348"/>
                <a:gd name="connsiteY13" fmla="*/ 3529 h 13403"/>
                <a:gd name="connsiteX14" fmla="*/ 1218 w 10348"/>
                <a:gd name="connsiteY14" fmla="*/ 3235 h 13403"/>
                <a:gd name="connsiteX15" fmla="*/ 574 w 10348"/>
                <a:gd name="connsiteY15" fmla="*/ 2846 h 13403"/>
                <a:gd name="connsiteX16" fmla="*/ 356 w 10348"/>
                <a:gd name="connsiteY16" fmla="*/ 4706 h 13403"/>
                <a:gd name="connsiteX17" fmla="*/ 348 w 10348"/>
                <a:gd name="connsiteY17" fmla="*/ 5882 h 13403"/>
                <a:gd name="connsiteX18" fmla="*/ 0 w 10348"/>
                <a:gd name="connsiteY18" fmla="*/ 7734 h 13403"/>
                <a:gd name="connsiteX19" fmla="*/ 800 w 10348"/>
                <a:gd name="connsiteY19" fmla="*/ 8417 h 13403"/>
                <a:gd name="connsiteX20" fmla="*/ 783 w 10348"/>
                <a:gd name="connsiteY20" fmla="*/ 9706 h 13403"/>
                <a:gd name="connsiteX21" fmla="*/ 472 w 10348"/>
                <a:gd name="connsiteY21" fmla="*/ 10621 h 13403"/>
                <a:gd name="connsiteX22" fmla="*/ 1156 w 10348"/>
                <a:gd name="connsiteY22" fmla="*/ 10204 h 13403"/>
                <a:gd name="connsiteX23" fmla="*/ 2017 w 10348"/>
                <a:gd name="connsiteY23" fmla="*/ 9826 h 13403"/>
                <a:gd name="connsiteX24" fmla="*/ 2816 w 10348"/>
                <a:gd name="connsiteY24" fmla="*/ 9816 h 13403"/>
                <a:gd name="connsiteX25" fmla="*/ 4016 w 10348"/>
                <a:gd name="connsiteY25" fmla="*/ 10843 h 13403"/>
                <a:gd name="connsiteX26" fmla="*/ 5469 w 10348"/>
                <a:gd name="connsiteY26" fmla="*/ 11830 h 13403"/>
                <a:gd name="connsiteX27" fmla="*/ 5478 w 10348"/>
                <a:gd name="connsiteY27" fmla="*/ 12764 h 13403"/>
                <a:gd name="connsiteX28" fmla="*/ 6829 w 10348"/>
                <a:gd name="connsiteY28" fmla="*/ 13402 h 13403"/>
                <a:gd name="connsiteX29" fmla="*/ 7923 w 10348"/>
                <a:gd name="connsiteY29" fmla="*/ 12582 h 13403"/>
                <a:gd name="connsiteX30" fmla="*/ 8561 w 10348"/>
                <a:gd name="connsiteY30" fmla="*/ 11933 h 13403"/>
                <a:gd name="connsiteX31" fmla="*/ 8740 w 10348"/>
                <a:gd name="connsiteY31" fmla="*/ 10758 h 13403"/>
                <a:gd name="connsiteX32" fmla="*/ 9779 w 10348"/>
                <a:gd name="connsiteY32" fmla="*/ 10829 h 13403"/>
                <a:gd name="connsiteX33" fmla="*/ 9872 w 10348"/>
                <a:gd name="connsiteY33" fmla="*/ 9686 h 13403"/>
                <a:gd name="connsiteX34" fmla="*/ 7003 w 10348"/>
                <a:gd name="connsiteY34" fmla="*/ 7157 h 13403"/>
                <a:gd name="connsiteX35" fmla="*/ 6876 w 10348"/>
                <a:gd name="connsiteY35" fmla="*/ 5821 h 13403"/>
                <a:gd name="connsiteX36" fmla="*/ 8826 w 10348"/>
                <a:gd name="connsiteY36" fmla="*/ 2059 h 13403"/>
                <a:gd name="connsiteX37" fmla="*/ 10348 w 10348"/>
                <a:gd name="connsiteY37" fmla="*/ 1765 h 13403"/>
                <a:gd name="connsiteX38" fmla="*/ 9913 w 10348"/>
                <a:gd name="connsiteY38" fmla="*/ 882 h 13403"/>
                <a:gd name="connsiteX39" fmla="*/ 9574 w 10348"/>
                <a:gd name="connsiteY39" fmla="*/ 329 h 13403"/>
                <a:gd name="connsiteX0" fmla="*/ 9574 w 10348"/>
                <a:gd name="connsiteY0" fmla="*/ 329 h 13403"/>
                <a:gd name="connsiteX1" fmla="*/ 8609 w 10348"/>
                <a:gd name="connsiteY1" fmla="*/ 1176 h 13403"/>
                <a:gd name="connsiteX2" fmla="*/ 7957 w 10348"/>
                <a:gd name="connsiteY2" fmla="*/ 1176 h 13403"/>
                <a:gd name="connsiteX3" fmla="*/ 7739 w 10348"/>
                <a:gd name="connsiteY3" fmla="*/ 294 h 13403"/>
                <a:gd name="connsiteX4" fmla="*/ 7522 w 10348"/>
                <a:gd name="connsiteY4" fmla="*/ 0 h 13403"/>
                <a:gd name="connsiteX5" fmla="*/ 6870 w 10348"/>
                <a:gd name="connsiteY5" fmla="*/ 882 h 13403"/>
                <a:gd name="connsiteX6" fmla="*/ 6435 w 10348"/>
                <a:gd name="connsiteY6" fmla="*/ 1471 h 13403"/>
                <a:gd name="connsiteX7" fmla="*/ 5604 w 10348"/>
                <a:gd name="connsiteY7" fmla="*/ 1160 h 13403"/>
                <a:gd name="connsiteX8" fmla="*/ 5131 w 10348"/>
                <a:gd name="connsiteY8" fmla="*/ 1176 h 13403"/>
                <a:gd name="connsiteX9" fmla="*/ 4478 w 10348"/>
                <a:gd name="connsiteY9" fmla="*/ 1176 h 13403"/>
                <a:gd name="connsiteX10" fmla="*/ 3609 w 10348"/>
                <a:gd name="connsiteY10" fmla="*/ 882 h 13403"/>
                <a:gd name="connsiteX11" fmla="*/ 3391 w 10348"/>
                <a:gd name="connsiteY11" fmla="*/ 2353 h 13403"/>
                <a:gd name="connsiteX12" fmla="*/ 2305 w 10348"/>
                <a:gd name="connsiteY12" fmla="*/ 2941 h 13403"/>
                <a:gd name="connsiteX13" fmla="*/ 1870 w 10348"/>
                <a:gd name="connsiteY13" fmla="*/ 3529 h 13403"/>
                <a:gd name="connsiteX14" fmla="*/ 1218 w 10348"/>
                <a:gd name="connsiteY14" fmla="*/ 3235 h 13403"/>
                <a:gd name="connsiteX15" fmla="*/ 574 w 10348"/>
                <a:gd name="connsiteY15" fmla="*/ 2846 h 13403"/>
                <a:gd name="connsiteX16" fmla="*/ 356 w 10348"/>
                <a:gd name="connsiteY16" fmla="*/ 4706 h 13403"/>
                <a:gd name="connsiteX17" fmla="*/ 348 w 10348"/>
                <a:gd name="connsiteY17" fmla="*/ 5882 h 13403"/>
                <a:gd name="connsiteX18" fmla="*/ 0 w 10348"/>
                <a:gd name="connsiteY18" fmla="*/ 7734 h 13403"/>
                <a:gd name="connsiteX19" fmla="*/ 800 w 10348"/>
                <a:gd name="connsiteY19" fmla="*/ 8417 h 13403"/>
                <a:gd name="connsiteX20" fmla="*/ 783 w 10348"/>
                <a:gd name="connsiteY20" fmla="*/ 9706 h 13403"/>
                <a:gd name="connsiteX21" fmla="*/ 472 w 10348"/>
                <a:gd name="connsiteY21" fmla="*/ 10621 h 13403"/>
                <a:gd name="connsiteX22" fmla="*/ 1156 w 10348"/>
                <a:gd name="connsiteY22" fmla="*/ 10204 h 13403"/>
                <a:gd name="connsiteX23" fmla="*/ 2017 w 10348"/>
                <a:gd name="connsiteY23" fmla="*/ 9826 h 13403"/>
                <a:gd name="connsiteX24" fmla="*/ 2816 w 10348"/>
                <a:gd name="connsiteY24" fmla="*/ 9816 h 13403"/>
                <a:gd name="connsiteX25" fmla="*/ 4016 w 10348"/>
                <a:gd name="connsiteY25" fmla="*/ 10843 h 13403"/>
                <a:gd name="connsiteX26" fmla="*/ 5469 w 10348"/>
                <a:gd name="connsiteY26" fmla="*/ 11830 h 13403"/>
                <a:gd name="connsiteX27" fmla="*/ 5478 w 10348"/>
                <a:gd name="connsiteY27" fmla="*/ 12764 h 13403"/>
                <a:gd name="connsiteX28" fmla="*/ 6829 w 10348"/>
                <a:gd name="connsiteY28" fmla="*/ 13402 h 13403"/>
                <a:gd name="connsiteX29" fmla="*/ 7923 w 10348"/>
                <a:gd name="connsiteY29" fmla="*/ 12582 h 13403"/>
                <a:gd name="connsiteX30" fmla="*/ 8561 w 10348"/>
                <a:gd name="connsiteY30" fmla="*/ 11933 h 13403"/>
                <a:gd name="connsiteX31" fmla="*/ 8740 w 10348"/>
                <a:gd name="connsiteY31" fmla="*/ 10758 h 13403"/>
                <a:gd name="connsiteX32" fmla="*/ 9779 w 10348"/>
                <a:gd name="connsiteY32" fmla="*/ 10829 h 13403"/>
                <a:gd name="connsiteX33" fmla="*/ 9872 w 10348"/>
                <a:gd name="connsiteY33" fmla="*/ 9686 h 13403"/>
                <a:gd name="connsiteX34" fmla="*/ 7003 w 10348"/>
                <a:gd name="connsiteY34" fmla="*/ 7157 h 13403"/>
                <a:gd name="connsiteX35" fmla="*/ 6876 w 10348"/>
                <a:gd name="connsiteY35" fmla="*/ 5821 h 13403"/>
                <a:gd name="connsiteX36" fmla="*/ 8826 w 10348"/>
                <a:gd name="connsiteY36" fmla="*/ 2059 h 13403"/>
                <a:gd name="connsiteX37" fmla="*/ 10348 w 10348"/>
                <a:gd name="connsiteY37" fmla="*/ 1765 h 13403"/>
                <a:gd name="connsiteX38" fmla="*/ 9913 w 10348"/>
                <a:gd name="connsiteY38" fmla="*/ 882 h 13403"/>
                <a:gd name="connsiteX39" fmla="*/ 9574 w 10348"/>
                <a:gd name="connsiteY39" fmla="*/ 329 h 13403"/>
                <a:gd name="connsiteX0" fmla="*/ 9574 w 10348"/>
                <a:gd name="connsiteY0" fmla="*/ 329 h 13403"/>
                <a:gd name="connsiteX1" fmla="*/ 8609 w 10348"/>
                <a:gd name="connsiteY1" fmla="*/ 1176 h 13403"/>
                <a:gd name="connsiteX2" fmla="*/ 7957 w 10348"/>
                <a:gd name="connsiteY2" fmla="*/ 1176 h 13403"/>
                <a:gd name="connsiteX3" fmla="*/ 7739 w 10348"/>
                <a:gd name="connsiteY3" fmla="*/ 294 h 13403"/>
                <a:gd name="connsiteX4" fmla="*/ 7522 w 10348"/>
                <a:gd name="connsiteY4" fmla="*/ 0 h 13403"/>
                <a:gd name="connsiteX5" fmla="*/ 6870 w 10348"/>
                <a:gd name="connsiteY5" fmla="*/ 882 h 13403"/>
                <a:gd name="connsiteX6" fmla="*/ 6435 w 10348"/>
                <a:gd name="connsiteY6" fmla="*/ 1471 h 13403"/>
                <a:gd name="connsiteX7" fmla="*/ 5604 w 10348"/>
                <a:gd name="connsiteY7" fmla="*/ 1160 h 13403"/>
                <a:gd name="connsiteX8" fmla="*/ 5131 w 10348"/>
                <a:gd name="connsiteY8" fmla="*/ 1176 h 13403"/>
                <a:gd name="connsiteX9" fmla="*/ 4478 w 10348"/>
                <a:gd name="connsiteY9" fmla="*/ 1176 h 13403"/>
                <a:gd name="connsiteX10" fmla="*/ 3609 w 10348"/>
                <a:gd name="connsiteY10" fmla="*/ 882 h 13403"/>
                <a:gd name="connsiteX11" fmla="*/ 3391 w 10348"/>
                <a:gd name="connsiteY11" fmla="*/ 2353 h 13403"/>
                <a:gd name="connsiteX12" fmla="*/ 2305 w 10348"/>
                <a:gd name="connsiteY12" fmla="*/ 2941 h 13403"/>
                <a:gd name="connsiteX13" fmla="*/ 1870 w 10348"/>
                <a:gd name="connsiteY13" fmla="*/ 3529 h 13403"/>
                <a:gd name="connsiteX14" fmla="*/ 1218 w 10348"/>
                <a:gd name="connsiteY14" fmla="*/ 3235 h 13403"/>
                <a:gd name="connsiteX15" fmla="*/ 574 w 10348"/>
                <a:gd name="connsiteY15" fmla="*/ 2846 h 13403"/>
                <a:gd name="connsiteX16" fmla="*/ 356 w 10348"/>
                <a:gd name="connsiteY16" fmla="*/ 4706 h 13403"/>
                <a:gd name="connsiteX17" fmla="*/ 348 w 10348"/>
                <a:gd name="connsiteY17" fmla="*/ 5882 h 13403"/>
                <a:gd name="connsiteX18" fmla="*/ 0 w 10348"/>
                <a:gd name="connsiteY18" fmla="*/ 7734 h 13403"/>
                <a:gd name="connsiteX19" fmla="*/ 800 w 10348"/>
                <a:gd name="connsiteY19" fmla="*/ 8417 h 13403"/>
                <a:gd name="connsiteX20" fmla="*/ 783 w 10348"/>
                <a:gd name="connsiteY20" fmla="*/ 9706 h 13403"/>
                <a:gd name="connsiteX21" fmla="*/ 472 w 10348"/>
                <a:gd name="connsiteY21" fmla="*/ 10621 h 13403"/>
                <a:gd name="connsiteX22" fmla="*/ 1156 w 10348"/>
                <a:gd name="connsiteY22" fmla="*/ 10204 h 13403"/>
                <a:gd name="connsiteX23" fmla="*/ 2017 w 10348"/>
                <a:gd name="connsiteY23" fmla="*/ 9826 h 13403"/>
                <a:gd name="connsiteX24" fmla="*/ 2816 w 10348"/>
                <a:gd name="connsiteY24" fmla="*/ 9816 h 13403"/>
                <a:gd name="connsiteX25" fmla="*/ 4016 w 10348"/>
                <a:gd name="connsiteY25" fmla="*/ 10843 h 13403"/>
                <a:gd name="connsiteX26" fmla="*/ 5469 w 10348"/>
                <a:gd name="connsiteY26" fmla="*/ 11830 h 13403"/>
                <a:gd name="connsiteX27" fmla="*/ 5478 w 10348"/>
                <a:gd name="connsiteY27" fmla="*/ 12764 h 13403"/>
                <a:gd name="connsiteX28" fmla="*/ 6829 w 10348"/>
                <a:gd name="connsiteY28" fmla="*/ 13402 h 13403"/>
                <a:gd name="connsiteX29" fmla="*/ 7923 w 10348"/>
                <a:gd name="connsiteY29" fmla="*/ 12582 h 13403"/>
                <a:gd name="connsiteX30" fmla="*/ 8561 w 10348"/>
                <a:gd name="connsiteY30" fmla="*/ 11933 h 13403"/>
                <a:gd name="connsiteX31" fmla="*/ 8740 w 10348"/>
                <a:gd name="connsiteY31" fmla="*/ 10758 h 13403"/>
                <a:gd name="connsiteX32" fmla="*/ 9779 w 10348"/>
                <a:gd name="connsiteY32" fmla="*/ 10829 h 13403"/>
                <a:gd name="connsiteX33" fmla="*/ 9872 w 10348"/>
                <a:gd name="connsiteY33" fmla="*/ 9686 h 13403"/>
                <a:gd name="connsiteX34" fmla="*/ 7003 w 10348"/>
                <a:gd name="connsiteY34" fmla="*/ 7157 h 13403"/>
                <a:gd name="connsiteX35" fmla="*/ 6319 w 10348"/>
                <a:gd name="connsiteY35" fmla="*/ 5530 h 13403"/>
                <a:gd name="connsiteX36" fmla="*/ 8826 w 10348"/>
                <a:gd name="connsiteY36" fmla="*/ 2059 h 13403"/>
                <a:gd name="connsiteX37" fmla="*/ 10348 w 10348"/>
                <a:gd name="connsiteY37" fmla="*/ 1765 h 13403"/>
                <a:gd name="connsiteX38" fmla="*/ 9913 w 10348"/>
                <a:gd name="connsiteY38" fmla="*/ 882 h 13403"/>
                <a:gd name="connsiteX39" fmla="*/ 9574 w 10348"/>
                <a:gd name="connsiteY39" fmla="*/ 329 h 13403"/>
                <a:gd name="connsiteX0" fmla="*/ 9574 w 10348"/>
                <a:gd name="connsiteY0" fmla="*/ 329 h 13403"/>
                <a:gd name="connsiteX1" fmla="*/ 8609 w 10348"/>
                <a:gd name="connsiteY1" fmla="*/ 1176 h 13403"/>
                <a:gd name="connsiteX2" fmla="*/ 7957 w 10348"/>
                <a:gd name="connsiteY2" fmla="*/ 1176 h 13403"/>
                <a:gd name="connsiteX3" fmla="*/ 7739 w 10348"/>
                <a:gd name="connsiteY3" fmla="*/ 294 h 13403"/>
                <a:gd name="connsiteX4" fmla="*/ 7522 w 10348"/>
                <a:gd name="connsiteY4" fmla="*/ 0 h 13403"/>
                <a:gd name="connsiteX5" fmla="*/ 6870 w 10348"/>
                <a:gd name="connsiteY5" fmla="*/ 882 h 13403"/>
                <a:gd name="connsiteX6" fmla="*/ 6435 w 10348"/>
                <a:gd name="connsiteY6" fmla="*/ 1471 h 13403"/>
                <a:gd name="connsiteX7" fmla="*/ 5604 w 10348"/>
                <a:gd name="connsiteY7" fmla="*/ 1160 h 13403"/>
                <a:gd name="connsiteX8" fmla="*/ 5131 w 10348"/>
                <a:gd name="connsiteY8" fmla="*/ 1176 h 13403"/>
                <a:gd name="connsiteX9" fmla="*/ 4478 w 10348"/>
                <a:gd name="connsiteY9" fmla="*/ 1176 h 13403"/>
                <a:gd name="connsiteX10" fmla="*/ 3609 w 10348"/>
                <a:gd name="connsiteY10" fmla="*/ 882 h 13403"/>
                <a:gd name="connsiteX11" fmla="*/ 3391 w 10348"/>
                <a:gd name="connsiteY11" fmla="*/ 2353 h 13403"/>
                <a:gd name="connsiteX12" fmla="*/ 2305 w 10348"/>
                <a:gd name="connsiteY12" fmla="*/ 2941 h 13403"/>
                <a:gd name="connsiteX13" fmla="*/ 1870 w 10348"/>
                <a:gd name="connsiteY13" fmla="*/ 3529 h 13403"/>
                <a:gd name="connsiteX14" fmla="*/ 1218 w 10348"/>
                <a:gd name="connsiteY14" fmla="*/ 3235 h 13403"/>
                <a:gd name="connsiteX15" fmla="*/ 574 w 10348"/>
                <a:gd name="connsiteY15" fmla="*/ 2846 h 13403"/>
                <a:gd name="connsiteX16" fmla="*/ 356 w 10348"/>
                <a:gd name="connsiteY16" fmla="*/ 4706 h 13403"/>
                <a:gd name="connsiteX17" fmla="*/ 348 w 10348"/>
                <a:gd name="connsiteY17" fmla="*/ 5882 h 13403"/>
                <a:gd name="connsiteX18" fmla="*/ 0 w 10348"/>
                <a:gd name="connsiteY18" fmla="*/ 7734 h 13403"/>
                <a:gd name="connsiteX19" fmla="*/ 800 w 10348"/>
                <a:gd name="connsiteY19" fmla="*/ 8417 h 13403"/>
                <a:gd name="connsiteX20" fmla="*/ 783 w 10348"/>
                <a:gd name="connsiteY20" fmla="*/ 9706 h 13403"/>
                <a:gd name="connsiteX21" fmla="*/ 472 w 10348"/>
                <a:gd name="connsiteY21" fmla="*/ 10621 h 13403"/>
                <a:gd name="connsiteX22" fmla="*/ 1156 w 10348"/>
                <a:gd name="connsiteY22" fmla="*/ 10204 h 13403"/>
                <a:gd name="connsiteX23" fmla="*/ 2017 w 10348"/>
                <a:gd name="connsiteY23" fmla="*/ 9826 h 13403"/>
                <a:gd name="connsiteX24" fmla="*/ 2816 w 10348"/>
                <a:gd name="connsiteY24" fmla="*/ 9816 h 13403"/>
                <a:gd name="connsiteX25" fmla="*/ 4016 w 10348"/>
                <a:gd name="connsiteY25" fmla="*/ 10843 h 13403"/>
                <a:gd name="connsiteX26" fmla="*/ 5469 w 10348"/>
                <a:gd name="connsiteY26" fmla="*/ 11830 h 13403"/>
                <a:gd name="connsiteX27" fmla="*/ 5478 w 10348"/>
                <a:gd name="connsiteY27" fmla="*/ 12764 h 13403"/>
                <a:gd name="connsiteX28" fmla="*/ 6829 w 10348"/>
                <a:gd name="connsiteY28" fmla="*/ 13402 h 13403"/>
                <a:gd name="connsiteX29" fmla="*/ 7923 w 10348"/>
                <a:gd name="connsiteY29" fmla="*/ 12582 h 13403"/>
                <a:gd name="connsiteX30" fmla="*/ 8561 w 10348"/>
                <a:gd name="connsiteY30" fmla="*/ 11933 h 13403"/>
                <a:gd name="connsiteX31" fmla="*/ 8740 w 10348"/>
                <a:gd name="connsiteY31" fmla="*/ 10758 h 13403"/>
                <a:gd name="connsiteX32" fmla="*/ 9779 w 10348"/>
                <a:gd name="connsiteY32" fmla="*/ 10829 h 13403"/>
                <a:gd name="connsiteX33" fmla="*/ 9872 w 10348"/>
                <a:gd name="connsiteY33" fmla="*/ 9686 h 13403"/>
                <a:gd name="connsiteX34" fmla="*/ 7003 w 10348"/>
                <a:gd name="connsiteY34" fmla="*/ 7157 h 13403"/>
                <a:gd name="connsiteX35" fmla="*/ 6319 w 10348"/>
                <a:gd name="connsiteY35" fmla="*/ 5530 h 13403"/>
                <a:gd name="connsiteX36" fmla="*/ 4789 w 10348"/>
                <a:gd name="connsiteY36" fmla="*/ 5162 h 13403"/>
                <a:gd name="connsiteX37" fmla="*/ 10348 w 10348"/>
                <a:gd name="connsiteY37" fmla="*/ 1765 h 13403"/>
                <a:gd name="connsiteX38" fmla="*/ 9913 w 10348"/>
                <a:gd name="connsiteY38" fmla="*/ 882 h 13403"/>
                <a:gd name="connsiteX39" fmla="*/ 9574 w 10348"/>
                <a:gd name="connsiteY39" fmla="*/ 329 h 13403"/>
                <a:gd name="connsiteX0" fmla="*/ 9574 w 10348"/>
                <a:gd name="connsiteY0" fmla="*/ 329 h 13403"/>
                <a:gd name="connsiteX1" fmla="*/ 8609 w 10348"/>
                <a:gd name="connsiteY1" fmla="*/ 1176 h 13403"/>
                <a:gd name="connsiteX2" fmla="*/ 7957 w 10348"/>
                <a:gd name="connsiteY2" fmla="*/ 1176 h 13403"/>
                <a:gd name="connsiteX3" fmla="*/ 7739 w 10348"/>
                <a:gd name="connsiteY3" fmla="*/ 294 h 13403"/>
                <a:gd name="connsiteX4" fmla="*/ 7522 w 10348"/>
                <a:gd name="connsiteY4" fmla="*/ 0 h 13403"/>
                <a:gd name="connsiteX5" fmla="*/ 6870 w 10348"/>
                <a:gd name="connsiteY5" fmla="*/ 882 h 13403"/>
                <a:gd name="connsiteX6" fmla="*/ 6435 w 10348"/>
                <a:gd name="connsiteY6" fmla="*/ 1471 h 13403"/>
                <a:gd name="connsiteX7" fmla="*/ 5604 w 10348"/>
                <a:gd name="connsiteY7" fmla="*/ 1160 h 13403"/>
                <a:gd name="connsiteX8" fmla="*/ 5131 w 10348"/>
                <a:gd name="connsiteY8" fmla="*/ 1176 h 13403"/>
                <a:gd name="connsiteX9" fmla="*/ 4478 w 10348"/>
                <a:gd name="connsiteY9" fmla="*/ 1176 h 13403"/>
                <a:gd name="connsiteX10" fmla="*/ 3609 w 10348"/>
                <a:gd name="connsiteY10" fmla="*/ 882 h 13403"/>
                <a:gd name="connsiteX11" fmla="*/ 3391 w 10348"/>
                <a:gd name="connsiteY11" fmla="*/ 2353 h 13403"/>
                <a:gd name="connsiteX12" fmla="*/ 2305 w 10348"/>
                <a:gd name="connsiteY12" fmla="*/ 2941 h 13403"/>
                <a:gd name="connsiteX13" fmla="*/ 1870 w 10348"/>
                <a:gd name="connsiteY13" fmla="*/ 3529 h 13403"/>
                <a:gd name="connsiteX14" fmla="*/ 1218 w 10348"/>
                <a:gd name="connsiteY14" fmla="*/ 3235 h 13403"/>
                <a:gd name="connsiteX15" fmla="*/ 574 w 10348"/>
                <a:gd name="connsiteY15" fmla="*/ 2846 h 13403"/>
                <a:gd name="connsiteX16" fmla="*/ 356 w 10348"/>
                <a:gd name="connsiteY16" fmla="*/ 4706 h 13403"/>
                <a:gd name="connsiteX17" fmla="*/ 348 w 10348"/>
                <a:gd name="connsiteY17" fmla="*/ 5882 h 13403"/>
                <a:gd name="connsiteX18" fmla="*/ 0 w 10348"/>
                <a:gd name="connsiteY18" fmla="*/ 7734 h 13403"/>
                <a:gd name="connsiteX19" fmla="*/ 800 w 10348"/>
                <a:gd name="connsiteY19" fmla="*/ 8417 h 13403"/>
                <a:gd name="connsiteX20" fmla="*/ 783 w 10348"/>
                <a:gd name="connsiteY20" fmla="*/ 9706 h 13403"/>
                <a:gd name="connsiteX21" fmla="*/ 472 w 10348"/>
                <a:gd name="connsiteY21" fmla="*/ 10621 h 13403"/>
                <a:gd name="connsiteX22" fmla="*/ 1156 w 10348"/>
                <a:gd name="connsiteY22" fmla="*/ 10204 h 13403"/>
                <a:gd name="connsiteX23" fmla="*/ 2017 w 10348"/>
                <a:gd name="connsiteY23" fmla="*/ 9826 h 13403"/>
                <a:gd name="connsiteX24" fmla="*/ 2816 w 10348"/>
                <a:gd name="connsiteY24" fmla="*/ 9816 h 13403"/>
                <a:gd name="connsiteX25" fmla="*/ 4016 w 10348"/>
                <a:gd name="connsiteY25" fmla="*/ 10843 h 13403"/>
                <a:gd name="connsiteX26" fmla="*/ 5469 w 10348"/>
                <a:gd name="connsiteY26" fmla="*/ 11830 h 13403"/>
                <a:gd name="connsiteX27" fmla="*/ 5478 w 10348"/>
                <a:gd name="connsiteY27" fmla="*/ 12764 h 13403"/>
                <a:gd name="connsiteX28" fmla="*/ 6829 w 10348"/>
                <a:gd name="connsiteY28" fmla="*/ 13402 h 13403"/>
                <a:gd name="connsiteX29" fmla="*/ 7923 w 10348"/>
                <a:gd name="connsiteY29" fmla="*/ 12582 h 13403"/>
                <a:gd name="connsiteX30" fmla="*/ 8561 w 10348"/>
                <a:gd name="connsiteY30" fmla="*/ 11933 h 13403"/>
                <a:gd name="connsiteX31" fmla="*/ 8740 w 10348"/>
                <a:gd name="connsiteY31" fmla="*/ 10758 h 13403"/>
                <a:gd name="connsiteX32" fmla="*/ 9779 w 10348"/>
                <a:gd name="connsiteY32" fmla="*/ 10829 h 13403"/>
                <a:gd name="connsiteX33" fmla="*/ 9872 w 10348"/>
                <a:gd name="connsiteY33" fmla="*/ 9686 h 13403"/>
                <a:gd name="connsiteX34" fmla="*/ 7003 w 10348"/>
                <a:gd name="connsiteY34" fmla="*/ 7157 h 13403"/>
                <a:gd name="connsiteX35" fmla="*/ 6319 w 10348"/>
                <a:gd name="connsiteY35" fmla="*/ 5530 h 13403"/>
                <a:gd name="connsiteX36" fmla="*/ 4789 w 10348"/>
                <a:gd name="connsiteY36" fmla="*/ 5162 h 13403"/>
                <a:gd name="connsiteX37" fmla="*/ 10348 w 10348"/>
                <a:gd name="connsiteY37" fmla="*/ 1765 h 13403"/>
                <a:gd name="connsiteX38" fmla="*/ 9913 w 10348"/>
                <a:gd name="connsiteY38" fmla="*/ 882 h 13403"/>
                <a:gd name="connsiteX39" fmla="*/ 9574 w 10348"/>
                <a:gd name="connsiteY39" fmla="*/ 329 h 13403"/>
                <a:gd name="connsiteX0" fmla="*/ 9574 w 10348"/>
                <a:gd name="connsiteY0" fmla="*/ 329 h 13403"/>
                <a:gd name="connsiteX1" fmla="*/ 8609 w 10348"/>
                <a:gd name="connsiteY1" fmla="*/ 1176 h 13403"/>
                <a:gd name="connsiteX2" fmla="*/ 7957 w 10348"/>
                <a:gd name="connsiteY2" fmla="*/ 1176 h 13403"/>
                <a:gd name="connsiteX3" fmla="*/ 7739 w 10348"/>
                <a:gd name="connsiteY3" fmla="*/ 294 h 13403"/>
                <a:gd name="connsiteX4" fmla="*/ 7522 w 10348"/>
                <a:gd name="connsiteY4" fmla="*/ 0 h 13403"/>
                <a:gd name="connsiteX5" fmla="*/ 6870 w 10348"/>
                <a:gd name="connsiteY5" fmla="*/ 882 h 13403"/>
                <a:gd name="connsiteX6" fmla="*/ 6435 w 10348"/>
                <a:gd name="connsiteY6" fmla="*/ 1471 h 13403"/>
                <a:gd name="connsiteX7" fmla="*/ 5604 w 10348"/>
                <a:gd name="connsiteY7" fmla="*/ 1160 h 13403"/>
                <a:gd name="connsiteX8" fmla="*/ 5131 w 10348"/>
                <a:gd name="connsiteY8" fmla="*/ 1176 h 13403"/>
                <a:gd name="connsiteX9" fmla="*/ 4478 w 10348"/>
                <a:gd name="connsiteY9" fmla="*/ 1176 h 13403"/>
                <a:gd name="connsiteX10" fmla="*/ 3609 w 10348"/>
                <a:gd name="connsiteY10" fmla="*/ 882 h 13403"/>
                <a:gd name="connsiteX11" fmla="*/ 3391 w 10348"/>
                <a:gd name="connsiteY11" fmla="*/ 2353 h 13403"/>
                <a:gd name="connsiteX12" fmla="*/ 2305 w 10348"/>
                <a:gd name="connsiteY12" fmla="*/ 2941 h 13403"/>
                <a:gd name="connsiteX13" fmla="*/ 1870 w 10348"/>
                <a:gd name="connsiteY13" fmla="*/ 3529 h 13403"/>
                <a:gd name="connsiteX14" fmla="*/ 1218 w 10348"/>
                <a:gd name="connsiteY14" fmla="*/ 3235 h 13403"/>
                <a:gd name="connsiteX15" fmla="*/ 574 w 10348"/>
                <a:gd name="connsiteY15" fmla="*/ 2846 h 13403"/>
                <a:gd name="connsiteX16" fmla="*/ 356 w 10348"/>
                <a:gd name="connsiteY16" fmla="*/ 4706 h 13403"/>
                <a:gd name="connsiteX17" fmla="*/ 348 w 10348"/>
                <a:gd name="connsiteY17" fmla="*/ 5882 h 13403"/>
                <a:gd name="connsiteX18" fmla="*/ 0 w 10348"/>
                <a:gd name="connsiteY18" fmla="*/ 7734 h 13403"/>
                <a:gd name="connsiteX19" fmla="*/ 800 w 10348"/>
                <a:gd name="connsiteY19" fmla="*/ 8417 h 13403"/>
                <a:gd name="connsiteX20" fmla="*/ 783 w 10348"/>
                <a:gd name="connsiteY20" fmla="*/ 9706 h 13403"/>
                <a:gd name="connsiteX21" fmla="*/ 472 w 10348"/>
                <a:gd name="connsiteY21" fmla="*/ 10621 h 13403"/>
                <a:gd name="connsiteX22" fmla="*/ 1156 w 10348"/>
                <a:gd name="connsiteY22" fmla="*/ 10204 h 13403"/>
                <a:gd name="connsiteX23" fmla="*/ 2017 w 10348"/>
                <a:gd name="connsiteY23" fmla="*/ 9826 h 13403"/>
                <a:gd name="connsiteX24" fmla="*/ 2816 w 10348"/>
                <a:gd name="connsiteY24" fmla="*/ 9816 h 13403"/>
                <a:gd name="connsiteX25" fmla="*/ 4016 w 10348"/>
                <a:gd name="connsiteY25" fmla="*/ 10843 h 13403"/>
                <a:gd name="connsiteX26" fmla="*/ 5469 w 10348"/>
                <a:gd name="connsiteY26" fmla="*/ 11830 h 13403"/>
                <a:gd name="connsiteX27" fmla="*/ 5478 w 10348"/>
                <a:gd name="connsiteY27" fmla="*/ 12764 h 13403"/>
                <a:gd name="connsiteX28" fmla="*/ 6829 w 10348"/>
                <a:gd name="connsiteY28" fmla="*/ 13402 h 13403"/>
                <a:gd name="connsiteX29" fmla="*/ 7923 w 10348"/>
                <a:gd name="connsiteY29" fmla="*/ 12582 h 13403"/>
                <a:gd name="connsiteX30" fmla="*/ 8561 w 10348"/>
                <a:gd name="connsiteY30" fmla="*/ 11933 h 13403"/>
                <a:gd name="connsiteX31" fmla="*/ 8740 w 10348"/>
                <a:gd name="connsiteY31" fmla="*/ 10758 h 13403"/>
                <a:gd name="connsiteX32" fmla="*/ 9779 w 10348"/>
                <a:gd name="connsiteY32" fmla="*/ 10829 h 13403"/>
                <a:gd name="connsiteX33" fmla="*/ 9872 w 10348"/>
                <a:gd name="connsiteY33" fmla="*/ 9686 h 13403"/>
                <a:gd name="connsiteX34" fmla="*/ 7003 w 10348"/>
                <a:gd name="connsiteY34" fmla="*/ 7157 h 13403"/>
                <a:gd name="connsiteX35" fmla="*/ 6319 w 10348"/>
                <a:gd name="connsiteY35" fmla="*/ 5530 h 13403"/>
                <a:gd name="connsiteX36" fmla="*/ 4789 w 10348"/>
                <a:gd name="connsiteY36" fmla="*/ 5162 h 13403"/>
                <a:gd name="connsiteX37" fmla="*/ 10348 w 10348"/>
                <a:gd name="connsiteY37" fmla="*/ 1765 h 13403"/>
                <a:gd name="connsiteX38" fmla="*/ 9913 w 10348"/>
                <a:gd name="connsiteY38" fmla="*/ 882 h 13403"/>
                <a:gd name="connsiteX39" fmla="*/ 9574 w 10348"/>
                <a:gd name="connsiteY39" fmla="*/ 329 h 13403"/>
                <a:gd name="connsiteX0" fmla="*/ 9574 w 9913"/>
                <a:gd name="connsiteY0" fmla="*/ 329 h 13403"/>
                <a:gd name="connsiteX1" fmla="*/ 8609 w 9913"/>
                <a:gd name="connsiteY1" fmla="*/ 1176 h 13403"/>
                <a:gd name="connsiteX2" fmla="*/ 7957 w 9913"/>
                <a:gd name="connsiteY2" fmla="*/ 1176 h 13403"/>
                <a:gd name="connsiteX3" fmla="*/ 7739 w 9913"/>
                <a:gd name="connsiteY3" fmla="*/ 294 h 13403"/>
                <a:gd name="connsiteX4" fmla="*/ 7522 w 9913"/>
                <a:gd name="connsiteY4" fmla="*/ 0 h 13403"/>
                <a:gd name="connsiteX5" fmla="*/ 6870 w 9913"/>
                <a:gd name="connsiteY5" fmla="*/ 882 h 13403"/>
                <a:gd name="connsiteX6" fmla="*/ 6435 w 9913"/>
                <a:gd name="connsiteY6" fmla="*/ 1471 h 13403"/>
                <a:gd name="connsiteX7" fmla="*/ 5604 w 9913"/>
                <a:gd name="connsiteY7" fmla="*/ 1160 h 13403"/>
                <a:gd name="connsiteX8" fmla="*/ 5131 w 9913"/>
                <a:gd name="connsiteY8" fmla="*/ 1176 h 13403"/>
                <a:gd name="connsiteX9" fmla="*/ 4478 w 9913"/>
                <a:gd name="connsiteY9" fmla="*/ 1176 h 13403"/>
                <a:gd name="connsiteX10" fmla="*/ 3609 w 9913"/>
                <a:gd name="connsiteY10" fmla="*/ 882 h 13403"/>
                <a:gd name="connsiteX11" fmla="*/ 3391 w 9913"/>
                <a:gd name="connsiteY11" fmla="*/ 2353 h 13403"/>
                <a:gd name="connsiteX12" fmla="*/ 2305 w 9913"/>
                <a:gd name="connsiteY12" fmla="*/ 2941 h 13403"/>
                <a:gd name="connsiteX13" fmla="*/ 1870 w 9913"/>
                <a:gd name="connsiteY13" fmla="*/ 3529 h 13403"/>
                <a:gd name="connsiteX14" fmla="*/ 1218 w 9913"/>
                <a:gd name="connsiteY14" fmla="*/ 3235 h 13403"/>
                <a:gd name="connsiteX15" fmla="*/ 574 w 9913"/>
                <a:gd name="connsiteY15" fmla="*/ 2846 h 13403"/>
                <a:gd name="connsiteX16" fmla="*/ 356 w 9913"/>
                <a:gd name="connsiteY16" fmla="*/ 4706 h 13403"/>
                <a:gd name="connsiteX17" fmla="*/ 348 w 9913"/>
                <a:gd name="connsiteY17" fmla="*/ 5882 h 13403"/>
                <a:gd name="connsiteX18" fmla="*/ 0 w 9913"/>
                <a:gd name="connsiteY18" fmla="*/ 7734 h 13403"/>
                <a:gd name="connsiteX19" fmla="*/ 800 w 9913"/>
                <a:gd name="connsiteY19" fmla="*/ 8417 h 13403"/>
                <a:gd name="connsiteX20" fmla="*/ 783 w 9913"/>
                <a:gd name="connsiteY20" fmla="*/ 9706 h 13403"/>
                <a:gd name="connsiteX21" fmla="*/ 472 w 9913"/>
                <a:gd name="connsiteY21" fmla="*/ 10621 h 13403"/>
                <a:gd name="connsiteX22" fmla="*/ 1156 w 9913"/>
                <a:gd name="connsiteY22" fmla="*/ 10204 h 13403"/>
                <a:gd name="connsiteX23" fmla="*/ 2017 w 9913"/>
                <a:gd name="connsiteY23" fmla="*/ 9826 h 13403"/>
                <a:gd name="connsiteX24" fmla="*/ 2816 w 9913"/>
                <a:gd name="connsiteY24" fmla="*/ 9816 h 13403"/>
                <a:gd name="connsiteX25" fmla="*/ 4016 w 9913"/>
                <a:gd name="connsiteY25" fmla="*/ 10843 h 13403"/>
                <a:gd name="connsiteX26" fmla="*/ 5469 w 9913"/>
                <a:gd name="connsiteY26" fmla="*/ 11830 h 13403"/>
                <a:gd name="connsiteX27" fmla="*/ 5478 w 9913"/>
                <a:gd name="connsiteY27" fmla="*/ 12764 h 13403"/>
                <a:gd name="connsiteX28" fmla="*/ 6829 w 9913"/>
                <a:gd name="connsiteY28" fmla="*/ 13402 h 13403"/>
                <a:gd name="connsiteX29" fmla="*/ 7923 w 9913"/>
                <a:gd name="connsiteY29" fmla="*/ 12582 h 13403"/>
                <a:gd name="connsiteX30" fmla="*/ 8561 w 9913"/>
                <a:gd name="connsiteY30" fmla="*/ 11933 h 13403"/>
                <a:gd name="connsiteX31" fmla="*/ 8740 w 9913"/>
                <a:gd name="connsiteY31" fmla="*/ 10758 h 13403"/>
                <a:gd name="connsiteX32" fmla="*/ 9779 w 9913"/>
                <a:gd name="connsiteY32" fmla="*/ 10829 h 13403"/>
                <a:gd name="connsiteX33" fmla="*/ 9872 w 9913"/>
                <a:gd name="connsiteY33" fmla="*/ 9686 h 13403"/>
                <a:gd name="connsiteX34" fmla="*/ 7003 w 9913"/>
                <a:gd name="connsiteY34" fmla="*/ 7157 h 13403"/>
                <a:gd name="connsiteX35" fmla="*/ 6319 w 9913"/>
                <a:gd name="connsiteY35" fmla="*/ 5530 h 13403"/>
                <a:gd name="connsiteX36" fmla="*/ 4789 w 9913"/>
                <a:gd name="connsiteY36" fmla="*/ 5162 h 13403"/>
                <a:gd name="connsiteX37" fmla="*/ 4153 w 9913"/>
                <a:gd name="connsiteY37" fmla="*/ 3607 h 13403"/>
                <a:gd name="connsiteX38" fmla="*/ 9913 w 9913"/>
                <a:gd name="connsiteY38" fmla="*/ 882 h 13403"/>
                <a:gd name="connsiteX39" fmla="*/ 9574 w 9913"/>
                <a:gd name="connsiteY39" fmla="*/ 329 h 13403"/>
                <a:gd name="connsiteX0" fmla="*/ 9658 w 10000"/>
                <a:gd name="connsiteY0" fmla="*/ 245 h 10000"/>
                <a:gd name="connsiteX1" fmla="*/ 8685 w 10000"/>
                <a:gd name="connsiteY1" fmla="*/ 877 h 10000"/>
                <a:gd name="connsiteX2" fmla="*/ 8027 w 10000"/>
                <a:gd name="connsiteY2" fmla="*/ 877 h 10000"/>
                <a:gd name="connsiteX3" fmla="*/ 7807 w 10000"/>
                <a:gd name="connsiteY3" fmla="*/ 219 h 10000"/>
                <a:gd name="connsiteX4" fmla="*/ 7588 w 10000"/>
                <a:gd name="connsiteY4" fmla="*/ 0 h 10000"/>
                <a:gd name="connsiteX5" fmla="*/ 6930 w 10000"/>
                <a:gd name="connsiteY5" fmla="*/ 658 h 10000"/>
                <a:gd name="connsiteX6" fmla="*/ 6491 w 10000"/>
                <a:gd name="connsiteY6" fmla="*/ 1098 h 10000"/>
                <a:gd name="connsiteX7" fmla="*/ 5653 w 10000"/>
                <a:gd name="connsiteY7" fmla="*/ 865 h 10000"/>
                <a:gd name="connsiteX8" fmla="*/ 5176 w 10000"/>
                <a:gd name="connsiteY8" fmla="*/ 877 h 10000"/>
                <a:gd name="connsiteX9" fmla="*/ 4517 w 10000"/>
                <a:gd name="connsiteY9" fmla="*/ 877 h 10000"/>
                <a:gd name="connsiteX10" fmla="*/ 3641 w 10000"/>
                <a:gd name="connsiteY10" fmla="*/ 658 h 10000"/>
                <a:gd name="connsiteX11" fmla="*/ 3421 w 10000"/>
                <a:gd name="connsiteY11" fmla="*/ 1756 h 10000"/>
                <a:gd name="connsiteX12" fmla="*/ 2325 w 10000"/>
                <a:gd name="connsiteY12" fmla="*/ 2194 h 10000"/>
                <a:gd name="connsiteX13" fmla="*/ 1886 w 10000"/>
                <a:gd name="connsiteY13" fmla="*/ 2633 h 10000"/>
                <a:gd name="connsiteX14" fmla="*/ 1229 w 10000"/>
                <a:gd name="connsiteY14" fmla="*/ 2414 h 10000"/>
                <a:gd name="connsiteX15" fmla="*/ 579 w 10000"/>
                <a:gd name="connsiteY15" fmla="*/ 2123 h 10000"/>
                <a:gd name="connsiteX16" fmla="*/ 359 w 10000"/>
                <a:gd name="connsiteY16" fmla="*/ 3511 h 10000"/>
                <a:gd name="connsiteX17" fmla="*/ 351 w 10000"/>
                <a:gd name="connsiteY17" fmla="*/ 4389 h 10000"/>
                <a:gd name="connsiteX18" fmla="*/ 0 w 10000"/>
                <a:gd name="connsiteY18" fmla="*/ 5770 h 10000"/>
                <a:gd name="connsiteX19" fmla="*/ 807 w 10000"/>
                <a:gd name="connsiteY19" fmla="*/ 6280 h 10000"/>
                <a:gd name="connsiteX20" fmla="*/ 790 w 10000"/>
                <a:gd name="connsiteY20" fmla="*/ 7242 h 10000"/>
                <a:gd name="connsiteX21" fmla="*/ 476 w 10000"/>
                <a:gd name="connsiteY21" fmla="*/ 7924 h 10000"/>
                <a:gd name="connsiteX22" fmla="*/ 1166 w 10000"/>
                <a:gd name="connsiteY22" fmla="*/ 7613 h 10000"/>
                <a:gd name="connsiteX23" fmla="*/ 2035 w 10000"/>
                <a:gd name="connsiteY23" fmla="*/ 7331 h 10000"/>
                <a:gd name="connsiteX24" fmla="*/ 2841 w 10000"/>
                <a:gd name="connsiteY24" fmla="*/ 7324 h 10000"/>
                <a:gd name="connsiteX25" fmla="*/ 4051 w 10000"/>
                <a:gd name="connsiteY25" fmla="*/ 8090 h 10000"/>
                <a:gd name="connsiteX26" fmla="*/ 5517 w 10000"/>
                <a:gd name="connsiteY26" fmla="*/ 8826 h 10000"/>
                <a:gd name="connsiteX27" fmla="*/ 5526 w 10000"/>
                <a:gd name="connsiteY27" fmla="*/ 9523 h 10000"/>
                <a:gd name="connsiteX28" fmla="*/ 6889 w 10000"/>
                <a:gd name="connsiteY28" fmla="*/ 9999 h 10000"/>
                <a:gd name="connsiteX29" fmla="*/ 7993 w 10000"/>
                <a:gd name="connsiteY29" fmla="*/ 9387 h 10000"/>
                <a:gd name="connsiteX30" fmla="*/ 8636 w 10000"/>
                <a:gd name="connsiteY30" fmla="*/ 8903 h 10000"/>
                <a:gd name="connsiteX31" fmla="*/ 8817 w 10000"/>
                <a:gd name="connsiteY31" fmla="*/ 8027 h 10000"/>
                <a:gd name="connsiteX32" fmla="*/ 9865 w 10000"/>
                <a:gd name="connsiteY32" fmla="*/ 8080 h 10000"/>
                <a:gd name="connsiteX33" fmla="*/ 9959 w 10000"/>
                <a:gd name="connsiteY33" fmla="*/ 7227 h 10000"/>
                <a:gd name="connsiteX34" fmla="*/ 7064 w 10000"/>
                <a:gd name="connsiteY34" fmla="*/ 5340 h 10000"/>
                <a:gd name="connsiteX35" fmla="*/ 6374 w 10000"/>
                <a:gd name="connsiteY35" fmla="*/ 4126 h 10000"/>
                <a:gd name="connsiteX36" fmla="*/ 4831 w 10000"/>
                <a:gd name="connsiteY36" fmla="*/ 3851 h 10000"/>
                <a:gd name="connsiteX37" fmla="*/ 4189 w 10000"/>
                <a:gd name="connsiteY37" fmla="*/ 2691 h 10000"/>
                <a:gd name="connsiteX38" fmla="*/ 10000 w 10000"/>
                <a:gd name="connsiteY38" fmla="*/ 658 h 10000"/>
                <a:gd name="connsiteX39" fmla="*/ 9658 w 10000"/>
                <a:gd name="connsiteY39" fmla="*/ 245 h 10000"/>
                <a:gd name="connsiteX0" fmla="*/ 9658 w 10000"/>
                <a:gd name="connsiteY0" fmla="*/ 245 h 10000"/>
                <a:gd name="connsiteX1" fmla="*/ 8685 w 10000"/>
                <a:gd name="connsiteY1" fmla="*/ 877 h 10000"/>
                <a:gd name="connsiteX2" fmla="*/ 8027 w 10000"/>
                <a:gd name="connsiteY2" fmla="*/ 877 h 10000"/>
                <a:gd name="connsiteX3" fmla="*/ 7807 w 10000"/>
                <a:gd name="connsiteY3" fmla="*/ 219 h 10000"/>
                <a:gd name="connsiteX4" fmla="*/ 7588 w 10000"/>
                <a:gd name="connsiteY4" fmla="*/ 0 h 10000"/>
                <a:gd name="connsiteX5" fmla="*/ 6930 w 10000"/>
                <a:gd name="connsiteY5" fmla="*/ 658 h 10000"/>
                <a:gd name="connsiteX6" fmla="*/ 6491 w 10000"/>
                <a:gd name="connsiteY6" fmla="*/ 1098 h 10000"/>
                <a:gd name="connsiteX7" fmla="*/ 5653 w 10000"/>
                <a:gd name="connsiteY7" fmla="*/ 865 h 10000"/>
                <a:gd name="connsiteX8" fmla="*/ 5176 w 10000"/>
                <a:gd name="connsiteY8" fmla="*/ 877 h 10000"/>
                <a:gd name="connsiteX9" fmla="*/ 4517 w 10000"/>
                <a:gd name="connsiteY9" fmla="*/ 877 h 10000"/>
                <a:gd name="connsiteX10" fmla="*/ 3641 w 10000"/>
                <a:gd name="connsiteY10" fmla="*/ 658 h 10000"/>
                <a:gd name="connsiteX11" fmla="*/ 2325 w 10000"/>
                <a:gd name="connsiteY11" fmla="*/ 2194 h 10000"/>
                <a:gd name="connsiteX12" fmla="*/ 1886 w 10000"/>
                <a:gd name="connsiteY12" fmla="*/ 2633 h 10000"/>
                <a:gd name="connsiteX13" fmla="*/ 1229 w 10000"/>
                <a:gd name="connsiteY13" fmla="*/ 2414 h 10000"/>
                <a:gd name="connsiteX14" fmla="*/ 579 w 10000"/>
                <a:gd name="connsiteY14" fmla="*/ 2123 h 10000"/>
                <a:gd name="connsiteX15" fmla="*/ 359 w 10000"/>
                <a:gd name="connsiteY15" fmla="*/ 3511 h 10000"/>
                <a:gd name="connsiteX16" fmla="*/ 351 w 10000"/>
                <a:gd name="connsiteY16" fmla="*/ 4389 h 10000"/>
                <a:gd name="connsiteX17" fmla="*/ 0 w 10000"/>
                <a:gd name="connsiteY17" fmla="*/ 5770 h 10000"/>
                <a:gd name="connsiteX18" fmla="*/ 807 w 10000"/>
                <a:gd name="connsiteY18" fmla="*/ 6280 h 10000"/>
                <a:gd name="connsiteX19" fmla="*/ 790 w 10000"/>
                <a:gd name="connsiteY19" fmla="*/ 7242 h 10000"/>
                <a:gd name="connsiteX20" fmla="*/ 476 w 10000"/>
                <a:gd name="connsiteY20" fmla="*/ 7924 h 10000"/>
                <a:gd name="connsiteX21" fmla="*/ 1166 w 10000"/>
                <a:gd name="connsiteY21" fmla="*/ 7613 h 10000"/>
                <a:gd name="connsiteX22" fmla="*/ 2035 w 10000"/>
                <a:gd name="connsiteY22" fmla="*/ 7331 h 10000"/>
                <a:gd name="connsiteX23" fmla="*/ 2841 w 10000"/>
                <a:gd name="connsiteY23" fmla="*/ 7324 h 10000"/>
                <a:gd name="connsiteX24" fmla="*/ 4051 w 10000"/>
                <a:gd name="connsiteY24" fmla="*/ 8090 h 10000"/>
                <a:gd name="connsiteX25" fmla="*/ 5517 w 10000"/>
                <a:gd name="connsiteY25" fmla="*/ 8826 h 10000"/>
                <a:gd name="connsiteX26" fmla="*/ 5526 w 10000"/>
                <a:gd name="connsiteY26" fmla="*/ 9523 h 10000"/>
                <a:gd name="connsiteX27" fmla="*/ 6889 w 10000"/>
                <a:gd name="connsiteY27" fmla="*/ 9999 h 10000"/>
                <a:gd name="connsiteX28" fmla="*/ 7993 w 10000"/>
                <a:gd name="connsiteY28" fmla="*/ 9387 h 10000"/>
                <a:gd name="connsiteX29" fmla="*/ 8636 w 10000"/>
                <a:gd name="connsiteY29" fmla="*/ 8903 h 10000"/>
                <a:gd name="connsiteX30" fmla="*/ 8817 w 10000"/>
                <a:gd name="connsiteY30" fmla="*/ 8027 h 10000"/>
                <a:gd name="connsiteX31" fmla="*/ 9865 w 10000"/>
                <a:gd name="connsiteY31" fmla="*/ 8080 h 10000"/>
                <a:gd name="connsiteX32" fmla="*/ 9959 w 10000"/>
                <a:gd name="connsiteY32" fmla="*/ 7227 h 10000"/>
                <a:gd name="connsiteX33" fmla="*/ 7064 w 10000"/>
                <a:gd name="connsiteY33" fmla="*/ 5340 h 10000"/>
                <a:gd name="connsiteX34" fmla="*/ 6374 w 10000"/>
                <a:gd name="connsiteY34" fmla="*/ 4126 h 10000"/>
                <a:gd name="connsiteX35" fmla="*/ 4831 w 10000"/>
                <a:gd name="connsiteY35" fmla="*/ 3851 h 10000"/>
                <a:gd name="connsiteX36" fmla="*/ 4189 w 10000"/>
                <a:gd name="connsiteY36" fmla="*/ 2691 h 10000"/>
                <a:gd name="connsiteX37" fmla="*/ 10000 w 10000"/>
                <a:gd name="connsiteY37" fmla="*/ 658 h 10000"/>
                <a:gd name="connsiteX38" fmla="*/ 9658 w 10000"/>
                <a:gd name="connsiteY38" fmla="*/ 245 h 10000"/>
                <a:gd name="connsiteX0" fmla="*/ 9658 w 10000"/>
                <a:gd name="connsiteY0" fmla="*/ 245 h 10000"/>
                <a:gd name="connsiteX1" fmla="*/ 8685 w 10000"/>
                <a:gd name="connsiteY1" fmla="*/ 877 h 10000"/>
                <a:gd name="connsiteX2" fmla="*/ 8027 w 10000"/>
                <a:gd name="connsiteY2" fmla="*/ 877 h 10000"/>
                <a:gd name="connsiteX3" fmla="*/ 7807 w 10000"/>
                <a:gd name="connsiteY3" fmla="*/ 219 h 10000"/>
                <a:gd name="connsiteX4" fmla="*/ 7588 w 10000"/>
                <a:gd name="connsiteY4" fmla="*/ 0 h 10000"/>
                <a:gd name="connsiteX5" fmla="*/ 6930 w 10000"/>
                <a:gd name="connsiteY5" fmla="*/ 658 h 10000"/>
                <a:gd name="connsiteX6" fmla="*/ 6491 w 10000"/>
                <a:gd name="connsiteY6" fmla="*/ 1098 h 10000"/>
                <a:gd name="connsiteX7" fmla="*/ 5653 w 10000"/>
                <a:gd name="connsiteY7" fmla="*/ 865 h 10000"/>
                <a:gd name="connsiteX8" fmla="*/ 5176 w 10000"/>
                <a:gd name="connsiteY8" fmla="*/ 877 h 10000"/>
                <a:gd name="connsiteX9" fmla="*/ 4517 w 10000"/>
                <a:gd name="connsiteY9" fmla="*/ 877 h 10000"/>
                <a:gd name="connsiteX10" fmla="*/ 2325 w 10000"/>
                <a:gd name="connsiteY10" fmla="*/ 2194 h 10000"/>
                <a:gd name="connsiteX11" fmla="*/ 1886 w 10000"/>
                <a:gd name="connsiteY11" fmla="*/ 2633 h 10000"/>
                <a:gd name="connsiteX12" fmla="*/ 1229 w 10000"/>
                <a:gd name="connsiteY12" fmla="*/ 2414 h 10000"/>
                <a:gd name="connsiteX13" fmla="*/ 579 w 10000"/>
                <a:gd name="connsiteY13" fmla="*/ 2123 h 10000"/>
                <a:gd name="connsiteX14" fmla="*/ 359 w 10000"/>
                <a:gd name="connsiteY14" fmla="*/ 3511 h 10000"/>
                <a:gd name="connsiteX15" fmla="*/ 351 w 10000"/>
                <a:gd name="connsiteY15" fmla="*/ 4389 h 10000"/>
                <a:gd name="connsiteX16" fmla="*/ 0 w 10000"/>
                <a:gd name="connsiteY16" fmla="*/ 5770 h 10000"/>
                <a:gd name="connsiteX17" fmla="*/ 807 w 10000"/>
                <a:gd name="connsiteY17" fmla="*/ 6280 h 10000"/>
                <a:gd name="connsiteX18" fmla="*/ 790 w 10000"/>
                <a:gd name="connsiteY18" fmla="*/ 7242 h 10000"/>
                <a:gd name="connsiteX19" fmla="*/ 476 w 10000"/>
                <a:gd name="connsiteY19" fmla="*/ 7924 h 10000"/>
                <a:gd name="connsiteX20" fmla="*/ 1166 w 10000"/>
                <a:gd name="connsiteY20" fmla="*/ 7613 h 10000"/>
                <a:gd name="connsiteX21" fmla="*/ 2035 w 10000"/>
                <a:gd name="connsiteY21" fmla="*/ 7331 h 10000"/>
                <a:gd name="connsiteX22" fmla="*/ 2841 w 10000"/>
                <a:gd name="connsiteY22" fmla="*/ 7324 h 10000"/>
                <a:gd name="connsiteX23" fmla="*/ 4051 w 10000"/>
                <a:gd name="connsiteY23" fmla="*/ 8090 h 10000"/>
                <a:gd name="connsiteX24" fmla="*/ 5517 w 10000"/>
                <a:gd name="connsiteY24" fmla="*/ 8826 h 10000"/>
                <a:gd name="connsiteX25" fmla="*/ 5526 w 10000"/>
                <a:gd name="connsiteY25" fmla="*/ 9523 h 10000"/>
                <a:gd name="connsiteX26" fmla="*/ 6889 w 10000"/>
                <a:gd name="connsiteY26" fmla="*/ 9999 h 10000"/>
                <a:gd name="connsiteX27" fmla="*/ 7993 w 10000"/>
                <a:gd name="connsiteY27" fmla="*/ 9387 h 10000"/>
                <a:gd name="connsiteX28" fmla="*/ 8636 w 10000"/>
                <a:gd name="connsiteY28" fmla="*/ 8903 h 10000"/>
                <a:gd name="connsiteX29" fmla="*/ 8817 w 10000"/>
                <a:gd name="connsiteY29" fmla="*/ 8027 h 10000"/>
                <a:gd name="connsiteX30" fmla="*/ 9865 w 10000"/>
                <a:gd name="connsiteY30" fmla="*/ 8080 h 10000"/>
                <a:gd name="connsiteX31" fmla="*/ 9959 w 10000"/>
                <a:gd name="connsiteY31" fmla="*/ 7227 h 10000"/>
                <a:gd name="connsiteX32" fmla="*/ 7064 w 10000"/>
                <a:gd name="connsiteY32" fmla="*/ 5340 h 10000"/>
                <a:gd name="connsiteX33" fmla="*/ 6374 w 10000"/>
                <a:gd name="connsiteY33" fmla="*/ 4126 h 10000"/>
                <a:gd name="connsiteX34" fmla="*/ 4831 w 10000"/>
                <a:gd name="connsiteY34" fmla="*/ 3851 h 10000"/>
                <a:gd name="connsiteX35" fmla="*/ 4189 w 10000"/>
                <a:gd name="connsiteY35" fmla="*/ 2691 h 10000"/>
                <a:gd name="connsiteX36" fmla="*/ 10000 w 10000"/>
                <a:gd name="connsiteY36" fmla="*/ 658 h 10000"/>
                <a:gd name="connsiteX37" fmla="*/ 9658 w 10000"/>
                <a:gd name="connsiteY37" fmla="*/ 245 h 10000"/>
                <a:gd name="connsiteX0" fmla="*/ 9658 w 10000"/>
                <a:gd name="connsiteY0" fmla="*/ 245 h 10000"/>
                <a:gd name="connsiteX1" fmla="*/ 8685 w 10000"/>
                <a:gd name="connsiteY1" fmla="*/ 877 h 10000"/>
                <a:gd name="connsiteX2" fmla="*/ 8027 w 10000"/>
                <a:gd name="connsiteY2" fmla="*/ 877 h 10000"/>
                <a:gd name="connsiteX3" fmla="*/ 7807 w 10000"/>
                <a:gd name="connsiteY3" fmla="*/ 219 h 10000"/>
                <a:gd name="connsiteX4" fmla="*/ 7588 w 10000"/>
                <a:gd name="connsiteY4" fmla="*/ 0 h 10000"/>
                <a:gd name="connsiteX5" fmla="*/ 6930 w 10000"/>
                <a:gd name="connsiteY5" fmla="*/ 658 h 10000"/>
                <a:gd name="connsiteX6" fmla="*/ 6491 w 10000"/>
                <a:gd name="connsiteY6" fmla="*/ 1098 h 10000"/>
                <a:gd name="connsiteX7" fmla="*/ 5653 w 10000"/>
                <a:gd name="connsiteY7" fmla="*/ 865 h 10000"/>
                <a:gd name="connsiteX8" fmla="*/ 4517 w 10000"/>
                <a:gd name="connsiteY8" fmla="*/ 877 h 10000"/>
                <a:gd name="connsiteX9" fmla="*/ 2325 w 10000"/>
                <a:gd name="connsiteY9" fmla="*/ 2194 h 10000"/>
                <a:gd name="connsiteX10" fmla="*/ 1886 w 10000"/>
                <a:gd name="connsiteY10" fmla="*/ 2633 h 10000"/>
                <a:gd name="connsiteX11" fmla="*/ 1229 w 10000"/>
                <a:gd name="connsiteY11" fmla="*/ 2414 h 10000"/>
                <a:gd name="connsiteX12" fmla="*/ 579 w 10000"/>
                <a:gd name="connsiteY12" fmla="*/ 2123 h 10000"/>
                <a:gd name="connsiteX13" fmla="*/ 359 w 10000"/>
                <a:gd name="connsiteY13" fmla="*/ 3511 h 10000"/>
                <a:gd name="connsiteX14" fmla="*/ 351 w 10000"/>
                <a:gd name="connsiteY14" fmla="*/ 4389 h 10000"/>
                <a:gd name="connsiteX15" fmla="*/ 0 w 10000"/>
                <a:gd name="connsiteY15" fmla="*/ 5770 h 10000"/>
                <a:gd name="connsiteX16" fmla="*/ 807 w 10000"/>
                <a:gd name="connsiteY16" fmla="*/ 6280 h 10000"/>
                <a:gd name="connsiteX17" fmla="*/ 790 w 10000"/>
                <a:gd name="connsiteY17" fmla="*/ 7242 h 10000"/>
                <a:gd name="connsiteX18" fmla="*/ 476 w 10000"/>
                <a:gd name="connsiteY18" fmla="*/ 7924 h 10000"/>
                <a:gd name="connsiteX19" fmla="*/ 1166 w 10000"/>
                <a:gd name="connsiteY19" fmla="*/ 7613 h 10000"/>
                <a:gd name="connsiteX20" fmla="*/ 2035 w 10000"/>
                <a:gd name="connsiteY20" fmla="*/ 7331 h 10000"/>
                <a:gd name="connsiteX21" fmla="*/ 2841 w 10000"/>
                <a:gd name="connsiteY21" fmla="*/ 7324 h 10000"/>
                <a:gd name="connsiteX22" fmla="*/ 4051 w 10000"/>
                <a:gd name="connsiteY22" fmla="*/ 8090 h 10000"/>
                <a:gd name="connsiteX23" fmla="*/ 5517 w 10000"/>
                <a:gd name="connsiteY23" fmla="*/ 8826 h 10000"/>
                <a:gd name="connsiteX24" fmla="*/ 5526 w 10000"/>
                <a:gd name="connsiteY24" fmla="*/ 9523 h 10000"/>
                <a:gd name="connsiteX25" fmla="*/ 6889 w 10000"/>
                <a:gd name="connsiteY25" fmla="*/ 9999 h 10000"/>
                <a:gd name="connsiteX26" fmla="*/ 7993 w 10000"/>
                <a:gd name="connsiteY26" fmla="*/ 9387 h 10000"/>
                <a:gd name="connsiteX27" fmla="*/ 8636 w 10000"/>
                <a:gd name="connsiteY27" fmla="*/ 8903 h 10000"/>
                <a:gd name="connsiteX28" fmla="*/ 8817 w 10000"/>
                <a:gd name="connsiteY28" fmla="*/ 8027 h 10000"/>
                <a:gd name="connsiteX29" fmla="*/ 9865 w 10000"/>
                <a:gd name="connsiteY29" fmla="*/ 8080 h 10000"/>
                <a:gd name="connsiteX30" fmla="*/ 9959 w 10000"/>
                <a:gd name="connsiteY30" fmla="*/ 7227 h 10000"/>
                <a:gd name="connsiteX31" fmla="*/ 7064 w 10000"/>
                <a:gd name="connsiteY31" fmla="*/ 5340 h 10000"/>
                <a:gd name="connsiteX32" fmla="*/ 6374 w 10000"/>
                <a:gd name="connsiteY32" fmla="*/ 4126 h 10000"/>
                <a:gd name="connsiteX33" fmla="*/ 4831 w 10000"/>
                <a:gd name="connsiteY33" fmla="*/ 3851 h 10000"/>
                <a:gd name="connsiteX34" fmla="*/ 4189 w 10000"/>
                <a:gd name="connsiteY34" fmla="*/ 2691 h 10000"/>
                <a:gd name="connsiteX35" fmla="*/ 10000 w 10000"/>
                <a:gd name="connsiteY35" fmla="*/ 658 h 10000"/>
                <a:gd name="connsiteX36" fmla="*/ 9658 w 10000"/>
                <a:gd name="connsiteY36" fmla="*/ 245 h 10000"/>
                <a:gd name="connsiteX0" fmla="*/ 9658 w 10000"/>
                <a:gd name="connsiteY0" fmla="*/ 245 h 10000"/>
                <a:gd name="connsiteX1" fmla="*/ 8685 w 10000"/>
                <a:gd name="connsiteY1" fmla="*/ 877 h 10000"/>
                <a:gd name="connsiteX2" fmla="*/ 8027 w 10000"/>
                <a:gd name="connsiteY2" fmla="*/ 877 h 10000"/>
                <a:gd name="connsiteX3" fmla="*/ 7807 w 10000"/>
                <a:gd name="connsiteY3" fmla="*/ 219 h 10000"/>
                <a:gd name="connsiteX4" fmla="*/ 7588 w 10000"/>
                <a:gd name="connsiteY4" fmla="*/ 0 h 10000"/>
                <a:gd name="connsiteX5" fmla="*/ 6930 w 10000"/>
                <a:gd name="connsiteY5" fmla="*/ 658 h 10000"/>
                <a:gd name="connsiteX6" fmla="*/ 6491 w 10000"/>
                <a:gd name="connsiteY6" fmla="*/ 1098 h 10000"/>
                <a:gd name="connsiteX7" fmla="*/ 4517 w 10000"/>
                <a:gd name="connsiteY7" fmla="*/ 877 h 10000"/>
                <a:gd name="connsiteX8" fmla="*/ 2325 w 10000"/>
                <a:gd name="connsiteY8" fmla="*/ 2194 h 10000"/>
                <a:gd name="connsiteX9" fmla="*/ 1886 w 10000"/>
                <a:gd name="connsiteY9" fmla="*/ 2633 h 10000"/>
                <a:gd name="connsiteX10" fmla="*/ 1229 w 10000"/>
                <a:gd name="connsiteY10" fmla="*/ 2414 h 10000"/>
                <a:gd name="connsiteX11" fmla="*/ 579 w 10000"/>
                <a:gd name="connsiteY11" fmla="*/ 2123 h 10000"/>
                <a:gd name="connsiteX12" fmla="*/ 359 w 10000"/>
                <a:gd name="connsiteY12" fmla="*/ 3511 h 10000"/>
                <a:gd name="connsiteX13" fmla="*/ 351 w 10000"/>
                <a:gd name="connsiteY13" fmla="*/ 4389 h 10000"/>
                <a:gd name="connsiteX14" fmla="*/ 0 w 10000"/>
                <a:gd name="connsiteY14" fmla="*/ 5770 h 10000"/>
                <a:gd name="connsiteX15" fmla="*/ 807 w 10000"/>
                <a:gd name="connsiteY15" fmla="*/ 6280 h 10000"/>
                <a:gd name="connsiteX16" fmla="*/ 790 w 10000"/>
                <a:gd name="connsiteY16" fmla="*/ 7242 h 10000"/>
                <a:gd name="connsiteX17" fmla="*/ 476 w 10000"/>
                <a:gd name="connsiteY17" fmla="*/ 7924 h 10000"/>
                <a:gd name="connsiteX18" fmla="*/ 1166 w 10000"/>
                <a:gd name="connsiteY18" fmla="*/ 7613 h 10000"/>
                <a:gd name="connsiteX19" fmla="*/ 2035 w 10000"/>
                <a:gd name="connsiteY19" fmla="*/ 7331 h 10000"/>
                <a:gd name="connsiteX20" fmla="*/ 2841 w 10000"/>
                <a:gd name="connsiteY20" fmla="*/ 7324 h 10000"/>
                <a:gd name="connsiteX21" fmla="*/ 4051 w 10000"/>
                <a:gd name="connsiteY21" fmla="*/ 8090 h 10000"/>
                <a:gd name="connsiteX22" fmla="*/ 5517 w 10000"/>
                <a:gd name="connsiteY22" fmla="*/ 8826 h 10000"/>
                <a:gd name="connsiteX23" fmla="*/ 5526 w 10000"/>
                <a:gd name="connsiteY23" fmla="*/ 9523 h 10000"/>
                <a:gd name="connsiteX24" fmla="*/ 6889 w 10000"/>
                <a:gd name="connsiteY24" fmla="*/ 9999 h 10000"/>
                <a:gd name="connsiteX25" fmla="*/ 7993 w 10000"/>
                <a:gd name="connsiteY25" fmla="*/ 9387 h 10000"/>
                <a:gd name="connsiteX26" fmla="*/ 8636 w 10000"/>
                <a:gd name="connsiteY26" fmla="*/ 8903 h 10000"/>
                <a:gd name="connsiteX27" fmla="*/ 8817 w 10000"/>
                <a:gd name="connsiteY27" fmla="*/ 8027 h 10000"/>
                <a:gd name="connsiteX28" fmla="*/ 9865 w 10000"/>
                <a:gd name="connsiteY28" fmla="*/ 8080 h 10000"/>
                <a:gd name="connsiteX29" fmla="*/ 9959 w 10000"/>
                <a:gd name="connsiteY29" fmla="*/ 7227 h 10000"/>
                <a:gd name="connsiteX30" fmla="*/ 7064 w 10000"/>
                <a:gd name="connsiteY30" fmla="*/ 5340 h 10000"/>
                <a:gd name="connsiteX31" fmla="*/ 6374 w 10000"/>
                <a:gd name="connsiteY31" fmla="*/ 4126 h 10000"/>
                <a:gd name="connsiteX32" fmla="*/ 4831 w 10000"/>
                <a:gd name="connsiteY32" fmla="*/ 3851 h 10000"/>
                <a:gd name="connsiteX33" fmla="*/ 4189 w 10000"/>
                <a:gd name="connsiteY33" fmla="*/ 2691 h 10000"/>
                <a:gd name="connsiteX34" fmla="*/ 10000 w 10000"/>
                <a:gd name="connsiteY34" fmla="*/ 658 h 10000"/>
                <a:gd name="connsiteX35" fmla="*/ 9658 w 10000"/>
                <a:gd name="connsiteY35" fmla="*/ 245 h 10000"/>
                <a:gd name="connsiteX0" fmla="*/ 9658 w 10000"/>
                <a:gd name="connsiteY0" fmla="*/ 245 h 10000"/>
                <a:gd name="connsiteX1" fmla="*/ 8685 w 10000"/>
                <a:gd name="connsiteY1" fmla="*/ 877 h 10000"/>
                <a:gd name="connsiteX2" fmla="*/ 8027 w 10000"/>
                <a:gd name="connsiteY2" fmla="*/ 877 h 10000"/>
                <a:gd name="connsiteX3" fmla="*/ 7807 w 10000"/>
                <a:gd name="connsiteY3" fmla="*/ 219 h 10000"/>
                <a:gd name="connsiteX4" fmla="*/ 7588 w 10000"/>
                <a:gd name="connsiteY4" fmla="*/ 0 h 10000"/>
                <a:gd name="connsiteX5" fmla="*/ 6930 w 10000"/>
                <a:gd name="connsiteY5" fmla="*/ 658 h 10000"/>
                <a:gd name="connsiteX6" fmla="*/ 4517 w 10000"/>
                <a:gd name="connsiteY6" fmla="*/ 877 h 10000"/>
                <a:gd name="connsiteX7" fmla="*/ 2325 w 10000"/>
                <a:gd name="connsiteY7" fmla="*/ 2194 h 10000"/>
                <a:gd name="connsiteX8" fmla="*/ 1886 w 10000"/>
                <a:gd name="connsiteY8" fmla="*/ 2633 h 10000"/>
                <a:gd name="connsiteX9" fmla="*/ 1229 w 10000"/>
                <a:gd name="connsiteY9" fmla="*/ 2414 h 10000"/>
                <a:gd name="connsiteX10" fmla="*/ 579 w 10000"/>
                <a:gd name="connsiteY10" fmla="*/ 2123 h 10000"/>
                <a:gd name="connsiteX11" fmla="*/ 359 w 10000"/>
                <a:gd name="connsiteY11" fmla="*/ 3511 h 10000"/>
                <a:gd name="connsiteX12" fmla="*/ 351 w 10000"/>
                <a:gd name="connsiteY12" fmla="*/ 4389 h 10000"/>
                <a:gd name="connsiteX13" fmla="*/ 0 w 10000"/>
                <a:gd name="connsiteY13" fmla="*/ 5770 h 10000"/>
                <a:gd name="connsiteX14" fmla="*/ 807 w 10000"/>
                <a:gd name="connsiteY14" fmla="*/ 6280 h 10000"/>
                <a:gd name="connsiteX15" fmla="*/ 790 w 10000"/>
                <a:gd name="connsiteY15" fmla="*/ 7242 h 10000"/>
                <a:gd name="connsiteX16" fmla="*/ 476 w 10000"/>
                <a:gd name="connsiteY16" fmla="*/ 7924 h 10000"/>
                <a:gd name="connsiteX17" fmla="*/ 1166 w 10000"/>
                <a:gd name="connsiteY17" fmla="*/ 7613 h 10000"/>
                <a:gd name="connsiteX18" fmla="*/ 2035 w 10000"/>
                <a:gd name="connsiteY18" fmla="*/ 7331 h 10000"/>
                <a:gd name="connsiteX19" fmla="*/ 2841 w 10000"/>
                <a:gd name="connsiteY19" fmla="*/ 7324 h 10000"/>
                <a:gd name="connsiteX20" fmla="*/ 4051 w 10000"/>
                <a:gd name="connsiteY20" fmla="*/ 8090 h 10000"/>
                <a:gd name="connsiteX21" fmla="*/ 5517 w 10000"/>
                <a:gd name="connsiteY21" fmla="*/ 8826 h 10000"/>
                <a:gd name="connsiteX22" fmla="*/ 5526 w 10000"/>
                <a:gd name="connsiteY22" fmla="*/ 9523 h 10000"/>
                <a:gd name="connsiteX23" fmla="*/ 6889 w 10000"/>
                <a:gd name="connsiteY23" fmla="*/ 9999 h 10000"/>
                <a:gd name="connsiteX24" fmla="*/ 7993 w 10000"/>
                <a:gd name="connsiteY24" fmla="*/ 9387 h 10000"/>
                <a:gd name="connsiteX25" fmla="*/ 8636 w 10000"/>
                <a:gd name="connsiteY25" fmla="*/ 8903 h 10000"/>
                <a:gd name="connsiteX26" fmla="*/ 8817 w 10000"/>
                <a:gd name="connsiteY26" fmla="*/ 8027 h 10000"/>
                <a:gd name="connsiteX27" fmla="*/ 9865 w 10000"/>
                <a:gd name="connsiteY27" fmla="*/ 8080 h 10000"/>
                <a:gd name="connsiteX28" fmla="*/ 9959 w 10000"/>
                <a:gd name="connsiteY28" fmla="*/ 7227 h 10000"/>
                <a:gd name="connsiteX29" fmla="*/ 7064 w 10000"/>
                <a:gd name="connsiteY29" fmla="*/ 5340 h 10000"/>
                <a:gd name="connsiteX30" fmla="*/ 6374 w 10000"/>
                <a:gd name="connsiteY30" fmla="*/ 4126 h 10000"/>
                <a:gd name="connsiteX31" fmla="*/ 4831 w 10000"/>
                <a:gd name="connsiteY31" fmla="*/ 3851 h 10000"/>
                <a:gd name="connsiteX32" fmla="*/ 4189 w 10000"/>
                <a:gd name="connsiteY32" fmla="*/ 2691 h 10000"/>
                <a:gd name="connsiteX33" fmla="*/ 10000 w 10000"/>
                <a:gd name="connsiteY33" fmla="*/ 658 h 10000"/>
                <a:gd name="connsiteX34" fmla="*/ 9658 w 10000"/>
                <a:gd name="connsiteY34" fmla="*/ 245 h 10000"/>
                <a:gd name="connsiteX0" fmla="*/ 9658 w 10000"/>
                <a:gd name="connsiteY0" fmla="*/ 245 h 10000"/>
                <a:gd name="connsiteX1" fmla="*/ 8685 w 10000"/>
                <a:gd name="connsiteY1" fmla="*/ 877 h 10000"/>
                <a:gd name="connsiteX2" fmla="*/ 8027 w 10000"/>
                <a:gd name="connsiteY2" fmla="*/ 877 h 10000"/>
                <a:gd name="connsiteX3" fmla="*/ 7807 w 10000"/>
                <a:gd name="connsiteY3" fmla="*/ 219 h 10000"/>
                <a:gd name="connsiteX4" fmla="*/ 7588 w 10000"/>
                <a:gd name="connsiteY4" fmla="*/ 0 h 10000"/>
                <a:gd name="connsiteX5" fmla="*/ 4517 w 10000"/>
                <a:gd name="connsiteY5" fmla="*/ 877 h 10000"/>
                <a:gd name="connsiteX6" fmla="*/ 2325 w 10000"/>
                <a:gd name="connsiteY6" fmla="*/ 2194 h 10000"/>
                <a:gd name="connsiteX7" fmla="*/ 1886 w 10000"/>
                <a:gd name="connsiteY7" fmla="*/ 2633 h 10000"/>
                <a:gd name="connsiteX8" fmla="*/ 1229 w 10000"/>
                <a:gd name="connsiteY8" fmla="*/ 2414 h 10000"/>
                <a:gd name="connsiteX9" fmla="*/ 579 w 10000"/>
                <a:gd name="connsiteY9" fmla="*/ 2123 h 10000"/>
                <a:gd name="connsiteX10" fmla="*/ 359 w 10000"/>
                <a:gd name="connsiteY10" fmla="*/ 3511 h 10000"/>
                <a:gd name="connsiteX11" fmla="*/ 351 w 10000"/>
                <a:gd name="connsiteY11" fmla="*/ 4389 h 10000"/>
                <a:gd name="connsiteX12" fmla="*/ 0 w 10000"/>
                <a:gd name="connsiteY12" fmla="*/ 5770 h 10000"/>
                <a:gd name="connsiteX13" fmla="*/ 807 w 10000"/>
                <a:gd name="connsiteY13" fmla="*/ 6280 h 10000"/>
                <a:gd name="connsiteX14" fmla="*/ 790 w 10000"/>
                <a:gd name="connsiteY14" fmla="*/ 7242 h 10000"/>
                <a:gd name="connsiteX15" fmla="*/ 476 w 10000"/>
                <a:gd name="connsiteY15" fmla="*/ 7924 h 10000"/>
                <a:gd name="connsiteX16" fmla="*/ 1166 w 10000"/>
                <a:gd name="connsiteY16" fmla="*/ 7613 h 10000"/>
                <a:gd name="connsiteX17" fmla="*/ 2035 w 10000"/>
                <a:gd name="connsiteY17" fmla="*/ 7331 h 10000"/>
                <a:gd name="connsiteX18" fmla="*/ 2841 w 10000"/>
                <a:gd name="connsiteY18" fmla="*/ 7324 h 10000"/>
                <a:gd name="connsiteX19" fmla="*/ 4051 w 10000"/>
                <a:gd name="connsiteY19" fmla="*/ 8090 h 10000"/>
                <a:gd name="connsiteX20" fmla="*/ 5517 w 10000"/>
                <a:gd name="connsiteY20" fmla="*/ 8826 h 10000"/>
                <a:gd name="connsiteX21" fmla="*/ 5526 w 10000"/>
                <a:gd name="connsiteY21" fmla="*/ 9523 h 10000"/>
                <a:gd name="connsiteX22" fmla="*/ 6889 w 10000"/>
                <a:gd name="connsiteY22" fmla="*/ 9999 h 10000"/>
                <a:gd name="connsiteX23" fmla="*/ 7993 w 10000"/>
                <a:gd name="connsiteY23" fmla="*/ 9387 h 10000"/>
                <a:gd name="connsiteX24" fmla="*/ 8636 w 10000"/>
                <a:gd name="connsiteY24" fmla="*/ 8903 h 10000"/>
                <a:gd name="connsiteX25" fmla="*/ 8817 w 10000"/>
                <a:gd name="connsiteY25" fmla="*/ 8027 h 10000"/>
                <a:gd name="connsiteX26" fmla="*/ 9865 w 10000"/>
                <a:gd name="connsiteY26" fmla="*/ 8080 h 10000"/>
                <a:gd name="connsiteX27" fmla="*/ 9959 w 10000"/>
                <a:gd name="connsiteY27" fmla="*/ 7227 h 10000"/>
                <a:gd name="connsiteX28" fmla="*/ 7064 w 10000"/>
                <a:gd name="connsiteY28" fmla="*/ 5340 h 10000"/>
                <a:gd name="connsiteX29" fmla="*/ 6374 w 10000"/>
                <a:gd name="connsiteY29" fmla="*/ 4126 h 10000"/>
                <a:gd name="connsiteX30" fmla="*/ 4831 w 10000"/>
                <a:gd name="connsiteY30" fmla="*/ 3851 h 10000"/>
                <a:gd name="connsiteX31" fmla="*/ 4189 w 10000"/>
                <a:gd name="connsiteY31" fmla="*/ 2691 h 10000"/>
                <a:gd name="connsiteX32" fmla="*/ 10000 w 10000"/>
                <a:gd name="connsiteY32" fmla="*/ 658 h 10000"/>
                <a:gd name="connsiteX33" fmla="*/ 9658 w 10000"/>
                <a:gd name="connsiteY33" fmla="*/ 245 h 10000"/>
                <a:gd name="connsiteX0" fmla="*/ 9658 w 10000"/>
                <a:gd name="connsiteY0" fmla="*/ 26 h 9781"/>
                <a:gd name="connsiteX1" fmla="*/ 8685 w 10000"/>
                <a:gd name="connsiteY1" fmla="*/ 658 h 9781"/>
                <a:gd name="connsiteX2" fmla="*/ 8027 w 10000"/>
                <a:gd name="connsiteY2" fmla="*/ 658 h 9781"/>
                <a:gd name="connsiteX3" fmla="*/ 7807 w 10000"/>
                <a:gd name="connsiteY3" fmla="*/ 0 h 9781"/>
                <a:gd name="connsiteX4" fmla="*/ 4517 w 10000"/>
                <a:gd name="connsiteY4" fmla="*/ 658 h 9781"/>
                <a:gd name="connsiteX5" fmla="*/ 2325 w 10000"/>
                <a:gd name="connsiteY5" fmla="*/ 1975 h 9781"/>
                <a:gd name="connsiteX6" fmla="*/ 1886 w 10000"/>
                <a:gd name="connsiteY6" fmla="*/ 2414 h 9781"/>
                <a:gd name="connsiteX7" fmla="*/ 1229 w 10000"/>
                <a:gd name="connsiteY7" fmla="*/ 2195 h 9781"/>
                <a:gd name="connsiteX8" fmla="*/ 579 w 10000"/>
                <a:gd name="connsiteY8" fmla="*/ 1904 h 9781"/>
                <a:gd name="connsiteX9" fmla="*/ 359 w 10000"/>
                <a:gd name="connsiteY9" fmla="*/ 3292 h 9781"/>
                <a:gd name="connsiteX10" fmla="*/ 351 w 10000"/>
                <a:gd name="connsiteY10" fmla="*/ 4170 h 9781"/>
                <a:gd name="connsiteX11" fmla="*/ 0 w 10000"/>
                <a:gd name="connsiteY11" fmla="*/ 5551 h 9781"/>
                <a:gd name="connsiteX12" fmla="*/ 807 w 10000"/>
                <a:gd name="connsiteY12" fmla="*/ 6061 h 9781"/>
                <a:gd name="connsiteX13" fmla="*/ 790 w 10000"/>
                <a:gd name="connsiteY13" fmla="*/ 7023 h 9781"/>
                <a:gd name="connsiteX14" fmla="*/ 476 w 10000"/>
                <a:gd name="connsiteY14" fmla="*/ 7705 h 9781"/>
                <a:gd name="connsiteX15" fmla="*/ 1166 w 10000"/>
                <a:gd name="connsiteY15" fmla="*/ 7394 h 9781"/>
                <a:gd name="connsiteX16" fmla="*/ 2035 w 10000"/>
                <a:gd name="connsiteY16" fmla="*/ 7112 h 9781"/>
                <a:gd name="connsiteX17" fmla="*/ 2841 w 10000"/>
                <a:gd name="connsiteY17" fmla="*/ 7105 h 9781"/>
                <a:gd name="connsiteX18" fmla="*/ 4051 w 10000"/>
                <a:gd name="connsiteY18" fmla="*/ 7871 h 9781"/>
                <a:gd name="connsiteX19" fmla="*/ 5517 w 10000"/>
                <a:gd name="connsiteY19" fmla="*/ 8607 h 9781"/>
                <a:gd name="connsiteX20" fmla="*/ 5526 w 10000"/>
                <a:gd name="connsiteY20" fmla="*/ 9304 h 9781"/>
                <a:gd name="connsiteX21" fmla="*/ 6889 w 10000"/>
                <a:gd name="connsiteY21" fmla="*/ 9780 h 9781"/>
                <a:gd name="connsiteX22" fmla="*/ 7993 w 10000"/>
                <a:gd name="connsiteY22" fmla="*/ 9168 h 9781"/>
                <a:gd name="connsiteX23" fmla="*/ 8636 w 10000"/>
                <a:gd name="connsiteY23" fmla="*/ 8684 h 9781"/>
                <a:gd name="connsiteX24" fmla="*/ 8817 w 10000"/>
                <a:gd name="connsiteY24" fmla="*/ 7808 h 9781"/>
                <a:gd name="connsiteX25" fmla="*/ 9865 w 10000"/>
                <a:gd name="connsiteY25" fmla="*/ 7861 h 9781"/>
                <a:gd name="connsiteX26" fmla="*/ 9959 w 10000"/>
                <a:gd name="connsiteY26" fmla="*/ 7008 h 9781"/>
                <a:gd name="connsiteX27" fmla="*/ 7064 w 10000"/>
                <a:gd name="connsiteY27" fmla="*/ 5121 h 9781"/>
                <a:gd name="connsiteX28" fmla="*/ 6374 w 10000"/>
                <a:gd name="connsiteY28" fmla="*/ 3907 h 9781"/>
                <a:gd name="connsiteX29" fmla="*/ 4831 w 10000"/>
                <a:gd name="connsiteY29" fmla="*/ 3632 h 9781"/>
                <a:gd name="connsiteX30" fmla="*/ 4189 w 10000"/>
                <a:gd name="connsiteY30" fmla="*/ 2472 h 9781"/>
                <a:gd name="connsiteX31" fmla="*/ 10000 w 10000"/>
                <a:gd name="connsiteY31" fmla="*/ 439 h 9781"/>
                <a:gd name="connsiteX32" fmla="*/ 9658 w 10000"/>
                <a:gd name="connsiteY32" fmla="*/ 26 h 9781"/>
                <a:gd name="connsiteX0" fmla="*/ 9658 w 10000"/>
                <a:gd name="connsiteY0" fmla="*/ 0 h 9973"/>
                <a:gd name="connsiteX1" fmla="*/ 8685 w 10000"/>
                <a:gd name="connsiteY1" fmla="*/ 646 h 9973"/>
                <a:gd name="connsiteX2" fmla="*/ 8027 w 10000"/>
                <a:gd name="connsiteY2" fmla="*/ 646 h 9973"/>
                <a:gd name="connsiteX3" fmla="*/ 4517 w 10000"/>
                <a:gd name="connsiteY3" fmla="*/ 646 h 9973"/>
                <a:gd name="connsiteX4" fmla="*/ 2325 w 10000"/>
                <a:gd name="connsiteY4" fmla="*/ 1992 h 9973"/>
                <a:gd name="connsiteX5" fmla="*/ 1886 w 10000"/>
                <a:gd name="connsiteY5" fmla="*/ 2441 h 9973"/>
                <a:gd name="connsiteX6" fmla="*/ 1229 w 10000"/>
                <a:gd name="connsiteY6" fmla="*/ 2217 h 9973"/>
                <a:gd name="connsiteX7" fmla="*/ 579 w 10000"/>
                <a:gd name="connsiteY7" fmla="*/ 1920 h 9973"/>
                <a:gd name="connsiteX8" fmla="*/ 359 w 10000"/>
                <a:gd name="connsiteY8" fmla="*/ 3339 h 9973"/>
                <a:gd name="connsiteX9" fmla="*/ 351 w 10000"/>
                <a:gd name="connsiteY9" fmla="*/ 4236 h 9973"/>
                <a:gd name="connsiteX10" fmla="*/ 0 w 10000"/>
                <a:gd name="connsiteY10" fmla="*/ 5648 h 9973"/>
                <a:gd name="connsiteX11" fmla="*/ 807 w 10000"/>
                <a:gd name="connsiteY11" fmla="*/ 6170 h 9973"/>
                <a:gd name="connsiteX12" fmla="*/ 790 w 10000"/>
                <a:gd name="connsiteY12" fmla="*/ 7153 h 9973"/>
                <a:gd name="connsiteX13" fmla="*/ 476 w 10000"/>
                <a:gd name="connsiteY13" fmla="*/ 7851 h 9973"/>
                <a:gd name="connsiteX14" fmla="*/ 1166 w 10000"/>
                <a:gd name="connsiteY14" fmla="*/ 7533 h 9973"/>
                <a:gd name="connsiteX15" fmla="*/ 2035 w 10000"/>
                <a:gd name="connsiteY15" fmla="*/ 7244 h 9973"/>
                <a:gd name="connsiteX16" fmla="*/ 2841 w 10000"/>
                <a:gd name="connsiteY16" fmla="*/ 7237 h 9973"/>
                <a:gd name="connsiteX17" fmla="*/ 4051 w 10000"/>
                <a:gd name="connsiteY17" fmla="*/ 8020 h 9973"/>
                <a:gd name="connsiteX18" fmla="*/ 5517 w 10000"/>
                <a:gd name="connsiteY18" fmla="*/ 8773 h 9973"/>
                <a:gd name="connsiteX19" fmla="*/ 5526 w 10000"/>
                <a:gd name="connsiteY19" fmla="*/ 9485 h 9973"/>
                <a:gd name="connsiteX20" fmla="*/ 6889 w 10000"/>
                <a:gd name="connsiteY20" fmla="*/ 9972 h 9973"/>
                <a:gd name="connsiteX21" fmla="*/ 7993 w 10000"/>
                <a:gd name="connsiteY21" fmla="*/ 9346 h 9973"/>
                <a:gd name="connsiteX22" fmla="*/ 8636 w 10000"/>
                <a:gd name="connsiteY22" fmla="*/ 8851 h 9973"/>
                <a:gd name="connsiteX23" fmla="*/ 8817 w 10000"/>
                <a:gd name="connsiteY23" fmla="*/ 7956 h 9973"/>
                <a:gd name="connsiteX24" fmla="*/ 9865 w 10000"/>
                <a:gd name="connsiteY24" fmla="*/ 8010 h 9973"/>
                <a:gd name="connsiteX25" fmla="*/ 9959 w 10000"/>
                <a:gd name="connsiteY25" fmla="*/ 7138 h 9973"/>
                <a:gd name="connsiteX26" fmla="*/ 7064 w 10000"/>
                <a:gd name="connsiteY26" fmla="*/ 5209 h 9973"/>
                <a:gd name="connsiteX27" fmla="*/ 6374 w 10000"/>
                <a:gd name="connsiteY27" fmla="*/ 3967 h 9973"/>
                <a:gd name="connsiteX28" fmla="*/ 4831 w 10000"/>
                <a:gd name="connsiteY28" fmla="*/ 3686 h 9973"/>
                <a:gd name="connsiteX29" fmla="*/ 4189 w 10000"/>
                <a:gd name="connsiteY29" fmla="*/ 2500 h 9973"/>
                <a:gd name="connsiteX30" fmla="*/ 10000 w 10000"/>
                <a:gd name="connsiteY30" fmla="*/ 422 h 9973"/>
                <a:gd name="connsiteX31" fmla="*/ 9658 w 10000"/>
                <a:gd name="connsiteY31" fmla="*/ 0 h 9973"/>
                <a:gd name="connsiteX0" fmla="*/ 9658 w 10000"/>
                <a:gd name="connsiteY0" fmla="*/ 0 h 10000"/>
                <a:gd name="connsiteX1" fmla="*/ 8685 w 10000"/>
                <a:gd name="connsiteY1" fmla="*/ 648 h 10000"/>
                <a:gd name="connsiteX2" fmla="*/ 4517 w 10000"/>
                <a:gd name="connsiteY2" fmla="*/ 648 h 10000"/>
                <a:gd name="connsiteX3" fmla="*/ 2325 w 10000"/>
                <a:gd name="connsiteY3" fmla="*/ 1997 h 10000"/>
                <a:gd name="connsiteX4" fmla="*/ 1886 w 10000"/>
                <a:gd name="connsiteY4" fmla="*/ 2448 h 10000"/>
                <a:gd name="connsiteX5" fmla="*/ 1229 w 10000"/>
                <a:gd name="connsiteY5" fmla="*/ 2223 h 10000"/>
                <a:gd name="connsiteX6" fmla="*/ 579 w 10000"/>
                <a:gd name="connsiteY6" fmla="*/ 1925 h 10000"/>
                <a:gd name="connsiteX7" fmla="*/ 359 w 10000"/>
                <a:gd name="connsiteY7" fmla="*/ 3348 h 10000"/>
                <a:gd name="connsiteX8" fmla="*/ 351 w 10000"/>
                <a:gd name="connsiteY8" fmla="*/ 4247 h 10000"/>
                <a:gd name="connsiteX9" fmla="*/ 0 w 10000"/>
                <a:gd name="connsiteY9" fmla="*/ 5663 h 10000"/>
                <a:gd name="connsiteX10" fmla="*/ 807 w 10000"/>
                <a:gd name="connsiteY10" fmla="*/ 6187 h 10000"/>
                <a:gd name="connsiteX11" fmla="*/ 790 w 10000"/>
                <a:gd name="connsiteY11" fmla="*/ 7172 h 10000"/>
                <a:gd name="connsiteX12" fmla="*/ 476 w 10000"/>
                <a:gd name="connsiteY12" fmla="*/ 7872 h 10000"/>
                <a:gd name="connsiteX13" fmla="*/ 1166 w 10000"/>
                <a:gd name="connsiteY13" fmla="*/ 7553 h 10000"/>
                <a:gd name="connsiteX14" fmla="*/ 2035 w 10000"/>
                <a:gd name="connsiteY14" fmla="*/ 7264 h 10000"/>
                <a:gd name="connsiteX15" fmla="*/ 2841 w 10000"/>
                <a:gd name="connsiteY15" fmla="*/ 7257 h 10000"/>
                <a:gd name="connsiteX16" fmla="*/ 4051 w 10000"/>
                <a:gd name="connsiteY16" fmla="*/ 8042 h 10000"/>
                <a:gd name="connsiteX17" fmla="*/ 5517 w 10000"/>
                <a:gd name="connsiteY17" fmla="*/ 8797 h 10000"/>
                <a:gd name="connsiteX18" fmla="*/ 5526 w 10000"/>
                <a:gd name="connsiteY18" fmla="*/ 9511 h 10000"/>
                <a:gd name="connsiteX19" fmla="*/ 6889 w 10000"/>
                <a:gd name="connsiteY19" fmla="*/ 9999 h 10000"/>
                <a:gd name="connsiteX20" fmla="*/ 7993 w 10000"/>
                <a:gd name="connsiteY20" fmla="*/ 9371 h 10000"/>
                <a:gd name="connsiteX21" fmla="*/ 8636 w 10000"/>
                <a:gd name="connsiteY21" fmla="*/ 8875 h 10000"/>
                <a:gd name="connsiteX22" fmla="*/ 8817 w 10000"/>
                <a:gd name="connsiteY22" fmla="*/ 7978 h 10000"/>
                <a:gd name="connsiteX23" fmla="*/ 9865 w 10000"/>
                <a:gd name="connsiteY23" fmla="*/ 8032 h 10000"/>
                <a:gd name="connsiteX24" fmla="*/ 9959 w 10000"/>
                <a:gd name="connsiteY24" fmla="*/ 7157 h 10000"/>
                <a:gd name="connsiteX25" fmla="*/ 7064 w 10000"/>
                <a:gd name="connsiteY25" fmla="*/ 5223 h 10000"/>
                <a:gd name="connsiteX26" fmla="*/ 6374 w 10000"/>
                <a:gd name="connsiteY26" fmla="*/ 3978 h 10000"/>
                <a:gd name="connsiteX27" fmla="*/ 4831 w 10000"/>
                <a:gd name="connsiteY27" fmla="*/ 3696 h 10000"/>
                <a:gd name="connsiteX28" fmla="*/ 4189 w 10000"/>
                <a:gd name="connsiteY28" fmla="*/ 2507 h 10000"/>
                <a:gd name="connsiteX29" fmla="*/ 10000 w 10000"/>
                <a:gd name="connsiteY29" fmla="*/ 423 h 10000"/>
                <a:gd name="connsiteX30" fmla="*/ 9658 w 10000"/>
                <a:gd name="connsiteY30" fmla="*/ 0 h 10000"/>
                <a:gd name="connsiteX0" fmla="*/ 9658 w 10000"/>
                <a:gd name="connsiteY0" fmla="*/ 0 h 10000"/>
                <a:gd name="connsiteX1" fmla="*/ 4517 w 10000"/>
                <a:gd name="connsiteY1" fmla="*/ 648 h 10000"/>
                <a:gd name="connsiteX2" fmla="*/ 2325 w 10000"/>
                <a:gd name="connsiteY2" fmla="*/ 1997 h 10000"/>
                <a:gd name="connsiteX3" fmla="*/ 1886 w 10000"/>
                <a:gd name="connsiteY3" fmla="*/ 2448 h 10000"/>
                <a:gd name="connsiteX4" fmla="*/ 1229 w 10000"/>
                <a:gd name="connsiteY4" fmla="*/ 2223 h 10000"/>
                <a:gd name="connsiteX5" fmla="*/ 579 w 10000"/>
                <a:gd name="connsiteY5" fmla="*/ 1925 h 10000"/>
                <a:gd name="connsiteX6" fmla="*/ 359 w 10000"/>
                <a:gd name="connsiteY6" fmla="*/ 3348 h 10000"/>
                <a:gd name="connsiteX7" fmla="*/ 351 w 10000"/>
                <a:gd name="connsiteY7" fmla="*/ 4247 h 10000"/>
                <a:gd name="connsiteX8" fmla="*/ 0 w 10000"/>
                <a:gd name="connsiteY8" fmla="*/ 5663 h 10000"/>
                <a:gd name="connsiteX9" fmla="*/ 807 w 10000"/>
                <a:gd name="connsiteY9" fmla="*/ 6187 h 10000"/>
                <a:gd name="connsiteX10" fmla="*/ 790 w 10000"/>
                <a:gd name="connsiteY10" fmla="*/ 7172 h 10000"/>
                <a:gd name="connsiteX11" fmla="*/ 476 w 10000"/>
                <a:gd name="connsiteY11" fmla="*/ 7872 h 10000"/>
                <a:gd name="connsiteX12" fmla="*/ 1166 w 10000"/>
                <a:gd name="connsiteY12" fmla="*/ 7553 h 10000"/>
                <a:gd name="connsiteX13" fmla="*/ 2035 w 10000"/>
                <a:gd name="connsiteY13" fmla="*/ 7264 h 10000"/>
                <a:gd name="connsiteX14" fmla="*/ 2841 w 10000"/>
                <a:gd name="connsiteY14" fmla="*/ 7257 h 10000"/>
                <a:gd name="connsiteX15" fmla="*/ 4051 w 10000"/>
                <a:gd name="connsiteY15" fmla="*/ 8042 h 10000"/>
                <a:gd name="connsiteX16" fmla="*/ 5517 w 10000"/>
                <a:gd name="connsiteY16" fmla="*/ 8797 h 10000"/>
                <a:gd name="connsiteX17" fmla="*/ 5526 w 10000"/>
                <a:gd name="connsiteY17" fmla="*/ 9511 h 10000"/>
                <a:gd name="connsiteX18" fmla="*/ 6889 w 10000"/>
                <a:gd name="connsiteY18" fmla="*/ 9999 h 10000"/>
                <a:gd name="connsiteX19" fmla="*/ 7993 w 10000"/>
                <a:gd name="connsiteY19" fmla="*/ 9371 h 10000"/>
                <a:gd name="connsiteX20" fmla="*/ 8636 w 10000"/>
                <a:gd name="connsiteY20" fmla="*/ 8875 h 10000"/>
                <a:gd name="connsiteX21" fmla="*/ 8817 w 10000"/>
                <a:gd name="connsiteY21" fmla="*/ 7978 h 10000"/>
                <a:gd name="connsiteX22" fmla="*/ 9865 w 10000"/>
                <a:gd name="connsiteY22" fmla="*/ 8032 h 10000"/>
                <a:gd name="connsiteX23" fmla="*/ 9959 w 10000"/>
                <a:gd name="connsiteY23" fmla="*/ 7157 h 10000"/>
                <a:gd name="connsiteX24" fmla="*/ 7064 w 10000"/>
                <a:gd name="connsiteY24" fmla="*/ 5223 h 10000"/>
                <a:gd name="connsiteX25" fmla="*/ 6374 w 10000"/>
                <a:gd name="connsiteY25" fmla="*/ 3978 h 10000"/>
                <a:gd name="connsiteX26" fmla="*/ 4831 w 10000"/>
                <a:gd name="connsiteY26" fmla="*/ 3696 h 10000"/>
                <a:gd name="connsiteX27" fmla="*/ 4189 w 10000"/>
                <a:gd name="connsiteY27" fmla="*/ 2507 h 10000"/>
                <a:gd name="connsiteX28" fmla="*/ 10000 w 10000"/>
                <a:gd name="connsiteY28" fmla="*/ 423 h 10000"/>
                <a:gd name="connsiteX29" fmla="*/ 9658 w 10000"/>
                <a:gd name="connsiteY29" fmla="*/ 0 h 10000"/>
                <a:gd name="connsiteX0" fmla="*/ 10000 w 10000"/>
                <a:gd name="connsiteY0" fmla="*/ 0 h 9577"/>
                <a:gd name="connsiteX1" fmla="*/ 4517 w 10000"/>
                <a:gd name="connsiteY1" fmla="*/ 225 h 9577"/>
                <a:gd name="connsiteX2" fmla="*/ 2325 w 10000"/>
                <a:gd name="connsiteY2" fmla="*/ 1574 h 9577"/>
                <a:gd name="connsiteX3" fmla="*/ 1886 w 10000"/>
                <a:gd name="connsiteY3" fmla="*/ 2025 h 9577"/>
                <a:gd name="connsiteX4" fmla="*/ 1229 w 10000"/>
                <a:gd name="connsiteY4" fmla="*/ 1800 h 9577"/>
                <a:gd name="connsiteX5" fmla="*/ 579 w 10000"/>
                <a:gd name="connsiteY5" fmla="*/ 1502 h 9577"/>
                <a:gd name="connsiteX6" fmla="*/ 359 w 10000"/>
                <a:gd name="connsiteY6" fmla="*/ 2925 h 9577"/>
                <a:gd name="connsiteX7" fmla="*/ 351 w 10000"/>
                <a:gd name="connsiteY7" fmla="*/ 3824 h 9577"/>
                <a:gd name="connsiteX8" fmla="*/ 0 w 10000"/>
                <a:gd name="connsiteY8" fmla="*/ 5240 h 9577"/>
                <a:gd name="connsiteX9" fmla="*/ 807 w 10000"/>
                <a:gd name="connsiteY9" fmla="*/ 5764 h 9577"/>
                <a:gd name="connsiteX10" fmla="*/ 790 w 10000"/>
                <a:gd name="connsiteY10" fmla="*/ 6749 h 9577"/>
                <a:gd name="connsiteX11" fmla="*/ 476 w 10000"/>
                <a:gd name="connsiteY11" fmla="*/ 7449 h 9577"/>
                <a:gd name="connsiteX12" fmla="*/ 1166 w 10000"/>
                <a:gd name="connsiteY12" fmla="*/ 7130 h 9577"/>
                <a:gd name="connsiteX13" fmla="*/ 2035 w 10000"/>
                <a:gd name="connsiteY13" fmla="*/ 6841 h 9577"/>
                <a:gd name="connsiteX14" fmla="*/ 2841 w 10000"/>
                <a:gd name="connsiteY14" fmla="*/ 6834 h 9577"/>
                <a:gd name="connsiteX15" fmla="*/ 4051 w 10000"/>
                <a:gd name="connsiteY15" fmla="*/ 7619 h 9577"/>
                <a:gd name="connsiteX16" fmla="*/ 5517 w 10000"/>
                <a:gd name="connsiteY16" fmla="*/ 8374 h 9577"/>
                <a:gd name="connsiteX17" fmla="*/ 5526 w 10000"/>
                <a:gd name="connsiteY17" fmla="*/ 9088 h 9577"/>
                <a:gd name="connsiteX18" fmla="*/ 6889 w 10000"/>
                <a:gd name="connsiteY18" fmla="*/ 9576 h 9577"/>
                <a:gd name="connsiteX19" fmla="*/ 7993 w 10000"/>
                <a:gd name="connsiteY19" fmla="*/ 8948 h 9577"/>
                <a:gd name="connsiteX20" fmla="*/ 8636 w 10000"/>
                <a:gd name="connsiteY20" fmla="*/ 8452 h 9577"/>
                <a:gd name="connsiteX21" fmla="*/ 8817 w 10000"/>
                <a:gd name="connsiteY21" fmla="*/ 7555 h 9577"/>
                <a:gd name="connsiteX22" fmla="*/ 9865 w 10000"/>
                <a:gd name="connsiteY22" fmla="*/ 7609 h 9577"/>
                <a:gd name="connsiteX23" fmla="*/ 9959 w 10000"/>
                <a:gd name="connsiteY23" fmla="*/ 6734 h 9577"/>
                <a:gd name="connsiteX24" fmla="*/ 7064 w 10000"/>
                <a:gd name="connsiteY24" fmla="*/ 4800 h 9577"/>
                <a:gd name="connsiteX25" fmla="*/ 6374 w 10000"/>
                <a:gd name="connsiteY25" fmla="*/ 3555 h 9577"/>
                <a:gd name="connsiteX26" fmla="*/ 4831 w 10000"/>
                <a:gd name="connsiteY26" fmla="*/ 3273 h 9577"/>
                <a:gd name="connsiteX27" fmla="*/ 4189 w 10000"/>
                <a:gd name="connsiteY27" fmla="*/ 2084 h 9577"/>
                <a:gd name="connsiteX28" fmla="*/ 10000 w 10000"/>
                <a:gd name="connsiteY28" fmla="*/ 0 h 9577"/>
                <a:gd name="connsiteX0" fmla="*/ 4189 w 9959"/>
                <a:gd name="connsiteY0" fmla="*/ 1941 h 9765"/>
                <a:gd name="connsiteX1" fmla="*/ 4517 w 9959"/>
                <a:gd name="connsiteY1" fmla="*/ 0 h 9765"/>
                <a:gd name="connsiteX2" fmla="*/ 2325 w 9959"/>
                <a:gd name="connsiteY2" fmla="*/ 1409 h 9765"/>
                <a:gd name="connsiteX3" fmla="*/ 1886 w 9959"/>
                <a:gd name="connsiteY3" fmla="*/ 1879 h 9765"/>
                <a:gd name="connsiteX4" fmla="*/ 1229 w 9959"/>
                <a:gd name="connsiteY4" fmla="*/ 1645 h 9765"/>
                <a:gd name="connsiteX5" fmla="*/ 579 w 9959"/>
                <a:gd name="connsiteY5" fmla="*/ 1333 h 9765"/>
                <a:gd name="connsiteX6" fmla="*/ 359 w 9959"/>
                <a:gd name="connsiteY6" fmla="*/ 2819 h 9765"/>
                <a:gd name="connsiteX7" fmla="*/ 351 w 9959"/>
                <a:gd name="connsiteY7" fmla="*/ 3758 h 9765"/>
                <a:gd name="connsiteX8" fmla="*/ 0 w 9959"/>
                <a:gd name="connsiteY8" fmla="*/ 5236 h 9765"/>
                <a:gd name="connsiteX9" fmla="*/ 807 w 9959"/>
                <a:gd name="connsiteY9" fmla="*/ 5784 h 9765"/>
                <a:gd name="connsiteX10" fmla="*/ 790 w 9959"/>
                <a:gd name="connsiteY10" fmla="*/ 6812 h 9765"/>
                <a:gd name="connsiteX11" fmla="*/ 476 w 9959"/>
                <a:gd name="connsiteY11" fmla="*/ 7543 h 9765"/>
                <a:gd name="connsiteX12" fmla="*/ 1166 w 9959"/>
                <a:gd name="connsiteY12" fmla="*/ 7210 h 9765"/>
                <a:gd name="connsiteX13" fmla="*/ 2035 w 9959"/>
                <a:gd name="connsiteY13" fmla="*/ 6908 h 9765"/>
                <a:gd name="connsiteX14" fmla="*/ 2841 w 9959"/>
                <a:gd name="connsiteY14" fmla="*/ 6901 h 9765"/>
                <a:gd name="connsiteX15" fmla="*/ 4051 w 9959"/>
                <a:gd name="connsiteY15" fmla="*/ 7721 h 9765"/>
                <a:gd name="connsiteX16" fmla="*/ 5517 w 9959"/>
                <a:gd name="connsiteY16" fmla="*/ 8509 h 9765"/>
                <a:gd name="connsiteX17" fmla="*/ 5526 w 9959"/>
                <a:gd name="connsiteY17" fmla="*/ 9254 h 9765"/>
                <a:gd name="connsiteX18" fmla="*/ 6889 w 9959"/>
                <a:gd name="connsiteY18" fmla="*/ 9764 h 9765"/>
                <a:gd name="connsiteX19" fmla="*/ 7993 w 9959"/>
                <a:gd name="connsiteY19" fmla="*/ 9108 h 9765"/>
                <a:gd name="connsiteX20" fmla="*/ 8636 w 9959"/>
                <a:gd name="connsiteY20" fmla="*/ 8590 h 9765"/>
                <a:gd name="connsiteX21" fmla="*/ 8817 w 9959"/>
                <a:gd name="connsiteY21" fmla="*/ 7654 h 9765"/>
                <a:gd name="connsiteX22" fmla="*/ 9865 w 9959"/>
                <a:gd name="connsiteY22" fmla="*/ 7710 h 9765"/>
                <a:gd name="connsiteX23" fmla="*/ 9959 w 9959"/>
                <a:gd name="connsiteY23" fmla="*/ 6796 h 9765"/>
                <a:gd name="connsiteX24" fmla="*/ 7064 w 9959"/>
                <a:gd name="connsiteY24" fmla="*/ 4777 h 9765"/>
                <a:gd name="connsiteX25" fmla="*/ 6374 w 9959"/>
                <a:gd name="connsiteY25" fmla="*/ 3477 h 9765"/>
                <a:gd name="connsiteX26" fmla="*/ 4831 w 9959"/>
                <a:gd name="connsiteY26" fmla="*/ 3183 h 9765"/>
                <a:gd name="connsiteX27" fmla="*/ 4189 w 9959"/>
                <a:gd name="connsiteY27" fmla="*/ 1941 h 9765"/>
                <a:gd name="connsiteX0" fmla="*/ 4206 w 10000"/>
                <a:gd name="connsiteY0" fmla="*/ 719 h 8731"/>
                <a:gd name="connsiteX1" fmla="*/ 3337 w 10000"/>
                <a:gd name="connsiteY1" fmla="*/ 0 h 8731"/>
                <a:gd name="connsiteX2" fmla="*/ 2335 w 10000"/>
                <a:gd name="connsiteY2" fmla="*/ 174 h 8731"/>
                <a:gd name="connsiteX3" fmla="*/ 1894 w 10000"/>
                <a:gd name="connsiteY3" fmla="*/ 655 h 8731"/>
                <a:gd name="connsiteX4" fmla="*/ 1234 w 10000"/>
                <a:gd name="connsiteY4" fmla="*/ 416 h 8731"/>
                <a:gd name="connsiteX5" fmla="*/ 581 w 10000"/>
                <a:gd name="connsiteY5" fmla="*/ 96 h 8731"/>
                <a:gd name="connsiteX6" fmla="*/ 360 w 10000"/>
                <a:gd name="connsiteY6" fmla="*/ 1618 h 8731"/>
                <a:gd name="connsiteX7" fmla="*/ 352 w 10000"/>
                <a:gd name="connsiteY7" fmla="*/ 2579 h 8731"/>
                <a:gd name="connsiteX8" fmla="*/ 0 w 10000"/>
                <a:gd name="connsiteY8" fmla="*/ 4093 h 8731"/>
                <a:gd name="connsiteX9" fmla="*/ 810 w 10000"/>
                <a:gd name="connsiteY9" fmla="*/ 4654 h 8731"/>
                <a:gd name="connsiteX10" fmla="*/ 793 w 10000"/>
                <a:gd name="connsiteY10" fmla="*/ 5707 h 8731"/>
                <a:gd name="connsiteX11" fmla="*/ 478 w 10000"/>
                <a:gd name="connsiteY11" fmla="*/ 6456 h 8731"/>
                <a:gd name="connsiteX12" fmla="*/ 1171 w 10000"/>
                <a:gd name="connsiteY12" fmla="*/ 6115 h 8731"/>
                <a:gd name="connsiteX13" fmla="*/ 2043 w 10000"/>
                <a:gd name="connsiteY13" fmla="*/ 5805 h 8731"/>
                <a:gd name="connsiteX14" fmla="*/ 2853 w 10000"/>
                <a:gd name="connsiteY14" fmla="*/ 5798 h 8731"/>
                <a:gd name="connsiteX15" fmla="*/ 4068 w 10000"/>
                <a:gd name="connsiteY15" fmla="*/ 6638 h 8731"/>
                <a:gd name="connsiteX16" fmla="*/ 5540 w 10000"/>
                <a:gd name="connsiteY16" fmla="*/ 7445 h 8731"/>
                <a:gd name="connsiteX17" fmla="*/ 5549 w 10000"/>
                <a:gd name="connsiteY17" fmla="*/ 8208 h 8731"/>
                <a:gd name="connsiteX18" fmla="*/ 6917 w 10000"/>
                <a:gd name="connsiteY18" fmla="*/ 8730 h 8731"/>
                <a:gd name="connsiteX19" fmla="*/ 8026 w 10000"/>
                <a:gd name="connsiteY19" fmla="*/ 8058 h 8731"/>
                <a:gd name="connsiteX20" fmla="*/ 8672 w 10000"/>
                <a:gd name="connsiteY20" fmla="*/ 7528 h 8731"/>
                <a:gd name="connsiteX21" fmla="*/ 8853 w 10000"/>
                <a:gd name="connsiteY21" fmla="*/ 6569 h 8731"/>
                <a:gd name="connsiteX22" fmla="*/ 9906 w 10000"/>
                <a:gd name="connsiteY22" fmla="*/ 6627 h 8731"/>
                <a:gd name="connsiteX23" fmla="*/ 10000 w 10000"/>
                <a:gd name="connsiteY23" fmla="*/ 5691 h 8731"/>
                <a:gd name="connsiteX24" fmla="*/ 7093 w 10000"/>
                <a:gd name="connsiteY24" fmla="*/ 3623 h 8731"/>
                <a:gd name="connsiteX25" fmla="*/ 6400 w 10000"/>
                <a:gd name="connsiteY25" fmla="*/ 2292 h 8731"/>
                <a:gd name="connsiteX26" fmla="*/ 4851 w 10000"/>
                <a:gd name="connsiteY26" fmla="*/ 1991 h 8731"/>
                <a:gd name="connsiteX27" fmla="*/ 4206 w 10000"/>
                <a:gd name="connsiteY27" fmla="*/ 719 h 8731"/>
                <a:gd name="connsiteX0" fmla="*/ 4206 w 10000"/>
                <a:gd name="connsiteY0" fmla="*/ 824 h 10000"/>
                <a:gd name="connsiteX1" fmla="*/ 3337 w 10000"/>
                <a:gd name="connsiteY1" fmla="*/ 0 h 10000"/>
                <a:gd name="connsiteX2" fmla="*/ 2335 w 10000"/>
                <a:gd name="connsiteY2" fmla="*/ 199 h 10000"/>
                <a:gd name="connsiteX3" fmla="*/ 1894 w 10000"/>
                <a:gd name="connsiteY3" fmla="*/ 750 h 10000"/>
                <a:gd name="connsiteX4" fmla="*/ 1234 w 10000"/>
                <a:gd name="connsiteY4" fmla="*/ 476 h 10000"/>
                <a:gd name="connsiteX5" fmla="*/ 581 w 10000"/>
                <a:gd name="connsiteY5" fmla="*/ 110 h 10000"/>
                <a:gd name="connsiteX6" fmla="*/ 360 w 10000"/>
                <a:gd name="connsiteY6" fmla="*/ 1853 h 10000"/>
                <a:gd name="connsiteX7" fmla="*/ 352 w 10000"/>
                <a:gd name="connsiteY7" fmla="*/ 2954 h 10000"/>
                <a:gd name="connsiteX8" fmla="*/ 0 w 10000"/>
                <a:gd name="connsiteY8" fmla="*/ 4688 h 10000"/>
                <a:gd name="connsiteX9" fmla="*/ 810 w 10000"/>
                <a:gd name="connsiteY9" fmla="*/ 5330 h 10000"/>
                <a:gd name="connsiteX10" fmla="*/ 793 w 10000"/>
                <a:gd name="connsiteY10" fmla="*/ 6536 h 10000"/>
                <a:gd name="connsiteX11" fmla="*/ 478 w 10000"/>
                <a:gd name="connsiteY11" fmla="*/ 7394 h 10000"/>
                <a:gd name="connsiteX12" fmla="*/ 1171 w 10000"/>
                <a:gd name="connsiteY12" fmla="*/ 7004 h 10000"/>
                <a:gd name="connsiteX13" fmla="*/ 2043 w 10000"/>
                <a:gd name="connsiteY13" fmla="*/ 6649 h 10000"/>
                <a:gd name="connsiteX14" fmla="*/ 2853 w 10000"/>
                <a:gd name="connsiteY14" fmla="*/ 6641 h 10000"/>
                <a:gd name="connsiteX15" fmla="*/ 4068 w 10000"/>
                <a:gd name="connsiteY15" fmla="*/ 7603 h 10000"/>
                <a:gd name="connsiteX16" fmla="*/ 5540 w 10000"/>
                <a:gd name="connsiteY16" fmla="*/ 8527 h 10000"/>
                <a:gd name="connsiteX17" fmla="*/ 5549 w 10000"/>
                <a:gd name="connsiteY17" fmla="*/ 9401 h 10000"/>
                <a:gd name="connsiteX18" fmla="*/ 6917 w 10000"/>
                <a:gd name="connsiteY18" fmla="*/ 9999 h 10000"/>
                <a:gd name="connsiteX19" fmla="*/ 8026 w 10000"/>
                <a:gd name="connsiteY19" fmla="*/ 9229 h 10000"/>
                <a:gd name="connsiteX20" fmla="*/ 8672 w 10000"/>
                <a:gd name="connsiteY20" fmla="*/ 8622 h 10000"/>
                <a:gd name="connsiteX21" fmla="*/ 8853 w 10000"/>
                <a:gd name="connsiteY21" fmla="*/ 7524 h 10000"/>
                <a:gd name="connsiteX22" fmla="*/ 9906 w 10000"/>
                <a:gd name="connsiteY22" fmla="*/ 7590 h 10000"/>
                <a:gd name="connsiteX23" fmla="*/ 10000 w 10000"/>
                <a:gd name="connsiteY23" fmla="*/ 6518 h 10000"/>
                <a:gd name="connsiteX24" fmla="*/ 7093 w 10000"/>
                <a:gd name="connsiteY24" fmla="*/ 4150 h 10000"/>
                <a:gd name="connsiteX25" fmla="*/ 6400 w 10000"/>
                <a:gd name="connsiteY25" fmla="*/ 2625 h 10000"/>
                <a:gd name="connsiteX26" fmla="*/ 4851 w 10000"/>
                <a:gd name="connsiteY26" fmla="*/ 2280 h 10000"/>
                <a:gd name="connsiteX27" fmla="*/ 4206 w 10000"/>
                <a:gd name="connsiteY27" fmla="*/ 824 h 10000"/>
                <a:gd name="connsiteX0" fmla="*/ 4206 w 10000"/>
                <a:gd name="connsiteY0" fmla="*/ 824 h 10000"/>
                <a:gd name="connsiteX1" fmla="*/ 3337 w 10000"/>
                <a:gd name="connsiteY1" fmla="*/ 0 h 10000"/>
                <a:gd name="connsiteX2" fmla="*/ 2123 w 10000"/>
                <a:gd name="connsiteY2" fmla="*/ 1652 h 10000"/>
                <a:gd name="connsiteX3" fmla="*/ 1894 w 10000"/>
                <a:gd name="connsiteY3" fmla="*/ 750 h 10000"/>
                <a:gd name="connsiteX4" fmla="*/ 1234 w 10000"/>
                <a:gd name="connsiteY4" fmla="*/ 476 h 10000"/>
                <a:gd name="connsiteX5" fmla="*/ 581 w 10000"/>
                <a:gd name="connsiteY5" fmla="*/ 110 h 10000"/>
                <a:gd name="connsiteX6" fmla="*/ 360 w 10000"/>
                <a:gd name="connsiteY6" fmla="*/ 1853 h 10000"/>
                <a:gd name="connsiteX7" fmla="*/ 352 w 10000"/>
                <a:gd name="connsiteY7" fmla="*/ 2954 h 10000"/>
                <a:gd name="connsiteX8" fmla="*/ 0 w 10000"/>
                <a:gd name="connsiteY8" fmla="*/ 4688 h 10000"/>
                <a:gd name="connsiteX9" fmla="*/ 810 w 10000"/>
                <a:gd name="connsiteY9" fmla="*/ 5330 h 10000"/>
                <a:gd name="connsiteX10" fmla="*/ 793 w 10000"/>
                <a:gd name="connsiteY10" fmla="*/ 6536 h 10000"/>
                <a:gd name="connsiteX11" fmla="*/ 478 w 10000"/>
                <a:gd name="connsiteY11" fmla="*/ 7394 h 10000"/>
                <a:gd name="connsiteX12" fmla="*/ 1171 w 10000"/>
                <a:gd name="connsiteY12" fmla="*/ 7004 h 10000"/>
                <a:gd name="connsiteX13" fmla="*/ 2043 w 10000"/>
                <a:gd name="connsiteY13" fmla="*/ 6649 h 10000"/>
                <a:gd name="connsiteX14" fmla="*/ 2853 w 10000"/>
                <a:gd name="connsiteY14" fmla="*/ 6641 h 10000"/>
                <a:gd name="connsiteX15" fmla="*/ 4068 w 10000"/>
                <a:gd name="connsiteY15" fmla="*/ 7603 h 10000"/>
                <a:gd name="connsiteX16" fmla="*/ 5540 w 10000"/>
                <a:gd name="connsiteY16" fmla="*/ 8527 h 10000"/>
                <a:gd name="connsiteX17" fmla="*/ 5549 w 10000"/>
                <a:gd name="connsiteY17" fmla="*/ 9401 h 10000"/>
                <a:gd name="connsiteX18" fmla="*/ 6917 w 10000"/>
                <a:gd name="connsiteY18" fmla="*/ 9999 h 10000"/>
                <a:gd name="connsiteX19" fmla="*/ 8026 w 10000"/>
                <a:gd name="connsiteY19" fmla="*/ 9229 h 10000"/>
                <a:gd name="connsiteX20" fmla="*/ 8672 w 10000"/>
                <a:gd name="connsiteY20" fmla="*/ 8622 h 10000"/>
                <a:gd name="connsiteX21" fmla="*/ 8853 w 10000"/>
                <a:gd name="connsiteY21" fmla="*/ 7524 h 10000"/>
                <a:gd name="connsiteX22" fmla="*/ 9906 w 10000"/>
                <a:gd name="connsiteY22" fmla="*/ 7590 h 10000"/>
                <a:gd name="connsiteX23" fmla="*/ 10000 w 10000"/>
                <a:gd name="connsiteY23" fmla="*/ 6518 h 10000"/>
                <a:gd name="connsiteX24" fmla="*/ 7093 w 10000"/>
                <a:gd name="connsiteY24" fmla="*/ 4150 h 10000"/>
                <a:gd name="connsiteX25" fmla="*/ 6400 w 10000"/>
                <a:gd name="connsiteY25" fmla="*/ 2625 h 10000"/>
                <a:gd name="connsiteX26" fmla="*/ 4851 w 10000"/>
                <a:gd name="connsiteY26" fmla="*/ 2280 h 10000"/>
                <a:gd name="connsiteX27" fmla="*/ 4206 w 10000"/>
                <a:gd name="connsiteY27" fmla="*/ 824 h 10000"/>
                <a:gd name="connsiteX0" fmla="*/ 4206 w 10000"/>
                <a:gd name="connsiteY0" fmla="*/ 824 h 10000"/>
                <a:gd name="connsiteX1" fmla="*/ 3337 w 10000"/>
                <a:gd name="connsiteY1" fmla="*/ 0 h 10000"/>
                <a:gd name="connsiteX2" fmla="*/ 2123 w 10000"/>
                <a:gd name="connsiteY2" fmla="*/ 2015 h 10000"/>
                <a:gd name="connsiteX3" fmla="*/ 1894 w 10000"/>
                <a:gd name="connsiteY3" fmla="*/ 750 h 10000"/>
                <a:gd name="connsiteX4" fmla="*/ 1234 w 10000"/>
                <a:gd name="connsiteY4" fmla="*/ 476 h 10000"/>
                <a:gd name="connsiteX5" fmla="*/ 581 w 10000"/>
                <a:gd name="connsiteY5" fmla="*/ 110 h 10000"/>
                <a:gd name="connsiteX6" fmla="*/ 360 w 10000"/>
                <a:gd name="connsiteY6" fmla="*/ 1853 h 10000"/>
                <a:gd name="connsiteX7" fmla="*/ 352 w 10000"/>
                <a:gd name="connsiteY7" fmla="*/ 2954 h 10000"/>
                <a:gd name="connsiteX8" fmla="*/ 0 w 10000"/>
                <a:gd name="connsiteY8" fmla="*/ 4688 h 10000"/>
                <a:gd name="connsiteX9" fmla="*/ 810 w 10000"/>
                <a:gd name="connsiteY9" fmla="*/ 5330 h 10000"/>
                <a:gd name="connsiteX10" fmla="*/ 793 w 10000"/>
                <a:gd name="connsiteY10" fmla="*/ 6536 h 10000"/>
                <a:gd name="connsiteX11" fmla="*/ 478 w 10000"/>
                <a:gd name="connsiteY11" fmla="*/ 7394 h 10000"/>
                <a:gd name="connsiteX12" fmla="*/ 1171 w 10000"/>
                <a:gd name="connsiteY12" fmla="*/ 7004 h 10000"/>
                <a:gd name="connsiteX13" fmla="*/ 2043 w 10000"/>
                <a:gd name="connsiteY13" fmla="*/ 6649 h 10000"/>
                <a:gd name="connsiteX14" fmla="*/ 2853 w 10000"/>
                <a:gd name="connsiteY14" fmla="*/ 6641 h 10000"/>
                <a:gd name="connsiteX15" fmla="*/ 4068 w 10000"/>
                <a:gd name="connsiteY15" fmla="*/ 7603 h 10000"/>
                <a:gd name="connsiteX16" fmla="*/ 5540 w 10000"/>
                <a:gd name="connsiteY16" fmla="*/ 8527 h 10000"/>
                <a:gd name="connsiteX17" fmla="*/ 5549 w 10000"/>
                <a:gd name="connsiteY17" fmla="*/ 9401 h 10000"/>
                <a:gd name="connsiteX18" fmla="*/ 6917 w 10000"/>
                <a:gd name="connsiteY18" fmla="*/ 9999 h 10000"/>
                <a:gd name="connsiteX19" fmla="*/ 8026 w 10000"/>
                <a:gd name="connsiteY19" fmla="*/ 9229 h 10000"/>
                <a:gd name="connsiteX20" fmla="*/ 8672 w 10000"/>
                <a:gd name="connsiteY20" fmla="*/ 8622 h 10000"/>
                <a:gd name="connsiteX21" fmla="*/ 8853 w 10000"/>
                <a:gd name="connsiteY21" fmla="*/ 7524 h 10000"/>
                <a:gd name="connsiteX22" fmla="*/ 9906 w 10000"/>
                <a:gd name="connsiteY22" fmla="*/ 7590 h 10000"/>
                <a:gd name="connsiteX23" fmla="*/ 10000 w 10000"/>
                <a:gd name="connsiteY23" fmla="*/ 6518 h 10000"/>
                <a:gd name="connsiteX24" fmla="*/ 7093 w 10000"/>
                <a:gd name="connsiteY24" fmla="*/ 4150 h 10000"/>
                <a:gd name="connsiteX25" fmla="*/ 6400 w 10000"/>
                <a:gd name="connsiteY25" fmla="*/ 2625 h 10000"/>
                <a:gd name="connsiteX26" fmla="*/ 4851 w 10000"/>
                <a:gd name="connsiteY26" fmla="*/ 2280 h 10000"/>
                <a:gd name="connsiteX27" fmla="*/ 4206 w 10000"/>
                <a:gd name="connsiteY27" fmla="*/ 824 h 10000"/>
                <a:gd name="connsiteX0" fmla="*/ 4206 w 10000"/>
                <a:gd name="connsiteY0" fmla="*/ 824 h 10000"/>
                <a:gd name="connsiteX1" fmla="*/ 3337 w 10000"/>
                <a:gd name="connsiteY1" fmla="*/ 0 h 10000"/>
                <a:gd name="connsiteX2" fmla="*/ 2123 w 10000"/>
                <a:gd name="connsiteY2" fmla="*/ 2015 h 10000"/>
                <a:gd name="connsiteX3" fmla="*/ 1259 w 10000"/>
                <a:gd name="connsiteY3" fmla="*/ 2022 h 10000"/>
                <a:gd name="connsiteX4" fmla="*/ 1234 w 10000"/>
                <a:gd name="connsiteY4" fmla="*/ 476 h 10000"/>
                <a:gd name="connsiteX5" fmla="*/ 581 w 10000"/>
                <a:gd name="connsiteY5" fmla="*/ 110 h 10000"/>
                <a:gd name="connsiteX6" fmla="*/ 360 w 10000"/>
                <a:gd name="connsiteY6" fmla="*/ 1853 h 10000"/>
                <a:gd name="connsiteX7" fmla="*/ 352 w 10000"/>
                <a:gd name="connsiteY7" fmla="*/ 2954 h 10000"/>
                <a:gd name="connsiteX8" fmla="*/ 0 w 10000"/>
                <a:gd name="connsiteY8" fmla="*/ 4688 h 10000"/>
                <a:gd name="connsiteX9" fmla="*/ 810 w 10000"/>
                <a:gd name="connsiteY9" fmla="*/ 5330 h 10000"/>
                <a:gd name="connsiteX10" fmla="*/ 793 w 10000"/>
                <a:gd name="connsiteY10" fmla="*/ 6536 h 10000"/>
                <a:gd name="connsiteX11" fmla="*/ 478 w 10000"/>
                <a:gd name="connsiteY11" fmla="*/ 7394 h 10000"/>
                <a:gd name="connsiteX12" fmla="*/ 1171 w 10000"/>
                <a:gd name="connsiteY12" fmla="*/ 7004 h 10000"/>
                <a:gd name="connsiteX13" fmla="*/ 2043 w 10000"/>
                <a:gd name="connsiteY13" fmla="*/ 6649 h 10000"/>
                <a:gd name="connsiteX14" fmla="*/ 2853 w 10000"/>
                <a:gd name="connsiteY14" fmla="*/ 6641 h 10000"/>
                <a:gd name="connsiteX15" fmla="*/ 4068 w 10000"/>
                <a:gd name="connsiteY15" fmla="*/ 7603 h 10000"/>
                <a:gd name="connsiteX16" fmla="*/ 5540 w 10000"/>
                <a:gd name="connsiteY16" fmla="*/ 8527 h 10000"/>
                <a:gd name="connsiteX17" fmla="*/ 5549 w 10000"/>
                <a:gd name="connsiteY17" fmla="*/ 9401 h 10000"/>
                <a:gd name="connsiteX18" fmla="*/ 6917 w 10000"/>
                <a:gd name="connsiteY18" fmla="*/ 9999 h 10000"/>
                <a:gd name="connsiteX19" fmla="*/ 8026 w 10000"/>
                <a:gd name="connsiteY19" fmla="*/ 9229 h 10000"/>
                <a:gd name="connsiteX20" fmla="*/ 8672 w 10000"/>
                <a:gd name="connsiteY20" fmla="*/ 8622 h 10000"/>
                <a:gd name="connsiteX21" fmla="*/ 8853 w 10000"/>
                <a:gd name="connsiteY21" fmla="*/ 7524 h 10000"/>
                <a:gd name="connsiteX22" fmla="*/ 9906 w 10000"/>
                <a:gd name="connsiteY22" fmla="*/ 7590 h 10000"/>
                <a:gd name="connsiteX23" fmla="*/ 10000 w 10000"/>
                <a:gd name="connsiteY23" fmla="*/ 6518 h 10000"/>
                <a:gd name="connsiteX24" fmla="*/ 7093 w 10000"/>
                <a:gd name="connsiteY24" fmla="*/ 4150 h 10000"/>
                <a:gd name="connsiteX25" fmla="*/ 6400 w 10000"/>
                <a:gd name="connsiteY25" fmla="*/ 2625 h 10000"/>
                <a:gd name="connsiteX26" fmla="*/ 4851 w 10000"/>
                <a:gd name="connsiteY26" fmla="*/ 2280 h 10000"/>
                <a:gd name="connsiteX27" fmla="*/ 4206 w 10000"/>
                <a:gd name="connsiteY27" fmla="*/ 824 h 10000"/>
                <a:gd name="connsiteX0" fmla="*/ 4206 w 10000"/>
                <a:gd name="connsiteY0" fmla="*/ 824 h 10000"/>
                <a:gd name="connsiteX1" fmla="*/ 3337 w 10000"/>
                <a:gd name="connsiteY1" fmla="*/ 0 h 10000"/>
                <a:gd name="connsiteX2" fmla="*/ 2758 w 10000"/>
                <a:gd name="connsiteY2" fmla="*/ 1924 h 10000"/>
                <a:gd name="connsiteX3" fmla="*/ 1259 w 10000"/>
                <a:gd name="connsiteY3" fmla="*/ 2022 h 10000"/>
                <a:gd name="connsiteX4" fmla="*/ 1234 w 10000"/>
                <a:gd name="connsiteY4" fmla="*/ 476 h 10000"/>
                <a:gd name="connsiteX5" fmla="*/ 581 w 10000"/>
                <a:gd name="connsiteY5" fmla="*/ 110 h 10000"/>
                <a:gd name="connsiteX6" fmla="*/ 360 w 10000"/>
                <a:gd name="connsiteY6" fmla="*/ 1853 h 10000"/>
                <a:gd name="connsiteX7" fmla="*/ 352 w 10000"/>
                <a:gd name="connsiteY7" fmla="*/ 2954 h 10000"/>
                <a:gd name="connsiteX8" fmla="*/ 0 w 10000"/>
                <a:gd name="connsiteY8" fmla="*/ 4688 h 10000"/>
                <a:gd name="connsiteX9" fmla="*/ 810 w 10000"/>
                <a:gd name="connsiteY9" fmla="*/ 5330 h 10000"/>
                <a:gd name="connsiteX10" fmla="*/ 793 w 10000"/>
                <a:gd name="connsiteY10" fmla="*/ 6536 h 10000"/>
                <a:gd name="connsiteX11" fmla="*/ 478 w 10000"/>
                <a:gd name="connsiteY11" fmla="*/ 7394 h 10000"/>
                <a:gd name="connsiteX12" fmla="*/ 1171 w 10000"/>
                <a:gd name="connsiteY12" fmla="*/ 7004 h 10000"/>
                <a:gd name="connsiteX13" fmla="*/ 2043 w 10000"/>
                <a:gd name="connsiteY13" fmla="*/ 6649 h 10000"/>
                <a:gd name="connsiteX14" fmla="*/ 2853 w 10000"/>
                <a:gd name="connsiteY14" fmla="*/ 6641 h 10000"/>
                <a:gd name="connsiteX15" fmla="*/ 4068 w 10000"/>
                <a:gd name="connsiteY15" fmla="*/ 7603 h 10000"/>
                <a:gd name="connsiteX16" fmla="*/ 5540 w 10000"/>
                <a:gd name="connsiteY16" fmla="*/ 8527 h 10000"/>
                <a:gd name="connsiteX17" fmla="*/ 5549 w 10000"/>
                <a:gd name="connsiteY17" fmla="*/ 9401 h 10000"/>
                <a:gd name="connsiteX18" fmla="*/ 6917 w 10000"/>
                <a:gd name="connsiteY18" fmla="*/ 9999 h 10000"/>
                <a:gd name="connsiteX19" fmla="*/ 8026 w 10000"/>
                <a:gd name="connsiteY19" fmla="*/ 9229 h 10000"/>
                <a:gd name="connsiteX20" fmla="*/ 8672 w 10000"/>
                <a:gd name="connsiteY20" fmla="*/ 8622 h 10000"/>
                <a:gd name="connsiteX21" fmla="*/ 8853 w 10000"/>
                <a:gd name="connsiteY21" fmla="*/ 7524 h 10000"/>
                <a:gd name="connsiteX22" fmla="*/ 9906 w 10000"/>
                <a:gd name="connsiteY22" fmla="*/ 7590 h 10000"/>
                <a:gd name="connsiteX23" fmla="*/ 10000 w 10000"/>
                <a:gd name="connsiteY23" fmla="*/ 6518 h 10000"/>
                <a:gd name="connsiteX24" fmla="*/ 7093 w 10000"/>
                <a:gd name="connsiteY24" fmla="*/ 4150 h 10000"/>
                <a:gd name="connsiteX25" fmla="*/ 6400 w 10000"/>
                <a:gd name="connsiteY25" fmla="*/ 2625 h 10000"/>
                <a:gd name="connsiteX26" fmla="*/ 4851 w 10000"/>
                <a:gd name="connsiteY26" fmla="*/ 2280 h 10000"/>
                <a:gd name="connsiteX27" fmla="*/ 4206 w 10000"/>
                <a:gd name="connsiteY27" fmla="*/ 824 h 10000"/>
                <a:gd name="connsiteX0" fmla="*/ 4206 w 10000"/>
                <a:gd name="connsiteY0" fmla="*/ 714 h 9890"/>
                <a:gd name="connsiteX1" fmla="*/ 3478 w 10000"/>
                <a:gd name="connsiteY1" fmla="*/ 526 h 9890"/>
                <a:gd name="connsiteX2" fmla="*/ 2758 w 10000"/>
                <a:gd name="connsiteY2" fmla="*/ 1814 h 9890"/>
                <a:gd name="connsiteX3" fmla="*/ 1259 w 10000"/>
                <a:gd name="connsiteY3" fmla="*/ 1912 h 9890"/>
                <a:gd name="connsiteX4" fmla="*/ 1234 w 10000"/>
                <a:gd name="connsiteY4" fmla="*/ 366 h 9890"/>
                <a:gd name="connsiteX5" fmla="*/ 581 w 10000"/>
                <a:gd name="connsiteY5" fmla="*/ 0 h 9890"/>
                <a:gd name="connsiteX6" fmla="*/ 360 w 10000"/>
                <a:gd name="connsiteY6" fmla="*/ 1743 h 9890"/>
                <a:gd name="connsiteX7" fmla="*/ 352 w 10000"/>
                <a:gd name="connsiteY7" fmla="*/ 2844 h 9890"/>
                <a:gd name="connsiteX8" fmla="*/ 0 w 10000"/>
                <a:gd name="connsiteY8" fmla="*/ 4578 h 9890"/>
                <a:gd name="connsiteX9" fmla="*/ 810 w 10000"/>
                <a:gd name="connsiteY9" fmla="*/ 5220 h 9890"/>
                <a:gd name="connsiteX10" fmla="*/ 793 w 10000"/>
                <a:gd name="connsiteY10" fmla="*/ 6426 h 9890"/>
                <a:gd name="connsiteX11" fmla="*/ 478 w 10000"/>
                <a:gd name="connsiteY11" fmla="*/ 7284 h 9890"/>
                <a:gd name="connsiteX12" fmla="*/ 1171 w 10000"/>
                <a:gd name="connsiteY12" fmla="*/ 6894 h 9890"/>
                <a:gd name="connsiteX13" fmla="*/ 2043 w 10000"/>
                <a:gd name="connsiteY13" fmla="*/ 6539 h 9890"/>
                <a:gd name="connsiteX14" fmla="*/ 2853 w 10000"/>
                <a:gd name="connsiteY14" fmla="*/ 6531 h 9890"/>
                <a:gd name="connsiteX15" fmla="*/ 4068 w 10000"/>
                <a:gd name="connsiteY15" fmla="*/ 7493 h 9890"/>
                <a:gd name="connsiteX16" fmla="*/ 5540 w 10000"/>
                <a:gd name="connsiteY16" fmla="*/ 8417 h 9890"/>
                <a:gd name="connsiteX17" fmla="*/ 5549 w 10000"/>
                <a:gd name="connsiteY17" fmla="*/ 9291 h 9890"/>
                <a:gd name="connsiteX18" fmla="*/ 6917 w 10000"/>
                <a:gd name="connsiteY18" fmla="*/ 9889 h 9890"/>
                <a:gd name="connsiteX19" fmla="*/ 8026 w 10000"/>
                <a:gd name="connsiteY19" fmla="*/ 9119 h 9890"/>
                <a:gd name="connsiteX20" fmla="*/ 8672 w 10000"/>
                <a:gd name="connsiteY20" fmla="*/ 8512 h 9890"/>
                <a:gd name="connsiteX21" fmla="*/ 8853 w 10000"/>
                <a:gd name="connsiteY21" fmla="*/ 7414 h 9890"/>
                <a:gd name="connsiteX22" fmla="*/ 9906 w 10000"/>
                <a:gd name="connsiteY22" fmla="*/ 7480 h 9890"/>
                <a:gd name="connsiteX23" fmla="*/ 10000 w 10000"/>
                <a:gd name="connsiteY23" fmla="*/ 6408 h 9890"/>
                <a:gd name="connsiteX24" fmla="*/ 7093 w 10000"/>
                <a:gd name="connsiteY24" fmla="*/ 4040 h 9890"/>
                <a:gd name="connsiteX25" fmla="*/ 6400 w 10000"/>
                <a:gd name="connsiteY25" fmla="*/ 2515 h 9890"/>
                <a:gd name="connsiteX26" fmla="*/ 4851 w 10000"/>
                <a:gd name="connsiteY26" fmla="*/ 2170 h 9890"/>
                <a:gd name="connsiteX27" fmla="*/ 4206 w 10000"/>
                <a:gd name="connsiteY27" fmla="*/ 714 h 9890"/>
                <a:gd name="connsiteX0" fmla="*/ 4206 w 10000"/>
                <a:gd name="connsiteY0" fmla="*/ 722 h 10000"/>
                <a:gd name="connsiteX1" fmla="*/ 3478 w 10000"/>
                <a:gd name="connsiteY1" fmla="*/ 532 h 10000"/>
                <a:gd name="connsiteX2" fmla="*/ 2758 w 10000"/>
                <a:gd name="connsiteY2" fmla="*/ 1834 h 10000"/>
                <a:gd name="connsiteX3" fmla="*/ 1471 w 10000"/>
                <a:gd name="connsiteY3" fmla="*/ 1749 h 10000"/>
                <a:gd name="connsiteX4" fmla="*/ 1234 w 10000"/>
                <a:gd name="connsiteY4" fmla="*/ 370 h 10000"/>
                <a:gd name="connsiteX5" fmla="*/ 581 w 10000"/>
                <a:gd name="connsiteY5" fmla="*/ 0 h 10000"/>
                <a:gd name="connsiteX6" fmla="*/ 360 w 10000"/>
                <a:gd name="connsiteY6" fmla="*/ 1762 h 10000"/>
                <a:gd name="connsiteX7" fmla="*/ 352 w 10000"/>
                <a:gd name="connsiteY7" fmla="*/ 2876 h 10000"/>
                <a:gd name="connsiteX8" fmla="*/ 0 w 10000"/>
                <a:gd name="connsiteY8" fmla="*/ 4629 h 10000"/>
                <a:gd name="connsiteX9" fmla="*/ 810 w 10000"/>
                <a:gd name="connsiteY9" fmla="*/ 5278 h 10000"/>
                <a:gd name="connsiteX10" fmla="*/ 793 w 10000"/>
                <a:gd name="connsiteY10" fmla="*/ 6497 h 10000"/>
                <a:gd name="connsiteX11" fmla="*/ 478 w 10000"/>
                <a:gd name="connsiteY11" fmla="*/ 7365 h 10000"/>
                <a:gd name="connsiteX12" fmla="*/ 1171 w 10000"/>
                <a:gd name="connsiteY12" fmla="*/ 6971 h 10000"/>
                <a:gd name="connsiteX13" fmla="*/ 2043 w 10000"/>
                <a:gd name="connsiteY13" fmla="*/ 6612 h 10000"/>
                <a:gd name="connsiteX14" fmla="*/ 2853 w 10000"/>
                <a:gd name="connsiteY14" fmla="*/ 6604 h 10000"/>
                <a:gd name="connsiteX15" fmla="*/ 4068 w 10000"/>
                <a:gd name="connsiteY15" fmla="*/ 7576 h 10000"/>
                <a:gd name="connsiteX16" fmla="*/ 5540 w 10000"/>
                <a:gd name="connsiteY16" fmla="*/ 8511 h 10000"/>
                <a:gd name="connsiteX17" fmla="*/ 5549 w 10000"/>
                <a:gd name="connsiteY17" fmla="*/ 9394 h 10000"/>
                <a:gd name="connsiteX18" fmla="*/ 6917 w 10000"/>
                <a:gd name="connsiteY18" fmla="*/ 9999 h 10000"/>
                <a:gd name="connsiteX19" fmla="*/ 8026 w 10000"/>
                <a:gd name="connsiteY19" fmla="*/ 9220 h 10000"/>
                <a:gd name="connsiteX20" fmla="*/ 8672 w 10000"/>
                <a:gd name="connsiteY20" fmla="*/ 8607 h 10000"/>
                <a:gd name="connsiteX21" fmla="*/ 8853 w 10000"/>
                <a:gd name="connsiteY21" fmla="*/ 7496 h 10000"/>
                <a:gd name="connsiteX22" fmla="*/ 9906 w 10000"/>
                <a:gd name="connsiteY22" fmla="*/ 7563 h 10000"/>
                <a:gd name="connsiteX23" fmla="*/ 10000 w 10000"/>
                <a:gd name="connsiteY23" fmla="*/ 6479 h 10000"/>
                <a:gd name="connsiteX24" fmla="*/ 7093 w 10000"/>
                <a:gd name="connsiteY24" fmla="*/ 4085 h 10000"/>
                <a:gd name="connsiteX25" fmla="*/ 6400 w 10000"/>
                <a:gd name="connsiteY25" fmla="*/ 2543 h 10000"/>
                <a:gd name="connsiteX26" fmla="*/ 4851 w 10000"/>
                <a:gd name="connsiteY26" fmla="*/ 2194 h 10000"/>
                <a:gd name="connsiteX27" fmla="*/ 4206 w 10000"/>
                <a:gd name="connsiteY27" fmla="*/ 722 h 10000"/>
                <a:gd name="connsiteX0" fmla="*/ 4206 w 10000"/>
                <a:gd name="connsiteY0" fmla="*/ 722 h 10000"/>
                <a:gd name="connsiteX1" fmla="*/ 3478 w 10000"/>
                <a:gd name="connsiteY1" fmla="*/ 532 h 10000"/>
                <a:gd name="connsiteX2" fmla="*/ 2758 w 10000"/>
                <a:gd name="connsiteY2" fmla="*/ 1834 h 10000"/>
                <a:gd name="connsiteX3" fmla="*/ 1471 w 10000"/>
                <a:gd name="connsiteY3" fmla="*/ 1749 h 10000"/>
                <a:gd name="connsiteX4" fmla="*/ 1234 w 10000"/>
                <a:gd name="connsiteY4" fmla="*/ 370 h 10000"/>
                <a:gd name="connsiteX5" fmla="*/ 581 w 10000"/>
                <a:gd name="connsiteY5" fmla="*/ 0 h 10000"/>
                <a:gd name="connsiteX6" fmla="*/ 360 w 10000"/>
                <a:gd name="connsiteY6" fmla="*/ 1762 h 10000"/>
                <a:gd name="connsiteX7" fmla="*/ 352 w 10000"/>
                <a:gd name="connsiteY7" fmla="*/ 2876 h 10000"/>
                <a:gd name="connsiteX8" fmla="*/ 0 w 10000"/>
                <a:gd name="connsiteY8" fmla="*/ 4629 h 10000"/>
                <a:gd name="connsiteX9" fmla="*/ 810 w 10000"/>
                <a:gd name="connsiteY9" fmla="*/ 5278 h 10000"/>
                <a:gd name="connsiteX10" fmla="*/ 793 w 10000"/>
                <a:gd name="connsiteY10" fmla="*/ 6497 h 10000"/>
                <a:gd name="connsiteX11" fmla="*/ 478 w 10000"/>
                <a:gd name="connsiteY11" fmla="*/ 7365 h 10000"/>
                <a:gd name="connsiteX12" fmla="*/ 1171 w 10000"/>
                <a:gd name="connsiteY12" fmla="*/ 6971 h 10000"/>
                <a:gd name="connsiteX13" fmla="*/ 2043 w 10000"/>
                <a:gd name="connsiteY13" fmla="*/ 6612 h 10000"/>
                <a:gd name="connsiteX14" fmla="*/ 2853 w 10000"/>
                <a:gd name="connsiteY14" fmla="*/ 6604 h 10000"/>
                <a:gd name="connsiteX15" fmla="*/ 4068 w 10000"/>
                <a:gd name="connsiteY15" fmla="*/ 7576 h 10000"/>
                <a:gd name="connsiteX16" fmla="*/ 5540 w 10000"/>
                <a:gd name="connsiteY16" fmla="*/ 8511 h 10000"/>
                <a:gd name="connsiteX17" fmla="*/ 5549 w 10000"/>
                <a:gd name="connsiteY17" fmla="*/ 9394 h 10000"/>
                <a:gd name="connsiteX18" fmla="*/ 6917 w 10000"/>
                <a:gd name="connsiteY18" fmla="*/ 9999 h 10000"/>
                <a:gd name="connsiteX19" fmla="*/ 8026 w 10000"/>
                <a:gd name="connsiteY19" fmla="*/ 9220 h 10000"/>
                <a:gd name="connsiteX20" fmla="*/ 8672 w 10000"/>
                <a:gd name="connsiteY20" fmla="*/ 8607 h 10000"/>
                <a:gd name="connsiteX21" fmla="*/ 8853 w 10000"/>
                <a:gd name="connsiteY21" fmla="*/ 7496 h 10000"/>
                <a:gd name="connsiteX22" fmla="*/ 9906 w 10000"/>
                <a:gd name="connsiteY22" fmla="*/ 7563 h 10000"/>
                <a:gd name="connsiteX23" fmla="*/ 10000 w 10000"/>
                <a:gd name="connsiteY23" fmla="*/ 6479 h 10000"/>
                <a:gd name="connsiteX24" fmla="*/ 7093 w 10000"/>
                <a:gd name="connsiteY24" fmla="*/ 4085 h 10000"/>
                <a:gd name="connsiteX25" fmla="*/ 6400 w 10000"/>
                <a:gd name="connsiteY25" fmla="*/ 2543 h 10000"/>
                <a:gd name="connsiteX26" fmla="*/ 4851 w 10000"/>
                <a:gd name="connsiteY26" fmla="*/ 2194 h 10000"/>
                <a:gd name="connsiteX27" fmla="*/ 4206 w 10000"/>
                <a:gd name="connsiteY27" fmla="*/ 722 h 10000"/>
                <a:gd name="connsiteX0" fmla="*/ 4206 w 10000"/>
                <a:gd name="connsiteY0" fmla="*/ 722 h 10000"/>
                <a:gd name="connsiteX1" fmla="*/ 3478 w 10000"/>
                <a:gd name="connsiteY1" fmla="*/ 532 h 10000"/>
                <a:gd name="connsiteX2" fmla="*/ 2758 w 10000"/>
                <a:gd name="connsiteY2" fmla="*/ 1834 h 10000"/>
                <a:gd name="connsiteX3" fmla="*/ 1471 w 10000"/>
                <a:gd name="connsiteY3" fmla="*/ 1933 h 10000"/>
                <a:gd name="connsiteX4" fmla="*/ 1234 w 10000"/>
                <a:gd name="connsiteY4" fmla="*/ 370 h 10000"/>
                <a:gd name="connsiteX5" fmla="*/ 581 w 10000"/>
                <a:gd name="connsiteY5" fmla="*/ 0 h 10000"/>
                <a:gd name="connsiteX6" fmla="*/ 360 w 10000"/>
                <a:gd name="connsiteY6" fmla="*/ 1762 h 10000"/>
                <a:gd name="connsiteX7" fmla="*/ 352 w 10000"/>
                <a:gd name="connsiteY7" fmla="*/ 2876 h 10000"/>
                <a:gd name="connsiteX8" fmla="*/ 0 w 10000"/>
                <a:gd name="connsiteY8" fmla="*/ 4629 h 10000"/>
                <a:gd name="connsiteX9" fmla="*/ 810 w 10000"/>
                <a:gd name="connsiteY9" fmla="*/ 5278 h 10000"/>
                <a:gd name="connsiteX10" fmla="*/ 793 w 10000"/>
                <a:gd name="connsiteY10" fmla="*/ 6497 h 10000"/>
                <a:gd name="connsiteX11" fmla="*/ 478 w 10000"/>
                <a:gd name="connsiteY11" fmla="*/ 7365 h 10000"/>
                <a:gd name="connsiteX12" fmla="*/ 1171 w 10000"/>
                <a:gd name="connsiteY12" fmla="*/ 6971 h 10000"/>
                <a:gd name="connsiteX13" fmla="*/ 2043 w 10000"/>
                <a:gd name="connsiteY13" fmla="*/ 6612 h 10000"/>
                <a:gd name="connsiteX14" fmla="*/ 2853 w 10000"/>
                <a:gd name="connsiteY14" fmla="*/ 6604 h 10000"/>
                <a:gd name="connsiteX15" fmla="*/ 4068 w 10000"/>
                <a:gd name="connsiteY15" fmla="*/ 7576 h 10000"/>
                <a:gd name="connsiteX16" fmla="*/ 5540 w 10000"/>
                <a:gd name="connsiteY16" fmla="*/ 8511 h 10000"/>
                <a:gd name="connsiteX17" fmla="*/ 5549 w 10000"/>
                <a:gd name="connsiteY17" fmla="*/ 9394 h 10000"/>
                <a:gd name="connsiteX18" fmla="*/ 6917 w 10000"/>
                <a:gd name="connsiteY18" fmla="*/ 9999 h 10000"/>
                <a:gd name="connsiteX19" fmla="*/ 8026 w 10000"/>
                <a:gd name="connsiteY19" fmla="*/ 9220 h 10000"/>
                <a:gd name="connsiteX20" fmla="*/ 8672 w 10000"/>
                <a:gd name="connsiteY20" fmla="*/ 8607 h 10000"/>
                <a:gd name="connsiteX21" fmla="*/ 8853 w 10000"/>
                <a:gd name="connsiteY21" fmla="*/ 7496 h 10000"/>
                <a:gd name="connsiteX22" fmla="*/ 9906 w 10000"/>
                <a:gd name="connsiteY22" fmla="*/ 7563 h 10000"/>
                <a:gd name="connsiteX23" fmla="*/ 10000 w 10000"/>
                <a:gd name="connsiteY23" fmla="*/ 6479 h 10000"/>
                <a:gd name="connsiteX24" fmla="*/ 7093 w 10000"/>
                <a:gd name="connsiteY24" fmla="*/ 4085 h 10000"/>
                <a:gd name="connsiteX25" fmla="*/ 6400 w 10000"/>
                <a:gd name="connsiteY25" fmla="*/ 2543 h 10000"/>
                <a:gd name="connsiteX26" fmla="*/ 4851 w 10000"/>
                <a:gd name="connsiteY26" fmla="*/ 2194 h 10000"/>
                <a:gd name="connsiteX27" fmla="*/ 4206 w 10000"/>
                <a:gd name="connsiteY27" fmla="*/ 722 h 10000"/>
                <a:gd name="connsiteX0" fmla="*/ 4206 w 10000"/>
                <a:gd name="connsiteY0" fmla="*/ 722 h 10000"/>
                <a:gd name="connsiteX1" fmla="*/ 3478 w 10000"/>
                <a:gd name="connsiteY1" fmla="*/ 532 h 10000"/>
                <a:gd name="connsiteX2" fmla="*/ 2758 w 10000"/>
                <a:gd name="connsiteY2" fmla="*/ 1834 h 10000"/>
                <a:gd name="connsiteX3" fmla="*/ 1471 w 10000"/>
                <a:gd name="connsiteY3" fmla="*/ 1933 h 10000"/>
                <a:gd name="connsiteX4" fmla="*/ 1234 w 10000"/>
                <a:gd name="connsiteY4" fmla="*/ 370 h 10000"/>
                <a:gd name="connsiteX5" fmla="*/ 581 w 10000"/>
                <a:gd name="connsiteY5" fmla="*/ 0 h 10000"/>
                <a:gd name="connsiteX6" fmla="*/ 360 w 10000"/>
                <a:gd name="connsiteY6" fmla="*/ 1762 h 10000"/>
                <a:gd name="connsiteX7" fmla="*/ 352 w 10000"/>
                <a:gd name="connsiteY7" fmla="*/ 2876 h 10000"/>
                <a:gd name="connsiteX8" fmla="*/ 0 w 10000"/>
                <a:gd name="connsiteY8" fmla="*/ 4629 h 10000"/>
                <a:gd name="connsiteX9" fmla="*/ 669 w 10000"/>
                <a:gd name="connsiteY9" fmla="*/ 5554 h 10000"/>
                <a:gd name="connsiteX10" fmla="*/ 793 w 10000"/>
                <a:gd name="connsiteY10" fmla="*/ 6497 h 10000"/>
                <a:gd name="connsiteX11" fmla="*/ 478 w 10000"/>
                <a:gd name="connsiteY11" fmla="*/ 7365 h 10000"/>
                <a:gd name="connsiteX12" fmla="*/ 1171 w 10000"/>
                <a:gd name="connsiteY12" fmla="*/ 6971 h 10000"/>
                <a:gd name="connsiteX13" fmla="*/ 2043 w 10000"/>
                <a:gd name="connsiteY13" fmla="*/ 6612 h 10000"/>
                <a:gd name="connsiteX14" fmla="*/ 2853 w 10000"/>
                <a:gd name="connsiteY14" fmla="*/ 6604 h 10000"/>
                <a:gd name="connsiteX15" fmla="*/ 4068 w 10000"/>
                <a:gd name="connsiteY15" fmla="*/ 7576 h 10000"/>
                <a:gd name="connsiteX16" fmla="*/ 5540 w 10000"/>
                <a:gd name="connsiteY16" fmla="*/ 8511 h 10000"/>
                <a:gd name="connsiteX17" fmla="*/ 5549 w 10000"/>
                <a:gd name="connsiteY17" fmla="*/ 9394 h 10000"/>
                <a:gd name="connsiteX18" fmla="*/ 6917 w 10000"/>
                <a:gd name="connsiteY18" fmla="*/ 9999 h 10000"/>
                <a:gd name="connsiteX19" fmla="*/ 8026 w 10000"/>
                <a:gd name="connsiteY19" fmla="*/ 9220 h 10000"/>
                <a:gd name="connsiteX20" fmla="*/ 8672 w 10000"/>
                <a:gd name="connsiteY20" fmla="*/ 8607 h 10000"/>
                <a:gd name="connsiteX21" fmla="*/ 8853 w 10000"/>
                <a:gd name="connsiteY21" fmla="*/ 7496 h 10000"/>
                <a:gd name="connsiteX22" fmla="*/ 9906 w 10000"/>
                <a:gd name="connsiteY22" fmla="*/ 7563 h 10000"/>
                <a:gd name="connsiteX23" fmla="*/ 10000 w 10000"/>
                <a:gd name="connsiteY23" fmla="*/ 6479 h 10000"/>
                <a:gd name="connsiteX24" fmla="*/ 7093 w 10000"/>
                <a:gd name="connsiteY24" fmla="*/ 4085 h 10000"/>
                <a:gd name="connsiteX25" fmla="*/ 6400 w 10000"/>
                <a:gd name="connsiteY25" fmla="*/ 2543 h 10000"/>
                <a:gd name="connsiteX26" fmla="*/ 4851 w 10000"/>
                <a:gd name="connsiteY26" fmla="*/ 2194 h 10000"/>
                <a:gd name="connsiteX27" fmla="*/ 4206 w 10000"/>
                <a:gd name="connsiteY27" fmla="*/ 722 h 10000"/>
                <a:gd name="connsiteX0" fmla="*/ 4488 w 10282"/>
                <a:gd name="connsiteY0" fmla="*/ 722 h 10000"/>
                <a:gd name="connsiteX1" fmla="*/ 3760 w 10282"/>
                <a:gd name="connsiteY1" fmla="*/ 532 h 10000"/>
                <a:gd name="connsiteX2" fmla="*/ 3040 w 10282"/>
                <a:gd name="connsiteY2" fmla="*/ 1834 h 10000"/>
                <a:gd name="connsiteX3" fmla="*/ 1753 w 10282"/>
                <a:gd name="connsiteY3" fmla="*/ 1933 h 10000"/>
                <a:gd name="connsiteX4" fmla="*/ 1516 w 10282"/>
                <a:gd name="connsiteY4" fmla="*/ 370 h 10000"/>
                <a:gd name="connsiteX5" fmla="*/ 863 w 10282"/>
                <a:gd name="connsiteY5" fmla="*/ 0 h 10000"/>
                <a:gd name="connsiteX6" fmla="*/ 642 w 10282"/>
                <a:gd name="connsiteY6" fmla="*/ 1762 h 10000"/>
                <a:gd name="connsiteX7" fmla="*/ 634 w 10282"/>
                <a:gd name="connsiteY7" fmla="*/ 2876 h 10000"/>
                <a:gd name="connsiteX8" fmla="*/ 0 w 10282"/>
                <a:gd name="connsiteY8" fmla="*/ 4629 h 10000"/>
                <a:gd name="connsiteX9" fmla="*/ 951 w 10282"/>
                <a:gd name="connsiteY9" fmla="*/ 5554 h 10000"/>
                <a:gd name="connsiteX10" fmla="*/ 1075 w 10282"/>
                <a:gd name="connsiteY10" fmla="*/ 6497 h 10000"/>
                <a:gd name="connsiteX11" fmla="*/ 760 w 10282"/>
                <a:gd name="connsiteY11" fmla="*/ 7365 h 10000"/>
                <a:gd name="connsiteX12" fmla="*/ 1453 w 10282"/>
                <a:gd name="connsiteY12" fmla="*/ 6971 h 10000"/>
                <a:gd name="connsiteX13" fmla="*/ 2325 w 10282"/>
                <a:gd name="connsiteY13" fmla="*/ 6612 h 10000"/>
                <a:gd name="connsiteX14" fmla="*/ 3135 w 10282"/>
                <a:gd name="connsiteY14" fmla="*/ 6604 h 10000"/>
                <a:gd name="connsiteX15" fmla="*/ 4350 w 10282"/>
                <a:gd name="connsiteY15" fmla="*/ 7576 h 10000"/>
                <a:gd name="connsiteX16" fmla="*/ 5822 w 10282"/>
                <a:gd name="connsiteY16" fmla="*/ 8511 h 10000"/>
                <a:gd name="connsiteX17" fmla="*/ 5831 w 10282"/>
                <a:gd name="connsiteY17" fmla="*/ 9394 h 10000"/>
                <a:gd name="connsiteX18" fmla="*/ 7199 w 10282"/>
                <a:gd name="connsiteY18" fmla="*/ 9999 h 10000"/>
                <a:gd name="connsiteX19" fmla="*/ 8308 w 10282"/>
                <a:gd name="connsiteY19" fmla="*/ 9220 h 10000"/>
                <a:gd name="connsiteX20" fmla="*/ 8954 w 10282"/>
                <a:gd name="connsiteY20" fmla="*/ 8607 h 10000"/>
                <a:gd name="connsiteX21" fmla="*/ 9135 w 10282"/>
                <a:gd name="connsiteY21" fmla="*/ 7496 h 10000"/>
                <a:gd name="connsiteX22" fmla="*/ 10188 w 10282"/>
                <a:gd name="connsiteY22" fmla="*/ 7563 h 10000"/>
                <a:gd name="connsiteX23" fmla="*/ 10282 w 10282"/>
                <a:gd name="connsiteY23" fmla="*/ 6479 h 10000"/>
                <a:gd name="connsiteX24" fmla="*/ 7375 w 10282"/>
                <a:gd name="connsiteY24" fmla="*/ 4085 h 10000"/>
                <a:gd name="connsiteX25" fmla="*/ 6682 w 10282"/>
                <a:gd name="connsiteY25" fmla="*/ 2543 h 10000"/>
                <a:gd name="connsiteX26" fmla="*/ 5133 w 10282"/>
                <a:gd name="connsiteY26" fmla="*/ 2194 h 10000"/>
                <a:gd name="connsiteX27" fmla="*/ 4488 w 10282"/>
                <a:gd name="connsiteY27" fmla="*/ 722 h 10000"/>
                <a:gd name="connsiteX0" fmla="*/ 4687 w 10481"/>
                <a:gd name="connsiteY0" fmla="*/ 722 h 10000"/>
                <a:gd name="connsiteX1" fmla="*/ 3959 w 10481"/>
                <a:gd name="connsiteY1" fmla="*/ 532 h 10000"/>
                <a:gd name="connsiteX2" fmla="*/ 3239 w 10481"/>
                <a:gd name="connsiteY2" fmla="*/ 1834 h 10000"/>
                <a:gd name="connsiteX3" fmla="*/ 1952 w 10481"/>
                <a:gd name="connsiteY3" fmla="*/ 1933 h 10000"/>
                <a:gd name="connsiteX4" fmla="*/ 1715 w 10481"/>
                <a:gd name="connsiteY4" fmla="*/ 370 h 10000"/>
                <a:gd name="connsiteX5" fmla="*/ 1062 w 10481"/>
                <a:gd name="connsiteY5" fmla="*/ 0 h 10000"/>
                <a:gd name="connsiteX6" fmla="*/ 841 w 10481"/>
                <a:gd name="connsiteY6" fmla="*/ 1762 h 10000"/>
                <a:gd name="connsiteX7" fmla="*/ 833 w 10481"/>
                <a:gd name="connsiteY7" fmla="*/ 2876 h 10000"/>
                <a:gd name="connsiteX8" fmla="*/ 28 w 10481"/>
                <a:gd name="connsiteY8" fmla="*/ 2168 h 10000"/>
                <a:gd name="connsiteX9" fmla="*/ 199 w 10481"/>
                <a:gd name="connsiteY9" fmla="*/ 4629 h 10000"/>
                <a:gd name="connsiteX10" fmla="*/ 1150 w 10481"/>
                <a:gd name="connsiteY10" fmla="*/ 5554 h 10000"/>
                <a:gd name="connsiteX11" fmla="*/ 1274 w 10481"/>
                <a:gd name="connsiteY11" fmla="*/ 6497 h 10000"/>
                <a:gd name="connsiteX12" fmla="*/ 959 w 10481"/>
                <a:gd name="connsiteY12" fmla="*/ 7365 h 10000"/>
                <a:gd name="connsiteX13" fmla="*/ 1652 w 10481"/>
                <a:gd name="connsiteY13" fmla="*/ 6971 h 10000"/>
                <a:gd name="connsiteX14" fmla="*/ 2524 w 10481"/>
                <a:gd name="connsiteY14" fmla="*/ 6612 h 10000"/>
                <a:gd name="connsiteX15" fmla="*/ 3334 w 10481"/>
                <a:gd name="connsiteY15" fmla="*/ 6604 h 10000"/>
                <a:gd name="connsiteX16" fmla="*/ 4549 w 10481"/>
                <a:gd name="connsiteY16" fmla="*/ 7576 h 10000"/>
                <a:gd name="connsiteX17" fmla="*/ 6021 w 10481"/>
                <a:gd name="connsiteY17" fmla="*/ 8511 h 10000"/>
                <a:gd name="connsiteX18" fmla="*/ 6030 w 10481"/>
                <a:gd name="connsiteY18" fmla="*/ 9394 h 10000"/>
                <a:gd name="connsiteX19" fmla="*/ 7398 w 10481"/>
                <a:gd name="connsiteY19" fmla="*/ 9999 h 10000"/>
                <a:gd name="connsiteX20" fmla="*/ 8507 w 10481"/>
                <a:gd name="connsiteY20" fmla="*/ 9220 h 10000"/>
                <a:gd name="connsiteX21" fmla="*/ 9153 w 10481"/>
                <a:gd name="connsiteY21" fmla="*/ 8607 h 10000"/>
                <a:gd name="connsiteX22" fmla="*/ 9334 w 10481"/>
                <a:gd name="connsiteY22" fmla="*/ 7496 h 10000"/>
                <a:gd name="connsiteX23" fmla="*/ 10387 w 10481"/>
                <a:gd name="connsiteY23" fmla="*/ 7563 h 10000"/>
                <a:gd name="connsiteX24" fmla="*/ 10481 w 10481"/>
                <a:gd name="connsiteY24" fmla="*/ 6479 h 10000"/>
                <a:gd name="connsiteX25" fmla="*/ 7574 w 10481"/>
                <a:gd name="connsiteY25" fmla="*/ 4085 h 10000"/>
                <a:gd name="connsiteX26" fmla="*/ 6881 w 10481"/>
                <a:gd name="connsiteY26" fmla="*/ 2543 h 10000"/>
                <a:gd name="connsiteX27" fmla="*/ 5332 w 10481"/>
                <a:gd name="connsiteY27" fmla="*/ 2194 h 10000"/>
                <a:gd name="connsiteX28" fmla="*/ 4687 w 10481"/>
                <a:gd name="connsiteY28" fmla="*/ 722 h 10000"/>
                <a:gd name="connsiteX0" fmla="*/ 4687 w 10481"/>
                <a:gd name="connsiteY0" fmla="*/ 722 h 10000"/>
                <a:gd name="connsiteX1" fmla="*/ 3959 w 10481"/>
                <a:gd name="connsiteY1" fmla="*/ 532 h 10000"/>
                <a:gd name="connsiteX2" fmla="*/ 3239 w 10481"/>
                <a:gd name="connsiteY2" fmla="*/ 1834 h 10000"/>
                <a:gd name="connsiteX3" fmla="*/ 1952 w 10481"/>
                <a:gd name="connsiteY3" fmla="*/ 1933 h 10000"/>
                <a:gd name="connsiteX4" fmla="*/ 1715 w 10481"/>
                <a:gd name="connsiteY4" fmla="*/ 370 h 10000"/>
                <a:gd name="connsiteX5" fmla="*/ 1062 w 10481"/>
                <a:gd name="connsiteY5" fmla="*/ 0 h 10000"/>
                <a:gd name="connsiteX6" fmla="*/ 841 w 10481"/>
                <a:gd name="connsiteY6" fmla="*/ 1762 h 10000"/>
                <a:gd name="connsiteX7" fmla="*/ 833 w 10481"/>
                <a:gd name="connsiteY7" fmla="*/ 2509 h 10000"/>
                <a:gd name="connsiteX8" fmla="*/ 28 w 10481"/>
                <a:gd name="connsiteY8" fmla="*/ 2168 h 10000"/>
                <a:gd name="connsiteX9" fmla="*/ 199 w 10481"/>
                <a:gd name="connsiteY9" fmla="*/ 4629 h 10000"/>
                <a:gd name="connsiteX10" fmla="*/ 1150 w 10481"/>
                <a:gd name="connsiteY10" fmla="*/ 5554 h 10000"/>
                <a:gd name="connsiteX11" fmla="*/ 1274 w 10481"/>
                <a:gd name="connsiteY11" fmla="*/ 6497 h 10000"/>
                <a:gd name="connsiteX12" fmla="*/ 959 w 10481"/>
                <a:gd name="connsiteY12" fmla="*/ 7365 h 10000"/>
                <a:gd name="connsiteX13" fmla="*/ 1652 w 10481"/>
                <a:gd name="connsiteY13" fmla="*/ 6971 h 10000"/>
                <a:gd name="connsiteX14" fmla="*/ 2524 w 10481"/>
                <a:gd name="connsiteY14" fmla="*/ 6612 h 10000"/>
                <a:gd name="connsiteX15" fmla="*/ 3334 w 10481"/>
                <a:gd name="connsiteY15" fmla="*/ 6604 h 10000"/>
                <a:gd name="connsiteX16" fmla="*/ 4549 w 10481"/>
                <a:gd name="connsiteY16" fmla="*/ 7576 h 10000"/>
                <a:gd name="connsiteX17" fmla="*/ 6021 w 10481"/>
                <a:gd name="connsiteY17" fmla="*/ 8511 h 10000"/>
                <a:gd name="connsiteX18" fmla="*/ 6030 w 10481"/>
                <a:gd name="connsiteY18" fmla="*/ 9394 h 10000"/>
                <a:gd name="connsiteX19" fmla="*/ 7398 w 10481"/>
                <a:gd name="connsiteY19" fmla="*/ 9999 h 10000"/>
                <a:gd name="connsiteX20" fmla="*/ 8507 w 10481"/>
                <a:gd name="connsiteY20" fmla="*/ 9220 h 10000"/>
                <a:gd name="connsiteX21" fmla="*/ 9153 w 10481"/>
                <a:gd name="connsiteY21" fmla="*/ 8607 h 10000"/>
                <a:gd name="connsiteX22" fmla="*/ 9334 w 10481"/>
                <a:gd name="connsiteY22" fmla="*/ 7496 h 10000"/>
                <a:gd name="connsiteX23" fmla="*/ 10387 w 10481"/>
                <a:gd name="connsiteY23" fmla="*/ 7563 h 10000"/>
                <a:gd name="connsiteX24" fmla="*/ 10481 w 10481"/>
                <a:gd name="connsiteY24" fmla="*/ 6479 h 10000"/>
                <a:gd name="connsiteX25" fmla="*/ 7574 w 10481"/>
                <a:gd name="connsiteY25" fmla="*/ 4085 h 10000"/>
                <a:gd name="connsiteX26" fmla="*/ 6881 w 10481"/>
                <a:gd name="connsiteY26" fmla="*/ 2543 h 10000"/>
                <a:gd name="connsiteX27" fmla="*/ 5332 w 10481"/>
                <a:gd name="connsiteY27" fmla="*/ 2194 h 10000"/>
                <a:gd name="connsiteX28" fmla="*/ 4687 w 10481"/>
                <a:gd name="connsiteY28" fmla="*/ 722 h 10000"/>
                <a:gd name="connsiteX0" fmla="*/ 4687 w 10481"/>
                <a:gd name="connsiteY0" fmla="*/ 722 h 10000"/>
                <a:gd name="connsiteX1" fmla="*/ 3959 w 10481"/>
                <a:gd name="connsiteY1" fmla="*/ 532 h 10000"/>
                <a:gd name="connsiteX2" fmla="*/ 3239 w 10481"/>
                <a:gd name="connsiteY2" fmla="*/ 1834 h 10000"/>
                <a:gd name="connsiteX3" fmla="*/ 1952 w 10481"/>
                <a:gd name="connsiteY3" fmla="*/ 1933 h 10000"/>
                <a:gd name="connsiteX4" fmla="*/ 1715 w 10481"/>
                <a:gd name="connsiteY4" fmla="*/ 370 h 10000"/>
                <a:gd name="connsiteX5" fmla="*/ 1062 w 10481"/>
                <a:gd name="connsiteY5" fmla="*/ 0 h 10000"/>
                <a:gd name="connsiteX6" fmla="*/ 841 w 10481"/>
                <a:gd name="connsiteY6" fmla="*/ 1762 h 10000"/>
                <a:gd name="connsiteX7" fmla="*/ 833 w 10481"/>
                <a:gd name="connsiteY7" fmla="*/ 2509 h 10000"/>
                <a:gd name="connsiteX8" fmla="*/ 28 w 10481"/>
                <a:gd name="connsiteY8" fmla="*/ 2903 h 10000"/>
                <a:gd name="connsiteX9" fmla="*/ 199 w 10481"/>
                <a:gd name="connsiteY9" fmla="*/ 4629 h 10000"/>
                <a:gd name="connsiteX10" fmla="*/ 1150 w 10481"/>
                <a:gd name="connsiteY10" fmla="*/ 5554 h 10000"/>
                <a:gd name="connsiteX11" fmla="*/ 1274 w 10481"/>
                <a:gd name="connsiteY11" fmla="*/ 6497 h 10000"/>
                <a:gd name="connsiteX12" fmla="*/ 959 w 10481"/>
                <a:gd name="connsiteY12" fmla="*/ 7365 h 10000"/>
                <a:gd name="connsiteX13" fmla="*/ 1652 w 10481"/>
                <a:gd name="connsiteY13" fmla="*/ 6971 h 10000"/>
                <a:gd name="connsiteX14" fmla="*/ 2524 w 10481"/>
                <a:gd name="connsiteY14" fmla="*/ 6612 h 10000"/>
                <a:gd name="connsiteX15" fmla="*/ 3334 w 10481"/>
                <a:gd name="connsiteY15" fmla="*/ 6604 h 10000"/>
                <a:gd name="connsiteX16" fmla="*/ 4549 w 10481"/>
                <a:gd name="connsiteY16" fmla="*/ 7576 h 10000"/>
                <a:gd name="connsiteX17" fmla="*/ 6021 w 10481"/>
                <a:gd name="connsiteY17" fmla="*/ 8511 h 10000"/>
                <a:gd name="connsiteX18" fmla="*/ 6030 w 10481"/>
                <a:gd name="connsiteY18" fmla="*/ 9394 h 10000"/>
                <a:gd name="connsiteX19" fmla="*/ 7398 w 10481"/>
                <a:gd name="connsiteY19" fmla="*/ 9999 h 10000"/>
                <a:gd name="connsiteX20" fmla="*/ 8507 w 10481"/>
                <a:gd name="connsiteY20" fmla="*/ 9220 h 10000"/>
                <a:gd name="connsiteX21" fmla="*/ 9153 w 10481"/>
                <a:gd name="connsiteY21" fmla="*/ 8607 h 10000"/>
                <a:gd name="connsiteX22" fmla="*/ 9334 w 10481"/>
                <a:gd name="connsiteY22" fmla="*/ 7496 h 10000"/>
                <a:gd name="connsiteX23" fmla="*/ 10387 w 10481"/>
                <a:gd name="connsiteY23" fmla="*/ 7563 h 10000"/>
                <a:gd name="connsiteX24" fmla="*/ 10481 w 10481"/>
                <a:gd name="connsiteY24" fmla="*/ 6479 h 10000"/>
                <a:gd name="connsiteX25" fmla="*/ 7574 w 10481"/>
                <a:gd name="connsiteY25" fmla="*/ 4085 h 10000"/>
                <a:gd name="connsiteX26" fmla="*/ 6881 w 10481"/>
                <a:gd name="connsiteY26" fmla="*/ 2543 h 10000"/>
                <a:gd name="connsiteX27" fmla="*/ 5332 w 10481"/>
                <a:gd name="connsiteY27" fmla="*/ 2194 h 10000"/>
                <a:gd name="connsiteX28" fmla="*/ 4687 w 10481"/>
                <a:gd name="connsiteY28" fmla="*/ 722 h 10000"/>
                <a:gd name="connsiteX0" fmla="*/ 4752 w 10546"/>
                <a:gd name="connsiteY0" fmla="*/ 722 h 10000"/>
                <a:gd name="connsiteX1" fmla="*/ 4024 w 10546"/>
                <a:gd name="connsiteY1" fmla="*/ 532 h 10000"/>
                <a:gd name="connsiteX2" fmla="*/ 3304 w 10546"/>
                <a:gd name="connsiteY2" fmla="*/ 1834 h 10000"/>
                <a:gd name="connsiteX3" fmla="*/ 2017 w 10546"/>
                <a:gd name="connsiteY3" fmla="*/ 1933 h 10000"/>
                <a:gd name="connsiteX4" fmla="*/ 1780 w 10546"/>
                <a:gd name="connsiteY4" fmla="*/ 370 h 10000"/>
                <a:gd name="connsiteX5" fmla="*/ 1127 w 10546"/>
                <a:gd name="connsiteY5" fmla="*/ 0 h 10000"/>
                <a:gd name="connsiteX6" fmla="*/ 906 w 10546"/>
                <a:gd name="connsiteY6" fmla="*/ 1762 h 10000"/>
                <a:gd name="connsiteX7" fmla="*/ 898 w 10546"/>
                <a:gd name="connsiteY7" fmla="*/ 2509 h 10000"/>
                <a:gd name="connsiteX8" fmla="*/ 23 w 10546"/>
                <a:gd name="connsiteY8" fmla="*/ 2444 h 10000"/>
                <a:gd name="connsiteX9" fmla="*/ 264 w 10546"/>
                <a:gd name="connsiteY9" fmla="*/ 4629 h 10000"/>
                <a:gd name="connsiteX10" fmla="*/ 1215 w 10546"/>
                <a:gd name="connsiteY10" fmla="*/ 5554 h 10000"/>
                <a:gd name="connsiteX11" fmla="*/ 1339 w 10546"/>
                <a:gd name="connsiteY11" fmla="*/ 6497 h 10000"/>
                <a:gd name="connsiteX12" fmla="*/ 1024 w 10546"/>
                <a:gd name="connsiteY12" fmla="*/ 7365 h 10000"/>
                <a:gd name="connsiteX13" fmla="*/ 1717 w 10546"/>
                <a:gd name="connsiteY13" fmla="*/ 6971 h 10000"/>
                <a:gd name="connsiteX14" fmla="*/ 2589 w 10546"/>
                <a:gd name="connsiteY14" fmla="*/ 6612 h 10000"/>
                <a:gd name="connsiteX15" fmla="*/ 3399 w 10546"/>
                <a:gd name="connsiteY15" fmla="*/ 6604 h 10000"/>
                <a:gd name="connsiteX16" fmla="*/ 4614 w 10546"/>
                <a:gd name="connsiteY16" fmla="*/ 7576 h 10000"/>
                <a:gd name="connsiteX17" fmla="*/ 6086 w 10546"/>
                <a:gd name="connsiteY17" fmla="*/ 8511 h 10000"/>
                <a:gd name="connsiteX18" fmla="*/ 6095 w 10546"/>
                <a:gd name="connsiteY18" fmla="*/ 9394 h 10000"/>
                <a:gd name="connsiteX19" fmla="*/ 7463 w 10546"/>
                <a:gd name="connsiteY19" fmla="*/ 9999 h 10000"/>
                <a:gd name="connsiteX20" fmla="*/ 8572 w 10546"/>
                <a:gd name="connsiteY20" fmla="*/ 9220 h 10000"/>
                <a:gd name="connsiteX21" fmla="*/ 9218 w 10546"/>
                <a:gd name="connsiteY21" fmla="*/ 8607 h 10000"/>
                <a:gd name="connsiteX22" fmla="*/ 9399 w 10546"/>
                <a:gd name="connsiteY22" fmla="*/ 7496 h 10000"/>
                <a:gd name="connsiteX23" fmla="*/ 10452 w 10546"/>
                <a:gd name="connsiteY23" fmla="*/ 7563 h 10000"/>
                <a:gd name="connsiteX24" fmla="*/ 10546 w 10546"/>
                <a:gd name="connsiteY24" fmla="*/ 6479 h 10000"/>
                <a:gd name="connsiteX25" fmla="*/ 7639 w 10546"/>
                <a:gd name="connsiteY25" fmla="*/ 4085 h 10000"/>
                <a:gd name="connsiteX26" fmla="*/ 6946 w 10546"/>
                <a:gd name="connsiteY26" fmla="*/ 2543 h 10000"/>
                <a:gd name="connsiteX27" fmla="*/ 5397 w 10546"/>
                <a:gd name="connsiteY27" fmla="*/ 2194 h 10000"/>
                <a:gd name="connsiteX28" fmla="*/ 4752 w 10546"/>
                <a:gd name="connsiteY28" fmla="*/ 722 h 10000"/>
                <a:gd name="connsiteX0" fmla="*/ 4752 w 10546"/>
                <a:gd name="connsiteY0" fmla="*/ 722 h 10000"/>
                <a:gd name="connsiteX1" fmla="*/ 4024 w 10546"/>
                <a:gd name="connsiteY1" fmla="*/ 532 h 10000"/>
                <a:gd name="connsiteX2" fmla="*/ 3304 w 10546"/>
                <a:gd name="connsiteY2" fmla="*/ 1834 h 10000"/>
                <a:gd name="connsiteX3" fmla="*/ 2017 w 10546"/>
                <a:gd name="connsiteY3" fmla="*/ 1933 h 10000"/>
                <a:gd name="connsiteX4" fmla="*/ 1780 w 10546"/>
                <a:gd name="connsiteY4" fmla="*/ 370 h 10000"/>
                <a:gd name="connsiteX5" fmla="*/ 1127 w 10546"/>
                <a:gd name="connsiteY5" fmla="*/ 0 h 10000"/>
                <a:gd name="connsiteX6" fmla="*/ 898 w 10546"/>
                <a:gd name="connsiteY6" fmla="*/ 2509 h 10000"/>
                <a:gd name="connsiteX7" fmla="*/ 23 w 10546"/>
                <a:gd name="connsiteY7" fmla="*/ 2444 h 10000"/>
                <a:gd name="connsiteX8" fmla="*/ 264 w 10546"/>
                <a:gd name="connsiteY8" fmla="*/ 4629 h 10000"/>
                <a:gd name="connsiteX9" fmla="*/ 1215 w 10546"/>
                <a:gd name="connsiteY9" fmla="*/ 5554 h 10000"/>
                <a:gd name="connsiteX10" fmla="*/ 1339 w 10546"/>
                <a:gd name="connsiteY10" fmla="*/ 6497 h 10000"/>
                <a:gd name="connsiteX11" fmla="*/ 1024 w 10546"/>
                <a:gd name="connsiteY11" fmla="*/ 7365 h 10000"/>
                <a:gd name="connsiteX12" fmla="*/ 1717 w 10546"/>
                <a:gd name="connsiteY12" fmla="*/ 6971 h 10000"/>
                <a:gd name="connsiteX13" fmla="*/ 2589 w 10546"/>
                <a:gd name="connsiteY13" fmla="*/ 6612 h 10000"/>
                <a:gd name="connsiteX14" fmla="*/ 3399 w 10546"/>
                <a:gd name="connsiteY14" fmla="*/ 6604 h 10000"/>
                <a:gd name="connsiteX15" fmla="*/ 4614 w 10546"/>
                <a:gd name="connsiteY15" fmla="*/ 7576 h 10000"/>
                <a:gd name="connsiteX16" fmla="*/ 6086 w 10546"/>
                <a:gd name="connsiteY16" fmla="*/ 8511 h 10000"/>
                <a:gd name="connsiteX17" fmla="*/ 6095 w 10546"/>
                <a:gd name="connsiteY17" fmla="*/ 9394 h 10000"/>
                <a:gd name="connsiteX18" fmla="*/ 7463 w 10546"/>
                <a:gd name="connsiteY18" fmla="*/ 9999 h 10000"/>
                <a:gd name="connsiteX19" fmla="*/ 8572 w 10546"/>
                <a:gd name="connsiteY19" fmla="*/ 9220 h 10000"/>
                <a:gd name="connsiteX20" fmla="*/ 9218 w 10546"/>
                <a:gd name="connsiteY20" fmla="*/ 8607 h 10000"/>
                <a:gd name="connsiteX21" fmla="*/ 9399 w 10546"/>
                <a:gd name="connsiteY21" fmla="*/ 7496 h 10000"/>
                <a:gd name="connsiteX22" fmla="*/ 10452 w 10546"/>
                <a:gd name="connsiteY22" fmla="*/ 7563 h 10000"/>
                <a:gd name="connsiteX23" fmla="*/ 10546 w 10546"/>
                <a:gd name="connsiteY23" fmla="*/ 6479 h 10000"/>
                <a:gd name="connsiteX24" fmla="*/ 7639 w 10546"/>
                <a:gd name="connsiteY24" fmla="*/ 4085 h 10000"/>
                <a:gd name="connsiteX25" fmla="*/ 6946 w 10546"/>
                <a:gd name="connsiteY25" fmla="*/ 2543 h 10000"/>
                <a:gd name="connsiteX26" fmla="*/ 5397 w 10546"/>
                <a:gd name="connsiteY26" fmla="*/ 2194 h 10000"/>
                <a:gd name="connsiteX27" fmla="*/ 4752 w 10546"/>
                <a:gd name="connsiteY27" fmla="*/ 722 h 10000"/>
                <a:gd name="connsiteX0" fmla="*/ 4752 w 10546"/>
                <a:gd name="connsiteY0" fmla="*/ 352 h 9630"/>
                <a:gd name="connsiteX1" fmla="*/ 4024 w 10546"/>
                <a:gd name="connsiteY1" fmla="*/ 162 h 9630"/>
                <a:gd name="connsiteX2" fmla="*/ 3304 w 10546"/>
                <a:gd name="connsiteY2" fmla="*/ 1464 h 9630"/>
                <a:gd name="connsiteX3" fmla="*/ 2017 w 10546"/>
                <a:gd name="connsiteY3" fmla="*/ 1563 h 9630"/>
                <a:gd name="connsiteX4" fmla="*/ 1780 w 10546"/>
                <a:gd name="connsiteY4" fmla="*/ 0 h 9630"/>
                <a:gd name="connsiteX5" fmla="*/ 898 w 10546"/>
                <a:gd name="connsiteY5" fmla="*/ 2139 h 9630"/>
                <a:gd name="connsiteX6" fmla="*/ 23 w 10546"/>
                <a:gd name="connsiteY6" fmla="*/ 2074 h 9630"/>
                <a:gd name="connsiteX7" fmla="*/ 264 w 10546"/>
                <a:gd name="connsiteY7" fmla="*/ 4259 h 9630"/>
                <a:gd name="connsiteX8" fmla="*/ 1215 w 10546"/>
                <a:gd name="connsiteY8" fmla="*/ 5184 h 9630"/>
                <a:gd name="connsiteX9" fmla="*/ 1339 w 10546"/>
                <a:gd name="connsiteY9" fmla="*/ 6127 h 9630"/>
                <a:gd name="connsiteX10" fmla="*/ 1024 w 10546"/>
                <a:gd name="connsiteY10" fmla="*/ 6995 h 9630"/>
                <a:gd name="connsiteX11" fmla="*/ 1717 w 10546"/>
                <a:gd name="connsiteY11" fmla="*/ 6601 h 9630"/>
                <a:gd name="connsiteX12" fmla="*/ 2589 w 10546"/>
                <a:gd name="connsiteY12" fmla="*/ 6242 h 9630"/>
                <a:gd name="connsiteX13" fmla="*/ 3399 w 10546"/>
                <a:gd name="connsiteY13" fmla="*/ 6234 h 9630"/>
                <a:gd name="connsiteX14" fmla="*/ 4614 w 10546"/>
                <a:gd name="connsiteY14" fmla="*/ 7206 h 9630"/>
                <a:gd name="connsiteX15" fmla="*/ 6086 w 10546"/>
                <a:gd name="connsiteY15" fmla="*/ 8141 h 9630"/>
                <a:gd name="connsiteX16" fmla="*/ 6095 w 10546"/>
                <a:gd name="connsiteY16" fmla="*/ 9024 h 9630"/>
                <a:gd name="connsiteX17" fmla="*/ 7463 w 10546"/>
                <a:gd name="connsiteY17" fmla="*/ 9629 h 9630"/>
                <a:gd name="connsiteX18" fmla="*/ 8572 w 10546"/>
                <a:gd name="connsiteY18" fmla="*/ 8850 h 9630"/>
                <a:gd name="connsiteX19" fmla="*/ 9218 w 10546"/>
                <a:gd name="connsiteY19" fmla="*/ 8237 h 9630"/>
                <a:gd name="connsiteX20" fmla="*/ 9399 w 10546"/>
                <a:gd name="connsiteY20" fmla="*/ 7126 h 9630"/>
                <a:gd name="connsiteX21" fmla="*/ 10452 w 10546"/>
                <a:gd name="connsiteY21" fmla="*/ 7193 h 9630"/>
                <a:gd name="connsiteX22" fmla="*/ 10546 w 10546"/>
                <a:gd name="connsiteY22" fmla="*/ 6109 h 9630"/>
                <a:gd name="connsiteX23" fmla="*/ 7639 w 10546"/>
                <a:gd name="connsiteY23" fmla="*/ 3715 h 9630"/>
                <a:gd name="connsiteX24" fmla="*/ 6946 w 10546"/>
                <a:gd name="connsiteY24" fmla="*/ 2173 h 9630"/>
                <a:gd name="connsiteX25" fmla="*/ 5397 w 10546"/>
                <a:gd name="connsiteY25" fmla="*/ 1824 h 9630"/>
                <a:gd name="connsiteX26" fmla="*/ 4752 w 10546"/>
                <a:gd name="connsiteY26" fmla="*/ 352 h 9630"/>
                <a:gd name="connsiteX0" fmla="*/ 4506 w 10000"/>
                <a:gd name="connsiteY0" fmla="*/ 366 h 10000"/>
                <a:gd name="connsiteX1" fmla="*/ 3816 w 10000"/>
                <a:gd name="connsiteY1" fmla="*/ 168 h 10000"/>
                <a:gd name="connsiteX2" fmla="*/ 3133 w 10000"/>
                <a:gd name="connsiteY2" fmla="*/ 1520 h 10000"/>
                <a:gd name="connsiteX3" fmla="*/ 1913 w 10000"/>
                <a:gd name="connsiteY3" fmla="*/ 1623 h 10000"/>
                <a:gd name="connsiteX4" fmla="*/ 1688 w 10000"/>
                <a:gd name="connsiteY4" fmla="*/ 0 h 10000"/>
                <a:gd name="connsiteX5" fmla="*/ 785 w 10000"/>
                <a:gd name="connsiteY5" fmla="*/ 1267 h 10000"/>
                <a:gd name="connsiteX6" fmla="*/ 22 w 10000"/>
                <a:gd name="connsiteY6" fmla="*/ 2154 h 10000"/>
                <a:gd name="connsiteX7" fmla="*/ 250 w 10000"/>
                <a:gd name="connsiteY7" fmla="*/ 4423 h 10000"/>
                <a:gd name="connsiteX8" fmla="*/ 1152 w 10000"/>
                <a:gd name="connsiteY8" fmla="*/ 5383 h 10000"/>
                <a:gd name="connsiteX9" fmla="*/ 1270 w 10000"/>
                <a:gd name="connsiteY9" fmla="*/ 6362 h 10000"/>
                <a:gd name="connsiteX10" fmla="*/ 971 w 10000"/>
                <a:gd name="connsiteY10" fmla="*/ 7264 h 10000"/>
                <a:gd name="connsiteX11" fmla="*/ 1628 w 10000"/>
                <a:gd name="connsiteY11" fmla="*/ 6855 h 10000"/>
                <a:gd name="connsiteX12" fmla="*/ 2455 w 10000"/>
                <a:gd name="connsiteY12" fmla="*/ 6482 h 10000"/>
                <a:gd name="connsiteX13" fmla="*/ 3223 w 10000"/>
                <a:gd name="connsiteY13" fmla="*/ 6474 h 10000"/>
                <a:gd name="connsiteX14" fmla="*/ 4375 w 10000"/>
                <a:gd name="connsiteY14" fmla="*/ 7483 h 10000"/>
                <a:gd name="connsiteX15" fmla="*/ 5771 w 10000"/>
                <a:gd name="connsiteY15" fmla="*/ 8454 h 10000"/>
                <a:gd name="connsiteX16" fmla="*/ 5779 w 10000"/>
                <a:gd name="connsiteY16" fmla="*/ 9371 h 10000"/>
                <a:gd name="connsiteX17" fmla="*/ 7077 w 10000"/>
                <a:gd name="connsiteY17" fmla="*/ 9999 h 10000"/>
                <a:gd name="connsiteX18" fmla="*/ 8128 w 10000"/>
                <a:gd name="connsiteY18" fmla="*/ 9190 h 10000"/>
                <a:gd name="connsiteX19" fmla="*/ 8741 w 10000"/>
                <a:gd name="connsiteY19" fmla="*/ 8553 h 10000"/>
                <a:gd name="connsiteX20" fmla="*/ 8912 w 10000"/>
                <a:gd name="connsiteY20" fmla="*/ 7400 h 10000"/>
                <a:gd name="connsiteX21" fmla="*/ 9911 w 10000"/>
                <a:gd name="connsiteY21" fmla="*/ 7469 h 10000"/>
                <a:gd name="connsiteX22" fmla="*/ 10000 w 10000"/>
                <a:gd name="connsiteY22" fmla="*/ 6344 h 10000"/>
                <a:gd name="connsiteX23" fmla="*/ 7244 w 10000"/>
                <a:gd name="connsiteY23" fmla="*/ 3858 h 10000"/>
                <a:gd name="connsiteX24" fmla="*/ 6586 w 10000"/>
                <a:gd name="connsiteY24" fmla="*/ 2256 h 10000"/>
                <a:gd name="connsiteX25" fmla="*/ 5118 w 10000"/>
                <a:gd name="connsiteY25" fmla="*/ 1894 h 10000"/>
                <a:gd name="connsiteX26" fmla="*/ 4506 w 10000"/>
                <a:gd name="connsiteY26" fmla="*/ 366 h 10000"/>
                <a:gd name="connsiteX0" fmla="*/ 4506 w 10000"/>
                <a:gd name="connsiteY0" fmla="*/ 198 h 9832"/>
                <a:gd name="connsiteX1" fmla="*/ 3816 w 10000"/>
                <a:gd name="connsiteY1" fmla="*/ 0 h 9832"/>
                <a:gd name="connsiteX2" fmla="*/ 3133 w 10000"/>
                <a:gd name="connsiteY2" fmla="*/ 1352 h 9832"/>
                <a:gd name="connsiteX3" fmla="*/ 1913 w 10000"/>
                <a:gd name="connsiteY3" fmla="*/ 1455 h 9832"/>
                <a:gd name="connsiteX4" fmla="*/ 1554 w 10000"/>
                <a:gd name="connsiteY4" fmla="*/ 690 h 9832"/>
                <a:gd name="connsiteX5" fmla="*/ 785 w 10000"/>
                <a:gd name="connsiteY5" fmla="*/ 1099 h 9832"/>
                <a:gd name="connsiteX6" fmla="*/ 22 w 10000"/>
                <a:gd name="connsiteY6" fmla="*/ 1986 h 9832"/>
                <a:gd name="connsiteX7" fmla="*/ 250 w 10000"/>
                <a:gd name="connsiteY7" fmla="*/ 4255 h 9832"/>
                <a:gd name="connsiteX8" fmla="*/ 1152 w 10000"/>
                <a:gd name="connsiteY8" fmla="*/ 5215 h 9832"/>
                <a:gd name="connsiteX9" fmla="*/ 1270 w 10000"/>
                <a:gd name="connsiteY9" fmla="*/ 6194 h 9832"/>
                <a:gd name="connsiteX10" fmla="*/ 971 w 10000"/>
                <a:gd name="connsiteY10" fmla="*/ 7096 h 9832"/>
                <a:gd name="connsiteX11" fmla="*/ 1628 w 10000"/>
                <a:gd name="connsiteY11" fmla="*/ 6687 h 9832"/>
                <a:gd name="connsiteX12" fmla="*/ 2455 w 10000"/>
                <a:gd name="connsiteY12" fmla="*/ 6314 h 9832"/>
                <a:gd name="connsiteX13" fmla="*/ 3223 w 10000"/>
                <a:gd name="connsiteY13" fmla="*/ 6306 h 9832"/>
                <a:gd name="connsiteX14" fmla="*/ 4375 w 10000"/>
                <a:gd name="connsiteY14" fmla="*/ 7315 h 9832"/>
                <a:gd name="connsiteX15" fmla="*/ 5771 w 10000"/>
                <a:gd name="connsiteY15" fmla="*/ 8286 h 9832"/>
                <a:gd name="connsiteX16" fmla="*/ 5779 w 10000"/>
                <a:gd name="connsiteY16" fmla="*/ 9203 h 9832"/>
                <a:gd name="connsiteX17" fmla="*/ 7077 w 10000"/>
                <a:gd name="connsiteY17" fmla="*/ 9831 h 9832"/>
                <a:gd name="connsiteX18" fmla="*/ 8128 w 10000"/>
                <a:gd name="connsiteY18" fmla="*/ 9022 h 9832"/>
                <a:gd name="connsiteX19" fmla="*/ 8741 w 10000"/>
                <a:gd name="connsiteY19" fmla="*/ 8385 h 9832"/>
                <a:gd name="connsiteX20" fmla="*/ 8912 w 10000"/>
                <a:gd name="connsiteY20" fmla="*/ 7232 h 9832"/>
                <a:gd name="connsiteX21" fmla="*/ 9911 w 10000"/>
                <a:gd name="connsiteY21" fmla="*/ 7301 h 9832"/>
                <a:gd name="connsiteX22" fmla="*/ 10000 w 10000"/>
                <a:gd name="connsiteY22" fmla="*/ 6176 h 9832"/>
                <a:gd name="connsiteX23" fmla="*/ 7244 w 10000"/>
                <a:gd name="connsiteY23" fmla="*/ 3690 h 9832"/>
                <a:gd name="connsiteX24" fmla="*/ 6586 w 10000"/>
                <a:gd name="connsiteY24" fmla="*/ 2088 h 9832"/>
                <a:gd name="connsiteX25" fmla="*/ 5118 w 10000"/>
                <a:gd name="connsiteY25" fmla="*/ 1726 h 9832"/>
                <a:gd name="connsiteX26" fmla="*/ 4506 w 10000"/>
                <a:gd name="connsiteY26" fmla="*/ 198 h 9832"/>
                <a:gd name="connsiteX0" fmla="*/ 4506 w 10000"/>
                <a:gd name="connsiteY0" fmla="*/ 201 h 10000"/>
                <a:gd name="connsiteX1" fmla="*/ 3816 w 10000"/>
                <a:gd name="connsiteY1" fmla="*/ 0 h 10000"/>
                <a:gd name="connsiteX2" fmla="*/ 3133 w 10000"/>
                <a:gd name="connsiteY2" fmla="*/ 1375 h 10000"/>
                <a:gd name="connsiteX3" fmla="*/ 2180 w 10000"/>
                <a:gd name="connsiteY3" fmla="*/ 2353 h 10000"/>
                <a:gd name="connsiteX4" fmla="*/ 1554 w 10000"/>
                <a:gd name="connsiteY4" fmla="*/ 702 h 10000"/>
                <a:gd name="connsiteX5" fmla="*/ 785 w 10000"/>
                <a:gd name="connsiteY5" fmla="*/ 1118 h 10000"/>
                <a:gd name="connsiteX6" fmla="*/ 22 w 10000"/>
                <a:gd name="connsiteY6" fmla="*/ 2020 h 10000"/>
                <a:gd name="connsiteX7" fmla="*/ 250 w 10000"/>
                <a:gd name="connsiteY7" fmla="*/ 4328 h 10000"/>
                <a:gd name="connsiteX8" fmla="*/ 1152 w 10000"/>
                <a:gd name="connsiteY8" fmla="*/ 5304 h 10000"/>
                <a:gd name="connsiteX9" fmla="*/ 1270 w 10000"/>
                <a:gd name="connsiteY9" fmla="*/ 6300 h 10000"/>
                <a:gd name="connsiteX10" fmla="*/ 971 w 10000"/>
                <a:gd name="connsiteY10" fmla="*/ 7217 h 10000"/>
                <a:gd name="connsiteX11" fmla="*/ 1628 w 10000"/>
                <a:gd name="connsiteY11" fmla="*/ 6801 h 10000"/>
                <a:gd name="connsiteX12" fmla="*/ 2455 w 10000"/>
                <a:gd name="connsiteY12" fmla="*/ 6422 h 10000"/>
                <a:gd name="connsiteX13" fmla="*/ 3223 w 10000"/>
                <a:gd name="connsiteY13" fmla="*/ 6414 h 10000"/>
                <a:gd name="connsiteX14" fmla="*/ 4375 w 10000"/>
                <a:gd name="connsiteY14" fmla="*/ 7440 h 10000"/>
                <a:gd name="connsiteX15" fmla="*/ 5771 w 10000"/>
                <a:gd name="connsiteY15" fmla="*/ 8428 h 10000"/>
                <a:gd name="connsiteX16" fmla="*/ 5779 w 10000"/>
                <a:gd name="connsiteY16" fmla="*/ 9360 h 10000"/>
                <a:gd name="connsiteX17" fmla="*/ 7077 w 10000"/>
                <a:gd name="connsiteY17" fmla="*/ 9999 h 10000"/>
                <a:gd name="connsiteX18" fmla="*/ 8128 w 10000"/>
                <a:gd name="connsiteY18" fmla="*/ 9176 h 10000"/>
                <a:gd name="connsiteX19" fmla="*/ 8741 w 10000"/>
                <a:gd name="connsiteY19" fmla="*/ 8528 h 10000"/>
                <a:gd name="connsiteX20" fmla="*/ 8912 w 10000"/>
                <a:gd name="connsiteY20" fmla="*/ 7356 h 10000"/>
                <a:gd name="connsiteX21" fmla="*/ 9911 w 10000"/>
                <a:gd name="connsiteY21" fmla="*/ 7426 h 10000"/>
                <a:gd name="connsiteX22" fmla="*/ 10000 w 10000"/>
                <a:gd name="connsiteY22" fmla="*/ 6282 h 10000"/>
                <a:gd name="connsiteX23" fmla="*/ 7244 w 10000"/>
                <a:gd name="connsiteY23" fmla="*/ 3753 h 10000"/>
                <a:gd name="connsiteX24" fmla="*/ 6586 w 10000"/>
                <a:gd name="connsiteY24" fmla="*/ 2124 h 10000"/>
                <a:gd name="connsiteX25" fmla="*/ 5118 w 10000"/>
                <a:gd name="connsiteY25" fmla="*/ 1755 h 10000"/>
                <a:gd name="connsiteX26" fmla="*/ 4506 w 10000"/>
                <a:gd name="connsiteY26" fmla="*/ 201 h 10000"/>
                <a:gd name="connsiteX0" fmla="*/ 4506 w 10000"/>
                <a:gd name="connsiteY0" fmla="*/ 201 h 10000"/>
                <a:gd name="connsiteX1" fmla="*/ 3816 w 10000"/>
                <a:gd name="connsiteY1" fmla="*/ 0 h 10000"/>
                <a:gd name="connsiteX2" fmla="*/ 3133 w 10000"/>
                <a:gd name="connsiteY2" fmla="*/ 2248 h 10000"/>
                <a:gd name="connsiteX3" fmla="*/ 2180 w 10000"/>
                <a:gd name="connsiteY3" fmla="*/ 2353 h 10000"/>
                <a:gd name="connsiteX4" fmla="*/ 1554 w 10000"/>
                <a:gd name="connsiteY4" fmla="*/ 702 h 10000"/>
                <a:gd name="connsiteX5" fmla="*/ 785 w 10000"/>
                <a:gd name="connsiteY5" fmla="*/ 1118 h 10000"/>
                <a:gd name="connsiteX6" fmla="*/ 22 w 10000"/>
                <a:gd name="connsiteY6" fmla="*/ 2020 h 10000"/>
                <a:gd name="connsiteX7" fmla="*/ 250 w 10000"/>
                <a:gd name="connsiteY7" fmla="*/ 4328 h 10000"/>
                <a:gd name="connsiteX8" fmla="*/ 1152 w 10000"/>
                <a:gd name="connsiteY8" fmla="*/ 5304 h 10000"/>
                <a:gd name="connsiteX9" fmla="*/ 1270 w 10000"/>
                <a:gd name="connsiteY9" fmla="*/ 6300 h 10000"/>
                <a:gd name="connsiteX10" fmla="*/ 971 w 10000"/>
                <a:gd name="connsiteY10" fmla="*/ 7217 h 10000"/>
                <a:gd name="connsiteX11" fmla="*/ 1628 w 10000"/>
                <a:gd name="connsiteY11" fmla="*/ 6801 h 10000"/>
                <a:gd name="connsiteX12" fmla="*/ 2455 w 10000"/>
                <a:gd name="connsiteY12" fmla="*/ 6422 h 10000"/>
                <a:gd name="connsiteX13" fmla="*/ 3223 w 10000"/>
                <a:gd name="connsiteY13" fmla="*/ 6414 h 10000"/>
                <a:gd name="connsiteX14" fmla="*/ 4375 w 10000"/>
                <a:gd name="connsiteY14" fmla="*/ 7440 h 10000"/>
                <a:gd name="connsiteX15" fmla="*/ 5771 w 10000"/>
                <a:gd name="connsiteY15" fmla="*/ 8428 h 10000"/>
                <a:gd name="connsiteX16" fmla="*/ 5779 w 10000"/>
                <a:gd name="connsiteY16" fmla="*/ 9360 h 10000"/>
                <a:gd name="connsiteX17" fmla="*/ 7077 w 10000"/>
                <a:gd name="connsiteY17" fmla="*/ 9999 h 10000"/>
                <a:gd name="connsiteX18" fmla="*/ 8128 w 10000"/>
                <a:gd name="connsiteY18" fmla="*/ 9176 h 10000"/>
                <a:gd name="connsiteX19" fmla="*/ 8741 w 10000"/>
                <a:gd name="connsiteY19" fmla="*/ 8528 h 10000"/>
                <a:gd name="connsiteX20" fmla="*/ 8912 w 10000"/>
                <a:gd name="connsiteY20" fmla="*/ 7356 h 10000"/>
                <a:gd name="connsiteX21" fmla="*/ 9911 w 10000"/>
                <a:gd name="connsiteY21" fmla="*/ 7426 h 10000"/>
                <a:gd name="connsiteX22" fmla="*/ 10000 w 10000"/>
                <a:gd name="connsiteY22" fmla="*/ 6282 h 10000"/>
                <a:gd name="connsiteX23" fmla="*/ 7244 w 10000"/>
                <a:gd name="connsiteY23" fmla="*/ 3753 h 10000"/>
                <a:gd name="connsiteX24" fmla="*/ 6586 w 10000"/>
                <a:gd name="connsiteY24" fmla="*/ 2124 h 10000"/>
                <a:gd name="connsiteX25" fmla="*/ 5118 w 10000"/>
                <a:gd name="connsiteY25" fmla="*/ 1755 h 10000"/>
                <a:gd name="connsiteX26" fmla="*/ 4506 w 10000"/>
                <a:gd name="connsiteY26" fmla="*/ 201 h 10000"/>
                <a:gd name="connsiteX0" fmla="*/ 4506 w 10000"/>
                <a:gd name="connsiteY0" fmla="*/ 104 h 9903"/>
                <a:gd name="connsiteX1" fmla="*/ 3415 w 10000"/>
                <a:gd name="connsiteY1" fmla="*/ 0 h 9903"/>
                <a:gd name="connsiteX2" fmla="*/ 3133 w 10000"/>
                <a:gd name="connsiteY2" fmla="*/ 2151 h 9903"/>
                <a:gd name="connsiteX3" fmla="*/ 2180 w 10000"/>
                <a:gd name="connsiteY3" fmla="*/ 2256 h 9903"/>
                <a:gd name="connsiteX4" fmla="*/ 1554 w 10000"/>
                <a:gd name="connsiteY4" fmla="*/ 605 h 9903"/>
                <a:gd name="connsiteX5" fmla="*/ 785 w 10000"/>
                <a:gd name="connsiteY5" fmla="*/ 1021 h 9903"/>
                <a:gd name="connsiteX6" fmla="*/ 22 w 10000"/>
                <a:gd name="connsiteY6" fmla="*/ 1923 h 9903"/>
                <a:gd name="connsiteX7" fmla="*/ 250 w 10000"/>
                <a:gd name="connsiteY7" fmla="*/ 4231 h 9903"/>
                <a:gd name="connsiteX8" fmla="*/ 1152 w 10000"/>
                <a:gd name="connsiteY8" fmla="*/ 5207 h 9903"/>
                <a:gd name="connsiteX9" fmla="*/ 1270 w 10000"/>
                <a:gd name="connsiteY9" fmla="*/ 6203 h 9903"/>
                <a:gd name="connsiteX10" fmla="*/ 971 w 10000"/>
                <a:gd name="connsiteY10" fmla="*/ 7120 h 9903"/>
                <a:gd name="connsiteX11" fmla="*/ 1628 w 10000"/>
                <a:gd name="connsiteY11" fmla="*/ 6704 h 9903"/>
                <a:gd name="connsiteX12" fmla="*/ 2455 w 10000"/>
                <a:gd name="connsiteY12" fmla="*/ 6325 h 9903"/>
                <a:gd name="connsiteX13" fmla="*/ 3223 w 10000"/>
                <a:gd name="connsiteY13" fmla="*/ 6317 h 9903"/>
                <a:gd name="connsiteX14" fmla="*/ 4375 w 10000"/>
                <a:gd name="connsiteY14" fmla="*/ 7343 h 9903"/>
                <a:gd name="connsiteX15" fmla="*/ 5771 w 10000"/>
                <a:gd name="connsiteY15" fmla="*/ 8331 h 9903"/>
                <a:gd name="connsiteX16" fmla="*/ 5779 w 10000"/>
                <a:gd name="connsiteY16" fmla="*/ 9263 h 9903"/>
                <a:gd name="connsiteX17" fmla="*/ 7077 w 10000"/>
                <a:gd name="connsiteY17" fmla="*/ 9902 h 9903"/>
                <a:gd name="connsiteX18" fmla="*/ 8128 w 10000"/>
                <a:gd name="connsiteY18" fmla="*/ 9079 h 9903"/>
                <a:gd name="connsiteX19" fmla="*/ 8741 w 10000"/>
                <a:gd name="connsiteY19" fmla="*/ 8431 h 9903"/>
                <a:gd name="connsiteX20" fmla="*/ 8912 w 10000"/>
                <a:gd name="connsiteY20" fmla="*/ 7259 h 9903"/>
                <a:gd name="connsiteX21" fmla="*/ 9911 w 10000"/>
                <a:gd name="connsiteY21" fmla="*/ 7329 h 9903"/>
                <a:gd name="connsiteX22" fmla="*/ 10000 w 10000"/>
                <a:gd name="connsiteY22" fmla="*/ 6185 h 9903"/>
                <a:gd name="connsiteX23" fmla="*/ 7244 w 10000"/>
                <a:gd name="connsiteY23" fmla="*/ 3656 h 9903"/>
                <a:gd name="connsiteX24" fmla="*/ 6586 w 10000"/>
                <a:gd name="connsiteY24" fmla="*/ 2027 h 9903"/>
                <a:gd name="connsiteX25" fmla="*/ 5118 w 10000"/>
                <a:gd name="connsiteY25" fmla="*/ 1658 h 9903"/>
                <a:gd name="connsiteX26" fmla="*/ 4506 w 10000"/>
                <a:gd name="connsiteY26" fmla="*/ 104 h 9903"/>
                <a:gd name="connsiteX0" fmla="*/ 4506 w 10000"/>
                <a:gd name="connsiteY0" fmla="*/ 0 h 9895"/>
                <a:gd name="connsiteX1" fmla="*/ 3348 w 10000"/>
                <a:gd name="connsiteY1" fmla="*/ 385 h 9895"/>
                <a:gd name="connsiteX2" fmla="*/ 3133 w 10000"/>
                <a:gd name="connsiteY2" fmla="*/ 2067 h 9895"/>
                <a:gd name="connsiteX3" fmla="*/ 2180 w 10000"/>
                <a:gd name="connsiteY3" fmla="*/ 2173 h 9895"/>
                <a:gd name="connsiteX4" fmla="*/ 1554 w 10000"/>
                <a:gd name="connsiteY4" fmla="*/ 506 h 9895"/>
                <a:gd name="connsiteX5" fmla="*/ 785 w 10000"/>
                <a:gd name="connsiteY5" fmla="*/ 926 h 9895"/>
                <a:gd name="connsiteX6" fmla="*/ 22 w 10000"/>
                <a:gd name="connsiteY6" fmla="*/ 1837 h 9895"/>
                <a:gd name="connsiteX7" fmla="*/ 250 w 10000"/>
                <a:gd name="connsiteY7" fmla="*/ 4167 h 9895"/>
                <a:gd name="connsiteX8" fmla="*/ 1152 w 10000"/>
                <a:gd name="connsiteY8" fmla="*/ 5153 h 9895"/>
                <a:gd name="connsiteX9" fmla="*/ 1270 w 10000"/>
                <a:gd name="connsiteY9" fmla="*/ 6159 h 9895"/>
                <a:gd name="connsiteX10" fmla="*/ 971 w 10000"/>
                <a:gd name="connsiteY10" fmla="*/ 7085 h 9895"/>
                <a:gd name="connsiteX11" fmla="*/ 1628 w 10000"/>
                <a:gd name="connsiteY11" fmla="*/ 6665 h 9895"/>
                <a:gd name="connsiteX12" fmla="*/ 2455 w 10000"/>
                <a:gd name="connsiteY12" fmla="*/ 6282 h 9895"/>
                <a:gd name="connsiteX13" fmla="*/ 3223 w 10000"/>
                <a:gd name="connsiteY13" fmla="*/ 6274 h 9895"/>
                <a:gd name="connsiteX14" fmla="*/ 4375 w 10000"/>
                <a:gd name="connsiteY14" fmla="*/ 7310 h 9895"/>
                <a:gd name="connsiteX15" fmla="*/ 5771 w 10000"/>
                <a:gd name="connsiteY15" fmla="*/ 8308 h 9895"/>
                <a:gd name="connsiteX16" fmla="*/ 5779 w 10000"/>
                <a:gd name="connsiteY16" fmla="*/ 9249 h 9895"/>
                <a:gd name="connsiteX17" fmla="*/ 7077 w 10000"/>
                <a:gd name="connsiteY17" fmla="*/ 9894 h 9895"/>
                <a:gd name="connsiteX18" fmla="*/ 8128 w 10000"/>
                <a:gd name="connsiteY18" fmla="*/ 9063 h 9895"/>
                <a:gd name="connsiteX19" fmla="*/ 8741 w 10000"/>
                <a:gd name="connsiteY19" fmla="*/ 8409 h 9895"/>
                <a:gd name="connsiteX20" fmla="*/ 8912 w 10000"/>
                <a:gd name="connsiteY20" fmla="*/ 7225 h 9895"/>
                <a:gd name="connsiteX21" fmla="*/ 9911 w 10000"/>
                <a:gd name="connsiteY21" fmla="*/ 7296 h 9895"/>
                <a:gd name="connsiteX22" fmla="*/ 10000 w 10000"/>
                <a:gd name="connsiteY22" fmla="*/ 6141 h 9895"/>
                <a:gd name="connsiteX23" fmla="*/ 7244 w 10000"/>
                <a:gd name="connsiteY23" fmla="*/ 3587 h 9895"/>
                <a:gd name="connsiteX24" fmla="*/ 6586 w 10000"/>
                <a:gd name="connsiteY24" fmla="*/ 1942 h 9895"/>
                <a:gd name="connsiteX25" fmla="*/ 5118 w 10000"/>
                <a:gd name="connsiteY25" fmla="*/ 1569 h 9895"/>
                <a:gd name="connsiteX26" fmla="*/ 4506 w 10000"/>
                <a:gd name="connsiteY26" fmla="*/ 0 h 9895"/>
                <a:gd name="connsiteX0" fmla="*/ 4506 w 9985"/>
                <a:gd name="connsiteY0" fmla="*/ 0 h 10000"/>
                <a:gd name="connsiteX1" fmla="*/ 3348 w 9985"/>
                <a:gd name="connsiteY1" fmla="*/ 389 h 10000"/>
                <a:gd name="connsiteX2" fmla="*/ 3133 w 9985"/>
                <a:gd name="connsiteY2" fmla="*/ 2089 h 10000"/>
                <a:gd name="connsiteX3" fmla="*/ 2180 w 9985"/>
                <a:gd name="connsiteY3" fmla="*/ 2196 h 10000"/>
                <a:gd name="connsiteX4" fmla="*/ 1554 w 9985"/>
                <a:gd name="connsiteY4" fmla="*/ 511 h 10000"/>
                <a:gd name="connsiteX5" fmla="*/ 785 w 9985"/>
                <a:gd name="connsiteY5" fmla="*/ 936 h 10000"/>
                <a:gd name="connsiteX6" fmla="*/ 22 w 9985"/>
                <a:gd name="connsiteY6" fmla="*/ 1856 h 10000"/>
                <a:gd name="connsiteX7" fmla="*/ 250 w 9985"/>
                <a:gd name="connsiteY7" fmla="*/ 4211 h 10000"/>
                <a:gd name="connsiteX8" fmla="*/ 1152 w 9985"/>
                <a:gd name="connsiteY8" fmla="*/ 5208 h 10000"/>
                <a:gd name="connsiteX9" fmla="*/ 1270 w 9985"/>
                <a:gd name="connsiteY9" fmla="*/ 6224 h 10000"/>
                <a:gd name="connsiteX10" fmla="*/ 971 w 9985"/>
                <a:gd name="connsiteY10" fmla="*/ 7160 h 10000"/>
                <a:gd name="connsiteX11" fmla="*/ 1628 w 9985"/>
                <a:gd name="connsiteY11" fmla="*/ 6736 h 10000"/>
                <a:gd name="connsiteX12" fmla="*/ 2455 w 9985"/>
                <a:gd name="connsiteY12" fmla="*/ 6349 h 10000"/>
                <a:gd name="connsiteX13" fmla="*/ 3223 w 9985"/>
                <a:gd name="connsiteY13" fmla="*/ 6341 h 10000"/>
                <a:gd name="connsiteX14" fmla="*/ 4375 w 9985"/>
                <a:gd name="connsiteY14" fmla="*/ 7388 h 10000"/>
                <a:gd name="connsiteX15" fmla="*/ 5771 w 9985"/>
                <a:gd name="connsiteY15" fmla="*/ 8396 h 10000"/>
                <a:gd name="connsiteX16" fmla="*/ 5779 w 9985"/>
                <a:gd name="connsiteY16" fmla="*/ 9347 h 10000"/>
                <a:gd name="connsiteX17" fmla="*/ 7077 w 9985"/>
                <a:gd name="connsiteY17" fmla="*/ 9999 h 10000"/>
                <a:gd name="connsiteX18" fmla="*/ 8128 w 9985"/>
                <a:gd name="connsiteY18" fmla="*/ 9159 h 10000"/>
                <a:gd name="connsiteX19" fmla="*/ 8741 w 9985"/>
                <a:gd name="connsiteY19" fmla="*/ 8498 h 10000"/>
                <a:gd name="connsiteX20" fmla="*/ 8912 w 9985"/>
                <a:gd name="connsiteY20" fmla="*/ 7302 h 10000"/>
                <a:gd name="connsiteX21" fmla="*/ 9911 w 9985"/>
                <a:gd name="connsiteY21" fmla="*/ 7373 h 10000"/>
                <a:gd name="connsiteX22" fmla="*/ 9933 w 9985"/>
                <a:gd name="connsiteY22" fmla="*/ 6503 h 10000"/>
                <a:gd name="connsiteX23" fmla="*/ 7244 w 9985"/>
                <a:gd name="connsiteY23" fmla="*/ 3625 h 10000"/>
                <a:gd name="connsiteX24" fmla="*/ 6586 w 9985"/>
                <a:gd name="connsiteY24" fmla="*/ 1963 h 10000"/>
                <a:gd name="connsiteX25" fmla="*/ 5118 w 9985"/>
                <a:gd name="connsiteY25" fmla="*/ 1586 h 10000"/>
                <a:gd name="connsiteX26" fmla="*/ 4506 w 9985"/>
                <a:gd name="connsiteY26" fmla="*/ 0 h 10000"/>
                <a:gd name="connsiteX0" fmla="*/ 4513 w 10201"/>
                <a:gd name="connsiteY0" fmla="*/ 0 h 10000"/>
                <a:gd name="connsiteX1" fmla="*/ 3353 w 10201"/>
                <a:gd name="connsiteY1" fmla="*/ 389 h 10000"/>
                <a:gd name="connsiteX2" fmla="*/ 3138 w 10201"/>
                <a:gd name="connsiteY2" fmla="*/ 2089 h 10000"/>
                <a:gd name="connsiteX3" fmla="*/ 2183 w 10201"/>
                <a:gd name="connsiteY3" fmla="*/ 2196 h 10000"/>
                <a:gd name="connsiteX4" fmla="*/ 1556 w 10201"/>
                <a:gd name="connsiteY4" fmla="*/ 511 h 10000"/>
                <a:gd name="connsiteX5" fmla="*/ 786 w 10201"/>
                <a:gd name="connsiteY5" fmla="*/ 936 h 10000"/>
                <a:gd name="connsiteX6" fmla="*/ 22 w 10201"/>
                <a:gd name="connsiteY6" fmla="*/ 1856 h 10000"/>
                <a:gd name="connsiteX7" fmla="*/ 250 w 10201"/>
                <a:gd name="connsiteY7" fmla="*/ 4211 h 10000"/>
                <a:gd name="connsiteX8" fmla="*/ 1154 w 10201"/>
                <a:gd name="connsiteY8" fmla="*/ 5208 h 10000"/>
                <a:gd name="connsiteX9" fmla="*/ 1272 w 10201"/>
                <a:gd name="connsiteY9" fmla="*/ 6224 h 10000"/>
                <a:gd name="connsiteX10" fmla="*/ 972 w 10201"/>
                <a:gd name="connsiteY10" fmla="*/ 7160 h 10000"/>
                <a:gd name="connsiteX11" fmla="*/ 1630 w 10201"/>
                <a:gd name="connsiteY11" fmla="*/ 6736 h 10000"/>
                <a:gd name="connsiteX12" fmla="*/ 2459 w 10201"/>
                <a:gd name="connsiteY12" fmla="*/ 6349 h 10000"/>
                <a:gd name="connsiteX13" fmla="*/ 3228 w 10201"/>
                <a:gd name="connsiteY13" fmla="*/ 6341 h 10000"/>
                <a:gd name="connsiteX14" fmla="*/ 4382 w 10201"/>
                <a:gd name="connsiteY14" fmla="*/ 7388 h 10000"/>
                <a:gd name="connsiteX15" fmla="*/ 5780 w 10201"/>
                <a:gd name="connsiteY15" fmla="*/ 8396 h 10000"/>
                <a:gd name="connsiteX16" fmla="*/ 5788 w 10201"/>
                <a:gd name="connsiteY16" fmla="*/ 9347 h 10000"/>
                <a:gd name="connsiteX17" fmla="*/ 7088 w 10201"/>
                <a:gd name="connsiteY17" fmla="*/ 9999 h 10000"/>
                <a:gd name="connsiteX18" fmla="*/ 8140 w 10201"/>
                <a:gd name="connsiteY18" fmla="*/ 9159 h 10000"/>
                <a:gd name="connsiteX19" fmla="*/ 8754 w 10201"/>
                <a:gd name="connsiteY19" fmla="*/ 8498 h 10000"/>
                <a:gd name="connsiteX20" fmla="*/ 8925 w 10201"/>
                <a:gd name="connsiteY20" fmla="*/ 7302 h 10000"/>
                <a:gd name="connsiteX21" fmla="*/ 9926 w 10201"/>
                <a:gd name="connsiteY21" fmla="*/ 7373 h 10000"/>
                <a:gd name="connsiteX22" fmla="*/ 9948 w 10201"/>
                <a:gd name="connsiteY22" fmla="*/ 6503 h 10000"/>
                <a:gd name="connsiteX23" fmla="*/ 6987 w 10201"/>
                <a:gd name="connsiteY23" fmla="*/ 4318 h 10000"/>
                <a:gd name="connsiteX24" fmla="*/ 6596 w 10201"/>
                <a:gd name="connsiteY24" fmla="*/ 1963 h 10000"/>
                <a:gd name="connsiteX25" fmla="*/ 5126 w 10201"/>
                <a:gd name="connsiteY25" fmla="*/ 1586 h 10000"/>
                <a:gd name="connsiteX26" fmla="*/ 4513 w 10201"/>
                <a:gd name="connsiteY26" fmla="*/ 0 h 10000"/>
                <a:gd name="connsiteX0" fmla="*/ 4513 w 10201"/>
                <a:gd name="connsiteY0" fmla="*/ 0 h 10000"/>
                <a:gd name="connsiteX1" fmla="*/ 3353 w 10201"/>
                <a:gd name="connsiteY1" fmla="*/ 389 h 10000"/>
                <a:gd name="connsiteX2" fmla="*/ 3138 w 10201"/>
                <a:gd name="connsiteY2" fmla="*/ 2089 h 10000"/>
                <a:gd name="connsiteX3" fmla="*/ 2183 w 10201"/>
                <a:gd name="connsiteY3" fmla="*/ 2196 h 10000"/>
                <a:gd name="connsiteX4" fmla="*/ 1556 w 10201"/>
                <a:gd name="connsiteY4" fmla="*/ 511 h 10000"/>
                <a:gd name="connsiteX5" fmla="*/ 786 w 10201"/>
                <a:gd name="connsiteY5" fmla="*/ 936 h 10000"/>
                <a:gd name="connsiteX6" fmla="*/ 22 w 10201"/>
                <a:gd name="connsiteY6" fmla="*/ 1856 h 10000"/>
                <a:gd name="connsiteX7" fmla="*/ 250 w 10201"/>
                <a:gd name="connsiteY7" fmla="*/ 4211 h 10000"/>
                <a:gd name="connsiteX8" fmla="*/ 1154 w 10201"/>
                <a:gd name="connsiteY8" fmla="*/ 5208 h 10000"/>
                <a:gd name="connsiteX9" fmla="*/ 1272 w 10201"/>
                <a:gd name="connsiteY9" fmla="*/ 6224 h 10000"/>
                <a:gd name="connsiteX10" fmla="*/ 972 w 10201"/>
                <a:gd name="connsiteY10" fmla="*/ 7160 h 10000"/>
                <a:gd name="connsiteX11" fmla="*/ 1630 w 10201"/>
                <a:gd name="connsiteY11" fmla="*/ 6736 h 10000"/>
                <a:gd name="connsiteX12" fmla="*/ 2459 w 10201"/>
                <a:gd name="connsiteY12" fmla="*/ 6349 h 10000"/>
                <a:gd name="connsiteX13" fmla="*/ 3228 w 10201"/>
                <a:gd name="connsiteY13" fmla="*/ 6341 h 10000"/>
                <a:gd name="connsiteX14" fmla="*/ 4382 w 10201"/>
                <a:gd name="connsiteY14" fmla="*/ 7388 h 10000"/>
                <a:gd name="connsiteX15" fmla="*/ 5780 w 10201"/>
                <a:gd name="connsiteY15" fmla="*/ 8396 h 10000"/>
                <a:gd name="connsiteX16" fmla="*/ 5788 w 10201"/>
                <a:gd name="connsiteY16" fmla="*/ 9347 h 10000"/>
                <a:gd name="connsiteX17" fmla="*/ 7088 w 10201"/>
                <a:gd name="connsiteY17" fmla="*/ 9999 h 10000"/>
                <a:gd name="connsiteX18" fmla="*/ 8140 w 10201"/>
                <a:gd name="connsiteY18" fmla="*/ 9159 h 10000"/>
                <a:gd name="connsiteX19" fmla="*/ 8754 w 10201"/>
                <a:gd name="connsiteY19" fmla="*/ 8498 h 10000"/>
                <a:gd name="connsiteX20" fmla="*/ 8925 w 10201"/>
                <a:gd name="connsiteY20" fmla="*/ 7302 h 10000"/>
                <a:gd name="connsiteX21" fmla="*/ 9926 w 10201"/>
                <a:gd name="connsiteY21" fmla="*/ 7373 h 10000"/>
                <a:gd name="connsiteX22" fmla="*/ 9948 w 10201"/>
                <a:gd name="connsiteY22" fmla="*/ 6503 h 10000"/>
                <a:gd name="connsiteX23" fmla="*/ 6987 w 10201"/>
                <a:gd name="connsiteY23" fmla="*/ 4318 h 10000"/>
                <a:gd name="connsiteX24" fmla="*/ 6462 w 10201"/>
                <a:gd name="connsiteY24" fmla="*/ 2557 h 10000"/>
                <a:gd name="connsiteX25" fmla="*/ 5126 w 10201"/>
                <a:gd name="connsiteY25" fmla="*/ 1586 h 10000"/>
                <a:gd name="connsiteX26" fmla="*/ 4513 w 10201"/>
                <a:gd name="connsiteY26" fmla="*/ 0 h 10000"/>
                <a:gd name="connsiteX0" fmla="*/ 4513 w 10201"/>
                <a:gd name="connsiteY0" fmla="*/ 0 h 10000"/>
                <a:gd name="connsiteX1" fmla="*/ 3353 w 10201"/>
                <a:gd name="connsiteY1" fmla="*/ 389 h 10000"/>
                <a:gd name="connsiteX2" fmla="*/ 3138 w 10201"/>
                <a:gd name="connsiteY2" fmla="*/ 2089 h 10000"/>
                <a:gd name="connsiteX3" fmla="*/ 2183 w 10201"/>
                <a:gd name="connsiteY3" fmla="*/ 2196 h 10000"/>
                <a:gd name="connsiteX4" fmla="*/ 1556 w 10201"/>
                <a:gd name="connsiteY4" fmla="*/ 511 h 10000"/>
                <a:gd name="connsiteX5" fmla="*/ 786 w 10201"/>
                <a:gd name="connsiteY5" fmla="*/ 936 h 10000"/>
                <a:gd name="connsiteX6" fmla="*/ 22 w 10201"/>
                <a:gd name="connsiteY6" fmla="*/ 1856 h 10000"/>
                <a:gd name="connsiteX7" fmla="*/ 250 w 10201"/>
                <a:gd name="connsiteY7" fmla="*/ 4211 h 10000"/>
                <a:gd name="connsiteX8" fmla="*/ 1154 w 10201"/>
                <a:gd name="connsiteY8" fmla="*/ 5208 h 10000"/>
                <a:gd name="connsiteX9" fmla="*/ 1272 w 10201"/>
                <a:gd name="connsiteY9" fmla="*/ 6224 h 10000"/>
                <a:gd name="connsiteX10" fmla="*/ 972 w 10201"/>
                <a:gd name="connsiteY10" fmla="*/ 7160 h 10000"/>
                <a:gd name="connsiteX11" fmla="*/ 1630 w 10201"/>
                <a:gd name="connsiteY11" fmla="*/ 6736 h 10000"/>
                <a:gd name="connsiteX12" fmla="*/ 2459 w 10201"/>
                <a:gd name="connsiteY12" fmla="*/ 6349 h 10000"/>
                <a:gd name="connsiteX13" fmla="*/ 3228 w 10201"/>
                <a:gd name="connsiteY13" fmla="*/ 6341 h 10000"/>
                <a:gd name="connsiteX14" fmla="*/ 4382 w 10201"/>
                <a:gd name="connsiteY14" fmla="*/ 7388 h 10000"/>
                <a:gd name="connsiteX15" fmla="*/ 5780 w 10201"/>
                <a:gd name="connsiteY15" fmla="*/ 8396 h 10000"/>
                <a:gd name="connsiteX16" fmla="*/ 5788 w 10201"/>
                <a:gd name="connsiteY16" fmla="*/ 9347 h 10000"/>
                <a:gd name="connsiteX17" fmla="*/ 7088 w 10201"/>
                <a:gd name="connsiteY17" fmla="*/ 9999 h 10000"/>
                <a:gd name="connsiteX18" fmla="*/ 8140 w 10201"/>
                <a:gd name="connsiteY18" fmla="*/ 9159 h 10000"/>
                <a:gd name="connsiteX19" fmla="*/ 8754 w 10201"/>
                <a:gd name="connsiteY19" fmla="*/ 8498 h 10000"/>
                <a:gd name="connsiteX20" fmla="*/ 8925 w 10201"/>
                <a:gd name="connsiteY20" fmla="*/ 7302 h 10000"/>
                <a:gd name="connsiteX21" fmla="*/ 9926 w 10201"/>
                <a:gd name="connsiteY21" fmla="*/ 7373 h 10000"/>
                <a:gd name="connsiteX22" fmla="*/ 9948 w 10201"/>
                <a:gd name="connsiteY22" fmla="*/ 6503 h 10000"/>
                <a:gd name="connsiteX23" fmla="*/ 6987 w 10201"/>
                <a:gd name="connsiteY23" fmla="*/ 4318 h 10000"/>
                <a:gd name="connsiteX24" fmla="*/ 6462 w 10201"/>
                <a:gd name="connsiteY24" fmla="*/ 2557 h 10000"/>
                <a:gd name="connsiteX25" fmla="*/ 5126 w 10201"/>
                <a:gd name="connsiteY25" fmla="*/ 2180 h 10000"/>
                <a:gd name="connsiteX26" fmla="*/ 4513 w 10201"/>
                <a:gd name="connsiteY26" fmla="*/ 0 h 10000"/>
                <a:gd name="connsiteX0" fmla="*/ 4245 w 10201"/>
                <a:gd name="connsiteY0" fmla="*/ 304 h 9611"/>
                <a:gd name="connsiteX1" fmla="*/ 3353 w 10201"/>
                <a:gd name="connsiteY1" fmla="*/ 0 h 9611"/>
                <a:gd name="connsiteX2" fmla="*/ 3138 w 10201"/>
                <a:gd name="connsiteY2" fmla="*/ 1700 h 9611"/>
                <a:gd name="connsiteX3" fmla="*/ 2183 w 10201"/>
                <a:gd name="connsiteY3" fmla="*/ 1807 h 9611"/>
                <a:gd name="connsiteX4" fmla="*/ 1556 w 10201"/>
                <a:gd name="connsiteY4" fmla="*/ 122 h 9611"/>
                <a:gd name="connsiteX5" fmla="*/ 786 w 10201"/>
                <a:gd name="connsiteY5" fmla="*/ 547 h 9611"/>
                <a:gd name="connsiteX6" fmla="*/ 22 w 10201"/>
                <a:gd name="connsiteY6" fmla="*/ 1467 h 9611"/>
                <a:gd name="connsiteX7" fmla="*/ 250 w 10201"/>
                <a:gd name="connsiteY7" fmla="*/ 3822 h 9611"/>
                <a:gd name="connsiteX8" fmla="*/ 1154 w 10201"/>
                <a:gd name="connsiteY8" fmla="*/ 4819 h 9611"/>
                <a:gd name="connsiteX9" fmla="*/ 1272 w 10201"/>
                <a:gd name="connsiteY9" fmla="*/ 5835 h 9611"/>
                <a:gd name="connsiteX10" fmla="*/ 972 w 10201"/>
                <a:gd name="connsiteY10" fmla="*/ 6771 h 9611"/>
                <a:gd name="connsiteX11" fmla="*/ 1630 w 10201"/>
                <a:gd name="connsiteY11" fmla="*/ 6347 h 9611"/>
                <a:gd name="connsiteX12" fmla="*/ 2459 w 10201"/>
                <a:gd name="connsiteY12" fmla="*/ 5960 h 9611"/>
                <a:gd name="connsiteX13" fmla="*/ 3228 w 10201"/>
                <a:gd name="connsiteY13" fmla="*/ 5952 h 9611"/>
                <a:gd name="connsiteX14" fmla="*/ 4382 w 10201"/>
                <a:gd name="connsiteY14" fmla="*/ 6999 h 9611"/>
                <a:gd name="connsiteX15" fmla="*/ 5780 w 10201"/>
                <a:gd name="connsiteY15" fmla="*/ 8007 h 9611"/>
                <a:gd name="connsiteX16" fmla="*/ 5788 w 10201"/>
                <a:gd name="connsiteY16" fmla="*/ 8958 h 9611"/>
                <a:gd name="connsiteX17" fmla="*/ 7088 w 10201"/>
                <a:gd name="connsiteY17" fmla="*/ 9610 h 9611"/>
                <a:gd name="connsiteX18" fmla="*/ 8140 w 10201"/>
                <a:gd name="connsiteY18" fmla="*/ 8770 h 9611"/>
                <a:gd name="connsiteX19" fmla="*/ 8754 w 10201"/>
                <a:gd name="connsiteY19" fmla="*/ 8109 h 9611"/>
                <a:gd name="connsiteX20" fmla="*/ 8925 w 10201"/>
                <a:gd name="connsiteY20" fmla="*/ 6913 h 9611"/>
                <a:gd name="connsiteX21" fmla="*/ 9926 w 10201"/>
                <a:gd name="connsiteY21" fmla="*/ 6984 h 9611"/>
                <a:gd name="connsiteX22" fmla="*/ 9948 w 10201"/>
                <a:gd name="connsiteY22" fmla="*/ 6114 h 9611"/>
                <a:gd name="connsiteX23" fmla="*/ 6987 w 10201"/>
                <a:gd name="connsiteY23" fmla="*/ 3929 h 9611"/>
                <a:gd name="connsiteX24" fmla="*/ 6462 w 10201"/>
                <a:gd name="connsiteY24" fmla="*/ 2168 h 9611"/>
                <a:gd name="connsiteX25" fmla="*/ 5126 w 10201"/>
                <a:gd name="connsiteY25" fmla="*/ 1791 h 9611"/>
                <a:gd name="connsiteX26" fmla="*/ 4245 w 10201"/>
                <a:gd name="connsiteY26" fmla="*/ 304 h 9611"/>
                <a:gd name="connsiteX0" fmla="*/ 4161 w 10000"/>
                <a:gd name="connsiteY0" fmla="*/ 189 h 9873"/>
                <a:gd name="connsiteX1" fmla="*/ 3287 w 10000"/>
                <a:gd name="connsiteY1" fmla="*/ 388 h 9873"/>
                <a:gd name="connsiteX2" fmla="*/ 3076 w 10000"/>
                <a:gd name="connsiteY2" fmla="*/ 1642 h 9873"/>
                <a:gd name="connsiteX3" fmla="*/ 2140 w 10000"/>
                <a:gd name="connsiteY3" fmla="*/ 1753 h 9873"/>
                <a:gd name="connsiteX4" fmla="*/ 1525 w 10000"/>
                <a:gd name="connsiteY4" fmla="*/ 0 h 9873"/>
                <a:gd name="connsiteX5" fmla="*/ 771 w 10000"/>
                <a:gd name="connsiteY5" fmla="*/ 442 h 9873"/>
                <a:gd name="connsiteX6" fmla="*/ 22 w 10000"/>
                <a:gd name="connsiteY6" fmla="*/ 1399 h 9873"/>
                <a:gd name="connsiteX7" fmla="*/ 245 w 10000"/>
                <a:gd name="connsiteY7" fmla="*/ 3850 h 9873"/>
                <a:gd name="connsiteX8" fmla="*/ 1131 w 10000"/>
                <a:gd name="connsiteY8" fmla="*/ 4887 h 9873"/>
                <a:gd name="connsiteX9" fmla="*/ 1247 w 10000"/>
                <a:gd name="connsiteY9" fmla="*/ 5944 h 9873"/>
                <a:gd name="connsiteX10" fmla="*/ 953 w 10000"/>
                <a:gd name="connsiteY10" fmla="*/ 6918 h 9873"/>
                <a:gd name="connsiteX11" fmla="*/ 1598 w 10000"/>
                <a:gd name="connsiteY11" fmla="*/ 6477 h 9873"/>
                <a:gd name="connsiteX12" fmla="*/ 2411 w 10000"/>
                <a:gd name="connsiteY12" fmla="*/ 6074 h 9873"/>
                <a:gd name="connsiteX13" fmla="*/ 3164 w 10000"/>
                <a:gd name="connsiteY13" fmla="*/ 6066 h 9873"/>
                <a:gd name="connsiteX14" fmla="*/ 4296 w 10000"/>
                <a:gd name="connsiteY14" fmla="*/ 7155 h 9873"/>
                <a:gd name="connsiteX15" fmla="*/ 5666 w 10000"/>
                <a:gd name="connsiteY15" fmla="*/ 8204 h 9873"/>
                <a:gd name="connsiteX16" fmla="*/ 5674 w 10000"/>
                <a:gd name="connsiteY16" fmla="*/ 9194 h 9873"/>
                <a:gd name="connsiteX17" fmla="*/ 6948 w 10000"/>
                <a:gd name="connsiteY17" fmla="*/ 9872 h 9873"/>
                <a:gd name="connsiteX18" fmla="*/ 7980 w 10000"/>
                <a:gd name="connsiteY18" fmla="*/ 8998 h 9873"/>
                <a:gd name="connsiteX19" fmla="*/ 8582 w 10000"/>
                <a:gd name="connsiteY19" fmla="*/ 8310 h 9873"/>
                <a:gd name="connsiteX20" fmla="*/ 8749 w 10000"/>
                <a:gd name="connsiteY20" fmla="*/ 7066 h 9873"/>
                <a:gd name="connsiteX21" fmla="*/ 9730 w 10000"/>
                <a:gd name="connsiteY21" fmla="*/ 7140 h 9873"/>
                <a:gd name="connsiteX22" fmla="*/ 9752 w 10000"/>
                <a:gd name="connsiteY22" fmla="*/ 6234 h 9873"/>
                <a:gd name="connsiteX23" fmla="*/ 6849 w 10000"/>
                <a:gd name="connsiteY23" fmla="*/ 3961 h 9873"/>
                <a:gd name="connsiteX24" fmla="*/ 6335 w 10000"/>
                <a:gd name="connsiteY24" fmla="*/ 2129 h 9873"/>
                <a:gd name="connsiteX25" fmla="*/ 5025 w 10000"/>
                <a:gd name="connsiteY25" fmla="*/ 1736 h 9873"/>
                <a:gd name="connsiteX26" fmla="*/ 4161 w 10000"/>
                <a:gd name="connsiteY26" fmla="*/ 189 h 9873"/>
                <a:gd name="connsiteX0" fmla="*/ 4161 w 10000"/>
                <a:gd name="connsiteY0" fmla="*/ 191 h 10000"/>
                <a:gd name="connsiteX1" fmla="*/ 3287 w 10000"/>
                <a:gd name="connsiteY1" fmla="*/ 393 h 10000"/>
                <a:gd name="connsiteX2" fmla="*/ 3076 w 10000"/>
                <a:gd name="connsiteY2" fmla="*/ 1663 h 10000"/>
                <a:gd name="connsiteX3" fmla="*/ 2140 w 10000"/>
                <a:gd name="connsiteY3" fmla="*/ 1776 h 10000"/>
                <a:gd name="connsiteX4" fmla="*/ 1525 w 10000"/>
                <a:gd name="connsiteY4" fmla="*/ 0 h 10000"/>
                <a:gd name="connsiteX5" fmla="*/ 771 w 10000"/>
                <a:gd name="connsiteY5" fmla="*/ 448 h 10000"/>
                <a:gd name="connsiteX6" fmla="*/ 22 w 10000"/>
                <a:gd name="connsiteY6" fmla="*/ 1417 h 10000"/>
                <a:gd name="connsiteX7" fmla="*/ 245 w 10000"/>
                <a:gd name="connsiteY7" fmla="*/ 3900 h 10000"/>
                <a:gd name="connsiteX8" fmla="*/ 1131 w 10000"/>
                <a:gd name="connsiteY8" fmla="*/ 4950 h 10000"/>
                <a:gd name="connsiteX9" fmla="*/ 1247 w 10000"/>
                <a:gd name="connsiteY9" fmla="*/ 6020 h 10000"/>
                <a:gd name="connsiteX10" fmla="*/ 953 w 10000"/>
                <a:gd name="connsiteY10" fmla="*/ 7007 h 10000"/>
                <a:gd name="connsiteX11" fmla="*/ 1598 w 10000"/>
                <a:gd name="connsiteY11" fmla="*/ 6560 h 10000"/>
                <a:gd name="connsiteX12" fmla="*/ 2411 w 10000"/>
                <a:gd name="connsiteY12" fmla="*/ 6152 h 10000"/>
                <a:gd name="connsiteX13" fmla="*/ 3164 w 10000"/>
                <a:gd name="connsiteY13" fmla="*/ 6144 h 10000"/>
                <a:gd name="connsiteX14" fmla="*/ 4296 w 10000"/>
                <a:gd name="connsiteY14" fmla="*/ 7247 h 10000"/>
                <a:gd name="connsiteX15" fmla="*/ 5666 w 10000"/>
                <a:gd name="connsiteY15" fmla="*/ 8310 h 10000"/>
                <a:gd name="connsiteX16" fmla="*/ 5674 w 10000"/>
                <a:gd name="connsiteY16" fmla="*/ 9312 h 10000"/>
                <a:gd name="connsiteX17" fmla="*/ 6948 w 10000"/>
                <a:gd name="connsiteY17" fmla="*/ 9999 h 10000"/>
                <a:gd name="connsiteX18" fmla="*/ 7980 w 10000"/>
                <a:gd name="connsiteY18" fmla="*/ 9114 h 10000"/>
                <a:gd name="connsiteX19" fmla="*/ 8582 w 10000"/>
                <a:gd name="connsiteY19" fmla="*/ 8417 h 10000"/>
                <a:gd name="connsiteX20" fmla="*/ 8749 w 10000"/>
                <a:gd name="connsiteY20" fmla="*/ 7157 h 10000"/>
                <a:gd name="connsiteX21" fmla="*/ 9730 w 10000"/>
                <a:gd name="connsiteY21" fmla="*/ 7232 h 10000"/>
                <a:gd name="connsiteX22" fmla="*/ 9752 w 10000"/>
                <a:gd name="connsiteY22" fmla="*/ 6314 h 10000"/>
                <a:gd name="connsiteX23" fmla="*/ 6849 w 10000"/>
                <a:gd name="connsiteY23" fmla="*/ 4012 h 10000"/>
                <a:gd name="connsiteX24" fmla="*/ 6335 w 10000"/>
                <a:gd name="connsiteY24" fmla="*/ 2156 h 10000"/>
                <a:gd name="connsiteX25" fmla="*/ 5025 w 10000"/>
                <a:gd name="connsiteY25" fmla="*/ 1758 h 10000"/>
                <a:gd name="connsiteX26" fmla="*/ 4161 w 10000"/>
                <a:gd name="connsiteY26" fmla="*/ 191 h 10000"/>
                <a:gd name="connsiteX0" fmla="*/ 4161 w 10000"/>
                <a:gd name="connsiteY0" fmla="*/ 191 h 10000"/>
                <a:gd name="connsiteX1" fmla="*/ 3287 w 10000"/>
                <a:gd name="connsiteY1" fmla="*/ 393 h 10000"/>
                <a:gd name="connsiteX2" fmla="*/ 3076 w 10000"/>
                <a:gd name="connsiteY2" fmla="*/ 1663 h 10000"/>
                <a:gd name="connsiteX3" fmla="*/ 2140 w 10000"/>
                <a:gd name="connsiteY3" fmla="*/ 1776 h 10000"/>
                <a:gd name="connsiteX4" fmla="*/ 1525 w 10000"/>
                <a:gd name="connsiteY4" fmla="*/ 0 h 10000"/>
                <a:gd name="connsiteX5" fmla="*/ 771 w 10000"/>
                <a:gd name="connsiteY5" fmla="*/ 448 h 10000"/>
                <a:gd name="connsiteX6" fmla="*/ 22 w 10000"/>
                <a:gd name="connsiteY6" fmla="*/ 1417 h 10000"/>
                <a:gd name="connsiteX7" fmla="*/ 245 w 10000"/>
                <a:gd name="connsiteY7" fmla="*/ 3900 h 10000"/>
                <a:gd name="connsiteX8" fmla="*/ 1131 w 10000"/>
                <a:gd name="connsiteY8" fmla="*/ 4950 h 10000"/>
                <a:gd name="connsiteX9" fmla="*/ 1247 w 10000"/>
                <a:gd name="connsiteY9" fmla="*/ 6020 h 10000"/>
                <a:gd name="connsiteX10" fmla="*/ 953 w 10000"/>
                <a:gd name="connsiteY10" fmla="*/ 7007 h 10000"/>
                <a:gd name="connsiteX11" fmla="*/ 1598 w 10000"/>
                <a:gd name="connsiteY11" fmla="*/ 6560 h 10000"/>
                <a:gd name="connsiteX12" fmla="*/ 2411 w 10000"/>
                <a:gd name="connsiteY12" fmla="*/ 6152 h 10000"/>
                <a:gd name="connsiteX13" fmla="*/ 3164 w 10000"/>
                <a:gd name="connsiteY13" fmla="*/ 6144 h 10000"/>
                <a:gd name="connsiteX14" fmla="*/ 4296 w 10000"/>
                <a:gd name="connsiteY14" fmla="*/ 7247 h 10000"/>
                <a:gd name="connsiteX15" fmla="*/ 5666 w 10000"/>
                <a:gd name="connsiteY15" fmla="*/ 8310 h 10000"/>
                <a:gd name="connsiteX16" fmla="*/ 5674 w 10000"/>
                <a:gd name="connsiteY16" fmla="*/ 9312 h 10000"/>
                <a:gd name="connsiteX17" fmla="*/ 6948 w 10000"/>
                <a:gd name="connsiteY17" fmla="*/ 9999 h 10000"/>
                <a:gd name="connsiteX18" fmla="*/ 7980 w 10000"/>
                <a:gd name="connsiteY18" fmla="*/ 9114 h 10000"/>
                <a:gd name="connsiteX19" fmla="*/ 8582 w 10000"/>
                <a:gd name="connsiteY19" fmla="*/ 8417 h 10000"/>
                <a:gd name="connsiteX20" fmla="*/ 8749 w 10000"/>
                <a:gd name="connsiteY20" fmla="*/ 7157 h 10000"/>
                <a:gd name="connsiteX21" fmla="*/ 9730 w 10000"/>
                <a:gd name="connsiteY21" fmla="*/ 7232 h 10000"/>
                <a:gd name="connsiteX22" fmla="*/ 9752 w 10000"/>
                <a:gd name="connsiteY22" fmla="*/ 6314 h 10000"/>
                <a:gd name="connsiteX23" fmla="*/ 6849 w 10000"/>
                <a:gd name="connsiteY23" fmla="*/ 4012 h 10000"/>
                <a:gd name="connsiteX24" fmla="*/ 6335 w 10000"/>
                <a:gd name="connsiteY24" fmla="*/ 2156 h 10000"/>
                <a:gd name="connsiteX25" fmla="*/ 5025 w 10000"/>
                <a:gd name="connsiteY25" fmla="*/ 1758 h 10000"/>
                <a:gd name="connsiteX26" fmla="*/ 4161 w 10000"/>
                <a:gd name="connsiteY26" fmla="*/ 191 h 10000"/>
                <a:gd name="connsiteX0" fmla="*/ 4161 w 10000"/>
                <a:gd name="connsiteY0" fmla="*/ 191 h 10000"/>
                <a:gd name="connsiteX1" fmla="*/ 3287 w 10000"/>
                <a:gd name="connsiteY1" fmla="*/ 393 h 10000"/>
                <a:gd name="connsiteX2" fmla="*/ 3076 w 10000"/>
                <a:gd name="connsiteY2" fmla="*/ 1663 h 10000"/>
                <a:gd name="connsiteX3" fmla="*/ 2140 w 10000"/>
                <a:gd name="connsiteY3" fmla="*/ 1776 h 10000"/>
                <a:gd name="connsiteX4" fmla="*/ 1525 w 10000"/>
                <a:gd name="connsiteY4" fmla="*/ 0 h 10000"/>
                <a:gd name="connsiteX5" fmla="*/ 771 w 10000"/>
                <a:gd name="connsiteY5" fmla="*/ 448 h 10000"/>
                <a:gd name="connsiteX6" fmla="*/ 22 w 10000"/>
                <a:gd name="connsiteY6" fmla="*/ 1417 h 10000"/>
                <a:gd name="connsiteX7" fmla="*/ 245 w 10000"/>
                <a:gd name="connsiteY7" fmla="*/ 3900 h 10000"/>
                <a:gd name="connsiteX8" fmla="*/ 1131 w 10000"/>
                <a:gd name="connsiteY8" fmla="*/ 4950 h 10000"/>
                <a:gd name="connsiteX9" fmla="*/ 1247 w 10000"/>
                <a:gd name="connsiteY9" fmla="*/ 6020 h 10000"/>
                <a:gd name="connsiteX10" fmla="*/ 953 w 10000"/>
                <a:gd name="connsiteY10" fmla="*/ 7007 h 10000"/>
                <a:gd name="connsiteX11" fmla="*/ 1598 w 10000"/>
                <a:gd name="connsiteY11" fmla="*/ 6560 h 10000"/>
                <a:gd name="connsiteX12" fmla="*/ 2411 w 10000"/>
                <a:gd name="connsiteY12" fmla="*/ 6152 h 10000"/>
                <a:gd name="connsiteX13" fmla="*/ 3164 w 10000"/>
                <a:gd name="connsiteY13" fmla="*/ 6144 h 10000"/>
                <a:gd name="connsiteX14" fmla="*/ 4296 w 10000"/>
                <a:gd name="connsiteY14" fmla="*/ 7247 h 10000"/>
                <a:gd name="connsiteX15" fmla="*/ 5666 w 10000"/>
                <a:gd name="connsiteY15" fmla="*/ 8310 h 10000"/>
                <a:gd name="connsiteX16" fmla="*/ 5674 w 10000"/>
                <a:gd name="connsiteY16" fmla="*/ 9312 h 10000"/>
                <a:gd name="connsiteX17" fmla="*/ 6948 w 10000"/>
                <a:gd name="connsiteY17" fmla="*/ 9999 h 10000"/>
                <a:gd name="connsiteX18" fmla="*/ 7980 w 10000"/>
                <a:gd name="connsiteY18" fmla="*/ 9114 h 10000"/>
                <a:gd name="connsiteX19" fmla="*/ 8582 w 10000"/>
                <a:gd name="connsiteY19" fmla="*/ 8417 h 10000"/>
                <a:gd name="connsiteX20" fmla="*/ 8749 w 10000"/>
                <a:gd name="connsiteY20" fmla="*/ 7157 h 10000"/>
                <a:gd name="connsiteX21" fmla="*/ 9730 w 10000"/>
                <a:gd name="connsiteY21" fmla="*/ 7232 h 10000"/>
                <a:gd name="connsiteX22" fmla="*/ 9752 w 10000"/>
                <a:gd name="connsiteY22" fmla="*/ 6314 h 10000"/>
                <a:gd name="connsiteX23" fmla="*/ 6849 w 10000"/>
                <a:gd name="connsiteY23" fmla="*/ 4012 h 10000"/>
                <a:gd name="connsiteX24" fmla="*/ 6335 w 10000"/>
                <a:gd name="connsiteY24" fmla="*/ 2156 h 10000"/>
                <a:gd name="connsiteX25" fmla="*/ 5025 w 10000"/>
                <a:gd name="connsiteY25" fmla="*/ 1758 h 10000"/>
                <a:gd name="connsiteX26" fmla="*/ 4161 w 10000"/>
                <a:gd name="connsiteY26" fmla="*/ 191 h 10000"/>
                <a:gd name="connsiteX0" fmla="*/ 4161 w 10000"/>
                <a:gd name="connsiteY0" fmla="*/ 191 h 10000"/>
                <a:gd name="connsiteX1" fmla="*/ 3287 w 10000"/>
                <a:gd name="connsiteY1" fmla="*/ 393 h 10000"/>
                <a:gd name="connsiteX2" fmla="*/ 3076 w 10000"/>
                <a:gd name="connsiteY2" fmla="*/ 1663 h 10000"/>
                <a:gd name="connsiteX3" fmla="*/ 2140 w 10000"/>
                <a:gd name="connsiteY3" fmla="*/ 1776 h 10000"/>
                <a:gd name="connsiteX4" fmla="*/ 1525 w 10000"/>
                <a:gd name="connsiteY4" fmla="*/ 0 h 10000"/>
                <a:gd name="connsiteX5" fmla="*/ 771 w 10000"/>
                <a:gd name="connsiteY5" fmla="*/ 448 h 10000"/>
                <a:gd name="connsiteX6" fmla="*/ 22 w 10000"/>
                <a:gd name="connsiteY6" fmla="*/ 1417 h 10000"/>
                <a:gd name="connsiteX7" fmla="*/ 245 w 10000"/>
                <a:gd name="connsiteY7" fmla="*/ 3900 h 10000"/>
                <a:gd name="connsiteX8" fmla="*/ 1131 w 10000"/>
                <a:gd name="connsiteY8" fmla="*/ 4950 h 10000"/>
                <a:gd name="connsiteX9" fmla="*/ 1247 w 10000"/>
                <a:gd name="connsiteY9" fmla="*/ 6020 h 10000"/>
                <a:gd name="connsiteX10" fmla="*/ 953 w 10000"/>
                <a:gd name="connsiteY10" fmla="*/ 7007 h 10000"/>
                <a:gd name="connsiteX11" fmla="*/ 1598 w 10000"/>
                <a:gd name="connsiteY11" fmla="*/ 6560 h 10000"/>
                <a:gd name="connsiteX12" fmla="*/ 2411 w 10000"/>
                <a:gd name="connsiteY12" fmla="*/ 6152 h 10000"/>
                <a:gd name="connsiteX13" fmla="*/ 3164 w 10000"/>
                <a:gd name="connsiteY13" fmla="*/ 6144 h 10000"/>
                <a:gd name="connsiteX14" fmla="*/ 4296 w 10000"/>
                <a:gd name="connsiteY14" fmla="*/ 7247 h 10000"/>
                <a:gd name="connsiteX15" fmla="*/ 5666 w 10000"/>
                <a:gd name="connsiteY15" fmla="*/ 8310 h 10000"/>
                <a:gd name="connsiteX16" fmla="*/ 5674 w 10000"/>
                <a:gd name="connsiteY16" fmla="*/ 9312 h 10000"/>
                <a:gd name="connsiteX17" fmla="*/ 6948 w 10000"/>
                <a:gd name="connsiteY17" fmla="*/ 9999 h 10000"/>
                <a:gd name="connsiteX18" fmla="*/ 7980 w 10000"/>
                <a:gd name="connsiteY18" fmla="*/ 9114 h 10000"/>
                <a:gd name="connsiteX19" fmla="*/ 8582 w 10000"/>
                <a:gd name="connsiteY19" fmla="*/ 8417 h 10000"/>
                <a:gd name="connsiteX20" fmla="*/ 8749 w 10000"/>
                <a:gd name="connsiteY20" fmla="*/ 7157 h 10000"/>
                <a:gd name="connsiteX21" fmla="*/ 9730 w 10000"/>
                <a:gd name="connsiteY21" fmla="*/ 7232 h 10000"/>
                <a:gd name="connsiteX22" fmla="*/ 9752 w 10000"/>
                <a:gd name="connsiteY22" fmla="*/ 6314 h 10000"/>
                <a:gd name="connsiteX23" fmla="*/ 6849 w 10000"/>
                <a:gd name="connsiteY23" fmla="*/ 4012 h 10000"/>
                <a:gd name="connsiteX24" fmla="*/ 6335 w 10000"/>
                <a:gd name="connsiteY24" fmla="*/ 2156 h 10000"/>
                <a:gd name="connsiteX25" fmla="*/ 5025 w 10000"/>
                <a:gd name="connsiteY25" fmla="*/ 1758 h 10000"/>
                <a:gd name="connsiteX26" fmla="*/ 4161 w 10000"/>
                <a:gd name="connsiteY26" fmla="*/ 191 h 10000"/>
                <a:gd name="connsiteX0" fmla="*/ 4161 w 9752"/>
                <a:gd name="connsiteY0" fmla="*/ 191 h 10000"/>
                <a:gd name="connsiteX1" fmla="*/ 3287 w 9752"/>
                <a:gd name="connsiteY1" fmla="*/ 393 h 10000"/>
                <a:gd name="connsiteX2" fmla="*/ 3076 w 9752"/>
                <a:gd name="connsiteY2" fmla="*/ 1663 h 10000"/>
                <a:gd name="connsiteX3" fmla="*/ 2140 w 9752"/>
                <a:gd name="connsiteY3" fmla="*/ 1776 h 10000"/>
                <a:gd name="connsiteX4" fmla="*/ 1525 w 9752"/>
                <a:gd name="connsiteY4" fmla="*/ 0 h 10000"/>
                <a:gd name="connsiteX5" fmla="*/ 771 w 9752"/>
                <a:gd name="connsiteY5" fmla="*/ 448 h 10000"/>
                <a:gd name="connsiteX6" fmla="*/ 22 w 9752"/>
                <a:gd name="connsiteY6" fmla="*/ 1417 h 10000"/>
                <a:gd name="connsiteX7" fmla="*/ 245 w 9752"/>
                <a:gd name="connsiteY7" fmla="*/ 3900 h 10000"/>
                <a:gd name="connsiteX8" fmla="*/ 1131 w 9752"/>
                <a:gd name="connsiteY8" fmla="*/ 4950 h 10000"/>
                <a:gd name="connsiteX9" fmla="*/ 1247 w 9752"/>
                <a:gd name="connsiteY9" fmla="*/ 6020 h 10000"/>
                <a:gd name="connsiteX10" fmla="*/ 953 w 9752"/>
                <a:gd name="connsiteY10" fmla="*/ 7007 h 10000"/>
                <a:gd name="connsiteX11" fmla="*/ 1598 w 9752"/>
                <a:gd name="connsiteY11" fmla="*/ 6560 h 10000"/>
                <a:gd name="connsiteX12" fmla="*/ 2411 w 9752"/>
                <a:gd name="connsiteY12" fmla="*/ 6152 h 10000"/>
                <a:gd name="connsiteX13" fmla="*/ 3164 w 9752"/>
                <a:gd name="connsiteY13" fmla="*/ 6144 h 10000"/>
                <a:gd name="connsiteX14" fmla="*/ 4296 w 9752"/>
                <a:gd name="connsiteY14" fmla="*/ 7247 h 10000"/>
                <a:gd name="connsiteX15" fmla="*/ 5666 w 9752"/>
                <a:gd name="connsiteY15" fmla="*/ 8310 h 10000"/>
                <a:gd name="connsiteX16" fmla="*/ 5674 w 9752"/>
                <a:gd name="connsiteY16" fmla="*/ 9312 h 10000"/>
                <a:gd name="connsiteX17" fmla="*/ 6948 w 9752"/>
                <a:gd name="connsiteY17" fmla="*/ 9999 h 10000"/>
                <a:gd name="connsiteX18" fmla="*/ 7980 w 9752"/>
                <a:gd name="connsiteY18" fmla="*/ 9114 h 10000"/>
                <a:gd name="connsiteX19" fmla="*/ 8582 w 9752"/>
                <a:gd name="connsiteY19" fmla="*/ 8417 h 10000"/>
                <a:gd name="connsiteX20" fmla="*/ 8749 w 9752"/>
                <a:gd name="connsiteY20" fmla="*/ 7157 h 10000"/>
                <a:gd name="connsiteX21" fmla="*/ 9730 w 9752"/>
                <a:gd name="connsiteY21" fmla="*/ 7232 h 10000"/>
                <a:gd name="connsiteX22" fmla="*/ 9752 w 9752"/>
                <a:gd name="connsiteY22" fmla="*/ 6314 h 10000"/>
                <a:gd name="connsiteX23" fmla="*/ 6849 w 9752"/>
                <a:gd name="connsiteY23" fmla="*/ 4012 h 10000"/>
                <a:gd name="connsiteX24" fmla="*/ 6335 w 9752"/>
                <a:gd name="connsiteY24" fmla="*/ 2156 h 10000"/>
                <a:gd name="connsiteX25" fmla="*/ 5025 w 9752"/>
                <a:gd name="connsiteY25" fmla="*/ 1758 h 10000"/>
                <a:gd name="connsiteX26" fmla="*/ 4161 w 9752"/>
                <a:gd name="connsiteY26" fmla="*/ 191 h 10000"/>
                <a:gd name="connsiteX0" fmla="*/ 4267 w 10000"/>
                <a:gd name="connsiteY0" fmla="*/ 191 h 10000"/>
                <a:gd name="connsiteX1" fmla="*/ 3371 w 10000"/>
                <a:gd name="connsiteY1" fmla="*/ 393 h 10000"/>
                <a:gd name="connsiteX2" fmla="*/ 3154 w 10000"/>
                <a:gd name="connsiteY2" fmla="*/ 1663 h 10000"/>
                <a:gd name="connsiteX3" fmla="*/ 2194 w 10000"/>
                <a:gd name="connsiteY3" fmla="*/ 1776 h 10000"/>
                <a:gd name="connsiteX4" fmla="*/ 1564 w 10000"/>
                <a:gd name="connsiteY4" fmla="*/ 0 h 10000"/>
                <a:gd name="connsiteX5" fmla="*/ 791 w 10000"/>
                <a:gd name="connsiteY5" fmla="*/ 448 h 10000"/>
                <a:gd name="connsiteX6" fmla="*/ 23 w 10000"/>
                <a:gd name="connsiteY6" fmla="*/ 1417 h 10000"/>
                <a:gd name="connsiteX7" fmla="*/ 251 w 10000"/>
                <a:gd name="connsiteY7" fmla="*/ 3900 h 10000"/>
                <a:gd name="connsiteX8" fmla="*/ 1160 w 10000"/>
                <a:gd name="connsiteY8" fmla="*/ 4950 h 10000"/>
                <a:gd name="connsiteX9" fmla="*/ 1279 w 10000"/>
                <a:gd name="connsiteY9" fmla="*/ 6020 h 10000"/>
                <a:gd name="connsiteX10" fmla="*/ 977 w 10000"/>
                <a:gd name="connsiteY10" fmla="*/ 7007 h 10000"/>
                <a:gd name="connsiteX11" fmla="*/ 1639 w 10000"/>
                <a:gd name="connsiteY11" fmla="*/ 6560 h 10000"/>
                <a:gd name="connsiteX12" fmla="*/ 2472 w 10000"/>
                <a:gd name="connsiteY12" fmla="*/ 6152 h 10000"/>
                <a:gd name="connsiteX13" fmla="*/ 3244 w 10000"/>
                <a:gd name="connsiteY13" fmla="*/ 6144 h 10000"/>
                <a:gd name="connsiteX14" fmla="*/ 4405 w 10000"/>
                <a:gd name="connsiteY14" fmla="*/ 7247 h 10000"/>
                <a:gd name="connsiteX15" fmla="*/ 5810 w 10000"/>
                <a:gd name="connsiteY15" fmla="*/ 8310 h 10000"/>
                <a:gd name="connsiteX16" fmla="*/ 5818 w 10000"/>
                <a:gd name="connsiteY16" fmla="*/ 9312 h 10000"/>
                <a:gd name="connsiteX17" fmla="*/ 7125 w 10000"/>
                <a:gd name="connsiteY17" fmla="*/ 9999 h 10000"/>
                <a:gd name="connsiteX18" fmla="*/ 8183 w 10000"/>
                <a:gd name="connsiteY18" fmla="*/ 9114 h 10000"/>
                <a:gd name="connsiteX19" fmla="*/ 8800 w 10000"/>
                <a:gd name="connsiteY19" fmla="*/ 8417 h 10000"/>
                <a:gd name="connsiteX20" fmla="*/ 8971 w 10000"/>
                <a:gd name="connsiteY20" fmla="*/ 7157 h 10000"/>
                <a:gd name="connsiteX21" fmla="*/ 9977 w 10000"/>
                <a:gd name="connsiteY21" fmla="*/ 7232 h 10000"/>
                <a:gd name="connsiteX22" fmla="*/ 10000 w 10000"/>
                <a:gd name="connsiteY22" fmla="*/ 6314 h 10000"/>
                <a:gd name="connsiteX23" fmla="*/ 7023 w 10000"/>
                <a:gd name="connsiteY23" fmla="*/ 4012 h 10000"/>
                <a:gd name="connsiteX24" fmla="*/ 6496 w 10000"/>
                <a:gd name="connsiteY24" fmla="*/ 2156 h 10000"/>
                <a:gd name="connsiteX25" fmla="*/ 5153 w 10000"/>
                <a:gd name="connsiteY25" fmla="*/ 1758 h 10000"/>
                <a:gd name="connsiteX26" fmla="*/ 4267 w 10000"/>
                <a:gd name="connsiteY26" fmla="*/ 191 h 10000"/>
                <a:gd name="connsiteX0" fmla="*/ 4267 w 10000"/>
                <a:gd name="connsiteY0" fmla="*/ 191 h 10000"/>
                <a:gd name="connsiteX1" fmla="*/ 3371 w 10000"/>
                <a:gd name="connsiteY1" fmla="*/ 393 h 10000"/>
                <a:gd name="connsiteX2" fmla="*/ 3154 w 10000"/>
                <a:gd name="connsiteY2" fmla="*/ 1663 h 10000"/>
                <a:gd name="connsiteX3" fmla="*/ 2194 w 10000"/>
                <a:gd name="connsiteY3" fmla="*/ 1776 h 10000"/>
                <a:gd name="connsiteX4" fmla="*/ 1564 w 10000"/>
                <a:gd name="connsiteY4" fmla="*/ 0 h 10000"/>
                <a:gd name="connsiteX5" fmla="*/ 791 w 10000"/>
                <a:gd name="connsiteY5" fmla="*/ 448 h 10000"/>
                <a:gd name="connsiteX6" fmla="*/ 23 w 10000"/>
                <a:gd name="connsiteY6" fmla="*/ 1417 h 10000"/>
                <a:gd name="connsiteX7" fmla="*/ 251 w 10000"/>
                <a:gd name="connsiteY7" fmla="*/ 3900 h 10000"/>
                <a:gd name="connsiteX8" fmla="*/ 1160 w 10000"/>
                <a:gd name="connsiteY8" fmla="*/ 4950 h 10000"/>
                <a:gd name="connsiteX9" fmla="*/ 1279 w 10000"/>
                <a:gd name="connsiteY9" fmla="*/ 6020 h 10000"/>
                <a:gd name="connsiteX10" fmla="*/ 977 w 10000"/>
                <a:gd name="connsiteY10" fmla="*/ 7007 h 10000"/>
                <a:gd name="connsiteX11" fmla="*/ 1639 w 10000"/>
                <a:gd name="connsiteY11" fmla="*/ 6560 h 10000"/>
                <a:gd name="connsiteX12" fmla="*/ 2472 w 10000"/>
                <a:gd name="connsiteY12" fmla="*/ 6152 h 10000"/>
                <a:gd name="connsiteX13" fmla="*/ 3244 w 10000"/>
                <a:gd name="connsiteY13" fmla="*/ 6144 h 10000"/>
                <a:gd name="connsiteX14" fmla="*/ 4405 w 10000"/>
                <a:gd name="connsiteY14" fmla="*/ 7247 h 10000"/>
                <a:gd name="connsiteX15" fmla="*/ 5810 w 10000"/>
                <a:gd name="connsiteY15" fmla="*/ 8310 h 10000"/>
                <a:gd name="connsiteX16" fmla="*/ 5818 w 10000"/>
                <a:gd name="connsiteY16" fmla="*/ 9312 h 10000"/>
                <a:gd name="connsiteX17" fmla="*/ 7125 w 10000"/>
                <a:gd name="connsiteY17" fmla="*/ 9999 h 10000"/>
                <a:gd name="connsiteX18" fmla="*/ 8183 w 10000"/>
                <a:gd name="connsiteY18" fmla="*/ 9114 h 10000"/>
                <a:gd name="connsiteX19" fmla="*/ 8800 w 10000"/>
                <a:gd name="connsiteY19" fmla="*/ 8417 h 10000"/>
                <a:gd name="connsiteX20" fmla="*/ 8971 w 10000"/>
                <a:gd name="connsiteY20" fmla="*/ 7157 h 10000"/>
                <a:gd name="connsiteX21" fmla="*/ 9977 w 10000"/>
                <a:gd name="connsiteY21" fmla="*/ 7232 h 10000"/>
                <a:gd name="connsiteX22" fmla="*/ 10000 w 10000"/>
                <a:gd name="connsiteY22" fmla="*/ 6314 h 10000"/>
                <a:gd name="connsiteX23" fmla="*/ 7023 w 10000"/>
                <a:gd name="connsiteY23" fmla="*/ 4012 h 10000"/>
                <a:gd name="connsiteX24" fmla="*/ 6496 w 10000"/>
                <a:gd name="connsiteY24" fmla="*/ 2156 h 10000"/>
                <a:gd name="connsiteX25" fmla="*/ 5153 w 10000"/>
                <a:gd name="connsiteY25" fmla="*/ 1758 h 10000"/>
                <a:gd name="connsiteX26" fmla="*/ 4267 w 10000"/>
                <a:gd name="connsiteY26" fmla="*/ 191 h 10000"/>
                <a:gd name="connsiteX0" fmla="*/ 4267 w 10000"/>
                <a:gd name="connsiteY0" fmla="*/ 191 h 10000"/>
                <a:gd name="connsiteX1" fmla="*/ 3371 w 10000"/>
                <a:gd name="connsiteY1" fmla="*/ 393 h 10000"/>
                <a:gd name="connsiteX2" fmla="*/ 3154 w 10000"/>
                <a:gd name="connsiteY2" fmla="*/ 1663 h 10000"/>
                <a:gd name="connsiteX3" fmla="*/ 2194 w 10000"/>
                <a:gd name="connsiteY3" fmla="*/ 1776 h 10000"/>
                <a:gd name="connsiteX4" fmla="*/ 1564 w 10000"/>
                <a:gd name="connsiteY4" fmla="*/ 0 h 10000"/>
                <a:gd name="connsiteX5" fmla="*/ 791 w 10000"/>
                <a:gd name="connsiteY5" fmla="*/ 448 h 10000"/>
                <a:gd name="connsiteX6" fmla="*/ 23 w 10000"/>
                <a:gd name="connsiteY6" fmla="*/ 1417 h 10000"/>
                <a:gd name="connsiteX7" fmla="*/ 251 w 10000"/>
                <a:gd name="connsiteY7" fmla="*/ 3900 h 10000"/>
                <a:gd name="connsiteX8" fmla="*/ 1160 w 10000"/>
                <a:gd name="connsiteY8" fmla="*/ 4950 h 10000"/>
                <a:gd name="connsiteX9" fmla="*/ 1279 w 10000"/>
                <a:gd name="connsiteY9" fmla="*/ 6020 h 10000"/>
                <a:gd name="connsiteX10" fmla="*/ 977 w 10000"/>
                <a:gd name="connsiteY10" fmla="*/ 7007 h 10000"/>
                <a:gd name="connsiteX11" fmla="*/ 1639 w 10000"/>
                <a:gd name="connsiteY11" fmla="*/ 6560 h 10000"/>
                <a:gd name="connsiteX12" fmla="*/ 2472 w 10000"/>
                <a:gd name="connsiteY12" fmla="*/ 6152 h 10000"/>
                <a:gd name="connsiteX13" fmla="*/ 3244 w 10000"/>
                <a:gd name="connsiteY13" fmla="*/ 6144 h 10000"/>
                <a:gd name="connsiteX14" fmla="*/ 4405 w 10000"/>
                <a:gd name="connsiteY14" fmla="*/ 7247 h 10000"/>
                <a:gd name="connsiteX15" fmla="*/ 5810 w 10000"/>
                <a:gd name="connsiteY15" fmla="*/ 8310 h 10000"/>
                <a:gd name="connsiteX16" fmla="*/ 5818 w 10000"/>
                <a:gd name="connsiteY16" fmla="*/ 9312 h 10000"/>
                <a:gd name="connsiteX17" fmla="*/ 7125 w 10000"/>
                <a:gd name="connsiteY17" fmla="*/ 9999 h 10000"/>
                <a:gd name="connsiteX18" fmla="*/ 8183 w 10000"/>
                <a:gd name="connsiteY18" fmla="*/ 9114 h 10000"/>
                <a:gd name="connsiteX19" fmla="*/ 8800 w 10000"/>
                <a:gd name="connsiteY19" fmla="*/ 8417 h 10000"/>
                <a:gd name="connsiteX20" fmla="*/ 8971 w 10000"/>
                <a:gd name="connsiteY20" fmla="*/ 7157 h 10000"/>
                <a:gd name="connsiteX21" fmla="*/ 9977 w 10000"/>
                <a:gd name="connsiteY21" fmla="*/ 7232 h 10000"/>
                <a:gd name="connsiteX22" fmla="*/ 10000 w 10000"/>
                <a:gd name="connsiteY22" fmla="*/ 6314 h 10000"/>
                <a:gd name="connsiteX23" fmla="*/ 7023 w 10000"/>
                <a:gd name="connsiteY23" fmla="*/ 4012 h 10000"/>
                <a:gd name="connsiteX24" fmla="*/ 6496 w 10000"/>
                <a:gd name="connsiteY24" fmla="*/ 2156 h 10000"/>
                <a:gd name="connsiteX25" fmla="*/ 5153 w 10000"/>
                <a:gd name="connsiteY25" fmla="*/ 1758 h 10000"/>
                <a:gd name="connsiteX26" fmla="*/ 4267 w 10000"/>
                <a:gd name="connsiteY26" fmla="*/ 191 h 10000"/>
                <a:gd name="connsiteX0" fmla="*/ 4267 w 10000"/>
                <a:gd name="connsiteY0" fmla="*/ 191 h 10000"/>
                <a:gd name="connsiteX1" fmla="*/ 3371 w 10000"/>
                <a:gd name="connsiteY1" fmla="*/ 393 h 10000"/>
                <a:gd name="connsiteX2" fmla="*/ 3154 w 10000"/>
                <a:gd name="connsiteY2" fmla="*/ 1663 h 10000"/>
                <a:gd name="connsiteX3" fmla="*/ 2194 w 10000"/>
                <a:gd name="connsiteY3" fmla="*/ 1776 h 10000"/>
                <a:gd name="connsiteX4" fmla="*/ 1564 w 10000"/>
                <a:gd name="connsiteY4" fmla="*/ 0 h 10000"/>
                <a:gd name="connsiteX5" fmla="*/ 791 w 10000"/>
                <a:gd name="connsiteY5" fmla="*/ 448 h 10000"/>
                <a:gd name="connsiteX6" fmla="*/ 23 w 10000"/>
                <a:gd name="connsiteY6" fmla="*/ 1417 h 10000"/>
                <a:gd name="connsiteX7" fmla="*/ 251 w 10000"/>
                <a:gd name="connsiteY7" fmla="*/ 3900 h 10000"/>
                <a:gd name="connsiteX8" fmla="*/ 1160 w 10000"/>
                <a:gd name="connsiteY8" fmla="*/ 4950 h 10000"/>
                <a:gd name="connsiteX9" fmla="*/ 1279 w 10000"/>
                <a:gd name="connsiteY9" fmla="*/ 6020 h 10000"/>
                <a:gd name="connsiteX10" fmla="*/ 977 w 10000"/>
                <a:gd name="connsiteY10" fmla="*/ 7007 h 10000"/>
                <a:gd name="connsiteX11" fmla="*/ 1639 w 10000"/>
                <a:gd name="connsiteY11" fmla="*/ 6560 h 10000"/>
                <a:gd name="connsiteX12" fmla="*/ 2472 w 10000"/>
                <a:gd name="connsiteY12" fmla="*/ 6152 h 10000"/>
                <a:gd name="connsiteX13" fmla="*/ 3244 w 10000"/>
                <a:gd name="connsiteY13" fmla="*/ 6144 h 10000"/>
                <a:gd name="connsiteX14" fmla="*/ 4405 w 10000"/>
                <a:gd name="connsiteY14" fmla="*/ 7247 h 10000"/>
                <a:gd name="connsiteX15" fmla="*/ 5810 w 10000"/>
                <a:gd name="connsiteY15" fmla="*/ 8310 h 10000"/>
                <a:gd name="connsiteX16" fmla="*/ 5818 w 10000"/>
                <a:gd name="connsiteY16" fmla="*/ 9312 h 10000"/>
                <a:gd name="connsiteX17" fmla="*/ 7125 w 10000"/>
                <a:gd name="connsiteY17" fmla="*/ 9999 h 10000"/>
                <a:gd name="connsiteX18" fmla="*/ 8183 w 10000"/>
                <a:gd name="connsiteY18" fmla="*/ 9114 h 10000"/>
                <a:gd name="connsiteX19" fmla="*/ 8800 w 10000"/>
                <a:gd name="connsiteY19" fmla="*/ 8417 h 10000"/>
                <a:gd name="connsiteX20" fmla="*/ 8971 w 10000"/>
                <a:gd name="connsiteY20" fmla="*/ 7157 h 10000"/>
                <a:gd name="connsiteX21" fmla="*/ 9977 w 10000"/>
                <a:gd name="connsiteY21" fmla="*/ 7232 h 10000"/>
                <a:gd name="connsiteX22" fmla="*/ 10000 w 10000"/>
                <a:gd name="connsiteY22" fmla="*/ 6314 h 10000"/>
                <a:gd name="connsiteX23" fmla="*/ 7023 w 10000"/>
                <a:gd name="connsiteY23" fmla="*/ 4012 h 10000"/>
                <a:gd name="connsiteX24" fmla="*/ 6496 w 10000"/>
                <a:gd name="connsiteY24" fmla="*/ 2156 h 10000"/>
                <a:gd name="connsiteX25" fmla="*/ 5153 w 10000"/>
                <a:gd name="connsiteY25" fmla="*/ 1758 h 10000"/>
                <a:gd name="connsiteX26" fmla="*/ 4267 w 10000"/>
                <a:gd name="connsiteY26" fmla="*/ 191 h 10000"/>
                <a:gd name="connsiteX0" fmla="*/ 4267 w 10000"/>
                <a:gd name="connsiteY0" fmla="*/ 191 h 9999"/>
                <a:gd name="connsiteX1" fmla="*/ 3371 w 10000"/>
                <a:gd name="connsiteY1" fmla="*/ 393 h 9999"/>
                <a:gd name="connsiteX2" fmla="*/ 3154 w 10000"/>
                <a:gd name="connsiteY2" fmla="*/ 1663 h 9999"/>
                <a:gd name="connsiteX3" fmla="*/ 2194 w 10000"/>
                <a:gd name="connsiteY3" fmla="*/ 1776 h 9999"/>
                <a:gd name="connsiteX4" fmla="*/ 1564 w 10000"/>
                <a:gd name="connsiteY4" fmla="*/ 0 h 9999"/>
                <a:gd name="connsiteX5" fmla="*/ 791 w 10000"/>
                <a:gd name="connsiteY5" fmla="*/ 448 h 9999"/>
                <a:gd name="connsiteX6" fmla="*/ 23 w 10000"/>
                <a:gd name="connsiteY6" fmla="*/ 1417 h 9999"/>
                <a:gd name="connsiteX7" fmla="*/ 251 w 10000"/>
                <a:gd name="connsiteY7" fmla="*/ 3900 h 9999"/>
                <a:gd name="connsiteX8" fmla="*/ 1160 w 10000"/>
                <a:gd name="connsiteY8" fmla="*/ 4950 h 9999"/>
                <a:gd name="connsiteX9" fmla="*/ 1279 w 10000"/>
                <a:gd name="connsiteY9" fmla="*/ 6020 h 9999"/>
                <a:gd name="connsiteX10" fmla="*/ 977 w 10000"/>
                <a:gd name="connsiteY10" fmla="*/ 7007 h 9999"/>
                <a:gd name="connsiteX11" fmla="*/ 1639 w 10000"/>
                <a:gd name="connsiteY11" fmla="*/ 6560 h 9999"/>
                <a:gd name="connsiteX12" fmla="*/ 2472 w 10000"/>
                <a:gd name="connsiteY12" fmla="*/ 6152 h 9999"/>
                <a:gd name="connsiteX13" fmla="*/ 3244 w 10000"/>
                <a:gd name="connsiteY13" fmla="*/ 6144 h 9999"/>
                <a:gd name="connsiteX14" fmla="*/ 4405 w 10000"/>
                <a:gd name="connsiteY14" fmla="*/ 7247 h 9999"/>
                <a:gd name="connsiteX15" fmla="*/ 5810 w 10000"/>
                <a:gd name="connsiteY15" fmla="*/ 8310 h 9999"/>
                <a:gd name="connsiteX16" fmla="*/ 5818 w 10000"/>
                <a:gd name="connsiteY16" fmla="*/ 9312 h 9999"/>
                <a:gd name="connsiteX17" fmla="*/ 7125 w 10000"/>
                <a:gd name="connsiteY17" fmla="*/ 9999 h 9999"/>
                <a:gd name="connsiteX18" fmla="*/ 8183 w 10000"/>
                <a:gd name="connsiteY18" fmla="*/ 9114 h 9999"/>
                <a:gd name="connsiteX19" fmla="*/ 8800 w 10000"/>
                <a:gd name="connsiteY19" fmla="*/ 8417 h 9999"/>
                <a:gd name="connsiteX20" fmla="*/ 8971 w 10000"/>
                <a:gd name="connsiteY20" fmla="*/ 7157 h 9999"/>
                <a:gd name="connsiteX21" fmla="*/ 9977 w 10000"/>
                <a:gd name="connsiteY21" fmla="*/ 7232 h 9999"/>
                <a:gd name="connsiteX22" fmla="*/ 10000 w 10000"/>
                <a:gd name="connsiteY22" fmla="*/ 6314 h 9999"/>
                <a:gd name="connsiteX23" fmla="*/ 7023 w 10000"/>
                <a:gd name="connsiteY23" fmla="*/ 4012 h 9999"/>
                <a:gd name="connsiteX24" fmla="*/ 6496 w 10000"/>
                <a:gd name="connsiteY24" fmla="*/ 2156 h 9999"/>
                <a:gd name="connsiteX25" fmla="*/ 5153 w 10000"/>
                <a:gd name="connsiteY25" fmla="*/ 1758 h 9999"/>
                <a:gd name="connsiteX26" fmla="*/ 4267 w 10000"/>
                <a:gd name="connsiteY26" fmla="*/ 191 h 9999"/>
                <a:gd name="connsiteX0" fmla="*/ 4267 w 10000"/>
                <a:gd name="connsiteY0" fmla="*/ 191 h 10000"/>
                <a:gd name="connsiteX1" fmla="*/ 3371 w 10000"/>
                <a:gd name="connsiteY1" fmla="*/ 393 h 10000"/>
                <a:gd name="connsiteX2" fmla="*/ 3154 w 10000"/>
                <a:gd name="connsiteY2" fmla="*/ 1663 h 10000"/>
                <a:gd name="connsiteX3" fmla="*/ 2194 w 10000"/>
                <a:gd name="connsiteY3" fmla="*/ 1776 h 10000"/>
                <a:gd name="connsiteX4" fmla="*/ 1564 w 10000"/>
                <a:gd name="connsiteY4" fmla="*/ 0 h 10000"/>
                <a:gd name="connsiteX5" fmla="*/ 791 w 10000"/>
                <a:gd name="connsiteY5" fmla="*/ 448 h 10000"/>
                <a:gd name="connsiteX6" fmla="*/ 23 w 10000"/>
                <a:gd name="connsiteY6" fmla="*/ 1417 h 10000"/>
                <a:gd name="connsiteX7" fmla="*/ 251 w 10000"/>
                <a:gd name="connsiteY7" fmla="*/ 3900 h 10000"/>
                <a:gd name="connsiteX8" fmla="*/ 1160 w 10000"/>
                <a:gd name="connsiteY8" fmla="*/ 4950 h 10000"/>
                <a:gd name="connsiteX9" fmla="*/ 1279 w 10000"/>
                <a:gd name="connsiteY9" fmla="*/ 6021 h 10000"/>
                <a:gd name="connsiteX10" fmla="*/ 977 w 10000"/>
                <a:gd name="connsiteY10" fmla="*/ 7008 h 10000"/>
                <a:gd name="connsiteX11" fmla="*/ 1639 w 10000"/>
                <a:gd name="connsiteY11" fmla="*/ 6561 h 10000"/>
                <a:gd name="connsiteX12" fmla="*/ 2472 w 10000"/>
                <a:gd name="connsiteY12" fmla="*/ 6153 h 10000"/>
                <a:gd name="connsiteX13" fmla="*/ 3244 w 10000"/>
                <a:gd name="connsiteY13" fmla="*/ 6145 h 10000"/>
                <a:gd name="connsiteX14" fmla="*/ 4405 w 10000"/>
                <a:gd name="connsiteY14" fmla="*/ 7248 h 10000"/>
                <a:gd name="connsiteX15" fmla="*/ 5945 w 10000"/>
                <a:gd name="connsiteY15" fmla="*/ 8415 h 10000"/>
                <a:gd name="connsiteX16" fmla="*/ 5818 w 10000"/>
                <a:gd name="connsiteY16" fmla="*/ 9313 h 10000"/>
                <a:gd name="connsiteX17" fmla="*/ 7125 w 10000"/>
                <a:gd name="connsiteY17" fmla="*/ 10000 h 10000"/>
                <a:gd name="connsiteX18" fmla="*/ 8183 w 10000"/>
                <a:gd name="connsiteY18" fmla="*/ 9115 h 10000"/>
                <a:gd name="connsiteX19" fmla="*/ 8800 w 10000"/>
                <a:gd name="connsiteY19" fmla="*/ 8418 h 10000"/>
                <a:gd name="connsiteX20" fmla="*/ 8971 w 10000"/>
                <a:gd name="connsiteY20" fmla="*/ 7158 h 10000"/>
                <a:gd name="connsiteX21" fmla="*/ 9977 w 10000"/>
                <a:gd name="connsiteY21" fmla="*/ 7233 h 10000"/>
                <a:gd name="connsiteX22" fmla="*/ 10000 w 10000"/>
                <a:gd name="connsiteY22" fmla="*/ 6315 h 10000"/>
                <a:gd name="connsiteX23" fmla="*/ 7023 w 10000"/>
                <a:gd name="connsiteY23" fmla="*/ 4012 h 10000"/>
                <a:gd name="connsiteX24" fmla="*/ 6496 w 10000"/>
                <a:gd name="connsiteY24" fmla="*/ 2156 h 10000"/>
                <a:gd name="connsiteX25" fmla="*/ 5153 w 10000"/>
                <a:gd name="connsiteY25" fmla="*/ 1758 h 10000"/>
                <a:gd name="connsiteX26" fmla="*/ 4267 w 10000"/>
                <a:gd name="connsiteY26" fmla="*/ 191 h 10000"/>
                <a:gd name="connsiteX0" fmla="*/ 4267 w 10000"/>
                <a:gd name="connsiteY0" fmla="*/ 191 h 10000"/>
                <a:gd name="connsiteX1" fmla="*/ 3371 w 10000"/>
                <a:gd name="connsiteY1" fmla="*/ 393 h 10000"/>
                <a:gd name="connsiteX2" fmla="*/ 3154 w 10000"/>
                <a:gd name="connsiteY2" fmla="*/ 1663 h 10000"/>
                <a:gd name="connsiteX3" fmla="*/ 2194 w 10000"/>
                <a:gd name="connsiteY3" fmla="*/ 1776 h 10000"/>
                <a:gd name="connsiteX4" fmla="*/ 1564 w 10000"/>
                <a:gd name="connsiteY4" fmla="*/ 0 h 10000"/>
                <a:gd name="connsiteX5" fmla="*/ 791 w 10000"/>
                <a:gd name="connsiteY5" fmla="*/ 448 h 10000"/>
                <a:gd name="connsiteX6" fmla="*/ 23 w 10000"/>
                <a:gd name="connsiteY6" fmla="*/ 1417 h 10000"/>
                <a:gd name="connsiteX7" fmla="*/ 251 w 10000"/>
                <a:gd name="connsiteY7" fmla="*/ 3900 h 10000"/>
                <a:gd name="connsiteX8" fmla="*/ 1160 w 10000"/>
                <a:gd name="connsiteY8" fmla="*/ 4950 h 10000"/>
                <a:gd name="connsiteX9" fmla="*/ 1279 w 10000"/>
                <a:gd name="connsiteY9" fmla="*/ 6021 h 10000"/>
                <a:gd name="connsiteX10" fmla="*/ 977 w 10000"/>
                <a:gd name="connsiteY10" fmla="*/ 7008 h 10000"/>
                <a:gd name="connsiteX11" fmla="*/ 1639 w 10000"/>
                <a:gd name="connsiteY11" fmla="*/ 6561 h 10000"/>
                <a:gd name="connsiteX12" fmla="*/ 2472 w 10000"/>
                <a:gd name="connsiteY12" fmla="*/ 6153 h 10000"/>
                <a:gd name="connsiteX13" fmla="*/ 3244 w 10000"/>
                <a:gd name="connsiteY13" fmla="*/ 6145 h 10000"/>
                <a:gd name="connsiteX14" fmla="*/ 4270 w 10000"/>
                <a:gd name="connsiteY14" fmla="*/ 7665 h 10000"/>
                <a:gd name="connsiteX15" fmla="*/ 5945 w 10000"/>
                <a:gd name="connsiteY15" fmla="*/ 8415 h 10000"/>
                <a:gd name="connsiteX16" fmla="*/ 5818 w 10000"/>
                <a:gd name="connsiteY16" fmla="*/ 9313 h 10000"/>
                <a:gd name="connsiteX17" fmla="*/ 7125 w 10000"/>
                <a:gd name="connsiteY17" fmla="*/ 10000 h 10000"/>
                <a:gd name="connsiteX18" fmla="*/ 8183 w 10000"/>
                <a:gd name="connsiteY18" fmla="*/ 9115 h 10000"/>
                <a:gd name="connsiteX19" fmla="*/ 8800 w 10000"/>
                <a:gd name="connsiteY19" fmla="*/ 8418 h 10000"/>
                <a:gd name="connsiteX20" fmla="*/ 8971 w 10000"/>
                <a:gd name="connsiteY20" fmla="*/ 7158 h 10000"/>
                <a:gd name="connsiteX21" fmla="*/ 9977 w 10000"/>
                <a:gd name="connsiteY21" fmla="*/ 7233 h 10000"/>
                <a:gd name="connsiteX22" fmla="*/ 10000 w 10000"/>
                <a:gd name="connsiteY22" fmla="*/ 6315 h 10000"/>
                <a:gd name="connsiteX23" fmla="*/ 7023 w 10000"/>
                <a:gd name="connsiteY23" fmla="*/ 4012 h 10000"/>
                <a:gd name="connsiteX24" fmla="*/ 6496 w 10000"/>
                <a:gd name="connsiteY24" fmla="*/ 2156 h 10000"/>
                <a:gd name="connsiteX25" fmla="*/ 5153 w 10000"/>
                <a:gd name="connsiteY25" fmla="*/ 1758 h 10000"/>
                <a:gd name="connsiteX26" fmla="*/ 4267 w 10000"/>
                <a:gd name="connsiteY26" fmla="*/ 191 h 10000"/>
                <a:gd name="connsiteX0" fmla="*/ 4267 w 10000"/>
                <a:gd name="connsiteY0" fmla="*/ 191 h 10000"/>
                <a:gd name="connsiteX1" fmla="*/ 3371 w 10000"/>
                <a:gd name="connsiteY1" fmla="*/ 393 h 10000"/>
                <a:gd name="connsiteX2" fmla="*/ 3154 w 10000"/>
                <a:gd name="connsiteY2" fmla="*/ 1663 h 10000"/>
                <a:gd name="connsiteX3" fmla="*/ 2194 w 10000"/>
                <a:gd name="connsiteY3" fmla="*/ 1776 h 10000"/>
                <a:gd name="connsiteX4" fmla="*/ 1564 w 10000"/>
                <a:gd name="connsiteY4" fmla="*/ 0 h 10000"/>
                <a:gd name="connsiteX5" fmla="*/ 791 w 10000"/>
                <a:gd name="connsiteY5" fmla="*/ 448 h 10000"/>
                <a:gd name="connsiteX6" fmla="*/ 23 w 10000"/>
                <a:gd name="connsiteY6" fmla="*/ 1417 h 10000"/>
                <a:gd name="connsiteX7" fmla="*/ 251 w 10000"/>
                <a:gd name="connsiteY7" fmla="*/ 3900 h 10000"/>
                <a:gd name="connsiteX8" fmla="*/ 1160 w 10000"/>
                <a:gd name="connsiteY8" fmla="*/ 4950 h 10000"/>
                <a:gd name="connsiteX9" fmla="*/ 1279 w 10000"/>
                <a:gd name="connsiteY9" fmla="*/ 6021 h 10000"/>
                <a:gd name="connsiteX10" fmla="*/ 977 w 10000"/>
                <a:gd name="connsiteY10" fmla="*/ 7008 h 10000"/>
                <a:gd name="connsiteX11" fmla="*/ 1639 w 10000"/>
                <a:gd name="connsiteY11" fmla="*/ 6561 h 10000"/>
                <a:gd name="connsiteX12" fmla="*/ 2472 w 10000"/>
                <a:gd name="connsiteY12" fmla="*/ 6153 h 10000"/>
                <a:gd name="connsiteX13" fmla="*/ 3244 w 10000"/>
                <a:gd name="connsiteY13" fmla="*/ 6145 h 10000"/>
                <a:gd name="connsiteX14" fmla="*/ 4270 w 10000"/>
                <a:gd name="connsiteY14" fmla="*/ 7352 h 10000"/>
                <a:gd name="connsiteX15" fmla="*/ 5945 w 10000"/>
                <a:gd name="connsiteY15" fmla="*/ 8415 h 10000"/>
                <a:gd name="connsiteX16" fmla="*/ 5818 w 10000"/>
                <a:gd name="connsiteY16" fmla="*/ 9313 h 10000"/>
                <a:gd name="connsiteX17" fmla="*/ 7125 w 10000"/>
                <a:gd name="connsiteY17" fmla="*/ 10000 h 10000"/>
                <a:gd name="connsiteX18" fmla="*/ 8183 w 10000"/>
                <a:gd name="connsiteY18" fmla="*/ 9115 h 10000"/>
                <a:gd name="connsiteX19" fmla="*/ 8800 w 10000"/>
                <a:gd name="connsiteY19" fmla="*/ 8418 h 10000"/>
                <a:gd name="connsiteX20" fmla="*/ 8971 w 10000"/>
                <a:gd name="connsiteY20" fmla="*/ 7158 h 10000"/>
                <a:gd name="connsiteX21" fmla="*/ 9977 w 10000"/>
                <a:gd name="connsiteY21" fmla="*/ 7233 h 10000"/>
                <a:gd name="connsiteX22" fmla="*/ 10000 w 10000"/>
                <a:gd name="connsiteY22" fmla="*/ 6315 h 10000"/>
                <a:gd name="connsiteX23" fmla="*/ 7023 w 10000"/>
                <a:gd name="connsiteY23" fmla="*/ 4012 h 10000"/>
                <a:gd name="connsiteX24" fmla="*/ 6496 w 10000"/>
                <a:gd name="connsiteY24" fmla="*/ 2156 h 10000"/>
                <a:gd name="connsiteX25" fmla="*/ 5153 w 10000"/>
                <a:gd name="connsiteY25" fmla="*/ 1758 h 10000"/>
                <a:gd name="connsiteX26" fmla="*/ 4267 w 10000"/>
                <a:gd name="connsiteY26" fmla="*/ 191 h 10000"/>
                <a:gd name="connsiteX0" fmla="*/ 4267 w 10000"/>
                <a:gd name="connsiteY0" fmla="*/ 191 h 10000"/>
                <a:gd name="connsiteX1" fmla="*/ 3371 w 10000"/>
                <a:gd name="connsiteY1" fmla="*/ 393 h 10000"/>
                <a:gd name="connsiteX2" fmla="*/ 3154 w 10000"/>
                <a:gd name="connsiteY2" fmla="*/ 1663 h 10000"/>
                <a:gd name="connsiteX3" fmla="*/ 2194 w 10000"/>
                <a:gd name="connsiteY3" fmla="*/ 1776 h 10000"/>
                <a:gd name="connsiteX4" fmla="*/ 1564 w 10000"/>
                <a:gd name="connsiteY4" fmla="*/ 0 h 10000"/>
                <a:gd name="connsiteX5" fmla="*/ 791 w 10000"/>
                <a:gd name="connsiteY5" fmla="*/ 448 h 10000"/>
                <a:gd name="connsiteX6" fmla="*/ 23 w 10000"/>
                <a:gd name="connsiteY6" fmla="*/ 1417 h 10000"/>
                <a:gd name="connsiteX7" fmla="*/ 251 w 10000"/>
                <a:gd name="connsiteY7" fmla="*/ 3900 h 10000"/>
                <a:gd name="connsiteX8" fmla="*/ 1160 w 10000"/>
                <a:gd name="connsiteY8" fmla="*/ 4950 h 10000"/>
                <a:gd name="connsiteX9" fmla="*/ 977 w 10000"/>
                <a:gd name="connsiteY9" fmla="*/ 7008 h 10000"/>
                <a:gd name="connsiteX10" fmla="*/ 1639 w 10000"/>
                <a:gd name="connsiteY10" fmla="*/ 6561 h 10000"/>
                <a:gd name="connsiteX11" fmla="*/ 2472 w 10000"/>
                <a:gd name="connsiteY11" fmla="*/ 6153 h 10000"/>
                <a:gd name="connsiteX12" fmla="*/ 3244 w 10000"/>
                <a:gd name="connsiteY12" fmla="*/ 6145 h 10000"/>
                <a:gd name="connsiteX13" fmla="*/ 4270 w 10000"/>
                <a:gd name="connsiteY13" fmla="*/ 7352 h 10000"/>
                <a:gd name="connsiteX14" fmla="*/ 5945 w 10000"/>
                <a:gd name="connsiteY14" fmla="*/ 8415 h 10000"/>
                <a:gd name="connsiteX15" fmla="*/ 5818 w 10000"/>
                <a:gd name="connsiteY15" fmla="*/ 9313 h 10000"/>
                <a:gd name="connsiteX16" fmla="*/ 7125 w 10000"/>
                <a:gd name="connsiteY16" fmla="*/ 10000 h 10000"/>
                <a:gd name="connsiteX17" fmla="*/ 8183 w 10000"/>
                <a:gd name="connsiteY17" fmla="*/ 9115 h 10000"/>
                <a:gd name="connsiteX18" fmla="*/ 8800 w 10000"/>
                <a:gd name="connsiteY18" fmla="*/ 8418 h 10000"/>
                <a:gd name="connsiteX19" fmla="*/ 8971 w 10000"/>
                <a:gd name="connsiteY19" fmla="*/ 7158 h 10000"/>
                <a:gd name="connsiteX20" fmla="*/ 9977 w 10000"/>
                <a:gd name="connsiteY20" fmla="*/ 7233 h 10000"/>
                <a:gd name="connsiteX21" fmla="*/ 10000 w 10000"/>
                <a:gd name="connsiteY21" fmla="*/ 6315 h 10000"/>
                <a:gd name="connsiteX22" fmla="*/ 7023 w 10000"/>
                <a:gd name="connsiteY22" fmla="*/ 4012 h 10000"/>
                <a:gd name="connsiteX23" fmla="*/ 6496 w 10000"/>
                <a:gd name="connsiteY23" fmla="*/ 2156 h 10000"/>
                <a:gd name="connsiteX24" fmla="*/ 5153 w 10000"/>
                <a:gd name="connsiteY24" fmla="*/ 1758 h 10000"/>
                <a:gd name="connsiteX25" fmla="*/ 4267 w 10000"/>
                <a:gd name="connsiteY25" fmla="*/ 19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0000" h="10000">
                  <a:moveTo>
                    <a:pt x="4267" y="191"/>
                  </a:moveTo>
                  <a:lnTo>
                    <a:pt x="3371" y="393"/>
                  </a:lnTo>
                  <a:cubicBezTo>
                    <a:pt x="3298" y="991"/>
                    <a:pt x="3227" y="1066"/>
                    <a:pt x="3154" y="1663"/>
                  </a:cubicBezTo>
                  <a:lnTo>
                    <a:pt x="2194" y="1776"/>
                  </a:lnTo>
                  <a:cubicBezTo>
                    <a:pt x="2186" y="1185"/>
                    <a:pt x="1571" y="592"/>
                    <a:pt x="1564" y="0"/>
                  </a:cubicBezTo>
                  <a:lnTo>
                    <a:pt x="791" y="448"/>
                  </a:lnTo>
                  <a:cubicBezTo>
                    <a:pt x="614" y="910"/>
                    <a:pt x="123" y="1086"/>
                    <a:pt x="23" y="1417"/>
                  </a:cubicBezTo>
                  <a:cubicBezTo>
                    <a:pt x="-79" y="1749"/>
                    <a:pt x="196" y="3449"/>
                    <a:pt x="251" y="3900"/>
                  </a:cubicBezTo>
                  <a:cubicBezTo>
                    <a:pt x="533" y="4113"/>
                    <a:pt x="879" y="4738"/>
                    <a:pt x="1160" y="4950"/>
                  </a:cubicBezTo>
                  <a:cubicBezTo>
                    <a:pt x="1281" y="5468"/>
                    <a:pt x="897" y="6740"/>
                    <a:pt x="977" y="7008"/>
                  </a:cubicBezTo>
                  <a:cubicBezTo>
                    <a:pt x="1039" y="7097"/>
                    <a:pt x="1390" y="6700"/>
                    <a:pt x="1639" y="6561"/>
                  </a:cubicBezTo>
                  <a:cubicBezTo>
                    <a:pt x="1889" y="6414"/>
                    <a:pt x="2214" y="6155"/>
                    <a:pt x="2472" y="6153"/>
                  </a:cubicBezTo>
                  <a:cubicBezTo>
                    <a:pt x="2729" y="6150"/>
                    <a:pt x="2944" y="5945"/>
                    <a:pt x="3244" y="6145"/>
                  </a:cubicBezTo>
                  <a:cubicBezTo>
                    <a:pt x="3544" y="6345"/>
                    <a:pt x="3820" y="6974"/>
                    <a:pt x="4270" y="7352"/>
                  </a:cubicBezTo>
                  <a:cubicBezTo>
                    <a:pt x="4720" y="7730"/>
                    <a:pt x="5687" y="8088"/>
                    <a:pt x="5945" y="8415"/>
                  </a:cubicBezTo>
                  <a:cubicBezTo>
                    <a:pt x="6203" y="8742"/>
                    <a:pt x="5621" y="9049"/>
                    <a:pt x="5818" y="9313"/>
                  </a:cubicBezTo>
                  <a:cubicBezTo>
                    <a:pt x="6015" y="9577"/>
                    <a:pt x="6689" y="9771"/>
                    <a:pt x="7125" y="10000"/>
                  </a:cubicBezTo>
                  <a:lnTo>
                    <a:pt x="8183" y="9115"/>
                  </a:lnTo>
                  <a:lnTo>
                    <a:pt x="8800" y="8418"/>
                  </a:lnTo>
                  <a:lnTo>
                    <a:pt x="8971" y="7158"/>
                  </a:lnTo>
                  <a:lnTo>
                    <a:pt x="9977" y="7233"/>
                  </a:lnTo>
                  <a:cubicBezTo>
                    <a:pt x="9985" y="6927"/>
                    <a:pt x="9993" y="6621"/>
                    <a:pt x="10000" y="6315"/>
                  </a:cubicBezTo>
                  <a:lnTo>
                    <a:pt x="7023" y="4012"/>
                  </a:lnTo>
                  <a:lnTo>
                    <a:pt x="6496" y="2156"/>
                  </a:lnTo>
                  <a:lnTo>
                    <a:pt x="5153" y="1758"/>
                  </a:lnTo>
                  <a:lnTo>
                    <a:pt x="4267" y="191"/>
                  </a:ln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270" name="UZ"/>
            <p:cNvSpPr>
              <a:spLocks/>
            </p:cNvSpPr>
            <p:nvPr/>
          </p:nvSpPr>
          <p:spPr bwMode="auto">
            <a:xfrm>
              <a:off x="5661875" y="3139665"/>
              <a:ext cx="396617" cy="295079"/>
            </a:xfrm>
            <a:custGeom>
              <a:avLst/>
              <a:gdLst>
                <a:gd name="T0" fmla="*/ 327261 w 10348"/>
                <a:gd name="T1" fmla="*/ 8222 h 11017"/>
                <a:gd name="T2" fmla="*/ 294275 w 10348"/>
                <a:gd name="T3" fmla="*/ 29389 h 11017"/>
                <a:gd name="T4" fmla="*/ 271988 w 10348"/>
                <a:gd name="T5" fmla="*/ 29389 h 11017"/>
                <a:gd name="T6" fmla="*/ 264536 w 10348"/>
                <a:gd name="T7" fmla="*/ 7347 h 11017"/>
                <a:gd name="T8" fmla="*/ 257119 w 10348"/>
                <a:gd name="T9" fmla="*/ 0 h 11017"/>
                <a:gd name="T10" fmla="*/ 234832 w 10348"/>
                <a:gd name="T11" fmla="*/ 22042 h 11017"/>
                <a:gd name="T12" fmla="*/ 219963 w 10348"/>
                <a:gd name="T13" fmla="*/ 36761 h 11017"/>
                <a:gd name="T14" fmla="*/ 191557 w 10348"/>
                <a:gd name="T15" fmla="*/ 28989 h 11017"/>
                <a:gd name="T16" fmla="*/ 175389 w 10348"/>
                <a:gd name="T17" fmla="*/ 29389 h 11017"/>
                <a:gd name="T18" fmla="*/ 153068 w 10348"/>
                <a:gd name="T19" fmla="*/ 29389 h 11017"/>
                <a:gd name="T20" fmla="*/ 123364 w 10348"/>
                <a:gd name="T21" fmla="*/ 22042 h 11017"/>
                <a:gd name="T22" fmla="*/ 115912 w 10348"/>
                <a:gd name="T23" fmla="*/ 58803 h 11017"/>
                <a:gd name="T24" fmla="*/ 78790 w 10348"/>
                <a:gd name="T25" fmla="*/ 73498 h 11017"/>
                <a:gd name="T26" fmla="*/ 63921 w 10348"/>
                <a:gd name="T27" fmla="*/ 88192 h 11017"/>
                <a:gd name="T28" fmla="*/ 41634 w 10348"/>
                <a:gd name="T29" fmla="*/ 80845 h 11017"/>
                <a:gd name="T30" fmla="*/ 19621 w 10348"/>
                <a:gd name="T31" fmla="*/ 71124 h 11017"/>
                <a:gd name="T32" fmla="*/ 12169 w 10348"/>
                <a:gd name="T33" fmla="*/ 117606 h 11017"/>
                <a:gd name="T34" fmla="*/ 11895 w 10348"/>
                <a:gd name="T35" fmla="*/ 146996 h 11017"/>
                <a:gd name="T36" fmla="*/ 0 w 10348"/>
                <a:gd name="T37" fmla="*/ 193278 h 11017"/>
                <a:gd name="T38" fmla="*/ 27346 w 10348"/>
                <a:gd name="T39" fmla="*/ 210347 h 11017"/>
                <a:gd name="T40" fmla="*/ 26765 w 10348"/>
                <a:gd name="T41" fmla="*/ 242560 h 11017"/>
                <a:gd name="T42" fmla="*/ 16134 w 10348"/>
                <a:gd name="T43" fmla="*/ 265427 h 11017"/>
                <a:gd name="T44" fmla="*/ 46659 w 10348"/>
                <a:gd name="T45" fmla="*/ 271949 h 11017"/>
                <a:gd name="T46" fmla="*/ 61802 w 10348"/>
                <a:gd name="T47" fmla="*/ 272224 h 11017"/>
                <a:gd name="T48" fmla="*/ 103367 w 10348"/>
                <a:gd name="T49" fmla="*/ 274398 h 11017"/>
                <a:gd name="T50" fmla="*/ 163460 w 10348"/>
                <a:gd name="T51" fmla="*/ 256430 h 11017"/>
                <a:gd name="T52" fmla="*/ 172655 w 10348"/>
                <a:gd name="T53" fmla="*/ 222942 h 11017"/>
                <a:gd name="T54" fmla="*/ 201539 w 10348"/>
                <a:gd name="T55" fmla="*/ 214795 h 11017"/>
                <a:gd name="T56" fmla="*/ 247719 w 10348"/>
                <a:gd name="T57" fmla="*/ 194378 h 11017"/>
                <a:gd name="T58" fmla="*/ 249428 w 10348"/>
                <a:gd name="T59" fmla="*/ 169037 h 11017"/>
                <a:gd name="T60" fmla="*/ 259341 w 10348"/>
                <a:gd name="T61" fmla="*/ 162515 h 11017"/>
                <a:gd name="T62" fmla="*/ 272398 w 10348"/>
                <a:gd name="T63" fmla="*/ 151894 h 11017"/>
                <a:gd name="T64" fmla="*/ 294617 w 10348"/>
                <a:gd name="T65" fmla="*/ 123329 h 11017"/>
                <a:gd name="T66" fmla="*/ 298855 w 10348"/>
                <a:gd name="T67" fmla="*/ 106161 h 11017"/>
                <a:gd name="T68" fmla="*/ 313554 w 10348"/>
                <a:gd name="T69" fmla="*/ 80045 h 11017"/>
                <a:gd name="T70" fmla="*/ 301693 w 10348"/>
                <a:gd name="T71" fmla="*/ 51456 h 11017"/>
                <a:gd name="T72" fmla="*/ 353718 w 10348"/>
                <a:gd name="T73" fmla="*/ 44109 h 11017"/>
                <a:gd name="T74" fmla="*/ 338849 w 10348"/>
                <a:gd name="T75" fmla="*/ 22042 h 11017"/>
                <a:gd name="T76" fmla="*/ 327261 w 10348"/>
                <a:gd name="T77" fmla="*/ 8222 h 11017"/>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connsiteX0" fmla="*/ 9574 w 10348"/>
                <a:gd name="connsiteY0" fmla="*/ 329 h 10984"/>
                <a:gd name="connsiteX1" fmla="*/ 8609 w 10348"/>
                <a:gd name="connsiteY1" fmla="*/ 1176 h 10984"/>
                <a:gd name="connsiteX2" fmla="*/ 7957 w 10348"/>
                <a:gd name="connsiteY2" fmla="*/ 1176 h 10984"/>
                <a:gd name="connsiteX3" fmla="*/ 7739 w 10348"/>
                <a:gd name="connsiteY3" fmla="*/ 294 h 10984"/>
                <a:gd name="connsiteX4" fmla="*/ 7522 w 10348"/>
                <a:gd name="connsiteY4" fmla="*/ 0 h 10984"/>
                <a:gd name="connsiteX5" fmla="*/ 6870 w 10348"/>
                <a:gd name="connsiteY5" fmla="*/ 882 h 10984"/>
                <a:gd name="connsiteX6" fmla="*/ 6435 w 10348"/>
                <a:gd name="connsiteY6" fmla="*/ 1471 h 10984"/>
                <a:gd name="connsiteX7" fmla="*/ 5604 w 10348"/>
                <a:gd name="connsiteY7" fmla="*/ 1160 h 10984"/>
                <a:gd name="connsiteX8" fmla="*/ 5131 w 10348"/>
                <a:gd name="connsiteY8" fmla="*/ 1176 h 10984"/>
                <a:gd name="connsiteX9" fmla="*/ 4478 w 10348"/>
                <a:gd name="connsiteY9" fmla="*/ 1176 h 10984"/>
                <a:gd name="connsiteX10" fmla="*/ 3609 w 10348"/>
                <a:gd name="connsiteY10" fmla="*/ 882 h 10984"/>
                <a:gd name="connsiteX11" fmla="*/ 3391 w 10348"/>
                <a:gd name="connsiteY11" fmla="*/ 2353 h 10984"/>
                <a:gd name="connsiteX12" fmla="*/ 2305 w 10348"/>
                <a:gd name="connsiteY12" fmla="*/ 2941 h 10984"/>
                <a:gd name="connsiteX13" fmla="*/ 1870 w 10348"/>
                <a:gd name="connsiteY13" fmla="*/ 3529 h 10984"/>
                <a:gd name="connsiteX14" fmla="*/ 1218 w 10348"/>
                <a:gd name="connsiteY14" fmla="*/ 3235 h 10984"/>
                <a:gd name="connsiteX15" fmla="*/ 574 w 10348"/>
                <a:gd name="connsiteY15" fmla="*/ 2846 h 10984"/>
                <a:gd name="connsiteX16" fmla="*/ 356 w 10348"/>
                <a:gd name="connsiteY16" fmla="*/ 4706 h 10984"/>
                <a:gd name="connsiteX17" fmla="*/ 348 w 10348"/>
                <a:gd name="connsiteY17" fmla="*/ 5882 h 10984"/>
                <a:gd name="connsiteX18" fmla="*/ 0 w 10348"/>
                <a:gd name="connsiteY18" fmla="*/ 7734 h 10984"/>
                <a:gd name="connsiteX19" fmla="*/ 800 w 10348"/>
                <a:gd name="connsiteY19" fmla="*/ 8417 h 10984"/>
                <a:gd name="connsiteX20" fmla="*/ 783 w 10348"/>
                <a:gd name="connsiteY20" fmla="*/ 9706 h 10984"/>
                <a:gd name="connsiteX21" fmla="*/ 472 w 10348"/>
                <a:gd name="connsiteY21" fmla="*/ 10621 h 10984"/>
                <a:gd name="connsiteX22" fmla="*/ 1365 w 10348"/>
                <a:gd name="connsiteY22" fmla="*/ 10882 h 10984"/>
                <a:gd name="connsiteX23" fmla="*/ 1808 w 10348"/>
                <a:gd name="connsiteY23" fmla="*/ 9923 h 10984"/>
                <a:gd name="connsiteX24" fmla="*/ 3024 w 10348"/>
                <a:gd name="connsiteY24" fmla="*/ 10980 h 10984"/>
                <a:gd name="connsiteX25" fmla="*/ 4782 w 10348"/>
                <a:gd name="connsiteY25" fmla="*/ 10261 h 10984"/>
                <a:gd name="connsiteX26" fmla="*/ 5051 w 10348"/>
                <a:gd name="connsiteY26" fmla="*/ 8921 h 10984"/>
                <a:gd name="connsiteX27" fmla="*/ 5896 w 10348"/>
                <a:gd name="connsiteY27" fmla="*/ 8595 h 10984"/>
                <a:gd name="connsiteX28" fmla="*/ 7247 w 10348"/>
                <a:gd name="connsiteY28" fmla="*/ 7778 h 10984"/>
                <a:gd name="connsiteX29" fmla="*/ 7297 w 10348"/>
                <a:gd name="connsiteY29" fmla="*/ 6764 h 10984"/>
                <a:gd name="connsiteX30" fmla="*/ 7587 w 10348"/>
                <a:gd name="connsiteY30" fmla="*/ 6503 h 10984"/>
                <a:gd name="connsiteX31" fmla="*/ 7969 w 10348"/>
                <a:gd name="connsiteY31" fmla="*/ 6078 h 10984"/>
                <a:gd name="connsiteX32" fmla="*/ 8619 w 10348"/>
                <a:gd name="connsiteY32" fmla="*/ 4935 h 10984"/>
                <a:gd name="connsiteX33" fmla="*/ 8743 w 10348"/>
                <a:gd name="connsiteY33" fmla="*/ 4248 h 10984"/>
                <a:gd name="connsiteX34" fmla="*/ 9173 w 10348"/>
                <a:gd name="connsiteY34" fmla="*/ 3203 h 10984"/>
                <a:gd name="connsiteX35" fmla="*/ 8826 w 10348"/>
                <a:gd name="connsiteY35" fmla="*/ 2059 h 10984"/>
                <a:gd name="connsiteX36" fmla="*/ 10348 w 10348"/>
                <a:gd name="connsiteY36" fmla="*/ 1765 h 10984"/>
                <a:gd name="connsiteX37" fmla="*/ 9913 w 10348"/>
                <a:gd name="connsiteY37" fmla="*/ 882 h 10984"/>
                <a:gd name="connsiteX38" fmla="*/ 9574 w 10348"/>
                <a:gd name="connsiteY38" fmla="*/ 329 h 10984"/>
                <a:gd name="connsiteX0" fmla="*/ 9574 w 10348"/>
                <a:gd name="connsiteY0" fmla="*/ 329 h 11026"/>
                <a:gd name="connsiteX1" fmla="*/ 8609 w 10348"/>
                <a:gd name="connsiteY1" fmla="*/ 1176 h 11026"/>
                <a:gd name="connsiteX2" fmla="*/ 7957 w 10348"/>
                <a:gd name="connsiteY2" fmla="*/ 1176 h 11026"/>
                <a:gd name="connsiteX3" fmla="*/ 7739 w 10348"/>
                <a:gd name="connsiteY3" fmla="*/ 294 h 11026"/>
                <a:gd name="connsiteX4" fmla="*/ 7522 w 10348"/>
                <a:gd name="connsiteY4" fmla="*/ 0 h 11026"/>
                <a:gd name="connsiteX5" fmla="*/ 6870 w 10348"/>
                <a:gd name="connsiteY5" fmla="*/ 882 h 11026"/>
                <a:gd name="connsiteX6" fmla="*/ 6435 w 10348"/>
                <a:gd name="connsiteY6" fmla="*/ 1471 h 11026"/>
                <a:gd name="connsiteX7" fmla="*/ 5604 w 10348"/>
                <a:gd name="connsiteY7" fmla="*/ 1160 h 11026"/>
                <a:gd name="connsiteX8" fmla="*/ 5131 w 10348"/>
                <a:gd name="connsiteY8" fmla="*/ 1176 h 11026"/>
                <a:gd name="connsiteX9" fmla="*/ 4478 w 10348"/>
                <a:gd name="connsiteY9" fmla="*/ 1176 h 11026"/>
                <a:gd name="connsiteX10" fmla="*/ 3609 w 10348"/>
                <a:gd name="connsiteY10" fmla="*/ 882 h 11026"/>
                <a:gd name="connsiteX11" fmla="*/ 3391 w 10348"/>
                <a:gd name="connsiteY11" fmla="*/ 2353 h 11026"/>
                <a:gd name="connsiteX12" fmla="*/ 2305 w 10348"/>
                <a:gd name="connsiteY12" fmla="*/ 2941 h 11026"/>
                <a:gd name="connsiteX13" fmla="*/ 1870 w 10348"/>
                <a:gd name="connsiteY13" fmla="*/ 3529 h 11026"/>
                <a:gd name="connsiteX14" fmla="*/ 1218 w 10348"/>
                <a:gd name="connsiteY14" fmla="*/ 3235 h 11026"/>
                <a:gd name="connsiteX15" fmla="*/ 574 w 10348"/>
                <a:gd name="connsiteY15" fmla="*/ 2846 h 11026"/>
                <a:gd name="connsiteX16" fmla="*/ 356 w 10348"/>
                <a:gd name="connsiteY16" fmla="*/ 4706 h 11026"/>
                <a:gd name="connsiteX17" fmla="*/ 348 w 10348"/>
                <a:gd name="connsiteY17" fmla="*/ 5882 h 11026"/>
                <a:gd name="connsiteX18" fmla="*/ 0 w 10348"/>
                <a:gd name="connsiteY18" fmla="*/ 7734 h 11026"/>
                <a:gd name="connsiteX19" fmla="*/ 800 w 10348"/>
                <a:gd name="connsiteY19" fmla="*/ 8417 h 11026"/>
                <a:gd name="connsiteX20" fmla="*/ 783 w 10348"/>
                <a:gd name="connsiteY20" fmla="*/ 9706 h 11026"/>
                <a:gd name="connsiteX21" fmla="*/ 472 w 10348"/>
                <a:gd name="connsiteY21" fmla="*/ 10621 h 11026"/>
                <a:gd name="connsiteX22" fmla="*/ 1365 w 10348"/>
                <a:gd name="connsiteY22" fmla="*/ 10882 h 11026"/>
                <a:gd name="connsiteX23" fmla="*/ 2017 w 10348"/>
                <a:gd name="connsiteY23" fmla="*/ 8953 h 11026"/>
                <a:gd name="connsiteX24" fmla="*/ 3024 w 10348"/>
                <a:gd name="connsiteY24" fmla="*/ 10980 h 11026"/>
                <a:gd name="connsiteX25" fmla="*/ 4782 w 10348"/>
                <a:gd name="connsiteY25" fmla="*/ 10261 h 11026"/>
                <a:gd name="connsiteX26" fmla="*/ 5051 w 10348"/>
                <a:gd name="connsiteY26" fmla="*/ 8921 h 11026"/>
                <a:gd name="connsiteX27" fmla="*/ 5896 w 10348"/>
                <a:gd name="connsiteY27" fmla="*/ 8595 h 11026"/>
                <a:gd name="connsiteX28" fmla="*/ 7247 w 10348"/>
                <a:gd name="connsiteY28" fmla="*/ 7778 h 11026"/>
                <a:gd name="connsiteX29" fmla="*/ 7297 w 10348"/>
                <a:gd name="connsiteY29" fmla="*/ 6764 h 11026"/>
                <a:gd name="connsiteX30" fmla="*/ 7587 w 10348"/>
                <a:gd name="connsiteY30" fmla="*/ 6503 h 11026"/>
                <a:gd name="connsiteX31" fmla="*/ 7969 w 10348"/>
                <a:gd name="connsiteY31" fmla="*/ 6078 h 11026"/>
                <a:gd name="connsiteX32" fmla="*/ 8619 w 10348"/>
                <a:gd name="connsiteY32" fmla="*/ 4935 h 11026"/>
                <a:gd name="connsiteX33" fmla="*/ 8743 w 10348"/>
                <a:gd name="connsiteY33" fmla="*/ 4248 h 11026"/>
                <a:gd name="connsiteX34" fmla="*/ 9173 w 10348"/>
                <a:gd name="connsiteY34" fmla="*/ 3203 h 11026"/>
                <a:gd name="connsiteX35" fmla="*/ 8826 w 10348"/>
                <a:gd name="connsiteY35" fmla="*/ 2059 h 11026"/>
                <a:gd name="connsiteX36" fmla="*/ 10348 w 10348"/>
                <a:gd name="connsiteY36" fmla="*/ 1765 h 11026"/>
                <a:gd name="connsiteX37" fmla="*/ 9913 w 10348"/>
                <a:gd name="connsiteY37" fmla="*/ 882 h 11026"/>
                <a:gd name="connsiteX38" fmla="*/ 9574 w 10348"/>
                <a:gd name="connsiteY38" fmla="*/ 329 h 11026"/>
                <a:gd name="connsiteX0" fmla="*/ 9574 w 10348"/>
                <a:gd name="connsiteY0" fmla="*/ 329 h 11026"/>
                <a:gd name="connsiteX1" fmla="*/ 8609 w 10348"/>
                <a:gd name="connsiteY1" fmla="*/ 1176 h 11026"/>
                <a:gd name="connsiteX2" fmla="*/ 7957 w 10348"/>
                <a:gd name="connsiteY2" fmla="*/ 1176 h 11026"/>
                <a:gd name="connsiteX3" fmla="*/ 7739 w 10348"/>
                <a:gd name="connsiteY3" fmla="*/ 294 h 11026"/>
                <a:gd name="connsiteX4" fmla="*/ 7522 w 10348"/>
                <a:gd name="connsiteY4" fmla="*/ 0 h 11026"/>
                <a:gd name="connsiteX5" fmla="*/ 6870 w 10348"/>
                <a:gd name="connsiteY5" fmla="*/ 882 h 11026"/>
                <a:gd name="connsiteX6" fmla="*/ 6435 w 10348"/>
                <a:gd name="connsiteY6" fmla="*/ 1471 h 11026"/>
                <a:gd name="connsiteX7" fmla="*/ 5604 w 10348"/>
                <a:gd name="connsiteY7" fmla="*/ 1160 h 11026"/>
                <a:gd name="connsiteX8" fmla="*/ 5131 w 10348"/>
                <a:gd name="connsiteY8" fmla="*/ 1176 h 11026"/>
                <a:gd name="connsiteX9" fmla="*/ 4478 w 10348"/>
                <a:gd name="connsiteY9" fmla="*/ 1176 h 11026"/>
                <a:gd name="connsiteX10" fmla="*/ 3609 w 10348"/>
                <a:gd name="connsiteY10" fmla="*/ 882 h 11026"/>
                <a:gd name="connsiteX11" fmla="*/ 3391 w 10348"/>
                <a:gd name="connsiteY11" fmla="*/ 2353 h 11026"/>
                <a:gd name="connsiteX12" fmla="*/ 2305 w 10348"/>
                <a:gd name="connsiteY12" fmla="*/ 2941 h 11026"/>
                <a:gd name="connsiteX13" fmla="*/ 1870 w 10348"/>
                <a:gd name="connsiteY13" fmla="*/ 3529 h 11026"/>
                <a:gd name="connsiteX14" fmla="*/ 1218 w 10348"/>
                <a:gd name="connsiteY14" fmla="*/ 3235 h 11026"/>
                <a:gd name="connsiteX15" fmla="*/ 574 w 10348"/>
                <a:gd name="connsiteY15" fmla="*/ 2846 h 11026"/>
                <a:gd name="connsiteX16" fmla="*/ 356 w 10348"/>
                <a:gd name="connsiteY16" fmla="*/ 4706 h 11026"/>
                <a:gd name="connsiteX17" fmla="*/ 348 w 10348"/>
                <a:gd name="connsiteY17" fmla="*/ 5882 h 11026"/>
                <a:gd name="connsiteX18" fmla="*/ 0 w 10348"/>
                <a:gd name="connsiteY18" fmla="*/ 7734 h 11026"/>
                <a:gd name="connsiteX19" fmla="*/ 800 w 10348"/>
                <a:gd name="connsiteY19" fmla="*/ 8417 h 11026"/>
                <a:gd name="connsiteX20" fmla="*/ 783 w 10348"/>
                <a:gd name="connsiteY20" fmla="*/ 9706 h 11026"/>
                <a:gd name="connsiteX21" fmla="*/ 472 w 10348"/>
                <a:gd name="connsiteY21" fmla="*/ 10621 h 11026"/>
                <a:gd name="connsiteX22" fmla="*/ 1017 w 10348"/>
                <a:gd name="connsiteY22" fmla="*/ 9428 h 11026"/>
                <a:gd name="connsiteX23" fmla="*/ 2017 w 10348"/>
                <a:gd name="connsiteY23" fmla="*/ 8953 h 11026"/>
                <a:gd name="connsiteX24" fmla="*/ 3024 w 10348"/>
                <a:gd name="connsiteY24" fmla="*/ 10980 h 11026"/>
                <a:gd name="connsiteX25" fmla="*/ 4782 w 10348"/>
                <a:gd name="connsiteY25" fmla="*/ 10261 h 11026"/>
                <a:gd name="connsiteX26" fmla="*/ 5051 w 10348"/>
                <a:gd name="connsiteY26" fmla="*/ 8921 h 11026"/>
                <a:gd name="connsiteX27" fmla="*/ 5896 w 10348"/>
                <a:gd name="connsiteY27" fmla="*/ 8595 h 11026"/>
                <a:gd name="connsiteX28" fmla="*/ 7247 w 10348"/>
                <a:gd name="connsiteY28" fmla="*/ 7778 h 11026"/>
                <a:gd name="connsiteX29" fmla="*/ 7297 w 10348"/>
                <a:gd name="connsiteY29" fmla="*/ 6764 h 11026"/>
                <a:gd name="connsiteX30" fmla="*/ 7587 w 10348"/>
                <a:gd name="connsiteY30" fmla="*/ 6503 h 11026"/>
                <a:gd name="connsiteX31" fmla="*/ 7969 w 10348"/>
                <a:gd name="connsiteY31" fmla="*/ 6078 h 11026"/>
                <a:gd name="connsiteX32" fmla="*/ 8619 w 10348"/>
                <a:gd name="connsiteY32" fmla="*/ 4935 h 11026"/>
                <a:gd name="connsiteX33" fmla="*/ 8743 w 10348"/>
                <a:gd name="connsiteY33" fmla="*/ 4248 h 11026"/>
                <a:gd name="connsiteX34" fmla="*/ 9173 w 10348"/>
                <a:gd name="connsiteY34" fmla="*/ 3203 h 11026"/>
                <a:gd name="connsiteX35" fmla="*/ 8826 w 10348"/>
                <a:gd name="connsiteY35" fmla="*/ 2059 h 11026"/>
                <a:gd name="connsiteX36" fmla="*/ 10348 w 10348"/>
                <a:gd name="connsiteY36" fmla="*/ 1765 h 11026"/>
                <a:gd name="connsiteX37" fmla="*/ 9913 w 10348"/>
                <a:gd name="connsiteY37" fmla="*/ 882 h 11026"/>
                <a:gd name="connsiteX38" fmla="*/ 9574 w 10348"/>
                <a:gd name="connsiteY38" fmla="*/ 329 h 11026"/>
                <a:gd name="connsiteX0" fmla="*/ 9574 w 10348"/>
                <a:gd name="connsiteY0" fmla="*/ 329 h 11026"/>
                <a:gd name="connsiteX1" fmla="*/ 8609 w 10348"/>
                <a:gd name="connsiteY1" fmla="*/ 1176 h 11026"/>
                <a:gd name="connsiteX2" fmla="*/ 7957 w 10348"/>
                <a:gd name="connsiteY2" fmla="*/ 1176 h 11026"/>
                <a:gd name="connsiteX3" fmla="*/ 7739 w 10348"/>
                <a:gd name="connsiteY3" fmla="*/ 294 h 11026"/>
                <a:gd name="connsiteX4" fmla="*/ 7522 w 10348"/>
                <a:gd name="connsiteY4" fmla="*/ 0 h 11026"/>
                <a:gd name="connsiteX5" fmla="*/ 6870 w 10348"/>
                <a:gd name="connsiteY5" fmla="*/ 882 h 11026"/>
                <a:gd name="connsiteX6" fmla="*/ 6435 w 10348"/>
                <a:gd name="connsiteY6" fmla="*/ 1471 h 11026"/>
                <a:gd name="connsiteX7" fmla="*/ 5604 w 10348"/>
                <a:gd name="connsiteY7" fmla="*/ 1160 h 11026"/>
                <a:gd name="connsiteX8" fmla="*/ 5131 w 10348"/>
                <a:gd name="connsiteY8" fmla="*/ 1176 h 11026"/>
                <a:gd name="connsiteX9" fmla="*/ 4478 w 10348"/>
                <a:gd name="connsiteY9" fmla="*/ 1176 h 11026"/>
                <a:gd name="connsiteX10" fmla="*/ 3609 w 10348"/>
                <a:gd name="connsiteY10" fmla="*/ 882 h 11026"/>
                <a:gd name="connsiteX11" fmla="*/ 3391 w 10348"/>
                <a:gd name="connsiteY11" fmla="*/ 2353 h 11026"/>
                <a:gd name="connsiteX12" fmla="*/ 2305 w 10348"/>
                <a:gd name="connsiteY12" fmla="*/ 2941 h 11026"/>
                <a:gd name="connsiteX13" fmla="*/ 1870 w 10348"/>
                <a:gd name="connsiteY13" fmla="*/ 3529 h 11026"/>
                <a:gd name="connsiteX14" fmla="*/ 1218 w 10348"/>
                <a:gd name="connsiteY14" fmla="*/ 3235 h 11026"/>
                <a:gd name="connsiteX15" fmla="*/ 574 w 10348"/>
                <a:gd name="connsiteY15" fmla="*/ 2846 h 11026"/>
                <a:gd name="connsiteX16" fmla="*/ 356 w 10348"/>
                <a:gd name="connsiteY16" fmla="*/ 4706 h 11026"/>
                <a:gd name="connsiteX17" fmla="*/ 348 w 10348"/>
                <a:gd name="connsiteY17" fmla="*/ 5882 h 11026"/>
                <a:gd name="connsiteX18" fmla="*/ 0 w 10348"/>
                <a:gd name="connsiteY18" fmla="*/ 7734 h 11026"/>
                <a:gd name="connsiteX19" fmla="*/ 800 w 10348"/>
                <a:gd name="connsiteY19" fmla="*/ 8417 h 11026"/>
                <a:gd name="connsiteX20" fmla="*/ 783 w 10348"/>
                <a:gd name="connsiteY20" fmla="*/ 9706 h 11026"/>
                <a:gd name="connsiteX21" fmla="*/ 472 w 10348"/>
                <a:gd name="connsiteY21" fmla="*/ 10621 h 11026"/>
                <a:gd name="connsiteX22" fmla="*/ 1156 w 10348"/>
                <a:gd name="connsiteY22" fmla="*/ 10204 h 11026"/>
                <a:gd name="connsiteX23" fmla="*/ 2017 w 10348"/>
                <a:gd name="connsiteY23" fmla="*/ 8953 h 11026"/>
                <a:gd name="connsiteX24" fmla="*/ 3024 w 10348"/>
                <a:gd name="connsiteY24" fmla="*/ 10980 h 11026"/>
                <a:gd name="connsiteX25" fmla="*/ 4782 w 10348"/>
                <a:gd name="connsiteY25" fmla="*/ 10261 h 11026"/>
                <a:gd name="connsiteX26" fmla="*/ 5051 w 10348"/>
                <a:gd name="connsiteY26" fmla="*/ 8921 h 11026"/>
                <a:gd name="connsiteX27" fmla="*/ 5896 w 10348"/>
                <a:gd name="connsiteY27" fmla="*/ 8595 h 11026"/>
                <a:gd name="connsiteX28" fmla="*/ 7247 w 10348"/>
                <a:gd name="connsiteY28" fmla="*/ 7778 h 11026"/>
                <a:gd name="connsiteX29" fmla="*/ 7297 w 10348"/>
                <a:gd name="connsiteY29" fmla="*/ 6764 h 11026"/>
                <a:gd name="connsiteX30" fmla="*/ 7587 w 10348"/>
                <a:gd name="connsiteY30" fmla="*/ 6503 h 11026"/>
                <a:gd name="connsiteX31" fmla="*/ 7969 w 10348"/>
                <a:gd name="connsiteY31" fmla="*/ 6078 h 11026"/>
                <a:gd name="connsiteX32" fmla="*/ 8619 w 10348"/>
                <a:gd name="connsiteY32" fmla="*/ 4935 h 11026"/>
                <a:gd name="connsiteX33" fmla="*/ 8743 w 10348"/>
                <a:gd name="connsiteY33" fmla="*/ 4248 h 11026"/>
                <a:gd name="connsiteX34" fmla="*/ 9173 w 10348"/>
                <a:gd name="connsiteY34" fmla="*/ 3203 h 11026"/>
                <a:gd name="connsiteX35" fmla="*/ 8826 w 10348"/>
                <a:gd name="connsiteY35" fmla="*/ 2059 h 11026"/>
                <a:gd name="connsiteX36" fmla="*/ 10348 w 10348"/>
                <a:gd name="connsiteY36" fmla="*/ 1765 h 11026"/>
                <a:gd name="connsiteX37" fmla="*/ 9913 w 10348"/>
                <a:gd name="connsiteY37" fmla="*/ 882 h 11026"/>
                <a:gd name="connsiteX38" fmla="*/ 9574 w 10348"/>
                <a:gd name="connsiteY38" fmla="*/ 329 h 11026"/>
                <a:gd name="connsiteX0" fmla="*/ 9574 w 10348"/>
                <a:gd name="connsiteY0" fmla="*/ 329 h 10987"/>
                <a:gd name="connsiteX1" fmla="*/ 8609 w 10348"/>
                <a:gd name="connsiteY1" fmla="*/ 1176 h 10987"/>
                <a:gd name="connsiteX2" fmla="*/ 7957 w 10348"/>
                <a:gd name="connsiteY2" fmla="*/ 1176 h 10987"/>
                <a:gd name="connsiteX3" fmla="*/ 7739 w 10348"/>
                <a:gd name="connsiteY3" fmla="*/ 294 h 10987"/>
                <a:gd name="connsiteX4" fmla="*/ 7522 w 10348"/>
                <a:gd name="connsiteY4" fmla="*/ 0 h 10987"/>
                <a:gd name="connsiteX5" fmla="*/ 6870 w 10348"/>
                <a:gd name="connsiteY5" fmla="*/ 882 h 10987"/>
                <a:gd name="connsiteX6" fmla="*/ 6435 w 10348"/>
                <a:gd name="connsiteY6" fmla="*/ 1471 h 10987"/>
                <a:gd name="connsiteX7" fmla="*/ 5604 w 10348"/>
                <a:gd name="connsiteY7" fmla="*/ 1160 h 10987"/>
                <a:gd name="connsiteX8" fmla="*/ 5131 w 10348"/>
                <a:gd name="connsiteY8" fmla="*/ 1176 h 10987"/>
                <a:gd name="connsiteX9" fmla="*/ 4478 w 10348"/>
                <a:gd name="connsiteY9" fmla="*/ 1176 h 10987"/>
                <a:gd name="connsiteX10" fmla="*/ 3609 w 10348"/>
                <a:gd name="connsiteY10" fmla="*/ 882 h 10987"/>
                <a:gd name="connsiteX11" fmla="*/ 3391 w 10348"/>
                <a:gd name="connsiteY11" fmla="*/ 2353 h 10987"/>
                <a:gd name="connsiteX12" fmla="*/ 2305 w 10348"/>
                <a:gd name="connsiteY12" fmla="*/ 2941 h 10987"/>
                <a:gd name="connsiteX13" fmla="*/ 1870 w 10348"/>
                <a:gd name="connsiteY13" fmla="*/ 3529 h 10987"/>
                <a:gd name="connsiteX14" fmla="*/ 1218 w 10348"/>
                <a:gd name="connsiteY14" fmla="*/ 3235 h 10987"/>
                <a:gd name="connsiteX15" fmla="*/ 574 w 10348"/>
                <a:gd name="connsiteY15" fmla="*/ 2846 h 10987"/>
                <a:gd name="connsiteX16" fmla="*/ 356 w 10348"/>
                <a:gd name="connsiteY16" fmla="*/ 4706 h 10987"/>
                <a:gd name="connsiteX17" fmla="*/ 348 w 10348"/>
                <a:gd name="connsiteY17" fmla="*/ 5882 h 10987"/>
                <a:gd name="connsiteX18" fmla="*/ 0 w 10348"/>
                <a:gd name="connsiteY18" fmla="*/ 7734 h 10987"/>
                <a:gd name="connsiteX19" fmla="*/ 800 w 10348"/>
                <a:gd name="connsiteY19" fmla="*/ 8417 h 10987"/>
                <a:gd name="connsiteX20" fmla="*/ 783 w 10348"/>
                <a:gd name="connsiteY20" fmla="*/ 9706 h 10987"/>
                <a:gd name="connsiteX21" fmla="*/ 472 w 10348"/>
                <a:gd name="connsiteY21" fmla="*/ 10621 h 10987"/>
                <a:gd name="connsiteX22" fmla="*/ 1156 w 10348"/>
                <a:gd name="connsiteY22" fmla="*/ 10204 h 10987"/>
                <a:gd name="connsiteX23" fmla="*/ 2017 w 10348"/>
                <a:gd name="connsiteY23" fmla="*/ 9826 h 10987"/>
                <a:gd name="connsiteX24" fmla="*/ 3024 w 10348"/>
                <a:gd name="connsiteY24" fmla="*/ 10980 h 10987"/>
                <a:gd name="connsiteX25" fmla="*/ 4782 w 10348"/>
                <a:gd name="connsiteY25" fmla="*/ 10261 h 10987"/>
                <a:gd name="connsiteX26" fmla="*/ 5051 w 10348"/>
                <a:gd name="connsiteY26" fmla="*/ 8921 h 10987"/>
                <a:gd name="connsiteX27" fmla="*/ 5896 w 10348"/>
                <a:gd name="connsiteY27" fmla="*/ 8595 h 10987"/>
                <a:gd name="connsiteX28" fmla="*/ 7247 w 10348"/>
                <a:gd name="connsiteY28" fmla="*/ 7778 h 10987"/>
                <a:gd name="connsiteX29" fmla="*/ 7297 w 10348"/>
                <a:gd name="connsiteY29" fmla="*/ 6764 h 10987"/>
                <a:gd name="connsiteX30" fmla="*/ 7587 w 10348"/>
                <a:gd name="connsiteY30" fmla="*/ 6503 h 10987"/>
                <a:gd name="connsiteX31" fmla="*/ 7969 w 10348"/>
                <a:gd name="connsiteY31" fmla="*/ 6078 h 10987"/>
                <a:gd name="connsiteX32" fmla="*/ 8619 w 10348"/>
                <a:gd name="connsiteY32" fmla="*/ 4935 h 10987"/>
                <a:gd name="connsiteX33" fmla="*/ 8743 w 10348"/>
                <a:gd name="connsiteY33" fmla="*/ 4248 h 10987"/>
                <a:gd name="connsiteX34" fmla="*/ 9173 w 10348"/>
                <a:gd name="connsiteY34" fmla="*/ 3203 h 10987"/>
                <a:gd name="connsiteX35" fmla="*/ 8826 w 10348"/>
                <a:gd name="connsiteY35" fmla="*/ 2059 h 10987"/>
                <a:gd name="connsiteX36" fmla="*/ 10348 w 10348"/>
                <a:gd name="connsiteY36" fmla="*/ 1765 h 10987"/>
                <a:gd name="connsiteX37" fmla="*/ 9913 w 10348"/>
                <a:gd name="connsiteY37" fmla="*/ 882 h 10987"/>
                <a:gd name="connsiteX38" fmla="*/ 9574 w 10348"/>
                <a:gd name="connsiteY38" fmla="*/ 329 h 10987"/>
                <a:gd name="connsiteX0" fmla="*/ 9574 w 10348"/>
                <a:gd name="connsiteY0" fmla="*/ 329 h 10633"/>
                <a:gd name="connsiteX1" fmla="*/ 8609 w 10348"/>
                <a:gd name="connsiteY1" fmla="*/ 1176 h 10633"/>
                <a:gd name="connsiteX2" fmla="*/ 7957 w 10348"/>
                <a:gd name="connsiteY2" fmla="*/ 1176 h 10633"/>
                <a:gd name="connsiteX3" fmla="*/ 7739 w 10348"/>
                <a:gd name="connsiteY3" fmla="*/ 294 h 10633"/>
                <a:gd name="connsiteX4" fmla="*/ 7522 w 10348"/>
                <a:gd name="connsiteY4" fmla="*/ 0 h 10633"/>
                <a:gd name="connsiteX5" fmla="*/ 6870 w 10348"/>
                <a:gd name="connsiteY5" fmla="*/ 882 h 10633"/>
                <a:gd name="connsiteX6" fmla="*/ 6435 w 10348"/>
                <a:gd name="connsiteY6" fmla="*/ 1471 h 10633"/>
                <a:gd name="connsiteX7" fmla="*/ 5604 w 10348"/>
                <a:gd name="connsiteY7" fmla="*/ 1160 h 10633"/>
                <a:gd name="connsiteX8" fmla="*/ 5131 w 10348"/>
                <a:gd name="connsiteY8" fmla="*/ 1176 h 10633"/>
                <a:gd name="connsiteX9" fmla="*/ 4478 w 10348"/>
                <a:gd name="connsiteY9" fmla="*/ 1176 h 10633"/>
                <a:gd name="connsiteX10" fmla="*/ 3609 w 10348"/>
                <a:gd name="connsiteY10" fmla="*/ 882 h 10633"/>
                <a:gd name="connsiteX11" fmla="*/ 3391 w 10348"/>
                <a:gd name="connsiteY11" fmla="*/ 2353 h 10633"/>
                <a:gd name="connsiteX12" fmla="*/ 2305 w 10348"/>
                <a:gd name="connsiteY12" fmla="*/ 2941 h 10633"/>
                <a:gd name="connsiteX13" fmla="*/ 1870 w 10348"/>
                <a:gd name="connsiteY13" fmla="*/ 3529 h 10633"/>
                <a:gd name="connsiteX14" fmla="*/ 1218 w 10348"/>
                <a:gd name="connsiteY14" fmla="*/ 3235 h 10633"/>
                <a:gd name="connsiteX15" fmla="*/ 574 w 10348"/>
                <a:gd name="connsiteY15" fmla="*/ 2846 h 10633"/>
                <a:gd name="connsiteX16" fmla="*/ 356 w 10348"/>
                <a:gd name="connsiteY16" fmla="*/ 4706 h 10633"/>
                <a:gd name="connsiteX17" fmla="*/ 348 w 10348"/>
                <a:gd name="connsiteY17" fmla="*/ 5882 h 10633"/>
                <a:gd name="connsiteX18" fmla="*/ 0 w 10348"/>
                <a:gd name="connsiteY18" fmla="*/ 7734 h 10633"/>
                <a:gd name="connsiteX19" fmla="*/ 800 w 10348"/>
                <a:gd name="connsiteY19" fmla="*/ 8417 h 10633"/>
                <a:gd name="connsiteX20" fmla="*/ 783 w 10348"/>
                <a:gd name="connsiteY20" fmla="*/ 9706 h 10633"/>
                <a:gd name="connsiteX21" fmla="*/ 472 w 10348"/>
                <a:gd name="connsiteY21" fmla="*/ 10621 h 10633"/>
                <a:gd name="connsiteX22" fmla="*/ 1156 w 10348"/>
                <a:gd name="connsiteY22" fmla="*/ 10204 h 10633"/>
                <a:gd name="connsiteX23" fmla="*/ 2017 w 10348"/>
                <a:gd name="connsiteY23" fmla="*/ 9826 h 10633"/>
                <a:gd name="connsiteX24" fmla="*/ 3442 w 10348"/>
                <a:gd name="connsiteY24" fmla="*/ 10010 h 10633"/>
                <a:gd name="connsiteX25" fmla="*/ 4782 w 10348"/>
                <a:gd name="connsiteY25" fmla="*/ 10261 h 10633"/>
                <a:gd name="connsiteX26" fmla="*/ 5051 w 10348"/>
                <a:gd name="connsiteY26" fmla="*/ 8921 h 10633"/>
                <a:gd name="connsiteX27" fmla="*/ 5896 w 10348"/>
                <a:gd name="connsiteY27" fmla="*/ 8595 h 10633"/>
                <a:gd name="connsiteX28" fmla="*/ 7247 w 10348"/>
                <a:gd name="connsiteY28" fmla="*/ 7778 h 10633"/>
                <a:gd name="connsiteX29" fmla="*/ 7297 w 10348"/>
                <a:gd name="connsiteY29" fmla="*/ 6764 h 10633"/>
                <a:gd name="connsiteX30" fmla="*/ 7587 w 10348"/>
                <a:gd name="connsiteY30" fmla="*/ 6503 h 10633"/>
                <a:gd name="connsiteX31" fmla="*/ 7969 w 10348"/>
                <a:gd name="connsiteY31" fmla="*/ 6078 h 10633"/>
                <a:gd name="connsiteX32" fmla="*/ 8619 w 10348"/>
                <a:gd name="connsiteY32" fmla="*/ 4935 h 10633"/>
                <a:gd name="connsiteX33" fmla="*/ 8743 w 10348"/>
                <a:gd name="connsiteY33" fmla="*/ 4248 h 10633"/>
                <a:gd name="connsiteX34" fmla="*/ 9173 w 10348"/>
                <a:gd name="connsiteY34" fmla="*/ 3203 h 10633"/>
                <a:gd name="connsiteX35" fmla="*/ 8826 w 10348"/>
                <a:gd name="connsiteY35" fmla="*/ 2059 h 10633"/>
                <a:gd name="connsiteX36" fmla="*/ 10348 w 10348"/>
                <a:gd name="connsiteY36" fmla="*/ 1765 h 10633"/>
                <a:gd name="connsiteX37" fmla="*/ 9913 w 10348"/>
                <a:gd name="connsiteY37" fmla="*/ 882 h 10633"/>
                <a:gd name="connsiteX38" fmla="*/ 9574 w 10348"/>
                <a:gd name="connsiteY38" fmla="*/ 329 h 10633"/>
                <a:gd name="connsiteX0" fmla="*/ 9574 w 10348"/>
                <a:gd name="connsiteY0" fmla="*/ 329 h 10633"/>
                <a:gd name="connsiteX1" fmla="*/ 8609 w 10348"/>
                <a:gd name="connsiteY1" fmla="*/ 1176 h 10633"/>
                <a:gd name="connsiteX2" fmla="*/ 7957 w 10348"/>
                <a:gd name="connsiteY2" fmla="*/ 1176 h 10633"/>
                <a:gd name="connsiteX3" fmla="*/ 7739 w 10348"/>
                <a:gd name="connsiteY3" fmla="*/ 294 h 10633"/>
                <a:gd name="connsiteX4" fmla="*/ 7522 w 10348"/>
                <a:gd name="connsiteY4" fmla="*/ 0 h 10633"/>
                <a:gd name="connsiteX5" fmla="*/ 6870 w 10348"/>
                <a:gd name="connsiteY5" fmla="*/ 882 h 10633"/>
                <a:gd name="connsiteX6" fmla="*/ 6435 w 10348"/>
                <a:gd name="connsiteY6" fmla="*/ 1471 h 10633"/>
                <a:gd name="connsiteX7" fmla="*/ 5604 w 10348"/>
                <a:gd name="connsiteY7" fmla="*/ 1160 h 10633"/>
                <a:gd name="connsiteX8" fmla="*/ 5131 w 10348"/>
                <a:gd name="connsiteY8" fmla="*/ 1176 h 10633"/>
                <a:gd name="connsiteX9" fmla="*/ 4478 w 10348"/>
                <a:gd name="connsiteY9" fmla="*/ 1176 h 10633"/>
                <a:gd name="connsiteX10" fmla="*/ 3609 w 10348"/>
                <a:gd name="connsiteY10" fmla="*/ 882 h 10633"/>
                <a:gd name="connsiteX11" fmla="*/ 3391 w 10348"/>
                <a:gd name="connsiteY11" fmla="*/ 2353 h 10633"/>
                <a:gd name="connsiteX12" fmla="*/ 2305 w 10348"/>
                <a:gd name="connsiteY12" fmla="*/ 2941 h 10633"/>
                <a:gd name="connsiteX13" fmla="*/ 1870 w 10348"/>
                <a:gd name="connsiteY13" fmla="*/ 3529 h 10633"/>
                <a:gd name="connsiteX14" fmla="*/ 1218 w 10348"/>
                <a:gd name="connsiteY14" fmla="*/ 3235 h 10633"/>
                <a:gd name="connsiteX15" fmla="*/ 574 w 10348"/>
                <a:gd name="connsiteY15" fmla="*/ 2846 h 10633"/>
                <a:gd name="connsiteX16" fmla="*/ 356 w 10348"/>
                <a:gd name="connsiteY16" fmla="*/ 4706 h 10633"/>
                <a:gd name="connsiteX17" fmla="*/ 348 w 10348"/>
                <a:gd name="connsiteY17" fmla="*/ 5882 h 10633"/>
                <a:gd name="connsiteX18" fmla="*/ 0 w 10348"/>
                <a:gd name="connsiteY18" fmla="*/ 7734 h 10633"/>
                <a:gd name="connsiteX19" fmla="*/ 800 w 10348"/>
                <a:gd name="connsiteY19" fmla="*/ 8417 h 10633"/>
                <a:gd name="connsiteX20" fmla="*/ 783 w 10348"/>
                <a:gd name="connsiteY20" fmla="*/ 9706 h 10633"/>
                <a:gd name="connsiteX21" fmla="*/ 472 w 10348"/>
                <a:gd name="connsiteY21" fmla="*/ 10621 h 10633"/>
                <a:gd name="connsiteX22" fmla="*/ 1156 w 10348"/>
                <a:gd name="connsiteY22" fmla="*/ 10204 h 10633"/>
                <a:gd name="connsiteX23" fmla="*/ 2017 w 10348"/>
                <a:gd name="connsiteY23" fmla="*/ 9826 h 10633"/>
                <a:gd name="connsiteX24" fmla="*/ 3094 w 10348"/>
                <a:gd name="connsiteY24" fmla="*/ 8652 h 10633"/>
                <a:gd name="connsiteX25" fmla="*/ 4782 w 10348"/>
                <a:gd name="connsiteY25" fmla="*/ 10261 h 10633"/>
                <a:gd name="connsiteX26" fmla="*/ 5051 w 10348"/>
                <a:gd name="connsiteY26" fmla="*/ 8921 h 10633"/>
                <a:gd name="connsiteX27" fmla="*/ 5896 w 10348"/>
                <a:gd name="connsiteY27" fmla="*/ 8595 h 10633"/>
                <a:gd name="connsiteX28" fmla="*/ 7247 w 10348"/>
                <a:gd name="connsiteY28" fmla="*/ 7778 h 10633"/>
                <a:gd name="connsiteX29" fmla="*/ 7297 w 10348"/>
                <a:gd name="connsiteY29" fmla="*/ 6764 h 10633"/>
                <a:gd name="connsiteX30" fmla="*/ 7587 w 10348"/>
                <a:gd name="connsiteY30" fmla="*/ 6503 h 10633"/>
                <a:gd name="connsiteX31" fmla="*/ 7969 w 10348"/>
                <a:gd name="connsiteY31" fmla="*/ 6078 h 10633"/>
                <a:gd name="connsiteX32" fmla="*/ 8619 w 10348"/>
                <a:gd name="connsiteY32" fmla="*/ 4935 h 10633"/>
                <a:gd name="connsiteX33" fmla="*/ 8743 w 10348"/>
                <a:gd name="connsiteY33" fmla="*/ 4248 h 10633"/>
                <a:gd name="connsiteX34" fmla="*/ 9173 w 10348"/>
                <a:gd name="connsiteY34" fmla="*/ 3203 h 10633"/>
                <a:gd name="connsiteX35" fmla="*/ 8826 w 10348"/>
                <a:gd name="connsiteY35" fmla="*/ 2059 h 10633"/>
                <a:gd name="connsiteX36" fmla="*/ 10348 w 10348"/>
                <a:gd name="connsiteY36" fmla="*/ 1765 h 10633"/>
                <a:gd name="connsiteX37" fmla="*/ 9913 w 10348"/>
                <a:gd name="connsiteY37" fmla="*/ 882 h 10633"/>
                <a:gd name="connsiteX38" fmla="*/ 9574 w 10348"/>
                <a:gd name="connsiteY38" fmla="*/ 329 h 10633"/>
                <a:gd name="connsiteX0" fmla="*/ 9574 w 10348"/>
                <a:gd name="connsiteY0" fmla="*/ 329 h 10633"/>
                <a:gd name="connsiteX1" fmla="*/ 8609 w 10348"/>
                <a:gd name="connsiteY1" fmla="*/ 1176 h 10633"/>
                <a:gd name="connsiteX2" fmla="*/ 7957 w 10348"/>
                <a:gd name="connsiteY2" fmla="*/ 1176 h 10633"/>
                <a:gd name="connsiteX3" fmla="*/ 7739 w 10348"/>
                <a:gd name="connsiteY3" fmla="*/ 294 h 10633"/>
                <a:gd name="connsiteX4" fmla="*/ 7522 w 10348"/>
                <a:gd name="connsiteY4" fmla="*/ 0 h 10633"/>
                <a:gd name="connsiteX5" fmla="*/ 6870 w 10348"/>
                <a:gd name="connsiteY5" fmla="*/ 882 h 10633"/>
                <a:gd name="connsiteX6" fmla="*/ 6435 w 10348"/>
                <a:gd name="connsiteY6" fmla="*/ 1471 h 10633"/>
                <a:gd name="connsiteX7" fmla="*/ 5604 w 10348"/>
                <a:gd name="connsiteY7" fmla="*/ 1160 h 10633"/>
                <a:gd name="connsiteX8" fmla="*/ 5131 w 10348"/>
                <a:gd name="connsiteY8" fmla="*/ 1176 h 10633"/>
                <a:gd name="connsiteX9" fmla="*/ 4478 w 10348"/>
                <a:gd name="connsiteY9" fmla="*/ 1176 h 10633"/>
                <a:gd name="connsiteX10" fmla="*/ 3609 w 10348"/>
                <a:gd name="connsiteY10" fmla="*/ 882 h 10633"/>
                <a:gd name="connsiteX11" fmla="*/ 3391 w 10348"/>
                <a:gd name="connsiteY11" fmla="*/ 2353 h 10633"/>
                <a:gd name="connsiteX12" fmla="*/ 2305 w 10348"/>
                <a:gd name="connsiteY12" fmla="*/ 2941 h 10633"/>
                <a:gd name="connsiteX13" fmla="*/ 1870 w 10348"/>
                <a:gd name="connsiteY13" fmla="*/ 3529 h 10633"/>
                <a:gd name="connsiteX14" fmla="*/ 1218 w 10348"/>
                <a:gd name="connsiteY14" fmla="*/ 3235 h 10633"/>
                <a:gd name="connsiteX15" fmla="*/ 574 w 10348"/>
                <a:gd name="connsiteY15" fmla="*/ 2846 h 10633"/>
                <a:gd name="connsiteX16" fmla="*/ 356 w 10348"/>
                <a:gd name="connsiteY16" fmla="*/ 4706 h 10633"/>
                <a:gd name="connsiteX17" fmla="*/ 348 w 10348"/>
                <a:gd name="connsiteY17" fmla="*/ 5882 h 10633"/>
                <a:gd name="connsiteX18" fmla="*/ 0 w 10348"/>
                <a:gd name="connsiteY18" fmla="*/ 7734 h 10633"/>
                <a:gd name="connsiteX19" fmla="*/ 800 w 10348"/>
                <a:gd name="connsiteY19" fmla="*/ 8417 h 10633"/>
                <a:gd name="connsiteX20" fmla="*/ 783 w 10348"/>
                <a:gd name="connsiteY20" fmla="*/ 9706 h 10633"/>
                <a:gd name="connsiteX21" fmla="*/ 472 w 10348"/>
                <a:gd name="connsiteY21" fmla="*/ 10621 h 10633"/>
                <a:gd name="connsiteX22" fmla="*/ 1156 w 10348"/>
                <a:gd name="connsiteY22" fmla="*/ 10204 h 10633"/>
                <a:gd name="connsiteX23" fmla="*/ 2017 w 10348"/>
                <a:gd name="connsiteY23" fmla="*/ 9826 h 10633"/>
                <a:gd name="connsiteX24" fmla="*/ 2816 w 10348"/>
                <a:gd name="connsiteY24" fmla="*/ 9816 h 10633"/>
                <a:gd name="connsiteX25" fmla="*/ 4782 w 10348"/>
                <a:gd name="connsiteY25" fmla="*/ 10261 h 10633"/>
                <a:gd name="connsiteX26" fmla="*/ 5051 w 10348"/>
                <a:gd name="connsiteY26" fmla="*/ 8921 h 10633"/>
                <a:gd name="connsiteX27" fmla="*/ 5896 w 10348"/>
                <a:gd name="connsiteY27" fmla="*/ 8595 h 10633"/>
                <a:gd name="connsiteX28" fmla="*/ 7247 w 10348"/>
                <a:gd name="connsiteY28" fmla="*/ 7778 h 10633"/>
                <a:gd name="connsiteX29" fmla="*/ 7297 w 10348"/>
                <a:gd name="connsiteY29" fmla="*/ 6764 h 10633"/>
                <a:gd name="connsiteX30" fmla="*/ 7587 w 10348"/>
                <a:gd name="connsiteY30" fmla="*/ 6503 h 10633"/>
                <a:gd name="connsiteX31" fmla="*/ 7969 w 10348"/>
                <a:gd name="connsiteY31" fmla="*/ 6078 h 10633"/>
                <a:gd name="connsiteX32" fmla="*/ 8619 w 10348"/>
                <a:gd name="connsiteY32" fmla="*/ 4935 h 10633"/>
                <a:gd name="connsiteX33" fmla="*/ 8743 w 10348"/>
                <a:gd name="connsiteY33" fmla="*/ 4248 h 10633"/>
                <a:gd name="connsiteX34" fmla="*/ 9173 w 10348"/>
                <a:gd name="connsiteY34" fmla="*/ 3203 h 10633"/>
                <a:gd name="connsiteX35" fmla="*/ 8826 w 10348"/>
                <a:gd name="connsiteY35" fmla="*/ 2059 h 10633"/>
                <a:gd name="connsiteX36" fmla="*/ 10348 w 10348"/>
                <a:gd name="connsiteY36" fmla="*/ 1765 h 10633"/>
                <a:gd name="connsiteX37" fmla="*/ 9913 w 10348"/>
                <a:gd name="connsiteY37" fmla="*/ 882 h 10633"/>
                <a:gd name="connsiteX38" fmla="*/ 9574 w 10348"/>
                <a:gd name="connsiteY38" fmla="*/ 329 h 10633"/>
                <a:gd name="connsiteX0" fmla="*/ 9574 w 10348"/>
                <a:gd name="connsiteY0" fmla="*/ 329 h 10857"/>
                <a:gd name="connsiteX1" fmla="*/ 8609 w 10348"/>
                <a:gd name="connsiteY1" fmla="*/ 1176 h 10857"/>
                <a:gd name="connsiteX2" fmla="*/ 7957 w 10348"/>
                <a:gd name="connsiteY2" fmla="*/ 1176 h 10857"/>
                <a:gd name="connsiteX3" fmla="*/ 7739 w 10348"/>
                <a:gd name="connsiteY3" fmla="*/ 294 h 10857"/>
                <a:gd name="connsiteX4" fmla="*/ 7522 w 10348"/>
                <a:gd name="connsiteY4" fmla="*/ 0 h 10857"/>
                <a:gd name="connsiteX5" fmla="*/ 6870 w 10348"/>
                <a:gd name="connsiteY5" fmla="*/ 882 h 10857"/>
                <a:gd name="connsiteX6" fmla="*/ 6435 w 10348"/>
                <a:gd name="connsiteY6" fmla="*/ 1471 h 10857"/>
                <a:gd name="connsiteX7" fmla="*/ 5604 w 10348"/>
                <a:gd name="connsiteY7" fmla="*/ 1160 h 10857"/>
                <a:gd name="connsiteX8" fmla="*/ 5131 w 10348"/>
                <a:gd name="connsiteY8" fmla="*/ 1176 h 10857"/>
                <a:gd name="connsiteX9" fmla="*/ 4478 w 10348"/>
                <a:gd name="connsiteY9" fmla="*/ 1176 h 10857"/>
                <a:gd name="connsiteX10" fmla="*/ 3609 w 10348"/>
                <a:gd name="connsiteY10" fmla="*/ 882 h 10857"/>
                <a:gd name="connsiteX11" fmla="*/ 3391 w 10348"/>
                <a:gd name="connsiteY11" fmla="*/ 2353 h 10857"/>
                <a:gd name="connsiteX12" fmla="*/ 2305 w 10348"/>
                <a:gd name="connsiteY12" fmla="*/ 2941 h 10857"/>
                <a:gd name="connsiteX13" fmla="*/ 1870 w 10348"/>
                <a:gd name="connsiteY13" fmla="*/ 3529 h 10857"/>
                <a:gd name="connsiteX14" fmla="*/ 1218 w 10348"/>
                <a:gd name="connsiteY14" fmla="*/ 3235 h 10857"/>
                <a:gd name="connsiteX15" fmla="*/ 574 w 10348"/>
                <a:gd name="connsiteY15" fmla="*/ 2846 h 10857"/>
                <a:gd name="connsiteX16" fmla="*/ 356 w 10348"/>
                <a:gd name="connsiteY16" fmla="*/ 4706 h 10857"/>
                <a:gd name="connsiteX17" fmla="*/ 348 w 10348"/>
                <a:gd name="connsiteY17" fmla="*/ 5882 h 10857"/>
                <a:gd name="connsiteX18" fmla="*/ 0 w 10348"/>
                <a:gd name="connsiteY18" fmla="*/ 7734 h 10857"/>
                <a:gd name="connsiteX19" fmla="*/ 800 w 10348"/>
                <a:gd name="connsiteY19" fmla="*/ 8417 h 10857"/>
                <a:gd name="connsiteX20" fmla="*/ 783 w 10348"/>
                <a:gd name="connsiteY20" fmla="*/ 9706 h 10857"/>
                <a:gd name="connsiteX21" fmla="*/ 472 w 10348"/>
                <a:gd name="connsiteY21" fmla="*/ 10621 h 10857"/>
                <a:gd name="connsiteX22" fmla="*/ 1156 w 10348"/>
                <a:gd name="connsiteY22" fmla="*/ 10204 h 10857"/>
                <a:gd name="connsiteX23" fmla="*/ 2017 w 10348"/>
                <a:gd name="connsiteY23" fmla="*/ 9826 h 10857"/>
                <a:gd name="connsiteX24" fmla="*/ 2816 w 10348"/>
                <a:gd name="connsiteY24" fmla="*/ 9816 h 10857"/>
                <a:gd name="connsiteX25" fmla="*/ 4016 w 10348"/>
                <a:gd name="connsiteY25" fmla="*/ 10843 h 10857"/>
                <a:gd name="connsiteX26" fmla="*/ 5051 w 10348"/>
                <a:gd name="connsiteY26" fmla="*/ 8921 h 10857"/>
                <a:gd name="connsiteX27" fmla="*/ 5896 w 10348"/>
                <a:gd name="connsiteY27" fmla="*/ 8595 h 10857"/>
                <a:gd name="connsiteX28" fmla="*/ 7247 w 10348"/>
                <a:gd name="connsiteY28" fmla="*/ 7778 h 10857"/>
                <a:gd name="connsiteX29" fmla="*/ 7297 w 10348"/>
                <a:gd name="connsiteY29" fmla="*/ 6764 h 10857"/>
                <a:gd name="connsiteX30" fmla="*/ 7587 w 10348"/>
                <a:gd name="connsiteY30" fmla="*/ 6503 h 10857"/>
                <a:gd name="connsiteX31" fmla="*/ 7969 w 10348"/>
                <a:gd name="connsiteY31" fmla="*/ 6078 h 10857"/>
                <a:gd name="connsiteX32" fmla="*/ 8619 w 10348"/>
                <a:gd name="connsiteY32" fmla="*/ 4935 h 10857"/>
                <a:gd name="connsiteX33" fmla="*/ 8743 w 10348"/>
                <a:gd name="connsiteY33" fmla="*/ 4248 h 10857"/>
                <a:gd name="connsiteX34" fmla="*/ 9173 w 10348"/>
                <a:gd name="connsiteY34" fmla="*/ 3203 h 10857"/>
                <a:gd name="connsiteX35" fmla="*/ 8826 w 10348"/>
                <a:gd name="connsiteY35" fmla="*/ 2059 h 10857"/>
                <a:gd name="connsiteX36" fmla="*/ 10348 w 10348"/>
                <a:gd name="connsiteY36" fmla="*/ 1765 h 10857"/>
                <a:gd name="connsiteX37" fmla="*/ 9913 w 10348"/>
                <a:gd name="connsiteY37" fmla="*/ 882 h 10857"/>
                <a:gd name="connsiteX38" fmla="*/ 9574 w 10348"/>
                <a:gd name="connsiteY38" fmla="*/ 329 h 10857"/>
                <a:gd name="connsiteX0" fmla="*/ 9574 w 10348"/>
                <a:gd name="connsiteY0" fmla="*/ 329 h 11549"/>
                <a:gd name="connsiteX1" fmla="*/ 8609 w 10348"/>
                <a:gd name="connsiteY1" fmla="*/ 1176 h 11549"/>
                <a:gd name="connsiteX2" fmla="*/ 7957 w 10348"/>
                <a:gd name="connsiteY2" fmla="*/ 1176 h 11549"/>
                <a:gd name="connsiteX3" fmla="*/ 7739 w 10348"/>
                <a:gd name="connsiteY3" fmla="*/ 294 h 11549"/>
                <a:gd name="connsiteX4" fmla="*/ 7522 w 10348"/>
                <a:gd name="connsiteY4" fmla="*/ 0 h 11549"/>
                <a:gd name="connsiteX5" fmla="*/ 6870 w 10348"/>
                <a:gd name="connsiteY5" fmla="*/ 882 h 11549"/>
                <a:gd name="connsiteX6" fmla="*/ 6435 w 10348"/>
                <a:gd name="connsiteY6" fmla="*/ 1471 h 11549"/>
                <a:gd name="connsiteX7" fmla="*/ 5604 w 10348"/>
                <a:gd name="connsiteY7" fmla="*/ 1160 h 11549"/>
                <a:gd name="connsiteX8" fmla="*/ 5131 w 10348"/>
                <a:gd name="connsiteY8" fmla="*/ 1176 h 11549"/>
                <a:gd name="connsiteX9" fmla="*/ 4478 w 10348"/>
                <a:gd name="connsiteY9" fmla="*/ 1176 h 11549"/>
                <a:gd name="connsiteX10" fmla="*/ 3609 w 10348"/>
                <a:gd name="connsiteY10" fmla="*/ 882 h 11549"/>
                <a:gd name="connsiteX11" fmla="*/ 3391 w 10348"/>
                <a:gd name="connsiteY11" fmla="*/ 2353 h 11549"/>
                <a:gd name="connsiteX12" fmla="*/ 2305 w 10348"/>
                <a:gd name="connsiteY12" fmla="*/ 2941 h 11549"/>
                <a:gd name="connsiteX13" fmla="*/ 1870 w 10348"/>
                <a:gd name="connsiteY13" fmla="*/ 3529 h 11549"/>
                <a:gd name="connsiteX14" fmla="*/ 1218 w 10348"/>
                <a:gd name="connsiteY14" fmla="*/ 3235 h 11549"/>
                <a:gd name="connsiteX15" fmla="*/ 574 w 10348"/>
                <a:gd name="connsiteY15" fmla="*/ 2846 h 11549"/>
                <a:gd name="connsiteX16" fmla="*/ 356 w 10348"/>
                <a:gd name="connsiteY16" fmla="*/ 4706 h 11549"/>
                <a:gd name="connsiteX17" fmla="*/ 348 w 10348"/>
                <a:gd name="connsiteY17" fmla="*/ 5882 h 11549"/>
                <a:gd name="connsiteX18" fmla="*/ 0 w 10348"/>
                <a:gd name="connsiteY18" fmla="*/ 7734 h 11549"/>
                <a:gd name="connsiteX19" fmla="*/ 800 w 10348"/>
                <a:gd name="connsiteY19" fmla="*/ 8417 h 11549"/>
                <a:gd name="connsiteX20" fmla="*/ 783 w 10348"/>
                <a:gd name="connsiteY20" fmla="*/ 9706 h 11549"/>
                <a:gd name="connsiteX21" fmla="*/ 472 w 10348"/>
                <a:gd name="connsiteY21" fmla="*/ 10621 h 11549"/>
                <a:gd name="connsiteX22" fmla="*/ 1156 w 10348"/>
                <a:gd name="connsiteY22" fmla="*/ 10204 h 11549"/>
                <a:gd name="connsiteX23" fmla="*/ 2017 w 10348"/>
                <a:gd name="connsiteY23" fmla="*/ 9826 h 11549"/>
                <a:gd name="connsiteX24" fmla="*/ 2816 w 10348"/>
                <a:gd name="connsiteY24" fmla="*/ 9816 h 11549"/>
                <a:gd name="connsiteX25" fmla="*/ 4016 w 10348"/>
                <a:gd name="connsiteY25" fmla="*/ 10843 h 11549"/>
                <a:gd name="connsiteX26" fmla="*/ 5121 w 10348"/>
                <a:gd name="connsiteY26" fmla="*/ 11442 h 11549"/>
                <a:gd name="connsiteX27" fmla="*/ 5896 w 10348"/>
                <a:gd name="connsiteY27" fmla="*/ 8595 h 11549"/>
                <a:gd name="connsiteX28" fmla="*/ 7247 w 10348"/>
                <a:gd name="connsiteY28" fmla="*/ 7778 h 11549"/>
                <a:gd name="connsiteX29" fmla="*/ 7297 w 10348"/>
                <a:gd name="connsiteY29" fmla="*/ 6764 h 11549"/>
                <a:gd name="connsiteX30" fmla="*/ 7587 w 10348"/>
                <a:gd name="connsiteY30" fmla="*/ 6503 h 11549"/>
                <a:gd name="connsiteX31" fmla="*/ 7969 w 10348"/>
                <a:gd name="connsiteY31" fmla="*/ 6078 h 11549"/>
                <a:gd name="connsiteX32" fmla="*/ 8619 w 10348"/>
                <a:gd name="connsiteY32" fmla="*/ 4935 h 11549"/>
                <a:gd name="connsiteX33" fmla="*/ 8743 w 10348"/>
                <a:gd name="connsiteY33" fmla="*/ 4248 h 11549"/>
                <a:gd name="connsiteX34" fmla="*/ 9173 w 10348"/>
                <a:gd name="connsiteY34" fmla="*/ 3203 h 11549"/>
                <a:gd name="connsiteX35" fmla="*/ 8826 w 10348"/>
                <a:gd name="connsiteY35" fmla="*/ 2059 h 11549"/>
                <a:gd name="connsiteX36" fmla="*/ 10348 w 10348"/>
                <a:gd name="connsiteY36" fmla="*/ 1765 h 11549"/>
                <a:gd name="connsiteX37" fmla="*/ 9913 w 10348"/>
                <a:gd name="connsiteY37" fmla="*/ 882 h 11549"/>
                <a:gd name="connsiteX38" fmla="*/ 9574 w 10348"/>
                <a:gd name="connsiteY38" fmla="*/ 329 h 11549"/>
                <a:gd name="connsiteX0" fmla="*/ 9574 w 10348"/>
                <a:gd name="connsiteY0" fmla="*/ 329 h 11911"/>
                <a:gd name="connsiteX1" fmla="*/ 8609 w 10348"/>
                <a:gd name="connsiteY1" fmla="*/ 1176 h 11911"/>
                <a:gd name="connsiteX2" fmla="*/ 7957 w 10348"/>
                <a:gd name="connsiteY2" fmla="*/ 1176 h 11911"/>
                <a:gd name="connsiteX3" fmla="*/ 7739 w 10348"/>
                <a:gd name="connsiteY3" fmla="*/ 294 h 11911"/>
                <a:gd name="connsiteX4" fmla="*/ 7522 w 10348"/>
                <a:gd name="connsiteY4" fmla="*/ 0 h 11911"/>
                <a:gd name="connsiteX5" fmla="*/ 6870 w 10348"/>
                <a:gd name="connsiteY5" fmla="*/ 882 h 11911"/>
                <a:gd name="connsiteX6" fmla="*/ 6435 w 10348"/>
                <a:gd name="connsiteY6" fmla="*/ 1471 h 11911"/>
                <a:gd name="connsiteX7" fmla="*/ 5604 w 10348"/>
                <a:gd name="connsiteY7" fmla="*/ 1160 h 11911"/>
                <a:gd name="connsiteX8" fmla="*/ 5131 w 10348"/>
                <a:gd name="connsiteY8" fmla="*/ 1176 h 11911"/>
                <a:gd name="connsiteX9" fmla="*/ 4478 w 10348"/>
                <a:gd name="connsiteY9" fmla="*/ 1176 h 11911"/>
                <a:gd name="connsiteX10" fmla="*/ 3609 w 10348"/>
                <a:gd name="connsiteY10" fmla="*/ 882 h 11911"/>
                <a:gd name="connsiteX11" fmla="*/ 3391 w 10348"/>
                <a:gd name="connsiteY11" fmla="*/ 2353 h 11911"/>
                <a:gd name="connsiteX12" fmla="*/ 2305 w 10348"/>
                <a:gd name="connsiteY12" fmla="*/ 2941 h 11911"/>
                <a:gd name="connsiteX13" fmla="*/ 1870 w 10348"/>
                <a:gd name="connsiteY13" fmla="*/ 3529 h 11911"/>
                <a:gd name="connsiteX14" fmla="*/ 1218 w 10348"/>
                <a:gd name="connsiteY14" fmla="*/ 3235 h 11911"/>
                <a:gd name="connsiteX15" fmla="*/ 574 w 10348"/>
                <a:gd name="connsiteY15" fmla="*/ 2846 h 11911"/>
                <a:gd name="connsiteX16" fmla="*/ 356 w 10348"/>
                <a:gd name="connsiteY16" fmla="*/ 4706 h 11911"/>
                <a:gd name="connsiteX17" fmla="*/ 348 w 10348"/>
                <a:gd name="connsiteY17" fmla="*/ 5882 h 11911"/>
                <a:gd name="connsiteX18" fmla="*/ 0 w 10348"/>
                <a:gd name="connsiteY18" fmla="*/ 7734 h 11911"/>
                <a:gd name="connsiteX19" fmla="*/ 800 w 10348"/>
                <a:gd name="connsiteY19" fmla="*/ 8417 h 11911"/>
                <a:gd name="connsiteX20" fmla="*/ 783 w 10348"/>
                <a:gd name="connsiteY20" fmla="*/ 9706 h 11911"/>
                <a:gd name="connsiteX21" fmla="*/ 472 w 10348"/>
                <a:gd name="connsiteY21" fmla="*/ 10621 h 11911"/>
                <a:gd name="connsiteX22" fmla="*/ 1156 w 10348"/>
                <a:gd name="connsiteY22" fmla="*/ 10204 h 11911"/>
                <a:gd name="connsiteX23" fmla="*/ 2017 w 10348"/>
                <a:gd name="connsiteY23" fmla="*/ 9826 h 11911"/>
                <a:gd name="connsiteX24" fmla="*/ 2816 w 10348"/>
                <a:gd name="connsiteY24" fmla="*/ 9816 h 11911"/>
                <a:gd name="connsiteX25" fmla="*/ 4016 w 10348"/>
                <a:gd name="connsiteY25" fmla="*/ 10843 h 11911"/>
                <a:gd name="connsiteX26" fmla="*/ 5469 w 10348"/>
                <a:gd name="connsiteY26" fmla="*/ 11830 h 11911"/>
                <a:gd name="connsiteX27" fmla="*/ 5896 w 10348"/>
                <a:gd name="connsiteY27" fmla="*/ 8595 h 11911"/>
                <a:gd name="connsiteX28" fmla="*/ 7247 w 10348"/>
                <a:gd name="connsiteY28" fmla="*/ 7778 h 11911"/>
                <a:gd name="connsiteX29" fmla="*/ 7297 w 10348"/>
                <a:gd name="connsiteY29" fmla="*/ 6764 h 11911"/>
                <a:gd name="connsiteX30" fmla="*/ 7587 w 10348"/>
                <a:gd name="connsiteY30" fmla="*/ 6503 h 11911"/>
                <a:gd name="connsiteX31" fmla="*/ 7969 w 10348"/>
                <a:gd name="connsiteY31" fmla="*/ 6078 h 11911"/>
                <a:gd name="connsiteX32" fmla="*/ 8619 w 10348"/>
                <a:gd name="connsiteY32" fmla="*/ 4935 h 11911"/>
                <a:gd name="connsiteX33" fmla="*/ 8743 w 10348"/>
                <a:gd name="connsiteY33" fmla="*/ 4248 h 11911"/>
                <a:gd name="connsiteX34" fmla="*/ 9173 w 10348"/>
                <a:gd name="connsiteY34" fmla="*/ 3203 h 11911"/>
                <a:gd name="connsiteX35" fmla="*/ 8826 w 10348"/>
                <a:gd name="connsiteY35" fmla="*/ 2059 h 11911"/>
                <a:gd name="connsiteX36" fmla="*/ 10348 w 10348"/>
                <a:gd name="connsiteY36" fmla="*/ 1765 h 11911"/>
                <a:gd name="connsiteX37" fmla="*/ 9913 w 10348"/>
                <a:gd name="connsiteY37" fmla="*/ 882 h 11911"/>
                <a:gd name="connsiteX38" fmla="*/ 9574 w 10348"/>
                <a:gd name="connsiteY38" fmla="*/ 329 h 11911"/>
                <a:gd name="connsiteX0" fmla="*/ 9574 w 10348"/>
                <a:gd name="connsiteY0" fmla="*/ 329 h 12956"/>
                <a:gd name="connsiteX1" fmla="*/ 8609 w 10348"/>
                <a:gd name="connsiteY1" fmla="*/ 1176 h 12956"/>
                <a:gd name="connsiteX2" fmla="*/ 7957 w 10348"/>
                <a:gd name="connsiteY2" fmla="*/ 1176 h 12956"/>
                <a:gd name="connsiteX3" fmla="*/ 7739 w 10348"/>
                <a:gd name="connsiteY3" fmla="*/ 294 h 12956"/>
                <a:gd name="connsiteX4" fmla="*/ 7522 w 10348"/>
                <a:gd name="connsiteY4" fmla="*/ 0 h 12956"/>
                <a:gd name="connsiteX5" fmla="*/ 6870 w 10348"/>
                <a:gd name="connsiteY5" fmla="*/ 882 h 12956"/>
                <a:gd name="connsiteX6" fmla="*/ 6435 w 10348"/>
                <a:gd name="connsiteY6" fmla="*/ 1471 h 12956"/>
                <a:gd name="connsiteX7" fmla="*/ 5604 w 10348"/>
                <a:gd name="connsiteY7" fmla="*/ 1160 h 12956"/>
                <a:gd name="connsiteX8" fmla="*/ 5131 w 10348"/>
                <a:gd name="connsiteY8" fmla="*/ 1176 h 12956"/>
                <a:gd name="connsiteX9" fmla="*/ 4478 w 10348"/>
                <a:gd name="connsiteY9" fmla="*/ 1176 h 12956"/>
                <a:gd name="connsiteX10" fmla="*/ 3609 w 10348"/>
                <a:gd name="connsiteY10" fmla="*/ 882 h 12956"/>
                <a:gd name="connsiteX11" fmla="*/ 3391 w 10348"/>
                <a:gd name="connsiteY11" fmla="*/ 2353 h 12956"/>
                <a:gd name="connsiteX12" fmla="*/ 2305 w 10348"/>
                <a:gd name="connsiteY12" fmla="*/ 2941 h 12956"/>
                <a:gd name="connsiteX13" fmla="*/ 1870 w 10348"/>
                <a:gd name="connsiteY13" fmla="*/ 3529 h 12956"/>
                <a:gd name="connsiteX14" fmla="*/ 1218 w 10348"/>
                <a:gd name="connsiteY14" fmla="*/ 3235 h 12956"/>
                <a:gd name="connsiteX15" fmla="*/ 574 w 10348"/>
                <a:gd name="connsiteY15" fmla="*/ 2846 h 12956"/>
                <a:gd name="connsiteX16" fmla="*/ 356 w 10348"/>
                <a:gd name="connsiteY16" fmla="*/ 4706 h 12956"/>
                <a:gd name="connsiteX17" fmla="*/ 348 w 10348"/>
                <a:gd name="connsiteY17" fmla="*/ 5882 h 12956"/>
                <a:gd name="connsiteX18" fmla="*/ 0 w 10348"/>
                <a:gd name="connsiteY18" fmla="*/ 7734 h 12956"/>
                <a:gd name="connsiteX19" fmla="*/ 800 w 10348"/>
                <a:gd name="connsiteY19" fmla="*/ 8417 h 12956"/>
                <a:gd name="connsiteX20" fmla="*/ 783 w 10348"/>
                <a:gd name="connsiteY20" fmla="*/ 9706 h 12956"/>
                <a:gd name="connsiteX21" fmla="*/ 472 w 10348"/>
                <a:gd name="connsiteY21" fmla="*/ 10621 h 12956"/>
                <a:gd name="connsiteX22" fmla="*/ 1156 w 10348"/>
                <a:gd name="connsiteY22" fmla="*/ 10204 h 12956"/>
                <a:gd name="connsiteX23" fmla="*/ 2017 w 10348"/>
                <a:gd name="connsiteY23" fmla="*/ 9826 h 12956"/>
                <a:gd name="connsiteX24" fmla="*/ 2816 w 10348"/>
                <a:gd name="connsiteY24" fmla="*/ 9816 h 12956"/>
                <a:gd name="connsiteX25" fmla="*/ 4016 w 10348"/>
                <a:gd name="connsiteY25" fmla="*/ 10843 h 12956"/>
                <a:gd name="connsiteX26" fmla="*/ 5469 w 10348"/>
                <a:gd name="connsiteY26" fmla="*/ 11830 h 12956"/>
                <a:gd name="connsiteX27" fmla="*/ 5478 w 10348"/>
                <a:gd name="connsiteY27" fmla="*/ 12764 h 12956"/>
                <a:gd name="connsiteX28" fmla="*/ 7247 w 10348"/>
                <a:gd name="connsiteY28" fmla="*/ 7778 h 12956"/>
                <a:gd name="connsiteX29" fmla="*/ 7297 w 10348"/>
                <a:gd name="connsiteY29" fmla="*/ 6764 h 12956"/>
                <a:gd name="connsiteX30" fmla="*/ 7587 w 10348"/>
                <a:gd name="connsiteY30" fmla="*/ 6503 h 12956"/>
                <a:gd name="connsiteX31" fmla="*/ 7969 w 10348"/>
                <a:gd name="connsiteY31" fmla="*/ 6078 h 12956"/>
                <a:gd name="connsiteX32" fmla="*/ 8619 w 10348"/>
                <a:gd name="connsiteY32" fmla="*/ 4935 h 12956"/>
                <a:gd name="connsiteX33" fmla="*/ 8743 w 10348"/>
                <a:gd name="connsiteY33" fmla="*/ 4248 h 12956"/>
                <a:gd name="connsiteX34" fmla="*/ 9173 w 10348"/>
                <a:gd name="connsiteY34" fmla="*/ 3203 h 12956"/>
                <a:gd name="connsiteX35" fmla="*/ 8826 w 10348"/>
                <a:gd name="connsiteY35" fmla="*/ 2059 h 12956"/>
                <a:gd name="connsiteX36" fmla="*/ 10348 w 10348"/>
                <a:gd name="connsiteY36" fmla="*/ 1765 h 12956"/>
                <a:gd name="connsiteX37" fmla="*/ 9913 w 10348"/>
                <a:gd name="connsiteY37" fmla="*/ 882 h 12956"/>
                <a:gd name="connsiteX38" fmla="*/ 9574 w 10348"/>
                <a:gd name="connsiteY38" fmla="*/ 329 h 12956"/>
                <a:gd name="connsiteX0" fmla="*/ 9574 w 10348"/>
                <a:gd name="connsiteY0" fmla="*/ 329 h 13761"/>
                <a:gd name="connsiteX1" fmla="*/ 8609 w 10348"/>
                <a:gd name="connsiteY1" fmla="*/ 1176 h 13761"/>
                <a:gd name="connsiteX2" fmla="*/ 7957 w 10348"/>
                <a:gd name="connsiteY2" fmla="*/ 1176 h 13761"/>
                <a:gd name="connsiteX3" fmla="*/ 7739 w 10348"/>
                <a:gd name="connsiteY3" fmla="*/ 294 h 13761"/>
                <a:gd name="connsiteX4" fmla="*/ 7522 w 10348"/>
                <a:gd name="connsiteY4" fmla="*/ 0 h 13761"/>
                <a:gd name="connsiteX5" fmla="*/ 6870 w 10348"/>
                <a:gd name="connsiteY5" fmla="*/ 882 h 13761"/>
                <a:gd name="connsiteX6" fmla="*/ 6435 w 10348"/>
                <a:gd name="connsiteY6" fmla="*/ 1471 h 13761"/>
                <a:gd name="connsiteX7" fmla="*/ 5604 w 10348"/>
                <a:gd name="connsiteY7" fmla="*/ 1160 h 13761"/>
                <a:gd name="connsiteX8" fmla="*/ 5131 w 10348"/>
                <a:gd name="connsiteY8" fmla="*/ 1176 h 13761"/>
                <a:gd name="connsiteX9" fmla="*/ 4478 w 10348"/>
                <a:gd name="connsiteY9" fmla="*/ 1176 h 13761"/>
                <a:gd name="connsiteX10" fmla="*/ 3609 w 10348"/>
                <a:gd name="connsiteY10" fmla="*/ 882 h 13761"/>
                <a:gd name="connsiteX11" fmla="*/ 3391 w 10348"/>
                <a:gd name="connsiteY11" fmla="*/ 2353 h 13761"/>
                <a:gd name="connsiteX12" fmla="*/ 2305 w 10348"/>
                <a:gd name="connsiteY12" fmla="*/ 2941 h 13761"/>
                <a:gd name="connsiteX13" fmla="*/ 1870 w 10348"/>
                <a:gd name="connsiteY13" fmla="*/ 3529 h 13761"/>
                <a:gd name="connsiteX14" fmla="*/ 1218 w 10348"/>
                <a:gd name="connsiteY14" fmla="*/ 3235 h 13761"/>
                <a:gd name="connsiteX15" fmla="*/ 574 w 10348"/>
                <a:gd name="connsiteY15" fmla="*/ 2846 h 13761"/>
                <a:gd name="connsiteX16" fmla="*/ 356 w 10348"/>
                <a:gd name="connsiteY16" fmla="*/ 4706 h 13761"/>
                <a:gd name="connsiteX17" fmla="*/ 348 w 10348"/>
                <a:gd name="connsiteY17" fmla="*/ 5882 h 13761"/>
                <a:gd name="connsiteX18" fmla="*/ 0 w 10348"/>
                <a:gd name="connsiteY18" fmla="*/ 7734 h 13761"/>
                <a:gd name="connsiteX19" fmla="*/ 800 w 10348"/>
                <a:gd name="connsiteY19" fmla="*/ 8417 h 13761"/>
                <a:gd name="connsiteX20" fmla="*/ 783 w 10348"/>
                <a:gd name="connsiteY20" fmla="*/ 9706 h 13761"/>
                <a:gd name="connsiteX21" fmla="*/ 472 w 10348"/>
                <a:gd name="connsiteY21" fmla="*/ 10621 h 13761"/>
                <a:gd name="connsiteX22" fmla="*/ 1156 w 10348"/>
                <a:gd name="connsiteY22" fmla="*/ 10204 h 13761"/>
                <a:gd name="connsiteX23" fmla="*/ 2017 w 10348"/>
                <a:gd name="connsiteY23" fmla="*/ 9826 h 13761"/>
                <a:gd name="connsiteX24" fmla="*/ 2816 w 10348"/>
                <a:gd name="connsiteY24" fmla="*/ 9816 h 13761"/>
                <a:gd name="connsiteX25" fmla="*/ 4016 w 10348"/>
                <a:gd name="connsiteY25" fmla="*/ 10843 h 13761"/>
                <a:gd name="connsiteX26" fmla="*/ 5469 w 10348"/>
                <a:gd name="connsiteY26" fmla="*/ 11830 h 13761"/>
                <a:gd name="connsiteX27" fmla="*/ 5478 w 10348"/>
                <a:gd name="connsiteY27" fmla="*/ 12764 h 13761"/>
                <a:gd name="connsiteX28" fmla="*/ 6829 w 10348"/>
                <a:gd name="connsiteY28" fmla="*/ 13402 h 13761"/>
                <a:gd name="connsiteX29" fmla="*/ 7297 w 10348"/>
                <a:gd name="connsiteY29" fmla="*/ 6764 h 13761"/>
                <a:gd name="connsiteX30" fmla="*/ 7587 w 10348"/>
                <a:gd name="connsiteY30" fmla="*/ 6503 h 13761"/>
                <a:gd name="connsiteX31" fmla="*/ 7969 w 10348"/>
                <a:gd name="connsiteY31" fmla="*/ 6078 h 13761"/>
                <a:gd name="connsiteX32" fmla="*/ 8619 w 10348"/>
                <a:gd name="connsiteY32" fmla="*/ 4935 h 13761"/>
                <a:gd name="connsiteX33" fmla="*/ 8743 w 10348"/>
                <a:gd name="connsiteY33" fmla="*/ 4248 h 13761"/>
                <a:gd name="connsiteX34" fmla="*/ 9173 w 10348"/>
                <a:gd name="connsiteY34" fmla="*/ 3203 h 13761"/>
                <a:gd name="connsiteX35" fmla="*/ 8826 w 10348"/>
                <a:gd name="connsiteY35" fmla="*/ 2059 h 13761"/>
                <a:gd name="connsiteX36" fmla="*/ 10348 w 10348"/>
                <a:gd name="connsiteY36" fmla="*/ 1765 h 13761"/>
                <a:gd name="connsiteX37" fmla="*/ 9913 w 10348"/>
                <a:gd name="connsiteY37" fmla="*/ 882 h 13761"/>
                <a:gd name="connsiteX38" fmla="*/ 9574 w 10348"/>
                <a:gd name="connsiteY38" fmla="*/ 329 h 13761"/>
                <a:gd name="connsiteX0" fmla="*/ 9574 w 10348"/>
                <a:gd name="connsiteY0" fmla="*/ 329 h 13402"/>
                <a:gd name="connsiteX1" fmla="*/ 8609 w 10348"/>
                <a:gd name="connsiteY1" fmla="*/ 1176 h 13402"/>
                <a:gd name="connsiteX2" fmla="*/ 7957 w 10348"/>
                <a:gd name="connsiteY2" fmla="*/ 1176 h 13402"/>
                <a:gd name="connsiteX3" fmla="*/ 7739 w 10348"/>
                <a:gd name="connsiteY3" fmla="*/ 294 h 13402"/>
                <a:gd name="connsiteX4" fmla="*/ 7522 w 10348"/>
                <a:gd name="connsiteY4" fmla="*/ 0 h 13402"/>
                <a:gd name="connsiteX5" fmla="*/ 6870 w 10348"/>
                <a:gd name="connsiteY5" fmla="*/ 882 h 13402"/>
                <a:gd name="connsiteX6" fmla="*/ 6435 w 10348"/>
                <a:gd name="connsiteY6" fmla="*/ 1471 h 13402"/>
                <a:gd name="connsiteX7" fmla="*/ 5604 w 10348"/>
                <a:gd name="connsiteY7" fmla="*/ 1160 h 13402"/>
                <a:gd name="connsiteX8" fmla="*/ 5131 w 10348"/>
                <a:gd name="connsiteY8" fmla="*/ 1176 h 13402"/>
                <a:gd name="connsiteX9" fmla="*/ 4478 w 10348"/>
                <a:gd name="connsiteY9" fmla="*/ 1176 h 13402"/>
                <a:gd name="connsiteX10" fmla="*/ 3609 w 10348"/>
                <a:gd name="connsiteY10" fmla="*/ 882 h 13402"/>
                <a:gd name="connsiteX11" fmla="*/ 3391 w 10348"/>
                <a:gd name="connsiteY11" fmla="*/ 2353 h 13402"/>
                <a:gd name="connsiteX12" fmla="*/ 2305 w 10348"/>
                <a:gd name="connsiteY12" fmla="*/ 2941 h 13402"/>
                <a:gd name="connsiteX13" fmla="*/ 1870 w 10348"/>
                <a:gd name="connsiteY13" fmla="*/ 3529 h 13402"/>
                <a:gd name="connsiteX14" fmla="*/ 1218 w 10348"/>
                <a:gd name="connsiteY14" fmla="*/ 3235 h 13402"/>
                <a:gd name="connsiteX15" fmla="*/ 574 w 10348"/>
                <a:gd name="connsiteY15" fmla="*/ 2846 h 13402"/>
                <a:gd name="connsiteX16" fmla="*/ 356 w 10348"/>
                <a:gd name="connsiteY16" fmla="*/ 4706 h 13402"/>
                <a:gd name="connsiteX17" fmla="*/ 348 w 10348"/>
                <a:gd name="connsiteY17" fmla="*/ 5882 h 13402"/>
                <a:gd name="connsiteX18" fmla="*/ 0 w 10348"/>
                <a:gd name="connsiteY18" fmla="*/ 7734 h 13402"/>
                <a:gd name="connsiteX19" fmla="*/ 800 w 10348"/>
                <a:gd name="connsiteY19" fmla="*/ 8417 h 13402"/>
                <a:gd name="connsiteX20" fmla="*/ 783 w 10348"/>
                <a:gd name="connsiteY20" fmla="*/ 9706 h 13402"/>
                <a:gd name="connsiteX21" fmla="*/ 472 w 10348"/>
                <a:gd name="connsiteY21" fmla="*/ 10621 h 13402"/>
                <a:gd name="connsiteX22" fmla="*/ 1156 w 10348"/>
                <a:gd name="connsiteY22" fmla="*/ 10204 h 13402"/>
                <a:gd name="connsiteX23" fmla="*/ 2017 w 10348"/>
                <a:gd name="connsiteY23" fmla="*/ 9826 h 13402"/>
                <a:gd name="connsiteX24" fmla="*/ 2816 w 10348"/>
                <a:gd name="connsiteY24" fmla="*/ 9816 h 13402"/>
                <a:gd name="connsiteX25" fmla="*/ 4016 w 10348"/>
                <a:gd name="connsiteY25" fmla="*/ 10843 h 13402"/>
                <a:gd name="connsiteX26" fmla="*/ 5469 w 10348"/>
                <a:gd name="connsiteY26" fmla="*/ 11830 h 13402"/>
                <a:gd name="connsiteX27" fmla="*/ 5478 w 10348"/>
                <a:gd name="connsiteY27" fmla="*/ 12764 h 13402"/>
                <a:gd name="connsiteX28" fmla="*/ 6829 w 10348"/>
                <a:gd name="connsiteY28" fmla="*/ 13402 h 13402"/>
                <a:gd name="connsiteX29" fmla="*/ 7297 w 10348"/>
                <a:gd name="connsiteY29" fmla="*/ 6764 h 13402"/>
                <a:gd name="connsiteX30" fmla="*/ 7587 w 10348"/>
                <a:gd name="connsiteY30" fmla="*/ 6503 h 13402"/>
                <a:gd name="connsiteX31" fmla="*/ 7969 w 10348"/>
                <a:gd name="connsiteY31" fmla="*/ 6078 h 13402"/>
                <a:gd name="connsiteX32" fmla="*/ 8619 w 10348"/>
                <a:gd name="connsiteY32" fmla="*/ 4935 h 13402"/>
                <a:gd name="connsiteX33" fmla="*/ 8743 w 10348"/>
                <a:gd name="connsiteY33" fmla="*/ 4248 h 13402"/>
                <a:gd name="connsiteX34" fmla="*/ 9173 w 10348"/>
                <a:gd name="connsiteY34" fmla="*/ 3203 h 13402"/>
                <a:gd name="connsiteX35" fmla="*/ 8826 w 10348"/>
                <a:gd name="connsiteY35" fmla="*/ 2059 h 13402"/>
                <a:gd name="connsiteX36" fmla="*/ 10348 w 10348"/>
                <a:gd name="connsiteY36" fmla="*/ 1765 h 13402"/>
                <a:gd name="connsiteX37" fmla="*/ 9913 w 10348"/>
                <a:gd name="connsiteY37" fmla="*/ 882 h 13402"/>
                <a:gd name="connsiteX38" fmla="*/ 9574 w 10348"/>
                <a:gd name="connsiteY38" fmla="*/ 329 h 13402"/>
                <a:gd name="connsiteX0" fmla="*/ 9574 w 10348"/>
                <a:gd name="connsiteY0" fmla="*/ 329 h 13402"/>
                <a:gd name="connsiteX1" fmla="*/ 8609 w 10348"/>
                <a:gd name="connsiteY1" fmla="*/ 1176 h 13402"/>
                <a:gd name="connsiteX2" fmla="*/ 7957 w 10348"/>
                <a:gd name="connsiteY2" fmla="*/ 1176 h 13402"/>
                <a:gd name="connsiteX3" fmla="*/ 7739 w 10348"/>
                <a:gd name="connsiteY3" fmla="*/ 294 h 13402"/>
                <a:gd name="connsiteX4" fmla="*/ 7522 w 10348"/>
                <a:gd name="connsiteY4" fmla="*/ 0 h 13402"/>
                <a:gd name="connsiteX5" fmla="*/ 6870 w 10348"/>
                <a:gd name="connsiteY5" fmla="*/ 882 h 13402"/>
                <a:gd name="connsiteX6" fmla="*/ 6435 w 10348"/>
                <a:gd name="connsiteY6" fmla="*/ 1471 h 13402"/>
                <a:gd name="connsiteX7" fmla="*/ 5604 w 10348"/>
                <a:gd name="connsiteY7" fmla="*/ 1160 h 13402"/>
                <a:gd name="connsiteX8" fmla="*/ 5131 w 10348"/>
                <a:gd name="connsiteY8" fmla="*/ 1176 h 13402"/>
                <a:gd name="connsiteX9" fmla="*/ 4478 w 10348"/>
                <a:gd name="connsiteY9" fmla="*/ 1176 h 13402"/>
                <a:gd name="connsiteX10" fmla="*/ 3609 w 10348"/>
                <a:gd name="connsiteY10" fmla="*/ 882 h 13402"/>
                <a:gd name="connsiteX11" fmla="*/ 3391 w 10348"/>
                <a:gd name="connsiteY11" fmla="*/ 2353 h 13402"/>
                <a:gd name="connsiteX12" fmla="*/ 2305 w 10348"/>
                <a:gd name="connsiteY12" fmla="*/ 2941 h 13402"/>
                <a:gd name="connsiteX13" fmla="*/ 1870 w 10348"/>
                <a:gd name="connsiteY13" fmla="*/ 3529 h 13402"/>
                <a:gd name="connsiteX14" fmla="*/ 1218 w 10348"/>
                <a:gd name="connsiteY14" fmla="*/ 3235 h 13402"/>
                <a:gd name="connsiteX15" fmla="*/ 574 w 10348"/>
                <a:gd name="connsiteY15" fmla="*/ 2846 h 13402"/>
                <a:gd name="connsiteX16" fmla="*/ 356 w 10348"/>
                <a:gd name="connsiteY16" fmla="*/ 4706 h 13402"/>
                <a:gd name="connsiteX17" fmla="*/ 348 w 10348"/>
                <a:gd name="connsiteY17" fmla="*/ 5882 h 13402"/>
                <a:gd name="connsiteX18" fmla="*/ 0 w 10348"/>
                <a:gd name="connsiteY18" fmla="*/ 7734 h 13402"/>
                <a:gd name="connsiteX19" fmla="*/ 800 w 10348"/>
                <a:gd name="connsiteY19" fmla="*/ 8417 h 13402"/>
                <a:gd name="connsiteX20" fmla="*/ 783 w 10348"/>
                <a:gd name="connsiteY20" fmla="*/ 9706 h 13402"/>
                <a:gd name="connsiteX21" fmla="*/ 472 w 10348"/>
                <a:gd name="connsiteY21" fmla="*/ 10621 h 13402"/>
                <a:gd name="connsiteX22" fmla="*/ 1156 w 10348"/>
                <a:gd name="connsiteY22" fmla="*/ 10204 h 13402"/>
                <a:gd name="connsiteX23" fmla="*/ 2017 w 10348"/>
                <a:gd name="connsiteY23" fmla="*/ 9826 h 13402"/>
                <a:gd name="connsiteX24" fmla="*/ 2816 w 10348"/>
                <a:gd name="connsiteY24" fmla="*/ 9816 h 13402"/>
                <a:gd name="connsiteX25" fmla="*/ 4016 w 10348"/>
                <a:gd name="connsiteY25" fmla="*/ 10843 h 13402"/>
                <a:gd name="connsiteX26" fmla="*/ 5469 w 10348"/>
                <a:gd name="connsiteY26" fmla="*/ 11830 h 13402"/>
                <a:gd name="connsiteX27" fmla="*/ 5478 w 10348"/>
                <a:gd name="connsiteY27" fmla="*/ 12764 h 13402"/>
                <a:gd name="connsiteX28" fmla="*/ 6829 w 10348"/>
                <a:gd name="connsiteY28" fmla="*/ 13402 h 13402"/>
                <a:gd name="connsiteX29" fmla="*/ 7297 w 10348"/>
                <a:gd name="connsiteY29" fmla="*/ 6764 h 13402"/>
                <a:gd name="connsiteX30" fmla="*/ 7587 w 10348"/>
                <a:gd name="connsiteY30" fmla="*/ 6503 h 13402"/>
                <a:gd name="connsiteX31" fmla="*/ 7969 w 10348"/>
                <a:gd name="connsiteY31" fmla="*/ 6078 h 13402"/>
                <a:gd name="connsiteX32" fmla="*/ 8619 w 10348"/>
                <a:gd name="connsiteY32" fmla="*/ 4935 h 13402"/>
                <a:gd name="connsiteX33" fmla="*/ 8743 w 10348"/>
                <a:gd name="connsiteY33" fmla="*/ 4248 h 13402"/>
                <a:gd name="connsiteX34" fmla="*/ 9173 w 10348"/>
                <a:gd name="connsiteY34" fmla="*/ 3203 h 13402"/>
                <a:gd name="connsiteX35" fmla="*/ 8826 w 10348"/>
                <a:gd name="connsiteY35" fmla="*/ 2059 h 13402"/>
                <a:gd name="connsiteX36" fmla="*/ 10348 w 10348"/>
                <a:gd name="connsiteY36" fmla="*/ 1765 h 13402"/>
                <a:gd name="connsiteX37" fmla="*/ 9913 w 10348"/>
                <a:gd name="connsiteY37" fmla="*/ 882 h 13402"/>
                <a:gd name="connsiteX38" fmla="*/ 9574 w 10348"/>
                <a:gd name="connsiteY38" fmla="*/ 329 h 13402"/>
                <a:gd name="connsiteX0" fmla="*/ 9574 w 10348"/>
                <a:gd name="connsiteY0" fmla="*/ 329 h 13402"/>
                <a:gd name="connsiteX1" fmla="*/ 8609 w 10348"/>
                <a:gd name="connsiteY1" fmla="*/ 1176 h 13402"/>
                <a:gd name="connsiteX2" fmla="*/ 7957 w 10348"/>
                <a:gd name="connsiteY2" fmla="*/ 1176 h 13402"/>
                <a:gd name="connsiteX3" fmla="*/ 7739 w 10348"/>
                <a:gd name="connsiteY3" fmla="*/ 294 h 13402"/>
                <a:gd name="connsiteX4" fmla="*/ 7522 w 10348"/>
                <a:gd name="connsiteY4" fmla="*/ 0 h 13402"/>
                <a:gd name="connsiteX5" fmla="*/ 6870 w 10348"/>
                <a:gd name="connsiteY5" fmla="*/ 882 h 13402"/>
                <a:gd name="connsiteX6" fmla="*/ 6435 w 10348"/>
                <a:gd name="connsiteY6" fmla="*/ 1471 h 13402"/>
                <a:gd name="connsiteX7" fmla="*/ 5604 w 10348"/>
                <a:gd name="connsiteY7" fmla="*/ 1160 h 13402"/>
                <a:gd name="connsiteX8" fmla="*/ 5131 w 10348"/>
                <a:gd name="connsiteY8" fmla="*/ 1176 h 13402"/>
                <a:gd name="connsiteX9" fmla="*/ 4478 w 10348"/>
                <a:gd name="connsiteY9" fmla="*/ 1176 h 13402"/>
                <a:gd name="connsiteX10" fmla="*/ 3609 w 10348"/>
                <a:gd name="connsiteY10" fmla="*/ 882 h 13402"/>
                <a:gd name="connsiteX11" fmla="*/ 3391 w 10348"/>
                <a:gd name="connsiteY11" fmla="*/ 2353 h 13402"/>
                <a:gd name="connsiteX12" fmla="*/ 2305 w 10348"/>
                <a:gd name="connsiteY12" fmla="*/ 2941 h 13402"/>
                <a:gd name="connsiteX13" fmla="*/ 1870 w 10348"/>
                <a:gd name="connsiteY13" fmla="*/ 3529 h 13402"/>
                <a:gd name="connsiteX14" fmla="*/ 1218 w 10348"/>
                <a:gd name="connsiteY14" fmla="*/ 3235 h 13402"/>
                <a:gd name="connsiteX15" fmla="*/ 574 w 10348"/>
                <a:gd name="connsiteY15" fmla="*/ 2846 h 13402"/>
                <a:gd name="connsiteX16" fmla="*/ 356 w 10348"/>
                <a:gd name="connsiteY16" fmla="*/ 4706 h 13402"/>
                <a:gd name="connsiteX17" fmla="*/ 348 w 10348"/>
                <a:gd name="connsiteY17" fmla="*/ 5882 h 13402"/>
                <a:gd name="connsiteX18" fmla="*/ 0 w 10348"/>
                <a:gd name="connsiteY18" fmla="*/ 7734 h 13402"/>
                <a:gd name="connsiteX19" fmla="*/ 800 w 10348"/>
                <a:gd name="connsiteY19" fmla="*/ 8417 h 13402"/>
                <a:gd name="connsiteX20" fmla="*/ 783 w 10348"/>
                <a:gd name="connsiteY20" fmla="*/ 9706 h 13402"/>
                <a:gd name="connsiteX21" fmla="*/ 472 w 10348"/>
                <a:gd name="connsiteY21" fmla="*/ 10621 h 13402"/>
                <a:gd name="connsiteX22" fmla="*/ 1156 w 10348"/>
                <a:gd name="connsiteY22" fmla="*/ 10204 h 13402"/>
                <a:gd name="connsiteX23" fmla="*/ 2017 w 10348"/>
                <a:gd name="connsiteY23" fmla="*/ 9826 h 13402"/>
                <a:gd name="connsiteX24" fmla="*/ 2816 w 10348"/>
                <a:gd name="connsiteY24" fmla="*/ 9816 h 13402"/>
                <a:gd name="connsiteX25" fmla="*/ 4016 w 10348"/>
                <a:gd name="connsiteY25" fmla="*/ 10843 h 13402"/>
                <a:gd name="connsiteX26" fmla="*/ 5469 w 10348"/>
                <a:gd name="connsiteY26" fmla="*/ 11830 h 13402"/>
                <a:gd name="connsiteX27" fmla="*/ 5478 w 10348"/>
                <a:gd name="connsiteY27" fmla="*/ 12764 h 13402"/>
                <a:gd name="connsiteX28" fmla="*/ 6829 w 10348"/>
                <a:gd name="connsiteY28" fmla="*/ 13402 h 13402"/>
                <a:gd name="connsiteX29" fmla="*/ 7297 w 10348"/>
                <a:gd name="connsiteY29" fmla="*/ 6764 h 13402"/>
                <a:gd name="connsiteX30" fmla="*/ 7587 w 10348"/>
                <a:gd name="connsiteY30" fmla="*/ 6503 h 13402"/>
                <a:gd name="connsiteX31" fmla="*/ 7969 w 10348"/>
                <a:gd name="connsiteY31" fmla="*/ 6078 h 13402"/>
                <a:gd name="connsiteX32" fmla="*/ 8619 w 10348"/>
                <a:gd name="connsiteY32" fmla="*/ 4935 h 13402"/>
                <a:gd name="connsiteX33" fmla="*/ 8743 w 10348"/>
                <a:gd name="connsiteY33" fmla="*/ 4248 h 13402"/>
                <a:gd name="connsiteX34" fmla="*/ 9173 w 10348"/>
                <a:gd name="connsiteY34" fmla="*/ 3203 h 13402"/>
                <a:gd name="connsiteX35" fmla="*/ 8826 w 10348"/>
                <a:gd name="connsiteY35" fmla="*/ 2059 h 13402"/>
                <a:gd name="connsiteX36" fmla="*/ 10348 w 10348"/>
                <a:gd name="connsiteY36" fmla="*/ 1765 h 13402"/>
                <a:gd name="connsiteX37" fmla="*/ 9913 w 10348"/>
                <a:gd name="connsiteY37" fmla="*/ 882 h 13402"/>
                <a:gd name="connsiteX38" fmla="*/ 9574 w 10348"/>
                <a:gd name="connsiteY38" fmla="*/ 329 h 13402"/>
                <a:gd name="connsiteX0" fmla="*/ 9574 w 10348"/>
                <a:gd name="connsiteY0" fmla="*/ 329 h 13402"/>
                <a:gd name="connsiteX1" fmla="*/ 8609 w 10348"/>
                <a:gd name="connsiteY1" fmla="*/ 1176 h 13402"/>
                <a:gd name="connsiteX2" fmla="*/ 7957 w 10348"/>
                <a:gd name="connsiteY2" fmla="*/ 1176 h 13402"/>
                <a:gd name="connsiteX3" fmla="*/ 7739 w 10348"/>
                <a:gd name="connsiteY3" fmla="*/ 294 h 13402"/>
                <a:gd name="connsiteX4" fmla="*/ 7522 w 10348"/>
                <a:gd name="connsiteY4" fmla="*/ 0 h 13402"/>
                <a:gd name="connsiteX5" fmla="*/ 6870 w 10348"/>
                <a:gd name="connsiteY5" fmla="*/ 882 h 13402"/>
                <a:gd name="connsiteX6" fmla="*/ 6435 w 10348"/>
                <a:gd name="connsiteY6" fmla="*/ 1471 h 13402"/>
                <a:gd name="connsiteX7" fmla="*/ 5604 w 10348"/>
                <a:gd name="connsiteY7" fmla="*/ 1160 h 13402"/>
                <a:gd name="connsiteX8" fmla="*/ 5131 w 10348"/>
                <a:gd name="connsiteY8" fmla="*/ 1176 h 13402"/>
                <a:gd name="connsiteX9" fmla="*/ 4478 w 10348"/>
                <a:gd name="connsiteY9" fmla="*/ 1176 h 13402"/>
                <a:gd name="connsiteX10" fmla="*/ 3609 w 10348"/>
                <a:gd name="connsiteY10" fmla="*/ 882 h 13402"/>
                <a:gd name="connsiteX11" fmla="*/ 3391 w 10348"/>
                <a:gd name="connsiteY11" fmla="*/ 2353 h 13402"/>
                <a:gd name="connsiteX12" fmla="*/ 2305 w 10348"/>
                <a:gd name="connsiteY12" fmla="*/ 2941 h 13402"/>
                <a:gd name="connsiteX13" fmla="*/ 1870 w 10348"/>
                <a:gd name="connsiteY13" fmla="*/ 3529 h 13402"/>
                <a:gd name="connsiteX14" fmla="*/ 1218 w 10348"/>
                <a:gd name="connsiteY14" fmla="*/ 3235 h 13402"/>
                <a:gd name="connsiteX15" fmla="*/ 574 w 10348"/>
                <a:gd name="connsiteY15" fmla="*/ 2846 h 13402"/>
                <a:gd name="connsiteX16" fmla="*/ 356 w 10348"/>
                <a:gd name="connsiteY16" fmla="*/ 4706 h 13402"/>
                <a:gd name="connsiteX17" fmla="*/ 348 w 10348"/>
                <a:gd name="connsiteY17" fmla="*/ 5882 h 13402"/>
                <a:gd name="connsiteX18" fmla="*/ 0 w 10348"/>
                <a:gd name="connsiteY18" fmla="*/ 7734 h 13402"/>
                <a:gd name="connsiteX19" fmla="*/ 800 w 10348"/>
                <a:gd name="connsiteY19" fmla="*/ 8417 h 13402"/>
                <a:gd name="connsiteX20" fmla="*/ 783 w 10348"/>
                <a:gd name="connsiteY20" fmla="*/ 9706 h 13402"/>
                <a:gd name="connsiteX21" fmla="*/ 472 w 10348"/>
                <a:gd name="connsiteY21" fmla="*/ 10621 h 13402"/>
                <a:gd name="connsiteX22" fmla="*/ 1156 w 10348"/>
                <a:gd name="connsiteY22" fmla="*/ 10204 h 13402"/>
                <a:gd name="connsiteX23" fmla="*/ 2017 w 10348"/>
                <a:gd name="connsiteY23" fmla="*/ 9826 h 13402"/>
                <a:gd name="connsiteX24" fmla="*/ 2816 w 10348"/>
                <a:gd name="connsiteY24" fmla="*/ 9816 h 13402"/>
                <a:gd name="connsiteX25" fmla="*/ 4016 w 10348"/>
                <a:gd name="connsiteY25" fmla="*/ 10843 h 13402"/>
                <a:gd name="connsiteX26" fmla="*/ 5469 w 10348"/>
                <a:gd name="connsiteY26" fmla="*/ 11830 h 13402"/>
                <a:gd name="connsiteX27" fmla="*/ 5478 w 10348"/>
                <a:gd name="connsiteY27" fmla="*/ 12764 h 13402"/>
                <a:gd name="connsiteX28" fmla="*/ 6829 w 10348"/>
                <a:gd name="connsiteY28" fmla="*/ 13402 h 13402"/>
                <a:gd name="connsiteX29" fmla="*/ 7297 w 10348"/>
                <a:gd name="connsiteY29" fmla="*/ 6764 h 13402"/>
                <a:gd name="connsiteX30" fmla="*/ 7587 w 10348"/>
                <a:gd name="connsiteY30" fmla="*/ 6503 h 13402"/>
                <a:gd name="connsiteX31" fmla="*/ 7969 w 10348"/>
                <a:gd name="connsiteY31" fmla="*/ 6078 h 13402"/>
                <a:gd name="connsiteX32" fmla="*/ 8619 w 10348"/>
                <a:gd name="connsiteY32" fmla="*/ 4935 h 13402"/>
                <a:gd name="connsiteX33" fmla="*/ 8743 w 10348"/>
                <a:gd name="connsiteY33" fmla="*/ 4248 h 13402"/>
                <a:gd name="connsiteX34" fmla="*/ 9173 w 10348"/>
                <a:gd name="connsiteY34" fmla="*/ 3203 h 13402"/>
                <a:gd name="connsiteX35" fmla="*/ 8826 w 10348"/>
                <a:gd name="connsiteY35" fmla="*/ 2059 h 13402"/>
                <a:gd name="connsiteX36" fmla="*/ 10348 w 10348"/>
                <a:gd name="connsiteY36" fmla="*/ 1765 h 13402"/>
                <a:gd name="connsiteX37" fmla="*/ 9913 w 10348"/>
                <a:gd name="connsiteY37" fmla="*/ 882 h 13402"/>
                <a:gd name="connsiteX38" fmla="*/ 9574 w 10348"/>
                <a:gd name="connsiteY38" fmla="*/ 329 h 13402"/>
                <a:gd name="connsiteX0" fmla="*/ 9574 w 10348"/>
                <a:gd name="connsiteY0" fmla="*/ 329 h 13402"/>
                <a:gd name="connsiteX1" fmla="*/ 8609 w 10348"/>
                <a:gd name="connsiteY1" fmla="*/ 1176 h 13402"/>
                <a:gd name="connsiteX2" fmla="*/ 7957 w 10348"/>
                <a:gd name="connsiteY2" fmla="*/ 1176 h 13402"/>
                <a:gd name="connsiteX3" fmla="*/ 7739 w 10348"/>
                <a:gd name="connsiteY3" fmla="*/ 294 h 13402"/>
                <a:gd name="connsiteX4" fmla="*/ 7522 w 10348"/>
                <a:gd name="connsiteY4" fmla="*/ 0 h 13402"/>
                <a:gd name="connsiteX5" fmla="*/ 6870 w 10348"/>
                <a:gd name="connsiteY5" fmla="*/ 882 h 13402"/>
                <a:gd name="connsiteX6" fmla="*/ 6435 w 10348"/>
                <a:gd name="connsiteY6" fmla="*/ 1471 h 13402"/>
                <a:gd name="connsiteX7" fmla="*/ 5604 w 10348"/>
                <a:gd name="connsiteY7" fmla="*/ 1160 h 13402"/>
                <a:gd name="connsiteX8" fmla="*/ 5131 w 10348"/>
                <a:gd name="connsiteY8" fmla="*/ 1176 h 13402"/>
                <a:gd name="connsiteX9" fmla="*/ 4478 w 10348"/>
                <a:gd name="connsiteY9" fmla="*/ 1176 h 13402"/>
                <a:gd name="connsiteX10" fmla="*/ 3609 w 10348"/>
                <a:gd name="connsiteY10" fmla="*/ 882 h 13402"/>
                <a:gd name="connsiteX11" fmla="*/ 3391 w 10348"/>
                <a:gd name="connsiteY11" fmla="*/ 2353 h 13402"/>
                <a:gd name="connsiteX12" fmla="*/ 2305 w 10348"/>
                <a:gd name="connsiteY12" fmla="*/ 2941 h 13402"/>
                <a:gd name="connsiteX13" fmla="*/ 1870 w 10348"/>
                <a:gd name="connsiteY13" fmla="*/ 3529 h 13402"/>
                <a:gd name="connsiteX14" fmla="*/ 1218 w 10348"/>
                <a:gd name="connsiteY14" fmla="*/ 3235 h 13402"/>
                <a:gd name="connsiteX15" fmla="*/ 574 w 10348"/>
                <a:gd name="connsiteY15" fmla="*/ 2846 h 13402"/>
                <a:gd name="connsiteX16" fmla="*/ 356 w 10348"/>
                <a:gd name="connsiteY16" fmla="*/ 4706 h 13402"/>
                <a:gd name="connsiteX17" fmla="*/ 348 w 10348"/>
                <a:gd name="connsiteY17" fmla="*/ 5882 h 13402"/>
                <a:gd name="connsiteX18" fmla="*/ 0 w 10348"/>
                <a:gd name="connsiteY18" fmla="*/ 7734 h 13402"/>
                <a:gd name="connsiteX19" fmla="*/ 800 w 10348"/>
                <a:gd name="connsiteY19" fmla="*/ 8417 h 13402"/>
                <a:gd name="connsiteX20" fmla="*/ 783 w 10348"/>
                <a:gd name="connsiteY20" fmla="*/ 9706 h 13402"/>
                <a:gd name="connsiteX21" fmla="*/ 472 w 10348"/>
                <a:gd name="connsiteY21" fmla="*/ 10621 h 13402"/>
                <a:gd name="connsiteX22" fmla="*/ 1156 w 10348"/>
                <a:gd name="connsiteY22" fmla="*/ 10204 h 13402"/>
                <a:gd name="connsiteX23" fmla="*/ 2017 w 10348"/>
                <a:gd name="connsiteY23" fmla="*/ 9826 h 13402"/>
                <a:gd name="connsiteX24" fmla="*/ 2816 w 10348"/>
                <a:gd name="connsiteY24" fmla="*/ 9816 h 13402"/>
                <a:gd name="connsiteX25" fmla="*/ 4016 w 10348"/>
                <a:gd name="connsiteY25" fmla="*/ 10843 h 13402"/>
                <a:gd name="connsiteX26" fmla="*/ 5469 w 10348"/>
                <a:gd name="connsiteY26" fmla="*/ 11830 h 13402"/>
                <a:gd name="connsiteX27" fmla="*/ 5478 w 10348"/>
                <a:gd name="connsiteY27" fmla="*/ 12764 h 13402"/>
                <a:gd name="connsiteX28" fmla="*/ 6829 w 10348"/>
                <a:gd name="connsiteY28" fmla="*/ 13402 h 13402"/>
                <a:gd name="connsiteX29" fmla="*/ 7297 w 10348"/>
                <a:gd name="connsiteY29" fmla="*/ 6764 h 13402"/>
                <a:gd name="connsiteX30" fmla="*/ 7587 w 10348"/>
                <a:gd name="connsiteY30" fmla="*/ 6503 h 13402"/>
                <a:gd name="connsiteX31" fmla="*/ 7969 w 10348"/>
                <a:gd name="connsiteY31" fmla="*/ 6078 h 13402"/>
                <a:gd name="connsiteX32" fmla="*/ 8619 w 10348"/>
                <a:gd name="connsiteY32" fmla="*/ 4935 h 13402"/>
                <a:gd name="connsiteX33" fmla="*/ 8743 w 10348"/>
                <a:gd name="connsiteY33" fmla="*/ 4248 h 13402"/>
                <a:gd name="connsiteX34" fmla="*/ 9173 w 10348"/>
                <a:gd name="connsiteY34" fmla="*/ 3203 h 13402"/>
                <a:gd name="connsiteX35" fmla="*/ 8826 w 10348"/>
                <a:gd name="connsiteY35" fmla="*/ 2059 h 13402"/>
                <a:gd name="connsiteX36" fmla="*/ 10348 w 10348"/>
                <a:gd name="connsiteY36" fmla="*/ 1765 h 13402"/>
                <a:gd name="connsiteX37" fmla="*/ 9913 w 10348"/>
                <a:gd name="connsiteY37" fmla="*/ 882 h 13402"/>
                <a:gd name="connsiteX38" fmla="*/ 9574 w 10348"/>
                <a:gd name="connsiteY38" fmla="*/ 329 h 13402"/>
                <a:gd name="connsiteX0" fmla="*/ 9574 w 10348"/>
                <a:gd name="connsiteY0" fmla="*/ 329 h 13402"/>
                <a:gd name="connsiteX1" fmla="*/ 8609 w 10348"/>
                <a:gd name="connsiteY1" fmla="*/ 1176 h 13402"/>
                <a:gd name="connsiteX2" fmla="*/ 7957 w 10348"/>
                <a:gd name="connsiteY2" fmla="*/ 1176 h 13402"/>
                <a:gd name="connsiteX3" fmla="*/ 7739 w 10348"/>
                <a:gd name="connsiteY3" fmla="*/ 294 h 13402"/>
                <a:gd name="connsiteX4" fmla="*/ 7522 w 10348"/>
                <a:gd name="connsiteY4" fmla="*/ 0 h 13402"/>
                <a:gd name="connsiteX5" fmla="*/ 6870 w 10348"/>
                <a:gd name="connsiteY5" fmla="*/ 882 h 13402"/>
                <a:gd name="connsiteX6" fmla="*/ 6435 w 10348"/>
                <a:gd name="connsiteY6" fmla="*/ 1471 h 13402"/>
                <a:gd name="connsiteX7" fmla="*/ 5604 w 10348"/>
                <a:gd name="connsiteY7" fmla="*/ 1160 h 13402"/>
                <a:gd name="connsiteX8" fmla="*/ 5131 w 10348"/>
                <a:gd name="connsiteY8" fmla="*/ 1176 h 13402"/>
                <a:gd name="connsiteX9" fmla="*/ 4478 w 10348"/>
                <a:gd name="connsiteY9" fmla="*/ 1176 h 13402"/>
                <a:gd name="connsiteX10" fmla="*/ 3609 w 10348"/>
                <a:gd name="connsiteY10" fmla="*/ 882 h 13402"/>
                <a:gd name="connsiteX11" fmla="*/ 3391 w 10348"/>
                <a:gd name="connsiteY11" fmla="*/ 2353 h 13402"/>
                <a:gd name="connsiteX12" fmla="*/ 2305 w 10348"/>
                <a:gd name="connsiteY12" fmla="*/ 2941 h 13402"/>
                <a:gd name="connsiteX13" fmla="*/ 1870 w 10348"/>
                <a:gd name="connsiteY13" fmla="*/ 3529 h 13402"/>
                <a:gd name="connsiteX14" fmla="*/ 1218 w 10348"/>
                <a:gd name="connsiteY14" fmla="*/ 3235 h 13402"/>
                <a:gd name="connsiteX15" fmla="*/ 574 w 10348"/>
                <a:gd name="connsiteY15" fmla="*/ 2846 h 13402"/>
                <a:gd name="connsiteX16" fmla="*/ 356 w 10348"/>
                <a:gd name="connsiteY16" fmla="*/ 4706 h 13402"/>
                <a:gd name="connsiteX17" fmla="*/ 348 w 10348"/>
                <a:gd name="connsiteY17" fmla="*/ 5882 h 13402"/>
                <a:gd name="connsiteX18" fmla="*/ 0 w 10348"/>
                <a:gd name="connsiteY18" fmla="*/ 7734 h 13402"/>
                <a:gd name="connsiteX19" fmla="*/ 800 w 10348"/>
                <a:gd name="connsiteY19" fmla="*/ 8417 h 13402"/>
                <a:gd name="connsiteX20" fmla="*/ 783 w 10348"/>
                <a:gd name="connsiteY20" fmla="*/ 9706 h 13402"/>
                <a:gd name="connsiteX21" fmla="*/ 472 w 10348"/>
                <a:gd name="connsiteY21" fmla="*/ 10621 h 13402"/>
                <a:gd name="connsiteX22" fmla="*/ 1156 w 10348"/>
                <a:gd name="connsiteY22" fmla="*/ 10204 h 13402"/>
                <a:gd name="connsiteX23" fmla="*/ 2017 w 10348"/>
                <a:gd name="connsiteY23" fmla="*/ 9826 h 13402"/>
                <a:gd name="connsiteX24" fmla="*/ 2816 w 10348"/>
                <a:gd name="connsiteY24" fmla="*/ 9816 h 13402"/>
                <a:gd name="connsiteX25" fmla="*/ 4016 w 10348"/>
                <a:gd name="connsiteY25" fmla="*/ 10843 h 13402"/>
                <a:gd name="connsiteX26" fmla="*/ 5469 w 10348"/>
                <a:gd name="connsiteY26" fmla="*/ 11830 h 13402"/>
                <a:gd name="connsiteX27" fmla="*/ 5478 w 10348"/>
                <a:gd name="connsiteY27" fmla="*/ 12764 h 13402"/>
                <a:gd name="connsiteX28" fmla="*/ 6829 w 10348"/>
                <a:gd name="connsiteY28" fmla="*/ 13402 h 13402"/>
                <a:gd name="connsiteX29" fmla="*/ 7297 w 10348"/>
                <a:gd name="connsiteY29" fmla="*/ 6764 h 13402"/>
                <a:gd name="connsiteX30" fmla="*/ 7587 w 10348"/>
                <a:gd name="connsiteY30" fmla="*/ 6503 h 13402"/>
                <a:gd name="connsiteX31" fmla="*/ 7969 w 10348"/>
                <a:gd name="connsiteY31" fmla="*/ 6078 h 13402"/>
                <a:gd name="connsiteX32" fmla="*/ 8619 w 10348"/>
                <a:gd name="connsiteY32" fmla="*/ 4935 h 13402"/>
                <a:gd name="connsiteX33" fmla="*/ 8743 w 10348"/>
                <a:gd name="connsiteY33" fmla="*/ 4248 h 13402"/>
                <a:gd name="connsiteX34" fmla="*/ 9173 w 10348"/>
                <a:gd name="connsiteY34" fmla="*/ 3203 h 13402"/>
                <a:gd name="connsiteX35" fmla="*/ 8826 w 10348"/>
                <a:gd name="connsiteY35" fmla="*/ 2059 h 13402"/>
                <a:gd name="connsiteX36" fmla="*/ 10348 w 10348"/>
                <a:gd name="connsiteY36" fmla="*/ 1765 h 13402"/>
                <a:gd name="connsiteX37" fmla="*/ 9913 w 10348"/>
                <a:gd name="connsiteY37" fmla="*/ 882 h 13402"/>
                <a:gd name="connsiteX38" fmla="*/ 9574 w 10348"/>
                <a:gd name="connsiteY38" fmla="*/ 329 h 13402"/>
                <a:gd name="connsiteX0" fmla="*/ 9574 w 10348"/>
                <a:gd name="connsiteY0" fmla="*/ 329 h 13402"/>
                <a:gd name="connsiteX1" fmla="*/ 8609 w 10348"/>
                <a:gd name="connsiteY1" fmla="*/ 1176 h 13402"/>
                <a:gd name="connsiteX2" fmla="*/ 7957 w 10348"/>
                <a:gd name="connsiteY2" fmla="*/ 1176 h 13402"/>
                <a:gd name="connsiteX3" fmla="*/ 7739 w 10348"/>
                <a:gd name="connsiteY3" fmla="*/ 294 h 13402"/>
                <a:gd name="connsiteX4" fmla="*/ 7522 w 10348"/>
                <a:gd name="connsiteY4" fmla="*/ 0 h 13402"/>
                <a:gd name="connsiteX5" fmla="*/ 6870 w 10348"/>
                <a:gd name="connsiteY5" fmla="*/ 882 h 13402"/>
                <a:gd name="connsiteX6" fmla="*/ 6435 w 10348"/>
                <a:gd name="connsiteY6" fmla="*/ 1471 h 13402"/>
                <a:gd name="connsiteX7" fmla="*/ 5604 w 10348"/>
                <a:gd name="connsiteY7" fmla="*/ 1160 h 13402"/>
                <a:gd name="connsiteX8" fmla="*/ 5131 w 10348"/>
                <a:gd name="connsiteY8" fmla="*/ 1176 h 13402"/>
                <a:gd name="connsiteX9" fmla="*/ 4478 w 10348"/>
                <a:gd name="connsiteY9" fmla="*/ 1176 h 13402"/>
                <a:gd name="connsiteX10" fmla="*/ 3609 w 10348"/>
                <a:gd name="connsiteY10" fmla="*/ 882 h 13402"/>
                <a:gd name="connsiteX11" fmla="*/ 3391 w 10348"/>
                <a:gd name="connsiteY11" fmla="*/ 2353 h 13402"/>
                <a:gd name="connsiteX12" fmla="*/ 2305 w 10348"/>
                <a:gd name="connsiteY12" fmla="*/ 2941 h 13402"/>
                <a:gd name="connsiteX13" fmla="*/ 1870 w 10348"/>
                <a:gd name="connsiteY13" fmla="*/ 3529 h 13402"/>
                <a:gd name="connsiteX14" fmla="*/ 1218 w 10348"/>
                <a:gd name="connsiteY14" fmla="*/ 3235 h 13402"/>
                <a:gd name="connsiteX15" fmla="*/ 574 w 10348"/>
                <a:gd name="connsiteY15" fmla="*/ 2846 h 13402"/>
                <a:gd name="connsiteX16" fmla="*/ 356 w 10348"/>
                <a:gd name="connsiteY16" fmla="*/ 4706 h 13402"/>
                <a:gd name="connsiteX17" fmla="*/ 348 w 10348"/>
                <a:gd name="connsiteY17" fmla="*/ 5882 h 13402"/>
                <a:gd name="connsiteX18" fmla="*/ 0 w 10348"/>
                <a:gd name="connsiteY18" fmla="*/ 7734 h 13402"/>
                <a:gd name="connsiteX19" fmla="*/ 800 w 10348"/>
                <a:gd name="connsiteY19" fmla="*/ 8417 h 13402"/>
                <a:gd name="connsiteX20" fmla="*/ 783 w 10348"/>
                <a:gd name="connsiteY20" fmla="*/ 9706 h 13402"/>
                <a:gd name="connsiteX21" fmla="*/ 472 w 10348"/>
                <a:gd name="connsiteY21" fmla="*/ 10621 h 13402"/>
                <a:gd name="connsiteX22" fmla="*/ 1156 w 10348"/>
                <a:gd name="connsiteY22" fmla="*/ 10204 h 13402"/>
                <a:gd name="connsiteX23" fmla="*/ 2017 w 10348"/>
                <a:gd name="connsiteY23" fmla="*/ 9826 h 13402"/>
                <a:gd name="connsiteX24" fmla="*/ 2816 w 10348"/>
                <a:gd name="connsiteY24" fmla="*/ 9816 h 13402"/>
                <a:gd name="connsiteX25" fmla="*/ 4016 w 10348"/>
                <a:gd name="connsiteY25" fmla="*/ 10843 h 13402"/>
                <a:gd name="connsiteX26" fmla="*/ 5469 w 10348"/>
                <a:gd name="connsiteY26" fmla="*/ 11830 h 13402"/>
                <a:gd name="connsiteX27" fmla="*/ 5478 w 10348"/>
                <a:gd name="connsiteY27" fmla="*/ 12764 h 13402"/>
                <a:gd name="connsiteX28" fmla="*/ 6829 w 10348"/>
                <a:gd name="connsiteY28" fmla="*/ 13402 h 13402"/>
                <a:gd name="connsiteX29" fmla="*/ 7297 w 10348"/>
                <a:gd name="connsiteY29" fmla="*/ 6764 h 13402"/>
                <a:gd name="connsiteX30" fmla="*/ 7587 w 10348"/>
                <a:gd name="connsiteY30" fmla="*/ 6503 h 13402"/>
                <a:gd name="connsiteX31" fmla="*/ 7969 w 10348"/>
                <a:gd name="connsiteY31" fmla="*/ 6078 h 13402"/>
                <a:gd name="connsiteX32" fmla="*/ 8619 w 10348"/>
                <a:gd name="connsiteY32" fmla="*/ 4935 h 13402"/>
                <a:gd name="connsiteX33" fmla="*/ 8743 w 10348"/>
                <a:gd name="connsiteY33" fmla="*/ 4248 h 13402"/>
                <a:gd name="connsiteX34" fmla="*/ 9173 w 10348"/>
                <a:gd name="connsiteY34" fmla="*/ 3203 h 13402"/>
                <a:gd name="connsiteX35" fmla="*/ 8826 w 10348"/>
                <a:gd name="connsiteY35" fmla="*/ 2059 h 13402"/>
                <a:gd name="connsiteX36" fmla="*/ 10348 w 10348"/>
                <a:gd name="connsiteY36" fmla="*/ 1765 h 13402"/>
                <a:gd name="connsiteX37" fmla="*/ 9913 w 10348"/>
                <a:gd name="connsiteY37" fmla="*/ 882 h 13402"/>
                <a:gd name="connsiteX38" fmla="*/ 9574 w 10348"/>
                <a:gd name="connsiteY38" fmla="*/ 329 h 13402"/>
                <a:gd name="connsiteX0" fmla="*/ 9574 w 10348"/>
                <a:gd name="connsiteY0" fmla="*/ 329 h 13432"/>
                <a:gd name="connsiteX1" fmla="*/ 8609 w 10348"/>
                <a:gd name="connsiteY1" fmla="*/ 1176 h 13432"/>
                <a:gd name="connsiteX2" fmla="*/ 7957 w 10348"/>
                <a:gd name="connsiteY2" fmla="*/ 1176 h 13432"/>
                <a:gd name="connsiteX3" fmla="*/ 7739 w 10348"/>
                <a:gd name="connsiteY3" fmla="*/ 294 h 13432"/>
                <a:gd name="connsiteX4" fmla="*/ 7522 w 10348"/>
                <a:gd name="connsiteY4" fmla="*/ 0 h 13432"/>
                <a:gd name="connsiteX5" fmla="*/ 6870 w 10348"/>
                <a:gd name="connsiteY5" fmla="*/ 882 h 13432"/>
                <a:gd name="connsiteX6" fmla="*/ 6435 w 10348"/>
                <a:gd name="connsiteY6" fmla="*/ 1471 h 13432"/>
                <a:gd name="connsiteX7" fmla="*/ 5604 w 10348"/>
                <a:gd name="connsiteY7" fmla="*/ 1160 h 13432"/>
                <a:gd name="connsiteX8" fmla="*/ 5131 w 10348"/>
                <a:gd name="connsiteY8" fmla="*/ 1176 h 13432"/>
                <a:gd name="connsiteX9" fmla="*/ 4478 w 10348"/>
                <a:gd name="connsiteY9" fmla="*/ 1176 h 13432"/>
                <a:gd name="connsiteX10" fmla="*/ 3609 w 10348"/>
                <a:gd name="connsiteY10" fmla="*/ 882 h 13432"/>
                <a:gd name="connsiteX11" fmla="*/ 3391 w 10348"/>
                <a:gd name="connsiteY11" fmla="*/ 2353 h 13432"/>
                <a:gd name="connsiteX12" fmla="*/ 2305 w 10348"/>
                <a:gd name="connsiteY12" fmla="*/ 2941 h 13432"/>
                <a:gd name="connsiteX13" fmla="*/ 1870 w 10348"/>
                <a:gd name="connsiteY13" fmla="*/ 3529 h 13432"/>
                <a:gd name="connsiteX14" fmla="*/ 1218 w 10348"/>
                <a:gd name="connsiteY14" fmla="*/ 3235 h 13432"/>
                <a:gd name="connsiteX15" fmla="*/ 574 w 10348"/>
                <a:gd name="connsiteY15" fmla="*/ 2846 h 13432"/>
                <a:gd name="connsiteX16" fmla="*/ 356 w 10348"/>
                <a:gd name="connsiteY16" fmla="*/ 4706 h 13432"/>
                <a:gd name="connsiteX17" fmla="*/ 348 w 10348"/>
                <a:gd name="connsiteY17" fmla="*/ 5882 h 13432"/>
                <a:gd name="connsiteX18" fmla="*/ 0 w 10348"/>
                <a:gd name="connsiteY18" fmla="*/ 7734 h 13432"/>
                <a:gd name="connsiteX19" fmla="*/ 800 w 10348"/>
                <a:gd name="connsiteY19" fmla="*/ 8417 h 13432"/>
                <a:gd name="connsiteX20" fmla="*/ 783 w 10348"/>
                <a:gd name="connsiteY20" fmla="*/ 9706 h 13432"/>
                <a:gd name="connsiteX21" fmla="*/ 472 w 10348"/>
                <a:gd name="connsiteY21" fmla="*/ 10621 h 13432"/>
                <a:gd name="connsiteX22" fmla="*/ 1156 w 10348"/>
                <a:gd name="connsiteY22" fmla="*/ 10204 h 13432"/>
                <a:gd name="connsiteX23" fmla="*/ 2017 w 10348"/>
                <a:gd name="connsiteY23" fmla="*/ 9826 h 13432"/>
                <a:gd name="connsiteX24" fmla="*/ 2816 w 10348"/>
                <a:gd name="connsiteY24" fmla="*/ 9816 h 13432"/>
                <a:gd name="connsiteX25" fmla="*/ 4016 w 10348"/>
                <a:gd name="connsiteY25" fmla="*/ 10843 h 13432"/>
                <a:gd name="connsiteX26" fmla="*/ 5469 w 10348"/>
                <a:gd name="connsiteY26" fmla="*/ 11830 h 13432"/>
                <a:gd name="connsiteX27" fmla="*/ 5478 w 10348"/>
                <a:gd name="connsiteY27" fmla="*/ 12764 h 13432"/>
                <a:gd name="connsiteX28" fmla="*/ 6829 w 10348"/>
                <a:gd name="connsiteY28" fmla="*/ 13402 h 13432"/>
                <a:gd name="connsiteX29" fmla="*/ 7923 w 10348"/>
                <a:gd name="connsiteY29" fmla="*/ 12582 h 13432"/>
                <a:gd name="connsiteX30" fmla="*/ 7587 w 10348"/>
                <a:gd name="connsiteY30" fmla="*/ 6503 h 13432"/>
                <a:gd name="connsiteX31" fmla="*/ 7969 w 10348"/>
                <a:gd name="connsiteY31" fmla="*/ 6078 h 13432"/>
                <a:gd name="connsiteX32" fmla="*/ 8619 w 10348"/>
                <a:gd name="connsiteY32" fmla="*/ 4935 h 13432"/>
                <a:gd name="connsiteX33" fmla="*/ 8743 w 10348"/>
                <a:gd name="connsiteY33" fmla="*/ 4248 h 13432"/>
                <a:gd name="connsiteX34" fmla="*/ 9173 w 10348"/>
                <a:gd name="connsiteY34" fmla="*/ 3203 h 13432"/>
                <a:gd name="connsiteX35" fmla="*/ 8826 w 10348"/>
                <a:gd name="connsiteY35" fmla="*/ 2059 h 13432"/>
                <a:gd name="connsiteX36" fmla="*/ 10348 w 10348"/>
                <a:gd name="connsiteY36" fmla="*/ 1765 h 13432"/>
                <a:gd name="connsiteX37" fmla="*/ 9913 w 10348"/>
                <a:gd name="connsiteY37" fmla="*/ 882 h 13432"/>
                <a:gd name="connsiteX38" fmla="*/ 9574 w 10348"/>
                <a:gd name="connsiteY38" fmla="*/ 329 h 13432"/>
                <a:gd name="connsiteX0" fmla="*/ 9574 w 10348"/>
                <a:gd name="connsiteY0" fmla="*/ 329 h 13403"/>
                <a:gd name="connsiteX1" fmla="*/ 8609 w 10348"/>
                <a:gd name="connsiteY1" fmla="*/ 1176 h 13403"/>
                <a:gd name="connsiteX2" fmla="*/ 7957 w 10348"/>
                <a:gd name="connsiteY2" fmla="*/ 1176 h 13403"/>
                <a:gd name="connsiteX3" fmla="*/ 7739 w 10348"/>
                <a:gd name="connsiteY3" fmla="*/ 294 h 13403"/>
                <a:gd name="connsiteX4" fmla="*/ 7522 w 10348"/>
                <a:gd name="connsiteY4" fmla="*/ 0 h 13403"/>
                <a:gd name="connsiteX5" fmla="*/ 6870 w 10348"/>
                <a:gd name="connsiteY5" fmla="*/ 882 h 13403"/>
                <a:gd name="connsiteX6" fmla="*/ 6435 w 10348"/>
                <a:gd name="connsiteY6" fmla="*/ 1471 h 13403"/>
                <a:gd name="connsiteX7" fmla="*/ 5604 w 10348"/>
                <a:gd name="connsiteY7" fmla="*/ 1160 h 13403"/>
                <a:gd name="connsiteX8" fmla="*/ 5131 w 10348"/>
                <a:gd name="connsiteY8" fmla="*/ 1176 h 13403"/>
                <a:gd name="connsiteX9" fmla="*/ 4478 w 10348"/>
                <a:gd name="connsiteY9" fmla="*/ 1176 h 13403"/>
                <a:gd name="connsiteX10" fmla="*/ 3609 w 10348"/>
                <a:gd name="connsiteY10" fmla="*/ 882 h 13403"/>
                <a:gd name="connsiteX11" fmla="*/ 3391 w 10348"/>
                <a:gd name="connsiteY11" fmla="*/ 2353 h 13403"/>
                <a:gd name="connsiteX12" fmla="*/ 2305 w 10348"/>
                <a:gd name="connsiteY12" fmla="*/ 2941 h 13403"/>
                <a:gd name="connsiteX13" fmla="*/ 1870 w 10348"/>
                <a:gd name="connsiteY13" fmla="*/ 3529 h 13403"/>
                <a:gd name="connsiteX14" fmla="*/ 1218 w 10348"/>
                <a:gd name="connsiteY14" fmla="*/ 3235 h 13403"/>
                <a:gd name="connsiteX15" fmla="*/ 574 w 10348"/>
                <a:gd name="connsiteY15" fmla="*/ 2846 h 13403"/>
                <a:gd name="connsiteX16" fmla="*/ 356 w 10348"/>
                <a:gd name="connsiteY16" fmla="*/ 4706 h 13403"/>
                <a:gd name="connsiteX17" fmla="*/ 348 w 10348"/>
                <a:gd name="connsiteY17" fmla="*/ 5882 h 13403"/>
                <a:gd name="connsiteX18" fmla="*/ 0 w 10348"/>
                <a:gd name="connsiteY18" fmla="*/ 7734 h 13403"/>
                <a:gd name="connsiteX19" fmla="*/ 800 w 10348"/>
                <a:gd name="connsiteY19" fmla="*/ 8417 h 13403"/>
                <a:gd name="connsiteX20" fmla="*/ 783 w 10348"/>
                <a:gd name="connsiteY20" fmla="*/ 9706 h 13403"/>
                <a:gd name="connsiteX21" fmla="*/ 472 w 10348"/>
                <a:gd name="connsiteY21" fmla="*/ 10621 h 13403"/>
                <a:gd name="connsiteX22" fmla="*/ 1156 w 10348"/>
                <a:gd name="connsiteY22" fmla="*/ 10204 h 13403"/>
                <a:gd name="connsiteX23" fmla="*/ 2017 w 10348"/>
                <a:gd name="connsiteY23" fmla="*/ 9826 h 13403"/>
                <a:gd name="connsiteX24" fmla="*/ 2816 w 10348"/>
                <a:gd name="connsiteY24" fmla="*/ 9816 h 13403"/>
                <a:gd name="connsiteX25" fmla="*/ 4016 w 10348"/>
                <a:gd name="connsiteY25" fmla="*/ 10843 h 13403"/>
                <a:gd name="connsiteX26" fmla="*/ 5469 w 10348"/>
                <a:gd name="connsiteY26" fmla="*/ 11830 h 13403"/>
                <a:gd name="connsiteX27" fmla="*/ 5478 w 10348"/>
                <a:gd name="connsiteY27" fmla="*/ 12764 h 13403"/>
                <a:gd name="connsiteX28" fmla="*/ 6829 w 10348"/>
                <a:gd name="connsiteY28" fmla="*/ 13402 h 13403"/>
                <a:gd name="connsiteX29" fmla="*/ 7923 w 10348"/>
                <a:gd name="connsiteY29" fmla="*/ 12582 h 13403"/>
                <a:gd name="connsiteX30" fmla="*/ 7587 w 10348"/>
                <a:gd name="connsiteY30" fmla="*/ 6503 h 13403"/>
                <a:gd name="connsiteX31" fmla="*/ 7969 w 10348"/>
                <a:gd name="connsiteY31" fmla="*/ 6078 h 13403"/>
                <a:gd name="connsiteX32" fmla="*/ 8619 w 10348"/>
                <a:gd name="connsiteY32" fmla="*/ 4935 h 13403"/>
                <a:gd name="connsiteX33" fmla="*/ 8743 w 10348"/>
                <a:gd name="connsiteY33" fmla="*/ 4248 h 13403"/>
                <a:gd name="connsiteX34" fmla="*/ 9173 w 10348"/>
                <a:gd name="connsiteY34" fmla="*/ 3203 h 13403"/>
                <a:gd name="connsiteX35" fmla="*/ 8826 w 10348"/>
                <a:gd name="connsiteY35" fmla="*/ 2059 h 13403"/>
                <a:gd name="connsiteX36" fmla="*/ 10348 w 10348"/>
                <a:gd name="connsiteY36" fmla="*/ 1765 h 13403"/>
                <a:gd name="connsiteX37" fmla="*/ 9913 w 10348"/>
                <a:gd name="connsiteY37" fmla="*/ 882 h 13403"/>
                <a:gd name="connsiteX38" fmla="*/ 9574 w 10348"/>
                <a:gd name="connsiteY38" fmla="*/ 329 h 13403"/>
                <a:gd name="connsiteX0" fmla="*/ 9574 w 10348"/>
                <a:gd name="connsiteY0" fmla="*/ 329 h 13403"/>
                <a:gd name="connsiteX1" fmla="*/ 8609 w 10348"/>
                <a:gd name="connsiteY1" fmla="*/ 1176 h 13403"/>
                <a:gd name="connsiteX2" fmla="*/ 7957 w 10348"/>
                <a:gd name="connsiteY2" fmla="*/ 1176 h 13403"/>
                <a:gd name="connsiteX3" fmla="*/ 7739 w 10348"/>
                <a:gd name="connsiteY3" fmla="*/ 294 h 13403"/>
                <a:gd name="connsiteX4" fmla="*/ 7522 w 10348"/>
                <a:gd name="connsiteY4" fmla="*/ 0 h 13403"/>
                <a:gd name="connsiteX5" fmla="*/ 6870 w 10348"/>
                <a:gd name="connsiteY5" fmla="*/ 882 h 13403"/>
                <a:gd name="connsiteX6" fmla="*/ 6435 w 10348"/>
                <a:gd name="connsiteY6" fmla="*/ 1471 h 13403"/>
                <a:gd name="connsiteX7" fmla="*/ 5604 w 10348"/>
                <a:gd name="connsiteY7" fmla="*/ 1160 h 13403"/>
                <a:gd name="connsiteX8" fmla="*/ 5131 w 10348"/>
                <a:gd name="connsiteY8" fmla="*/ 1176 h 13403"/>
                <a:gd name="connsiteX9" fmla="*/ 4478 w 10348"/>
                <a:gd name="connsiteY9" fmla="*/ 1176 h 13403"/>
                <a:gd name="connsiteX10" fmla="*/ 3609 w 10348"/>
                <a:gd name="connsiteY10" fmla="*/ 882 h 13403"/>
                <a:gd name="connsiteX11" fmla="*/ 3391 w 10348"/>
                <a:gd name="connsiteY11" fmla="*/ 2353 h 13403"/>
                <a:gd name="connsiteX12" fmla="*/ 2305 w 10348"/>
                <a:gd name="connsiteY12" fmla="*/ 2941 h 13403"/>
                <a:gd name="connsiteX13" fmla="*/ 1870 w 10348"/>
                <a:gd name="connsiteY13" fmla="*/ 3529 h 13403"/>
                <a:gd name="connsiteX14" fmla="*/ 1218 w 10348"/>
                <a:gd name="connsiteY14" fmla="*/ 3235 h 13403"/>
                <a:gd name="connsiteX15" fmla="*/ 574 w 10348"/>
                <a:gd name="connsiteY15" fmla="*/ 2846 h 13403"/>
                <a:gd name="connsiteX16" fmla="*/ 356 w 10348"/>
                <a:gd name="connsiteY16" fmla="*/ 4706 h 13403"/>
                <a:gd name="connsiteX17" fmla="*/ 348 w 10348"/>
                <a:gd name="connsiteY17" fmla="*/ 5882 h 13403"/>
                <a:gd name="connsiteX18" fmla="*/ 0 w 10348"/>
                <a:gd name="connsiteY18" fmla="*/ 7734 h 13403"/>
                <a:gd name="connsiteX19" fmla="*/ 800 w 10348"/>
                <a:gd name="connsiteY19" fmla="*/ 8417 h 13403"/>
                <a:gd name="connsiteX20" fmla="*/ 783 w 10348"/>
                <a:gd name="connsiteY20" fmla="*/ 9706 h 13403"/>
                <a:gd name="connsiteX21" fmla="*/ 472 w 10348"/>
                <a:gd name="connsiteY21" fmla="*/ 10621 h 13403"/>
                <a:gd name="connsiteX22" fmla="*/ 1156 w 10348"/>
                <a:gd name="connsiteY22" fmla="*/ 10204 h 13403"/>
                <a:gd name="connsiteX23" fmla="*/ 2017 w 10348"/>
                <a:gd name="connsiteY23" fmla="*/ 9826 h 13403"/>
                <a:gd name="connsiteX24" fmla="*/ 2816 w 10348"/>
                <a:gd name="connsiteY24" fmla="*/ 9816 h 13403"/>
                <a:gd name="connsiteX25" fmla="*/ 4016 w 10348"/>
                <a:gd name="connsiteY25" fmla="*/ 10843 h 13403"/>
                <a:gd name="connsiteX26" fmla="*/ 5469 w 10348"/>
                <a:gd name="connsiteY26" fmla="*/ 11830 h 13403"/>
                <a:gd name="connsiteX27" fmla="*/ 5478 w 10348"/>
                <a:gd name="connsiteY27" fmla="*/ 12764 h 13403"/>
                <a:gd name="connsiteX28" fmla="*/ 6829 w 10348"/>
                <a:gd name="connsiteY28" fmla="*/ 13402 h 13403"/>
                <a:gd name="connsiteX29" fmla="*/ 7923 w 10348"/>
                <a:gd name="connsiteY29" fmla="*/ 12582 h 13403"/>
                <a:gd name="connsiteX30" fmla="*/ 7587 w 10348"/>
                <a:gd name="connsiteY30" fmla="*/ 6503 h 13403"/>
                <a:gd name="connsiteX31" fmla="*/ 7969 w 10348"/>
                <a:gd name="connsiteY31" fmla="*/ 6078 h 13403"/>
                <a:gd name="connsiteX32" fmla="*/ 8619 w 10348"/>
                <a:gd name="connsiteY32" fmla="*/ 4935 h 13403"/>
                <a:gd name="connsiteX33" fmla="*/ 8743 w 10348"/>
                <a:gd name="connsiteY33" fmla="*/ 4248 h 13403"/>
                <a:gd name="connsiteX34" fmla="*/ 9173 w 10348"/>
                <a:gd name="connsiteY34" fmla="*/ 3203 h 13403"/>
                <a:gd name="connsiteX35" fmla="*/ 8826 w 10348"/>
                <a:gd name="connsiteY35" fmla="*/ 2059 h 13403"/>
                <a:gd name="connsiteX36" fmla="*/ 10348 w 10348"/>
                <a:gd name="connsiteY36" fmla="*/ 1765 h 13403"/>
                <a:gd name="connsiteX37" fmla="*/ 9913 w 10348"/>
                <a:gd name="connsiteY37" fmla="*/ 882 h 13403"/>
                <a:gd name="connsiteX38" fmla="*/ 9574 w 10348"/>
                <a:gd name="connsiteY38" fmla="*/ 329 h 13403"/>
                <a:gd name="connsiteX0" fmla="*/ 9574 w 10348"/>
                <a:gd name="connsiteY0" fmla="*/ 329 h 13403"/>
                <a:gd name="connsiteX1" fmla="*/ 8609 w 10348"/>
                <a:gd name="connsiteY1" fmla="*/ 1176 h 13403"/>
                <a:gd name="connsiteX2" fmla="*/ 7957 w 10348"/>
                <a:gd name="connsiteY2" fmla="*/ 1176 h 13403"/>
                <a:gd name="connsiteX3" fmla="*/ 7739 w 10348"/>
                <a:gd name="connsiteY3" fmla="*/ 294 h 13403"/>
                <a:gd name="connsiteX4" fmla="*/ 7522 w 10348"/>
                <a:gd name="connsiteY4" fmla="*/ 0 h 13403"/>
                <a:gd name="connsiteX5" fmla="*/ 6870 w 10348"/>
                <a:gd name="connsiteY5" fmla="*/ 882 h 13403"/>
                <a:gd name="connsiteX6" fmla="*/ 6435 w 10348"/>
                <a:gd name="connsiteY6" fmla="*/ 1471 h 13403"/>
                <a:gd name="connsiteX7" fmla="*/ 5604 w 10348"/>
                <a:gd name="connsiteY7" fmla="*/ 1160 h 13403"/>
                <a:gd name="connsiteX8" fmla="*/ 5131 w 10348"/>
                <a:gd name="connsiteY8" fmla="*/ 1176 h 13403"/>
                <a:gd name="connsiteX9" fmla="*/ 4478 w 10348"/>
                <a:gd name="connsiteY9" fmla="*/ 1176 h 13403"/>
                <a:gd name="connsiteX10" fmla="*/ 3609 w 10348"/>
                <a:gd name="connsiteY10" fmla="*/ 882 h 13403"/>
                <a:gd name="connsiteX11" fmla="*/ 3391 w 10348"/>
                <a:gd name="connsiteY11" fmla="*/ 2353 h 13403"/>
                <a:gd name="connsiteX12" fmla="*/ 2305 w 10348"/>
                <a:gd name="connsiteY12" fmla="*/ 2941 h 13403"/>
                <a:gd name="connsiteX13" fmla="*/ 1870 w 10348"/>
                <a:gd name="connsiteY13" fmla="*/ 3529 h 13403"/>
                <a:gd name="connsiteX14" fmla="*/ 1218 w 10348"/>
                <a:gd name="connsiteY14" fmla="*/ 3235 h 13403"/>
                <a:gd name="connsiteX15" fmla="*/ 574 w 10348"/>
                <a:gd name="connsiteY15" fmla="*/ 2846 h 13403"/>
                <a:gd name="connsiteX16" fmla="*/ 356 w 10348"/>
                <a:gd name="connsiteY16" fmla="*/ 4706 h 13403"/>
                <a:gd name="connsiteX17" fmla="*/ 348 w 10348"/>
                <a:gd name="connsiteY17" fmla="*/ 5882 h 13403"/>
                <a:gd name="connsiteX18" fmla="*/ 0 w 10348"/>
                <a:gd name="connsiteY18" fmla="*/ 7734 h 13403"/>
                <a:gd name="connsiteX19" fmla="*/ 800 w 10348"/>
                <a:gd name="connsiteY19" fmla="*/ 8417 h 13403"/>
                <a:gd name="connsiteX20" fmla="*/ 783 w 10348"/>
                <a:gd name="connsiteY20" fmla="*/ 9706 h 13403"/>
                <a:gd name="connsiteX21" fmla="*/ 472 w 10348"/>
                <a:gd name="connsiteY21" fmla="*/ 10621 h 13403"/>
                <a:gd name="connsiteX22" fmla="*/ 1156 w 10348"/>
                <a:gd name="connsiteY22" fmla="*/ 10204 h 13403"/>
                <a:gd name="connsiteX23" fmla="*/ 2017 w 10348"/>
                <a:gd name="connsiteY23" fmla="*/ 9826 h 13403"/>
                <a:gd name="connsiteX24" fmla="*/ 2816 w 10348"/>
                <a:gd name="connsiteY24" fmla="*/ 9816 h 13403"/>
                <a:gd name="connsiteX25" fmla="*/ 4016 w 10348"/>
                <a:gd name="connsiteY25" fmla="*/ 10843 h 13403"/>
                <a:gd name="connsiteX26" fmla="*/ 5469 w 10348"/>
                <a:gd name="connsiteY26" fmla="*/ 11830 h 13403"/>
                <a:gd name="connsiteX27" fmla="*/ 5478 w 10348"/>
                <a:gd name="connsiteY27" fmla="*/ 12764 h 13403"/>
                <a:gd name="connsiteX28" fmla="*/ 6829 w 10348"/>
                <a:gd name="connsiteY28" fmla="*/ 13402 h 13403"/>
                <a:gd name="connsiteX29" fmla="*/ 7923 w 10348"/>
                <a:gd name="connsiteY29" fmla="*/ 12582 h 13403"/>
                <a:gd name="connsiteX30" fmla="*/ 8561 w 10348"/>
                <a:gd name="connsiteY30" fmla="*/ 11933 h 13403"/>
                <a:gd name="connsiteX31" fmla="*/ 7969 w 10348"/>
                <a:gd name="connsiteY31" fmla="*/ 6078 h 13403"/>
                <a:gd name="connsiteX32" fmla="*/ 8619 w 10348"/>
                <a:gd name="connsiteY32" fmla="*/ 4935 h 13403"/>
                <a:gd name="connsiteX33" fmla="*/ 8743 w 10348"/>
                <a:gd name="connsiteY33" fmla="*/ 4248 h 13403"/>
                <a:gd name="connsiteX34" fmla="*/ 9173 w 10348"/>
                <a:gd name="connsiteY34" fmla="*/ 3203 h 13403"/>
                <a:gd name="connsiteX35" fmla="*/ 8826 w 10348"/>
                <a:gd name="connsiteY35" fmla="*/ 2059 h 13403"/>
                <a:gd name="connsiteX36" fmla="*/ 10348 w 10348"/>
                <a:gd name="connsiteY36" fmla="*/ 1765 h 13403"/>
                <a:gd name="connsiteX37" fmla="*/ 9913 w 10348"/>
                <a:gd name="connsiteY37" fmla="*/ 882 h 13403"/>
                <a:gd name="connsiteX38" fmla="*/ 9574 w 10348"/>
                <a:gd name="connsiteY38" fmla="*/ 329 h 13403"/>
                <a:gd name="connsiteX0" fmla="*/ 9574 w 10348"/>
                <a:gd name="connsiteY0" fmla="*/ 329 h 13403"/>
                <a:gd name="connsiteX1" fmla="*/ 8609 w 10348"/>
                <a:gd name="connsiteY1" fmla="*/ 1176 h 13403"/>
                <a:gd name="connsiteX2" fmla="*/ 7957 w 10348"/>
                <a:gd name="connsiteY2" fmla="*/ 1176 h 13403"/>
                <a:gd name="connsiteX3" fmla="*/ 7739 w 10348"/>
                <a:gd name="connsiteY3" fmla="*/ 294 h 13403"/>
                <a:gd name="connsiteX4" fmla="*/ 7522 w 10348"/>
                <a:gd name="connsiteY4" fmla="*/ 0 h 13403"/>
                <a:gd name="connsiteX5" fmla="*/ 6870 w 10348"/>
                <a:gd name="connsiteY5" fmla="*/ 882 h 13403"/>
                <a:gd name="connsiteX6" fmla="*/ 6435 w 10348"/>
                <a:gd name="connsiteY6" fmla="*/ 1471 h 13403"/>
                <a:gd name="connsiteX7" fmla="*/ 5604 w 10348"/>
                <a:gd name="connsiteY7" fmla="*/ 1160 h 13403"/>
                <a:gd name="connsiteX8" fmla="*/ 5131 w 10348"/>
                <a:gd name="connsiteY8" fmla="*/ 1176 h 13403"/>
                <a:gd name="connsiteX9" fmla="*/ 4478 w 10348"/>
                <a:gd name="connsiteY9" fmla="*/ 1176 h 13403"/>
                <a:gd name="connsiteX10" fmla="*/ 3609 w 10348"/>
                <a:gd name="connsiteY10" fmla="*/ 882 h 13403"/>
                <a:gd name="connsiteX11" fmla="*/ 3391 w 10348"/>
                <a:gd name="connsiteY11" fmla="*/ 2353 h 13403"/>
                <a:gd name="connsiteX12" fmla="*/ 2305 w 10348"/>
                <a:gd name="connsiteY12" fmla="*/ 2941 h 13403"/>
                <a:gd name="connsiteX13" fmla="*/ 1870 w 10348"/>
                <a:gd name="connsiteY13" fmla="*/ 3529 h 13403"/>
                <a:gd name="connsiteX14" fmla="*/ 1218 w 10348"/>
                <a:gd name="connsiteY14" fmla="*/ 3235 h 13403"/>
                <a:gd name="connsiteX15" fmla="*/ 574 w 10348"/>
                <a:gd name="connsiteY15" fmla="*/ 2846 h 13403"/>
                <a:gd name="connsiteX16" fmla="*/ 356 w 10348"/>
                <a:gd name="connsiteY16" fmla="*/ 4706 h 13403"/>
                <a:gd name="connsiteX17" fmla="*/ 348 w 10348"/>
                <a:gd name="connsiteY17" fmla="*/ 5882 h 13403"/>
                <a:gd name="connsiteX18" fmla="*/ 0 w 10348"/>
                <a:gd name="connsiteY18" fmla="*/ 7734 h 13403"/>
                <a:gd name="connsiteX19" fmla="*/ 800 w 10348"/>
                <a:gd name="connsiteY19" fmla="*/ 8417 h 13403"/>
                <a:gd name="connsiteX20" fmla="*/ 783 w 10348"/>
                <a:gd name="connsiteY20" fmla="*/ 9706 h 13403"/>
                <a:gd name="connsiteX21" fmla="*/ 472 w 10348"/>
                <a:gd name="connsiteY21" fmla="*/ 10621 h 13403"/>
                <a:gd name="connsiteX22" fmla="*/ 1156 w 10348"/>
                <a:gd name="connsiteY22" fmla="*/ 10204 h 13403"/>
                <a:gd name="connsiteX23" fmla="*/ 2017 w 10348"/>
                <a:gd name="connsiteY23" fmla="*/ 9826 h 13403"/>
                <a:gd name="connsiteX24" fmla="*/ 2816 w 10348"/>
                <a:gd name="connsiteY24" fmla="*/ 9816 h 13403"/>
                <a:gd name="connsiteX25" fmla="*/ 4016 w 10348"/>
                <a:gd name="connsiteY25" fmla="*/ 10843 h 13403"/>
                <a:gd name="connsiteX26" fmla="*/ 5469 w 10348"/>
                <a:gd name="connsiteY26" fmla="*/ 11830 h 13403"/>
                <a:gd name="connsiteX27" fmla="*/ 5478 w 10348"/>
                <a:gd name="connsiteY27" fmla="*/ 12764 h 13403"/>
                <a:gd name="connsiteX28" fmla="*/ 6829 w 10348"/>
                <a:gd name="connsiteY28" fmla="*/ 13402 h 13403"/>
                <a:gd name="connsiteX29" fmla="*/ 7923 w 10348"/>
                <a:gd name="connsiteY29" fmla="*/ 12582 h 13403"/>
                <a:gd name="connsiteX30" fmla="*/ 8561 w 10348"/>
                <a:gd name="connsiteY30" fmla="*/ 11933 h 13403"/>
                <a:gd name="connsiteX31" fmla="*/ 7969 w 10348"/>
                <a:gd name="connsiteY31" fmla="*/ 6078 h 13403"/>
                <a:gd name="connsiteX32" fmla="*/ 8619 w 10348"/>
                <a:gd name="connsiteY32" fmla="*/ 4935 h 13403"/>
                <a:gd name="connsiteX33" fmla="*/ 8743 w 10348"/>
                <a:gd name="connsiteY33" fmla="*/ 4248 h 13403"/>
                <a:gd name="connsiteX34" fmla="*/ 9173 w 10348"/>
                <a:gd name="connsiteY34" fmla="*/ 3203 h 13403"/>
                <a:gd name="connsiteX35" fmla="*/ 8826 w 10348"/>
                <a:gd name="connsiteY35" fmla="*/ 2059 h 13403"/>
                <a:gd name="connsiteX36" fmla="*/ 10348 w 10348"/>
                <a:gd name="connsiteY36" fmla="*/ 1765 h 13403"/>
                <a:gd name="connsiteX37" fmla="*/ 9913 w 10348"/>
                <a:gd name="connsiteY37" fmla="*/ 882 h 13403"/>
                <a:gd name="connsiteX38" fmla="*/ 9574 w 10348"/>
                <a:gd name="connsiteY38" fmla="*/ 329 h 13403"/>
                <a:gd name="connsiteX0" fmla="*/ 9574 w 10348"/>
                <a:gd name="connsiteY0" fmla="*/ 329 h 13403"/>
                <a:gd name="connsiteX1" fmla="*/ 8609 w 10348"/>
                <a:gd name="connsiteY1" fmla="*/ 1176 h 13403"/>
                <a:gd name="connsiteX2" fmla="*/ 7957 w 10348"/>
                <a:gd name="connsiteY2" fmla="*/ 1176 h 13403"/>
                <a:gd name="connsiteX3" fmla="*/ 7739 w 10348"/>
                <a:gd name="connsiteY3" fmla="*/ 294 h 13403"/>
                <a:gd name="connsiteX4" fmla="*/ 7522 w 10348"/>
                <a:gd name="connsiteY4" fmla="*/ 0 h 13403"/>
                <a:gd name="connsiteX5" fmla="*/ 6870 w 10348"/>
                <a:gd name="connsiteY5" fmla="*/ 882 h 13403"/>
                <a:gd name="connsiteX6" fmla="*/ 6435 w 10348"/>
                <a:gd name="connsiteY6" fmla="*/ 1471 h 13403"/>
                <a:gd name="connsiteX7" fmla="*/ 5604 w 10348"/>
                <a:gd name="connsiteY7" fmla="*/ 1160 h 13403"/>
                <a:gd name="connsiteX8" fmla="*/ 5131 w 10348"/>
                <a:gd name="connsiteY8" fmla="*/ 1176 h 13403"/>
                <a:gd name="connsiteX9" fmla="*/ 4478 w 10348"/>
                <a:gd name="connsiteY9" fmla="*/ 1176 h 13403"/>
                <a:gd name="connsiteX10" fmla="*/ 3609 w 10348"/>
                <a:gd name="connsiteY10" fmla="*/ 882 h 13403"/>
                <a:gd name="connsiteX11" fmla="*/ 3391 w 10348"/>
                <a:gd name="connsiteY11" fmla="*/ 2353 h 13403"/>
                <a:gd name="connsiteX12" fmla="*/ 2305 w 10348"/>
                <a:gd name="connsiteY12" fmla="*/ 2941 h 13403"/>
                <a:gd name="connsiteX13" fmla="*/ 1870 w 10348"/>
                <a:gd name="connsiteY13" fmla="*/ 3529 h 13403"/>
                <a:gd name="connsiteX14" fmla="*/ 1218 w 10348"/>
                <a:gd name="connsiteY14" fmla="*/ 3235 h 13403"/>
                <a:gd name="connsiteX15" fmla="*/ 574 w 10348"/>
                <a:gd name="connsiteY15" fmla="*/ 2846 h 13403"/>
                <a:gd name="connsiteX16" fmla="*/ 356 w 10348"/>
                <a:gd name="connsiteY16" fmla="*/ 4706 h 13403"/>
                <a:gd name="connsiteX17" fmla="*/ 348 w 10348"/>
                <a:gd name="connsiteY17" fmla="*/ 5882 h 13403"/>
                <a:gd name="connsiteX18" fmla="*/ 0 w 10348"/>
                <a:gd name="connsiteY18" fmla="*/ 7734 h 13403"/>
                <a:gd name="connsiteX19" fmla="*/ 800 w 10348"/>
                <a:gd name="connsiteY19" fmla="*/ 8417 h 13403"/>
                <a:gd name="connsiteX20" fmla="*/ 783 w 10348"/>
                <a:gd name="connsiteY20" fmla="*/ 9706 h 13403"/>
                <a:gd name="connsiteX21" fmla="*/ 472 w 10348"/>
                <a:gd name="connsiteY21" fmla="*/ 10621 h 13403"/>
                <a:gd name="connsiteX22" fmla="*/ 1156 w 10348"/>
                <a:gd name="connsiteY22" fmla="*/ 10204 h 13403"/>
                <a:gd name="connsiteX23" fmla="*/ 2017 w 10348"/>
                <a:gd name="connsiteY23" fmla="*/ 9826 h 13403"/>
                <a:gd name="connsiteX24" fmla="*/ 2816 w 10348"/>
                <a:gd name="connsiteY24" fmla="*/ 9816 h 13403"/>
                <a:gd name="connsiteX25" fmla="*/ 4016 w 10348"/>
                <a:gd name="connsiteY25" fmla="*/ 10843 h 13403"/>
                <a:gd name="connsiteX26" fmla="*/ 5469 w 10348"/>
                <a:gd name="connsiteY26" fmla="*/ 11830 h 13403"/>
                <a:gd name="connsiteX27" fmla="*/ 5478 w 10348"/>
                <a:gd name="connsiteY27" fmla="*/ 12764 h 13403"/>
                <a:gd name="connsiteX28" fmla="*/ 6829 w 10348"/>
                <a:gd name="connsiteY28" fmla="*/ 13402 h 13403"/>
                <a:gd name="connsiteX29" fmla="*/ 7923 w 10348"/>
                <a:gd name="connsiteY29" fmla="*/ 12582 h 13403"/>
                <a:gd name="connsiteX30" fmla="*/ 8561 w 10348"/>
                <a:gd name="connsiteY30" fmla="*/ 11933 h 13403"/>
                <a:gd name="connsiteX31" fmla="*/ 8740 w 10348"/>
                <a:gd name="connsiteY31" fmla="*/ 10758 h 13403"/>
                <a:gd name="connsiteX32" fmla="*/ 7969 w 10348"/>
                <a:gd name="connsiteY32" fmla="*/ 6078 h 13403"/>
                <a:gd name="connsiteX33" fmla="*/ 8619 w 10348"/>
                <a:gd name="connsiteY33" fmla="*/ 4935 h 13403"/>
                <a:gd name="connsiteX34" fmla="*/ 8743 w 10348"/>
                <a:gd name="connsiteY34" fmla="*/ 4248 h 13403"/>
                <a:gd name="connsiteX35" fmla="*/ 9173 w 10348"/>
                <a:gd name="connsiteY35" fmla="*/ 3203 h 13403"/>
                <a:gd name="connsiteX36" fmla="*/ 8826 w 10348"/>
                <a:gd name="connsiteY36" fmla="*/ 2059 h 13403"/>
                <a:gd name="connsiteX37" fmla="*/ 10348 w 10348"/>
                <a:gd name="connsiteY37" fmla="*/ 1765 h 13403"/>
                <a:gd name="connsiteX38" fmla="*/ 9913 w 10348"/>
                <a:gd name="connsiteY38" fmla="*/ 882 h 13403"/>
                <a:gd name="connsiteX39" fmla="*/ 9574 w 10348"/>
                <a:gd name="connsiteY39" fmla="*/ 329 h 13403"/>
                <a:gd name="connsiteX0" fmla="*/ 9574 w 10348"/>
                <a:gd name="connsiteY0" fmla="*/ 329 h 13403"/>
                <a:gd name="connsiteX1" fmla="*/ 8609 w 10348"/>
                <a:gd name="connsiteY1" fmla="*/ 1176 h 13403"/>
                <a:gd name="connsiteX2" fmla="*/ 7957 w 10348"/>
                <a:gd name="connsiteY2" fmla="*/ 1176 h 13403"/>
                <a:gd name="connsiteX3" fmla="*/ 7739 w 10348"/>
                <a:gd name="connsiteY3" fmla="*/ 294 h 13403"/>
                <a:gd name="connsiteX4" fmla="*/ 7522 w 10348"/>
                <a:gd name="connsiteY4" fmla="*/ 0 h 13403"/>
                <a:gd name="connsiteX5" fmla="*/ 6870 w 10348"/>
                <a:gd name="connsiteY5" fmla="*/ 882 h 13403"/>
                <a:gd name="connsiteX6" fmla="*/ 6435 w 10348"/>
                <a:gd name="connsiteY6" fmla="*/ 1471 h 13403"/>
                <a:gd name="connsiteX7" fmla="*/ 5604 w 10348"/>
                <a:gd name="connsiteY7" fmla="*/ 1160 h 13403"/>
                <a:gd name="connsiteX8" fmla="*/ 5131 w 10348"/>
                <a:gd name="connsiteY8" fmla="*/ 1176 h 13403"/>
                <a:gd name="connsiteX9" fmla="*/ 4478 w 10348"/>
                <a:gd name="connsiteY9" fmla="*/ 1176 h 13403"/>
                <a:gd name="connsiteX10" fmla="*/ 3609 w 10348"/>
                <a:gd name="connsiteY10" fmla="*/ 882 h 13403"/>
                <a:gd name="connsiteX11" fmla="*/ 3391 w 10348"/>
                <a:gd name="connsiteY11" fmla="*/ 2353 h 13403"/>
                <a:gd name="connsiteX12" fmla="*/ 2305 w 10348"/>
                <a:gd name="connsiteY12" fmla="*/ 2941 h 13403"/>
                <a:gd name="connsiteX13" fmla="*/ 1870 w 10348"/>
                <a:gd name="connsiteY13" fmla="*/ 3529 h 13403"/>
                <a:gd name="connsiteX14" fmla="*/ 1218 w 10348"/>
                <a:gd name="connsiteY14" fmla="*/ 3235 h 13403"/>
                <a:gd name="connsiteX15" fmla="*/ 574 w 10348"/>
                <a:gd name="connsiteY15" fmla="*/ 2846 h 13403"/>
                <a:gd name="connsiteX16" fmla="*/ 356 w 10348"/>
                <a:gd name="connsiteY16" fmla="*/ 4706 h 13403"/>
                <a:gd name="connsiteX17" fmla="*/ 348 w 10348"/>
                <a:gd name="connsiteY17" fmla="*/ 5882 h 13403"/>
                <a:gd name="connsiteX18" fmla="*/ 0 w 10348"/>
                <a:gd name="connsiteY18" fmla="*/ 7734 h 13403"/>
                <a:gd name="connsiteX19" fmla="*/ 800 w 10348"/>
                <a:gd name="connsiteY19" fmla="*/ 8417 h 13403"/>
                <a:gd name="connsiteX20" fmla="*/ 783 w 10348"/>
                <a:gd name="connsiteY20" fmla="*/ 9706 h 13403"/>
                <a:gd name="connsiteX21" fmla="*/ 472 w 10348"/>
                <a:gd name="connsiteY21" fmla="*/ 10621 h 13403"/>
                <a:gd name="connsiteX22" fmla="*/ 1156 w 10348"/>
                <a:gd name="connsiteY22" fmla="*/ 10204 h 13403"/>
                <a:gd name="connsiteX23" fmla="*/ 2017 w 10348"/>
                <a:gd name="connsiteY23" fmla="*/ 9826 h 13403"/>
                <a:gd name="connsiteX24" fmla="*/ 2816 w 10348"/>
                <a:gd name="connsiteY24" fmla="*/ 9816 h 13403"/>
                <a:gd name="connsiteX25" fmla="*/ 4016 w 10348"/>
                <a:gd name="connsiteY25" fmla="*/ 10843 h 13403"/>
                <a:gd name="connsiteX26" fmla="*/ 5469 w 10348"/>
                <a:gd name="connsiteY26" fmla="*/ 11830 h 13403"/>
                <a:gd name="connsiteX27" fmla="*/ 5478 w 10348"/>
                <a:gd name="connsiteY27" fmla="*/ 12764 h 13403"/>
                <a:gd name="connsiteX28" fmla="*/ 6829 w 10348"/>
                <a:gd name="connsiteY28" fmla="*/ 13402 h 13403"/>
                <a:gd name="connsiteX29" fmla="*/ 7923 w 10348"/>
                <a:gd name="connsiteY29" fmla="*/ 12582 h 13403"/>
                <a:gd name="connsiteX30" fmla="*/ 8561 w 10348"/>
                <a:gd name="connsiteY30" fmla="*/ 11933 h 13403"/>
                <a:gd name="connsiteX31" fmla="*/ 8740 w 10348"/>
                <a:gd name="connsiteY31" fmla="*/ 10758 h 13403"/>
                <a:gd name="connsiteX32" fmla="*/ 7969 w 10348"/>
                <a:gd name="connsiteY32" fmla="*/ 6078 h 13403"/>
                <a:gd name="connsiteX33" fmla="*/ 8619 w 10348"/>
                <a:gd name="connsiteY33" fmla="*/ 4935 h 13403"/>
                <a:gd name="connsiteX34" fmla="*/ 8743 w 10348"/>
                <a:gd name="connsiteY34" fmla="*/ 4248 h 13403"/>
                <a:gd name="connsiteX35" fmla="*/ 9173 w 10348"/>
                <a:gd name="connsiteY35" fmla="*/ 3203 h 13403"/>
                <a:gd name="connsiteX36" fmla="*/ 8826 w 10348"/>
                <a:gd name="connsiteY36" fmla="*/ 2059 h 13403"/>
                <a:gd name="connsiteX37" fmla="*/ 10348 w 10348"/>
                <a:gd name="connsiteY37" fmla="*/ 1765 h 13403"/>
                <a:gd name="connsiteX38" fmla="*/ 9913 w 10348"/>
                <a:gd name="connsiteY38" fmla="*/ 882 h 13403"/>
                <a:gd name="connsiteX39" fmla="*/ 9574 w 10348"/>
                <a:gd name="connsiteY39" fmla="*/ 329 h 13403"/>
                <a:gd name="connsiteX0" fmla="*/ 9574 w 10348"/>
                <a:gd name="connsiteY0" fmla="*/ 329 h 13403"/>
                <a:gd name="connsiteX1" fmla="*/ 8609 w 10348"/>
                <a:gd name="connsiteY1" fmla="*/ 1176 h 13403"/>
                <a:gd name="connsiteX2" fmla="*/ 7957 w 10348"/>
                <a:gd name="connsiteY2" fmla="*/ 1176 h 13403"/>
                <a:gd name="connsiteX3" fmla="*/ 7739 w 10348"/>
                <a:gd name="connsiteY3" fmla="*/ 294 h 13403"/>
                <a:gd name="connsiteX4" fmla="*/ 7522 w 10348"/>
                <a:gd name="connsiteY4" fmla="*/ 0 h 13403"/>
                <a:gd name="connsiteX5" fmla="*/ 6870 w 10348"/>
                <a:gd name="connsiteY5" fmla="*/ 882 h 13403"/>
                <a:gd name="connsiteX6" fmla="*/ 6435 w 10348"/>
                <a:gd name="connsiteY6" fmla="*/ 1471 h 13403"/>
                <a:gd name="connsiteX7" fmla="*/ 5604 w 10348"/>
                <a:gd name="connsiteY7" fmla="*/ 1160 h 13403"/>
                <a:gd name="connsiteX8" fmla="*/ 5131 w 10348"/>
                <a:gd name="connsiteY8" fmla="*/ 1176 h 13403"/>
                <a:gd name="connsiteX9" fmla="*/ 4478 w 10348"/>
                <a:gd name="connsiteY9" fmla="*/ 1176 h 13403"/>
                <a:gd name="connsiteX10" fmla="*/ 3609 w 10348"/>
                <a:gd name="connsiteY10" fmla="*/ 882 h 13403"/>
                <a:gd name="connsiteX11" fmla="*/ 3391 w 10348"/>
                <a:gd name="connsiteY11" fmla="*/ 2353 h 13403"/>
                <a:gd name="connsiteX12" fmla="*/ 2305 w 10348"/>
                <a:gd name="connsiteY12" fmla="*/ 2941 h 13403"/>
                <a:gd name="connsiteX13" fmla="*/ 1870 w 10348"/>
                <a:gd name="connsiteY13" fmla="*/ 3529 h 13403"/>
                <a:gd name="connsiteX14" fmla="*/ 1218 w 10348"/>
                <a:gd name="connsiteY14" fmla="*/ 3235 h 13403"/>
                <a:gd name="connsiteX15" fmla="*/ 574 w 10348"/>
                <a:gd name="connsiteY15" fmla="*/ 2846 h 13403"/>
                <a:gd name="connsiteX16" fmla="*/ 356 w 10348"/>
                <a:gd name="connsiteY16" fmla="*/ 4706 h 13403"/>
                <a:gd name="connsiteX17" fmla="*/ 348 w 10348"/>
                <a:gd name="connsiteY17" fmla="*/ 5882 h 13403"/>
                <a:gd name="connsiteX18" fmla="*/ 0 w 10348"/>
                <a:gd name="connsiteY18" fmla="*/ 7734 h 13403"/>
                <a:gd name="connsiteX19" fmla="*/ 800 w 10348"/>
                <a:gd name="connsiteY19" fmla="*/ 8417 h 13403"/>
                <a:gd name="connsiteX20" fmla="*/ 783 w 10348"/>
                <a:gd name="connsiteY20" fmla="*/ 9706 h 13403"/>
                <a:gd name="connsiteX21" fmla="*/ 472 w 10348"/>
                <a:gd name="connsiteY21" fmla="*/ 10621 h 13403"/>
                <a:gd name="connsiteX22" fmla="*/ 1156 w 10348"/>
                <a:gd name="connsiteY22" fmla="*/ 10204 h 13403"/>
                <a:gd name="connsiteX23" fmla="*/ 2017 w 10348"/>
                <a:gd name="connsiteY23" fmla="*/ 9826 h 13403"/>
                <a:gd name="connsiteX24" fmla="*/ 2816 w 10348"/>
                <a:gd name="connsiteY24" fmla="*/ 9816 h 13403"/>
                <a:gd name="connsiteX25" fmla="*/ 4016 w 10348"/>
                <a:gd name="connsiteY25" fmla="*/ 10843 h 13403"/>
                <a:gd name="connsiteX26" fmla="*/ 5469 w 10348"/>
                <a:gd name="connsiteY26" fmla="*/ 11830 h 13403"/>
                <a:gd name="connsiteX27" fmla="*/ 5478 w 10348"/>
                <a:gd name="connsiteY27" fmla="*/ 12764 h 13403"/>
                <a:gd name="connsiteX28" fmla="*/ 6829 w 10348"/>
                <a:gd name="connsiteY28" fmla="*/ 13402 h 13403"/>
                <a:gd name="connsiteX29" fmla="*/ 7923 w 10348"/>
                <a:gd name="connsiteY29" fmla="*/ 12582 h 13403"/>
                <a:gd name="connsiteX30" fmla="*/ 8561 w 10348"/>
                <a:gd name="connsiteY30" fmla="*/ 11933 h 13403"/>
                <a:gd name="connsiteX31" fmla="*/ 8740 w 10348"/>
                <a:gd name="connsiteY31" fmla="*/ 10758 h 13403"/>
                <a:gd name="connsiteX32" fmla="*/ 7969 w 10348"/>
                <a:gd name="connsiteY32" fmla="*/ 6078 h 13403"/>
                <a:gd name="connsiteX33" fmla="*/ 8619 w 10348"/>
                <a:gd name="connsiteY33" fmla="*/ 4935 h 13403"/>
                <a:gd name="connsiteX34" fmla="*/ 8743 w 10348"/>
                <a:gd name="connsiteY34" fmla="*/ 4248 h 13403"/>
                <a:gd name="connsiteX35" fmla="*/ 9173 w 10348"/>
                <a:gd name="connsiteY35" fmla="*/ 3203 h 13403"/>
                <a:gd name="connsiteX36" fmla="*/ 8826 w 10348"/>
                <a:gd name="connsiteY36" fmla="*/ 2059 h 13403"/>
                <a:gd name="connsiteX37" fmla="*/ 10348 w 10348"/>
                <a:gd name="connsiteY37" fmla="*/ 1765 h 13403"/>
                <a:gd name="connsiteX38" fmla="*/ 9913 w 10348"/>
                <a:gd name="connsiteY38" fmla="*/ 882 h 13403"/>
                <a:gd name="connsiteX39" fmla="*/ 9574 w 10348"/>
                <a:gd name="connsiteY39" fmla="*/ 329 h 13403"/>
                <a:gd name="connsiteX0" fmla="*/ 9574 w 10348"/>
                <a:gd name="connsiteY0" fmla="*/ 329 h 13403"/>
                <a:gd name="connsiteX1" fmla="*/ 8609 w 10348"/>
                <a:gd name="connsiteY1" fmla="*/ 1176 h 13403"/>
                <a:gd name="connsiteX2" fmla="*/ 7957 w 10348"/>
                <a:gd name="connsiteY2" fmla="*/ 1176 h 13403"/>
                <a:gd name="connsiteX3" fmla="*/ 7739 w 10348"/>
                <a:gd name="connsiteY3" fmla="*/ 294 h 13403"/>
                <a:gd name="connsiteX4" fmla="*/ 7522 w 10348"/>
                <a:gd name="connsiteY4" fmla="*/ 0 h 13403"/>
                <a:gd name="connsiteX5" fmla="*/ 6870 w 10348"/>
                <a:gd name="connsiteY5" fmla="*/ 882 h 13403"/>
                <a:gd name="connsiteX6" fmla="*/ 6435 w 10348"/>
                <a:gd name="connsiteY6" fmla="*/ 1471 h 13403"/>
                <a:gd name="connsiteX7" fmla="*/ 5604 w 10348"/>
                <a:gd name="connsiteY7" fmla="*/ 1160 h 13403"/>
                <a:gd name="connsiteX8" fmla="*/ 5131 w 10348"/>
                <a:gd name="connsiteY8" fmla="*/ 1176 h 13403"/>
                <a:gd name="connsiteX9" fmla="*/ 4478 w 10348"/>
                <a:gd name="connsiteY9" fmla="*/ 1176 h 13403"/>
                <a:gd name="connsiteX10" fmla="*/ 3609 w 10348"/>
                <a:gd name="connsiteY10" fmla="*/ 882 h 13403"/>
                <a:gd name="connsiteX11" fmla="*/ 3391 w 10348"/>
                <a:gd name="connsiteY11" fmla="*/ 2353 h 13403"/>
                <a:gd name="connsiteX12" fmla="*/ 2305 w 10348"/>
                <a:gd name="connsiteY12" fmla="*/ 2941 h 13403"/>
                <a:gd name="connsiteX13" fmla="*/ 1870 w 10348"/>
                <a:gd name="connsiteY13" fmla="*/ 3529 h 13403"/>
                <a:gd name="connsiteX14" fmla="*/ 1218 w 10348"/>
                <a:gd name="connsiteY14" fmla="*/ 3235 h 13403"/>
                <a:gd name="connsiteX15" fmla="*/ 574 w 10348"/>
                <a:gd name="connsiteY15" fmla="*/ 2846 h 13403"/>
                <a:gd name="connsiteX16" fmla="*/ 356 w 10348"/>
                <a:gd name="connsiteY16" fmla="*/ 4706 h 13403"/>
                <a:gd name="connsiteX17" fmla="*/ 348 w 10348"/>
                <a:gd name="connsiteY17" fmla="*/ 5882 h 13403"/>
                <a:gd name="connsiteX18" fmla="*/ 0 w 10348"/>
                <a:gd name="connsiteY18" fmla="*/ 7734 h 13403"/>
                <a:gd name="connsiteX19" fmla="*/ 800 w 10348"/>
                <a:gd name="connsiteY19" fmla="*/ 8417 h 13403"/>
                <a:gd name="connsiteX20" fmla="*/ 783 w 10348"/>
                <a:gd name="connsiteY20" fmla="*/ 9706 h 13403"/>
                <a:gd name="connsiteX21" fmla="*/ 472 w 10348"/>
                <a:gd name="connsiteY21" fmla="*/ 10621 h 13403"/>
                <a:gd name="connsiteX22" fmla="*/ 1156 w 10348"/>
                <a:gd name="connsiteY22" fmla="*/ 10204 h 13403"/>
                <a:gd name="connsiteX23" fmla="*/ 2017 w 10348"/>
                <a:gd name="connsiteY23" fmla="*/ 9826 h 13403"/>
                <a:gd name="connsiteX24" fmla="*/ 2816 w 10348"/>
                <a:gd name="connsiteY24" fmla="*/ 9816 h 13403"/>
                <a:gd name="connsiteX25" fmla="*/ 4016 w 10348"/>
                <a:gd name="connsiteY25" fmla="*/ 10843 h 13403"/>
                <a:gd name="connsiteX26" fmla="*/ 5469 w 10348"/>
                <a:gd name="connsiteY26" fmla="*/ 11830 h 13403"/>
                <a:gd name="connsiteX27" fmla="*/ 5478 w 10348"/>
                <a:gd name="connsiteY27" fmla="*/ 12764 h 13403"/>
                <a:gd name="connsiteX28" fmla="*/ 6829 w 10348"/>
                <a:gd name="connsiteY28" fmla="*/ 13402 h 13403"/>
                <a:gd name="connsiteX29" fmla="*/ 7923 w 10348"/>
                <a:gd name="connsiteY29" fmla="*/ 12582 h 13403"/>
                <a:gd name="connsiteX30" fmla="*/ 8561 w 10348"/>
                <a:gd name="connsiteY30" fmla="*/ 11933 h 13403"/>
                <a:gd name="connsiteX31" fmla="*/ 8740 w 10348"/>
                <a:gd name="connsiteY31" fmla="*/ 10758 h 13403"/>
                <a:gd name="connsiteX32" fmla="*/ 9779 w 10348"/>
                <a:gd name="connsiteY32" fmla="*/ 10829 h 13403"/>
                <a:gd name="connsiteX33" fmla="*/ 8619 w 10348"/>
                <a:gd name="connsiteY33" fmla="*/ 4935 h 13403"/>
                <a:gd name="connsiteX34" fmla="*/ 8743 w 10348"/>
                <a:gd name="connsiteY34" fmla="*/ 4248 h 13403"/>
                <a:gd name="connsiteX35" fmla="*/ 9173 w 10348"/>
                <a:gd name="connsiteY35" fmla="*/ 3203 h 13403"/>
                <a:gd name="connsiteX36" fmla="*/ 8826 w 10348"/>
                <a:gd name="connsiteY36" fmla="*/ 2059 h 13403"/>
                <a:gd name="connsiteX37" fmla="*/ 10348 w 10348"/>
                <a:gd name="connsiteY37" fmla="*/ 1765 h 13403"/>
                <a:gd name="connsiteX38" fmla="*/ 9913 w 10348"/>
                <a:gd name="connsiteY38" fmla="*/ 882 h 13403"/>
                <a:gd name="connsiteX39" fmla="*/ 9574 w 10348"/>
                <a:gd name="connsiteY39" fmla="*/ 329 h 13403"/>
                <a:gd name="connsiteX0" fmla="*/ 9574 w 10348"/>
                <a:gd name="connsiteY0" fmla="*/ 329 h 13403"/>
                <a:gd name="connsiteX1" fmla="*/ 8609 w 10348"/>
                <a:gd name="connsiteY1" fmla="*/ 1176 h 13403"/>
                <a:gd name="connsiteX2" fmla="*/ 7957 w 10348"/>
                <a:gd name="connsiteY2" fmla="*/ 1176 h 13403"/>
                <a:gd name="connsiteX3" fmla="*/ 7739 w 10348"/>
                <a:gd name="connsiteY3" fmla="*/ 294 h 13403"/>
                <a:gd name="connsiteX4" fmla="*/ 7522 w 10348"/>
                <a:gd name="connsiteY4" fmla="*/ 0 h 13403"/>
                <a:gd name="connsiteX5" fmla="*/ 6870 w 10348"/>
                <a:gd name="connsiteY5" fmla="*/ 882 h 13403"/>
                <a:gd name="connsiteX6" fmla="*/ 6435 w 10348"/>
                <a:gd name="connsiteY6" fmla="*/ 1471 h 13403"/>
                <a:gd name="connsiteX7" fmla="*/ 5604 w 10348"/>
                <a:gd name="connsiteY7" fmla="*/ 1160 h 13403"/>
                <a:gd name="connsiteX8" fmla="*/ 5131 w 10348"/>
                <a:gd name="connsiteY8" fmla="*/ 1176 h 13403"/>
                <a:gd name="connsiteX9" fmla="*/ 4478 w 10348"/>
                <a:gd name="connsiteY9" fmla="*/ 1176 h 13403"/>
                <a:gd name="connsiteX10" fmla="*/ 3609 w 10348"/>
                <a:gd name="connsiteY10" fmla="*/ 882 h 13403"/>
                <a:gd name="connsiteX11" fmla="*/ 3391 w 10348"/>
                <a:gd name="connsiteY11" fmla="*/ 2353 h 13403"/>
                <a:gd name="connsiteX12" fmla="*/ 2305 w 10348"/>
                <a:gd name="connsiteY12" fmla="*/ 2941 h 13403"/>
                <a:gd name="connsiteX13" fmla="*/ 1870 w 10348"/>
                <a:gd name="connsiteY13" fmla="*/ 3529 h 13403"/>
                <a:gd name="connsiteX14" fmla="*/ 1218 w 10348"/>
                <a:gd name="connsiteY14" fmla="*/ 3235 h 13403"/>
                <a:gd name="connsiteX15" fmla="*/ 574 w 10348"/>
                <a:gd name="connsiteY15" fmla="*/ 2846 h 13403"/>
                <a:gd name="connsiteX16" fmla="*/ 356 w 10348"/>
                <a:gd name="connsiteY16" fmla="*/ 4706 h 13403"/>
                <a:gd name="connsiteX17" fmla="*/ 348 w 10348"/>
                <a:gd name="connsiteY17" fmla="*/ 5882 h 13403"/>
                <a:gd name="connsiteX18" fmla="*/ 0 w 10348"/>
                <a:gd name="connsiteY18" fmla="*/ 7734 h 13403"/>
                <a:gd name="connsiteX19" fmla="*/ 800 w 10348"/>
                <a:gd name="connsiteY19" fmla="*/ 8417 h 13403"/>
                <a:gd name="connsiteX20" fmla="*/ 783 w 10348"/>
                <a:gd name="connsiteY20" fmla="*/ 9706 h 13403"/>
                <a:gd name="connsiteX21" fmla="*/ 472 w 10348"/>
                <a:gd name="connsiteY21" fmla="*/ 10621 h 13403"/>
                <a:gd name="connsiteX22" fmla="*/ 1156 w 10348"/>
                <a:gd name="connsiteY22" fmla="*/ 10204 h 13403"/>
                <a:gd name="connsiteX23" fmla="*/ 2017 w 10348"/>
                <a:gd name="connsiteY23" fmla="*/ 9826 h 13403"/>
                <a:gd name="connsiteX24" fmla="*/ 2816 w 10348"/>
                <a:gd name="connsiteY24" fmla="*/ 9816 h 13403"/>
                <a:gd name="connsiteX25" fmla="*/ 4016 w 10348"/>
                <a:gd name="connsiteY25" fmla="*/ 10843 h 13403"/>
                <a:gd name="connsiteX26" fmla="*/ 5469 w 10348"/>
                <a:gd name="connsiteY26" fmla="*/ 11830 h 13403"/>
                <a:gd name="connsiteX27" fmla="*/ 5478 w 10348"/>
                <a:gd name="connsiteY27" fmla="*/ 12764 h 13403"/>
                <a:gd name="connsiteX28" fmla="*/ 6829 w 10348"/>
                <a:gd name="connsiteY28" fmla="*/ 13402 h 13403"/>
                <a:gd name="connsiteX29" fmla="*/ 7923 w 10348"/>
                <a:gd name="connsiteY29" fmla="*/ 12582 h 13403"/>
                <a:gd name="connsiteX30" fmla="*/ 8561 w 10348"/>
                <a:gd name="connsiteY30" fmla="*/ 11933 h 13403"/>
                <a:gd name="connsiteX31" fmla="*/ 8740 w 10348"/>
                <a:gd name="connsiteY31" fmla="*/ 10758 h 13403"/>
                <a:gd name="connsiteX32" fmla="*/ 9779 w 10348"/>
                <a:gd name="connsiteY32" fmla="*/ 10829 h 13403"/>
                <a:gd name="connsiteX33" fmla="*/ 8619 w 10348"/>
                <a:gd name="connsiteY33" fmla="*/ 4935 h 13403"/>
                <a:gd name="connsiteX34" fmla="*/ 8743 w 10348"/>
                <a:gd name="connsiteY34" fmla="*/ 4248 h 13403"/>
                <a:gd name="connsiteX35" fmla="*/ 9173 w 10348"/>
                <a:gd name="connsiteY35" fmla="*/ 3203 h 13403"/>
                <a:gd name="connsiteX36" fmla="*/ 8826 w 10348"/>
                <a:gd name="connsiteY36" fmla="*/ 2059 h 13403"/>
                <a:gd name="connsiteX37" fmla="*/ 10348 w 10348"/>
                <a:gd name="connsiteY37" fmla="*/ 1765 h 13403"/>
                <a:gd name="connsiteX38" fmla="*/ 9913 w 10348"/>
                <a:gd name="connsiteY38" fmla="*/ 882 h 13403"/>
                <a:gd name="connsiteX39" fmla="*/ 9574 w 10348"/>
                <a:gd name="connsiteY39" fmla="*/ 329 h 13403"/>
                <a:gd name="connsiteX0" fmla="*/ 9574 w 10348"/>
                <a:gd name="connsiteY0" fmla="*/ 329 h 13403"/>
                <a:gd name="connsiteX1" fmla="*/ 8609 w 10348"/>
                <a:gd name="connsiteY1" fmla="*/ 1176 h 13403"/>
                <a:gd name="connsiteX2" fmla="*/ 7957 w 10348"/>
                <a:gd name="connsiteY2" fmla="*/ 1176 h 13403"/>
                <a:gd name="connsiteX3" fmla="*/ 7739 w 10348"/>
                <a:gd name="connsiteY3" fmla="*/ 294 h 13403"/>
                <a:gd name="connsiteX4" fmla="*/ 7522 w 10348"/>
                <a:gd name="connsiteY4" fmla="*/ 0 h 13403"/>
                <a:gd name="connsiteX5" fmla="*/ 6870 w 10348"/>
                <a:gd name="connsiteY5" fmla="*/ 882 h 13403"/>
                <a:gd name="connsiteX6" fmla="*/ 6435 w 10348"/>
                <a:gd name="connsiteY6" fmla="*/ 1471 h 13403"/>
                <a:gd name="connsiteX7" fmla="*/ 5604 w 10348"/>
                <a:gd name="connsiteY7" fmla="*/ 1160 h 13403"/>
                <a:gd name="connsiteX8" fmla="*/ 5131 w 10348"/>
                <a:gd name="connsiteY8" fmla="*/ 1176 h 13403"/>
                <a:gd name="connsiteX9" fmla="*/ 4478 w 10348"/>
                <a:gd name="connsiteY9" fmla="*/ 1176 h 13403"/>
                <a:gd name="connsiteX10" fmla="*/ 3609 w 10348"/>
                <a:gd name="connsiteY10" fmla="*/ 882 h 13403"/>
                <a:gd name="connsiteX11" fmla="*/ 3391 w 10348"/>
                <a:gd name="connsiteY11" fmla="*/ 2353 h 13403"/>
                <a:gd name="connsiteX12" fmla="*/ 2305 w 10348"/>
                <a:gd name="connsiteY12" fmla="*/ 2941 h 13403"/>
                <a:gd name="connsiteX13" fmla="*/ 1870 w 10348"/>
                <a:gd name="connsiteY13" fmla="*/ 3529 h 13403"/>
                <a:gd name="connsiteX14" fmla="*/ 1218 w 10348"/>
                <a:gd name="connsiteY14" fmla="*/ 3235 h 13403"/>
                <a:gd name="connsiteX15" fmla="*/ 574 w 10348"/>
                <a:gd name="connsiteY15" fmla="*/ 2846 h 13403"/>
                <a:gd name="connsiteX16" fmla="*/ 356 w 10348"/>
                <a:gd name="connsiteY16" fmla="*/ 4706 h 13403"/>
                <a:gd name="connsiteX17" fmla="*/ 348 w 10348"/>
                <a:gd name="connsiteY17" fmla="*/ 5882 h 13403"/>
                <a:gd name="connsiteX18" fmla="*/ 0 w 10348"/>
                <a:gd name="connsiteY18" fmla="*/ 7734 h 13403"/>
                <a:gd name="connsiteX19" fmla="*/ 800 w 10348"/>
                <a:gd name="connsiteY19" fmla="*/ 8417 h 13403"/>
                <a:gd name="connsiteX20" fmla="*/ 783 w 10348"/>
                <a:gd name="connsiteY20" fmla="*/ 9706 h 13403"/>
                <a:gd name="connsiteX21" fmla="*/ 472 w 10348"/>
                <a:gd name="connsiteY21" fmla="*/ 10621 h 13403"/>
                <a:gd name="connsiteX22" fmla="*/ 1156 w 10348"/>
                <a:gd name="connsiteY22" fmla="*/ 10204 h 13403"/>
                <a:gd name="connsiteX23" fmla="*/ 2017 w 10348"/>
                <a:gd name="connsiteY23" fmla="*/ 9826 h 13403"/>
                <a:gd name="connsiteX24" fmla="*/ 2816 w 10348"/>
                <a:gd name="connsiteY24" fmla="*/ 9816 h 13403"/>
                <a:gd name="connsiteX25" fmla="*/ 4016 w 10348"/>
                <a:gd name="connsiteY25" fmla="*/ 10843 h 13403"/>
                <a:gd name="connsiteX26" fmla="*/ 5469 w 10348"/>
                <a:gd name="connsiteY26" fmla="*/ 11830 h 13403"/>
                <a:gd name="connsiteX27" fmla="*/ 5478 w 10348"/>
                <a:gd name="connsiteY27" fmla="*/ 12764 h 13403"/>
                <a:gd name="connsiteX28" fmla="*/ 6829 w 10348"/>
                <a:gd name="connsiteY28" fmla="*/ 13402 h 13403"/>
                <a:gd name="connsiteX29" fmla="*/ 7923 w 10348"/>
                <a:gd name="connsiteY29" fmla="*/ 12582 h 13403"/>
                <a:gd name="connsiteX30" fmla="*/ 8561 w 10348"/>
                <a:gd name="connsiteY30" fmla="*/ 11933 h 13403"/>
                <a:gd name="connsiteX31" fmla="*/ 8740 w 10348"/>
                <a:gd name="connsiteY31" fmla="*/ 10758 h 13403"/>
                <a:gd name="connsiteX32" fmla="*/ 9779 w 10348"/>
                <a:gd name="connsiteY32" fmla="*/ 10829 h 13403"/>
                <a:gd name="connsiteX33" fmla="*/ 9872 w 10348"/>
                <a:gd name="connsiteY33" fmla="*/ 9686 h 13403"/>
                <a:gd name="connsiteX34" fmla="*/ 8743 w 10348"/>
                <a:gd name="connsiteY34" fmla="*/ 4248 h 13403"/>
                <a:gd name="connsiteX35" fmla="*/ 9173 w 10348"/>
                <a:gd name="connsiteY35" fmla="*/ 3203 h 13403"/>
                <a:gd name="connsiteX36" fmla="*/ 8826 w 10348"/>
                <a:gd name="connsiteY36" fmla="*/ 2059 h 13403"/>
                <a:gd name="connsiteX37" fmla="*/ 10348 w 10348"/>
                <a:gd name="connsiteY37" fmla="*/ 1765 h 13403"/>
                <a:gd name="connsiteX38" fmla="*/ 9913 w 10348"/>
                <a:gd name="connsiteY38" fmla="*/ 882 h 13403"/>
                <a:gd name="connsiteX39" fmla="*/ 9574 w 10348"/>
                <a:gd name="connsiteY39" fmla="*/ 329 h 13403"/>
                <a:gd name="connsiteX0" fmla="*/ 9574 w 10348"/>
                <a:gd name="connsiteY0" fmla="*/ 329 h 13403"/>
                <a:gd name="connsiteX1" fmla="*/ 8609 w 10348"/>
                <a:gd name="connsiteY1" fmla="*/ 1176 h 13403"/>
                <a:gd name="connsiteX2" fmla="*/ 7957 w 10348"/>
                <a:gd name="connsiteY2" fmla="*/ 1176 h 13403"/>
                <a:gd name="connsiteX3" fmla="*/ 7739 w 10348"/>
                <a:gd name="connsiteY3" fmla="*/ 294 h 13403"/>
                <a:gd name="connsiteX4" fmla="*/ 7522 w 10348"/>
                <a:gd name="connsiteY4" fmla="*/ 0 h 13403"/>
                <a:gd name="connsiteX5" fmla="*/ 6870 w 10348"/>
                <a:gd name="connsiteY5" fmla="*/ 882 h 13403"/>
                <a:gd name="connsiteX6" fmla="*/ 6435 w 10348"/>
                <a:gd name="connsiteY6" fmla="*/ 1471 h 13403"/>
                <a:gd name="connsiteX7" fmla="*/ 5604 w 10348"/>
                <a:gd name="connsiteY7" fmla="*/ 1160 h 13403"/>
                <a:gd name="connsiteX8" fmla="*/ 5131 w 10348"/>
                <a:gd name="connsiteY8" fmla="*/ 1176 h 13403"/>
                <a:gd name="connsiteX9" fmla="*/ 4478 w 10348"/>
                <a:gd name="connsiteY9" fmla="*/ 1176 h 13403"/>
                <a:gd name="connsiteX10" fmla="*/ 3609 w 10348"/>
                <a:gd name="connsiteY10" fmla="*/ 882 h 13403"/>
                <a:gd name="connsiteX11" fmla="*/ 3391 w 10348"/>
                <a:gd name="connsiteY11" fmla="*/ 2353 h 13403"/>
                <a:gd name="connsiteX12" fmla="*/ 2305 w 10348"/>
                <a:gd name="connsiteY12" fmla="*/ 2941 h 13403"/>
                <a:gd name="connsiteX13" fmla="*/ 1870 w 10348"/>
                <a:gd name="connsiteY13" fmla="*/ 3529 h 13403"/>
                <a:gd name="connsiteX14" fmla="*/ 1218 w 10348"/>
                <a:gd name="connsiteY14" fmla="*/ 3235 h 13403"/>
                <a:gd name="connsiteX15" fmla="*/ 574 w 10348"/>
                <a:gd name="connsiteY15" fmla="*/ 2846 h 13403"/>
                <a:gd name="connsiteX16" fmla="*/ 356 w 10348"/>
                <a:gd name="connsiteY16" fmla="*/ 4706 h 13403"/>
                <a:gd name="connsiteX17" fmla="*/ 348 w 10348"/>
                <a:gd name="connsiteY17" fmla="*/ 5882 h 13403"/>
                <a:gd name="connsiteX18" fmla="*/ 0 w 10348"/>
                <a:gd name="connsiteY18" fmla="*/ 7734 h 13403"/>
                <a:gd name="connsiteX19" fmla="*/ 800 w 10348"/>
                <a:gd name="connsiteY19" fmla="*/ 8417 h 13403"/>
                <a:gd name="connsiteX20" fmla="*/ 783 w 10348"/>
                <a:gd name="connsiteY20" fmla="*/ 9706 h 13403"/>
                <a:gd name="connsiteX21" fmla="*/ 472 w 10348"/>
                <a:gd name="connsiteY21" fmla="*/ 10621 h 13403"/>
                <a:gd name="connsiteX22" fmla="*/ 1156 w 10348"/>
                <a:gd name="connsiteY22" fmla="*/ 10204 h 13403"/>
                <a:gd name="connsiteX23" fmla="*/ 2017 w 10348"/>
                <a:gd name="connsiteY23" fmla="*/ 9826 h 13403"/>
                <a:gd name="connsiteX24" fmla="*/ 2816 w 10348"/>
                <a:gd name="connsiteY24" fmla="*/ 9816 h 13403"/>
                <a:gd name="connsiteX25" fmla="*/ 4016 w 10348"/>
                <a:gd name="connsiteY25" fmla="*/ 10843 h 13403"/>
                <a:gd name="connsiteX26" fmla="*/ 5469 w 10348"/>
                <a:gd name="connsiteY26" fmla="*/ 11830 h 13403"/>
                <a:gd name="connsiteX27" fmla="*/ 5478 w 10348"/>
                <a:gd name="connsiteY27" fmla="*/ 12764 h 13403"/>
                <a:gd name="connsiteX28" fmla="*/ 6829 w 10348"/>
                <a:gd name="connsiteY28" fmla="*/ 13402 h 13403"/>
                <a:gd name="connsiteX29" fmla="*/ 7923 w 10348"/>
                <a:gd name="connsiteY29" fmla="*/ 12582 h 13403"/>
                <a:gd name="connsiteX30" fmla="*/ 8561 w 10348"/>
                <a:gd name="connsiteY30" fmla="*/ 11933 h 13403"/>
                <a:gd name="connsiteX31" fmla="*/ 8740 w 10348"/>
                <a:gd name="connsiteY31" fmla="*/ 10758 h 13403"/>
                <a:gd name="connsiteX32" fmla="*/ 9779 w 10348"/>
                <a:gd name="connsiteY32" fmla="*/ 10829 h 13403"/>
                <a:gd name="connsiteX33" fmla="*/ 9872 w 10348"/>
                <a:gd name="connsiteY33" fmla="*/ 9686 h 13403"/>
                <a:gd name="connsiteX34" fmla="*/ 8743 w 10348"/>
                <a:gd name="connsiteY34" fmla="*/ 4248 h 13403"/>
                <a:gd name="connsiteX35" fmla="*/ 9173 w 10348"/>
                <a:gd name="connsiteY35" fmla="*/ 3203 h 13403"/>
                <a:gd name="connsiteX36" fmla="*/ 8826 w 10348"/>
                <a:gd name="connsiteY36" fmla="*/ 2059 h 13403"/>
                <a:gd name="connsiteX37" fmla="*/ 10348 w 10348"/>
                <a:gd name="connsiteY37" fmla="*/ 1765 h 13403"/>
                <a:gd name="connsiteX38" fmla="*/ 9913 w 10348"/>
                <a:gd name="connsiteY38" fmla="*/ 882 h 13403"/>
                <a:gd name="connsiteX39" fmla="*/ 9574 w 10348"/>
                <a:gd name="connsiteY39" fmla="*/ 329 h 13403"/>
                <a:gd name="connsiteX0" fmla="*/ 9574 w 10348"/>
                <a:gd name="connsiteY0" fmla="*/ 329 h 13403"/>
                <a:gd name="connsiteX1" fmla="*/ 8609 w 10348"/>
                <a:gd name="connsiteY1" fmla="*/ 1176 h 13403"/>
                <a:gd name="connsiteX2" fmla="*/ 7957 w 10348"/>
                <a:gd name="connsiteY2" fmla="*/ 1176 h 13403"/>
                <a:gd name="connsiteX3" fmla="*/ 7739 w 10348"/>
                <a:gd name="connsiteY3" fmla="*/ 294 h 13403"/>
                <a:gd name="connsiteX4" fmla="*/ 7522 w 10348"/>
                <a:gd name="connsiteY4" fmla="*/ 0 h 13403"/>
                <a:gd name="connsiteX5" fmla="*/ 6870 w 10348"/>
                <a:gd name="connsiteY5" fmla="*/ 882 h 13403"/>
                <a:gd name="connsiteX6" fmla="*/ 6435 w 10348"/>
                <a:gd name="connsiteY6" fmla="*/ 1471 h 13403"/>
                <a:gd name="connsiteX7" fmla="*/ 5604 w 10348"/>
                <a:gd name="connsiteY7" fmla="*/ 1160 h 13403"/>
                <a:gd name="connsiteX8" fmla="*/ 5131 w 10348"/>
                <a:gd name="connsiteY8" fmla="*/ 1176 h 13403"/>
                <a:gd name="connsiteX9" fmla="*/ 4478 w 10348"/>
                <a:gd name="connsiteY9" fmla="*/ 1176 h 13403"/>
                <a:gd name="connsiteX10" fmla="*/ 3609 w 10348"/>
                <a:gd name="connsiteY10" fmla="*/ 882 h 13403"/>
                <a:gd name="connsiteX11" fmla="*/ 3391 w 10348"/>
                <a:gd name="connsiteY11" fmla="*/ 2353 h 13403"/>
                <a:gd name="connsiteX12" fmla="*/ 2305 w 10348"/>
                <a:gd name="connsiteY12" fmla="*/ 2941 h 13403"/>
                <a:gd name="connsiteX13" fmla="*/ 1870 w 10348"/>
                <a:gd name="connsiteY13" fmla="*/ 3529 h 13403"/>
                <a:gd name="connsiteX14" fmla="*/ 1218 w 10348"/>
                <a:gd name="connsiteY14" fmla="*/ 3235 h 13403"/>
                <a:gd name="connsiteX15" fmla="*/ 574 w 10348"/>
                <a:gd name="connsiteY15" fmla="*/ 2846 h 13403"/>
                <a:gd name="connsiteX16" fmla="*/ 356 w 10348"/>
                <a:gd name="connsiteY16" fmla="*/ 4706 h 13403"/>
                <a:gd name="connsiteX17" fmla="*/ 348 w 10348"/>
                <a:gd name="connsiteY17" fmla="*/ 5882 h 13403"/>
                <a:gd name="connsiteX18" fmla="*/ 0 w 10348"/>
                <a:gd name="connsiteY18" fmla="*/ 7734 h 13403"/>
                <a:gd name="connsiteX19" fmla="*/ 800 w 10348"/>
                <a:gd name="connsiteY19" fmla="*/ 8417 h 13403"/>
                <a:gd name="connsiteX20" fmla="*/ 783 w 10348"/>
                <a:gd name="connsiteY20" fmla="*/ 9706 h 13403"/>
                <a:gd name="connsiteX21" fmla="*/ 472 w 10348"/>
                <a:gd name="connsiteY21" fmla="*/ 10621 h 13403"/>
                <a:gd name="connsiteX22" fmla="*/ 1156 w 10348"/>
                <a:gd name="connsiteY22" fmla="*/ 10204 h 13403"/>
                <a:gd name="connsiteX23" fmla="*/ 2017 w 10348"/>
                <a:gd name="connsiteY23" fmla="*/ 9826 h 13403"/>
                <a:gd name="connsiteX24" fmla="*/ 2816 w 10348"/>
                <a:gd name="connsiteY24" fmla="*/ 9816 h 13403"/>
                <a:gd name="connsiteX25" fmla="*/ 4016 w 10348"/>
                <a:gd name="connsiteY25" fmla="*/ 10843 h 13403"/>
                <a:gd name="connsiteX26" fmla="*/ 5469 w 10348"/>
                <a:gd name="connsiteY26" fmla="*/ 11830 h 13403"/>
                <a:gd name="connsiteX27" fmla="*/ 5478 w 10348"/>
                <a:gd name="connsiteY27" fmla="*/ 12764 h 13403"/>
                <a:gd name="connsiteX28" fmla="*/ 6829 w 10348"/>
                <a:gd name="connsiteY28" fmla="*/ 13402 h 13403"/>
                <a:gd name="connsiteX29" fmla="*/ 7923 w 10348"/>
                <a:gd name="connsiteY29" fmla="*/ 12582 h 13403"/>
                <a:gd name="connsiteX30" fmla="*/ 8561 w 10348"/>
                <a:gd name="connsiteY30" fmla="*/ 11933 h 13403"/>
                <a:gd name="connsiteX31" fmla="*/ 8740 w 10348"/>
                <a:gd name="connsiteY31" fmla="*/ 10758 h 13403"/>
                <a:gd name="connsiteX32" fmla="*/ 9779 w 10348"/>
                <a:gd name="connsiteY32" fmla="*/ 10829 h 13403"/>
                <a:gd name="connsiteX33" fmla="*/ 9872 w 10348"/>
                <a:gd name="connsiteY33" fmla="*/ 9686 h 13403"/>
                <a:gd name="connsiteX34" fmla="*/ 7003 w 10348"/>
                <a:gd name="connsiteY34" fmla="*/ 7157 h 13403"/>
                <a:gd name="connsiteX35" fmla="*/ 9173 w 10348"/>
                <a:gd name="connsiteY35" fmla="*/ 3203 h 13403"/>
                <a:gd name="connsiteX36" fmla="*/ 8826 w 10348"/>
                <a:gd name="connsiteY36" fmla="*/ 2059 h 13403"/>
                <a:gd name="connsiteX37" fmla="*/ 10348 w 10348"/>
                <a:gd name="connsiteY37" fmla="*/ 1765 h 13403"/>
                <a:gd name="connsiteX38" fmla="*/ 9913 w 10348"/>
                <a:gd name="connsiteY38" fmla="*/ 882 h 13403"/>
                <a:gd name="connsiteX39" fmla="*/ 9574 w 10348"/>
                <a:gd name="connsiteY39" fmla="*/ 329 h 13403"/>
                <a:gd name="connsiteX0" fmla="*/ 9574 w 10348"/>
                <a:gd name="connsiteY0" fmla="*/ 329 h 13403"/>
                <a:gd name="connsiteX1" fmla="*/ 8609 w 10348"/>
                <a:gd name="connsiteY1" fmla="*/ 1176 h 13403"/>
                <a:gd name="connsiteX2" fmla="*/ 7957 w 10348"/>
                <a:gd name="connsiteY2" fmla="*/ 1176 h 13403"/>
                <a:gd name="connsiteX3" fmla="*/ 7739 w 10348"/>
                <a:gd name="connsiteY3" fmla="*/ 294 h 13403"/>
                <a:gd name="connsiteX4" fmla="*/ 7522 w 10348"/>
                <a:gd name="connsiteY4" fmla="*/ 0 h 13403"/>
                <a:gd name="connsiteX5" fmla="*/ 6870 w 10348"/>
                <a:gd name="connsiteY5" fmla="*/ 882 h 13403"/>
                <a:gd name="connsiteX6" fmla="*/ 6435 w 10348"/>
                <a:gd name="connsiteY6" fmla="*/ 1471 h 13403"/>
                <a:gd name="connsiteX7" fmla="*/ 5604 w 10348"/>
                <a:gd name="connsiteY7" fmla="*/ 1160 h 13403"/>
                <a:gd name="connsiteX8" fmla="*/ 5131 w 10348"/>
                <a:gd name="connsiteY8" fmla="*/ 1176 h 13403"/>
                <a:gd name="connsiteX9" fmla="*/ 4478 w 10348"/>
                <a:gd name="connsiteY9" fmla="*/ 1176 h 13403"/>
                <a:gd name="connsiteX10" fmla="*/ 3609 w 10348"/>
                <a:gd name="connsiteY10" fmla="*/ 882 h 13403"/>
                <a:gd name="connsiteX11" fmla="*/ 3391 w 10348"/>
                <a:gd name="connsiteY11" fmla="*/ 2353 h 13403"/>
                <a:gd name="connsiteX12" fmla="*/ 2305 w 10348"/>
                <a:gd name="connsiteY12" fmla="*/ 2941 h 13403"/>
                <a:gd name="connsiteX13" fmla="*/ 1870 w 10348"/>
                <a:gd name="connsiteY13" fmla="*/ 3529 h 13403"/>
                <a:gd name="connsiteX14" fmla="*/ 1218 w 10348"/>
                <a:gd name="connsiteY14" fmla="*/ 3235 h 13403"/>
                <a:gd name="connsiteX15" fmla="*/ 574 w 10348"/>
                <a:gd name="connsiteY15" fmla="*/ 2846 h 13403"/>
                <a:gd name="connsiteX16" fmla="*/ 356 w 10348"/>
                <a:gd name="connsiteY16" fmla="*/ 4706 h 13403"/>
                <a:gd name="connsiteX17" fmla="*/ 348 w 10348"/>
                <a:gd name="connsiteY17" fmla="*/ 5882 h 13403"/>
                <a:gd name="connsiteX18" fmla="*/ 0 w 10348"/>
                <a:gd name="connsiteY18" fmla="*/ 7734 h 13403"/>
                <a:gd name="connsiteX19" fmla="*/ 800 w 10348"/>
                <a:gd name="connsiteY19" fmla="*/ 8417 h 13403"/>
                <a:gd name="connsiteX20" fmla="*/ 783 w 10348"/>
                <a:gd name="connsiteY20" fmla="*/ 9706 h 13403"/>
                <a:gd name="connsiteX21" fmla="*/ 472 w 10348"/>
                <a:gd name="connsiteY21" fmla="*/ 10621 h 13403"/>
                <a:gd name="connsiteX22" fmla="*/ 1156 w 10348"/>
                <a:gd name="connsiteY22" fmla="*/ 10204 h 13403"/>
                <a:gd name="connsiteX23" fmla="*/ 2017 w 10348"/>
                <a:gd name="connsiteY23" fmla="*/ 9826 h 13403"/>
                <a:gd name="connsiteX24" fmla="*/ 2816 w 10348"/>
                <a:gd name="connsiteY24" fmla="*/ 9816 h 13403"/>
                <a:gd name="connsiteX25" fmla="*/ 4016 w 10348"/>
                <a:gd name="connsiteY25" fmla="*/ 10843 h 13403"/>
                <a:gd name="connsiteX26" fmla="*/ 5469 w 10348"/>
                <a:gd name="connsiteY26" fmla="*/ 11830 h 13403"/>
                <a:gd name="connsiteX27" fmla="*/ 5478 w 10348"/>
                <a:gd name="connsiteY27" fmla="*/ 12764 h 13403"/>
                <a:gd name="connsiteX28" fmla="*/ 6829 w 10348"/>
                <a:gd name="connsiteY28" fmla="*/ 13402 h 13403"/>
                <a:gd name="connsiteX29" fmla="*/ 7923 w 10348"/>
                <a:gd name="connsiteY29" fmla="*/ 12582 h 13403"/>
                <a:gd name="connsiteX30" fmla="*/ 8561 w 10348"/>
                <a:gd name="connsiteY30" fmla="*/ 11933 h 13403"/>
                <a:gd name="connsiteX31" fmla="*/ 8740 w 10348"/>
                <a:gd name="connsiteY31" fmla="*/ 10758 h 13403"/>
                <a:gd name="connsiteX32" fmla="*/ 9779 w 10348"/>
                <a:gd name="connsiteY32" fmla="*/ 10829 h 13403"/>
                <a:gd name="connsiteX33" fmla="*/ 9872 w 10348"/>
                <a:gd name="connsiteY33" fmla="*/ 9686 h 13403"/>
                <a:gd name="connsiteX34" fmla="*/ 7003 w 10348"/>
                <a:gd name="connsiteY34" fmla="*/ 7157 h 13403"/>
                <a:gd name="connsiteX35" fmla="*/ 6876 w 10348"/>
                <a:gd name="connsiteY35" fmla="*/ 5821 h 13403"/>
                <a:gd name="connsiteX36" fmla="*/ 8826 w 10348"/>
                <a:gd name="connsiteY36" fmla="*/ 2059 h 13403"/>
                <a:gd name="connsiteX37" fmla="*/ 10348 w 10348"/>
                <a:gd name="connsiteY37" fmla="*/ 1765 h 13403"/>
                <a:gd name="connsiteX38" fmla="*/ 9913 w 10348"/>
                <a:gd name="connsiteY38" fmla="*/ 882 h 13403"/>
                <a:gd name="connsiteX39" fmla="*/ 9574 w 10348"/>
                <a:gd name="connsiteY39" fmla="*/ 329 h 13403"/>
                <a:gd name="connsiteX0" fmla="*/ 9574 w 10348"/>
                <a:gd name="connsiteY0" fmla="*/ 329 h 13403"/>
                <a:gd name="connsiteX1" fmla="*/ 8609 w 10348"/>
                <a:gd name="connsiteY1" fmla="*/ 1176 h 13403"/>
                <a:gd name="connsiteX2" fmla="*/ 7957 w 10348"/>
                <a:gd name="connsiteY2" fmla="*/ 1176 h 13403"/>
                <a:gd name="connsiteX3" fmla="*/ 7739 w 10348"/>
                <a:gd name="connsiteY3" fmla="*/ 294 h 13403"/>
                <a:gd name="connsiteX4" fmla="*/ 7522 w 10348"/>
                <a:gd name="connsiteY4" fmla="*/ 0 h 13403"/>
                <a:gd name="connsiteX5" fmla="*/ 6870 w 10348"/>
                <a:gd name="connsiteY5" fmla="*/ 882 h 13403"/>
                <a:gd name="connsiteX6" fmla="*/ 6435 w 10348"/>
                <a:gd name="connsiteY6" fmla="*/ 1471 h 13403"/>
                <a:gd name="connsiteX7" fmla="*/ 5604 w 10348"/>
                <a:gd name="connsiteY7" fmla="*/ 1160 h 13403"/>
                <a:gd name="connsiteX8" fmla="*/ 5131 w 10348"/>
                <a:gd name="connsiteY8" fmla="*/ 1176 h 13403"/>
                <a:gd name="connsiteX9" fmla="*/ 4478 w 10348"/>
                <a:gd name="connsiteY9" fmla="*/ 1176 h 13403"/>
                <a:gd name="connsiteX10" fmla="*/ 3609 w 10348"/>
                <a:gd name="connsiteY10" fmla="*/ 882 h 13403"/>
                <a:gd name="connsiteX11" fmla="*/ 3391 w 10348"/>
                <a:gd name="connsiteY11" fmla="*/ 2353 h 13403"/>
                <a:gd name="connsiteX12" fmla="*/ 2305 w 10348"/>
                <a:gd name="connsiteY12" fmla="*/ 2941 h 13403"/>
                <a:gd name="connsiteX13" fmla="*/ 1870 w 10348"/>
                <a:gd name="connsiteY13" fmla="*/ 3529 h 13403"/>
                <a:gd name="connsiteX14" fmla="*/ 1218 w 10348"/>
                <a:gd name="connsiteY14" fmla="*/ 3235 h 13403"/>
                <a:gd name="connsiteX15" fmla="*/ 574 w 10348"/>
                <a:gd name="connsiteY15" fmla="*/ 2846 h 13403"/>
                <a:gd name="connsiteX16" fmla="*/ 356 w 10348"/>
                <a:gd name="connsiteY16" fmla="*/ 4706 h 13403"/>
                <a:gd name="connsiteX17" fmla="*/ 348 w 10348"/>
                <a:gd name="connsiteY17" fmla="*/ 5882 h 13403"/>
                <a:gd name="connsiteX18" fmla="*/ 0 w 10348"/>
                <a:gd name="connsiteY18" fmla="*/ 7734 h 13403"/>
                <a:gd name="connsiteX19" fmla="*/ 800 w 10348"/>
                <a:gd name="connsiteY19" fmla="*/ 8417 h 13403"/>
                <a:gd name="connsiteX20" fmla="*/ 783 w 10348"/>
                <a:gd name="connsiteY20" fmla="*/ 9706 h 13403"/>
                <a:gd name="connsiteX21" fmla="*/ 472 w 10348"/>
                <a:gd name="connsiteY21" fmla="*/ 10621 h 13403"/>
                <a:gd name="connsiteX22" fmla="*/ 1156 w 10348"/>
                <a:gd name="connsiteY22" fmla="*/ 10204 h 13403"/>
                <a:gd name="connsiteX23" fmla="*/ 2017 w 10348"/>
                <a:gd name="connsiteY23" fmla="*/ 9826 h 13403"/>
                <a:gd name="connsiteX24" fmla="*/ 2816 w 10348"/>
                <a:gd name="connsiteY24" fmla="*/ 9816 h 13403"/>
                <a:gd name="connsiteX25" fmla="*/ 4016 w 10348"/>
                <a:gd name="connsiteY25" fmla="*/ 10843 h 13403"/>
                <a:gd name="connsiteX26" fmla="*/ 5469 w 10348"/>
                <a:gd name="connsiteY26" fmla="*/ 11830 h 13403"/>
                <a:gd name="connsiteX27" fmla="*/ 5478 w 10348"/>
                <a:gd name="connsiteY27" fmla="*/ 12764 h 13403"/>
                <a:gd name="connsiteX28" fmla="*/ 6829 w 10348"/>
                <a:gd name="connsiteY28" fmla="*/ 13402 h 13403"/>
                <a:gd name="connsiteX29" fmla="*/ 7923 w 10348"/>
                <a:gd name="connsiteY29" fmla="*/ 12582 h 13403"/>
                <a:gd name="connsiteX30" fmla="*/ 8561 w 10348"/>
                <a:gd name="connsiteY30" fmla="*/ 11933 h 13403"/>
                <a:gd name="connsiteX31" fmla="*/ 8740 w 10348"/>
                <a:gd name="connsiteY31" fmla="*/ 10758 h 13403"/>
                <a:gd name="connsiteX32" fmla="*/ 9779 w 10348"/>
                <a:gd name="connsiteY32" fmla="*/ 10829 h 13403"/>
                <a:gd name="connsiteX33" fmla="*/ 9872 w 10348"/>
                <a:gd name="connsiteY33" fmla="*/ 9686 h 13403"/>
                <a:gd name="connsiteX34" fmla="*/ 7003 w 10348"/>
                <a:gd name="connsiteY34" fmla="*/ 7157 h 13403"/>
                <a:gd name="connsiteX35" fmla="*/ 6876 w 10348"/>
                <a:gd name="connsiteY35" fmla="*/ 5821 h 13403"/>
                <a:gd name="connsiteX36" fmla="*/ 8826 w 10348"/>
                <a:gd name="connsiteY36" fmla="*/ 2059 h 13403"/>
                <a:gd name="connsiteX37" fmla="*/ 10348 w 10348"/>
                <a:gd name="connsiteY37" fmla="*/ 1765 h 13403"/>
                <a:gd name="connsiteX38" fmla="*/ 9913 w 10348"/>
                <a:gd name="connsiteY38" fmla="*/ 882 h 13403"/>
                <a:gd name="connsiteX39" fmla="*/ 9574 w 10348"/>
                <a:gd name="connsiteY39" fmla="*/ 329 h 13403"/>
                <a:gd name="connsiteX0" fmla="*/ 9574 w 10348"/>
                <a:gd name="connsiteY0" fmla="*/ 329 h 13403"/>
                <a:gd name="connsiteX1" fmla="*/ 8609 w 10348"/>
                <a:gd name="connsiteY1" fmla="*/ 1176 h 13403"/>
                <a:gd name="connsiteX2" fmla="*/ 7957 w 10348"/>
                <a:gd name="connsiteY2" fmla="*/ 1176 h 13403"/>
                <a:gd name="connsiteX3" fmla="*/ 7739 w 10348"/>
                <a:gd name="connsiteY3" fmla="*/ 294 h 13403"/>
                <a:gd name="connsiteX4" fmla="*/ 7522 w 10348"/>
                <a:gd name="connsiteY4" fmla="*/ 0 h 13403"/>
                <a:gd name="connsiteX5" fmla="*/ 6870 w 10348"/>
                <a:gd name="connsiteY5" fmla="*/ 882 h 13403"/>
                <a:gd name="connsiteX6" fmla="*/ 6435 w 10348"/>
                <a:gd name="connsiteY6" fmla="*/ 1471 h 13403"/>
                <a:gd name="connsiteX7" fmla="*/ 5604 w 10348"/>
                <a:gd name="connsiteY7" fmla="*/ 1160 h 13403"/>
                <a:gd name="connsiteX8" fmla="*/ 5131 w 10348"/>
                <a:gd name="connsiteY8" fmla="*/ 1176 h 13403"/>
                <a:gd name="connsiteX9" fmla="*/ 4478 w 10348"/>
                <a:gd name="connsiteY9" fmla="*/ 1176 h 13403"/>
                <a:gd name="connsiteX10" fmla="*/ 3609 w 10348"/>
                <a:gd name="connsiteY10" fmla="*/ 882 h 13403"/>
                <a:gd name="connsiteX11" fmla="*/ 3391 w 10348"/>
                <a:gd name="connsiteY11" fmla="*/ 2353 h 13403"/>
                <a:gd name="connsiteX12" fmla="*/ 2305 w 10348"/>
                <a:gd name="connsiteY12" fmla="*/ 2941 h 13403"/>
                <a:gd name="connsiteX13" fmla="*/ 1870 w 10348"/>
                <a:gd name="connsiteY13" fmla="*/ 3529 h 13403"/>
                <a:gd name="connsiteX14" fmla="*/ 1218 w 10348"/>
                <a:gd name="connsiteY14" fmla="*/ 3235 h 13403"/>
                <a:gd name="connsiteX15" fmla="*/ 574 w 10348"/>
                <a:gd name="connsiteY15" fmla="*/ 2846 h 13403"/>
                <a:gd name="connsiteX16" fmla="*/ 356 w 10348"/>
                <a:gd name="connsiteY16" fmla="*/ 4706 h 13403"/>
                <a:gd name="connsiteX17" fmla="*/ 348 w 10348"/>
                <a:gd name="connsiteY17" fmla="*/ 5882 h 13403"/>
                <a:gd name="connsiteX18" fmla="*/ 0 w 10348"/>
                <a:gd name="connsiteY18" fmla="*/ 7734 h 13403"/>
                <a:gd name="connsiteX19" fmla="*/ 800 w 10348"/>
                <a:gd name="connsiteY19" fmla="*/ 8417 h 13403"/>
                <a:gd name="connsiteX20" fmla="*/ 783 w 10348"/>
                <a:gd name="connsiteY20" fmla="*/ 9706 h 13403"/>
                <a:gd name="connsiteX21" fmla="*/ 472 w 10348"/>
                <a:gd name="connsiteY21" fmla="*/ 10621 h 13403"/>
                <a:gd name="connsiteX22" fmla="*/ 1156 w 10348"/>
                <a:gd name="connsiteY22" fmla="*/ 10204 h 13403"/>
                <a:gd name="connsiteX23" fmla="*/ 2017 w 10348"/>
                <a:gd name="connsiteY23" fmla="*/ 9826 h 13403"/>
                <a:gd name="connsiteX24" fmla="*/ 2816 w 10348"/>
                <a:gd name="connsiteY24" fmla="*/ 9816 h 13403"/>
                <a:gd name="connsiteX25" fmla="*/ 4016 w 10348"/>
                <a:gd name="connsiteY25" fmla="*/ 10843 h 13403"/>
                <a:gd name="connsiteX26" fmla="*/ 5469 w 10348"/>
                <a:gd name="connsiteY26" fmla="*/ 11830 h 13403"/>
                <a:gd name="connsiteX27" fmla="*/ 5478 w 10348"/>
                <a:gd name="connsiteY27" fmla="*/ 12764 h 13403"/>
                <a:gd name="connsiteX28" fmla="*/ 6829 w 10348"/>
                <a:gd name="connsiteY28" fmla="*/ 13402 h 13403"/>
                <a:gd name="connsiteX29" fmla="*/ 7923 w 10348"/>
                <a:gd name="connsiteY29" fmla="*/ 12582 h 13403"/>
                <a:gd name="connsiteX30" fmla="*/ 8561 w 10348"/>
                <a:gd name="connsiteY30" fmla="*/ 11933 h 13403"/>
                <a:gd name="connsiteX31" fmla="*/ 8740 w 10348"/>
                <a:gd name="connsiteY31" fmla="*/ 10758 h 13403"/>
                <a:gd name="connsiteX32" fmla="*/ 9779 w 10348"/>
                <a:gd name="connsiteY32" fmla="*/ 10829 h 13403"/>
                <a:gd name="connsiteX33" fmla="*/ 9872 w 10348"/>
                <a:gd name="connsiteY33" fmla="*/ 9686 h 13403"/>
                <a:gd name="connsiteX34" fmla="*/ 7003 w 10348"/>
                <a:gd name="connsiteY34" fmla="*/ 7157 h 13403"/>
                <a:gd name="connsiteX35" fmla="*/ 6876 w 10348"/>
                <a:gd name="connsiteY35" fmla="*/ 5821 h 13403"/>
                <a:gd name="connsiteX36" fmla="*/ 8826 w 10348"/>
                <a:gd name="connsiteY36" fmla="*/ 2059 h 13403"/>
                <a:gd name="connsiteX37" fmla="*/ 10348 w 10348"/>
                <a:gd name="connsiteY37" fmla="*/ 1765 h 13403"/>
                <a:gd name="connsiteX38" fmla="*/ 9913 w 10348"/>
                <a:gd name="connsiteY38" fmla="*/ 882 h 13403"/>
                <a:gd name="connsiteX39" fmla="*/ 9574 w 10348"/>
                <a:gd name="connsiteY39" fmla="*/ 329 h 13403"/>
                <a:gd name="connsiteX0" fmla="*/ 9574 w 10348"/>
                <a:gd name="connsiteY0" fmla="*/ 329 h 13403"/>
                <a:gd name="connsiteX1" fmla="*/ 8609 w 10348"/>
                <a:gd name="connsiteY1" fmla="*/ 1176 h 13403"/>
                <a:gd name="connsiteX2" fmla="*/ 7957 w 10348"/>
                <a:gd name="connsiteY2" fmla="*/ 1176 h 13403"/>
                <a:gd name="connsiteX3" fmla="*/ 7739 w 10348"/>
                <a:gd name="connsiteY3" fmla="*/ 294 h 13403"/>
                <a:gd name="connsiteX4" fmla="*/ 7522 w 10348"/>
                <a:gd name="connsiteY4" fmla="*/ 0 h 13403"/>
                <a:gd name="connsiteX5" fmla="*/ 6870 w 10348"/>
                <a:gd name="connsiteY5" fmla="*/ 882 h 13403"/>
                <a:gd name="connsiteX6" fmla="*/ 6435 w 10348"/>
                <a:gd name="connsiteY6" fmla="*/ 1471 h 13403"/>
                <a:gd name="connsiteX7" fmla="*/ 5604 w 10348"/>
                <a:gd name="connsiteY7" fmla="*/ 1160 h 13403"/>
                <a:gd name="connsiteX8" fmla="*/ 5131 w 10348"/>
                <a:gd name="connsiteY8" fmla="*/ 1176 h 13403"/>
                <a:gd name="connsiteX9" fmla="*/ 4478 w 10348"/>
                <a:gd name="connsiteY9" fmla="*/ 1176 h 13403"/>
                <a:gd name="connsiteX10" fmla="*/ 3609 w 10348"/>
                <a:gd name="connsiteY10" fmla="*/ 882 h 13403"/>
                <a:gd name="connsiteX11" fmla="*/ 3391 w 10348"/>
                <a:gd name="connsiteY11" fmla="*/ 2353 h 13403"/>
                <a:gd name="connsiteX12" fmla="*/ 2305 w 10348"/>
                <a:gd name="connsiteY12" fmla="*/ 2941 h 13403"/>
                <a:gd name="connsiteX13" fmla="*/ 1870 w 10348"/>
                <a:gd name="connsiteY13" fmla="*/ 3529 h 13403"/>
                <a:gd name="connsiteX14" fmla="*/ 1218 w 10348"/>
                <a:gd name="connsiteY14" fmla="*/ 3235 h 13403"/>
                <a:gd name="connsiteX15" fmla="*/ 574 w 10348"/>
                <a:gd name="connsiteY15" fmla="*/ 2846 h 13403"/>
                <a:gd name="connsiteX16" fmla="*/ 356 w 10348"/>
                <a:gd name="connsiteY16" fmla="*/ 4706 h 13403"/>
                <a:gd name="connsiteX17" fmla="*/ 348 w 10348"/>
                <a:gd name="connsiteY17" fmla="*/ 5882 h 13403"/>
                <a:gd name="connsiteX18" fmla="*/ 0 w 10348"/>
                <a:gd name="connsiteY18" fmla="*/ 7734 h 13403"/>
                <a:gd name="connsiteX19" fmla="*/ 800 w 10348"/>
                <a:gd name="connsiteY19" fmla="*/ 8417 h 13403"/>
                <a:gd name="connsiteX20" fmla="*/ 783 w 10348"/>
                <a:gd name="connsiteY20" fmla="*/ 9706 h 13403"/>
                <a:gd name="connsiteX21" fmla="*/ 472 w 10348"/>
                <a:gd name="connsiteY21" fmla="*/ 10621 h 13403"/>
                <a:gd name="connsiteX22" fmla="*/ 1156 w 10348"/>
                <a:gd name="connsiteY22" fmla="*/ 10204 h 13403"/>
                <a:gd name="connsiteX23" fmla="*/ 2017 w 10348"/>
                <a:gd name="connsiteY23" fmla="*/ 9826 h 13403"/>
                <a:gd name="connsiteX24" fmla="*/ 2816 w 10348"/>
                <a:gd name="connsiteY24" fmla="*/ 9816 h 13403"/>
                <a:gd name="connsiteX25" fmla="*/ 4016 w 10348"/>
                <a:gd name="connsiteY25" fmla="*/ 10843 h 13403"/>
                <a:gd name="connsiteX26" fmla="*/ 5469 w 10348"/>
                <a:gd name="connsiteY26" fmla="*/ 11830 h 13403"/>
                <a:gd name="connsiteX27" fmla="*/ 5478 w 10348"/>
                <a:gd name="connsiteY27" fmla="*/ 12764 h 13403"/>
                <a:gd name="connsiteX28" fmla="*/ 6829 w 10348"/>
                <a:gd name="connsiteY28" fmla="*/ 13402 h 13403"/>
                <a:gd name="connsiteX29" fmla="*/ 7923 w 10348"/>
                <a:gd name="connsiteY29" fmla="*/ 12582 h 13403"/>
                <a:gd name="connsiteX30" fmla="*/ 8561 w 10348"/>
                <a:gd name="connsiteY30" fmla="*/ 11933 h 13403"/>
                <a:gd name="connsiteX31" fmla="*/ 8740 w 10348"/>
                <a:gd name="connsiteY31" fmla="*/ 10758 h 13403"/>
                <a:gd name="connsiteX32" fmla="*/ 9779 w 10348"/>
                <a:gd name="connsiteY32" fmla="*/ 10829 h 13403"/>
                <a:gd name="connsiteX33" fmla="*/ 9872 w 10348"/>
                <a:gd name="connsiteY33" fmla="*/ 9686 h 13403"/>
                <a:gd name="connsiteX34" fmla="*/ 7003 w 10348"/>
                <a:gd name="connsiteY34" fmla="*/ 7157 h 13403"/>
                <a:gd name="connsiteX35" fmla="*/ 6876 w 10348"/>
                <a:gd name="connsiteY35" fmla="*/ 5821 h 13403"/>
                <a:gd name="connsiteX36" fmla="*/ 8826 w 10348"/>
                <a:gd name="connsiteY36" fmla="*/ 2059 h 13403"/>
                <a:gd name="connsiteX37" fmla="*/ 10348 w 10348"/>
                <a:gd name="connsiteY37" fmla="*/ 1765 h 13403"/>
                <a:gd name="connsiteX38" fmla="*/ 9913 w 10348"/>
                <a:gd name="connsiteY38" fmla="*/ 882 h 13403"/>
                <a:gd name="connsiteX39" fmla="*/ 9574 w 10348"/>
                <a:gd name="connsiteY39" fmla="*/ 329 h 13403"/>
                <a:gd name="connsiteX0" fmla="*/ 9574 w 10348"/>
                <a:gd name="connsiteY0" fmla="*/ 329 h 13403"/>
                <a:gd name="connsiteX1" fmla="*/ 8609 w 10348"/>
                <a:gd name="connsiteY1" fmla="*/ 1176 h 13403"/>
                <a:gd name="connsiteX2" fmla="*/ 7957 w 10348"/>
                <a:gd name="connsiteY2" fmla="*/ 1176 h 13403"/>
                <a:gd name="connsiteX3" fmla="*/ 7739 w 10348"/>
                <a:gd name="connsiteY3" fmla="*/ 294 h 13403"/>
                <a:gd name="connsiteX4" fmla="*/ 7522 w 10348"/>
                <a:gd name="connsiteY4" fmla="*/ 0 h 13403"/>
                <a:gd name="connsiteX5" fmla="*/ 6870 w 10348"/>
                <a:gd name="connsiteY5" fmla="*/ 882 h 13403"/>
                <a:gd name="connsiteX6" fmla="*/ 6435 w 10348"/>
                <a:gd name="connsiteY6" fmla="*/ 1471 h 13403"/>
                <a:gd name="connsiteX7" fmla="*/ 5604 w 10348"/>
                <a:gd name="connsiteY7" fmla="*/ 1160 h 13403"/>
                <a:gd name="connsiteX8" fmla="*/ 5131 w 10348"/>
                <a:gd name="connsiteY8" fmla="*/ 1176 h 13403"/>
                <a:gd name="connsiteX9" fmla="*/ 4478 w 10348"/>
                <a:gd name="connsiteY9" fmla="*/ 1176 h 13403"/>
                <a:gd name="connsiteX10" fmla="*/ 3609 w 10348"/>
                <a:gd name="connsiteY10" fmla="*/ 882 h 13403"/>
                <a:gd name="connsiteX11" fmla="*/ 3391 w 10348"/>
                <a:gd name="connsiteY11" fmla="*/ 2353 h 13403"/>
                <a:gd name="connsiteX12" fmla="*/ 2305 w 10348"/>
                <a:gd name="connsiteY12" fmla="*/ 2941 h 13403"/>
                <a:gd name="connsiteX13" fmla="*/ 1870 w 10348"/>
                <a:gd name="connsiteY13" fmla="*/ 3529 h 13403"/>
                <a:gd name="connsiteX14" fmla="*/ 1218 w 10348"/>
                <a:gd name="connsiteY14" fmla="*/ 3235 h 13403"/>
                <a:gd name="connsiteX15" fmla="*/ 574 w 10348"/>
                <a:gd name="connsiteY15" fmla="*/ 2846 h 13403"/>
                <a:gd name="connsiteX16" fmla="*/ 356 w 10348"/>
                <a:gd name="connsiteY16" fmla="*/ 4706 h 13403"/>
                <a:gd name="connsiteX17" fmla="*/ 348 w 10348"/>
                <a:gd name="connsiteY17" fmla="*/ 5882 h 13403"/>
                <a:gd name="connsiteX18" fmla="*/ 0 w 10348"/>
                <a:gd name="connsiteY18" fmla="*/ 7734 h 13403"/>
                <a:gd name="connsiteX19" fmla="*/ 800 w 10348"/>
                <a:gd name="connsiteY19" fmla="*/ 8417 h 13403"/>
                <a:gd name="connsiteX20" fmla="*/ 783 w 10348"/>
                <a:gd name="connsiteY20" fmla="*/ 9706 h 13403"/>
                <a:gd name="connsiteX21" fmla="*/ 472 w 10348"/>
                <a:gd name="connsiteY21" fmla="*/ 10621 h 13403"/>
                <a:gd name="connsiteX22" fmla="*/ 1156 w 10348"/>
                <a:gd name="connsiteY22" fmla="*/ 10204 h 13403"/>
                <a:gd name="connsiteX23" fmla="*/ 2017 w 10348"/>
                <a:gd name="connsiteY23" fmla="*/ 9826 h 13403"/>
                <a:gd name="connsiteX24" fmla="*/ 2816 w 10348"/>
                <a:gd name="connsiteY24" fmla="*/ 9816 h 13403"/>
                <a:gd name="connsiteX25" fmla="*/ 4016 w 10348"/>
                <a:gd name="connsiteY25" fmla="*/ 10843 h 13403"/>
                <a:gd name="connsiteX26" fmla="*/ 5469 w 10348"/>
                <a:gd name="connsiteY26" fmla="*/ 11830 h 13403"/>
                <a:gd name="connsiteX27" fmla="*/ 5478 w 10348"/>
                <a:gd name="connsiteY27" fmla="*/ 12764 h 13403"/>
                <a:gd name="connsiteX28" fmla="*/ 6829 w 10348"/>
                <a:gd name="connsiteY28" fmla="*/ 13402 h 13403"/>
                <a:gd name="connsiteX29" fmla="*/ 7923 w 10348"/>
                <a:gd name="connsiteY29" fmla="*/ 12582 h 13403"/>
                <a:gd name="connsiteX30" fmla="*/ 8561 w 10348"/>
                <a:gd name="connsiteY30" fmla="*/ 11933 h 13403"/>
                <a:gd name="connsiteX31" fmla="*/ 8740 w 10348"/>
                <a:gd name="connsiteY31" fmla="*/ 10758 h 13403"/>
                <a:gd name="connsiteX32" fmla="*/ 9779 w 10348"/>
                <a:gd name="connsiteY32" fmla="*/ 10829 h 13403"/>
                <a:gd name="connsiteX33" fmla="*/ 9872 w 10348"/>
                <a:gd name="connsiteY33" fmla="*/ 9686 h 13403"/>
                <a:gd name="connsiteX34" fmla="*/ 7003 w 10348"/>
                <a:gd name="connsiteY34" fmla="*/ 7157 h 13403"/>
                <a:gd name="connsiteX35" fmla="*/ 6876 w 10348"/>
                <a:gd name="connsiteY35" fmla="*/ 5821 h 13403"/>
                <a:gd name="connsiteX36" fmla="*/ 8826 w 10348"/>
                <a:gd name="connsiteY36" fmla="*/ 2059 h 13403"/>
                <a:gd name="connsiteX37" fmla="*/ 10348 w 10348"/>
                <a:gd name="connsiteY37" fmla="*/ 1765 h 13403"/>
                <a:gd name="connsiteX38" fmla="*/ 9913 w 10348"/>
                <a:gd name="connsiteY38" fmla="*/ 882 h 13403"/>
                <a:gd name="connsiteX39" fmla="*/ 9574 w 10348"/>
                <a:gd name="connsiteY39" fmla="*/ 329 h 13403"/>
                <a:gd name="connsiteX0" fmla="*/ 9574 w 10348"/>
                <a:gd name="connsiteY0" fmla="*/ 329 h 13403"/>
                <a:gd name="connsiteX1" fmla="*/ 8609 w 10348"/>
                <a:gd name="connsiteY1" fmla="*/ 1176 h 13403"/>
                <a:gd name="connsiteX2" fmla="*/ 7957 w 10348"/>
                <a:gd name="connsiteY2" fmla="*/ 1176 h 13403"/>
                <a:gd name="connsiteX3" fmla="*/ 7739 w 10348"/>
                <a:gd name="connsiteY3" fmla="*/ 294 h 13403"/>
                <a:gd name="connsiteX4" fmla="*/ 7522 w 10348"/>
                <a:gd name="connsiteY4" fmla="*/ 0 h 13403"/>
                <a:gd name="connsiteX5" fmla="*/ 6870 w 10348"/>
                <a:gd name="connsiteY5" fmla="*/ 882 h 13403"/>
                <a:gd name="connsiteX6" fmla="*/ 6435 w 10348"/>
                <a:gd name="connsiteY6" fmla="*/ 1471 h 13403"/>
                <a:gd name="connsiteX7" fmla="*/ 5604 w 10348"/>
                <a:gd name="connsiteY7" fmla="*/ 1160 h 13403"/>
                <a:gd name="connsiteX8" fmla="*/ 5131 w 10348"/>
                <a:gd name="connsiteY8" fmla="*/ 1176 h 13403"/>
                <a:gd name="connsiteX9" fmla="*/ 4478 w 10348"/>
                <a:gd name="connsiteY9" fmla="*/ 1176 h 13403"/>
                <a:gd name="connsiteX10" fmla="*/ 3609 w 10348"/>
                <a:gd name="connsiteY10" fmla="*/ 882 h 13403"/>
                <a:gd name="connsiteX11" fmla="*/ 3391 w 10348"/>
                <a:gd name="connsiteY11" fmla="*/ 2353 h 13403"/>
                <a:gd name="connsiteX12" fmla="*/ 2305 w 10348"/>
                <a:gd name="connsiteY12" fmla="*/ 2941 h 13403"/>
                <a:gd name="connsiteX13" fmla="*/ 1870 w 10348"/>
                <a:gd name="connsiteY13" fmla="*/ 3529 h 13403"/>
                <a:gd name="connsiteX14" fmla="*/ 1218 w 10348"/>
                <a:gd name="connsiteY14" fmla="*/ 3235 h 13403"/>
                <a:gd name="connsiteX15" fmla="*/ 574 w 10348"/>
                <a:gd name="connsiteY15" fmla="*/ 2846 h 13403"/>
                <a:gd name="connsiteX16" fmla="*/ 356 w 10348"/>
                <a:gd name="connsiteY16" fmla="*/ 4706 h 13403"/>
                <a:gd name="connsiteX17" fmla="*/ 348 w 10348"/>
                <a:gd name="connsiteY17" fmla="*/ 5882 h 13403"/>
                <a:gd name="connsiteX18" fmla="*/ 0 w 10348"/>
                <a:gd name="connsiteY18" fmla="*/ 7734 h 13403"/>
                <a:gd name="connsiteX19" fmla="*/ 800 w 10348"/>
                <a:gd name="connsiteY19" fmla="*/ 8417 h 13403"/>
                <a:gd name="connsiteX20" fmla="*/ 783 w 10348"/>
                <a:gd name="connsiteY20" fmla="*/ 9706 h 13403"/>
                <a:gd name="connsiteX21" fmla="*/ 472 w 10348"/>
                <a:gd name="connsiteY21" fmla="*/ 10621 h 13403"/>
                <a:gd name="connsiteX22" fmla="*/ 1156 w 10348"/>
                <a:gd name="connsiteY22" fmla="*/ 10204 h 13403"/>
                <a:gd name="connsiteX23" fmla="*/ 2017 w 10348"/>
                <a:gd name="connsiteY23" fmla="*/ 9826 h 13403"/>
                <a:gd name="connsiteX24" fmla="*/ 2816 w 10348"/>
                <a:gd name="connsiteY24" fmla="*/ 9816 h 13403"/>
                <a:gd name="connsiteX25" fmla="*/ 4016 w 10348"/>
                <a:gd name="connsiteY25" fmla="*/ 10843 h 13403"/>
                <a:gd name="connsiteX26" fmla="*/ 5469 w 10348"/>
                <a:gd name="connsiteY26" fmla="*/ 11830 h 13403"/>
                <a:gd name="connsiteX27" fmla="*/ 5478 w 10348"/>
                <a:gd name="connsiteY27" fmla="*/ 12764 h 13403"/>
                <a:gd name="connsiteX28" fmla="*/ 6829 w 10348"/>
                <a:gd name="connsiteY28" fmla="*/ 13402 h 13403"/>
                <a:gd name="connsiteX29" fmla="*/ 7923 w 10348"/>
                <a:gd name="connsiteY29" fmla="*/ 12582 h 13403"/>
                <a:gd name="connsiteX30" fmla="*/ 8561 w 10348"/>
                <a:gd name="connsiteY30" fmla="*/ 11933 h 13403"/>
                <a:gd name="connsiteX31" fmla="*/ 8740 w 10348"/>
                <a:gd name="connsiteY31" fmla="*/ 10758 h 13403"/>
                <a:gd name="connsiteX32" fmla="*/ 9779 w 10348"/>
                <a:gd name="connsiteY32" fmla="*/ 10829 h 13403"/>
                <a:gd name="connsiteX33" fmla="*/ 9872 w 10348"/>
                <a:gd name="connsiteY33" fmla="*/ 9686 h 13403"/>
                <a:gd name="connsiteX34" fmla="*/ 7003 w 10348"/>
                <a:gd name="connsiteY34" fmla="*/ 7157 h 13403"/>
                <a:gd name="connsiteX35" fmla="*/ 6876 w 10348"/>
                <a:gd name="connsiteY35" fmla="*/ 5821 h 13403"/>
                <a:gd name="connsiteX36" fmla="*/ 8826 w 10348"/>
                <a:gd name="connsiteY36" fmla="*/ 2059 h 13403"/>
                <a:gd name="connsiteX37" fmla="*/ 10348 w 10348"/>
                <a:gd name="connsiteY37" fmla="*/ 1765 h 13403"/>
                <a:gd name="connsiteX38" fmla="*/ 9913 w 10348"/>
                <a:gd name="connsiteY38" fmla="*/ 882 h 13403"/>
                <a:gd name="connsiteX39" fmla="*/ 9574 w 10348"/>
                <a:gd name="connsiteY39" fmla="*/ 329 h 13403"/>
                <a:gd name="connsiteX0" fmla="*/ 9574 w 10348"/>
                <a:gd name="connsiteY0" fmla="*/ 329 h 13403"/>
                <a:gd name="connsiteX1" fmla="*/ 8609 w 10348"/>
                <a:gd name="connsiteY1" fmla="*/ 1176 h 13403"/>
                <a:gd name="connsiteX2" fmla="*/ 7957 w 10348"/>
                <a:gd name="connsiteY2" fmla="*/ 1176 h 13403"/>
                <a:gd name="connsiteX3" fmla="*/ 7739 w 10348"/>
                <a:gd name="connsiteY3" fmla="*/ 294 h 13403"/>
                <a:gd name="connsiteX4" fmla="*/ 7522 w 10348"/>
                <a:gd name="connsiteY4" fmla="*/ 0 h 13403"/>
                <a:gd name="connsiteX5" fmla="*/ 6870 w 10348"/>
                <a:gd name="connsiteY5" fmla="*/ 882 h 13403"/>
                <a:gd name="connsiteX6" fmla="*/ 6435 w 10348"/>
                <a:gd name="connsiteY6" fmla="*/ 1471 h 13403"/>
                <a:gd name="connsiteX7" fmla="*/ 5604 w 10348"/>
                <a:gd name="connsiteY7" fmla="*/ 1160 h 13403"/>
                <a:gd name="connsiteX8" fmla="*/ 5131 w 10348"/>
                <a:gd name="connsiteY8" fmla="*/ 1176 h 13403"/>
                <a:gd name="connsiteX9" fmla="*/ 4478 w 10348"/>
                <a:gd name="connsiteY9" fmla="*/ 1176 h 13403"/>
                <a:gd name="connsiteX10" fmla="*/ 3609 w 10348"/>
                <a:gd name="connsiteY10" fmla="*/ 882 h 13403"/>
                <a:gd name="connsiteX11" fmla="*/ 3391 w 10348"/>
                <a:gd name="connsiteY11" fmla="*/ 2353 h 13403"/>
                <a:gd name="connsiteX12" fmla="*/ 2305 w 10348"/>
                <a:gd name="connsiteY12" fmla="*/ 2941 h 13403"/>
                <a:gd name="connsiteX13" fmla="*/ 1870 w 10348"/>
                <a:gd name="connsiteY13" fmla="*/ 3529 h 13403"/>
                <a:gd name="connsiteX14" fmla="*/ 1218 w 10348"/>
                <a:gd name="connsiteY14" fmla="*/ 3235 h 13403"/>
                <a:gd name="connsiteX15" fmla="*/ 574 w 10348"/>
                <a:gd name="connsiteY15" fmla="*/ 2846 h 13403"/>
                <a:gd name="connsiteX16" fmla="*/ 356 w 10348"/>
                <a:gd name="connsiteY16" fmla="*/ 4706 h 13403"/>
                <a:gd name="connsiteX17" fmla="*/ 348 w 10348"/>
                <a:gd name="connsiteY17" fmla="*/ 5882 h 13403"/>
                <a:gd name="connsiteX18" fmla="*/ 0 w 10348"/>
                <a:gd name="connsiteY18" fmla="*/ 7734 h 13403"/>
                <a:gd name="connsiteX19" fmla="*/ 800 w 10348"/>
                <a:gd name="connsiteY19" fmla="*/ 8417 h 13403"/>
                <a:gd name="connsiteX20" fmla="*/ 783 w 10348"/>
                <a:gd name="connsiteY20" fmla="*/ 9706 h 13403"/>
                <a:gd name="connsiteX21" fmla="*/ 472 w 10348"/>
                <a:gd name="connsiteY21" fmla="*/ 10621 h 13403"/>
                <a:gd name="connsiteX22" fmla="*/ 1156 w 10348"/>
                <a:gd name="connsiteY22" fmla="*/ 10204 h 13403"/>
                <a:gd name="connsiteX23" fmla="*/ 2017 w 10348"/>
                <a:gd name="connsiteY23" fmla="*/ 9826 h 13403"/>
                <a:gd name="connsiteX24" fmla="*/ 2816 w 10348"/>
                <a:gd name="connsiteY24" fmla="*/ 9816 h 13403"/>
                <a:gd name="connsiteX25" fmla="*/ 4016 w 10348"/>
                <a:gd name="connsiteY25" fmla="*/ 10843 h 13403"/>
                <a:gd name="connsiteX26" fmla="*/ 5469 w 10348"/>
                <a:gd name="connsiteY26" fmla="*/ 11830 h 13403"/>
                <a:gd name="connsiteX27" fmla="*/ 5478 w 10348"/>
                <a:gd name="connsiteY27" fmla="*/ 12764 h 13403"/>
                <a:gd name="connsiteX28" fmla="*/ 6829 w 10348"/>
                <a:gd name="connsiteY28" fmla="*/ 13402 h 13403"/>
                <a:gd name="connsiteX29" fmla="*/ 7923 w 10348"/>
                <a:gd name="connsiteY29" fmla="*/ 12582 h 13403"/>
                <a:gd name="connsiteX30" fmla="*/ 8561 w 10348"/>
                <a:gd name="connsiteY30" fmla="*/ 11933 h 13403"/>
                <a:gd name="connsiteX31" fmla="*/ 8740 w 10348"/>
                <a:gd name="connsiteY31" fmla="*/ 10758 h 13403"/>
                <a:gd name="connsiteX32" fmla="*/ 9779 w 10348"/>
                <a:gd name="connsiteY32" fmla="*/ 10829 h 13403"/>
                <a:gd name="connsiteX33" fmla="*/ 9872 w 10348"/>
                <a:gd name="connsiteY33" fmla="*/ 9686 h 13403"/>
                <a:gd name="connsiteX34" fmla="*/ 7003 w 10348"/>
                <a:gd name="connsiteY34" fmla="*/ 7157 h 13403"/>
                <a:gd name="connsiteX35" fmla="*/ 6876 w 10348"/>
                <a:gd name="connsiteY35" fmla="*/ 5821 h 13403"/>
                <a:gd name="connsiteX36" fmla="*/ 8826 w 10348"/>
                <a:gd name="connsiteY36" fmla="*/ 2059 h 13403"/>
                <a:gd name="connsiteX37" fmla="*/ 10348 w 10348"/>
                <a:gd name="connsiteY37" fmla="*/ 1765 h 13403"/>
                <a:gd name="connsiteX38" fmla="*/ 9913 w 10348"/>
                <a:gd name="connsiteY38" fmla="*/ 882 h 13403"/>
                <a:gd name="connsiteX39" fmla="*/ 9574 w 10348"/>
                <a:gd name="connsiteY39" fmla="*/ 329 h 13403"/>
                <a:gd name="connsiteX0" fmla="*/ 9574 w 10348"/>
                <a:gd name="connsiteY0" fmla="*/ 329 h 13403"/>
                <a:gd name="connsiteX1" fmla="*/ 8609 w 10348"/>
                <a:gd name="connsiteY1" fmla="*/ 1176 h 13403"/>
                <a:gd name="connsiteX2" fmla="*/ 7957 w 10348"/>
                <a:gd name="connsiteY2" fmla="*/ 1176 h 13403"/>
                <a:gd name="connsiteX3" fmla="*/ 7739 w 10348"/>
                <a:gd name="connsiteY3" fmla="*/ 294 h 13403"/>
                <a:gd name="connsiteX4" fmla="*/ 7522 w 10348"/>
                <a:gd name="connsiteY4" fmla="*/ 0 h 13403"/>
                <a:gd name="connsiteX5" fmla="*/ 6870 w 10348"/>
                <a:gd name="connsiteY5" fmla="*/ 882 h 13403"/>
                <a:gd name="connsiteX6" fmla="*/ 6435 w 10348"/>
                <a:gd name="connsiteY6" fmla="*/ 1471 h 13403"/>
                <a:gd name="connsiteX7" fmla="*/ 5604 w 10348"/>
                <a:gd name="connsiteY7" fmla="*/ 1160 h 13403"/>
                <a:gd name="connsiteX8" fmla="*/ 5131 w 10348"/>
                <a:gd name="connsiteY8" fmla="*/ 1176 h 13403"/>
                <a:gd name="connsiteX9" fmla="*/ 4478 w 10348"/>
                <a:gd name="connsiteY9" fmla="*/ 1176 h 13403"/>
                <a:gd name="connsiteX10" fmla="*/ 3609 w 10348"/>
                <a:gd name="connsiteY10" fmla="*/ 882 h 13403"/>
                <a:gd name="connsiteX11" fmla="*/ 3391 w 10348"/>
                <a:gd name="connsiteY11" fmla="*/ 2353 h 13403"/>
                <a:gd name="connsiteX12" fmla="*/ 2305 w 10348"/>
                <a:gd name="connsiteY12" fmla="*/ 2941 h 13403"/>
                <a:gd name="connsiteX13" fmla="*/ 1870 w 10348"/>
                <a:gd name="connsiteY13" fmla="*/ 3529 h 13403"/>
                <a:gd name="connsiteX14" fmla="*/ 1218 w 10348"/>
                <a:gd name="connsiteY14" fmla="*/ 3235 h 13403"/>
                <a:gd name="connsiteX15" fmla="*/ 574 w 10348"/>
                <a:gd name="connsiteY15" fmla="*/ 2846 h 13403"/>
                <a:gd name="connsiteX16" fmla="*/ 356 w 10348"/>
                <a:gd name="connsiteY16" fmla="*/ 4706 h 13403"/>
                <a:gd name="connsiteX17" fmla="*/ 348 w 10348"/>
                <a:gd name="connsiteY17" fmla="*/ 5882 h 13403"/>
                <a:gd name="connsiteX18" fmla="*/ 0 w 10348"/>
                <a:gd name="connsiteY18" fmla="*/ 7734 h 13403"/>
                <a:gd name="connsiteX19" fmla="*/ 800 w 10348"/>
                <a:gd name="connsiteY19" fmla="*/ 8417 h 13403"/>
                <a:gd name="connsiteX20" fmla="*/ 783 w 10348"/>
                <a:gd name="connsiteY20" fmla="*/ 9706 h 13403"/>
                <a:gd name="connsiteX21" fmla="*/ 472 w 10348"/>
                <a:gd name="connsiteY21" fmla="*/ 10621 h 13403"/>
                <a:gd name="connsiteX22" fmla="*/ 1156 w 10348"/>
                <a:gd name="connsiteY22" fmla="*/ 10204 h 13403"/>
                <a:gd name="connsiteX23" fmla="*/ 2017 w 10348"/>
                <a:gd name="connsiteY23" fmla="*/ 9826 h 13403"/>
                <a:gd name="connsiteX24" fmla="*/ 2816 w 10348"/>
                <a:gd name="connsiteY24" fmla="*/ 9816 h 13403"/>
                <a:gd name="connsiteX25" fmla="*/ 4016 w 10348"/>
                <a:gd name="connsiteY25" fmla="*/ 10843 h 13403"/>
                <a:gd name="connsiteX26" fmla="*/ 5469 w 10348"/>
                <a:gd name="connsiteY26" fmla="*/ 11830 h 13403"/>
                <a:gd name="connsiteX27" fmla="*/ 5478 w 10348"/>
                <a:gd name="connsiteY27" fmla="*/ 12764 h 13403"/>
                <a:gd name="connsiteX28" fmla="*/ 6829 w 10348"/>
                <a:gd name="connsiteY28" fmla="*/ 13402 h 13403"/>
                <a:gd name="connsiteX29" fmla="*/ 7923 w 10348"/>
                <a:gd name="connsiteY29" fmla="*/ 12582 h 13403"/>
                <a:gd name="connsiteX30" fmla="*/ 8561 w 10348"/>
                <a:gd name="connsiteY30" fmla="*/ 11933 h 13403"/>
                <a:gd name="connsiteX31" fmla="*/ 8740 w 10348"/>
                <a:gd name="connsiteY31" fmla="*/ 10758 h 13403"/>
                <a:gd name="connsiteX32" fmla="*/ 9779 w 10348"/>
                <a:gd name="connsiteY32" fmla="*/ 10829 h 13403"/>
                <a:gd name="connsiteX33" fmla="*/ 9872 w 10348"/>
                <a:gd name="connsiteY33" fmla="*/ 9686 h 13403"/>
                <a:gd name="connsiteX34" fmla="*/ 7003 w 10348"/>
                <a:gd name="connsiteY34" fmla="*/ 7157 h 13403"/>
                <a:gd name="connsiteX35" fmla="*/ 6319 w 10348"/>
                <a:gd name="connsiteY35" fmla="*/ 5530 h 13403"/>
                <a:gd name="connsiteX36" fmla="*/ 8826 w 10348"/>
                <a:gd name="connsiteY36" fmla="*/ 2059 h 13403"/>
                <a:gd name="connsiteX37" fmla="*/ 10348 w 10348"/>
                <a:gd name="connsiteY37" fmla="*/ 1765 h 13403"/>
                <a:gd name="connsiteX38" fmla="*/ 9913 w 10348"/>
                <a:gd name="connsiteY38" fmla="*/ 882 h 13403"/>
                <a:gd name="connsiteX39" fmla="*/ 9574 w 10348"/>
                <a:gd name="connsiteY39" fmla="*/ 329 h 13403"/>
                <a:gd name="connsiteX0" fmla="*/ 9574 w 10348"/>
                <a:gd name="connsiteY0" fmla="*/ 329 h 13403"/>
                <a:gd name="connsiteX1" fmla="*/ 8609 w 10348"/>
                <a:gd name="connsiteY1" fmla="*/ 1176 h 13403"/>
                <a:gd name="connsiteX2" fmla="*/ 7957 w 10348"/>
                <a:gd name="connsiteY2" fmla="*/ 1176 h 13403"/>
                <a:gd name="connsiteX3" fmla="*/ 7739 w 10348"/>
                <a:gd name="connsiteY3" fmla="*/ 294 h 13403"/>
                <a:gd name="connsiteX4" fmla="*/ 7522 w 10348"/>
                <a:gd name="connsiteY4" fmla="*/ 0 h 13403"/>
                <a:gd name="connsiteX5" fmla="*/ 6870 w 10348"/>
                <a:gd name="connsiteY5" fmla="*/ 882 h 13403"/>
                <a:gd name="connsiteX6" fmla="*/ 6435 w 10348"/>
                <a:gd name="connsiteY6" fmla="*/ 1471 h 13403"/>
                <a:gd name="connsiteX7" fmla="*/ 5604 w 10348"/>
                <a:gd name="connsiteY7" fmla="*/ 1160 h 13403"/>
                <a:gd name="connsiteX8" fmla="*/ 5131 w 10348"/>
                <a:gd name="connsiteY8" fmla="*/ 1176 h 13403"/>
                <a:gd name="connsiteX9" fmla="*/ 4478 w 10348"/>
                <a:gd name="connsiteY9" fmla="*/ 1176 h 13403"/>
                <a:gd name="connsiteX10" fmla="*/ 3609 w 10348"/>
                <a:gd name="connsiteY10" fmla="*/ 882 h 13403"/>
                <a:gd name="connsiteX11" fmla="*/ 3391 w 10348"/>
                <a:gd name="connsiteY11" fmla="*/ 2353 h 13403"/>
                <a:gd name="connsiteX12" fmla="*/ 2305 w 10348"/>
                <a:gd name="connsiteY12" fmla="*/ 2941 h 13403"/>
                <a:gd name="connsiteX13" fmla="*/ 1870 w 10348"/>
                <a:gd name="connsiteY13" fmla="*/ 3529 h 13403"/>
                <a:gd name="connsiteX14" fmla="*/ 1218 w 10348"/>
                <a:gd name="connsiteY14" fmla="*/ 3235 h 13403"/>
                <a:gd name="connsiteX15" fmla="*/ 574 w 10348"/>
                <a:gd name="connsiteY15" fmla="*/ 2846 h 13403"/>
                <a:gd name="connsiteX16" fmla="*/ 356 w 10348"/>
                <a:gd name="connsiteY16" fmla="*/ 4706 h 13403"/>
                <a:gd name="connsiteX17" fmla="*/ 348 w 10348"/>
                <a:gd name="connsiteY17" fmla="*/ 5882 h 13403"/>
                <a:gd name="connsiteX18" fmla="*/ 0 w 10348"/>
                <a:gd name="connsiteY18" fmla="*/ 7734 h 13403"/>
                <a:gd name="connsiteX19" fmla="*/ 800 w 10348"/>
                <a:gd name="connsiteY19" fmla="*/ 8417 h 13403"/>
                <a:gd name="connsiteX20" fmla="*/ 783 w 10348"/>
                <a:gd name="connsiteY20" fmla="*/ 9706 h 13403"/>
                <a:gd name="connsiteX21" fmla="*/ 472 w 10348"/>
                <a:gd name="connsiteY21" fmla="*/ 10621 h 13403"/>
                <a:gd name="connsiteX22" fmla="*/ 1156 w 10348"/>
                <a:gd name="connsiteY22" fmla="*/ 10204 h 13403"/>
                <a:gd name="connsiteX23" fmla="*/ 2017 w 10348"/>
                <a:gd name="connsiteY23" fmla="*/ 9826 h 13403"/>
                <a:gd name="connsiteX24" fmla="*/ 2816 w 10348"/>
                <a:gd name="connsiteY24" fmla="*/ 9816 h 13403"/>
                <a:gd name="connsiteX25" fmla="*/ 4016 w 10348"/>
                <a:gd name="connsiteY25" fmla="*/ 10843 h 13403"/>
                <a:gd name="connsiteX26" fmla="*/ 5469 w 10348"/>
                <a:gd name="connsiteY26" fmla="*/ 11830 h 13403"/>
                <a:gd name="connsiteX27" fmla="*/ 5478 w 10348"/>
                <a:gd name="connsiteY27" fmla="*/ 12764 h 13403"/>
                <a:gd name="connsiteX28" fmla="*/ 6829 w 10348"/>
                <a:gd name="connsiteY28" fmla="*/ 13402 h 13403"/>
                <a:gd name="connsiteX29" fmla="*/ 7923 w 10348"/>
                <a:gd name="connsiteY29" fmla="*/ 12582 h 13403"/>
                <a:gd name="connsiteX30" fmla="*/ 8561 w 10348"/>
                <a:gd name="connsiteY30" fmla="*/ 11933 h 13403"/>
                <a:gd name="connsiteX31" fmla="*/ 8740 w 10348"/>
                <a:gd name="connsiteY31" fmla="*/ 10758 h 13403"/>
                <a:gd name="connsiteX32" fmla="*/ 9779 w 10348"/>
                <a:gd name="connsiteY32" fmla="*/ 10829 h 13403"/>
                <a:gd name="connsiteX33" fmla="*/ 9872 w 10348"/>
                <a:gd name="connsiteY33" fmla="*/ 9686 h 13403"/>
                <a:gd name="connsiteX34" fmla="*/ 7003 w 10348"/>
                <a:gd name="connsiteY34" fmla="*/ 7157 h 13403"/>
                <a:gd name="connsiteX35" fmla="*/ 6319 w 10348"/>
                <a:gd name="connsiteY35" fmla="*/ 5530 h 13403"/>
                <a:gd name="connsiteX36" fmla="*/ 4789 w 10348"/>
                <a:gd name="connsiteY36" fmla="*/ 5162 h 13403"/>
                <a:gd name="connsiteX37" fmla="*/ 10348 w 10348"/>
                <a:gd name="connsiteY37" fmla="*/ 1765 h 13403"/>
                <a:gd name="connsiteX38" fmla="*/ 9913 w 10348"/>
                <a:gd name="connsiteY38" fmla="*/ 882 h 13403"/>
                <a:gd name="connsiteX39" fmla="*/ 9574 w 10348"/>
                <a:gd name="connsiteY39" fmla="*/ 329 h 13403"/>
                <a:gd name="connsiteX0" fmla="*/ 9574 w 10348"/>
                <a:gd name="connsiteY0" fmla="*/ 329 h 13403"/>
                <a:gd name="connsiteX1" fmla="*/ 8609 w 10348"/>
                <a:gd name="connsiteY1" fmla="*/ 1176 h 13403"/>
                <a:gd name="connsiteX2" fmla="*/ 7957 w 10348"/>
                <a:gd name="connsiteY2" fmla="*/ 1176 h 13403"/>
                <a:gd name="connsiteX3" fmla="*/ 7739 w 10348"/>
                <a:gd name="connsiteY3" fmla="*/ 294 h 13403"/>
                <a:gd name="connsiteX4" fmla="*/ 7522 w 10348"/>
                <a:gd name="connsiteY4" fmla="*/ 0 h 13403"/>
                <a:gd name="connsiteX5" fmla="*/ 6870 w 10348"/>
                <a:gd name="connsiteY5" fmla="*/ 882 h 13403"/>
                <a:gd name="connsiteX6" fmla="*/ 6435 w 10348"/>
                <a:gd name="connsiteY6" fmla="*/ 1471 h 13403"/>
                <a:gd name="connsiteX7" fmla="*/ 5604 w 10348"/>
                <a:gd name="connsiteY7" fmla="*/ 1160 h 13403"/>
                <a:gd name="connsiteX8" fmla="*/ 5131 w 10348"/>
                <a:gd name="connsiteY8" fmla="*/ 1176 h 13403"/>
                <a:gd name="connsiteX9" fmla="*/ 4478 w 10348"/>
                <a:gd name="connsiteY9" fmla="*/ 1176 h 13403"/>
                <a:gd name="connsiteX10" fmla="*/ 3609 w 10348"/>
                <a:gd name="connsiteY10" fmla="*/ 882 h 13403"/>
                <a:gd name="connsiteX11" fmla="*/ 3391 w 10348"/>
                <a:gd name="connsiteY11" fmla="*/ 2353 h 13403"/>
                <a:gd name="connsiteX12" fmla="*/ 2305 w 10348"/>
                <a:gd name="connsiteY12" fmla="*/ 2941 h 13403"/>
                <a:gd name="connsiteX13" fmla="*/ 1870 w 10348"/>
                <a:gd name="connsiteY13" fmla="*/ 3529 h 13403"/>
                <a:gd name="connsiteX14" fmla="*/ 1218 w 10348"/>
                <a:gd name="connsiteY14" fmla="*/ 3235 h 13403"/>
                <a:gd name="connsiteX15" fmla="*/ 574 w 10348"/>
                <a:gd name="connsiteY15" fmla="*/ 2846 h 13403"/>
                <a:gd name="connsiteX16" fmla="*/ 356 w 10348"/>
                <a:gd name="connsiteY16" fmla="*/ 4706 h 13403"/>
                <a:gd name="connsiteX17" fmla="*/ 348 w 10348"/>
                <a:gd name="connsiteY17" fmla="*/ 5882 h 13403"/>
                <a:gd name="connsiteX18" fmla="*/ 0 w 10348"/>
                <a:gd name="connsiteY18" fmla="*/ 7734 h 13403"/>
                <a:gd name="connsiteX19" fmla="*/ 800 w 10348"/>
                <a:gd name="connsiteY19" fmla="*/ 8417 h 13403"/>
                <a:gd name="connsiteX20" fmla="*/ 783 w 10348"/>
                <a:gd name="connsiteY20" fmla="*/ 9706 h 13403"/>
                <a:gd name="connsiteX21" fmla="*/ 472 w 10348"/>
                <a:gd name="connsiteY21" fmla="*/ 10621 h 13403"/>
                <a:gd name="connsiteX22" fmla="*/ 1156 w 10348"/>
                <a:gd name="connsiteY22" fmla="*/ 10204 h 13403"/>
                <a:gd name="connsiteX23" fmla="*/ 2017 w 10348"/>
                <a:gd name="connsiteY23" fmla="*/ 9826 h 13403"/>
                <a:gd name="connsiteX24" fmla="*/ 2816 w 10348"/>
                <a:gd name="connsiteY24" fmla="*/ 9816 h 13403"/>
                <a:gd name="connsiteX25" fmla="*/ 4016 w 10348"/>
                <a:gd name="connsiteY25" fmla="*/ 10843 h 13403"/>
                <a:gd name="connsiteX26" fmla="*/ 5469 w 10348"/>
                <a:gd name="connsiteY26" fmla="*/ 11830 h 13403"/>
                <a:gd name="connsiteX27" fmla="*/ 5478 w 10348"/>
                <a:gd name="connsiteY27" fmla="*/ 12764 h 13403"/>
                <a:gd name="connsiteX28" fmla="*/ 6829 w 10348"/>
                <a:gd name="connsiteY28" fmla="*/ 13402 h 13403"/>
                <a:gd name="connsiteX29" fmla="*/ 7923 w 10348"/>
                <a:gd name="connsiteY29" fmla="*/ 12582 h 13403"/>
                <a:gd name="connsiteX30" fmla="*/ 8561 w 10348"/>
                <a:gd name="connsiteY30" fmla="*/ 11933 h 13403"/>
                <a:gd name="connsiteX31" fmla="*/ 8740 w 10348"/>
                <a:gd name="connsiteY31" fmla="*/ 10758 h 13403"/>
                <a:gd name="connsiteX32" fmla="*/ 9779 w 10348"/>
                <a:gd name="connsiteY32" fmla="*/ 10829 h 13403"/>
                <a:gd name="connsiteX33" fmla="*/ 9872 w 10348"/>
                <a:gd name="connsiteY33" fmla="*/ 9686 h 13403"/>
                <a:gd name="connsiteX34" fmla="*/ 7003 w 10348"/>
                <a:gd name="connsiteY34" fmla="*/ 7157 h 13403"/>
                <a:gd name="connsiteX35" fmla="*/ 6319 w 10348"/>
                <a:gd name="connsiteY35" fmla="*/ 5530 h 13403"/>
                <a:gd name="connsiteX36" fmla="*/ 4789 w 10348"/>
                <a:gd name="connsiteY36" fmla="*/ 5162 h 13403"/>
                <a:gd name="connsiteX37" fmla="*/ 10348 w 10348"/>
                <a:gd name="connsiteY37" fmla="*/ 1765 h 13403"/>
                <a:gd name="connsiteX38" fmla="*/ 9913 w 10348"/>
                <a:gd name="connsiteY38" fmla="*/ 882 h 13403"/>
                <a:gd name="connsiteX39" fmla="*/ 9574 w 10348"/>
                <a:gd name="connsiteY39" fmla="*/ 329 h 13403"/>
                <a:gd name="connsiteX0" fmla="*/ 9574 w 10348"/>
                <a:gd name="connsiteY0" fmla="*/ 329 h 13403"/>
                <a:gd name="connsiteX1" fmla="*/ 8609 w 10348"/>
                <a:gd name="connsiteY1" fmla="*/ 1176 h 13403"/>
                <a:gd name="connsiteX2" fmla="*/ 7957 w 10348"/>
                <a:gd name="connsiteY2" fmla="*/ 1176 h 13403"/>
                <a:gd name="connsiteX3" fmla="*/ 7739 w 10348"/>
                <a:gd name="connsiteY3" fmla="*/ 294 h 13403"/>
                <a:gd name="connsiteX4" fmla="*/ 7522 w 10348"/>
                <a:gd name="connsiteY4" fmla="*/ 0 h 13403"/>
                <a:gd name="connsiteX5" fmla="*/ 6870 w 10348"/>
                <a:gd name="connsiteY5" fmla="*/ 882 h 13403"/>
                <a:gd name="connsiteX6" fmla="*/ 6435 w 10348"/>
                <a:gd name="connsiteY6" fmla="*/ 1471 h 13403"/>
                <a:gd name="connsiteX7" fmla="*/ 5604 w 10348"/>
                <a:gd name="connsiteY7" fmla="*/ 1160 h 13403"/>
                <a:gd name="connsiteX8" fmla="*/ 5131 w 10348"/>
                <a:gd name="connsiteY8" fmla="*/ 1176 h 13403"/>
                <a:gd name="connsiteX9" fmla="*/ 4478 w 10348"/>
                <a:gd name="connsiteY9" fmla="*/ 1176 h 13403"/>
                <a:gd name="connsiteX10" fmla="*/ 3609 w 10348"/>
                <a:gd name="connsiteY10" fmla="*/ 882 h 13403"/>
                <a:gd name="connsiteX11" fmla="*/ 3391 w 10348"/>
                <a:gd name="connsiteY11" fmla="*/ 2353 h 13403"/>
                <a:gd name="connsiteX12" fmla="*/ 2305 w 10348"/>
                <a:gd name="connsiteY12" fmla="*/ 2941 h 13403"/>
                <a:gd name="connsiteX13" fmla="*/ 1870 w 10348"/>
                <a:gd name="connsiteY13" fmla="*/ 3529 h 13403"/>
                <a:gd name="connsiteX14" fmla="*/ 1218 w 10348"/>
                <a:gd name="connsiteY14" fmla="*/ 3235 h 13403"/>
                <a:gd name="connsiteX15" fmla="*/ 574 w 10348"/>
                <a:gd name="connsiteY15" fmla="*/ 2846 h 13403"/>
                <a:gd name="connsiteX16" fmla="*/ 356 w 10348"/>
                <a:gd name="connsiteY16" fmla="*/ 4706 h 13403"/>
                <a:gd name="connsiteX17" fmla="*/ 348 w 10348"/>
                <a:gd name="connsiteY17" fmla="*/ 5882 h 13403"/>
                <a:gd name="connsiteX18" fmla="*/ 0 w 10348"/>
                <a:gd name="connsiteY18" fmla="*/ 7734 h 13403"/>
                <a:gd name="connsiteX19" fmla="*/ 800 w 10348"/>
                <a:gd name="connsiteY19" fmla="*/ 8417 h 13403"/>
                <a:gd name="connsiteX20" fmla="*/ 783 w 10348"/>
                <a:gd name="connsiteY20" fmla="*/ 9706 h 13403"/>
                <a:gd name="connsiteX21" fmla="*/ 472 w 10348"/>
                <a:gd name="connsiteY21" fmla="*/ 10621 h 13403"/>
                <a:gd name="connsiteX22" fmla="*/ 1156 w 10348"/>
                <a:gd name="connsiteY22" fmla="*/ 10204 h 13403"/>
                <a:gd name="connsiteX23" fmla="*/ 2017 w 10348"/>
                <a:gd name="connsiteY23" fmla="*/ 9826 h 13403"/>
                <a:gd name="connsiteX24" fmla="*/ 2816 w 10348"/>
                <a:gd name="connsiteY24" fmla="*/ 9816 h 13403"/>
                <a:gd name="connsiteX25" fmla="*/ 4016 w 10348"/>
                <a:gd name="connsiteY25" fmla="*/ 10843 h 13403"/>
                <a:gd name="connsiteX26" fmla="*/ 5469 w 10348"/>
                <a:gd name="connsiteY26" fmla="*/ 11830 h 13403"/>
                <a:gd name="connsiteX27" fmla="*/ 5478 w 10348"/>
                <a:gd name="connsiteY27" fmla="*/ 12764 h 13403"/>
                <a:gd name="connsiteX28" fmla="*/ 6829 w 10348"/>
                <a:gd name="connsiteY28" fmla="*/ 13402 h 13403"/>
                <a:gd name="connsiteX29" fmla="*/ 7923 w 10348"/>
                <a:gd name="connsiteY29" fmla="*/ 12582 h 13403"/>
                <a:gd name="connsiteX30" fmla="*/ 8561 w 10348"/>
                <a:gd name="connsiteY30" fmla="*/ 11933 h 13403"/>
                <a:gd name="connsiteX31" fmla="*/ 8740 w 10348"/>
                <a:gd name="connsiteY31" fmla="*/ 10758 h 13403"/>
                <a:gd name="connsiteX32" fmla="*/ 9779 w 10348"/>
                <a:gd name="connsiteY32" fmla="*/ 10829 h 13403"/>
                <a:gd name="connsiteX33" fmla="*/ 9872 w 10348"/>
                <a:gd name="connsiteY33" fmla="*/ 9686 h 13403"/>
                <a:gd name="connsiteX34" fmla="*/ 7003 w 10348"/>
                <a:gd name="connsiteY34" fmla="*/ 7157 h 13403"/>
                <a:gd name="connsiteX35" fmla="*/ 6319 w 10348"/>
                <a:gd name="connsiteY35" fmla="*/ 5530 h 13403"/>
                <a:gd name="connsiteX36" fmla="*/ 4789 w 10348"/>
                <a:gd name="connsiteY36" fmla="*/ 5162 h 13403"/>
                <a:gd name="connsiteX37" fmla="*/ 10348 w 10348"/>
                <a:gd name="connsiteY37" fmla="*/ 1765 h 13403"/>
                <a:gd name="connsiteX38" fmla="*/ 9913 w 10348"/>
                <a:gd name="connsiteY38" fmla="*/ 882 h 13403"/>
                <a:gd name="connsiteX39" fmla="*/ 9574 w 10348"/>
                <a:gd name="connsiteY39" fmla="*/ 329 h 13403"/>
                <a:gd name="connsiteX0" fmla="*/ 9574 w 9913"/>
                <a:gd name="connsiteY0" fmla="*/ 329 h 13403"/>
                <a:gd name="connsiteX1" fmla="*/ 8609 w 9913"/>
                <a:gd name="connsiteY1" fmla="*/ 1176 h 13403"/>
                <a:gd name="connsiteX2" fmla="*/ 7957 w 9913"/>
                <a:gd name="connsiteY2" fmla="*/ 1176 h 13403"/>
                <a:gd name="connsiteX3" fmla="*/ 7739 w 9913"/>
                <a:gd name="connsiteY3" fmla="*/ 294 h 13403"/>
                <a:gd name="connsiteX4" fmla="*/ 7522 w 9913"/>
                <a:gd name="connsiteY4" fmla="*/ 0 h 13403"/>
                <a:gd name="connsiteX5" fmla="*/ 6870 w 9913"/>
                <a:gd name="connsiteY5" fmla="*/ 882 h 13403"/>
                <a:gd name="connsiteX6" fmla="*/ 6435 w 9913"/>
                <a:gd name="connsiteY6" fmla="*/ 1471 h 13403"/>
                <a:gd name="connsiteX7" fmla="*/ 5604 w 9913"/>
                <a:gd name="connsiteY7" fmla="*/ 1160 h 13403"/>
                <a:gd name="connsiteX8" fmla="*/ 5131 w 9913"/>
                <a:gd name="connsiteY8" fmla="*/ 1176 h 13403"/>
                <a:gd name="connsiteX9" fmla="*/ 4478 w 9913"/>
                <a:gd name="connsiteY9" fmla="*/ 1176 h 13403"/>
                <a:gd name="connsiteX10" fmla="*/ 3609 w 9913"/>
                <a:gd name="connsiteY10" fmla="*/ 882 h 13403"/>
                <a:gd name="connsiteX11" fmla="*/ 3391 w 9913"/>
                <a:gd name="connsiteY11" fmla="*/ 2353 h 13403"/>
                <a:gd name="connsiteX12" fmla="*/ 2305 w 9913"/>
                <a:gd name="connsiteY12" fmla="*/ 2941 h 13403"/>
                <a:gd name="connsiteX13" fmla="*/ 1870 w 9913"/>
                <a:gd name="connsiteY13" fmla="*/ 3529 h 13403"/>
                <a:gd name="connsiteX14" fmla="*/ 1218 w 9913"/>
                <a:gd name="connsiteY14" fmla="*/ 3235 h 13403"/>
                <a:gd name="connsiteX15" fmla="*/ 574 w 9913"/>
                <a:gd name="connsiteY15" fmla="*/ 2846 h 13403"/>
                <a:gd name="connsiteX16" fmla="*/ 356 w 9913"/>
                <a:gd name="connsiteY16" fmla="*/ 4706 h 13403"/>
                <a:gd name="connsiteX17" fmla="*/ 348 w 9913"/>
                <a:gd name="connsiteY17" fmla="*/ 5882 h 13403"/>
                <a:gd name="connsiteX18" fmla="*/ 0 w 9913"/>
                <a:gd name="connsiteY18" fmla="*/ 7734 h 13403"/>
                <a:gd name="connsiteX19" fmla="*/ 800 w 9913"/>
                <a:gd name="connsiteY19" fmla="*/ 8417 h 13403"/>
                <a:gd name="connsiteX20" fmla="*/ 783 w 9913"/>
                <a:gd name="connsiteY20" fmla="*/ 9706 h 13403"/>
                <a:gd name="connsiteX21" fmla="*/ 472 w 9913"/>
                <a:gd name="connsiteY21" fmla="*/ 10621 h 13403"/>
                <a:gd name="connsiteX22" fmla="*/ 1156 w 9913"/>
                <a:gd name="connsiteY22" fmla="*/ 10204 h 13403"/>
                <a:gd name="connsiteX23" fmla="*/ 2017 w 9913"/>
                <a:gd name="connsiteY23" fmla="*/ 9826 h 13403"/>
                <a:gd name="connsiteX24" fmla="*/ 2816 w 9913"/>
                <a:gd name="connsiteY24" fmla="*/ 9816 h 13403"/>
                <a:gd name="connsiteX25" fmla="*/ 4016 w 9913"/>
                <a:gd name="connsiteY25" fmla="*/ 10843 h 13403"/>
                <a:gd name="connsiteX26" fmla="*/ 5469 w 9913"/>
                <a:gd name="connsiteY26" fmla="*/ 11830 h 13403"/>
                <a:gd name="connsiteX27" fmla="*/ 5478 w 9913"/>
                <a:gd name="connsiteY27" fmla="*/ 12764 h 13403"/>
                <a:gd name="connsiteX28" fmla="*/ 6829 w 9913"/>
                <a:gd name="connsiteY28" fmla="*/ 13402 h 13403"/>
                <a:gd name="connsiteX29" fmla="*/ 7923 w 9913"/>
                <a:gd name="connsiteY29" fmla="*/ 12582 h 13403"/>
                <a:gd name="connsiteX30" fmla="*/ 8561 w 9913"/>
                <a:gd name="connsiteY30" fmla="*/ 11933 h 13403"/>
                <a:gd name="connsiteX31" fmla="*/ 8740 w 9913"/>
                <a:gd name="connsiteY31" fmla="*/ 10758 h 13403"/>
                <a:gd name="connsiteX32" fmla="*/ 9779 w 9913"/>
                <a:gd name="connsiteY32" fmla="*/ 10829 h 13403"/>
                <a:gd name="connsiteX33" fmla="*/ 9872 w 9913"/>
                <a:gd name="connsiteY33" fmla="*/ 9686 h 13403"/>
                <a:gd name="connsiteX34" fmla="*/ 7003 w 9913"/>
                <a:gd name="connsiteY34" fmla="*/ 7157 h 13403"/>
                <a:gd name="connsiteX35" fmla="*/ 6319 w 9913"/>
                <a:gd name="connsiteY35" fmla="*/ 5530 h 13403"/>
                <a:gd name="connsiteX36" fmla="*/ 4789 w 9913"/>
                <a:gd name="connsiteY36" fmla="*/ 5162 h 13403"/>
                <a:gd name="connsiteX37" fmla="*/ 4153 w 9913"/>
                <a:gd name="connsiteY37" fmla="*/ 3607 h 13403"/>
                <a:gd name="connsiteX38" fmla="*/ 9913 w 9913"/>
                <a:gd name="connsiteY38" fmla="*/ 882 h 13403"/>
                <a:gd name="connsiteX39" fmla="*/ 9574 w 9913"/>
                <a:gd name="connsiteY39" fmla="*/ 329 h 13403"/>
                <a:gd name="connsiteX0" fmla="*/ 9658 w 10000"/>
                <a:gd name="connsiteY0" fmla="*/ 245 h 10000"/>
                <a:gd name="connsiteX1" fmla="*/ 8685 w 10000"/>
                <a:gd name="connsiteY1" fmla="*/ 877 h 10000"/>
                <a:gd name="connsiteX2" fmla="*/ 8027 w 10000"/>
                <a:gd name="connsiteY2" fmla="*/ 877 h 10000"/>
                <a:gd name="connsiteX3" fmla="*/ 7807 w 10000"/>
                <a:gd name="connsiteY3" fmla="*/ 219 h 10000"/>
                <a:gd name="connsiteX4" fmla="*/ 7588 w 10000"/>
                <a:gd name="connsiteY4" fmla="*/ 0 h 10000"/>
                <a:gd name="connsiteX5" fmla="*/ 6930 w 10000"/>
                <a:gd name="connsiteY5" fmla="*/ 658 h 10000"/>
                <a:gd name="connsiteX6" fmla="*/ 6491 w 10000"/>
                <a:gd name="connsiteY6" fmla="*/ 1098 h 10000"/>
                <a:gd name="connsiteX7" fmla="*/ 5653 w 10000"/>
                <a:gd name="connsiteY7" fmla="*/ 865 h 10000"/>
                <a:gd name="connsiteX8" fmla="*/ 5176 w 10000"/>
                <a:gd name="connsiteY8" fmla="*/ 877 h 10000"/>
                <a:gd name="connsiteX9" fmla="*/ 4517 w 10000"/>
                <a:gd name="connsiteY9" fmla="*/ 877 h 10000"/>
                <a:gd name="connsiteX10" fmla="*/ 3641 w 10000"/>
                <a:gd name="connsiteY10" fmla="*/ 658 h 10000"/>
                <a:gd name="connsiteX11" fmla="*/ 3421 w 10000"/>
                <a:gd name="connsiteY11" fmla="*/ 1756 h 10000"/>
                <a:gd name="connsiteX12" fmla="*/ 2325 w 10000"/>
                <a:gd name="connsiteY12" fmla="*/ 2194 h 10000"/>
                <a:gd name="connsiteX13" fmla="*/ 1886 w 10000"/>
                <a:gd name="connsiteY13" fmla="*/ 2633 h 10000"/>
                <a:gd name="connsiteX14" fmla="*/ 1229 w 10000"/>
                <a:gd name="connsiteY14" fmla="*/ 2414 h 10000"/>
                <a:gd name="connsiteX15" fmla="*/ 579 w 10000"/>
                <a:gd name="connsiteY15" fmla="*/ 2123 h 10000"/>
                <a:gd name="connsiteX16" fmla="*/ 359 w 10000"/>
                <a:gd name="connsiteY16" fmla="*/ 3511 h 10000"/>
                <a:gd name="connsiteX17" fmla="*/ 351 w 10000"/>
                <a:gd name="connsiteY17" fmla="*/ 4389 h 10000"/>
                <a:gd name="connsiteX18" fmla="*/ 0 w 10000"/>
                <a:gd name="connsiteY18" fmla="*/ 5770 h 10000"/>
                <a:gd name="connsiteX19" fmla="*/ 807 w 10000"/>
                <a:gd name="connsiteY19" fmla="*/ 6280 h 10000"/>
                <a:gd name="connsiteX20" fmla="*/ 790 w 10000"/>
                <a:gd name="connsiteY20" fmla="*/ 7242 h 10000"/>
                <a:gd name="connsiteX21" fmla="*/ 476 w 10000"/>
                <a:gd name="connsiteY21" fmla="*/ 7924 h 10000"/>
                <a:gd name="connsiteX22" fmla="*/ 1166 w 10000"/>
                <a:gd name="connsiteY22" fmla="*/ 7613 h 10000"/>
                <a:gd name="connsiteX23" fmla="*/ 2035 w 10000"/>
                <a:gd name="connsiteY23" fmla="*/ 7331 h 10000"/>
                <a:gd name="connsiteX24" fmla="*/ 2841 w 10000"/>
                <a:gd name="connsiteY24" fmla="*/ 7324 h 10000"/>
                <a:gd name="connsiteX25" fmla="*/ 4051 w 10000"/>
                <a:gd name="connsiteY25" fmla="*/ 8090 h 10000"/>
                <a:gd name="connsiteX26" fmla="*/ 5517 w 10000"/>
                <a:gd name="connsiteY26" fmla="*/ 8826 h 10000"/>
                <a:gd name="connsiteX27" fmla="*/ 5526 w 10000"/>
                <a:gd name="connsiteY27" fmla="*/ 9523 h 10000"/>
                <a:gd name="connsiteX28" fmla="*/ 6889 w 10000"/>
                <a:gd name="connsiteY28" fmla="*/ 9999 h 10000"/>
                <a:gd name="connsiteX29" fmla="*/ 7993 w 10000"/>
                <a:gd name="connsiteY29" fmla="*/ 9387 h 10000"/>
                <a:gd name="connsiteX30" fmla="*/ 8636 w 10000"/>
                <a:gd name="connsiteY30" fmla="*/ 8903 h 10000"/>
                <a:gd name="connsiteX31" fmla="*/ 8817 w 10000"/>
                <a:gd name="connsiteY31" fmla="*/ 8027 h 10000"/>
                <a:gd name="connsiteX32" fmla="*/ 9865 w 10000"/>
                <a:gd name="connsiteY32" fmla="*/ 8080 h 10000"/>
                <a:gd name="connsiteX33" fmla="*/ 9959 w 10000"/>
                <a:gd name="connsiteY33" fmla="*/ 7227 h 10000"/>
                <a:gd name="connsiteX34" fmla="*/ 7064 w 10000"/>
                <a:gd name="connsiteY34" fmla="*/ 5340 h 10000"/>
                <a:gd name="connsiteX35" fmla="*/ 6374 w 10000"/>
                <a:gd name="connsiteY35" fmla="*/ 4126 h 10000"/>
                <a:gd name="connsiteX36" fmla="*/ 4831 w 10000"/>
                <a:gd name="connsiteY36" fmla="*/ 3851 h 10000"/>
                <a:gd name="connsiteX37" fmla="*/ 4189 w 10000"/>
                <a:gd name="connsiteY37" fmla="*/ 2691 h 10000"/>
                <a:gd name="connsiteX38" fmla="*/ 10000 w 10000"/>
                <a:gd name="connsiteY38" fmla="*/ 658 h 10000"/>
                <a:gd name="connsiteX39" fmla="*/ 9658 w 10000"/>
                <a:gd name="connsiteY39" fmla="*/ 245 h 10000"/>
                <a:gd name="connsiteX0" fmla="*/ 9658 w 10000"/>
                <a:gd name="connsiteY0" fmla="*/ 245 h 10000"/>
                <a:gd name="connsiteX1" fmla="*/ 8685 w 10000"/>
                <a:gd name="connsiteY1" fmla="*/ 877 h 10000"/>
                <a:gd name="connsiteX2" fmla="*/ 8027 w 10000"/>
                <a:gd name="connsiteY2" fmla="*/ 877 h 10000"/>
                <a:gd name="connsiteX3" fmla="*/ 7807 w 10000"/>
                <a:gd name="connsiteY3" fmla="*/ 219 h 10000"/>
                <a:gd name="connsiteX4" fmla="*/ 7588 w 10000"/>
                <a:gd name="connsiteY4" fmla="*/ 0 h 10000"/>
                <a:gd name="connsiteX5" fmla="*/ 6930 w 10000"/>
                <a:gd name="connsiteY5" fmla="*/ 658 h 10000"/>
                <a:gd name="connsiteX6" fmla="*/ 6491 w 10000"/>
                <a:gd name="connsiteY6" fmla="*/ 1098 h 10000"/>
                <a:gd name="connsiteX7" fmla="*/ 5653 w 10000"/>
                <a:gd name="connsiteY7" fmla="*/ 865 h 10000"/>
                <a:gd name="connsiteX8" fmla="*/ 5176 w 10000"/>
                <a:gd name="connsiteY8" fmla="*/ 877 h 10000"/>
                <a:gd name="connsiteX9" fmla="*/ 4517 w 10000"/>
                <a:gd name="connsiteY9" fmla="*/ 877 h 10000"/>
                <a:gd name="connsiteX10" fmla="*/ 3641 w 10000"/>
                <a:gd name="connsiteY10" fmla="*/ 658 h 10000"/>
                <a:gd name="connsiteX11" fmla="*/ 2325 w 10000"/>
                <a:gd name="connsiteY11" fmla="*/ 2194 h 10000"/>
                <a:gd name="connsiteX12" fmla="*/ 1886 w 10000"/>
                <a:gd name="connsiteY12" fmla="*/ 2633 h 10000"/>
                <a:gd name="connsiteX13" fmla="*/ 1229 w 10000"/>
                <a:gd name="connsiteY13" fmla="*/ 2414 h 10000"/>
                <a:gd name="connsiteX14" fmla="*/ 579 w 10000"/>
                <a:gd name="connsiteY14" fmla="*/ 2123 h 10000"/>
                <a:gd name="connsiteX15" fmla="*/ 359 w 10000"/>
                <a:gd name="connsiteY15" fmla="*/ 3511 h 10000"/>
                <a:gd name="connsiteX16" fmla="*/ 351 w 10000"/>
                <a:gd name="connsiteY16" fmla="*/ 4389 h 10000"/>
                <a:gd name="connsiteX17" fmla="*/ 0 w 10000"/>
                <a:gd name="connsiteY17" fmla="*/ 5770 h 10000"/>
                <a:gd name="connsiteX18" fmla="*/ 807 w 10000"/>
                <a:gd name="connsiteY18" fmla="*/ 6280 h 10000"/>
                <a:gd name="connsiteX19" fmla="*/ 790 w 10000"/>
                <a:gd name="connsiteY19" fmla="*/ 7242 h 10000"/>
                <a:gd name="connsiteX20" fmla="*/ 476 w 10000"/>
                <a:gd name="connsiteY20" fmla="*/ 7924 h 10000"/>
                <a:gd name="connsiteX21" fmla="*/ 1166 w 10000"/>
                <a:gd name="connsiteY21" fmla="*/ 7613 h 10000"/>
                <a:gd name="connsiteX22" fmla="*/ 2035 w 10000"/>
                <a:gd name="connsiteY22" fmla="*/ 7331 h 10000"/>
                <a:gd name="connsiteX23" fmla="*/ 2841 w 10000"/>
                <a:gd name="connsiteY23" fmla="*/ 7324 h 10000"/>
                <a:gd name="connsiteX24" fmla="*/ 4051 w 10000"/>
                <a:gd name="connsiteY24" fmla="*/ 8090 h 10000"/>
                <a:gd name="connsiteX25" fmla="*/ 5517 w 10000"/>
                <a:gd name="connsiteY25" fmla="*/ 8826 h 10000"/>
                <a:gd name="connsiteX26" fmla="*/ 5526 w 10000"/>
                <a:gd name="connsiteY26" fmla="*/ 9523 h 10000"/>
                <a:gd name="connsiteX27" fmla="*/ 6889 w 10000"/>
                <a:gd name="connsiteY27" fmla="*/ 9999 h 10000"/>
                <a:gd name="connsiteX28" fmla="*/ 7993 w 10000"/>
                <a:gd name="connsiteY28" fmla="*/ 9387 h 10000"/>
                <a:gd name="connsiteX29" fmla="*/ 8636 w 10000"/>
                <a:gd name="connsiteY29" fmla="*/ 8903 h 10000"/>
                <a:gd name="connsiteX30" fmla="*/ 8817 w 10000"/>
                <a:gd name="connsiteY30" fmla="*/ 8027 h 10000"/>
                <a:gd name="connsiteX31" fmla="*/ 9865 w 10000"/>
                <a:gd name="connsiteY31" fmla="*/ 8080 h 10000"/>
                <a:gd name="connsiteX32" fmla="*/ 9959 w 10000"/>
                <a:gd name="connsiteY32" fmla="*/ 7227 h 10000"/>
                <a:gd name="connsiteX33" fmla="*/ 7064 w 10000"/>
                <a:gd name="connsiteY33" fmla="*/ 5340 h 10000"/>
                <a:gd name="connsiteX34" fmla="*/ 6374 w 10000"/>
                <a:gd name="connsiteY34" fmla="*/ 4126 h 10000"/>
                <a:gd name="connsiteX35" fmla="*/ 4831 w 10000"/>
                <a:gd name="connsiteY35" fmla="*/ 3851 h 10000"/>
                <a:gd name="connsiteX36" fmla="*/ 4189 w 10000"/>
                <a:gd name="connsiteY36" fmla="*/ 2691 h 10000"/>
                <a:gd name="connsiteX37" fmla="*/ 10000 w 10000"/>
                <a:gd name="connsiteY37" fmla="*/ 658 h 10000"/>
                <a:gd name="connsiteX38" fmla="*/ 9658 w 10000"/>
                <a:gd name="connsiteY38" fmla="*/ 245 h 10000"/>
                <a:gd name="connsiteX0" fmla="*/ 9658 w 10000"/>
                <a:gd name="connsiteY0" fmla="*/ 245 h 10000"/>
                <a:gd name="connsiteX1" fmla="*/ 8685 w 10000"/>
                <a:gd name="connsiteY1" fmla="*/ 877 h 10000"/>
                <a:gd name="connsiteX2" fmla="*/ 8027 w 10000"/>
                <a:gd name="connsiteY2" fmla="*/ 877 h 10000"/>
                <a:gd name="connsiteX3" fmla="*/ 7807 w 10000"/>
                <a:gd name="connsiteY3" fmla="*/ 219 h 10000"/>
                <a:gd name="connsiteX4" fmla="*/ 7588 w 10000"/>
                <a:gd name="connsiteY4" fmla="*/ 0 h 10000"/>
                <a:gd name="connsiteX5" fmla="*/ 6930 w 10000"/>
                <a:gd name="connsiteY5" fmla="*/ 658 h 10000"/>
                <a:gd name="connsiteX6" fmla="*/ 6491 w 10000"/>
                <a:gd name="connsiteY6" fmla="*/ 1098 h 10000"/>
                <a:gd name="connsiteX7" fmla="*/ 5653 w 10000"/>
                <a:gd name="connsiteY7" fmla="*/ 865 h 10000"/>
                <a:gd name="connsiteX8" fmla="*/ 5176 w 10000"/>
                <a:gd name="connsiteY8" fmla="*/ 877 h 10000"/>
                <a:gd name="connsiteX9" fmla="*/ 4517 w 10000"/>
                <a:gd name="connsiteY9" fmla="*/ 877 h 10000"/>
                <a:gd name="connsiteX10" fmla="*/ 2325 w 10000"/>
                <a:gd name="connsiteY10" fmla="*/ 2194 h 10000"/>
                <a:gd name="connsiteX11" fmla="*/ 1886 w 10000"/>
                <a:gd name="connsiteY11" fmla="*/ 2633 h 10000"/>
                <a:gd name="connsiteX12" fmla="*/ 1229 w 10000"/>
                <a:gd name="connsiteY12" fmla="*/ 2414 h 10000"/>
                <a:gd name="connsiteX13" fmla="*/ 579 w 10000"/>
                <a:gd name="connsiteY13" fmla="*/ 2123 h 10000"/>
                <a:gd name="connsiteX14" fmla="*/ 359 w 10000"/>
                <a:gd name="connsiteY14" fmla="*/ 3511 h 10000"/>
                <a:gd name="connsiteX15" fmla="*/ 351 w 10000"/>
                <a:gd name="connsiteY15" fmla="*/ 4389 h 10000"/>
                <a:gd name="connsiteX16" fmla="*/ 0 w 10000"/>
                <a:gd name="connsiteY16" fmla="*/ 5770 h 10000"/>
                <a:gd name="connsiteX17" fmla="*/ 807 w 10000"/>
                <a:gd name="connsiteY17" fmla="*/ 6280 h 10000"/>
                <a:gd name="connsiteX18" fmla="*/ 790 w 10000"/>
                <a:gd name="connsiteY18" fmla="*/ 7242 h 10000"/>
                <a:gd name="connsiteX19" fmla="*/ 476 w 10000"/>
                <a:gd name="connsiteY19" fmla="*/ 7924 h 10000"/>
                <a:gd name="connsiteX20" fmla="*/ 1166 w 10000"/>
                <a:gd name="connsiteY20" fmla="*/ 7613 h 10000"/>
                <a:gd name="connsiteX21" fmla="*/ 2035 w 10000"/>
                <a:gd name="connsiteY21" fmla="*/ 7331 h 10000"/>
                <a:gd name="connsiteX22" fmla="*/ 2841 w 10000"/>
                <a:gd name="connsiteY22" fmla="*/ 7324 h 10000"/>
                <a:gd name="connsiteX23" fmla="*/ 4051 w 10000"/>
                <a:gd name="connsiteY23" fmla="*/ 8090 h 10000"/>
                <a:gd name="connsiteX24" fmla="*/ 5517 w 10000"/>
                <a:gd name="connsiteY24" fmla="*/ 8826 h 10000"/>
                <a:gd name="connsiteX25" fmla="*/ 5526 w 10000"/>
                <a:gd name="connsiteY25" fmla="*/ 9523 h 10000"/>
                <a:gd name="connsiteX26" fmla="*/ 6889 w 10000"/>
                <a:gd name="connsiteY26" fmla="*/ 9999 h 10000"/>
                <a:gd name="connsiteX27" fmla="*/ 7993 w 10000"/>
                <a:gd name="connsiteY27" fmla="*/ 9387 h 10000"/>
                <a:gd name="connsiteX28" fmla="*/ 8636 w 10000"/>
                <a:gd name="connsiteY28" fmla="*/ 8903 h 10000"/>
                <a:gd name="connsiteX29" fmla="*/ 8817 w 10000"/>
                <a:gd name="connsiteY29" fmla="*/ 8027 h 10000"/>
                <a:gd name="connsiteX30" fmla="*/ 9865 w 10000"/>
                <a:gd name="connsiteY30" fmla="*/ 8080 h 10000"/>
                <a:gd name="connsiteX31" fmla="*/ 9959 w 10000"/>
                <a:gd name="connsiteY31" fmla="*/ 7227 h 10000"/>
                <a:gd name="connsiteX32" fmla="*/ 7064 w 10000"/>
                <a:gd name="connsiteY32" fmla="*/ 5340 h 10000"/>
                <a:gd name="connsiteX33" fmla="*/ 6374 w 10000"/>
                <a:gd name="connsiteY33" fmla="*/ 4126 h 10000"/>
                <a:gd name="connsiteX34" fmla="*/ 4831 w 10000"/>
                <a:gd name="connsiteY34" fmla="*/ 3851 h 10000"/>
                <a:gd name="connsiteX35" fmla="*/ 4189 w 10000"/>
                <a:gd name="connsiteY35" fmla="*/ 2691 h 10000"/>
                <a:gd name="connsiteX36" fmla="*/ 10000 w 10000"/>
                <a:gd name="connsiteY36" fmla="*/ 658 h 10000"/>
                <a:gd name="connsiteX37" fmla="*/ 9658 w 10000"/>
                <a:gd name="connsiteY37" fmla="*/ 245 h 10000"/>
                <a:gd name="connsiteX0" fmla="*/ 9658 w 10000"/>
                <a:gd name="connsiteY0" fmla="*/ 245 h 10000"/>
                <a:gd name="connsiteX1" fmla="*/ 8685 w 10000"/>
                <a:gd name="connsiteY1" fmla="*/ 877 h 10000"/>
                <a:gd name="connsiteX2" fmla="*/ 8027 w 10000"/>
                <a:gd name="connsiteY2" fmla="*/ 877 h 10000"/>
                <a:gd name="connsiteX3" fmla="*/ 7807 w 10000"/>
                <a:gd name="connsiteY3" fmla="*/ 219 h 10000"/>
                <a:gd name="connsiteX4" fmla="*/ 7588 w 10000"/>
                <a:gd name="connsiteY4" fmla="*/ 0 h 10000"/>
                <a:gd name="connsiteX5" fmla="*/ 6930 w 10000"/>
                <a:gd name="connsiteY5" fmla="*/ 658 h 10000"/>
                <a:gd name="connsiteX6" fmla="*/ 6491 w 10000"/>
                <a:gd name="connsiteY6" fmla="*/ 1098 h 10000"/>
                <a:gd name="connsiteX7" fmla="*/ 5653 w 10000"/>
                <a:gd name="connsiteY7" fmla="*/ 865 h 10000"/>
                <a:gd name="connsiteX8" fmla="*/ 4517 w 10000"/>
                <a:gd name="connsiteY8" fmla="*/ 877 h 10000"/>
                <a:gd name="connsiteX9" fmla="*/ 2325 w 10000"/>
                <a:gd name="connsiteY9" fmla="*/ 2194 h 10000"/>
                <a:gd name="connsiteX10" fmla="*/ 1886 w 10000"/>
                <a:gd name="connsiteY10" fmla="*/ 2633 h 10000"/>
                <a:gd name="connsiteX11" fmla="*/ 1229 w 10000"/>
                <a:gd name="connsiteY11" fmla="*/ 2414 h 10000"/>
                <a:gd name="connsiteX12" fmla="*/ 579 w 10000"/>
                <a:gd name="connsiteY12" fmla="*/ 2123 h 10000"/>
                <a:gd name="connsiteX13" fmla="*/ 359 w 10000"/>
                <a:gd name="connsiteY13" fmla="*/ 3511 h 10000"/>
                <a:gd name="connsiteX14" fmla="*/ 351 w 10000"/>
                <a:gd name="connsiteY14" fmla="*/ 4389 h 10000"/>
                <a:gd name="connsiteX15" fmla="*/ 0 w 10000"/>
                <a:gd name="connsiteY15" fmla="*/ 5770 h 10000"/>
                <a:gd name="connsiteX16" fmla="*/ 807 w 10000"/>
                <a:gd name="connsiteY16" fmla="*/ 6280 h 10000"/>
                <a:gd name="connsiteX17" fmla="*/ 790 w 10000"/>
                <a:gd name="connsiteY17" fmla="*/ 7242 h 10000"/>
                <a:gd name="connsiteX18" fmla="*/ 476 w 10000"/>
                <a:gd name="connsiteY18" fmla="*/ 7924 h 10000"/>
                <a:gd name="connsiteX19" fmla="*/ 1166 w 10000"/>
                <a:gd name="connsiteY19" fmla="*/ 7613 h 10000"/>
                <a:gd name="connsiteX20" fmla="*/ 2035 w 10000"/>
                <a:gd name="connsiteY20" fmla="*/ 7331 h 10000"/>
                <a:gd name="connsiteX21" fmla="*/ 2841 w 10000"/>
                <a:gd name="connsiteY21" fmla="*/ 7324 h 10000"/>
                <a:gd name="connsiteX22" fmla="*/ 4051 w 10000"/>
                <a:gd name="connsiteY22" fmla="*/ 8090 h 10000"/>
                <a:gd name="connsiteX23" fmla="*/ 5517 w 10000"/>
                <a:gd name="connsiteY23" fmla="*/ 8826 h 10000"/>
                <a:gd name="connsiteX24" fmla="*/ 5526 w 10000"/>
                <a:gd name="connsiteY24" fmla="*/ 9523 h 10000"/>
                <a:gd name="connsiteX25" fmla="*/ 6889 w 10000"/>
                <a:gd name="connsiteY25" fmla="*/ 9999 h 10000"/>
                <a:gd name="connsiteX26" fmla="*/ 7993 w 10000"/>
                <a:gd name="connsiteY26" fmla="*/ 9387 h 10000"/>
                <a:gd name="connsiteX27" fmla="*/ 8636 w 10000"/>
                <a:gd name="connsiteY27" fmla="*/ 8903 h 10000"/>
                <a:gd name="connsiteX28" fmla="*/ 8817 w 10000"/>
                <a:gd name="connsiteY28" fmla="*/ 8027 h 10000"/>
                <a:gd name="connsiteX29" fmla="*/ 9865 w 10000"/>
                <a:gd name="connsiteY29" fmla="*/ 8080 h 10000"/>
                <a:gd name="connsiteX30" fmla="*/ 9959 w 10000"/>
                <a:gd name="connsiteY30" fmla="*/ 7227 h 10000"/>
                <a:gd name="connsiteX31" fmla="*/ 7064 w 10000"/>
                <a:gd name="connsiteY31" fmla="*/ 5340 h 10000"/>
                <a:gd name="connsiteX32" fmla="*/ 6374 w 10000"/>
                <a:gd name="connsiteY32" fmla="*/ 4126 h 10000"/>
                <a:gd name="connsiteX33" fmla="*/ 4831 w 10000"/>
                <a:gd name="connsiteY33" fmla="*/ 3851 h 10000"/>
                <a:gd name="connsiteX34" fmla="*/ 4189 w 10000"/>
                <a:gd name="connsiteY34" fmla="*/ 2691 h 10000"/>
                <a:gd name="connsiteX35" fmla="*/ 10000 w 10000"/>
                <a:gd name="connsiteY35" fmla="*/ 658 h 10000"/>
                <a:gd name="connsiteX36" fmla="*/ 9658 w 10000"/>
                <a:gd name="connsiteY36" fmla="*/ 245 h 10000"/>
                <a:gd name="connsiteX0" fmla="*/ 9658 w 10000"/>
                <a:gd name="connsiteY0" fmla="*/ 245 h 10000"/>
                <a:gd name="connsiteX1" fmla="*/ 8685 w 10000"/>
                <a:gd name="connsiteY1" fmla="*/ 877 h 10000"/>
                <a:gd name="connsiteX2" fmla="*/ 8027 w 10000"/>
                <a:gd name="connsiteY2" fmla="*/ 877 h 10000"/>
                <a:gd name="connsiteX3" fmla="*/ 7807 w 10000"/>
                <a:gd name="connsiteY3" fmla="*/ 219 h 10000"/>
                <a:gd name="connsiteX4" fmla="*/ 7588 w 10000"/>
                <a:gd name="connsiteY4" fmla="*/ 0 h 10000"/>
                <a:gd name="connsiteX5" fmla="*/ 6930 w 10000"/>
                <a:gd name="connsiteY5" fmla="*/ 658 h 10000"/>
                <a:gd name="connsiteX6" fmla="*/ 6491 w 10000"/>
                <a:gd name="connsiteY6" fmla="*/ 1098 h 10000"/>
                <a:gd name="connsiteX7" fmla="*/ 4517 w 10000"/>
                <a:gd name="connsiteY7" fmla="*/ 877 h 10000"/>
                <a:gd name="connsiteX8" fmla="*/ 2325 w 10000"/>
                <a:gd name="connsiteY8" fmla="*/ 2194 h 10000"/>
                <a:gd name="connsiteX9" fmla="*/ 1886 w 10000"/>
                <a:gd name="connsiteY9" fmla="*/ 2633 h 10000"/>
                <a:gd name="connsiteX10" fmla="*/ 1229 w 10000"/>
                <a:gd name="connsiteY10" fmla="*/ 2414 h 10000"/>
                <a:gd name="connsiteX11" fmla="*/ 579 w 10000"/>
                <a:gd name="connsiteY11" fmla="*/ 2123 h 10000"/>
                <a:gd name="connsiteX12" fmla="*/ 359 w 10000"/>
                <a:gd name="connsiteY12" fmla="*/ 3511 h 10000"/>
                <a:gd name="connsiteX13" fmla="*/ 351 w 10000"/>
                <a:gd name="connsiteY13" fmla="*/ 4389 h 10000"/>
                <a:gd name="connsiteX14" fmla="*/ 0 w 10000"/>
                <a:gd name="connsiteY14" fmla="*/ 5770 h 10000"/>
                <a:gd name="connsiteX15" fmla="*/ 807 w 10000"/>
                <a:gd name="connsiteY15" fmla="*/ 6280 h 10000"/>
                <a:gd name="connsiteX16" fmla="*/ 790 w 10000"/>
                <a:gd name="connsiteY16" fmla="*/ 7242 h 10000"/>
                <a:gd name="connsiteX17" fmla="*/ 476 w 10000"/>
                <a:gd name="connsiteY17" fmla="*/ 7924 h 10000"/>
                <a:gd name="connsiteX18" fmla="*/ 1166 w 10000"/>
                <a:gd name="connsiteY18" fmla="*/ 7613 h 10000"/>
                <a:gd name="connsiteX19" fmla="*/ 2035 w 10000"/>
                <a:gd name="connsiteY19" fmla="*/ 7331 h 10000"/>
                <a:gd name="connsiteX20" fmla="*/ 2841 w 10000"/>
                <a:gd name="connsiteY20" fmla="*/ 7324 h 10000"/>
                <a:gd name="connsiteX21" fmla="*/ 4051 w 10000"/>
                <a:gd name="connsiteY21" fmla="*/ 8090 h 10000"/>
                <a:gd name="connsiteX22" fmla="*/ 5517 w 10000"/>
                <a:gd name="connsiteY22" fmla="*/ 8826 h 10000"/>
                <a:gd name="connsiteX23" fmla="*/ 5526 w 10000"/>
                <a:gd name="connsiteY23" fmla="*/ 9523 h 10000"/>
                <a:gd name="connsiteX24" fmla="*/ 6889 w 10000"/>
                <a:gd name="connsiteY24" fmla="*/ 9999 h 10000"/>
                <a:gd name="connsiteX25" fmla="*/ 7993 w 10000"/>
                <a:gd name="connsiteY25" fmla="*/ 9387 h 10000"/>
                <a:gd name="connsiteX26" fmla="*/ 8636 w 10000"/>
                <a:gd name="connsiteY26" fmla="*/ 8903 h 10000"/>
                <a:gd name="connsiteX27" fmla="*/ 8817 w 10000"/>
                <a:gd name="connsiteY27" fmla="*/ 8027 h 10000"/>
                <a:gd name="connsiteX28" fmla="*/ 9865 w 10000"/>
                <a:gd name="connsiteY28" fmla="*/ 8080 h 10000"/>
                <a:gd name="connsiteX29" fmla="*/ 9959 w 10000"/>
                <a:gd name="connsiteY29" fmla="*/ 7227 h 10000"/>
                <a:gd name="connsiteX30" fmla="*/ 7064 w 10000"/>
                <a:gd name="connsiteY30" fmla="*/ 5340 h 10000"/>
                <a:gd name="connsiteX31" fmla="*/ 6374 w 10000"/>
                <a:gd name="connsiteY31" fmla="*/ 4126 h 10000"/>
                <a:gd name="connsiteX32" fmla="*/ 4831 w 10000"/>
                <a:gd name="connsiteY32" fmla="*/ 3851 h 10000"/>
                <a:gd name="connsiteX33" fmla="*/ 4189 w 10000"/>
                <a:gd name="connsiteY33" fmla="*/ 2691 h 10000"/>
                <a:gd name="connsiteX34" fmla="*/ 10000 w 10000"/>
                <a:gd name="connsiteY34" fmla="*/ 658 h 10000"/>
                <a:gd name="connsiteX35" fmla="*/ 9658 w 10000"/>
                <a:gd name="connsiteY35" fmla="*/ 245 h 10000"/>
                <a:gd name="connsiteX0" fmla="*/ 9658 w 10000"/>
                <a:gd name="connsiteY0" fmla="*/ 245 h 10000"/>
                <a:gd name="connsiteX1" fmla="*/ 8685 w 10000"/>
                <a:gd name="connsiteY1" fmla="*/ 877 h 10000"/>
                <a:gd name="connsiteX2" fmla="*/ 8027 w 10000"/>
                <a:gd name="connsiteY2" fmla="*/ 877 h 10000"/>
                <a:gd name="connsiteX3" fmla="*/ 7807 w 10000"/>
                <a:gd name="connsiteY3" fmla="*/ 219 h 10000"/>
                <a:gd name="connsiteX4" fmla="*/ 7588 w 10000"/>
                <a:gd name="connsiteY4" fmla="*/ 0 h 10000"/>
                <a:gd name="connsiteX5" fmla="*/ 6930 w 10000"/>
                <a:gd name="connsiteY5" fmla="*/ 658 h 10000"/>
                <a:gd name="connsiteX6" fmla="*/ 4517 w 10000"/>
                <a:gd name="connsiteY6" fmla="*/ 877 h 10000"/>
                <a:gd name="connsiteX7" fmla="*/ 2325 w 10000"/>
                <a:gd name="connsiteY7" fmla="*/ 2194 h 10000"/>
                <a:gd name="connsiteX8" fmla="*/ 1886 w 10000"/>
                <a:gd name="connsiteY8" fmla="*/ 2633 h 10000"/>
                <a:gd name="connsiteX9" fmla="*/ 1229 w 10000"/>
                <a:gd name="connsiteY9" fmla="*/ 2414 h 10000"/>
                <a:gd name="connsiteX10" fmla="*/ 579 w 10000"/>
                <a:gd name="connsiteY10" fmla="*/ 2123 h 10000"/>
                <a:gd name="connsiteX11" fmla="*/ 359 w 10000"/>
                <a:gd name="connsiteY11" fmla="*/ 3511 h 10000"/>
                <a:gd name="connsiteX12" fmla="*/ 351 w 10000"/>
                <a:gd name="connsiteY12" fmla="*/ 4389 h 10000"/>
                <a:gd name="connsiteX13" fmla="*/ 0 w 10000"/>
                <a:gd name="connsiteY13" fmla="*/ 5770 h 10000"/>
                <a:gd name="connsiteX14" fmla="*/ 807 w 10000"/>
                <a:gd name="connsiteY14" fmla="*/ 6280 h 10000"/>
                <a:gd name="connsiteX15" fmla="*/ 790 w 10000"/>
                <a:gd name="connsiteY15" fmla="*/ 7242 h 10000"/>
                <a:gd name="connsiteX16" fmla="*/ 476 w 10000"/>
                <a:gd name="connsiteY16" fmla="*/ 7924 h 10000"/>
                <a:gd name="connsiteX17" fmla="*/ 1166 w 10000"/>
                <a:gd name="connsiteY17" fmla="*/ 7613 h 10000"/>
                <a:gd name="connsiteX18" fmla="*/ 2035 w 10000"/>
                <a:gd name="connsiteY18" fmla="*/ 7331 h 10000"/>
                <a:gd name="connsiteX19" fmla="*/ 2841 w 10000"/>
                <a:gd name="connsiteY19" fmla="*/ 7324 h 10000"/>
                <a:gd name="connsiteX20" fmla="*/ 4051 w 10000"/>
                <a:gd name="connsiteY20" fmla="*/ 8090 h 10000"/>
                <a:gd name="connsiteX21" fmla="*/ 5517 w 10000"/>
                <a:gd name="connsiteY21" fmla="*/ 8826 h 10000"/>
                <a:gd name="connsiteX22" fmla="*/ 5526 w 10000"/>
                <a:gd name="connsiteY22" fmla="*/ 9523 h 10000"/>
                <a:gd name="connsiteX23" fmla="*/ 6889 w 10000"/>
                <a:gd name="connsiteY23" fmla="*/ 9999 h 10000"/>
                <a:gd name="connsiteX24" fmla="*/ 7993 w 10000"/>
                <a:gd name="connsiteY24" fmla="*/ 9387 h 10000"/>
                <a:gd name="connsiteX25" fmla="*/ 8636 w 10000"/>
                <a:gd name="connsiteY25" fmla="*/ 8903 h 10000"/>
                <a:gd name="connsiteX26" fmla="*/ 8817 w 10000"/>
                <a:gd name="connsiteY26" fmla="*/ 8027 h 10000"/>
                <a:gd name="connsiteX27" fmla="*/ 9865 w 10000"/>
                <a:gd name="connsiteY27" fmla="*/ 8080 h 10000"/>
                <a:gd name="connsiteX28" fmla="*/ 9959 w 10000"/>
                <a:gd name="connsiteY28" fmla="*/ 7227 h 10000"/>
                <a:gd name="connsiteX29" fmla="*/ 7064 w 10000"/>
                <a:gd name="connsiteY29" fmla="*/ 5340 h 10000"/>
                <a:gd name="connsiteX30" fmla="*/ 6374 w 10000"/>
                <a:gd name="connsiteY30" fmla="*/ 4126 h 10000"/>
                <a:gd name="connsiteX31" fmla="*/ 4831 w 10000"/>
                <a:gd name="connsiteY31" fmla="*/ 3851 h 10000"/>
                <a:gd name="connsiteX32" fmla="*/ 4189 w 10000"/>
                <a:gd name="connsiteY32" fmla="*/ 2691 h 10000"/>
                <a:gd name="connsiteX33" fmla="*/ 10000 w 10000"/>
                <a:gd name="connsiteY33" fmla="*/ 658 h 10000"/>
                <a:gd name="connsiteX34" fmla="*/ 9658 w 10000"/>
                <a:gd name="connsiteY34" fmla="*/ 245 h 10000"/>
                <a:gd name="connsiteX0" fmla="*/ 9658 w 10000"/>
                <a:gd name="connsiteY0" fmla="*/ 245 h 10000"/>
                <a:gd name="connsiteX1" fmla="*/ 8685 w 10000"/>
                <a:gd name="connsiteY1" fmla="*/ 877 h 10000"/>
                <a:gd name="connsiteX2" fmla="*/ 8027 w 10000"/>
                <a:gd name="connsiteY2" fmla="*/ 877 h 10000"/>
                <a:gd name="connsiteX3" fmla="*/ 7807 w 10000"/>
                <a:gd name="connsiteY3" fmla="*/ 219 h 10000"/>
                <a:gd name="connsiteX4" fmla="*/ 7588 w 10000"/>
                <a:gd name="connsiteY4" fmla="*/ 0 h 10000"/>
                <a:gd name="connsiteX5" fmla="*/ 4517 w 10000"/>
                <a:gd name="connsiteY5" fmla="*/ 877 h 10000"/>
                <a:gd name="connsiteX6" fmla="*/ 2325 w 10000"/>
                <a:gd name="connsiteY6" fmla="*/ 2194 h 10000"/>
                <a:gd name="connsiteX7" fmla="*/ 1886 w 10000"/>
                <a:gd name="connsiteY7" fmla="*/ 2633 h 10000"/>
                <a:gd name="connsiteX8" fmla="*/ 1229 w 10000"/>
                <a:gd name="connsiteY8" fmla="*/ 2414 h 10000"/>
                <a:gd name="connsiteX9" fmla="*/ 579 w 10000"/>
                <a:gd name="connsiteY9" fmla="*/ 2123 h 10000"/>
                <a:gd name="connsiteX10" fmla="*/ 359 w 10000"/>
                <a:gd name="connsiteY10" fmla="*/ 3511 h 10000"/>
                <a:gd name="connsiteX11" fmla="*/ 351 w 10000"/>
                <a:gd name="connsiteY11" fmla="*/ 4389 h 10000"/>
                <a:gd name="connsiteX12" fmla="*/ 0 w 10000"/>
                <a:gd name="connsiteY12" fmla="*/ 5770 h 10000"/>
                <a:gd name="connsiteX13" fmla="*/ 807 w 10000"/>
                <a:gd name="connsiteY13" fmla="*/ 6280 h 10000"/>
                <a:gd name="connsiteX14" fmla="*/ 790 w 10000"/>
                <a:gd name="connsiteY14" fmla="*/ 7242 h 10000"/>
                <a:gd name="connsiteX15" fmla="*/ 476 w 10000"/>
                <a:gd name="connsiteY15" fmla="*/ 7924 h 10000"/>
                <a:gd name="connsiteX16" fmla="*/ 1166 w 10000"/>
                <a:gd name="connsiteY16" fmla="*/ 7613 h 10000"/>
                <a:gd name="connsiteX17" fmla="*/ 2035 w 10000"/>
                <a:gd name="connsiteY17" fmla="*/ 7331 h 10000"/>
                <a:gd name="connsiteX18" fmla="*/ 2841 w 10000"/>
                <a:gd name="connsiteY18" fmla="*/ 7324 h 10000"/>
                <a:gd name="connsiteX19" fmla="*/ 4051 w 10000"/>
                <a:gd name="connsiteY19" fmla="*/ 8090 h 10000"/>
                <a:gd name="connsiteX20" fmla="*/ 5517 w 10000"/>
                <a:gd name="connsiteY20" fmla="*/ 8826 h 10000"/>
                <a:gd name="connsiteX21" fmla="*/ 5526 w 10000"/>
                <a:gd name="connsiteY21" fmla="*/ 9523 h 10000"/>
                <a:gd name="connsiteX22" fmla="*/ 6889 w 10000"/>
                <a:gd name="connsiteY22" fmla="*/ 9999 h 10000"/>
                <a:gd name="connsiteX23" fmla="*/ 7993 w 10000"/>
                <a:gd name="connsiteY23" fmla="*/ 9387 h 10000"/>
                <a:gd name="connsiteX24" fmla="*/ 8636 w 10000"/>
                <a:gd name="connsiteY24" fmla="*/ 8903 h 10000"/>
                <a:gd name="connsiteX25" fmla="*/ 8817 w 10000"/>
                <a:gd name="connsiteY25" fmla="*/ 8027 h 10000"/>
                <a:gd name="connsiteX26" fmla="*/ 9865 w 10000"/>
                <a:gd name="connsiteY26" fmla="*/ 8080 h 10000"/>
                <a:gd name="connsiteX27" fmla="*/ 9959 w 10000"/>
                <a:gd name="connsiteY27" fmla="*/ 7227 h 10000"/>
                <a:gd name="connsiteX28" fmla="*/ 7064 w 10000"/>
                <a:gd name="connsiteY28" fmla="*/ 5340 h 10000"/>
                <a:gd name="connsiteX29" fmla="*/ 6374 w 10000"/>
                <a:gd name="connsiteY29" fmla="*/ 4126 h 10000"/>
                <a:gd name="connsiteX30" fmla="*/ 4831 w 10000"/>
                <a:gd name="connsiteY30" fmla="*/ 3851 h 10000"/>
                <a:gd name="connsiteX31" fmla="*/ 4189 w 10000"/>
                <a:gd name="connsiteY31" fmla="*/ 2691 h 10000"/>
                <a:gd name="connsiteX32" fmla="*/ 10000 w 10000"/>
                <a:gd name="connsiteY32" fmla="*/ 658 h 10000"/>
                <a:gd name="connsiteX33" fmla="*/ 9658 w 10000"/>
                <a:gd name="connsiteY33" fmla="*/ 245 h 10000"/>
                <a:gd name="connsiteX0" fmla="*/ 9658 w 10000"/>
                <a:gd name="connsiteY0" fmla="*/ 26 h 9781"/>
                <a:gd name="connsiteX1" fmla="*/ 8685 w 10000"/>
                <a:gd name="connsiteY1" fmla="*/ 658 h 9781"/>
                <a:gd name="connsiteX2" fmla="*/ 8027 w 10000"/>
                <a:gd name="connsiteY2" fmla="*/ 658 h 9781"/>
                <a:gd name="connsiteX3" fmla="*/ 7807 w 10000"/>
                <a:gd name="connsiteY3" fmla="*/ 0 h 9781"/>
                <a:gd name="connsiteX4" fmla="*/ 4517 w 10000"/>
                <a:gd name="connsiteY4" fmla="*/ 658 h 9781"/>
                <a:gd name="connsiteX5" fmla="*/ 2325 w 10000"/>
                <a:gd name="connsiteY5" fmla="*/ 1975 h 9781"/>
                <a:gd name="connsiteX6" fmla="*/ 1886 w 10000"/>
                <a:gd name="connsiteY6" fmla="*/ 2414 h 9781"/>
                <a:gd name="connsiteX7" fmla="*/ 1229 w 10000"/>
                <a:gd name="connsiteY7" fmla="*/ 2195 h 9781"/>
                <a:gd name="connsiteX8" fmla="*/ 579 w 10000"/>
                <a:gd name="connsiteY8" fmla="*/ 1904 h 9781"/>
                <a:gd name="connsiteX9" fmla="*/ 359 w 10000"/>
                <a:gd name="connsiteY9" fmla="*/ 3292 h 9781"/>
                <a:gd name="connsiteX10" fmla="*/ 351 w 10000"/>
                <a:gd name="connsiteY10" fmla="*/ 4170 h 9781"/>
                <a:gd name="connsiteX11" fmla="*/ 0 w 10000"/>
                <a:gd name="connsiteY11" fmla="*/ 5551 h 9781"/>
                <a:gd name="connsiteX12" fmla="*/ 807 w 10000"/>
                <a:gd name="connsiteY12" fmla="*/ 6061 h 9781"/>
                <a:gd name="connsiteX13" fmla="*/ 790 w 10000"/>
                <a:gd name="connsiteY13" fmla="*/ 7023 h 9781"/>
                <a:gd name="connsiteX14" fmla="*/ 476 w 10000"/>
                <a:gd name="connsiteY14" fmla="*/ 7705 h 9781"/>
                <a:gd name="connsiteX15" fmla="*/ 1166 w 10000"/>
                <a:gd name="connsiteY15" fmla="*/ 7394 h 9781"/>
                <a:gd name="connsiteX16" fmla="*/ 2035 w 10000"/>
                <a:gd name="connsiteY16" fmla="*/ 7112 h 9781"/>
                <a:gd name="connsiteX17" fmla="*/ 2841 w 10000"/>
                <a:gd name="connsiteY17" fmla="*/ 7105 h 9781"/>
                <a:gd name="connsiteX18" fmla="*/ 4051 w 10000"/>
                <a:gd name="connsiteY18" fmla="*/ 7871 h 9781"/>
                <a:gd name="connsiteX19" fmla="*/ 5517 w 10000"/>
                <a:gd name="connsiteY19" fmla="*/ 8607 h 9781"/>
                <a:gd name="connsiteX20" fmla="*/ 5526 w 10000"/>
                <a:gd name="connsiteY20" fmla="*/ 9304 h 9781"/>
                <a:gd name="connsiteX21" fmla="*/ 6889 w 10000"/>
                <a:gd name="connsiteY21" fmla="*/ 9780 h 9781"/>
                <a:gd name="connsiteX22" fmla="*/ 7993 w 10000"/>
                <a:gd name="connsiteY22" fmla="*/ 9168 h 9781"/>
                <a:gd name="connsiteX23" fmla="*/ 8636 w 10000"/>
                <a:gd name="connsiteY23" fmla="*/ 8684 h 9781"/>
                <a:gd name="connsiteX24" fmla="*/ 8817 w 10000"/>
                <a:gd name="connsiteY24" fmla="*/ 7808 h 9781"/>
                <a:gd name="connsiteX25" fmla="*/ 9865 w 10000"/>
                <a:gd name="connsiteY25" fmla="*/ 7861 h 9781"/>
                <a:gd name="connsiteX26" fmla="*/ 9959 w 10000"/>
                <a:gd name="connsiteY26" fmla="*/ 7008 h 9781"/>
                <a:gd name="connsiteX27" fmla="*/ 7064 w 10000"/>
                <a:gd name="connsiteY27" fmla="*/ 5121 h 9781"/>
                <a:gd name="connsiteX28" fmla="*/ 6374 w 10000"/>
                <a:gd name="connsiteY28" fmla="*/ 3907 h 9781"/>
                <a:gd name="connsiteX29" fmla="*/ 4831 w 10000"/>
                <a:gd name="connsiteY29" fmla="*/ 3632 h 9781"/>
                <a:gd name="connsiteX30" fmla="*/ 4189 w 10000"/>
                <a:gd name="connsiteY30" fmla="*/ 2472 h 9781"/>
                <a:gd name="connsiteX31" fmla="*/ 10000 w 10000"/>
                <a:gd name="connsiteY31" fmla="*/ 439 h 9781"/>
                <a:gd name="connsiteX32" fmla="*/ 9658 w 10000"/>
                <a:gd name="connsiteY32" fmla="*/ 26 h 9781"/>
                <a:gd name="connsiteX0" fmla="*/ 9658 w 10000"/>
                <a:gd name="connsiteY0" fmla="*/ 0 h 9973"/>
                <a:gd name="connsiteX1" fmla="*/ 8685 w 10000"/>
                <a:gd name="connsiteY1" fmla="*/ 646 h 9973"/>
                <a:gd name="connsiteX2" fmla="*/ 8027 w 10000"/>
                <a:gd name="connsiteY2" fmla="*/ 646 h 9973"/>
                <a:gd name="connsiteX3" fmla="*/ 4517 w 10000"/>
                <a:gd name="connsiteY3" fmla="*/ 646 h 9973"/>
                <a:gd name="connsiteX4" fmla="*/ 2325 w 10000"/>
                <a:gd name="connsiteY4" fmla="*/ 1992 h 9973"/>
                <a:gd name="connsiteX5" fmla="*/ 1886 w 10000"/>
                <a:gd name="connsiteY5" fmla="*/ 2441 h 9973"/>
                <a:gd name="connsiteX6" fmla="*/ 1229 w 10000"/>
                <a:gd name="connsiteY6" fmla="*/ 2217 h 9973"/>
                <a:gd name="connsiteX7" fmla="*/ 579 w 10000"/>
                <a:gd name="connsiteY7" fmla="*/ 1920 h 9973"/>
                <a:gd name="connsiteX8" fmla="*/ 359 w 10000"/>
                <a:gd name="connsiteY8" fmla="*/ 3339 h 9973"/>
                <a:gd name="connsiteX9" fmla="*/ 351 w 10000"/>
                <a:gd name="connsiteY9" fmla="*/ 4236 h 9973"/>
                <a:gd name="connsiteX10" fmla="*/ 0 w 10000"/>
                <a:gd name="connsiteY10" fmla="*/ 5648 h 9973"/>
                <a:gd name="connsiteX11" fmla="*/ 807 w 10000"/>
                <a:gd name="connsiteY11" fmla="*/ 6170 h 9973"/>
                <a:gd name="connsiteX12" fmla="*/ 790 w 10000"/>
                <a:gd name="connsiteY12" fmla="*/ 7153 h 9973"/>
                <a:gd name="connsiteX13" fmla="*/ 476 w 10000"/>
                <a:gd name="connsiteY13" fmla="*/ 7851 h 9973"/>
                <a:gd name="connsiteX14" fmla="*/ 1166 w 10000"/>
                <a:gd name="connsiteY14" fmla="*/ 7533 h 9973"/>
                <a:gd name="connsiteX15" fmla="*/ 2035 w 10000"/>
                <a:gd name="connsiteY15" fmla="*/ 7244 h 9973"/>
                <a:gd name="connsiteX16" fmla="*/ 2841 w 10000"/>
                <a:gd name="connsiteY16" fmla="*/ 7237 h 9973"/>
                <a:gd name="connsiteX17" fmla="*/ 4051 w 10000"/>
                <a:gd name="connsiteY17" fmla="*/ 8020 h 9973"/>
                <a:gd name="connsiteX18" fmla="*/ 5517 w 10000"/>
                <a:gd name="connsiteY18" fmla="*/ 8773 h 9973"/>
                <a:gd name="connsiteX19" fmla="*/ 5526 w 10000"/>
                <a:gd name="connsiteY19" fmla="*/ 9485 h 9973"/>
                <a:gd name="connsiteX20" fmla="*/ 6889 w 10000"/>
                <a:gd name="connsiteY20" fmla="*/ 9972 h 9973"/>
                <a:gd name="connsiteX21" fmla="*/ 7993 w 10000"/>
                <a:gd name="connsiteY21" fmla="*/ 9346 h 9973"/>
                <a:gd name="connsiteX22" fmla="*/ 8636 w 10000"/>
                <a:gd name="connsiteY22" fmla="*/ 8851 h 9973"/>
                <a:gd name="connsiteX23" fmla="*/ 8817 w 10000"/>
                <a:gd name="connsiteY23" fmla="*/ 7956 h 9973"/>
                <a:gd name="connsiteX24" fmla="*/ 9865 w 10000"/>
                <a:gd name="connsiteY24" fmla="*/ 8010 h 9973"/>
                <a:gd name="connsiteX25" fmla="*/ 9959 w 10000"/>
                <a:gd name="connsiteY25" fmla="*/ 7138 h 9973"/>
                <a:gd name="connsiteX26" fmla="*/ 7064 w 10000"/>
                <a:gd name="connsiteY26" fmla="*/ 5209 h 9973"/>
                <a:gd name="connsiteX27" fmla="*/ 6374 w 10000"/>
                <a:gd name="connsiteY27" fmla="*/ 3967 h 9973"/>
                <a:gd name="connsiteX28" fmla="*/ 4831 w 10000"/>
                <a:gd name="connsiteY28" fmla="*/ 3686 h 9973"/>
                <a:gd name="connsiteX29" fmla="*/ 4189 w 10000"/>
                <a:gd name="connsiteY29" fmla="*/ 2500 h 9973"/>
                <a:gd name="connsiteX30" fmla="*/ 10000 w 10000"/>
                <a:gd name="connsiteY30" fmla="*/ 422 h 9973"/>
                <a:gd name="connsiteX31" fmla="*/ 9658 w 10000"/>
                <a:gd name="connsiteY31" fmla="*/ 0 h 9973"/>
                <a:gd name="connsiteX0" fmla="*/ 9658 w 10000"/>
                <a:gd name="connsiteY0" fmla="*/ 0 h 10000"/>
                <a:gd name="connsiteX1" fmla="*/ 8685 w 10000"/>
                <a:gd name="connsiteY1" fmla="*/ 648 h 10000"/>
                <a:gd name="connsiteX2" fmla="*/ 4517 w 10000"/>
                <a:gd name="connsiteY2" fmla="*/ 648 h 10000"/>
                <a:gd name="connsiteX3" fmla="*/ 2325 w 10000"/>
                <a:gd name="connsiteY3" fmla="*/ 1997 h 10000"/>
                <a:gd name="connsiteX4" fmla="*/ 1886 w 10000"/>
                <a:gd name="connsiteY4" fmla="*/ 2448 h 10000"/>
                <a:gd name="connsiteX5" fmla="*/ 1229 w 10000"/>
                <a:gd name="connsiteY5" fmla="*/ 2223 h 10000"/>
                <a:gd name="connsiteX6" fmla="*/ 579 w 10000"/>
                <a:gd name="connsiteY6" fmla="*/ 1925 h 10000"/>
                <a:gd name="connsiteX7" fmla="*/ 359 w 10000"/>
                <a:gd name="connsiteY7" fmla="*/ 3348 h 10000"/>
                <a:gd name="connsiteX8" fmla="*/ 351 w 10000"/>
                <a:gd name="connsiteY8" fmla="*/ 4247 h 10000"/>
                <a:gd name="connsiteX9" fmla="*/ 0 w 10000"/>
                <a:gd name="connsiteY9" fmla="*/ 5663 h 10000"/>
                <a:gd name="connsiteX10" fmla="*/ 807 w 10000"/>
                <a:gd name="connsiteY10" fmla="*/ 6187 h 10000"/>
                <a:gd name="connsiteX11" fmla="*/ 790 w 10000"/>
                <a:gd name="connsiteY11" fmla="*/ 7172 h 10000"/>
                <a:gd name="connsiteX12" fmla="*/ 476 w 10000"/>
                <a:gd name="connsiteY12" fmla="*/ 7872 h 10000"/>
                <a:gd name="connsiteX13" fmla="*/ 1166 w 10000"/>
                <a:gd name="connsiteY13" fmla="*/ 7553 h 10000"/>
                <a:gd name="connsiteX14" fmla="*/ 2035 w 10000"/>
                <a:gd name="connsiteY14" fmla="*/ 7264 h 10000"/>
                <a:gd name="connsiteX15" fmla="*/ 2841 w 10000"/>
                <a:gd name="connsiteY15" fmla="*/ 7257 h 10000"/>
                <a:gd name="connsiteX16" fmla="*/ 4051 w 10000"/>
                <a:gd name="connsiteY16" fmla="*/ 8042 h 10000"/>
                <a:gd name="connsiteX17" fmla="*/ 5517 w 10000"/>
                <a:gd name="connsiteY17" fmla="*/ 8797 h 10000"/>
                <a:gd name="connsiteX18" fmla="*/ 5526 w 10000"/>
                <a:gd name="connsiteY18" fmla="*/ 9511 h 10000"/>
                <a:gd name="connsiteX19" fmla="*/ 6889 w 10000"/>
                <a:gd name="connsiteY19" fmla="*/ 9999 h 10000"/>
                <a:gd name="connsiteX20" fmla="*/ 7993 w 10000"/>
                <a:gd name="connsiteY20" fmla="*/ 9371 h 10000"/>
                <a:gd name="connsiteX21" fmla="*/ 8636 w 10000"/>
                <a:gd name="connsiteY21" fmla="*/ 8875 h 10000"/>
                <a:gd name="connsiteX22" fmla="*/ 8817 w 10000"/>
                <a:gd name="connsiteY22" fmla="*/ 7978 h 10000"/>
                <a:gd name="connsiteX23" fmla="*/ 9865 w 10000"/>
                <a:gd name="connsiteY23" fmla="*/ 8032 h 10000"/>
                <a:gd name="connsiteX24" fmla="*/ 9959 w 10000"/>
                <a:gd name="connsiteY24" fmla="*/ 7157 h 10000"/>
                <a:gd name="connsiteX25" fmla="*/ 7064 w 10000"/>
                <a:gd name="connsiteY25" fmla="*/ 5223 h 10000"/>
                <a:gd name="connsiteX26" fmla="*/ 6374 w 10000"/>
                <a:gd name="connsiteY26" fmla="*/ 3978 h 10000"/>
                <a:gd name="connsiteX27" fmla="*/ 4831 w 10000"/>
                <a:gd name="connsiteY27" fmla="*/ 3696 h 10000"/>
                <a:gd name="connsiteX28" fmla="*/ 4189 w 10000"/>
                <a:gd name="connsiteY28" fmla="*/ 2507 h 10000"/>
                <a:gd name="connsiteX29" fmla="*/ 10000 w 10000"/>
                <a:gd name="connsiteY29" fmla="*/ 423 h 10000"/>
                <a:gd name="connsiteX30" fmla="*/ 9658 w 10000"/>
                <a:gd name="connsiteY30" fmla="*/ 0 h 10000"/>
                <a:gd name="connsiteX0" fmla="*/ 9658 w 10000"/>
                <a:gd name="connsiteY0" fmla="*/ 0 h 10000"/>
                <a:gd name="connsiteX1" fmla="*/ 4517 w 10000"/>
                <a:gd name="connsiteY1" fmla="*/ 648 h 10000"/>
                <a:gd name="connsiteX2" fmla="*/ 2325 w 10000"/>
                <a:gd name="connsiteY2" fmla="*/ 1997 h 10000"/>
                <a:gd name="connsiteX3" fmla="*/ 1886 w 10000"/>
                <a:gd name="connsiteY3" fmla="*/ 2448 h 10000"/>
                <a:gd name="connsiteX4" fmla="*/ 1229 w 10000"/>
                <a:gd name="connsiteY4" fmla="*/ 2223 h 10000"/>
                <a:gd name="connsiteX5" fmla="*/ 579 w 10000"/>
                <a:gd name="connsiteY5" fmla="*/ 1925 h 10000"/>
                <a:gd name="connsiteX6" fmla="*/ 359 w 10000"/>
                <a:gd name="connsiteY6" fmla="*/ 3348 h 10000"/>
                <a:gd name="connsiteX7" fmla="*/ 351 w 10000"/>
                <a:gd name="connsiteY7" fmla="*/ 4247 h 10000"/>
                <a:gd name="connsiteX8" fmla="*/ 0 w 10000"/>
                <a:gd name="connsiteY8" fmla="*/ 5663 h 10000"/>
                <a:gd name="connsiteX9" fmla="*/ 807 w 10000"/>
                <a:gd name="connsiteY9" fmla="*/ 6187 h 10000"/>
                <a:gd name="connsiteX10" fmla="*/ 790 w 10000"/>
                <a:gd name="connsiteY10" fmla="*/ 7172 h 10000"/>
                <a:gd name="connsiteX11" fmla="*/ 476 w 10000"/>
                <a:gd name="connsiteY11" fmla="*/ 7872 h 10000"/>
                <a:gd name="connsiteX12" fmla="*/ 1166 w 10000"/>
                <a:gd name="connsiteY12" fmla="*/ 7553 h 10000"/>
                <a:gd name="connsiteX13" fmla="*/ 2035 w 10000"/>
                <a:gd name="connsiteY13" fmla="*/ 7264 h 10000"/>
                <a:gd name="connsiteX14" fmla="*/ 2841 w 10000"/>
                <a:gd name="connsiteY14" fmla="*/ 7257 h 10000"/>
                <a:gd name="connsiteX15" fmla="*/ 4051 w 10000"/>
                <a:gd name="connsiteY15" fmla="*/ 8042 h 10000"/>
                <a:gd name="connsiteX16" fmla="*/ 5517 w 10000"/>
                <a:gd name="connsiteY16" fmla="*/ 8797 h 10000"/>
                <a:gd name="connsiteX17" fmla="*/ 5526 w 10000"/>
                <a:gd name="connsiteY17" fmla="*/ 9511 h 10000"/>
                <a:gd name="connsiteX18" fmla="*/ 6889 w 10000"/>
                <a:gd name="connsiteY18" fmla="*/ 9999 h 10000"/>
                <a:gd name="connsiteX19" fmla="*/ 7993 w 10000"/>
                <a:gd name="connsiteY19" fmla="*/ 9371 h 10000"/>
                <a:gd name="connsiteX20" fmla="*/ 8636 w 10000"/>
                <a:gd name="connsiteY20" fmla="*/ 8875 h 10000"/>
                <a:gd name="connsiteX21" fmla="*/ 8817 w 10000"/>
                <a:gd name="connsiteY21" fmla="*/ 7978 h 10000"/>
                <a:gd name="connsiteX22" fmla="*/ 9865 w 10000"/>
                <a:gd name="connsiteY22" fmla="*/ 8032 h 10000"/>
                <a:gd name="connsiteX23" fmla="*/ 9959 w 10000"/>
                <a:gd name="connsiteY23" fmla="*/ 7157 h 10000"/>
                <a:gd name="connsiteX24" fmla="*/ 7064 w 10000"/>
                <a:gd name="connsiteY24" fmla="*/ 5223 h 10000"/>
                <a:gd name="connsiteX25" fmla="*/ 6374 w 10000"/>
                <a:gd name="connsiteY25" fmla="*/ 3978 h 10000"/>
                <a:gd name="connsiteX26" fmla="*/ 4831 w 10000"/>
                <a:gd name="connsiteY26" fmla="*/ 3696 h 10000"/>
                <a:gd name="connsiteX27" fmla="*/ 4189 w 10000"/>
                <a:gd name="connsiteY27" fmla="*/ 2507 h 10000"/>
                <a:gd name="connsiteX28" fmla="*/ 10000 w 10000"/>
                <a:gd name="connsiteY28" fmla="*/ 423 h 10000"/>
                <a:gd name="connsiteX29" fmla="*/ 9658 w 10000"/>
                <a:gd name="connsiteY29" fmla="*/ 0 h 10000"/>
                <a:gd name="connsiteX0" fmla="*/ 10000 w 10000"/>
                <a:gd name="connsiteY0" fmla="*/ 0 h 9577"/>
                <a:gd name="connsiteX1" fmla="*/ 4517 w 10000"/>
                <a:gd name="connsiteY1" fmla="*/ 225 h 9577"/>
                <a:gd name="connsiteX2" fmla="*/ 2325 w 10000"/>
                <a:gd name="connsiteY2" fmla="*/ 1574 h 9577"/>
                <a:gd name="connsiteX3" fmla="*/ 1886 w 10000"/>
                <a:gd name="connsiteY3" fmla="*/ 2025 h 9577"/>
                <a:gd name="connsiteX4" fmla="*/ 1229 w 10000"/>
                <a:gd name="connsiteY4" fmla="*/ 1800 h 9577"/>
                <a:gd name="connsiteX5" fmla="*/ 579 w 10000"/>
                <a:gd name="connsiteY5" fmla="*/ 1502 h 9577"/>
                <a:gd name="connsiteX6" fmla="*/ 359 w 10000"/>
                <a:gd name="connsiteY6" fmla="*/ 2925 h 9577"/>
                <a:gd name="connsiteX7" fmla="*/ 351 w 10000"/>
                <a:gd name="connsiteY7" fmla="*/ 3824 h 9577"/>
                <a:gd name="connsiteX8" fmla="*/ 0 w 10000"/>
                <a:gd name="connsiteY8" fmla="*/ 5240 h 9577"/>
                <a:gd name="connsiteX9" fmla="*/ 807 w 10000"/>
                <a:gd name="connsiteY9" fmla="*/ 5764 h 9577"/>
                <a:gd name="connsiteX10" fmla="*/ 790 w 10000"/>
                <a:gd name="connsiteY10" fmla="*/ 6749 h 9577"/>
                <a:gd name="connsiteX11" fmla="*/ 476 w 10000"/>
                <a:gd name="connsiteY11" fmla="*/ 7449 h 9577"/>
                <a:gd name="connsiteX12" fmla="*/ 1166 w 10000"/>
                <a:gd name="connsiteY12" fmla="*/ 7130 h 9577"/>
                <a:gd name="connsiteX13" fmla="*/ 2035 w 10000"/>
                <a:gd name="connsiteY13" fmla="*/ 6841 h 9577"/>
                <a:gd name="connsiteX14" fmla="*/ 2841 w 10000"/>
                <a:gd name="connsiteY14" fmla="*/ 6834 h 9577"/>
                <a:gd name="connsiteX15" fmla="*/ 4051 w 10000"/>
                <a:gd name="connsiteY15" fmla="*/ 7619 h 9577"/>
                <a:gd name="connsiteX16" fmla="*/ 5517 w 10000"/>
                <a:gd name="connsiteY16" fmla="*/ 8374 h 9577"/>
                <a:gd name="connsiteX17" fmla="*/ 5526 w 10000"/>
                <a:gd name="connsiteY17" fmla="*/ 9088 h 9577"/>
                <a:gd name="connsiteX18" fmla="*/ 6889 w 10000"/>
                <a:gd name="connsiteY18" fmla="*/ 9576 h 9577"/>
                <a:gd name="connsiteX19" fmla="*/ 7993 w 10000"/>
                <a:gd name="connsiteY19" fmla="*/ 8948 h 9577"/>
                <a:gd name="connsiteX20" fmla="*/ 8636 w 10000"/>
                <a:gd name="connsiteY20" fmla="*/ 8452 h 9577"/>
                <a:gd name="connsiteX21" fmla="*/ 8817 w 10000"/>
                <a:gd name="connsiteY21" fmla="*/ 7555 h 9577"/>
                <a:gd name="connsiteX22" fmla="*/ 9865 w 10000"/>
                <a:gd name="connsiteY22" fmla="*/ 7609 h 9577"/>
                <a:gd name="connsiteX23" fmla="*/ 9959 w 10000"/>
                <a:gd name="connsiteY23" fmla="*/ 6734 h 9577"/>
                <a:gd name="connsiteX24" fmla="*/ 7064 w 10000"/>
                <a:gd name="connsiteY24" fmla="*/ 4800 h 9577"/>
                <a:gd name="connsiteX25" fmla="*/ 6374 w 10000"/>
                <a:gd name="connsiteY25" fmla="*/ 3555 h 9577"/>
                <a:gd name="connsiteX26" fmla="*/ 4831 w 10000"/>
                <a:gd name="connsiteY26" fmla="*/ 3273 h 9577"/>
                <a:gd name="connsiteX27" fmla="*/ 4189 w 10000"/>
                <a:gd name="connsiteY27" fmla="*/ 2084 h 9577"/>
                <a:gd name="connsiteX28" fmla="*/ 10000 w 10000"/>
                <a:gd name="connsiteY28" fmla="*/ 0 h 9577"/>
                <a:gd name="connsiteX0" fmla="*/ 4189 w 9959"/>
                <a:gd name="connsiteY0" fmla="*/ 1941 h 9765"/>
                <a:gd name="connsiteX1" fmla="*/ 4517 w 9959"/>
                <a:gd name="connsiteY1" fmla="*/ 0 h 9765"/>
                <a:gd name="connsiteX2" fmla="*/ 2325 w 9959"/>
                <a:gd name="connsiteY2" fmla="*/ 1409 h 9765"/>
                <a:gd name="connsiteX3" fmla="*/ 1886 w 9959"/>
                <a:gd name="connsiteY3" fmla="*/ 1879 h 9765"/>
                <a:gd name="connsiteX4" fmla="*/ 1229 w 9959"/>
                <a:gd name="connsiteY4" fmla="*/ 1645 h 9765"/>
                <a:gd name="connsiteX5" fmla="*/ 579 w 9959"/>
                <a:gd name="connsiteY5" fmla="*/ 1333 h 9765"/>
                <a:gd name="connsiteX6" fmla="*/ 359 w 9959"/>
                <a:gd name="connsiteY6" fmla="*/ 2819 h 9765"/>
                <a:gd name="connsiteX7" fmla="*/ 351 w 9959"/>
                <a:gd name="connsiteY7" fmla="*/ 3758 h 9765"/>
                <a:gd name="connsiteX8" fmla="*/ 0 w 9959"/>
                <a:gd name="connsiteY8" fmla="*/ 5236 h 9765"/>
                <a:gd name="connsiteX9" fmla="*/ 807 w 9959"/>
                <a:gd name="connsiteY9" fmla="*/ 5784 h 9765"/>
                <a:gd name="connsiteX10" fmla="*/ 790 w 9959"/>
                <a:gd name="connsiteY10" fmla="*/ 6812 h 9765"/>
                <a:gd name="connsiteX11" fmla="*/ 476 w 9959"/>
                <a:gd name="connsiteY11" fmla="*/ 7543 h 9765"/>
                <a:gd name="connsiteX12" fmla="*/ 1166 w 9959"/>
                <a:gd name="connsiteY12" fmla="*/ 7210 h 9765"/>
                <a:gd name="connsiteX13" fmla="*/ 2035 w 9959"/>
                <a:gd name="connsiteY13" fmla="*/ 6908 h 9765"/>
                <a:gd name="connsiteX14" fmla="*/ 2841 w 9959"/>
                <a:gd name="connsiteY14" fmla="*/ 6901 h 9765"/>
                <a:gd name="connsiteX15" fmla="*/ 4051 w 9959"/>
                <a:gd name="connsiteY15" fmla="*/ 7721 h 9765"/>
                <a:gd name="connsiteX16" fmla="*/ 5517 w 9959"/>
                <a:gd name="connsiteY16" fmla="*/ 8509 h 9765"/>
                <a:gd name="connsiteX17" fmla="*/ 5526 w 9959"/>
                <a:gd name="connsiteY17" fmla="*/ 9254 h 9765"/>
                <a:gd name="connsiteX18" fmla="*/ 6889 w 9959"/>
                <a:gd name="connsiteY18" fmla="*/ 9764 h 9765"/>
                <a:gd name="connsiteX19" fmla="*/ 7993 w 9959"/>
                <a:gd name="connsiteY19" fmla="*/ 9108 h 9765"/>
                <a:gd name="connsiteX20" fmla="*/ 8636 w 9959"/>
                <a:gd name="connsiteY20" fmla="*/ 8590 h 9765"/>
                <a:gd name="connsiteX21" fmla="*/ 8817 w 9959"/>
                <a:gd name="connsiteY21" fmla="*/ 7654 h 9765"/>
                <a:gd name="connsiteX22" fmla="*/ 9865 w 9959"/>
                <a:gd name="connsiteY22" fmla="*/ 7710 h 9765"/>
                <a:gd name="connsiteX23" fmla="*/ 9959 w 9959"/>
                <a:gd name="connsiteY23" fmla="*/ 6796 h 9765"/>
                <a:gd name="connsiteX24" fmla="*/ 7064 w 9959"/>
                <a:gd name="connsiteY24" fmla="*/ 4777 h 9765"/>
                <a:gd name="connsiteX25" fmla="*/ 6374 w 9959"/>
                <a:gd name="connsiteY25" fmla="*/ 3477 h 9765"/>
                <a:gd name="connsiteX26" fmla="*/ 4831 w 9959"/>
                <a:gd name="connsiteY26" fmla="*/ 3183 h 9765"/>
                <a:gd name="connsiteX27" fmla="*/ 4189 w 9959"/>
                <a:gd name="connsiteY27" fmla="*/ 1941 h 9765"/>
                <a:gd name="connsiteX0" fmla="*/ 4206 w 10000"/>
                <a:gd name="connsiteY0" fmla="*/ 719 h 8731"/>
                <a:gd name="connsiteX1" fmla="*/ 3337 w 10000"/>
                <a:gd name="connsiteY1" fmla="*/ 0 h 8731"/>
                <a:gd name="connsiteX2" fmla="*/ 2335 w 10000"/>
                <a:gd name="connsiteY2" fmla="*/ 174 h 8731"/>
                <a:gd name="connsiteX3" fmla="*/ 1894 w 10000"/>
                <a:gd name="connsiteY3" fmla="*/ 655 h 8731"/>
                <a:gd name="connsiteX4" fmla="*/ 1234 w 10000"/>
                <a:gd name="connsiteY4" fmla="*/ 416 h 8731"/>
                <a:gd name="connsiteX5" fmla="*/ 581 w 10000"/>
                <a:gd name="connsiteY5" fmla="*/ 96 h 8731"/>
                <a:gd name="connsiteX6" fmla="*/ 360 w 10000"/>
                <a:gd name="connsiteY6" fmla="*/ 1618 h 8731"/>
                <a:gd name="connsiteX7" fmla="*/ 352 w 10000"/>
                <a:gd name="connsiteY7" fmla="*/ 2579 h 8731"/>
                <a:gd name="connsiteX8" fmla="*/ 0 w 10000"/>
                <a:gd name="connsiteY8" fmla="*/ 4093 h 8731"/>
                <a:gd name="connsiteX9" fmla="*/ 810 w 10000"/>
                <a:gd name="connsiteY9" fmla="*/ 4654 h 8731"/>
                <a:gd name="connsiteX10" fmla="*/ 793 w 10000"/>
                <a:gd name="connsiteY10" fmla="*/ 5707 h 8731"/>
                <a:gd name="connsiteX11" fmla="*/ 478 w 10000"/>
                <a:gd name="connsiteY11" fmla="*/ 6456 h 8731"/>
                <a:gd name="connsiteX12" fmla="*/ 1171 w 10000"/>
                <a:gd name="connsiteY12" fmla="*/ 6115 h 8731"/>
                <a:gd name="connsiteX13" fmla="*/ 2043 w 10000"/>
                <a:gd name="connsiteY13" fmla="*/ 5805 h 8731"/>
                <a:gd name="connsiteX14" fmla="*/ 2853 w 10000"/>
                <a:gd name="connsiteY14" fmla="*/ 5798 h 8731"/>
                <a:gd name="connsiteX15" fmla="*/ 4068 w 10000"/>
                <a:gd name="connsiteY15" fmla="*/ 6638 h 8731"/>
                <a:gd name="connsiteX16" fmla="*/ 5540 w 10000"/>
                <a:gd name="connsiteY16" fmla="*/ 7445 h 8731"/>
                <a:gd name="connsiteX17" fmla="*/ 5549 w 10000"/>
                <a:gd name="connsiteY17" fmla="*/ 8208 h 8731"/>
                <a:gd name="connsiteX18" fmla="*/ 6917 w 10000"/>
                <a:gd name="connsiteY18" fmla="*/ 8730 h 8731"/>
                <a:gd name="connsiteX19" fmla="*/ 8026 w 10000"/>
                <a:gd name="connsiteY19" fmla="*/ 8058 h 8731"/>
                <a:gd name="connsiteX20" fmla="*/ 8672 w 10000"/>
                <a:gd name="connsiteY20" fmla="*/ 7528 h 8731"/>
                <a:gd name="connsiteX21" fmla="*/ 8853 w 10000"/>
                <a:gd name="connsiteY21" fmla="*/ 6569 h 8731"/>
                <a:gd name="connsiteX22" fmla="*/ 9906 w 10000"/>
                <a:gd name="connsiteY22" fmla="*/ 6627 h 8731"/>
                <a:gd name="connsiteX23" fmla="*/ 10000 w 10000"/>
                <a:gd name="connsiteY23" fmla="*/ 5691 h 8731"/>
                <a:gd name="connsiteX24" fmla="*/ 7093 w 10000"/>
                <a:gd name="connsiteY24" fmla="*/ 3623 h 8731"/>
                <a:gd name="connsiteX25" fmla="*/ 6400 w 10000"/>
                <a:gd name="connsiteY25" fmla="*/ 2292 h 8731"/>
                <a:gd name="connsiteX26" fmla="*/ 4851 w 10000"/>
                <a:gd name="connsiteY26" fmla="*/ 1991 h 8731"/>
                <a:gd name="connsiteX27" fmla="*/ 4206 w 10000"/>
                <a:gd name="connsiteY27" fmla="*/ 719 h 8731"/>
                <a:gd name="connsiteX0" fmla="*/ 4206 w 10000"/>
                <a:gd name="connsiteY0" fmla="*/ 824 h 10000"/>
                <a:gd name="connsiteX1" fmla="*/ 3337 w 10000"/>
                <a:gd name="connsiteY1" fmla="*/ 0 h 10000"/>
                <a:gd name="connsiteX2" fmla="*/ 2335 w 10000"/>
                <a:gd name="connsiteY2" fmla="*/ 199 h 10000"/>
                <a:gd name="connsiteX3" fmla="*/ 1894 w 10000"/>
                <a:gd name="connsiteY3" fmla="*/ 750 h 10000"/>
                <a:gd name="connsiteX4" fmla="*/ 1234 w 10000"/>
                <a:gd name="connsiteY4" fmla="*/ 476 h 10000"/>
                <a:gd name="connsiteX5" fmla="*/ 581 w 10000"/>
                <a:gd name="connsiteY5" fmla="*/ 110 h 10000"/>
                <a:gd name="connsiteX6" fmla="*/ 360 w 10000"/>
                <a:gd name="connsiteY6" fmla="*/ 1853 h 10000"/>
                <a:gd name="connsiteX7" fmla="*/ 352 w 10000"/>
                <a:gd name="connsiteY7" fmla="*/ 2954 h 10000"/>
                <a:gd name="connsiteX8" fmla="*/ 0 w 10000"/>
                <a:gd name="connsiteY8" fmla="*/ 4688 h 10000"/>
                <a:gd name="connsiteX9" fmla="*/ 810 w 10000"/>
                <a:gd name="connsiteY9" fmla="*/ 5330 h 10000"/>
                <a:gd name="connsiteX10" fmla="*/ 793 w 10000"/>
                <a:gd name="connsiteY10" fmla="*/ 6536 h 10000"/>
                <a:gd name="connsiteX11" fmla="*/ 478 w 10000"/>
                <a:gd name="connsiteY11" fmla="*/ 7394 h 10000"/>
                <a:gd name="connsiteX12" fmla="*/ 1171 w 10000"/>
                <a:gd name="connsiteY12" fmla="*/ 7004 h 10000"/>
                <a:gd name="connsiteX13" fmla="*/ 2043 w 10000"/>
                <a:gd name="connsiteY13" fmla="*/ 6649 h 10000"/>
                <a:gd name="connsiteX14" fmla="*/ 2853 w 10000"/>
                <a:gd name="connsiteY14" fmla="*/ 6641 h 10000"/>
                <a:gd name="connsiteX15" fmla="*/ 4068 w 10000"/>
                <a:gd name="connsiteY15" fmla="*/ 7603 h 10000"/>
                <a:gd name="connsiteX16" fmla="*/ 5540 w 10000"/>
                <a:gd name="connsiteY16" fmla="*/ 8527 h 10000"/>
                <a:gd name="connsiteX17" fmla="*/ 5549 w 10000"/>
                <a:gd name="connsiteY17" fmla="*/ 9401 h 10000"/>
                <a:gd name="connsiteX18" fmla="*/ 6917 w 10000"/>
                <a:gd name="connsiteY18" fmla="*/ 9999 h 10000"/>
                <a:gd name="connsiteX19" fmla="*/ 8026 w 10000"/>
                <a:gd name="connsiteY19" fmla="*/ 9229 h 10000"/>
                <a:gd name="connsiteX20" fmla="*/ 8672 w 10000"/>
                <a:gd name="connsiteY20" fmla="*/ 8622 h 10000"/>
                <a:gd name="connsiteX21" fmla="*/ 8853 w 10000"/>
                <a:gd name="connsiteY21" fmla="*/ 7524 h 10000"/>
                <a:gd name="connsiteX22" fmla="*/ 9906 w 10000"/>
                <a:gd name="connsiteY22" fmla="*/ 7590 h 10000"/>
                <a:gd name="connsiteX23" fmla="*/ 10000 w 10000"/>
                <a:gd name="connsiteY23" fmla="*/ 6518 h 10000"/>
                <a:gd name="connsiteX24" fmla="*/ 7093 w 10000"/>
                <a:gd name="connsiteY24" fmla="*/ 4150 h 10000"/>
                <a:gd name="connsiteX25" fmla="*/ 6400 w 10000"/>
                <a:gd name="connsiteY25" fmla="*/ 2625 h 10000"/>
                <a:gd name="connsiteX26" fmla="*/ 4851 w 10000"/>
                <a:gd name="connsiteY26" fmla="*/ 2280 h 10000"/>
                <a:gd name="connsiteX27" fmla="*/ 4206 w 10000"/>
                <a:gd name="connsiteY27" fmla="*/ 824 h 10000"/>
                <a:gd name="connsiteX0" fmla="*/ 4206 w 10000"/>
                <a:gd name="connsiteY0" fmla="*/ 824 h 10000"/>
                <a:gd name="connsiteX1" fmla="*/ 3337 w 10000"/>
                <a:gd name="connsiteY1" fmla="*/ 0 h 10000"/>
                <a:gd name="connsiteX2" fmla="*/ 2123 w 10000"/>
                <a:gd name="connsiteY2" fmla="*/ 1652 h 10000"/>
                <a:gd name="connsiteX3" fmla="*/ 1894 w 10000"/>
                <a:gd name="connsiteY3" fmla="*/ 750 h 10000"/>
                <a:gd name="connsiteX4" fmla="*/ 1234 w 10000"/>
                <a:gd name="connsiteY4" fmla="*/ 476 h 10000"/>
                <a:gd name="connsiteX5" fmla="*/ 581 w 10000"/>
                <a:gd name="connsiteY5" fmla="*/ 110 h 10000"/>
                <a:gd name="connsiteX6" fmla="*/ 360 w 10000"/>
                <a:gd name="connsiteY6" fmla="*/ 1853 h 10000"/>
                <a:gd name="connsiteX7" fmla="*/ 352 w 10000"/>
                <a:gd name="connsiteY7" fmla="*/ 2954 h 10000"/>
                <a:gd name="connsiteX8" fmla="*/ 0 w 10000"/>
                <a:gd name="connsiteY8" fmla="*/ 4688 h 10000"/>
                <a:gd name="connsiteX9" fmla="*/ 810 w 10000"/>
                <a:gd name="connsiteY9" fmla="*/ 5330 h 10000"/>
                <a:gd name="connsiteX10" fmla="*/ 793 w 10000"/>
                <a:gd name="connsiteY10" fmla="*/ 6536 h 10000"/>
                <a:gd name="connsiteX11" fmla="*/ 478 w 10000"/>
                <a:gd name="connsiteY11" fmla="*/ 7394 h 10000"/>
                <a:gd name="connsiteX12" fmla="*/ 1171 w 10000"/>
                <a:gd name="connsiteY12" fmla="*/ 7004 h 10000"/>
                <a:gd name="connsiteX13" fmla="*/ 2043 w 10000"/>
                <a:gd name="connsiteY13" fmla="*/ 6649 h 10000"/>
                <a:gd name="connsiteX14" fmla="*/ 2853 w 10000"/>
                <a:gd name="connsiteY14" fmla="*/ 6641 h 10000"/>
                <a:gd name="connsiteX15" fmla="*/ 4068 w 10000"/>
                <a:gd name="connsiteY15" fmla="*/ 7603 h 10000"/>
                <a:gd name="connsiteX16" fmla="*/ 5540 w 10000"/>
                <a:gd name="connsiteY16" fmla="*/ 8527 h 10000"/>
                <a:gd name="connsiteX17" fmla="*/ 5549 w 10000"/>
                <a:gd name="connsiteY17" fmla="*/ 9401 h 10000"/>
                <a:gd name="connsiteX18" fmla="*/ 6917 w 10000"/>
                <a:gd name="connsiteY18" fmla="*/ 9999 h 10000"/>
                <a:gd name="connsiteX19" fmla="*/ 8026 w 10000"/>
                <a:gd name="connsiteY19" fmla="*/ 9229 h 10000"/>
                <a:gd name="connsiteX20" fmla="*/ 8672 w 10000"/>
                <a:gd name="connsiteY20" fmla="*/ 8622 h 10000"/>
                <a:gd name="connsiteX21" fmla="*/ 8853 w 10000"/>
                <a:gd name="connsiteY21" fmla="*/ 7524 h 10000"/>
                <a:gd name="connsiteX22" fmla="*/ 9906 w 10000"/>
                <a:gd name="connsiteY22" fmla="*/ 7590 h 10000"/>
                <a:gd name="connsiteX23" fmla="*/ 10000 w 10000"/>
                <a:gd name="connsiteY23" fmla="*/ 6518 h 10000"/>
                <a:gd name="connsiteX24" fmla="*/ 7093 w 10000"/>
                <a:gd name="connsiteY24" fmla="*/ 4150 h 10000"/>
                <a:gd name="connsiteX25" fmla="*/ 6400 w 10000"/>
                <a:gd name="connsiteY25" fmla="*/ 2625 h 10000"/>
                <a:gd name="connsiteX26" fmla="*/ 4851 w 10000"/>
                <a:gd name="connsiteY26" fmla="*/ 2280 h 10000"/>
                <a:gd name="connsiteX27" fmla="*/ 4206 w 10000"/>
                <a:gd name="connsiteY27" fmla="*/ 824 h 10000"/>
                <a:gd name="connsiteX0" fmla="*/ 4206 w 10000"/>
                <a:gd name="connsiteY0" fmla="*/ 824 h 10000"/>
                <a:gd name="connsiteX1" fmla="*/ 3337 w 10000"/>
                <a:gd name="connsiteY1" fmla="*/ 0 h 10000"/>
                <a:gd name="connsiteX2" fmla="*/ 2123 w 10000"/>
                <a:gd name="connsiteY2" fmla="*/ 2015 h 10000"/>
                <a:gd name="connsiteX3" fmla="*/ 1894 w 10000"/>
                <a:gd name="connsiteY3" fmla="*/ 750 h 10000"/>
                <a:gd name="connsiteX4" fmla="*/ 1234 w 10000"/>
                <a:gd name="connsiteY4" fmla="*/ 476 h 10000"/>
                <a:gd name="connsiteX5" fmla="*/ 581 w 10000"/>
                <a:gd name="connsiteY5" fmla="*/ 110 h 10000"/>
                <a:gd name="connsiteX6" fmla="*/ 360 w 10000"/>
                <a:gd name="connsiteY6" fmla="*/ 1853 h 10000"/>
                <a:gd name="connsiteX7" fmla="*/ 352 w 10000"/>
                <a:gd name="connsiteY7" fmla="*/ 2954 h 10000"/>
                <a:gd name="connsiteX8" fmla="*/ 0 w 10000"/>
                <a:gd name="connsiteY8" fmla="*/ 4688 h 10000"/>
                <a:gd name="connsiteX9" fmla="*/ 810 w 10000"/>
                <a:gd name="connsiteY9" fmla="*/ 5330 h 10000"/>
                <a:gd name="connsiteX10" fmla="*/ 793 w 10000"/>
                <a:gd name="connsiteY10" fmla="*/ 6536 h 10000"/>
                <a:gd name="connsiteX11" fmla="*/ 478 w 10000"/>
                <a:gd name="connsiteY11" fmla="*/ 7394 h 10000"/>
                <a:gd name="connsiteX12" fmla="*/ 1171 w 10000"/>
                <a:gd name="connsiteY12" fmla="*/ 7004 h 10000"/>
                <a:gd name="connsiteX13" fmla="*/ 2043 w 10000"/>
                <a:gd name="connsiteY13" fmla="*/ 6649 h 10000"/>
                <a:gd name="connsiteX14" fmla="*/ 2853 w 10000"/>
                <a:gd name="connsiteY14" fmla="*/ 6641 h 10000"/>
                <a:gd name="connsiteX15" fmla="*/ 4068 w 10000"/>
                <a:gd name="connsiteY15" fmla="*/ 7603 h 10000"/>
                <a:gd name="connsiteX16" fmla="*/ 5540 w 10000"/>
                <a:gd name="connsiteY16" fmla="*/ 8527 h 10000"/>
                <a:gd name="connsiteX17" fmla="*/ 5549 w 10000"/>
                <a:gd name="connsiteY17" fmla="*/ 9401 h 10000"/>
                <a:gd name="connsiteX18" fmla="*/ 6917 w 10000"/>
                <a:gd name="connsiteY18" fmla="*/ 9999 h 10000"/>
                <a:gd name="connsiteX19" fmla="*/ 8026 w 10000"/>
                <a:gd name="connsiteY19" fmla="*/ 9229 h 10000"/>
                <a:gd name="connsiteX20" fmla="*/ 8672 w 10000"/>
                <a:gd name="connsiteY20" fmla="*/ 8622 h 10000"/>
                <a:gd name="connsiteX21" fmla="*/ 8853 w 10000"/>
                <a:gd name="connsiteY21" fmla="*/ 7524 h 10000"/>
                <a:gd name="connsiteX22" fmla="*/ 9906 w 10000"/>
                <a:gd name="connsiteY22" fmla="*/ 7590 h 10000"/>
                <a:gd name="connsiteX23" fmla="*/ 10000 w 10000"/>
                <a:gd name="connsiteY23" fmla="*/ 6518 h 10000"/>
                <a:gd name="connsiteX24" fmla="*/ 7093 w 10000"/>
                <a:gd name="connsiteY24" fmla="*/ 4150 h 10000"/>
                <a:gd name="connsiteX25" fmla="*/ 6400 w 10000"/>
                <a:gd name="connsiteY25" fmla="*/ 2625 h 10000"/>
                <a:gd name="connsiteX26" fmla="*/ 4851 w 10000"/>
                <a:gd name="connsiteY26" fmla="*/ 2280 h 10000"/>
                <a:gd name="connsiteX27" fmla="*/ 4206 w 10000"/>
                <a:gd name="connsiteY27" fmla="*/ 824 h 10000"/>
                <a:gd name="connsiteX0" fmla="*/ 4206 w 10000"/>
                <a:gd name="connsiteY0" fmla="*/ 824 h 10000"/>
                <a:gd name="connsiteX1" fmla="*/ 3337 w 10000"/>
                <a:gd name="connsiteY1" fmla="*/ 0 h 10000"/>
                <a:gd name="connsiteX2" fmla="*/ 2123 w 10000"/>
                <a:gd name="connsiteY2" fmla="*/ 2015 h 10000"/>
                <a:gd name="connsiteX3" fmla="*/ 1259 w 10000"/>
                <a:gd name="connsiteY3" fmla="*/ 2022 h 10000"/>
                <a:gd name="connsiteX4" fmla="*/ 1234 w 10000"/>
                <a:gd name="connsiteY4" fmla="*/ 476 h 10000"/>
                <a:gd name="connsiteX5" fmla="*/ 581 w 10000"/>
                <a:gd name="connsiteY5" fmla="*/ 110 h 10000"/>
                <a:gd name="connsiteX6" fmla="*/ 360 w 10000"/>
                <a:gd name="connsiteY6" fmla="*/ 1853 h 10000"/>
                <a:gd name="connsiteX7" fmla="*/ 352 w 10000"/>
                <a:gd name="connsiteY7" fmla="*/ 2954 h 10000"/>
                <a:gd name="connsiteX8" fmla="*/ 0 w 10000"/>
                <a:gd name="connsiteY8" fmla="*/ 4688 h 10000"/>
                <a:gd name="connsiteX9" fmla="*/ 810 w 10000"/>
                <a:gd name="connsiteY9" fmla="*/ 5330 h 10000"/>
                <a:gd name="connsiteX10" fmla="*/ 793 w 10000"/>
                <a:gd name="connsiteY10" fmla="*/ 6536 h 10000"/>
                <a:gd name="connsiteX11" fmla="*/ 478 w 10000"/>
                <a:gd name="connsiteY11" fmla="*/ 7394 h 10000"/>
                <a:gd name="connsiteX12" fmla="*/ 1171 w 10000"/>
                <a:gd name="connsiteY12" fmla="*/ 7004 h 10000"/>
                <a:gd name="connsiteX13" fmla="*/ 2043 w 10000"/>
                <a:gd name="connsiteY13" fmla="*/ 6649 h 10000"/>
                <a:gd name="connsiteX14" fmla="*/ 2853 w 10000"/>
                <a:gd name="connsiteY14" fmla="*/ 6641 h 10000"/>
                <a:gd name="connsiteX15" fmla="*/ 4068 w 10000"/>
                <a:gd name="connsiteY15" fmla="*/ 7603 h 10000"/>
                <a:gd name="connsiteX16" fmla="*/ 5540 w 10000"/>
                <a:gd name="connsiteY16" fmla="*/ 8527 h 10000"/>
                <a:gd name="connsiteX17" fmla="*/ 5549 w 10000"/>
                <a:gd name="connsiteY17" fmla="*/ 9401 h 10000"/>
                <a:gd name="connsiteX18" fmla="*/ 6917 w 10000"/>
                <a:gd name="connsiteY18" fmla="*/ 9999 h 10000"/>
                <a:gd name="connsiteX19" fmla="*/ 8026 w 10000"/>
                <a:gd name="connsiteY19" fmla="*/ 9229 h 10000"/>
                <a:gd name="connsiteX20" fmla="*/ 8672 w 10000"/>
                <a:gd name="connsiteY20" fmla="*/ 8622 h 10000"/>
                <a:gd name="connsiteX21" fmla="*/ 8853 w 10000"/>
                <a:gd name="connsiteY21" fmla="*/ 7524 h 10000"/>
                <a:gd name="connsiteX22" fmla="*/ 9906 w 10000"/>
                <a:gd name="connsiteY22" fmla="*/ 7590 h 10000"/>
                <a:gd name="connsiteX23" fmla="*/ 10000 w 10000"/>
                <a:gd name="connsiteY23" fmla="*/ 6518 h 10000"/>
                <a:gd name="connsiteX24" fmla="*/ 7093 w 10000"/>
                <a:gd name="connsiteY24" fmla="*/ 4150 h 10000"/>
                <a:gd name="connsiteX25" fmla="*/ 6400 w 10000"/>
                <a:gd name="connsiteY25" fmla="*/ 2625 h 10000"/>
                <a:gd name="connsiteX26" fmla="*/ 4851 w 10000"/>
                <a:gd name="connsiteY26" fmla="*/ 2280 h 10000"/>
                <a:gd name="connsiteX27" fmla="*/ 4206 w 10000"/>
                <a:gd name="connsiteY27" fmla="*/ 824 h 10000"/>
                <a:gd name="connsiteX0" fmla="*/ 4206 w 10000"/>
                <a:gd name="connsiteY0" fmla="*/ 824 h 10000"/>
                <a:gd name="connsiteX1" fmla="*/ 3337 w 10000"/>
                <a:gd name="connsiteY1" fmla="*/ 0 h 10000"/>
                <a:gd name="connsiteX2" fmla="*/ 2758 w 10000"/>
                <a:gd name="connsiteY2" fmla="*/ 1924 h 10000"/>
                <a:gd name="connsiteX3" fmla="*/ 1259 w 10000"/>
                <a:gd name="connsiteY3" fmla="*/ 2022 h 10000"/>
                <a:gd name="connsiteX4" fmla="*/ 1234 w 10000"/>
                <a:gd name="connsiteY4" fmla="*/ 476 h 10000"/>
                <a:gd name="connsiteX5" fmla="*/ 581 w 10000"/>
                <a:gd name="connsiteY5" fmla="*/ 110 h 10000"/>
                <a:gd name="connsiteX6" fmla="*/ 360 w 10000"/>
                <a:gd name="connsiteY6" fmla="*/ 1853 h 10000"/>
                <a:gd name="connsiteX7" fmla="*/ 352 w 10000"/>
                <a:gd name="connsiteY7" fmla="*/ 2954 h 10000"/>
                <a:gd name="connsiteX8" fmla="*/ 0 w 10000"/>
                <a:gd name="connsiteY8" fmla="*/ 4688 h 10000"/>
                <a:gd name="connsiteX9" fmla="*/ 810 w 10000"/>
                <a:gd name="connsiteY9" fmla="*/ 5330 h 10000"/>
                <a:gd name="connsiteX10" fmla="*/ 793 w 10000"/>
                <a:gd name="connsiteY10" fmla="*/ 6536 h 10000"/>
                <a:gd name="connsiteX11" fmla="*/ 478 w 10000"/>
                <a:gd name="connsiteY11" fmla="*/ 7394 h 10000"/>
                <a:gd name="connsiteX12" fmla="*/ 1171 w 10000"/>
                <a:gd name="connsiteY12" fmla="*/ 7004 h 10000"/>
                <a:gd name="connsiteX13" fmla="*/ 2043 w 10000"/>
                <a:gd name="connsiteY13" fmla="*/ 6649 h 10000"/>
                <a:gd name="connsiteX14" fmla="*/ 2853 w 10000"/>
                <a:gd name="connsiteY14" fmla="*/ 6641 h 10000"/>
                <a:gd name="connsiteX15" fmla="*/ 4068 w 10000"/>
                <a:gd name="connsiteY15" fmla="*/ 7603 h 10000"/>
                <a:gd name="connsiteX16" fmla="*/ 5540 w 10000"/>
                <a:gd name="connsiteY16" fmla="*/ 8527 h 10000"/>
                <a:gd name="connsiteX17" fmla="*/ 5549 w 10000"/>
                <a:gd name="connsiteY17" fmla="*/ 9401 h 10000"/>
                <a:gd name="connsiteX18" fmla="*/ 6917 w 10000"/>
                <a:gd name="connsiteY18" fmla="*/ 9999 h 10000"/>
                <a:gd name="connsiteX19" fmla="*/ 8026 w 10000"/>
                <a:gd name="connsiteY19" fmla="*/ 9229 h 10000"/>
                <a:gd name="connsiteX20" fmla="*/ 8672 w 10000"/>
                <a:gd name="connsiteY20" fmla="*/ 8622 h 10000"/>
                <a:gd name="connsiteX21" fmla="*/ 8853 w 10000"/>
                <a:gd name="connsiteY21" fmla="*/ 7524 h 10000"/>
                <a:gd name="connsiteX22" fmla="*/ 9906 w 10000"/>
                <a:gd name="connsiteY22" fmla="*/ 7590 h 10000"/>
                <a:gd name="connsiteX23" fmla="*/ 10000 w 10000"/>
                <a:gd name="connsiteY23" fmla="*/ 6518 h 10000"/>
                <a:gd name="connsiteX24" fmla="*/ 7093 w 10000"/>
                <a:gd name="connsiteY24" fmla="*/ 4150 h 10000"/>
                <a:gd name="connsiteX25" fmla="*/ 6400 w 10000"/>
                <a:gd name="connsiteY25" fmla="*/ 2625 h 10000"/>
                <a:gd name="connsiteX26" fmla="*/ 4851 w 10000"/>
                <a:gd name="connsiteY26" fmla="*/ 2280 h 10000"/>
                <a:gd name="connsiteX27" fmla="*/ 4206 w 10000"/>
                <a:gd name="connsiteY27" fmla="*/ 824 h 10000"/>
                <a:gd name="connsiteX0" fmla="*/ 4206 w 10000"/>
                <a:gd name="connsiteY0" fmla="*/ 714 h 9890"/>
                <a:gd name="connsiteX1" fmla="*/ 3478 w 10000"/>
                <a:gd name="connsiteY1" fmla="*/ 526 h 9890"/>
                <a:gd name="connsiteX2" fmla="*/ 2758 w 10000"/>
                <a:gd name="connsiteY2" fmla="*/ 1814 h 9890"/>
                <a:gd name="connsiteX3" fmla="*/ 1259 w 10000"/>
                <a:gd name="connsiteY3" fmla="*/ 1912 h 9890"/>
                <a:gd name="connsiteX4" fmla="*/ 1234 w 10000"/>
                <a:gd name="connsiteY4" fmla="*/ 366 h 9890"/>
                <a:gd name="connsiteX5" fmla="*/ 581 w 10000"/>
                <a:gd name="connsiteY5" fmla="*/ 0 h 9890"/>
                <a:gd name="connsiteX6" fmla="*/ 360 w 10000"/>
                <a:gd name="connsiteY6" fmla="*/ 1743 h 9890"/>
                <a:gd name="connsiteX7" fmla="*/ 352 w 10000"/>
                <a:gd name="connsiteY7" fmla="*/ 2844 h 9890"/>
                <a:gd name="connsiteX8" fmla="*/ 0 w 10000"/>
                <a:gd name="connsiteY8" fmla="*/ 4578 h 9890"/>
                <a:gd name="connsiteX9" fmla="*/ 810 w 10000"/>
                <a:gd name="connsiteY9" fmla="*/ 5220 h 9890"/>
                <a:gd name="connsiteX10" fmla="*/ 793 w 10000"/>
                <a:gd name="connsiteY10" fmla="*/ 6426 h 9890"/>
                <a:gd name="connsiteX11" fmla="*/ 478 w 10000"/>
                <a:gd name="connsiteY11" fmla="*/ 7284 h 9890"/>
                <a:gd name="connsiteX12" fmla="*/ 1171 w 10000"/>
                <a:gd name="connsiteY12" fmla="*/ 6894 h 9890"/>
                <a:gd name="connsiteX13" fmla="*/ 2043 w 10000"/>
                <a:gd name="connsiteY13" fmla="*/ 6539 h 9890"/>
                <a:gd name="connsiteX14" fmla="*/ 2853 w 10000"/>
                <a:gd name="connsiteY14" fmla="*/ 6531 h 9890"/>
                <a:gd name="connsiteX15" fmla="*/ 4068 w 10000"/>
                <a:gd name="connsiteY15" fmla="*/ 7493 h 9890"/>
                <a:gd name="connsiteX16" fmla="*/ 5540 w 10000"/>
                <a:gd name="connsiteY16" fmla="*/ 8417 h 9890"/>
                <a:gd name="connsiteX17" fmla="*/ 5549 w 10000"/>
                <a:gd name="connsiteY17" fmla="*/ 9291 h 9890"/>
                <a:gd name="connsiteX18" fmla="*/ 6917 w 10000"/>
                <a:gd name="connsiteY18" fmla="*/ 9889 h 9890"/>
                <a:gd name="connsiteX19" fmla="*/ 8026 w 10000"/>
                <a:gd name="connsiteY19" fmla="*/ 9119 h 9890"/>
                <a:gd name="connsiteX20" fmla="*/ 8672 w 10000"/>
                <a:gd name="connsiteY20" fmla="*/ 8512 h 9890"/>
                <a:gd name="connsiteX21" fmla="*/ 8853 w 10000"/>
                <a:gd name="connsiteY21" fmla="*/ 7414 h 9890"/>
                <a:gd name="connsiteX22" fmla="*/ 9906 w 10000"/>
                <a:gd name="connsiteY22" fmla="*/ 7480 h 9890"/>
                <a:gd name="connsiteX23" fmla="*/ 10000 w 10000"/>
                <a:gd name="connsiteY23" fmla="*/ 6408 h 9890"/>
                <a:gd name="connsiteX24" fmla="*/ 7093 w 10000"/>
                <a:gd name="connsiteY24" fmla="*/ 4040 h 9890"/>
                <a:gd name="connsiteX25" fmla="*/ 6400 w 10000"/>
                <a:gd name="connsiteY25" fmla="*/ 2515 h 9890"/>
                <a:gd name="connsiteX26" fmla="*/ 4851 w 10000"/>
                <a:gd name="connsiteY26" fmla="*/ 2170 h 9890"/>
                <a:gd name="connsiteX27" fmla="*/ 4206 w 10000"/>
                <a:gd name="connsiteY27" fmla="*/ 714 h 9890"/>
                <a:gd name="connsiteX0" fmla="*/ 4206 w 10000"/>
                <a:gd name="connsiteY0" fmla="*/ 722 h 10000"/>
                <a:gd name="connsiteX1" fmla="*/ 3478 w 10000"/>
                <a:gd name="connsiteY1" fmla="*/ 532 h 10000"/>
                <a:gd name="connsiteX2" fmla="*/ 2758 w 10000"/>
                <a:gd name="connsiteY2" fmla="*/ 1834 h 10000"/>
                <a:gd name="connsiteX3" fmla="*/ 1471 w 10000"/>
                <a:gd name="connsiteY3" fmla="*/ 1749 h 10000"/>
                <a:gd name="connsiteX4" fmla="*/ 1234 w 10000"/>
                <a:gd name="connsiteY4" fmla="*/ 370 h 10000"/>
                <a:gd name="connsiteX5" fmla="*/ 581 w 10000"/>
                <a:gd name="connsiteY5" fmla="*/ 0 h 10000"/>
                <a:gd name="connsiteX6" fmla="*/ 360 w 10000"/>
                <a:gd name="connsiteY6" fmla="*/ 1762 h 10000"/>
                <a:gd name="connsiteX7" fmla="*/ 352 w 10000"/>
                <a:gd name="connsiteY7" fmla="*/ 2876 h 10000"/>
                <a:gd name="connsiteX8" fmla="*/ 0 w 10000"/>
                <a:gd name="connsiteY8" fmla="*/ 4629 h 10000"/>
                <a:gd name="connsiteX9" fmla="*/ 810 w 10000"/>
                <a:gd name="connsiteY9" fmla="*/ 5278 h 10000"/>
                <a:gd name="connsiteX10" fmla="*/ 793 w 10000"/>
                <a:gd name="connsiteY10" fmla="*/ 6497 h 10000"/>
                <a:gd name="connsiteX11" fmla="*/ 478 w 10000"/>
                <a:gd name="connsiteY11" fmla="*/ 7365 h 10000"/>
                <a:gd name="connsiteX12" fmla="*/ 1171 w 10000"/>
                <a:gd name="connsiteY12" fmla="*/ 6971 h 10000"/>
                <a:gd name="connsiteX13" fmla="*/ 2043 w 10000"/>
                <a:gd name="connsiteY13" fmla="*/ 6612 h 10000"/>
                <a:gd name="connsiteX14" fmla="*/ 2853 w 10000"/>
                <a:gd name="connsiteY14" fmla="*/ 6604 h 10000"/>
                <a:gd name="connsiteX15" fmla="*/ 4068 w 10000"/>
                <a:gd name="connsiteY15" fmla="*/ 7576 h 10000"/>
                <a:gd name="connsiteX16" fmla="*/ 5540 w 10000"/>
                <a:gd name="connsiteY16" fmla="*/ 8511 h 10000"/>
                <a:gd name="connsiteX17" fmla="*/ 5549 w 10000"/>
                <a:gd name="connsiteY17" fmla="*/ 9394 h 10000"/>
                <a:gd name="connsiteX18" fmla="*/ 6917 w 10000"/>
                <a:gd name="connsiteY18" fmla="*/ 9999 h 10000"/>
                <a:gd name="connsiteX19" fmla="*/ 8026 w 10000"/>
                <a:gd name="connsiteY19" fmla="*/ 9220 h 10000"/>
                <a:gd name="connsiteX20" fmla="*/ 8672 w 10000"/>
                <a:gd name="connsiteY20" fmla="*/ 8607 h 10000"/>
                <a:gd name="connsiteX21" fmla="*/ 8853 w 10000"/>
                <a:gd name="connsiteY21" fmla="*/ 7496 h 10000"/>
                <a:gd name="connsiteX22" fmla="*/ 9906 w 10000"/>
                <a:gd name="connsiteY22" fmla="*/ 7563 h 10000"/>
                <a:gd name="connsiteX23" fmla="*/ 10000 w 10000"/>
                <a:gd name="connsiteY23" fmla="*/ 6479 h 10000"/>
                <a:gd name="connsiteX24" fmla="*/ 7093 w 10000"/>
                <a:gd name="connsiteY24" fmla="*/ 4085 h 10000"/>
                <a:gd name="connsiteX25" fmla="*/ 6400 w 10000"/>
                <a:gd name="connsiteY25" fmla="*/ 2543 h 10000"/>
                <a:gd name="connsiteX26" fmla="*/ 4851 w 10000"/>
                <a:gd name="connsiteY26" fmla="*/ 2194 h 10000"/>
                <a:gd name="connsiteX27" fmla="*/ 4206 w 10000"/>
                <a:gd name="connsiteY27" fmla="*/ 722 h 10000"/>
                <a:gd name="connsiteX0" fmla="*/ 4206 w 10000"/>
                <a:gd name="connsiteY0" fmla="*/ 722 h 10000"/>
                <a:gd name="connsiteX1" fmla="*/ 3478 w 10000"/>
                <a:gd name="connsiteY1" fmla="*/ 532 h 10000"/>
                <a:gd name="connsiteX2" fmla="*/ 2758 w 10000"/>
                <a:gd name="connsiteY2" fmla="*/ 1834 h 10000"/>
                <a:gd name="connsiteX3" fmla="*/ 1471 w 10000"/>
                <a:gd name="connsiteY3" fmla="*/ 1749 h 10000"/>
                <a:gd name="connsiteX4" fmla="*/ 1234 w 10000"/>
                <a:gd name="connsiteY4" fmla="*/ 370 h 10000"/>
                <a:gd name="connsiteX5" fmla="*/ 581 w 10000"/>
                <a:gd name="connsiteY5" fmla="*/ 0 h 10000"/>
                <a:gd name="connsiteX6" fmla="*/ 360 w 10000"/>
                <a:gd name="connsiteY6" fmla="*/ 1762 h 10000"/>
                <a:gd name="connsiteX7" fmla="*/ 352 w 10000"/>
                <a:gd name="connsiteY7" fmla="*/ 2876 h 10000"/>
                <a:gd name="connsiteX8" fmla="*/ 0 w 10000"/>
                <a:gd name="connsiteY8" fmla="*/ 4629 h 10000"/>
                <a:gd name="connsiteX9" fmla="*/ 810 w 10000"/>
                <a:gd name="connsiteY9" fmla="*/ 5278 h 10000"/>
                <a:gd name="connsiteX10" fmla="*/ 793 w 10000"/>
                <a:gd name="connsiteY10" fmla="*/ 6497 h 10000"/>
                <a:gd name="connsiteX11" fmla="*/ 478 w 10000"/>
                <a:gd name="connsiteY11" fmla="*/ 7365 h 10000"/>
                <a:gd name="connsiteX12" fmla="*/ 1171 w 10000"/>
                <a:gd name="connsiteY12" fmla="*/ 6971 h 10000"/>
                <a:gd name="connsiteX13" fmla="*/ 2043 w 10000"/>
                <a:gd name="connsiteY13" fmla="*/ 6612 h 10000"/>
                <a:gd name="connsiteX14" fmla="*/ 2853 w 10000"/>
                <a:gd name="connsiteY14" fmla="*/ 6604 h 10000"/>
                <a:gd name="connsiteX15" fmla="*/ 4068 w 10000"/>
                <a:gd name="connsiteY15" fmla="*/ 7576 h 10000"/>
                <a:gd name="connsiteX16" fmla="*/ 5540 w 10000"/>
                <a:gd name="connsiteY16" fmla="*/ 8511 h 10000"/>
                <a:gd name="connsiteX17" fmla="*/ 5549 w 10000"/>
                <a:gd name="connsiteY17" fmla="*/ 9394 h 10000"/>
                <a:gd name="connsiteX18" fmla="*/ 6917 w 10000"/>
                <a:gd name="connsiteY18" fmla="*/ 9999 h 10000"/>
                <a:gd name="connsiteX19" fmla="*/ 8026 w 10000"/>
                <a:gd name="connsiteY19" fmla="*/ 9220 h 10000"/>
                <a:gd name="connsiteX20" fmla="*/ 8672 w 10000"/>
                <a:gd name="connsiteY20" fmla="*/ 8607 h 10000"/>
                <a:gd name="connsiteX21" fmla="*/ 8853 w 10000"/>
                <a:gd name="connsiteY21" fmla="*/ 7496 h 10000"/>
                <a:gd name="connsiteX22" fmla="*/ 9906 w 10000"/>
                <a:gd name="connsiteY22" fmla="*/ 7563 h 10000"/>
                <a:gd name="connsiteX23" fmla="*/ 10000 w 10000"/>
                <a:gd name="connsiteY23" fmla="*/ 6479 h 10000"/>
                <a:gd name="connsiteX24" fmla="*/ 7093 w 10000"/>
                <a:gd name="connsiteY24" fmla="*/ 4085 h 10000"/>
                <a:gd name="connsiteX25" fmla="*/ 6400 w 10000"/>
                <a:gd name="connsiteY25" fmla="*/ 2543 h 10000"/>
                <a:gd name="connsiteX26" fmla="*/ 4851 w 10000"/>
                <a:gd name="connsiteY26" fmla="*/ 2194 h 10000"/>
                <a:gd name="connsiteX27" fmla="*/ 4206 w 10000"/>
                <a:gd name="connsiteY27" fmla="*/ 722 h 10000"/>
                <a:gd name="connsiteX0" fmla="*/ 4206 w 10000"/>
                <a:gd name="connsiteY0" fmla="*/ 722 h 10000"/>
                <a:gd name="connsiteX1" fmla="*/ 3478 w 10000"/>
                <a:gd name="connsiteY1" fmla="*/ 532 h 10000"/>
                <a:gd name="connsiteX2" fmla="*/ 2758 w 10000"/>
                <a:gd name="connsiteY2" fmla="*/ 1834 h 10000"/>
                <a:gd name="connsiteX3" fmla="*/ 1471 w 10000"/>
                <a:gd name="connsiteY3" fmla="*/ 1933 h 10000"/>
                <a:gd name="connsiteX4" fmla="*/ 1234 w 10000"/>
                <a:gd name="connsiteY4" fmla="*/ 370 h 10000"/>
                <a:gd name="connsiteX5" fmla="*/ 581 w 10000"/>
                <a:gd name="connsiteY5" fmla="*/ 0 h 10000"/>
                <a:gd name="connsiteX6" fmla="*/ 360 w 10000"/>
                <a:gd name="connsiteY6" fmla="*/ 1762 h 10000"/>
                <a:gd name="connsiteX7" fmla="*/ 352 w 10000"/>
                <a:gd name="connsiteY7" fmla="*/ 2876 h 10000"/>
                <a:gd name="connsiteX8" fmla="*/ 0 w 10000"/>
                <a:gd name="connsiteY8" fmla="*/ 4629 h 10000"/>
                <a:gd name="connsiteX9" fmla="*/ 810 w 10000"/>
                <a:gd name="connsiteY9" fmla="*/ 5278 h 10000"/>
                <a:gd name="connsiteX10" fmla="*/ 793 w 10000"/>
                <a:gd name="connsiteY10" fmla="*/ 6497 h 10000"/>
                <a:gd name="connsiteX11" fmla="*/ 478 w 10000"/>
                <a:gd name="connsiteY11" fmla="*/ 7365 h 10000"/>
                <a:gd name="connsiteX12" fmla="*/ 1171 w 10000"/>
                <a:gd name="connsiteY12" fmla="*/ 6971 h 10000"/>
                <a:gd name="connsiteX13" fmla="*/ 2043 w 10000"/>
                <a:gd name="connsiteY13" fmla="*/ 6612 h 10000"/>
                <a:gd name="connsiteX14" fmla="*/ 2853 w 10000"/>
                <a:gd name="connsiteY14" fmla="*/ 6604 h 10000"/>
                <a:gd name="connsiteX15" fmla="*/ 4068 w 10000"/>
                <a:gd name="connsiteY15" fmla="*/ 7576 h 10000"/>
                <a:gd name="connsiteX16" fmla="*/ 5540 w 10000"/>
                <a:gd name="connsiteY16" fmla="*/ 8511 h 10000"/>
                <a:gd name="connsiteX17" fmla="*/ 5549 w 10000"/>
                <a:gd name="connsiteY17" fmla="*/ 9394 h 10000"/>
                <a:gd name="connsiteX18" fmla="*/ 6917 w 10000"/>
                <a:gd name="connsiteY18" fmla="*/ 9999 h 10000"/>
                <a:gd name="connsiteX19" fmla="*/ 8026 w 10000"/>
                <a:gd name="connsiteY19" fmla="*/ 9220 h 10000"/>
                <a:gd name="connsiteX20" fmla="*/ 8672 w 10000"/>
                <a:gd name="connsiteY20" fmla="*/ 8607 h 10000"/>
                <a:gd name="connsiteX21" fmla="*/ 8853 w 10000"/>
                <a:gd name="connsiteY21" fmla="*/ 7496 h 10000"/>
                <a:gd name="connsiteX22" fmla="*/ 9906 w 10000"/>
                <a:gd name="connsiteY22" fmla="*/ 7563 h 10000"/>
                <a:gd name="connsiteX23" fmla="*/ 10000 w 10000"/>
                <a:gd name="connsiteY23" fmla="*/ 6479 h 10000"/>
                <a:gd name="connsiteX24" fmla="*/ 7093 w 10000"/>
                <a:gd name="connsiteY24" fmla="*/ 4085 h 10000"/>
                <a:gd name="connsiteX25" fmla="*/ 6400 w 10000"/>
                <a:gd name="connsiteY25" fmla="*/ 2543 h 10000"/>
                <a:gd name="connsiteX26" fmla="*/ 4851 w 10000"/>
                <a:gd name="connsiteY26" fmla="*/ 2194 h 10000"/>
                <a:gd name="connsiteX27" fmla="*/ 4206 w 10000"/>
                <a:gd name="connsiteY27" fmla="*/ 722 h 10000"/>
                <a:gd name="connsiteX0" fmla="*/ 4206 w 10000"/>
                <a:gd name="connsiteY0" fmla="*/ 722 h 10000"/>
                <a:gd name="connsiteX1" fmla="*/ 3478 w 10000"/>
                <a:gd name="connsiteY1" fmla="*/ 532 h 10000"/>
                <a:gd name="connsiteX2" fmla="*/ 2758 w 10000"/>
                <a:gd name="connsiteY2" fmla="*/ 1834 h 10000"/>
                <a:gd name="connsiteX3" fmla="*/ 1471 w 10000"/>
                <a:gd name="connsiteY3" fmla="*/ 1933 h 10000"/>
                <a:gd name="connsiteX4" fmla="*/ 1234 w 10000"/>
                <a:gd name="connsiteY4" fmla="*/ 370 h 10000"/>
                <a:gd name="connsiteX5" fmla="*/ 581 w 10000"/>
                <a:gd name="connsiteY5" fmla="*/ 0 h 10000"/>
                <a:gd name="connsiteX6" fmla="*/ 360 w 10000"/>
                <a:gd name="connsiteY6" fmla="*/ 1762 h 10000"/>
                <a:gd name="connsiteX7" fmla="*/ 352 w 10000"/>
                <a:gd name="connsiteY7" fmla="*/ 2876 h 10000"/>
                <a:gd name="connsiteX8" fmla="*/ 0 w 10000"/>
                <a:gd name="connsiteY8" fmla="*/ 4629 h 10000"/>
                <a:gd name="connsiteX9" fmla="*/ 669 w 10000"/>
                <a:gd name="connsiteY9" fmla="*/ 5554 h 10000"/>
                <a:gd name="connsiteX10" fmla="*/ 793 w 10000"/>
                <a:gd name="connsiteY10" fmla="*/ 6497 h 10000"/>
                <a:gd name="connsiteX11" fmla="*/ 478 w 10000"/>
                <a:gd name="connsiteY11" fmla="*/ 7365 h 10000"/>
                <a:gd name="connsiteX12" fmla="*/ 1171 w 10000"/>
                <a:gd name="connsiteY12" fmla="*/ 6971 h 10000"/>
                <a:gd name="connsiteX13" fmla="*/ 2043 w 10000"/>
                <a:gd name="connsiteY13" fmla="*/ 6612 h 10000"/>
                <a:gd name="connsiteX14" fmla="*/ 2853 w 10000"/>
                <a:gd name="connsiteY14" fmla="*/ 6604 h 10000"/>
                <a:gd name="connsiteX15" fmla="*/ 4068 w 10000"/>
                <a:gd name="connsiteY15" fmla="*/ 7576 h 10000"/>
                <a:gd name="connsiteX16" fmla="*/ 5540 w 10000"/>
                <a:gd name="connsiteY16" fmla="*/ 8511 h 10000"/>
                <a:gd name="connsiteX17" fmla="*/ 5549 w 10000"/>
                <a:gd name="connsiteY17" fmla="*/ 9394 h 10000"/>
                <a:gd name="connsiteX18" fmla="*/ 6917 w 10000"/>
                <a:gd name="connsiteY18" fmla="*/ 9999 h 10000"/>
                <a:gd name="connsiteX19" fmla="*/ 8026 w 10000"/>
                <a:gd name="connsiteY19" fmla="*/ 9220 h 10000"/>
                <a:gd name="connsiteX20" fmla="*/ 8672 w 10000"/>
                <a:gd name="connsiteY20" fmla="*/ 8607 h 10000"/>
                <a:gd name="connsiteX21" fmla="*/ 8853 w 10000"/>
                <a:gd name="connsiteY21" fmla="*/ 7496 h 10000"/>
                <a:gd name="connsiteX22" fmla="*/ 9906 w 10000"/>
                <a:gd name="connsiteY22" fmla="*/ 7563 h 10000"/>
                <a:gd name="connsiteX23" fmla="*/ 10000 w 10000"/>
                <a:gd name="connsiteY23" fmla="*/ 6479 h 10000"/>
                <a:gd name="connsiteX24" fmla="*/ 7093 w 10000"/>
                <a:gd name="connsiteY24" fmla="*/ 4085 h 10000"/>
                <a:gd name="connsiteX25" fmla="*/ 6400 w 10000"/>
                <a:gd name="connsiteY25" fmla="*/ 2543 h 10000"/>
                <a:gd name="connsiteX26" fmla="*/ 4851 w 10000"/>
                <a:gd name="connsiteY26" fmla="*/ 2194 h 10000"/>
                <a:gd name="connsiteX27" fmla="*/ 4206 w 10000"/>
                <a:gd name="connsiteY27" fmla="*/ 722 h 10000"/>
                <a:gd name="connsiteX0" fmla="*/ 4488 w 10282"/>
                <a:gd name="connsiteY0" fmla="*/ 722 h 10000"/>
                <a:gd name="connsiteX1" fmla="*/ 3760 w 10282"/>
                <a:gd name="connsiteY1" fmla="*/ 532 h 10000"/>
                <a:gd name="connsiteX2" fmla="*/ 3040 w 10282"/>
                <a:gd name="connsiteY2" fmla="*/ 1834 h 10000"/>
                <a:gd name="connsiteX3" fmla="*/ 1753 w 10282"/>
                <a:gd name="connsiteY3" fmla="*/ 1933 h 10000"/>
                <a:gd name="connsiteX4" fmla="*/ 1516 w 10282"/>
                <a:gd name="connsiteY4" fmla="*/ 370 h 10000"/>
                <a:gd name="connsiteX5" fmla="*/ 863 w 10282"/>
                <a:gd name="connsiteY5" fmla="*/ 0 h 10000"/>
                <a:gd name="connsiteX6" fmla="*/ 642 w 10282"/>
                <a:gd name="connsiteY6" fmla="*/ 1762 h 10000"/>
                <a:gd name="connsiteX7" fmla="*/ 634 w 10282"/>
                <a:gd name="connsiteY7" fmla="*/ 2876 h 10000"/>
                <a:gd name="connsiteX8" fmla="*/ 0 w 10282"/>
                <a:gd name="connsiteY8" fmla="*/ 4629 h 10000"/>
                <a:gd name="connsiteX9" fmla="*/ 951 w 10282"/>
                <a:gd name="connsiteY9" fmla="*/ 5554 h 10000"/>
                <a:gd name="connsiteX10" fmla="*/ 1075 w 10282"/>
                <a:gd name="connsiteY10" fmla="*/ 6497 h 10000"/>
                <a:gd name="connsiteX11" fmla="*/ 760 w 10282"/>
                <a:gd name="connsiteY11" fmla="*/ 7365 h 10000"/>
                <a:gd name="connsiteX12" fmla="*/ 1453 w 10282"/>
                <a:gd name="connsiteY12" fmla="*/ 6971 h 10000"/>
                <a:gd name="connsiteX13" fmla="*/ 2325 w 10282"/>
                <a:gd name="connsiteY13" fmla="*/ 6612 h 10000"/>
                <a:gd name="connsiteX14" fmla="*/ 3135 w 10282"/>
                <a:gd name="connsiteY14" fmla="*/ 6604 h 10000"/>
                <a:gd name="connsiteX15" fmla="*/ 4350 w 10282"/>
                <a:gd name="connsiteY15" fmla="*/ 7576 h 10000"/>
                <a:gd name="connsiteX16" fmla="*/ 5822 w 10282"/>
                <a:gd name="connsiteY16" fmla="*/ 8511 h 10000"/>
                <a:gd name="connsiteX17" fmla="*/ 5831 w 10282"/>
                <a:gd name="connsiteY17" fmla="*/ 9394 h 10000"/>
                <a:gd name="connsiteX18" fmla="*/ 7199 w 10282"/>
                <a:gd name="connsiteY18" fmla="*/ 9999 h 10000"/>
                <a:gd name="connsiteX19" fmla="*/ 8308 w 10282"/>
                <a:gd name="connsiteY19" fmla="*/ 9220 h 10000"/>
                <a:gd name="connsiteX20" fmla="*/ 8954 w 10282"/>
                <a:gd name="connsiteY20" fmla="*/ 8607 h 10000"/>
                <a:gd name="connsiteX21" fmla="*/ 9135 w 10282"/>
                <a:gd name="connsiteY21" fmla="*/ 7496 h 10000"/>
                <a:gd name="connsiteX22" fmla="*/ 10188 w 10282"/>
                <a:gd name="connsiteY22" fmla="*/ 7563 h 10000"/>
                <a:gd name="connsiteX23" fmla="*/ 10282 w 10282"/>
                <a:gd name="connsiteY23" fmla="*/ 6479 h 10000"/>
                <a:gd name="connsiteX24" fmla="*/ 7375 w 10282"/>
                <a:gd name="connsiteY24" fmla="*/ 4085 h 10000"/>
                <a:gd name="connsiteX25" fmla="*/ 6682 w 10282"/>
                <a:gd name="connsiteY25" fmla="*/ 2543 h 10000"/>
                <a:gd name="connsiteX26" fmla="*/ 5133 w 10282"/>
                <a:gd name="connsiteY26" fmla="*/ 2194 h 10000"/>
                <a:gd name="connsiteX27" fmla="*/ 4488 w 10282"/>
                <a:gd name="connsiteY27" fmla="*/ 722 h 10000"/>
                <a:gd name="connsiteX0" fmla="*/ 4687 w 10481"/>
                <a:gd name="connsiteY0" fmla="*/ 722 h 10000"/>
                <a:gd name="connsiteX1" fmla="*/ 3959 w 10481"/>
                <a:gd name="connsiteY1" fmla="*/ 532 h 10000"/>
                <a:gd name="connsiteX2" fmla="*/ 3239 w 10481"/>
                <a:gd name="connsiteY2" fmla="*/ 1834 h 10000"/>
                <a:gd name="connsiteX3" fmla="*/ 1952 w 10481"/>
                <a:gd name="connsiteY3" fmla="*/ 1933 h 10000"/>
                <a:gd name="connsiteX4" fmla="*/ 1715 w 10481"/>
                <a:gd name="connsiteY4" fmla="*/ 370 h 10000"/>
                <a:gd name="connsiteX5" fmla="*/ 1062 w 10481"/>
                <a:gd name="connsiteY5" fmla="*/ 0 h 10000"/>
                <a:gd name="connsiteX6" fmla="*/ 841 w 10481"/>
                <a:gd name="connsiteY6" fmla="*/ 1762 h 10000"/>
                <a:gd name="connsiteX7" fmla="*/ 833 w 10481"/>
                <a:gd name="connsiteY7" fmla="*/ 2876 h 10000"/>
                <a:gd name="connsiteX8" fmla="*/ 28 w 10481"/>
                <a:gd name="connsiteY8" fmla="*/ 2168 h 10000"/>
                <a:gd name="connsiteX9" fmla="*/ 199 w 10481"/>
                <a:gd name="connsiteY9" fmla="*/ 4629 h 10000"/>
                <a:gd name="connsiteX10" fmla="*/ 1150 w 10481"/>
                <a:gd name="connsiteY10" fmla="*/ 5554 h 10000"/>
                <a:gd name="connsiteX11" fmla="*/ 1274 w 10481"/>
                <a:gd name="connsiteY11" fmla="*/ 6497 h 10000"/>
                <a:gd name="connsiteX12" fmla="*/ 959 w 10481"/>
                <a:gd name="connsiteY12" fmla="*/ 7365 h 10000"/>
                <a:gd name="connsiteX13" fmla="*/ 1652 w 10481"/>
                <a:gd name="connsiteY13" fmla="*/ 6971 h 10000"/>
                <a:gd name="connsiteX14" fmla="*/ 2524 w 10481"/>
                <a:gd name="connsiteY14" fmla="*/ 6612 h 10000"/>
                <a:gd name="connsiteX15" fmla="*/ 3334 w 10481"/>
                <a:gd name="connsiteY15" fmla="*/ 6604 h 10000"/>
                <a:gd name="connsiteX16" fmla="*/ 4549 w 10481"/>
                <a:gd name="connsiteY16" fmla="*/ 7576 h 10000"/>
                <a:gd name="connsiteX17" fmla="*/ 6021 w 10481"/>
                <a:gd name="connsiteY17" fmla="*/ 8511 h 10000"/>
                <a:gd name="connsiteX18" fmla="*/ 6030 w 10481"/>
                <a:gd name="connsiteY18" fmla="*/ 9394 h 10000"/>
                <a:gd name="connsiteX19" fmla="*/ 7398 w 10481"/>
                <a:gd name="connsiteY19" fmla="*/ 9999 h 10000"/>
                <a:gd name="connsiteX20" fmla="*/ 8507 w 10481"/>
                <a:gd name="connsiteY20" fmla="*/ 9220 h 10000"/>
                <a:gd name="connsiteX21" fmla="*/ 9153 w 10481"/>
                <a:gd name="connsiteY21" fmla="*/ 8607 h 10000"/>
                <a:gd name="connsiteX22" fmla="*/ 9334 w 10481"/>
                <a:gd name="connsiteY22" fmla="*/ 7496 h 10000"/>
                <a:gd name="connsiteX23" fmla="*/ 10387 w 10481"/>
                <a:gd name="connsiteY23" fmla="*/ 7563 h 10000"/>
                <a:gd name="connsiteX24" fmla="*/ 10481 w 10481"/>
                <a:gd name="connsiteY24" fmla="*/ 6479 h 10000"/>
                <a:gd name="connsiteX25" fmla="*/ 7574 w 10481"/>
                <a:gd name="connsiteY25" fmla="*/ 4085 h 10000"/>
                <a:gd name="connsiteX26" fmla="*/ 6881 w 10481"/>
                <a:gd name="connsiteY26" fmla="*/ 2543 h 10000"/>
                <a:gd name="connsiteX27" fmla="*/ 5332 w 10481"/>
                <a:gd name="connsiteY27" fmla="*/ 2194 h 10000"/>
                <a:gd name="connsiteX28" fmla="*/ 4687 w 10481"/>
                <a:gd name="connsiteY28" fmla="*/ 722 h 10000"/>
                <a:gd name="connsiteX0" fmla="*/ 4687 w 10481"/>
                <a:gd name="connsiteY0" fmla="*/ 722 h 10000"/>
                <a:gd name="connsiteX1" fmla="*/ 3959 w 10481"/>
                <a:gd name="connsiteY1" fmla="*/ 532 h 10000"/>
                <a:gd name="connsiteX2" fmla="*/ 3239 w 10481"/>
                <a:gd name="connsiteY2" fmla="*/ 1834 h 10000"/>
                <a:gd name="connsiteX3" fmla="*/ 1952 w 10481"/>
                <a:gd name="connsiteY3" fmla="*/ 1933 h 10000"/>
                <a:gd name="connsiteX4" fmla="*/ 1715 w 10481"/>
                <a:gd name="connsiteY4" fmla="*/ 370 h 10000"/>
                <a:gd name="connsiteX5" fmla="*/ 1062 w 10481"/>
                <a:gd name="connsiteY5" fmla="*/ 0 h 10000"/>
                <a:gd name="connsiteX6" fmla="*/ 841 w 10481"/>
                <a:gd name="connsiteY6" fmla="*/ 1762 h 10000"/>
                <a:gd name="connsiteX7" fmla="*/ 833 w 10481"/>
                <a:gd name="connsiteY7" fmla="*/ 2509 h 10000"/>
                <a:gd name="connsiteX8" fmla="*/ 28 w 10481"/>
                <a:gd name="connsiteY8" fmla="*/ 2168 h 10000"/>
                <a:gd name="connsiteX9" fmla="*/ 199 w 10481"/>
                <a:gd name="connsiteY9" fmla="*/ 4629 h 10000"/>
                <a:gd name="connsiteX10" fmla="*/ 1150 w 10481"/>
                <a:gd name="connsiteY10" fmla="*/ 5554 h 10000"/>
                <a:gd name="connsiteX11" fmla="*/ 1274 w 10481"/>
                <a:gd name="connsiteY11" fmla="*/ 6497 h 10000"/>
                <a:gd name="connsiteX12" fmla="*/ 959 w 10481"/>
                <a:gd name="connsiteY12" fmla="*/ 7365 h 10000"/>
                <a:gd name="connsiteX13" fmla="*/ 1652 w 10481"/>
                <a:gd name="connsiteY13" fmla="*/ 6971 h 10000"/>
                <a:gd name="connsiteX14" fmla="*/ 2524 w 10481"/>
                <a:gd name="connsiteY14" fmla="*/ 6612 h 10000"/>
                <a:gd name="connsiteX15" fmla="*/ 3334 w 10481"/>
                <a:gd name="connsiteY15" fmla="*/ 6604 h 10000"/>
                <a:gd name="connsiteX16" fmla="*/ 4549 w 10481"/>
                <a:gd name="connsiteY16" fmla="*/ 7576 h 10000"/>
                <a:gd name="connsiteX17" fmla="*/ 6021 w 10481"/>
                <a:gd name="connsiteY17" fmla="*/ 8511 h 10000"/>
                <a:gd name="connsiteX18" fmla="*/ 6030 w 10481"/>
                <a:gd name="connsiteY18" fmla="*/ 9394 h 10000"/>
                <a:gd name="connsiteX19" fmla="*/ 7398 w 10481"/>
                <a:gd name="connsiteY19" fmla="*/ 9999 h 10000"/>
                <a:gd name="connsiteX20" fmla="*/ 8507 w 10481"/>
                <a:gd name="connsiteY20" fmla="*/ 9220 h 10000"/>
                <a:gd name="connsiteX21" fmla="*/ 9153 w 10481"/>
                <a:gd name="connsiteY21" fmla="*/ 8607 h 10000"/>
                <a:gd name="connsiteX22" fmla="*/ 9334 w 10481"/>
                <a:gd name="connsiteY22" fmla="*/ 7496 h 10000"/>
                <a:gd name="connsiteX23" fmla="*/ 10387 w 10481"/>
                <a:gd name="connsiteY23" fmla="*/ 7563 h 10000"/>
                <a:gd name="connsiteX24" fmla="*/ 10481 w 10481"/>
                <a:gd name="connsiteY24" fmla="*/ 6479 h 10000"/>
                <a:gd name="connsiteX25" fmla="*/ 7574 w 10481"/>
                <a:gd name="connsiteY25" fmla="*/ 4085 h 10000"/>
                <a:gd name="connsiteX26" fmla="*/ 6881 w 10481"/>
                <a:gd name="connsiteY26" fmla="*/ 2543 h 10000"/>
                <a:gd name="connsiteX27" fmla="*/ 5332 w 10481"/>
                <a:gd name="connsiteY27" fmla="*/ 2194 h 10000"/>
                <a:gd name="connsiteX28" fmla="*/ 4687 w 10481"/>
                <a:gd name="connsiteY28" fmla="*/ 722 h 10000"/>
                <a:gd name="connsiteX0" fmla="*/ 4687 w 10481"/>
                <a:gd name="connsiteY0" fmla="*/ 722 h 10000"/>
                <a:gd name="connsiteX1" fmla="*/ 3959 w 10481"/>
                <a:gd name="connsiteY1" fmla="*/ 532 h 10000"/>
                <a:gd name="connsiteX2" fmla="*/ 3239 w 10481"/>
                <a:gd name="connsiteY2" fmla="*/ 1834 h 10000"/>
                <a:gd name="connsiteX3" fmla="*/ 1952 w 10481"/>
                <a:gd name="connsiteY3" fmla="*/ 1933 h 10000"/>
                <a:gd name="connsiteX4" fmla="*/ 1715 w 10481"/>
                <a:gd name="connsiteY4" fmla="*/ 370 h 10000"/>
                <a:gd name="connsiteX5" fmla="*/ 1062 w 10481"/>
                <a:gd name="connsiteY5" fmla="*/ 0 h 10000"/>
                <a:gd name="connsiteX6" fmla="*/ 841 w 10481"/>
                <a:gd name="connsiteY6" fmla="*/ 1762 h 10000"/>
                <a:gd name="connsiteX7" fmla="*/ 833 w 10481"/>
                <a:gd name="connsiteY7" fmla="*/ 2509 h 10000"/>
                <a:gd name="connsiteX8" fmla="*/ 28 w 10481"/>
                <a:gd name="connsiteY8" fmla="*/ 2903 h 10000"/>
                <a:gd name="connsiteX9" fmla="*/ 199 w 10481"/>
                <a:gd name="connsiteY9" fmla="*/ 4629 h 10000"/>
                <a:gd name="connsiteX10" fmla="*/ 1150 w 10481"/>
                <a:gd name="connsiteY10" fmla="*/ 5554 h 10000"/>
                <a:gd name="connsiteX11" fmla="*/ 1274 w 10481"/>
                <a:gd name="connsiteY11" fmla="*/ 6497 h 10000"/>
                <a:gd name="connsiteX12" fmla="*/ 959 w 10481"/>
                <a:gd name="connsiteY12" fmla="*/ 7365 h 10000"/>
                <a:gd name="connsiteX13" fmla="*/ 1652 w 10481"/>
                <a:gd name="connsiteY13" fmla="*/ 6971 h 10000"/>
                <a:gd name="connsiteX14" fmla="*/ 2524 w 10481"/>
                <a:gd name="connsiteY14" fmla="*/ 6612 h 10000"/>
                <a:gd name="connsiteX15" fmla="*/ 3334 w 10481"/>
                <a:gd name="connsiteY15" fmla="*/ 6604 h 10000"/>
                <a:gd name="connsiteX16" fmla="*/ 4549 w 10481"/>
                <a:gd name="connsiteY16" fmla="*/ 7576 h 10000"/>
                <a:gd name="connsiteX17" fmla="*/ 6021 w 10481"/>
                <a:gd name="connsiteY17" fmla="*/ 8511 h 10000"/>
                <a:gd name="connsiteX18" fmla="*/ 6030 w 10481"/>
                <a:gd name="connsiteY18" fmla="*/ 9394 h 10000"/>
                <a:gd name="connsiteX19" fmla="*/ 7398 w 10481"/>
                <a:gd name="connsiteY19" fmla="*/ 9999 h 10000"/>
                <a:gd name="connsiteX20" fmla="*/ 8507 w 10481"/>
                <a:gd name="connsiteY20" fmla="*/ 9220 h 10000"/>
                <a:gd name="connsiteX21" fmla="*/ 9153 w 10481"/>
                <a:gd name="connsiteY21" fmla="*/ 8607 h 10000"/>
                <a:gd name="connsiteX22" fmla="*/ 9334 w 10481"/>
                <a:gd name="connsiteY22" fmla="*/ 7496 h 10000"/>
                <a:gd name="connsiteX23" fmla="*/ 10387 w 10481"/>
                <a:gd name="connsiteY23" fmla="*/ 7563 h 10000"/>
                <a:gd name="connsiteX24" fmla="*/ 10481 w 10481"/>
                <a:gd name="connsiteY24" fmla="*/ 6479 h 10000"/>
                <a:gd name="connsiteX25" fmla="*/ 7574 w 10481"/>
                <a:gd name="connsiteY25" fmla="*/ 4085 h 10000"/>
                <a:gd name="connsiteX26" fmla="*/ 6881 w 10481"/>
                <a:gd name="connsiteY26" fmla="*/ 2543 h 10000"/>
                <a:gd name="connsiteX27" fmla="*/ 5332 w 10481"/>
                <a:gd name="connsiteY27" fmla="*/ 2194 h 10000"/>
                <a:gd name="connsiteX28" fmla="*/ 4687 w 10481"/>
                <a:gd name="connsiteY28" fmla="*/ 722 h 10000"/>
                <a:gd name="connsiteX0" fmla="*/ 4752 w 10546"/>
                <a:gd name="connsiteY0" fmla="*/ 722 h 10000"/>
                <a:gd name="connsiteX1" fmla="*/ 4024 w 10546"/>
                <a:gd name="connsiteY1" fmla="*/ 532 h 10000"/>
                <a:gd name="connsiteX2" fmla="*/ 3304 w 10546"/>
                <a:gd name="connsiteY2" fmla="*/ 1834 h 10000"/>
                <a:gd name="connsiteX3" fmla="*/ 2017 w 10546"/>
                <a:gd name="connsiteY3" fmla="*/ 1933 h 10000"/>
                <a:gd name="connsiteX4" fmla="*/ 1780 w 10546"/>
                <a:gd name="connsiteY4" fmla="*/ 370 h 10000"/>
                <a:gd name="connsiteX5" fmla="*/ 1127 w 10546"/>
                <a:gd name="connsiteY5" fmla="*/ 0 h 10000"/>
                <a:gd name="connsiteX6" fmla="*/ 906 w 10546"/>
                <a:gd name="connsiteY6" fmla="*/ 1762 h 10000"/>
                <a:gd name="connsiteX7" fmla="*/ 898 w 10546"/>
                <a:gd name="connsiteY7" fmla="*/ 2509 h 10000"/>
                <a:gd name="connsiteX8" fmla="*/ 23 w 10546"/>
                <a:gd name="connsiteY8" fmla="*/ 2444 h 10000"/>
                <a:gd name="connsiteX9" fmla="*/ 264 w 10546"/>
                <a:gd name="connsiteY9" fmla="*/ 4629 h 10000"/>
                <a:gd name="connsiteX10" fmla="*/ 1215 w 10546"/>
                <a:gd name="connsiteY10" fmla="*/ 5554 h 10000"/>
                <a:gd name="connsiteX11" fmla="*/ 1339 w 10546"/>
                <a:gd name="connsiteY11" fmla="*/ 6497 h 10000"/>
                <a:gd name="connsiteX12" fmla="*/ 1024 w 10546"/>
                <a:gd name="connsiteY12" fmla="*/ 7365 h 10000"/>
                <a:gd name="connsiteX13" fmla="*/ 1717 w 10546"/>
                <a:gd name="connsiteY13" fmla="*/ 6971 h 10000"/>
                <a:gd name="connsiteX14" fmla="*/ 2589 w 10546"/>
                <a:gd name="connsiteY14" fmla="*/ 6612 h 10000"/>
                <a:gd name="connsiteX15" fmla="*/ 3399 w 10546"/>
                <a:gd name="connsiteY15" fmla="*/ 6604 h 10000"/>
                <a:gd name="connsiteX16" fmla="*/ 4614 w 10546"/>
                <a:gd name="connsiteY16" fmla="*/ 7576 h 10000"/>
                <a:gd name="connsiteX17" fmla="*/ 6086 w 10546"/>
                <a:gd name="connsiteY17" fmla="*/ 8511 h 10000"/>
                <a:gd name="connsiteX18" fmla="*/ 6095 w 10546"/>
                <a:gd name="connsiteY18" fmla="*/ 9394 h 10000"/>
                <a:gd name="connsiteX19" fmla="*/ 7463 w 10546"/>
                <a:gd name="connsiteY19" fmla="*/ 9999 h 10000"/>
                <a:gd name="connsiteX20" fmla="*/ 8572 w 10546"/>
                <a:gd name="connsiteY20" fmla="*/ 9220 h 10000"/>
                <a:gd name="connsiteX21" fmla="*/ 9218 w 10546"/>
                <a:gd name="connsiteY21" fmla="*/ 8607 h 10000"/>
                <a:gd name="connsiteX22" fmla="*/ 9399 w 10546"/>
                <a:gd name="connsiteY22" fmla="*/ 7496 h 10000"/>
                <a:gd name="connsiteX23" fmla="*/ 10452 w 10546"/>
                <a:gd name="connsiteY23" fmla="*/ 7563 h 10000"/>
                <a:gd name="connsiteX24" fmla="*/ 10546 w 10546"/>
                <a:gd name="connsiteY24" fmla="*/ 6479 h 10000"/>
                <a:gd name="connsiteX25" fmla="*/ 7639 w 10546"/>
                <a:gd name="connsiteY25" fmla="*/ 4085 h 10000"/>
                <a:gd name="connsiteX26" fmla="*/ 6946 w 10546"/>
                <a:gd name="connsiteY26" fmla="*/ 2543 h 10000"/>
                <a:gd name="connsiteX27" fmla="*/ 5397 w 10546"/>
                <a:gd name="connsiteY27" fmla="*/ 2194 h 10000"/>
                <a:gd name="connsiteX28" fmla="*/ 4752 w 10546"/>
                <a:gd name="connsiteY28" fmla="*/ 722 h 10000"/>
                <a:gd name="connsiteX0" fmla="*/ 4752 w 10546"/>
                <a:gd name="connsiteY0" fmla="*/ 722 h 10000"/>
                <a:gd name="connsiteX1" fmla="*/ 4024 w 10546"/>
                <a:gd name="connsiteY1" fmla="*/ 532 h 10000"/>
                <a:gd name="connsiteX2" fmla="*/ 3304 w 10546"/>
                <a:gd name="connsiteY2" fmla="*/ 1834 h 10000"/>
                <a:gd name="connsiteX3" fmla="*/ 2017 w 10546"/>
                <a:gd name="connsiteY3" fmla="*/ 1933 h 10000"/>
                <a:gd name="connsiteX4" fmla="*/ 1780 w 10546"/>
                <a:gd name="connsiteY4" fmla="*/ 370 h 10000"/>
                <a:gd name="connsiteX5" fmla="*/ 1127 w 10546"/>
                <a:gd name="connsiteY5" fmla="*/ 0 h 10000"/>
                <a:gd name="connsiteX6" fmla="*/ 898 w 10546"/>
                <a:gd name="connsiteY6" fmla="*/ 2509 h 10000"/>
                <a:gd name="connsiteX7" fmla="*/ 23 w 10546"/>
                <a:gd name="connsiteY7" fmla="*/ 2444 h 10000"/>
                <a:gd name="connsiteX8" fmla="*/ 264 w 10546"/>
                <a:gd name="connsiteY8" fmla="*/ 4629 h 10000"/>
                <a:gd name="connsiteX9" fmla="*/ 1215 w 10546"/>
                <a:gd name="connsiteY9" fmla="*/ 5554 h 10000"/>
                <a:gd name="connsiteX10" fmla="*/ 1339 w 10546"/>
                <a:gd name="connsiteY10" fmla="*/ 6497 h 10000"/>
                <a:gd name="connsiteX11" fmla="*/ 1024 w 10546"/>
                <a:gd name="connsiteY11" fmla="*/ 7365 h 10000"/>
                <a:gd name="connsiteX12" fmla="*/ 1717 w 10546"/>
                <a:gd name="connsiteY12" fmla="*/ 6971 h 10000"/>
                <a:gd name="connsiteX13" fmla="*/ 2589 w 10546"/>
                <a:gd name="connsiteY13" fmla="*/ 6612 h 10000"/>
                <a:gd name="connsiteX14" fmla="*/ 3399 w 10546"/>
                <a:gd name="connsiteY14" fmla="*/ 6604 h 10000"/>
                <a:gd name="connsiteX15" fmla="*/ 4614 w 10546"/>
                <a:gd name="connsiteY15" fmla="*/ 7576 h 10000"/>
                <a:gd name="connsiteX16" fmla="*/ 6086 w 10546"/>
                <a:gd name="connsiteY16" fmla="*/ 8511 h 10000"/>
                <a:gd name="connsiteX17" fmla="*/ 6095 w 10546"/>
                <a:gd name="connsiteY17" fmla="*/ 9394 h 10000"/>
                <a:gd name="connsiteX18" fmla="*/ 7463 w 10546"/>
                <a:gd name="connsiteY18" fmla="*/ 9999 h 10000"/>
                <a:gd name="connsiteX19" fmla="*/ 8572 w 10546"/>
                <a:gd name="connsiteY19" fmla="*/ 9220 h 10000"/>
                <a:gd name="connsiteX20" fmla="*/ 9218 w 10546"/>
                <a:gd name="connsiteY20" fmla="*/ 8607 h 10000"/>
                <a:gd name="connsiteX21" fmla="*/ 9399 w 10546"/>
                <a:gd name="connsiteY21" fmla="*/ 7496 h 10000"/>
                <a:gd name="connsiteX22" fmla="*/ 10452 w 10546"/>
                <a:gd name="connsiteY22" fmla="*/ 7563 h 10000"/>
                <a:gd name="connsiteX23" fmla="*/ 10546 w 10546"/>
                <a:gd name="connsiteY23" fmla="*/ 6479 h 10000"/>
                <a:gd name="connsiteX24" fmla="*/ 7639 w 10546"/>
                <a:gd name="connsiteY24" fmla="*/ 4085 h 10000"/>
                <a:gd name="connsiteX25" fmla="*/ 6946 w 10546"/>
                <a:gd name="connsiteY25" fmla="*/ 2543 h 10000"/>
                <a:gd name="connsiteX26" fmla="*/ 5397 w 10546"/>
                <a:gd name="connsiteY26" fmla="*/ 2194 h 10000"/>
                <a:gd name="connsiteX27" fmla="*/ 4752 w 10546"/>
                <a:gd name="connsiteY27" fmla="*/ 722 h 10000"/>
                <a:gd name="connsiteX0" fmla="*/ 4752 w 10546"/>
                <a:gd name="connsiteY0" fmla="*/ 352 h 9630"/>
                <a:gd name="connsiteX1" fmla="*/ 4024 w 10546"/>
                <a:gd name="connsiteY1" fmla="*/ 162 h 9630"/>
                <a:gd name="connsiteX2" fmla="*/ 3304 w 10546"/>
                <a:gd name="connsiteY2" fmla="*/ 1464 h 9630"/>
                <a:gd name="connsiteX3" fmla="*/ 2017 w 10546"/>
                <a:gd name="connsiteY3" fmla="*/ 1563 h 9630"/>
                <a:gd name="connsiteX4" fmla="*/ 1780 w 10546"/>
                <a:gd name="connsiteY4" fmla="*/ 0 h 9630"/>
                <a:gd name="connsiteX5" fmla="*/ 898 w 10546"/>
                <a:gd name="connsiteY5" fmla="*/ 2139 h 9630"/>
                <a:gd name="connsiteX6" fmla="*/ 23 w 10546"/>
                <a:gd name="connsiteY6" fmla="*/ 2074 h 9630"/>
                <a:gd name="connsiteX7" fmla="*/ 264 w 10546"/>
                <a:gd name="connsiteY7" fmla="*/ 4259 h 9630"/>
                <a:gd name="connsiteX8" fmla="*/ 1215 w 10546"/>
                <a:gd name="connsiteY8" fmla="*/ 5184 h 9630"/>
                <a:gd name="connsiteX9" fmla="*/ 1339 w 10546"/>
                <a:gd name="connsiteY9" fmla="*/ 6127 h 9630"/>
                <a:gd name="connsiteX10" fmla="*/ 1024 w 10546"/>
                <a:gd name="connsiteY10" fmla="*/ 6995 h 9630"/>
                <a:gd name="connsiteX11" fmla="*/ 1717 w 10546"/>
                <a:gd name="connsiteY11" fmla="*/ 6601 h 9630"/>
                <a:gd name="connsiteX12" fmla="*/ 2589 w 10546"/>
                <a:gd name="connsiteY12" fmla="*/ 6242 h 9630"/>
                <a:gd name="connsiteX13" fmla="*/ 3399 w 10546"/>
                <a:gd name="connsiteY13" fmla="*/ 6234 h 9630"/>
                <a:gd name="connsiteX14" fmla="*/ 4614 w 10546"/>
                <a:gd name="connsiteY14" fmla="*/ 7206 h 9630"/>
                <a:gd name="connsiteX15" fmla="*/ 6086 w 10546"/>
                <a:gd name="connsiteY15" fmla="*/ 8141 h 9630"/>
                <a:gd name="connsiteX16" fmla="*/ 6095 w 10546"/>
                <a:gd name="connsiteY16" fmla="*/ 9024 h 9630"/>
                <a:gd name="connsiteX17" fmla="*/ 7463 w 10546"/>
                <a:gd name="connsiteY17" fmla="*/ 9629 h 9630"/>
                <a:gd name="connsiteX18" fmla="*/ 8572 w 10546"/>
                <a:gd name="connsiteY18" fmla="*/ 8850 h 9630"/>
                <a:gd name="connsiteX19" fmla="*/ 9218 w 10546"/>
                <a:gd name="connsiteY19" fmla="*/ 8237 h 9630"/>
                <a:gd name="connsiteX20" fmla="*/ 9399 w 10546"/>
                <a:gd name="connsiteY20" fmla="*/ 7126 h 9630"/>
                <a:gd name="connsiteX21" fmla="*/ 10452 w 10546"/>
                <a:gd name="connsiteY21" fmla="*/ 7193 h 9630"/>
                <a:gd name="connsiteX22" fmla="*/ 10546 w 10546"/>
                <a:gd name="connsiteY22" fmla="*/ 6109 h 9630"/>
                <a:gd name="connsiteX23" fmla="*/ 7639 w 10546"/>
                <a:gd name="connsiteY23" fmla="*/ 3715 h 9630"/>
                <a:gd name="connsiteX24" fmla="*/ 6946 w 10546"/>
                <a:gd name="connsiteY24" fmla="*/ 2173 h 9630"/>
                <a:gd name="connsiteX25" fmla="*/ 5397 w 10546"/>
                <a:gd name="connsiteY25" fmla="*/ 1824 h 9630"/>
                <a:gd name="connsiteX26" fmla="*/ 4752 w 10546"/>
                <a:gd name="connsiteY26" fmla="*/ 352 h 9630"/>
                <a:gd name="connsiteX0" fmla="*/ 4506 w 10000"/>
                <a:gd name="connsiteY0" fmla="*/ 366 h 10000"/>
                <a:gd name="connsiteX1" fmla="*/ 3816 w 10000"/>
                <a:gd name="connsiteY1" fmla="*/ 168 h 10000"/>
                <a:gd name="connsiteX2" fmla="*/ 3133 w 10000"/>
                <a:gd name="connsiteY2" fmla="*/ 1520 h 10000"/>
                <a:gd name="connsiteX3" fmla="*/ 1913 w 10000"/>
                <a:gd name="connsiteY3" fmla="*/ 1623 h 10000"/>
                <a:gd name="connsiteX4" fmla="*/ 1688 w 10000"/>
                <a:gd name="connsiteY4" fmla="*/ 0 h 10000"/>
                <a:gd name="connsiteX5" fmla="*/ 785 w 10000"/>
                <a:gd name="connsiteY5" fmla="*/ 1267 h 10000"/>
                <a:gd name="connsiteX6" fmla="*/ 22 w 10000"/>
                <a:gd name="connsiteY6" fmla="*/ 2154 h 10000"/>
                <a:gd name="connsiteX7" fmla="*/ 250 w 10000"/>
                <a:gd name="connsiteY7" fmla="*/ 4423 h 10000"/>
                <a:gd name="connsiteX8" fmla="*/ 1152 w 10000"/>
                <a:gd name="connsiteY8" fmla="*/ 5383 h 10000"/>
                <a:gd name="connsiteX9" fmla="*/ 1270 w 10000"/>
                <a:gd name="connsiteY9" fmla="*/ 6362 h 10000"/>
                <a:gd name="connsiteX10" fmla="*/ 971 w 10000"/>
                <a:gd name="connsiteY10" fmla="*/ 7264 h 10000"/>
                <a:gd name="connsiteX11" fmla="*/ 1628 w 10000"/>
                <a:gd name="connsiteY11" fmla="*/ 6855 h 10000"/>
                <a:gd name="connsiteX12" fmla="*/ 2455 w 10000"/>
                <a:gd name="connsiteY12" fmla="*/ 6482 h 10000"/>
                <a:gd name="connsiteX13" fmla="*/ 3223 w 10000"/>
                <a:gd name="connsiteY13" fmla="*/ 6474 h 10000"/>
                <a:gd name="connsiteX14" fmla="*/ 4375 w 10000"/>
                <a:gd name="connsiteY14" fmla="*/ 7483 h 10000"/>
                <a:gd name="connsiteX15" fmla="*/ 5771 w 10000"/>
                <a:gd name="connsiteY15" fmla="*/ 8454 h 10000"/>
                <a:gd name="connsiteX16" fmla="*/ 5779 w 10000"/>
                <a:gd name="connsiteY16" fmla="*/ 9371 h 10000"/>
                <a:gd name="connsiteX17" fmla="*/ 7077 w 10000"/>
                <a:gd name="connsiteY17" fmla="*/ 9999 h 10000"/>
                <a:gd name="connsiteX18" fmla="*/ 8128 w 10000"/>
                <a:gd name="connsiteY18" fmla="*/ 9190 h 10000"/>
                <a:gd name="connsiteX19" fmla="*/ 8741 w 10000"/>
                <a:gd name="connsiteY19" fmla="*/ 8553 h 10000"/>
                <a:gd name="connsiteX20" fmla="*/ 8912 w 10000"/>
                <a:gd name="connsiteY20" fmla="*/ 7400 h 10000"/>
                <a:gd name="connsiteX21" fmla="*/ 9911 w 10000"/>
                <a:gd name="connsiteY21" fmla="*/ 7469 h 10000"/>
                <a:gd name="connsiteX22" fmla="*/ 10000 w 10000"/>
                <a:gd name="connsiteY22" fmla="*/ 6344 h 10000"/>
                <a:gd name="connsiteX23" fmla="*/ 7244 w 10000"/>
                <a:gd name="connsiteY23" fmla="*/ 3858 h 10000"/>
                <a:gd name="connsiteX24" fmla="*/ 6586 w 10000"/>
                <a:gd name="connsiteY24" fmla="*/ 2256 h 10000"/>
                <a:gd name="connsiteX25" fmla="*/ 5118 w 10000"/>
                <a:gd name="connsiteY25" fmla="*/ 1894 h 10000"/>
                <a:gd name="connsiteX26" fmla="*/ 4506 w 10000"/>
                <a:gd name="connsiteY26" fmla="*/ 366 h 10000"/>
                <a:gd name="connsiteX0" fmla="*/ 4506 w 10000"/>
                <a:gd name="connsiteY0" fmla="*/ 198 h 9832"/>
                <a:gd name="connsiteX1" fmla="*/ 3816 w 10000"/>
                <a:gd name="connsiteY1" fmla="*/ 0 h 9832"/>
                <a:gd name="connsiteX2" fmla="*/ 3133 w 10000"/>
                <a:gd name="connsiteY2" fmla="*/ 1352 h 9832"/>
                <a:gd name="connsiteX3" fmla="*/ 1913 w 10000"/>
                <a:gd name="connsiteY3" fmla="*/ 1455 h 9832"/>
                <a:gd name="connsiteX4" fmla="*/ 1554 w 10000"/>
                <a:gd name="connsiteY4" fmla="*/ 690 h 9832"/>
                <a:gd name="connsiteX5" fmla="*/ 785 w 10000"/>
                <a:gd name="connsiteY5" fmla="*/ 1099 h 9832"/>
                <a:gd name="connsiteX6" fmla="*/ 22 w 10000"/>
                <a:gd name="connsiteY6" fmla="*/ 1986 h 9832"/>
                <a:gd name="connsiteX7" fmla="*/ 250 w 10000"/>
                <a:gd name="connsiteY7" fmla="*/ 4255 h 9832"/>
                <a:gd name="connsiteX8" fmla="*/ 1152 w 10000"/>
                <a:gd name="connsiteY8" fmla="*/ 5215 h 9832"/>
                <a:gd name="connsiteX9" fmla="*/ 1270 w 10000"/>
                <a:gd name="connsiteY9" fmla="*/ 6194 h 9832"/>
                <a:gd name="connsiteX10" fmla="*/ 971 w 10000"/>
                <a:gd name="connsiteY10" fmla="*/ 7096 h 9832"/>
                <a:gd name="connsiteX11" fmla="*/ 1628 w 10000"/>
                <a:gd name="connsiteY11" fmla="*/ 6687 h 9832"/>
                <a:gd name="connsiteX12" fmla="*/ 2455 w 10000"/>
                <a:gd name="connsiteY12" fmla="*/ 6314 h 9832"/>
                <a:gd name="connsiteX13" fmla="*/ 3223 w 10000"/>
                <a:gd name="connsiteY13" fmla="*/ 6306 h 9832"/>
                <a:gd name="connsiteX14" fmla="*/ 4375 w 10000"/>
                <a:gd name="connsiteY14" fmla="*/ 7315 h 9832"/>
                <a:gd name="connsiteX15" fmla="*/ 5771 w 10000"/>
                <a:gd name="connsiteY15" fmla="*/ 8286 h 9832"/>
                <a:gd name="connsiteX16" fmla="*/ 5779 w 10000"/>
                <a:gd name="connsiteY16" fmla="*/ 9203 h 9832"/>
                <a:gd name="connsiteX17" fmla="*/ 7077 w 10000"/>
                <a:gd name="connsiteY17" fmla="*/ 9831 h 9832"/>
                <a:gd name="connsiteX18" fmla="*/ 8128 w 10000"/>
                <a:gd name="connsiteY18" fmla="*/ 9022 h 9832"/>
                <a:gd name="connsiteX19" fmla="*/ 8741 w 10000"/>
                <a:gd name="connsiteY19" fmla="*/ 8385 h 9832"/>
                <a:gd name="connsiteX20" fmla="*/ 8912 w 10000"/>
                <a:gd name="connsiteY20" fmla="*/ 7232 h 9832"/>
                <a:gd name="connsiteX21" fmla="*/ 9911 w 10000"/>
                <a:gd name="connsiteY21" fmla="*/ 7301 h 9832"/>
                <a:gd name="connsiteX22" fmla="*/ 10000 w 10000"/>
                <a:gd name="connsiteY22" fmla="*/ 6176 h 9832"/>
                <a:gd name="connsiteX23" fmla="*/ 7244 w 10000"/>
                <a:gd name="connsiteY23" fmla="*/ 3690 h 9832"/>
                <a:gd name="connsiteX24" fmla="*/ 6586 w 10000"/>
                <a:gd name="connsiteY24" fmla="*/ 2088 h 9832"/>
                <a:gd name="connsiteX25" fmla="*/ 5118 w 10000"/>
                <a:gd name="connsiteY25" fmla="*/ 1726 h 9832"/>
                <a:gd name="connsiteX26" fmla="*/ 4506 w 10000"/>
                <a:gd name="connsiteY26" fmla="*/ 198 h 9832"/>
                <a:gd name="connsiteX0" fmla="*/ 4506 w 10000"/>
                <a:gd name="connsiteY0" fmla="*/ 201 h 10000"/>
                <a:gd name="connsiteX1" fmla="*/ 3816 w 10000"/>
                <a:gd name="connsiteY1" fmla="*/ 0 h 10000"/>
                <a:gd name="connsiteX2" fmla="*/ 3133 w 10000"/>
                <a:gd name="connsiteY2" fmla="*/ 1375 h 10000"/>
                <a:gd name="connsiteX3" fmla="*/ 2180 w 10000"/>
                <a:gd name="connsiteY3" fmla="*/ 2353 h 10000"/>
                <a:gd name="connsiteX4" fmla="*/ 1554 w 10000"/>
                <a:gd name="connsiteY4" fmla="*/ 702 h 10000"/>
                <a:gd name="connsiteX5" fmla="*/ 785 w 10000"/>
                <a:gd name="connsiteY5" fmla="*/ 1118 h 10000"/>
                <a:gd name="connsiteX6" fmla="*/ 22 w 10000"/>
                <a:gd name="connsiteY6" fmla="*/ 2020 h 10000"/>
                <a:gd name="connsiteX7" fmla="*/ 250 w 10000"/>
                <a:gd name="connsiteY7" fmla="*/ 4328 h 10000"/>
                <a:gd name="connsiteX8" fmla="*/ 1152 w 10000"/>
                <a:gd name="connsiteY8" fmla="*/ 5304 h 10000"/>
                <a:gd name="connsiteX9" fmla="*/ 1270 w 10000"/>
                <a:gd name="connsiteY9" fmla="*/ 6300 h 10000"/>
                <a:gd name="connsiteX10" fmla="*/ 971 w 10000"/>
                <a:gd name="connsiteY10" fmla="*/ 7217 h 10000"/>
                <a:gd name="connsiteX11" fmla="*/ 1628 w 10000"/>
                <a:gd name="connsiteY11" fmla="*/ 6801 h 10000"/>
                <a:gd name="connsiteX12" fmla="*/ 2455 w 10000"/>
                <a:gd name="connsiteY12" fmla="*/ 6422 h 10000"/>
                <a:gd name="connsiteX13" fmla="*/ 3223 w 10000"/>
                <a:gd name="connsiteY13" fmla="*/ 6414 h 10000"/>
                <a:gd name="connsiteX14" fmla="*/ 4375 w 10000"/>
                <a:gd name="connsiteY14" fmla="*/ 7440 h 10000"/>
                <a:gd name="connsiteX15" fmla="*/ 5771 w 10000"/>
                <a:gd name="connsiteY15" fmla="*/ 8428 h 10000"/>
                <a:gd name="connsiteX16" fmla="*/ 5779 w 10000"/>
                <a:gd name="connsiteY16" fmla="*/ 9360 h 10000"/>
                <a:gd name="connsiteX17" fmla="*/ 7077 w 10000"/>
                <a:gd name="connsiteY17" fmla="*/ 9999 h 10000"/>
                <a:gd name="connsiteX18" fmla="*/ 8128 w 10000"/>
                <a:gd name="connsiteY18" fmla="*/ 9176 h 10000"/>
                <a:gd name="connsiteX19" fmla="*/ 8741 w 10000"/>
                <a:gd name="connsiteY19" fmla="*/ 8528 h 10000"/>
                <a:gd name="connsiteX20" fmla="*/ 8912 w 10000"/>
                <a:gd name="connsiteY20" fmla="*/ 7356 h 10000"/>
                <a:gd name="connsiteX21" fmla="*/ 9911 w 10000"/>
                <a:gd name="connsiteY21" fmla="*/ 7426 h 10000"/>
                <a:gd name="connsiteX22" fmla="*/ 10000 w 10000"/>
                <a:gd name="connsiteY22" fmla="*/ 6282 h 10000"/>
                <a:gd name="connsiteX23" fmla="*/ 7244 w 10000"/>
                <a:gd name="connsiteY23" fmla="*/ 3753 h 10000"/>
                <a:gd name="connsiteX24" fmla="*/ 6586 w 10000"/>
                <a:gd name="connsiteY24" fmla="*/ 2124 h 10000"/>
                <a:gd name="connsiteX25" fmla="*/ 5118 w 10000"/>
                <a:gd name="connsiteY25" fmla="*/ 1755 h 10000"/>
                <a:gd name="connsiteX26" fmla="*/ 4506 w 10000"/>
                <a:gd name="connsiteY26" fmla="*/ 201 h 10000"/>
                <a:gd name="connsiteX0" fmla="*/ 4506 w 10000"/>
                <a:gd name="connsiteY0" fmla="*/ 201 h 10000"/>
                <a:gd name="connsiteX1" fmla="*/ 3816 w 10000"/>
                <a:gd name="connsiteY1" fmla="*/ 0 h 10000"/>
                <a:gd name="connsiteX2" fmla="*/ 3133 w 10000"/>
                <a:gd name="connsiteY2" fmla="*/ 2248 h 10000"/>
                <a:gd name="connsiteX3" fmla="*/ 2180 w 10000"/>
                <a:gd name="connsiteY3" fmla="*/ 2353 h 10000"/>
                <a:gd name="connsiteX4" fmla="*/ 1554 w 10000"/>
                <a:gd name="connsiteY4" fmla="*/ 702 h 10000"/>
                <a:gd name="connsiteX5" fmla="*/ 785 w 10000"/>
                <a:gd name="connsiteY5" fmla="*/ 1118 h 10000"/>
                <a:gd name="connsiteX6" fmla="*/ 22 w 10000"/>
                <a:gd name="connsiteY6" fmla="*/ 2020 h 10000"/>
                <a:gd name="connsiteX7" fmla="*/ 250 w 10000"/>
                <a:gd name="connsiteY7" fmla="*/ 4328 h 10000"/>
                <a:gd name="connsiteX8" fmla="*/ 1152 w 10000"/>
                <a:gd name="connsiteY8" fmla="*/ 5304 h 10000"/>
                <a:gd name="connsiteX9" fmla="*/ 1270 w 10000"/>
                <a:gd name="connsiteY9" fmla="*/ 6300 h 10000"/>
                <a:gd name="connsiteX10" fmla="*/ 971 w 10000"/>
                <a:gd name="connsiteY10" fmla="*/ 7217 h 10000"/>
                <a:gd name="connsiteX11" fmla="*/ 1628 w 10000"/>
                <a:gd name="connsiteY11" fmla="*/ 6801 h 10000"/>
                <a:gd name="connsiteX12" fmla="*/ 2455 w 10000"/>
                <a:gd name="connsiteY12" fmla="*/ 6422 h 10000"/>
                <a:gd name="connsiteX13" fmla="*/ 3223 w 10000"/>
                <a:gd name="connsiteY13" fmla="*/ 6414 h 10000"/>
                <a:gd name="connsiteX14" fmla="*/ 4375 w 10000"/>
                <a:gd name="connsiteY14" fmla="*/ 7440 h 10000"/>
                <a:gd name="connsiteX15" fmla="*/ 5771 w 10000"/>
                <a:gd name="connsiteY15" fmla="*/ 8428 h 10000"/>
                <a:gd name="connsiteX16" fmla="*/ 5779 w 10000"/>
                <a:gd name="connsiteY16" fmla="*/ 9360 h 10000"/>
                <a:gd name="connsiteX17" fmla="*/ 7077 w 10000"/>
                <a:gd name="connsiteY17" fmla="*/ 9999 h 10000"/>
                <a:gd name="connsiteX18" fmla="*/ 8128 w 10000"/>
                <a:gd name="connsiteY18" fmla="*/ 9176 h 10000"/>
                <a:gd name="connsiteX19" fmla="*/ 8741 w 10000"/>
                <a:gd name="connsiteY19" fmla="*/ 8528 h 10000"/>
                <a:gd name="connsiteX20" fmla="*/ 8912 w 10000"/>
                <a:gd name="connsiteY20" fmla="*/ 7356 h 10000"/>
                <a:gd name="connsiteX21" fmla="*/ 9911 w 10000"/>
                <a:gd name="connsiteY21" fmla="*/ 7426 h 10000"/>
                <a:gd name="connsiteX22" fmla="*/ 10000 w 10000"/>
                <a:gd name="connsiteY22" fmla="*/ 6282 h 10000"/>
                <a:gd name="connsiteX23" fmla="*/ 7244 w 10000"/>
                <a:gd name="connsiteY23" fmla="*/ 3753 h 10000"/>
                <a:gd name="connsiteX24" fmla="*/ 6586 w 10000"/>
                <a:gd name="connsiteY24" fmla="*/ 2124 h 10000"/>
                <a:gd name="connsiteX25" fmla="*/ 5118 w 10000"/>
                <a:gd name="connsiteY25" fmla="*/ 1755 h 10000"/>
                <a:gd name="connsiteX26" fmla="*/ 4506 w 10000"/>
                <a:gd name="connsiteY26" fmla="*/ 201 h 10000"/>
                <a:gd name="connsiteX0" fmla="*/ 4506 w 10000"/>
                <a:gd name="connsiteY0" fmla="*/ 104 h 9903"/>
                <a:gd name="connsiteX1" fmla="*/ 3415 w 10000"/>
                <a:gd name="connsiteY1" fmla="*/ 0 h 9903"/>
                <a:gd name="connsiteX2" fmla="*/ 3133 w 10000"/>
                <a:gd name="connsiteY2" fmla="*/ 2151 h 9903"/>
                <a:gd name="connsiteX3" fmla="*/ 2180 w 10000"/>
                <a:gd name="connsiteY3" fmla="*/ 2256 h 9903"/>
                <a:gd name="connsiteX4" fmla="*/ 1554 w 10000"/>
                <a:gd name="connsiteY4" fmla="*/ 605 h 9903"/>
                <a:gd name="connsiteX5" fmla="*/ 785 w 10000"/>
                <a:gd name="connsiteY5" fmla="*/ 1021 h 9903"/>
                <a:gd name="connsiteX6" fmla="*/ 22 w 10000"/>
                <a:gd name="connsiteY6" fmla="*/ 1923 h 9903"/>
                <a:gd name="connsiteX7" fmla="*/ 250 w 10000"/>
                <a:gd name="connsiteY7" fmla="*/ 4231 h 9903"/>
                <a:gd name="connsiteX8" fmla="*/ 1152 w 10000"/>
                <a:gd name="connsiteY8" fmla="*/ 5207 h 9903"/>
                <a:gd name="connsiteX9" fmla="*/ 1270 w 10000"/>
                <a:gd name="connsiteY9" fmla="*/ 6203 h 9903"/>
                <a:gd name="connsiteX10" fmla="*/ 971 w 10000"/>
                <a:gd name="connsiteY10" fmla="*/ 7120 h 9903"/>
                <a:gd name="connsiteX11" fmla="*/ 1628 w 10000"/>
                <a:gd name="connsiteY11" fmla="*/ 6704 h 9903"/>
                <a:gd name="connsiteX12" fmla="*/ 2455 w 10000"/>
                <a:gd name="connsiteY12" fmla="*/ 6325 h 9903"/>
                <a:gd name="connsiteX13" fmla="*/ 3223 w 10000"/>
                <a:gd name="connsiteY13" fmla="*/ 6317 h 9903"/>
                <a:gd name="connsiteX14" fmla="*/ 4375 w 10000"/>
                <a:gd name="connsiteY14" fmla="*/ 7343 h 9903"/>
                <a:gd name="connsiteX15" fmla="*/ 5771 w 10000"/>
                <a:gd name="connsiteY15" fmla="*/ 8331 h 9903"/>
                <a:gd name="connsiteX16" fmla="*/ 5779 w 10000"/>
                <a:gd name="connsiteY16" fmla="*/ 9263 h 9903"/>
                <a:gd name="connsiteX17" fmla="*/ 7077 w 10000"/>
                <a:gd name="connsiteY17" fmla="*/ 9902 h 9903"/>
                <a:gd name="connsiteX18" fmla="*/ 8128 w 10000"/>
                <a:gd name="connsiteY18" fmla="*/ 9079 h 9903"/>
                <a:gd name="connsiteX19" fmla="*/ 8741 w 10000"/>
                <a:gd name="connsiteY19" fmla="*/ 8431 h 9903"/>
                <a:gd name="connsiteX20" fmla="*/ 8912 w 10000"/>
                <a:gd name="connsiteY20" fmla="*/ 7259 h 9903"/>
                <a:gd name="connsiteX21" fmla="*/ 9911 w 10000"/>
                <a:gd name="connsiteY21" fmla="*/ 7329 h 9903"/>
                <a:gd name="connsiteX22" fmla="*/ 10000 w 10000"/>
                <a:gd name="connsiteY22" fmla="*/ 6185 h 9903"/>
                <a:gd name="connsiteX23" fmla="*/ 7244 w 10000"/>
                <a:gd name="connsiteY23" fmla="*/ 3656 h 9903"/>
                <a:gd name="connsiteX24" fmla="*/ 6586 w 10000"/>
                <a:gd name="connsiteY24" fmla="*/ 2027 h 9903"/>
                <a:gd name="connsiteX25" fmla="*/ 5118 w 10000"/>
                <a:gd name="connsiteY25" fmla="*/ 1658 h 9903"/>
                <a:gd name="connsiteX26" fmla="*/ 4506 w 10000"/>
                <a:gd name="connsiteY26" fmla="*/ 104 h 9903"/>
                <a:gd name="connsiteX0" fmla="*/ 4506 w 10000"/>
                <a:gd name="connsiteY0" fmla="*/ 0 h 9895"/>
                <a:gd name="connsiteX1" fmla="*/ 3348 w 10000"/>
                <a:gd name="connsiteY1" fmla="*/ 385 h 9895"/>
                <a:gd name="connsiteX2" fmla="*/ 3133 w 10000"/>
                <a:gd name="connsiteY2" fmla="*/ 2067 h 9895"/>
                <a:gd name="connsiteX3" fmla="*/ 2180 w 10000"/>
                <a:gd name="connsiteY3" fmla="*/ 2173 h 9895"/>
                <a:gd name="connsiteX4" fmla="*/ 1554 w 10000"/>
                <a:gd name="connsiteY4" fmla="*/ 506 h 9895"/>
                <a:gd name="connsiteX5" fmla="*/ 785 w 10000"/>
                <a:gd name="connsiteY5" fmla="*/ 926 h 9895"/>
                <a:gd name="connsiteX6" fmla="*/ 22 w 10000"/>
                <a:gd name="connsiteY6" fmla="*/ 1837 h 9895"/>
                <a:gd name="connsiteX7" fmla="*/ 250 w 10000"/>
                <a:gd name="connsiteY7" fmla="*/ 4167 h 9895"/>
                <a:gd name="connsiteX8" fmla="*/ 1152 w 10000"/>
                <a:gd name="connsiteY8" fmla="*/ 5153 h 9895"/>
                <a:gd name="connsiteX9" fmla="*/ 1270 w 10000"/>
                <a:gd name="connsiteY9" fmla="*/ 6159 h 9895"/>
                <a:gd name="connsiteX10" fmla="*/ 971 w 10000"/>
                <a:gd name="connsiteY10" fmla="*/ 7085 h 9895"/>
                <a:gd name="connsiteX11" fmla="*/ 1628 w 10000"/>
                <a:gd name="connsiteY11" fmla="*/ 6665 h 9895"/>
                <a:gd name="connsiteX12" fmla="*/ 2455 w 10000"/>
                <a:gd name="connsiteY12" fmla="*/ 6282 h 9895"/>
                <a:gd name="connsiteX13" fmla="*/ 3223 w 10000"/>
                <a:gd name="connsiteY13" fmla="*/ 6274 h 9895"/>
                <a:gd name="connsiteX14" fmla="*/ 4375 w 10000"/>
                <a:gd name="connsiteY14" fmla="*/ 7310 h 9895"/>
                <a:gd name="connsiteX15" fmla="*/ 5771 w 10000"/>
                <a:gd name="connsiteY15" fmla="*/ 8308 h 9895"/>
                <a:gd name="connsiteX16" fmla="*/ 5779 w 10000"/>
                <a:gd name="connsiteY16" fmla="*/ 9249 h 9895"/>
                <a:gd name="connsiteX17" fmla="*/ 7077 w 10000"/>
                <a:gd name="connsiteY17" fmla="*/ 9894 h 9895"/>
                <a:gd name="connsiteX18" fmla="*/ 8128 w 10000"/>
                <a:gd name="connsiteY18" fmla="*/ 9063 h 9895"/>
                <a:gd name="connsiteX19" fmla="*/ 8741 w 10000"/>
                <a:gd name="connsiteY19" fmla="*/ 8409 h 9895"/>
                <a:gd name="connsiteX20" fmla="*/ 8912 w 10000"/>
                <a:gd name="connsiteY20" fmla="*/ 7225 h 9895"/>
                <a:gd name="connsiteX21" fmla="*/ 9911 w 10000"/>
                <a:gd name="connsiteY21" fmla="*/ 7296 h 9895"/>
                <a:gd name="connsiteX22" fmla="*/ 10000 w 10000"/>
                <a:gd name="connsiteY22" fmla="*/ 6141 h 9895"/>
                <a:gd name="connsiteX23" fmla="*/ 7244 w 10000"/>
                <a:gd name="connsiteY23" fmla="*/ 3587 h 9895"/>
                <a:gd name="connsiteX24" fmla="*/ 6586 w 10000"/>
                <a:gd name="connsiteY24" fmla="*/ 1942 h 9895"/>
                <a:gd name="connsiteX25" fmla="*/ 5118 w 10000"/>
                <a:gd name="connsiteY25" fmla="*/ 1569 h 9895"/>
                <a:gd name="connsiteX26" fmla="*/ 4506 w 10000"/>
                <a:gd name="connsiteY26" fmla="*/ 0 h 9895"/>
                <a:gd name="connsiteX0" fmla="*/ 4506 w 9985"/>
                <a:gd name="connsiteY0" fmla="*/ 0 h 10000"/>
                <a:gd name="connsiteX1" fmla="*/ 3348 w 9985"/>
                <a:gd name="connsiteY1" fmla="*/ 389 h 10000"/>
                <a:gd name="connsiteX2" fmla="*/ 3133 w 9985"/>
                <a:gd name="connsiteY2" fmla="*/ 2089 h 10000"/>
                <a:gd name="connsiteX3" fmla="*/ 2180 w 9985"/>
                <a:gd name="connsiteY3" fmla="*/ 2196 h 10000"/>
                <a:gd name="connsiteX4" fmla="*/ 1554 w 9985"/>
                <a:gd name="connsiteY4" fmla="*/ 511 h 10000"/>
                <a:gd name="connsiteX5" fmla="*/ 785 w 9985"/>
                <a:gd name="connsiteY5" fmla="*/ 936 h 10000"/>
                <a:gd name="connsiteX6" fmla="*/ 22 w 9985"/>
                <a:gd name="connsiteY6" fmla="*/ 1856 h 10000"/>
                <a:gd name="connsiteX7" fmla="*/ 250 w 9985"/>
                <a:gd name="connsiteY7" fmla="*/ 4211 h 10000"/>
                <a:gd name="connsiteX8" fmla="*/ 1152 w 9985"/>
                <a:gd name="connsiteY8" fmla="*/ 5208 h 10000"/>
                <a:gd name="connsiteX9" fmla="*/ 1270 w 9985"/>
                <a:gd name="connsiteY9" fmla="*/ 6224 h 10000"/>
                <a:gd name="connsiteX10" fmla="*/ 971 w 9985"/>
                <a:gd name="connsiteY10" fmla="*/ 7160 h 10000"/>
                <a:gd name="connsiteX11" fmla="*/ 1628 w 9985"/>
                <a:gd name="connsiteY11" fmla="*/ 6736 h 10000"/>
                <a:gd name="connsiteX12" fmla="*/ 2455 w 9985"/>
                <a:gd name="connsiteY12" fmla="*/ 6349 h 10000"/>
                <a:gd name="connsiteX13" fmla="*/ 3223 w 9985"/>
                <a:gd name="connsiteY13" fmla="*/ 6341 h 10000"/>
                <a:gd name="connsiteX14" fmla="*/ 4375 w 9985"/>
                <a:gd name="connsiteY14" fmla="*/ 7388 h 10000"/>
                <a:gd name="connsiteX15" fmla="*/ 5771 w 9985"/>
                <a:gd name="connsiteY15" fmla="*/ 8396 h 10000"/>
                <a:gd name="connsiteX16" fmla="*/ 5779 w 9985"/>
                <a:gd name="connsiteY16" fmla="*/ 9347 h 10000"/>
                <a:gd name="connsiteX17" fmla="*/ 7077 w 9985"/>
                <a:gd name="connsiteY17" fmla="*/ 9999 h 10000"/>
                <a:gd name="connsiteX18" fmla="*/ 8128 w 9985"/>
                <a:gd name="connsiteY18" fmla="*/ 9159 h 10000"/>
                <a:gd name="connsiteX19" fmla="*/ 8741 w 9985"/>
                <a:gd name="connsiteY19" fmla="*/ 8498 h 10000"/>
                <a:gd name="connsiteX20" fmla="*/ 8912 w 9985"/>
                <a:gd name="connsiteY20" fmla="*/ 7302 h 10000"/>
                <a:gd name="connsiteX21" fmla="*/ 9911 w 9985"/>
                <a:gd name="connsiteY21" fmla="*/ 7373 h 10000"/>
                <a:gd name="connsiteX22" fmla="*/ 9933 w 9985"/>
                <a:gd name="connsiteY22" fmla="*/ 6503 h 10000"/>
                <a:gd name="connsiteX23" fmla="*/ 7244 w 9985"/>
                <a:gd name="connsiteY23" fmla="*/ 3625 h 10000"/>
                <a:gd name="connsiteX24" fmla="*/ 6586 w 9985"/>
                <a:gd name="connsiteY24" fmla="*/ 1963 h 10000"/>
                <a:gd name="connsiteX25" fmla="*/ 5118 w 9985"/>
                <a:gd name="connsiteY25" fmla="*/ 1586 h 10000"/>
                <a:gd name="connsiteX26" fmla="*/ 4506 w 9985"/>
                <a:gd name="connsiteY26" fmla="*/ 0 h 10000"/>
                <a:gd name="connsiteX0" fmla="*/ 4513 w 10201"/>
                <a:gd name="connsiteY0" fmla="*/ 0 h 10000"/>
                <a:gd name="connsiteX1" fmla="*/ 3353 w 10201"/>
                <a:gd name="connsiteY1" fmla="*/ 389 h 10000"/>
                <a:gd name="connsiteX2" fmla="*/ 3138 w 10201"/>
                <a:gd name="connsiteY2" fmla="*/ 2089 h 10000"/>
                <a:gd name="connsiteX3" fmla="*/ 2183 w 10201"/>
                <a:gd name="connsiteY3" fmla="*/ 2196 h 10000"/>
                <a:gd name="connsiteX4" fmla="*/ 1556 w 10201"/>
                <a:gd name="connsiteY4" fmla="*/ 511 h 10000"/>
                <a:gd name="connsiteX5" fmla="*/ 786 w 10201"/>
                <a:gd name="connsiteY5" fmla="*/ 936 h 10000"/>
                <a:gd name="connsiteX6" fmla="*/ 22 w 10201"/>
                <a:gd name="connsiteY6" fmla="*/ 1856 h 10000"/>
                <a:gd name="connsiteX7" fmla="*/ 250 w 10201"/>
                <a:gd name="connsiteY7" fmla="*/ 4211 h 10000"/>
                <a:gd name="connsiteX8" fmla="*/ 1154 w 10201"/>
                <a:gd name="connsiteY8" fmla="*/ 5208 h 10000"/>
                <a:gd name="connsiteX9" fmla="*/ 1272 w 10201"/>
                <a:gd name="connsiteY9" fmla="*/ 6224 h 10000"/>
                <a:gd name="connsiteX10" fmla="*/ 972 w 10201"/>
                <a:gd name="connsiteY10" fmla="*/ 7160 h 10000"/>
                <a:gd name="connsiteX11" fmla="*/ 1630 w 10201"/>
                <a:gd name="connsiteY11" fmla="*/ 6736 h 10000"/>
                <a:gd name="connsiteX12" fmla="*/ 2459 w 10201"/>
                <a:gd name="connsiteY12" fmla="*/ 6349 h 10000"/>
                <a:gd name="connsiteX13" fmla="*/ 3228 w 10201"/>
                <a:gd name="connsiteY13" fmla="*/ 6341 h 10000"/>
                <a:gd name="connsiteX14" fmla="*/ 4382 w 10201"/>
                <a:gd name="connsiteY14" fmla="*/ 7388 h 10000"/>
                <a:gd name="connsiteX15" fmla="*/ 5780 w 10201"/>
                <a:gd name="connsiteY15" fmla="*/ 8396 h 10000"/>
                <a:gd name="connsiteX16" fmla="*/ 5788 w 10201"/>
                <a:gd name="connsiteY16" fmla="*/ 9347 h 10000"/>
                <a:gd name="connsiteX17" fmla="*/ 7088 w 10201"/>
                <a:gd name="connsiteY17" fmla="*/ 9999 h 10000"/>
                <a:gd name="connsiteX18" fmla="*/ 8140 w 10201"/>
                <a:gd name="connsiteY18" fmla="*/ 9159 h 10000"/>
                <a:gd name="connsiteX19" fmla="*/ 8754 w 10201"/>
                <a:gd name="connsiteY19" fmla="*/ 8498 h 10000"/>
                <a:gd name="connsiteX20" fmla="*/ 8925 w 10201"/>
                <a:gd name="connsiteY20" fmla="*/ 7302 h 10000"/>
                <a:gd name="connsiteX21" fmla="*/ 9926 w 10201"/>
                <a:gd name="connsiteY21" fmla="*/ 7373 h 10000"/>
                <a:gd name="connsiteX22" fmla="*/ 9948 w 10201"/>
                <a:gd name="connsiteY22" fmla="*/ 6503 h 10000"/>
                <a:gd name="connsiteX23" fmla="*/ 6987 w 10201"/>
                <a:gd name="connsiteY23" fmla="*/ 4318 h 10000"/>
                <a:gd name="connsiteX24" fmla="*/ 6596 w 10201"/>
                <a:gd name="connsiteY24" fmla="*/ 1963 h 10000"/>
                <a:gd name="connsiteX25" fmla="*/ 5126 w 10201"/>
                <a:gd name="connsiteY25" fmla="*/ 1586 h 10000"/>
                <a:gd name="connsiteX26" fmla="*/ 4513 w 10201"/>
                <a:gd name="connsiteY26" fmla="*/ 0 h 10000"/>
                <a:gd name="connsiteX0" fmla="*/ 4513 w 10201"/>
                <a:gd name="connsiteY0" fmla="*/ 0 h 10000"/>
                <a:gd name="connsiteX1" fmla="*/ 3353 w 10201"/>
                <a:gd name="connsiteY1" fmla="*/ 389 h 10000"/>
                <a:gd name="connsiteX2" fmla="*/ 3138 w 10201"/>
                <a:gd name="connsiteY2" fmla="*/ 2089 h 10000"/>
                <a:gd name="connsiteX3" fmla="*/ 2183 w 10201"/>
                <a:gd name="connsiteY3" fmla="*/ 2196 h 10000"/>
                <a:gd name="connsiteX4" fmla="*/ 1556 w 10201"/>
                <a:gd name="connsiteY4" fmla="*/ 511 h 10000"/>
                <a:gd name="connsiteX5" fmla="*/ 786 w 10201"/>
                <a:gd name="connsiteY5" fmla="*/ 936 h 10000"/>
                <a:gd name="connsiteX6" fmla="*/ 22 w 10201"/>
                <a:gd name="connsiteY6" fmla="*/ 1856 h 10000"/>
                <a:gd name="connsiteX7" fmla="*/ 250 w 10201"/>
                <a:gd name="connsiteY7" fmla="*/ 4211 h 10000"/>
                <a:gd name="connsiteX8" fmla="*/ 1154 w 10201"/>
                <a:gd name="connsiteY8" fmla="*/ 5208 h 10000"/>
                <a:gd name="connsiteX9" fmla="*/ 1272 w 10201"/>
                <a:gd name="connsiteY9" fmla="*/ 6224 h 10000"/>
                <a:gd name="connsiteX10" fmla="*/ 972 w 10201"/>
                <a:gd name="connsiteY10" fmla="*/ 7160 h 10000"/>
                <a:gd name="connsiteX11" fmla="*/ 1630 w 10201"/>
                <a:gd name="connsiteY11" fmla="*/ 6736 h 10000"/>
                <a:gd name="connsiteX12" fmla="*/ 2459 w 10201"/>
                <a:gd name="connsiteY12" fmla="*/ 6349 h 10000"/>
                <a:gd name="connsiteX13" fmla="*/ 3228 w 10201"/>
                <a:gd name="connsiteY13" fmla="*/ 6341 h 10000"/>
                <a:gd name="connsiteX14" fmla="*/ 4382 w 10201"/>
                <a:gd name="connsiteY14" fmla="*/ 7388 h 10000"/>
                <a:gd name="connsiteX15" fmla="*/ 5780 w 10201"/>
                <a:gd name="connsiteY15" fmla="*/ 8396 h 10000"/>
                <a:gd name="connsiteX16" fmla="*/ 5788 w 10201"/>
                <a:gd name="connsiteY16" fmla="*/ 9347 h 10000"/>
                <a:gd name="connsiteX17" fmla="*/ 7088 w 10201"/>
                <a:gd name="connsiteY17" fmla="*/ 9999 h 10000"/>
                <a:gd name="connsiteX18" fmla="*/ 8140 w 10201"/>
                <a:gd name="connsiteY18" fmla="*/ 9159 h 10000"/>
                <a:gd name="connsiteX19" fmla="*/ 8754 w 10201"/>
                <a:gd name="connsiteY19" fmla="*/ 8498 h 10000"/>
                <a:gd name="connsiteX20" fmla="*/ 8925 w 10201"/>
                <a:gd name="connsiteY20" fmla="*/ 7302 h 10000"/>
                <a:gd name="connsiteX21" fmla="*/ 9926 w 10201"/>
                <a:gd name="connsiteY21" fmla="*/ 7373 h 10000"/>
                <a:gd name="connsiteX22" fmla="*/ 9948 w 10201"/>
                <a:gd name="connsiteY22" fmla="*/ 6503 h 10000"/>
                <a:gd name="connsiteX23" fmla="*/ 6987 w 10201"/>
                <a:gd name="connsiteY23" fmla="*/ 4318 h 10000"/>
                <a:gd name="connsiteX24" fmla="*/ 6462 w 10201"/>
                <a:gd name="connsiteY24" fmla="*/ 2557 h 10000"/>
                <a:gd name="connsiteX25" fmla="*/ 5126 w 10201"/>
                <a:gd name="connsiteY25" fmla="*/ 1586 h 10000"/>
                <a:gd name="connsiteX26" fmla="*/ 4513 w 10201"/>
                <a:gd name="connsiteY26" fmla="*/ 0 h 10000"/>
                <a:gd name="connsiteX0" fmla="*/ 4513 w 10201"/>
                <a:gd name="connsiteY0" fmla="*/ 0 h 10000"/>
                <a:gd name="connsiteX1" fmla="*/ 3353 w 10201"/>
                <a:gd name="connsiteY1" fmla="*/ 389 h 10000"/>
                <a:gd name="connsiteX2" fmla="*/ 3138 w 10201"/>
                <a:gd name="connsiteY2" fmla="*/ 2089 h 10000"/>
                <a:gd name="connsiteX3" fmla="*/ 2183 w 10201"/>
                <a:gd name="connsiteY3" fmla="*/ 2196 h 10000"/>
                <a:gd name="connsiteX4" fmla="*/ 1556 w 10201"/>
                <a:gd name="connsiteY4" fmla="*/ 511 h 10000"/>
                <a:gd name="connsiteX5" fmla="*/ 786 w 10201"/>
                <a:gd name="connsiteY5" fmla="*/ 936 h 10000"/>
                <a:gd name="connsiteX6" fmla="*/ 22 w 10201"/>
                <a:gd name="connsiteY6" fmla="*/ 1856 h 10000"/>
                <a:gd name="connsiteX7" fmla="*/ 250 w 10201"/>
                <a:gd name="connsiteY7" fmla="*/ 4211 h 10000"/>
                <a:gd name="connsiteX8" fmla="*/ 1154 w 10201"/>
                <a:gd name="connsiteY8" fmla="*/ 5208 h 10000"/>
                <a:gd name="connsiteX9" fmla="*/ 1272 w 10201"/>
                <a:gd name="connsiteY9" fmla="*/ 6224 h 10000"/>
                <a:gd name="connsiteX10" fmla="*/ 972 w 10201"/>
                <a:gd name="connsiteY10" fmla="*/ 7160 h 10000"/>
                <a:gd name="connsiteX11" fmla="*/ 1630 w 10201"/>
                <a:gd name="connsiteY11" fmla="*/ 6736 h 10000"/>
                <a:gd name="connsiteX12" fmla="*/ 2459 w 10201"/>
                <a:gd name="connsiteY12" fmla="*/ 6349 h 10000"/>
                <a:gd name="connsiteX13" fmla="*/ 3228 w 10201"/>
                <a:gd name="connsiteY13" fmla="*/ 6341 h 10000"/>
                <a:gd name="connsiteX14" fmla="*/ 4382 w 10201"/>
                <a:gd name="connsiteY14" fmla="*/ 7388 h 10000"/>
                <a:gd name="connsiteX15" fmla="*/ 5780 w 10201"/>
                <a:gd name="connsiteY15" fmla="*/ 8396 h 10000"/>
                <a:gd name="connsiteX16" fmla="*/ 5788 w 10201"/>
                <a:gd name="connsiteY16" fmla="*/ 9347 h 10000"/>
                <a:gd name="connsiteX17" fmla="*/ 7088 w 10201"/>
                <a:gd name="connsiteY17" fmla="*/ 9999 h 10000"/>
                <a:gd name="connsiteX18" fmla="*/ 8140 w 10201"/>
                <a:gd name="connsiteY18" fmla="*/ 9159 h 10000"/>
                <a:gd name="connsiteX19" fmla="*/ 8754 w 10201"/>
                <a:gd name="connsiteY19" fmla="*/ 8498 h 10000"/>
                <a:gd name="connsiteX20" fmla="*/ 8925 w 10201"/>
                <a:gd name="connsiteY20" fmla="*/ 7302 h 10000"/>
                <a:gd name="connsiteX21" fmla="*/ 9926 w 10201"/>
                <a:gd name="connsiteY21" fmla="*/ 7373 h 10000"/>
                <a:gd name="connsiteX22" fmla="*/ 9948 w 10201"/>
                <a:gd name="connsiteY22" fmla="*/ 6503 h 10000"/>
                <a:gd name="connsiteX23" fmla="*/ 6987 w 10201"/>
                <a:gd name="connsiteY23" fmla="*/ 4318 h 10000"/>
                <a:gd name="connsiteX24" fmla="*/ 6462 w 10201"/>
                <a:gd name="connsiteY24" fmla="*/ 2557 h 10000"/>
                <a:gd name="connsiteX25" fmla="*/ 5126 w 10201"/>
                <a:gd name="connsiteY25" fmla="*/ 2180 h 10000"/>
                <a:gd name="connsiteX26" fmla="*/ 4513 w 10201"/>
                <a:gd name="connsiteY26" fmla="*/ 0 h 10000"/>
                <a:gd name="connsiteX0" fmla="*/ 4245 w 10201"/>
                <a:gd name="connsiteY0" fmla="*/ 304 h 9611"/>
                <a:gd name="connsiteX1" fmla="*/ 3353 w 10201"/>
                <a:gd name="connsiteY1" fmla="*/ 0 h 9611"/>
                <a:gd name="connsiteX2" fmla="*/ 3138 w 10201"/>
                <a:gd name="connsiteY2" fmla="*/ 1700 h 9611"/>
                <a:gd name="connsiteX3" fmla="*/ 2183 w 10201"/>
                <a:gd name="connsiteY3" fmla="*/ 1807 h 9611"/>
                <a:gd name="connsiteX4" fmla="*/ 1556 w 10201"/>
                <a:gd name="connsiteY4" fmla="*/ 122 h 9611"/>
                <a:gd name="connsiteX5" fmla="*/ 786 w 10201"/>
                <a:gd name="connsiteY5" fmla="*/ 547 h 9611"/>
                <a:gd name="connsiteX6" fmla="*/ 22 w 10201"/>
                <a:gd name="connsiteY6" fmla="*/ 1467 h 9611"/>
                <a:gd name="connsiteX7" fmla="*/ 250 w 10201"/>
                <a:gd name="connsiteY7" fmla="*/ 3822 h 9611"/>
                <a:gd name="connsiteX8" fmla="*/ 1154 w 10201"/>
                <a:gd name="connsiteY8" fmla="*/ 4819 h 9611"/>
                <a:gd name="connsiteX9" fmla="*/ 1272 w 10201"/>
                <a:gd name="connsiteY9" fmla="*/ 5835 h 9611"/>
                <a:gd name="connsiteX10" fmla="*/ 972 w 10201"/>
                <a:gd name="connsiteY10" fmla="*/ 6771 h 9611"/>
                <a:gd name="connsiteX11" fmla="*/ 1630 w 10201"/>
                <a:gd name="connsiteY11" fmla="*/ 6347 h 9611"/>
                <a:gd name="connsiteX12" fmla="*/ 2459 w 10201"/>
                <a:gd name="connsiteY12" fmla="*/ 5960 h 9611"/>
                <a:gd name="connsiteX13" fmla="*/ 3228 w 10201"/>
                <a:gd name="connsiteY13" fmla="*/ 5952 h 9611"/>
                <a:gd name="connsiteX14" fmla="*/ 4382 w 10201"/>
                <a:gd name="connsiteY14" fmla="*/ 6999 h 9611"/>
                <a:gd name="connsiteX15" fmla="*/ 5780 w 10201"/>
                <a:gd name="connsiteY15" fmla="*/ 8007 h 9611"/>
                <a:gd name="connsiteX16" fmla="*/ 5788 w 10201"/>
                <a:gd name="connsiteY16" fmla="*/ 8958 h 9611"/>
                <a:gd name="connsiteX17" fmla="*/ 7088 w 10201"/>
                <a:gd name="connsiteY17" fmla="*/ 9610 h 9611"/>
                <a:gd name="connsiteX18" fmla="*/ 8140 w 10201"/>
                <a:gd name="connsiteY18" fmla="*/ 8770 h 9611"/>
                <a:gd name="connsiteX19" fmla="*/ 8754 w 10201"/>
                <a:gd name="connsiteY19" fmla="*/ 8109 h 9611"/>
                <a:gd name="connsiteX20" fmla="*/ 8925 w 10201"/>
                <a:gd name="connsiteY20" fmla="*/ 6913 h 9611"/>
                <a:gd name="connsiteX21" fmla="*/ 9926 w 10201"/>
                <a:gd name="connsiteY21" fmla="*/ 6984 h 9611"/>
                <a:gd name="connsiteX22" fmla="*/ 9948 w 10201"/>
                <a:gd name="connsiteY22" fmla="*/ 6114 h 9611"/>
                <a:gd name="connsiteX23" fmla="*/ 6987 w 10201"/>
                <a:gd name="connsiteY23" fmla="*/ 3929 h 9611"/>
                <a:gd name="connsiteX24" fmla="*/ 6462 w 10201"/>
                <a:gd name="connsiteY24" fmla="*/ 2168 h 9611"/>
                <a:gd name="connsiteX25" fmla="*/ 5126 w 10201"/>
                <a:gd name="connsiteY25" fmla="*/ 1791 h 9611"/>
                <a:gd name="connsiteX26" fmla="*/ 4245 w 10201"/>
                <a:gd name="connsiteY26" fmla="*/ 304 h 9611"/>
                <a:gd name="connsiteX0" fmla="*/ 4161 w 10000"/>
                <a:gd name="connsiteY0" fmla="*/ 189 h 9873"/>
                <a:gd name="connsiteX1" fmla="*/ 3287 w 10000"/>
                <a:gd name="connsiteY1" fmla="*/ 388 h 9873"/>
                <a:gd name="connsiteX2" fmla="*/ 3076 w 10000"/>
                <a:gd name="connsiteY2" fmla="*/ 1642 h 9873"/>
                <a:gd name="connsiteX3" fmla="*/ 2140 w 10000"/>
                <a:gd name="connsiteY3" fmla="*/ 1753 h 9873"/>
                <a:gd name="connsiteX4" fmla="*/ 1525 w 10000"/>
                <a:gd name="connsiteY4" fmla="*/ 0 h 9873"/>
                <a:gd name="connsiteX5" fmla="*/ 771 w 10000"/>
                <a:gd name="connsiteY5" fmla="*/ 442 h 9873"/>
                <a:gd name="connsiteX6" fmla="*/ 22 w 10000"/>
                <a:gd name="connsiteY6" fmla="*/ 1399 h 9873"/>
                <a:gd name="connsiteX7" fmla="*/ 245 w 10000"/>
                <a:gd name="connsiteY7" fmla="*/ 3850 h 9873"/>
                <a:gd name="connsiteX8" fmla="*/ 1131 w 10000"/>
                <a:gd name="connsiteY8" fmla="*/ 4887 h 9873"/>
                <a:gd name="connsiteX9" fmla="*/ 1247 w 10000"/>
                <a:gd name="connsiteY9" fmla="*/ 5944 h 9873"/>
                <a:gd name="connsiteX10" fmla="*/ 953 w 10000"/>
                <a:gd name="connsiteY10" fmla="*/ 6918 h 9873"/>
                <a:gd name="connsiteX11" fmla="*/ 1598 w 10000"/>
                <a:gd name="connsiteY11" fmla="*/ 6477 h 9873"/>
                <a:gd name="connsiteX12" fmla="*/ 2411 w 10000"/>
                <a:gd name="connsiteY12" fmla="*/ 6074 h 9873"/>
                <a:gd name="connsiteX13" fmla="*/ 3164 w 10000"/>
                <a:gd name="connsiteY13" fmla="*/ 6066 h 9873"/>
                <a:gd name="connsiteX14" fmla="*/ 4296 w 10000"/>
                <a:gd name="connsiteY14" fmla="*/ 7155 h 9873"/>
                <a:gd name="connsiteX15" fmla="*/ 5666 w 10000"/>
                <a:gd name="connsiteY15" fmla="*/ 8204 h 9873"/>
                <a:gd name="connsiteX16" fmla="*/ 5674 w 10000"/>
                <a:gd name="connsiteY16" fmla="*/ 9194 h 9873"/>
                <a:gd name="connsiteX17" fmla="*/ 6948 w 10000"/>
                <a:gd name="connsiteY17" fmla="*/ 9872 h 9873"/>
                <a:gd name="connsiteX18" fmla="*/ 7980 w 10000"/>
                <a:gd name="connsiteY18" fmla="*/ 8998 h 9873"/>
                <a:gd name="connsiteX19" fmla="*/ 8582 w 10000"/>
                <a:gd name="connsiteY19" fmla="*/ 8310 h 9873"/>
                <a:gd name="connsiteX20" fmla="*/ 8749 w 10000"/>
                <a:gd name="connsiteY20" fmla="*/ 7066 h 9873"/>
                <a:gd name="connsiteX21" fmla="*/ 9730 w 10000"/>
                <a:gd name="connsiteY21" fmla="*/ 7140 h 9873"/>
                <a:gd name="connsiteX22" fmla="*/ 9752 w 10000"/>
                <a:gd name="connsiteY22" fmla="*/ 6234 h 9873"/>
                <a:gd name="connsiteX23" fmla="*/ 6849 w 10000"/>
                <a:gd name="connsiteY23" fmla="*/ 3961 h 9873"/>
                <a:gd name="connsiteX24" fmla="*/ 6335 w 10000"/>
                <a:gd name="connsiteY24" fmla="*/ 2129 h 9873"/>
                <a:gd name="connsiteX25" fmla="*/ 5025 w 10000"/>
                <a:gd name="connsiteY25" fmla="*/ 1736 h 9873"/>
                <a:gd name="connsiteX26" fmla="*/ 4161 w 10000"/>
                <a:gd name="connsiteY26" fmla="*/ 189 h 9873"/>
                <a:gd name="connsiteX0" fmla="*/ 4161 w 10000"/>
                <a:gd name="connsiteY0" fmla="*/ 191 h 10000"/>
                <a:gd name="connsiteX1" fmla="*/ 3287 w 10000"/>
                <a:gd name="connsiteY1" fmla="*/ 393 h 10000"/>
                <a:gd name="connsiteX2" fmla="*/ 3076 w 10000"/>
                <a:gd name="connsiteY2" fmla="*/ 1663 h 10000"/>
                <a:gd name="connsiteX3" fmla="*/ 2140 w 10000"/>
                <a:gd name="connsiteY3" fmla="*/ 1776 h 10000"/>
                <a:gd name="connsiteX4" fmla="*/ 1525 w 10000"/>
                <a:gd name="connsiteY4" fmla="*/ 0 h 10000"/>
                <a:gd name="connsiteX5" fmla="*/ 771 w 10000"/>
                <a:gd name="connsiteY5" fmla="*/ 448 h 10000"/>
                <a:gd name="connsiteX6" fmla="*/ 22 w 10000"/>
                <a:gd name="connsiteY6" fmla="*/ 1417 h 10000"/>
                <a:gd name="connsiteX7" fmla="*/ 245 w 10000"/>
                <a:gd name="connsiteY7" fmla="*/ 3900 h 10000"/>
                <a:gd name="connsiteX8" fmla="*/ 1131 w 10000"/>
                <a:gd name="connsiteY8" fmla="*/ 4950 h 10000"/>
                <a:gd name="connsiteX9" fmla="*/ 1247 w 10000"/>
                <a:gd name="connsiteY9" fmla="*/ 6020 h 10000"/>
                <a:gd name="connsiteX10" fmla="*/ 953 w 10000"/>
                <a:gd name="connsiteY10" fmla="*/ 7007 h 10000"/>
                <a:gd name="connsiteX11" fmla="*/ 1598 w 10000"/>
                <a:gd name="connsiteY11" fmla="*/ 6560 h 10000"/>
                <a:gd name="connsiteX12" fmla="*/ 2411 w 10000"/>
                <a:gd name="connsiteY12" fmla="*/ 6152 h 10000"/>
                <a:gd name="connsiteX13" fmla="*/ 3164 w 10000"/>
                <a:gd name="connsiteY13" fmla="*/ 6144 h 10000"/>
                <a:gd name="connsiteX14" fmla="*/ 4296 w 10000"/>
                <a:gd name="connsiteY14" fmla="*/ 7247 h 10000"/>
                <a:gd name="connsiteX15" fmla="*/ 5666 w 10000"/>
                <a:gd name="connsiteY15" fmla="*/ 8310 h 10000"/>
                <a:gd name="connsiteX16" fmla="*/ 5674 w 10000"/>
                <a:gd name="connsiteY16" fmla="*/ 9312 h 10000"/>
                <a:gd name="connsiteX17" fmla="*/ 6948 w 10000"/>
                <a:gd name="connsiteY17" fmla="*/ 9999 h 10000"/>
                <a:gd name="connsiteX18" fmla="*/ 7980 w 10000"/>
                <a:gd name="connsiteY18" fmla="*/ 9114 h 10000"/>
                <a:gd name="connsiteX19" fmla="*/ 8582 w 10000"/>
                <a:gd name="connsiteY19" fmla="*/ 8417 h 10000"/>
                <a:gd name="connsiteX20" fmla="*/ 8749 w 10000"/>
                <a:gd name="connsiteY20" fmla="*/ 7157 h 10000"/>
                <a:gd name="connsiteX21" fmla="*/ 9730 w 10000"/>
                <a:gd name="connsiteY21" fmla="*/ 7232 h 10000"/>
                <a:gd name="connsiteX22" fmla="*/ 9752 w 10000"/>
                <a:gd name="connsiteY22" fmla="*/ 6314 h 10000"/>
                <a:gd name="connsiteX23" fmla="*/ 6849 w 10000"/>
                <a:gd name="connsiteY23" fmla="*/ 4012 h 10000"/>
                <a:gd name="connsiteX24" fmla="*/ 6335 w 10000"/>
                <a:gd name="connsiteY24" fmla="*/ 2156 h 10000"/>
                <a:gd name="connsiteX25" fmla="*/ 5025 w 10000"/>
                <a:gd name="connsiteY25" fmla="*/ 1758 h 10000"/>
                <a:gd name="connsiteX26" fmla="*/ 4161 w 10000"/>
                <a:gd name="connsiteY26" fmla="*/ 191 h 10000"/>
                <a:gd name="connsiteX0" fmla="*/ 4161 w 10000"/>
                <a:gd name="connsiteY0" fmla="*/ 191 h 10000"/>
                <a:gd name="connsiteX1" fmla="*/ 3287 w 10000"/>
                <a:gd name="connsiteY1" fmla="*/ 393 h 10000"/>
                <a:gd name="connsiteX2" fmla="*/ 3076 w 10000"/>
                <a:gd name="connsiteY2" fmla="*/ 1663 h 10000"/>
                <a:gd name="connsiteX3" fmla="*/ 2140 w 10000"/>
                <a:gd name="connsiteY3" fmla="*/ 1776 h 10000"/>
                <a:gd name="connsiteX4" fmla="*/ 1525 w 10000"/>
                <a:gd name="connsiteY4" fmla="*/ 0 h 10000"/>
                <a:gd name="connsiteX5" fmla="*/ 771 w 10000"/>
                <a:gd name="connsiteY5" fmla="*/ 448 h 10000"/>
                <a:gd name="connsiteX6" fmla="*/ 22 w 10000"/>
                <a:gd name="connsiteY6" fmla="*/ 1417 h 10000"/>
                <a:gd name="connsiteX7" fmla="*/ 245 w 10000"/>
                <a:gd name="connsiteY7" fmla="*/ 3900 h 10000"/>
                <a:gd name="connsiteX8" fmla="*/ 1131 w 10000"/>
                <a:gd name="connsiteY8" fmla="*/ 4950 h 10000"/>
                <a:gd name="connsiteX9" fmla="*/ 1247 w 10000"/>
                <a:gd name="connsiteY9" fmla="*/ 6020 h 10000"/>
                <a:gd name="connsiteX10" fmla="*/ 953 w 10000"/>
                <a:gd name="connsiteY10" fmla="*/ 7007 h 10000"/>
                <a:gd name="connsiteX11" fmla="*/ 1598 w 10000"/>
                <a:gd name="connsiteY11" fmla="*/ 6560 h 10000"/>
                <a:gd name="connsiteX12" fmla="*/ 2411 w 10000"/>
                <a:gd name="connsiteY12" fmla="*/ 6152 h 10000"/>
                <a:gd name="connsiteX13" fmla="*/ 3164 w 10000"/>
                <a:gd name="connsiteY13" fmla="*/ 6144 h 10000"/>
                <a:gd name="connsiteX14" fmla="*/ 4296 w 10000"/>
                <a:gd name="connsiteY14" fmla="*/ 7247 h 10000"/>
                <a:gd name="connsiteX15" fmla="*/ 5666 w 10000"/>
                <a:gd name="connsiteY15" fmla="*/ 8310 h 10000"/>
                <a:gd name="connsiteX16" fmla="*/ 5674 w 10000"/>
                <a:gd name="connsiteY16" fmla="*/ 9312 h 10000"/>
                <a:gd name="connsiteX17" fmla="*/ 6948 w 10000"/>
                <a:gd name="connsiteY17" fmla="*/ 9999 h 10000"/>
                <a:gd name="connsiteX18" fmla="*/ 7980 w 10000"/>
                <a:gd name="connsiteY18" fmla="*/ 9114 h 10000"/>
                <a:gd name="connsiteX19" fmla="*/ 8582 w 10000"/>
                <a:gd name="connsiteY19" fmla="*/ 8417 h 10000"/>
                <a:gd name="connsiteX20" fmla="*/ 8749 w 10000"/>
                <a:gd name="connsiteY20" fmla="*/ 7157 h 10000"/>
                <a:gd name="connsiteX21" fmla="*/ 9730 w 10000"/>
                <a:gd name="connsiteY21" fmla="*/ 7232 h 10000"/>
                <a:gd name="connsiteX22" fmla="*/ 9752 w 10000"/>
                <a:gd name="connsiteY22" fmla="*/ 6314 h 10000"/>
                <a:gd name="connsiteX23" fmla="*/ 6849 w 10000"/>
                <a:gd name="connsiteY23" fmla="*/ 4012 h 10000"/>
                <a:gd name="connsiteX24" fmla="*/ 6335 w 10000"/>
                <a:gd name="connsiteY24" fmla="*/ 2156 h 10000"/>
                <a:gd name="connsiteX25" fmla="*/ 5025 w 10000"/>
                <a:gd name="connsiteY25" fmla="*/ 1758 h 10000"/>
                <a:gd name="connsiteX26" fmla="*/ 4161 w 10000"/>
                <a:gd name="connsiteY26" fmla="*/ 191 h 10000"/>
                <a:gd name="connsiteX0" fmla="*/ 4161 w 10000"/>
                <a:gd name="connsiteY0" fmla="*/ 191 h 10000"/>
                <a:gd name="connsiteX1" fmla="*/ 3287 w 10000"/>
                <a:gd name="connsiteY1" fmla="*/ 393 h 10000"/>
                <a:gd name="connsiteX2" fmla="*/ 3076 w 10000"/>
                <a:gd name="connsiteY2" fmla="*/ 1663 h 10000"/>
                <a:gd name="connsiteX3" fmla="*/ 2140 w 10000"/>
                <a:gd name="connsiteY3" fmla="*/ 1776 h 10000"/>
                <a:gd name="connsiteX4" fmla="*/ 1525 w 10000"/>
                <a:gd name="connsiteY4" fmla="*/ 0 h 10000"/>
                <a:gd name="connsiteX5" fmla="*/ 771 w 10000"/>
                <a:gd name="connsiteY5" fmla="*/ 448 h 10000"/>
                <a:gd name="connsiteX6" fmla="*/ 22 w 10000"/>
                <a:gd name="connsiteY6" fmla="*/ 1417 h 10000"/>
                <a:gd name="connsiteX7" fmla="*/ 245 w 10000"/>
                <a:gd name="connsiteY7" fmla="*/ 3900 h 10000"/>
                <a:gd name="connsiteX8" fmla="*/ 1131 w 10000"/>
                <a:gd name="connsiteY8" fmla="*/ 4950 h 10000"/>
                <a:gd name="connsiteX9" fmla="*/ 1247 w 10000"/>
                <a:gd name="connsiteY9" fmla="*/ 6020 h 10000"/>
                <a:gd name="connsiteX10" fmla="*/ 953 w 10000"/>
                <a:gd name="connsiteY10" fmla="*/ 7007 h 10000"/>
                <a:gd name="connsiteX11" fmla="*/ 1598 w 10000"/>
                <a:gd name="connsiteY11" fmla="*/ 6560 h 10000"/>
                <a:gd name="connsiteX12" fmla="*/ 2411 w 10000"/>
                <a:gd name="connsiteY12" fmla="*/ 6152 h 10000"/>
                <a:gd name="connsiteX13" fmla="*/ 3164 w 10000"/>
                <a:gd name="connsiteY13" fmla="*/ 6144 h 10000"/>
                <a:gd name="connsiteX14" fmla="*/ 4296 w 10000"/>
                <a:gd name="connsiteY14" fmla="*/ 7247 h 10000"/>
                <a:gd name="connsiteX15" fmla="*/ 5666 w 10000"/>
                <a:gd name="connsiteY15" fmla="*/ 8310 h 10000"/>
                <a:gd name="connsiteX16" fmla="*/ 5674 w 10000"/>
                <a:gd name="connsiteY16" fmla="*/ 9312 h 10000"/>
                <a:gd name="connsiteX17" fmla="*/ 6948 w 10000"/>
                <a:gd name="connsiteY17" fmla="*/ 9999 h 10000"/>
                <a:gd name="connsiteX18" fmla="*/ 7980 w 10000"/>
                <a:gd name="connsiteY18" fmla="*/ 9114 h 10000"/>
                <a:gd name="connsiteX19" fmla="*/ 8582 w 10000"/>
                <a:gd name="connsiteY19" fmla="*/ 8417 h 10000"/>
                <a:gd name="connsiteX20" fmla="*/ 8749 w 10000"/>
                <a:gd name="connsiteY20" fmla="*/ 7157 h 10000"/>
                <a:gd name="connsiteX21" fmla="*/ 9730 w 10000"/>
                <a:gd name="connsiteY21" fmla="*/ 7232 h 10000"/>
                <a:gd name="connsiteX22" fmla="*/ 9752 w 10000"/>
                <a:gd name="connsiteY22" fmla="*/ 6314 h 10000"/>
                <a:gd name="connsiteX23" fmla="*/ 6849 w 10000"/>
                <a:gd name="connsiteY23" fmla="*/ 4012 h 10000"/>
                <a:gd name="connsiteX24" fmla="*/ 6335 w 10000"/>
                <a:gd name="connsiteY24" fmla="*/ 2156 h 10000"/>
                <a:gd name="connsiteX25" fmla="*/ 5025 w 10000"/>
                <a:gd name="connsiteY25" fmla="*/ 1758 h 10000"/>
                <a:gd name="connsiteX26" fmla="*/ 4161 w 10000"/>
                <a:gd name="connsiteY26" fmla="*/ 191 h 10000"/>
                <a:gd name="connsiteX0" fmla="*/ 4161 w 10000"/>
                <a:gd name="connsiteY0" fmla="*/ 191 h 10000"/>
                <a:gd name="connsiteX1" fmla="*/ 3287 w 10000"/>
                <a:gd name="connsiteY1" fmla="*/ 393 h 10000"/>
                <a:gd name="connsiteX2" fmla="*/ 3076 w 10000"/>
                <a:gd name="connsiteY2" fmla="*/ 1663 h 10000"/>
                <a:gd name="connsiteX3" fmla="*/ 2140 w 10000"/>
                <a:gd name="connsiteY3" fmla="*/ 1776 h 10000"/>
                <a:gd name="connsiteX4" fmla="*/ 1525 w 10000"/>
                <a:gd name="connsiteY4" fmla="*/ 0 h 10000"/>
                <a:gd name="connsiteX5" fmla="*/ 771 w 10000"/>
                <a:gd name="connsiteY5" fmla="*/ 448 h 10000"/>
                <a:gd name="connsiteX6" fmla="*/ 22 w 10000"/>
                <a:gd name="connsiteY6" fmla="*/ 1417 h 10000"/>
                <a:gd name="connsiteX7" fmla="*/ 245 w 10000"/>
                <a:gd name="connsiteY7" fmla="*/ 3900 h 10000"/>
                <a:gd name="connsiteX8" fmla="*/ 1131 w 10000"/>
                <a:gd name="connsiteY8" fmla="*/ 4950 h 10000"/>
                <a:gd name="connsiteX9" fmla="*/ 1247 w 10000"/>
                <a:gd name="connsiteY9" fmla="*/ 6020 h 10000"/>
                <a:gd name="connsiteX10" fmla="*/ 953 w 10000"/>
                <a:gd name="connsiteY10" fmla="*/ 7007 h 10000"/>
                <a:gd name="connsiteX11" fmla="*/ 1598 w 10000"/>
                <a:gd name="connsiteY11" fmla="*/ 6560 h 10000"/>
                <a:gd name="connsiteX12" fmla="*/ 2411 w 10000"/>
                <a:gd name="connsiteY12" fmla="*/ 6152 h 10000"/>
                <a:gd name="connsiteX13" fmla="*/ 3164 w 10000"/>
                <a:gd name="connsiteY13" fmla="*/ 6144 h 10000"/>
                <a:gd name="connsiteX14" fmla="*/ 4296 w 10000"/>
                <a:gd name="connsiteY14" fmla="*/ 7247 h 10000"/>
                <a:gd name="connsiteX15" fmla="*/ 5666 w 10000"/>
                <a:gd name="connsiteY15" fmla="*/ 8310 h 10000"/>
                <a:gd name="connsiteX16" fmla="*/ 5674 w 10000"/>
                <a:gd name="connsiteY16" fmla="*/ 9312 h 10000"/>
                <a:gd name="connsiteX17" fmla="*/ 6948 w 10000"/>
                <a:gd name="connsiteY17" fmla="*/ 9999 h 10000"/>
                <a:gd name="connsiteX18" fmla="*/ 7980 w 10000"/>
                <a:gd name="connsiteY18" fmla="*/ 9114 h 10000"/>
                <a:gd name="connsiteX19" fmla="*/ 8582 w 10000"/>
                <a:gd name="connsiteY19" fmla="*/ 8417 h 10000"/>
                <a:gd name="connsiteX20" fmla="*/ 8749 w 10000"/>
                <a:gd name="connsiteY20" fmla="*/ 7157 h 10000"/>
                <a:gd name="connsiteX21" fmla="*/ 9730 w 10000"/>
                <a:gd name="connsiteY21" fmla="*/ 7232 h 10000"/>
                <a:gd name="connsiteX22" fmla="*/ 9752 w 10000"/>
                <a:gd name="connsiteY22" fmla="*/ 6314 h 10000"/>
                <a:gd name="connsiteX23" fmla="*/ 6849 w 10000"/>
                <a:gd name="connsiteY23" fmla="*/ 4012 h 10000"/>
                <a:gd name="connsiteX24" fmla="*/ 6335 w 10000"/>
                <a:gd name="connsiteY24" fmla="*/ 2156 h 10000"/>
                <a:gd name="connsiteX25" fmla="*/ 5025 w 10000"/>
                <a:gd name="connsiteY25" fmla="*/ 1758 h 10000"/>
                <a:gd name="connsiteX26" fmla="*/ 4161 w 10000"/>
                <a:gd name="connsiteY26" fmla="*/ 191 h 10000"/>
                <a:gd name="connsiteX0" fmla="*/ 4161 w 9752"/>
                <a:gd name="connsiteY0" fmla="*/ 191 h 10000"/>
                <a:gd name="connsiteX1" fmla="*/ 3287 w 9752"/>
                <a:gd name="connsiteY1" fmla="*/ 393 h 10000"/>
                <a:gd name="connsiteX2" fmla="*/ 3076 w 9752"/>
                <a:gd name="connsiteY2" fmla="*/ 1663 h 10000"/>
                <a:gd name="connsiteX3" fmla="*/ 2140 w 9752"/>
                <a:gd name="connsiteY3" fmla="*/ 1776 h 10000"/>
                <a:gd name="connsiteX4" fmla="*/ 1525 w 9752"/>
                <a:gd name="connsiteY4" fmla="*/ 0 h 10000"/>
                <a:gd name="connsiteX5" fmla="*/ 771 w 9752"/>
                <a:gd name="connsiteY5" fmla="*/ 448 h 10000"/>
                <a:gd name="connsiteX6" fmla="*/ 22 w 9752"/>
                <a:gd name="connsiteY6" fmla="*/ 1417 h 10000"/>
                <a:gd name="connsiteX7" fmla="*/ 245 w 9752"/>
                <a:gd name="connsiteY7" fmla="*/ 3900 h 10000"/>
                <a:gd name="connsiteX8" fmla="*/ 1131 w 9752"/>
                <a:gd name="connsiteY8" fmla="*/ 4950 h 10000"/>
                <a:gd name="connsiteX9" fmla="*/ 1247 w 9752"/>
                <a:gd name="connsiteY9" fmla="*/ 6020 h 10000"/>
                <a:gd name="connsiteX10" fmla="*/ 953 w 9752"/>
                <a:gd name="connsiteY10" fmla="*/ 7007 h 10000"/>
                <a:gd name="connsiteX11" fmla="*/ 1598 w 9752"/>
                <a:gd name="connsiteY11" fmla="*/ 6560 h 10000"/>
                <a:gd name="connsiteX12" fmla="*/ 2411 w 9752"/>
                <a:gd name="connsiteY12" fmla="*/ 6152 h 10000"/>
                <a:gd name="connsiteX13" fmla="*/ 3164 w 9752"/>
                <a:gd name="connsiteY13" fmla="*/ 6144 h 10000"/>
                <a:gd name="connsiteX14" fmla="*/ 4296 w 9752"/>
                <a:gd name="connsiteY14" fmla="*/ 7247 h 10000"/>
                <a:gd name="connsiteX15" fmla="*/ 5666 w 9752"/>
                <a:gd name="connsiteY15" fmla="*/ 8310 h 10000"/>
                <a:gd name="connsiteX16" fmla="*/ 5674 w 9752"/>
                <a:gd name="connsiteY16" fmla="*/ 9312 h 10000"/>
                <a:gd name="connsiteX17" fmla="*/ 6948 w 9752"/>
                <a:gd name="connsiteY17" fmla="*/ 9999 h 10000"/>
                <a:gd name="connsiteX18" fmla="*/ 7980 w 9752"/>
                <a:gd name="connsiteY18" fmla="*/ 9114 h 10000"/>
                <a:gd name="connsiteX19" fmla="*/ 8582 w 9752"/>
                <a:gd name="connsiteY19" fmla="*/ 8417 h 10000"/>
                <a:gd name="connsiteX20" fmla="*/ 8749 w 9752"/>
                <a:gd name="connsiteY20" fmla="*/ 7157 h 10000"/>
                <a:gd name="connsiteX21" fmla="*/ 9730 w 9752"/>
                <a:gd name="connsiteY21" fmla="*/ 7232 h 10000"/>
                <a:gd name="connsiteX22" fmla="*/ 9752 w 9752"/>
                <a:gd name="connsiteY22" fmla="*/ 6314 h 10000"/>
                <a:gd name="connsiteX23" fmla="*/ 6849 w 9752"/>
                <a:gd name="connsiteY23" fmla="*/ 4012 h 10000"/>
                <a:gd name="connsiteX24" fmla="*/ 6335 w 9752"/>
                <a:gd name="connsiteY24" fmla="*/ 2156 h 10000"/>
                <a:gd name="connsiteX25" fmla="*/ 5025 w 9752"/>
                <a:gd name="connsiteY25" fmla="*/ 1758 h 10000"/>
                <a:gd name="connsiteX26" fmla="*/ 4161 w 9752"/>
                <a:gd name="connsiteY26" fmla="*/ 191 h 10000"/>
                <a:gd name="connsiteX0" fmla="*/ 4267 w 10000"/>
                <a:gd name="connsiteY0" fmla="*/ 191 h 10000"/>
                <a:gd name="connsiteX1" fmla="*/ 3371 w 10000"/>
                <a:gd name="connsiteY1" fmla="*/ 393 h 10000"/>
                <a:gd name="connsiteX2" fmla="*/ 3154 w 10000"/>
                <a:gd name="connsiteY2" fmla="*/ 1663 h 10000"/>
                <a:gd name="connsiteX3" fmla="*/ 2194 w 10000"/>
                <a:gd name="connsiteY3" fmla="*/ 1776 h 10000"/>
                <a:gd name="connsiteX4" fmla="*/ 1564 w 10000"/>
                <a:gd name="connsiteY4" fmla="*/ 0 h 10000"/>
                <a:gd name="connsiteX5" fmla="*/ 791 w 10000"/>
                <a:gd name="connsiteY5" fmla="*/ 448 h 10000"/>
                <a:gd name="connsiteX6" fmla="*/ 23 w 10000"/>
                <a:gd name="connsiteY6" fmla="*/ 1417 h 10000"/>
                <a:gd name="connsiteX7" fmla="*/ 251 w 10000"/>
                <a:gd name="connsiteY7" fmla="*/ 3900 h 10000"/>
                <a:gd name="connsiteX8" fmla="*/ 1160 w 10000"/>
                <a:gd name="connsiteY8" fmla="*/ 4950 h 10000"/>
                <a:gd name="connsiteX9" fmla="*/ 1279 w 10000"/>
                <a:gd name="connsiteY9" fmla="*/ 6020 h 10000"/>
                <a:gd name="connsiteX10" fmla="*/ 977 w 10000"/>
                <a:gd name="connsiteY10" fmla="*/ 7007 h 10000"/>
                <a:gd name="connsiteX11" fmla="*/ 1639 w 10000"/>
                <a:gd name="connsiteY11" fmla="*/ 6560 h 10000"/>
                <a:gd name="connsiteX12" fmla="*/ 2472 w 10000"/>
                <a:gd name="connsiteY12" fmla="*/ 6152 h 10000"/>
                <a:gd name="connsiteX13" fmla="*/ 3244 w 10000"/>
                <a:gd name="connsiteY13" fmla="*/ 6144 h 10000"/>
                <a:gd name="connsiteX14" fmla="*/ 4405 w 10000"/>
                <a:gd name="connsiteY14" fmla="*/ 7247 h 10000"/>
                <a:gd name="connsiteX15" fmla="*/ 5810 w 10000"/>
                <a:gd name="connsiteY15" fmla="*/ 8310 h 10000"/>
                <a:gd name="connsiteX16" fmla="*/ 5818 w 10000"/>
                <a:gd name="connsiteY16" fmla="*/ 9312 h 10000"/>
                <a:gd name="connsiteX17" fmla="*/ 7125 w 10000"/>
                <a:gd name="connsiteY17" fmla="*/ 9999 h 10000"/>
                <a:gd name="connsiteX18" fmla="*/ 8183 w 10000"/>
                <a:gd name="connsiteY18" fmla="*/ 9114 h 10000"/>
                <a:gd name="connsiteX19" fmla="*/ 8800 w 10000"/>
                <a:gd name="connsiteY19" fmla="*/ 8417 h 10000"/>
                <a:gd name="connsiteX20" fmla="*/ 8971 w 10000"/>
                <a:gd name="connsiteY20" fmla="*/ 7157 h 10000"/>
                <a:gd name="connsiteX21" fmla="*/ 9977 w 10000"/>
                <a:gd name="connsiteY21" fmla="*/ 7232 h 10000"/>
                <a:gd name="connsiteX22" fmla="*/ 10000 w 10000"/>
                <a:gd name="connsiteY22" fmla="*/ 6314 h 10000"/>
                <a:gd name="connsiteX23" fmla="*/ 7023 w 10000"/>
                <a:gd name="connsiteY23" fmla="*/ 4012 h 10000"/>
                <a:gd name="connsiteX24" fmla="*/ 6496 w 10000"/>
                <a:gd name="connsiteY24" fmla="*/ 2156 h 10000"/>
                <a:gd name="connsiteX25" fmla="*/ 5153 w 10000"/>
                <a:gd name="connsiteY25" fmla="*/ 1758 h 10000"/>
                <a:gd name="connsiteX26" fmla="*/ 4267 w 10000"/>
                <a:gd name="connsiteY26" fmla="*/ 191 h 10000"/>
                <a:gd name="connsiteX0" fmla="*/ 4267 w 10000"/>
                <a:gd name="connsiteY0" fmla="*/ 191 h 10000"/>
                <a:gd name="connsiteX1" fmla="*/ 3371 w 10000"/>
                <a:gd name="connsiteY1" fmla="*/ 393 h 10000"/>
                <a:gd name="connsiteX2" fmla="*/ 3154 w 10000"/>
                <a:gd name="connsiteY2" fmla="*/ 1663 h 10000"/>
                <a:gd name="connsiteX3" fmla="*/ 2194 w 10000"/>
                <a:gd name="connsiteY3" fmla="*/ 1776 h 10000"/>
                <a:gd name="connsiteX4" fmla="*/ 1564 w 10000"/>
                <a:gd name="connsiteY4" fmla="*/ 0 h 10000"/>
                <a:gd name="connsiteX5" fmla="*/ 791 w 10000"/>
                <a:gd name="connsiteY5" fmla="*/ 448 h 10000"/>
                <a:gd name="connsiteX6" fmla="*/ 23 w 10000"/>
                <a:gd name="connsiteY6" fmla="*/ 1417 h 10000"/>
                <a:gd name="connsiteX7" fmla="*/ 251 w 10000"/>
                <a:gd name="connsiteY7" fmla="*/ 3900 h 10000"/>
                <a:gd name="connsiteX8" fmla="*/ 1160 w 10000"/>
                <a:gd name="connsiteY8" fmla="*/ 4950 h 10000"/>
                <a:gd name="connsiteX9" fmla="*/ 1279 w 10000"/>
                <a:gd name="connsiteY9" fmla="*/ 6020 h 10000"/>
                <a:gd name="connsiteX10" fmla="*/ 977 w 10000"/>
                <a:gd name="connsiteY10" fmla="*/ 7007 h 10000"/>
                <a:gd name="connsiteX11" fmla="*/ 1639 w 10000"/>
                <a:gd name="connsiteY11" fmla="*/ 6560 h 10000"/>
                <a:gd name="connsiteX12" fmla="*/ 2472 w 10000"/>
                <a:gd name="connsiteY12" fmla="*/ 6152 h 10000"/>
                <a:gd name="connsiteX13" fmla="*/ 3244 w 10000"/>
                <a:gd name="connsiteY13" fmla="*/ 6144 h 10000"/>
                <a:gd name="connsiteX14" fmla="*/ 4405 w 10000"/>
                <a:gd name="connsiteY14" fmla="*/ 7247 h 10000"/>
                <a:gd name="connsiteX15" fmla="*/ 5810 w 10000"/>
                <a:gd name="connsiteY15" fmla="*/ 8310 h 10000"/>
                <a:gd name="connsiteX16" fmla="*/ 5818 w 10000"/>
                <a:gd name="connsiteY16" fmla="*/ 9312 h 10000"/>
                <a:gd name="connsiteX17" fmla="*/ 7125 w 10000"/>
                <a:gd name="connsiteY17" fmla="*/ 9999 h 10000"/>
                <a:gd name="connsiteX18" fmla="*/ 8183 w 10000"/>
                <a:gd name="connsiteY18" fmla="*/ 9114 h 10000"/>
                <a:gd name="connsiteX19" fmla="*/ 8800 w 10000"/>
                <a:gd name="connsiteY19" fmla="*/ 8417 h 10000"/>
                <a:gd name="connsiteX20" fmla="*/ 8971 w 10000"/>
                <a:gd name="connsiteY20" fmla="*/ 7157 h 10000"/>
                <a:gd name="connsiteX21" fmla="*/ 9977 w 10000"/>
                <a:gd name="connsiteY21" fmla="*/ 7232 h 10000"/>
                <a:gd name="connsiteX22" fmla="*/ 10000 w 10000"/>
                <a:gd name="connsiteY22" fmla="*/ 6314 h 10000"/>
                <a:gd name="connsiteX23" fmla="*/ 7023 w 10000"/>
                <a:gd name="connsiteY23" fmla="*/ 4012 h 10000"/>
                <a:gd name="connsiteX24" fmla="*/ 6496 w 10000"/>
                <a:gd name="connsiteY24" fmla="*/ 2156 h 10000"/>
                <a:gd name="connsiteX25" fmla="*/ 5153 w 10000"/>
                <a:gd name="connsiteY25" fmla="*/ 1758 h 10000"/>
                <a:gd name="connsiteX26" fmla="*/ 4267 w 10000"/>
                <a:gd name="connsiteY26" fmla="*/ 191 h 10000"/>
                <a:gd name="connsiteX0" fmla="*/ 4267 w 10000"/>
                <a:gd name="connsiteY0" fmla="*/ 191 h 10000"/>
                <a:gd name="connsiteX1" fmla="*/ 3371 w 10000"/>
                <a:gd name="connsiteY1" fmla="*/ 393 h 10000"/>
                <a:gd name="connsiteX2" fmla="*/ 3154 w 10000"/>
                <a:gd name="connsiteY2" fmla="*/ 1663 h 10000"/>
                <a:gd name="connsiteX3" fmla="*/ 2194 w 10000"/>
                <a:gd name="connsiteY3" fmla="*/ 1776 h 10000"/>
                <a:gd name="connsiteX4" fmla="*/ 1564 w 10000"/>
                <a:gd name="connsiteY4" fmla="*/ 0 h 10000"/>
                <a:gd name="connsiteX5" fmla="*/ 791 w 10000"/>
                <a:gd name="connsiteY5" fmla="*/ 448 h 10000"/>
                <a:gd name="connsiteX6" fmla="*/ 23 w 10000"/>
                <a:gd name="connsiteY6" fmla="*/ 1417 h 10000"/>
                <a:gd name="connsiteX7" fmla="*/ 251 w 10000"/>
                <a:gd name="connsiteY7" fmla="*/ 3900 h 10000"/>
                <a:gd name="connsiteX8" fmla="*/ 1160 w 10000"/>
                <a:gd name="connsiteY8" fmla="*/ 4950 h 10000"/>
                <a:gd name="connsiteX9" fmla="*/ 1279 w 10000"/>
                <a:gd name="connsiteY9" fmla="*/ 6020 h 10000"/>
                <a:gd name="connsiteX10" fmla="*/ 977 w 10000"/>
                <a:gd name="connsiteY10" fmla="*/ 7007 h 10000"/>
                <a:gd name="connsiteX11" fmla="*/ 1639 w 10000"/>
                <a:gd name="connsiteY11" fmla="*/ 6560 h 10000"/>
                <a:gd name="connsiteX12" fmla="*/ 2472 w 10000"/>
                <a:gd name="connsiteY12" fmla="*/ 6152 h 10000"/>
                <a:gd name="connsiteX13" fmla="*/ 3244 w 10000"/>
                <a:gd name="connsiteY13" fmla="*/ 6144 h 10000"/>
                <a:gd name="connsiteX14" fmla="*/ 4405 w 10000"/>
                <a:gd name="connsiteY14" fmla="*/ 7247 h 10000"/>
                <a:gd name="connsiteX15" fmla="*/ 5810 w 10000"/>
                <a:gd name="connsiteY15" fmla="*/ 8310 h 10000"/>
                <a:gd name="connsiteX16" fmla="*/ 5818 w 10000"/>
                <a:gd name="connsiteY16" fmla="*/ 9312 h 10000"/>
                <a:gd name="connsiteX17" fmla="*/ 7125 w 10000"/>
                <a:gd name="connsiteY17" fmla="*/ 9999 h 10000"/>
                <a:gd name="connsiteX18" fmla="*/ 8183 w 10000"/>
                <a:gd name="connsiteY18" fmla="*/ 9114 h 10000"/>
                <a:gd name="connsiteX19" fmla="*/ 8800 w 10000"/>
                <a:gd name="connsiteY19" fmla="*/ 8417 h 10000"/>
                <a:gd name="connsiteX20" fmla="*/ 8971 w 10000"/>
                <a:gd name="connsiteY20" fmla="*/ 7157 h 10000"/>
                <a:gd name="connsiteX21" fmla="*/ 9977 w 10000"/>
                <a:gd name="connsiteY21" fmla="*/ 7232 h 10000"/>
                <a:gd name="connsiteX22" fmla="*/ 10000 w 10000"/>
                <a:gd name="connsiteY22" fmla="*/ 6314 h 10000"/>
                <a:gd name="connsiteX23" fmla="*/ 7023 w 10000"/>
                <a:gd name="connsiteY23" fmla="*/ 4012 h 10000"/>
                <a:gd name="connsiteX24" fmla="*/ 6496 w 10000"/>
                <a:gd name="connsiteY24" fmla="*/ 2156 h 10000"/>
                <a:gd name="connsiteX25" fmla="*/ 5153 w 10000"/>
                <a:gd name="connsiteY25" fmla="*/ 1758 h 10000"/>
                <a:gd name="connsiteX26" fmla="*/ 4267 w 10000"/>
                <a:gd name="connsiteY26" fmla="*/ 191 h 10000"/>
                <a:gd name="connsiteX0" fmla="*/ 4267 w 10000"/>
                <a:gd name="connsiteY0" fmla="*/ 191 h 10000"/>
                <a:gd name="connsiteX1" fmla="*/ 3371 w 10000"/>
                <a:gd name="connsiteY1" fmla="*/ 393 h 10000"/>
                <a:gd name="connsiteX2" fmla="*/ 3154 w 10000"/>
                <a:gd name="connsiteY2" fmla="*/ 1663 h 10000"/>
                <a:gd name="connsiteX3" fmla="*/ 2194 w 10000"/>
                <a:gd name="connsiteY3" fmla="*/ 1776 h 10000"/>
                <a:gd name="connsiteX4" fmla="*/ 1564 w 10000"/>
                <a:gd name="connsiteY4" fmla="*/ 0 h 10000"/>
                <a:gd name="connsiteX5" fmla="*/ 791 w 10000"/>
                <a:gd name="connsiteY5" fmla="*/ 448 h 10000"/>
                <a:gd name="connsiteX6" fmla="*/ 23 w 10000"/>
                <a:gd name="connsiteY6" fmla="*/ 1417 h 10000"/>
                <a:gd name="connsiteX7" fmla="*/ 251 w 10000"/>
                <a:gd name="connsiteY7" fmla="*/ 3900 h 10000"/>
                <a:gd name="connsiteX8" fmla="*/ 1160 w 10000"/>
                <a:gd name="connsiteY8" fmla="*/ 4950 h 10000"/>
                <a:gd name="connsiteX9" fmla="*/ 1279 w 10000"/>
                <a:gd name="connsiteY9" fmla="*/ 6020 h 10000"/>
                <a:gd name="connsiteX10" fmla="*/ 977 w 10000"/>
                <a:gd name="connsiteY10" fmla="*/ 7007 h 10000"/>
                <a:gd name="connsiteX11" fmla="*/ 1639 w 10000"/>
                <a:gd name="connsiteY11" fmla="*/ 6560 h 10000"/>
                <a:gd name="connsiteX12" fmla="*/ 2472 w 10000"/>
                <a:gd name="connsiteY12" fmla="*/ 6152 h 10000"/>
                <a:gd name="connsiteX13" fmla="*/ 3244 w 10000"/>
                <a:gd name="connsiteY13" fmla="*/ 6144 h 10000"/>
                <a:gd name="connsiteX14" fmla="*/ 4405 w 10000"/>
                <a:gd name="connsiteY14" fmla="*/ 7247 h 10000"/>
                <a:gd name="connsiteX15" fmla="*/ 5810 w 10000"/>
                <a:gd name="connsiteY15" fmla="*/ 8310 h 10000"/>
                <a:gd name="connsiteX16" fmla="*/ 5818 w 10000"/>
                <a:gd name="connsiteY16" fmla="*/ 9312 h 10000"/>
                <a:gd name="connsiteX17" fmla="*/ 7125 w 10000"/>
                <a:gd name="connsiteY17" fmla="*/ 9999 h 10000"/>
                <a:gd name="connsiteX18" fmla="*/ 8183 w 10000"/>
                <a:gd name="connsiteY18" fmla="*/ 9114 h 10000"/>
                <a:gd name="connsiteX19" fmla="*/ 8800 w 10000"/>
                <a:gd name="connsiteY19" fmla="*/ 8417 h 10000"/>
                <a:gd name="connsiteX20" fmla="*/ 8971 w 10000"/>
                <a:gd name="connsiteY20" fmla="*/ 7157 h 10000"/>
                <a:gd name="connsiteX21" fmla="*/ 9977 w 10000"/>
                <a:gd name="connsiteY21" fmla="*/ 7232 h 10000"/>
                <a:gd name="connsiteX22" fmla="*/ 10000 w 10000"/>
                <a:gd name="connsiteY22" fmla="*/ 6314 h 10000"/>
                <a:gd name="connsiteX23" fmla="*/ 7023 w 10000"/>
                <a:gd name="connsiteY23" fmla="*/ 4012 h 10000"/>
                <a:gd name="connsiteX24" fmla="*/ 6496 w 10000"/>
                <a:gd name="connsiteY24" fmla="*/ 2156 h 10000"/>
                <a:gd name="connsiteX25" fmla="*/ 5153 w 10000"/>
                <a:gd name="connsiteY25" fmla="*/ 1758 h 10000"/>
                <a:gd name="connsiteX26" fmla="*/ 4267 w 10000"/>
                <a:gd name="connsiteY26" fmla="*/ 191 h 10000"/>
                <a:gd name="connsiteX0" fmla="*/ 4267 w 10000"/>
                <a:gd name="connsiteY0" fmla="*/ 191 h 9999"/>
                <a:gd name="connsiteX1" fmla="*/ 3371 w 10000"/>
                <a:gd name="connsiteY1" fmla="*/ 393 h 9999"/>
                <a:gd name="connsiteX2" fmla="*/ 3154 w 10000"/>
                <a:gd name="connsiteY2" fmla="*/ 1663 h 9999"/>
                <a:gd name="connsiteX3" fmla="*/ 2194 w 10000"/>
                <a:gd name="connsiteY3" fmla="*/ 1776 h 9999"/>
                <a:gd name="connsiteX4" fmla="*/ 1564 w 10000"/>
                <a:gd name="connsiteY4" fmla="*/ 0 h 9999"/>
                <a:gd name="connsiteX5" fmla="*/ 791 w 10000"/>
                <a:gd name="connsiteY5" fmla="*/ 448 h 9999"/>
                <a:gd name="connsiteX6" fmla="*/ 23 w 10000"/>
                <a:gd name="connsiteY6" fmla="*/ 1417 h 9999"/>
                <a:gd name="connsiteX7" fmla="*/ 251 w 10000"/>
                <a:gd name="connsiteY7" fmla="*/ 3900 h 9999"/>
                <a:gd name="connsiteX8" fmla="*/ 1160 w 10000"/>
                <a:gd name="connsiteY8" fmla="*/ 4950 h 9999"/>
                <a:gd name="connsiteX9" fmla="*/ 1279 w 10000"/>
                <a:gd name="connsiteY9" fmla="*/ 6020 h 9999"/>
                <a:gd name="connsiteX10" fmla="*/ 977 w 10000"/>
                <a:gd name="connsiteY10" fmla="*/ 7007 h 9999"/>
                <a:gd name="connsiteX11" fmla="*/ 1639 w 10000"/>
                <a:gd name="connsiteY11" fmla="*/ 6560 h 9999"/>
                <a:gd name="connsiteX12" fmla="*/ 2472 w 10000"/>
                <a:gd name="connsiteY12" fmla="*/ 6152 h 9999"/>
                <a:gd name="connsiteX13" fmla="*/ 3244 w 10000"/>
                <a:gd name="connsiteY13" fmla="*/ 6144 h 9999"/>
                <a:gd name="connsiteX14" fmla="*/ 4405 w 10000"/>
                <a:gd name="connsiteY14" fmla="*/ 7247 h 9999"/>
                <a:gd name="connsiteX15" fmla="*/ 5810 w 10000"/>
                <a:gd name="connsiteY15" fmla="*/ 8310 h 9999"/>
                <a:gd name="connsiteX16" fmla="*/ 5818 w 10000"/>
                <a:gd name="connsiteY16" fmla="*/ 9312 h 9999"/>
                <a:gd name="connsiteX17" fmla="*/ 7125 w 10000"/>
                <a:gd name="connsiteY17" fmla="*/ 9999 h 9999"/>
                <a:gd name="connsiteX18" fmla="*/ 8183 w 10000"/>
                <a:gd name="connsiteY18" fmla="*/ 9114 h 9999"/>
                <a:gd name="connsiteX19" fmla="*/ 8800 w 10000"/>
                <a:gd name="connsiteY19" fmla="*/ 8417 h 9999"/>
                <a:gd name="connsiteX20" fmla="*/ 8971 w 10000"/>
                <a:gd name="connsiteY20" fmla="*/ 7157 h 9999"/>
                <a:gd name="connsiteX21" fmla="*/ 9977 w 10000"/>
                <a:gd name="connsiteY21" fmla="*/ 7232 h 9999"/>
                <a:gd name="connsiteX22" fmla="*/ 10000 w 10000"/>
                <a:gd name="connsiteY22" fmla="*/ 6314 h 9999"/>
                <a:gd name="connsiteX23" fmla="*/ 7023 w 10000"/>
                <a:gd name="connsiteY23" fmla="*/ 4012 h 9999"/>
                <a:gd name="connsiteX24" fmla="*/ 6496 w 10000"/>
                <a:gd name="connsiteY24" fmla="*/ 2156 h 9999"/>
                <a:gd name="connsiteX25" fmla="*/ 5153 w 10000"/>
                <a:gd name="connsiteY25" fmla="*/ 1758 h 9999"/>
                <a:gd name="connsiteX26" fmla="*/ 4267 w 10000"/>
                <a:gd name="connsiteY26" fmla="*/ 191 h 9999"/>
                <a:gd name="connsiteX0" fmla="*/ 4267 w 10000"/>
                <a:gd name="connsiteY0" fmla="*/ 191 h 10000"/>
                <a:gd name="connsiteX1" fmla="*/ 3371 w 10000"/>
                <a:gd name="connsiteY1" fmla="*/ 393 h 10000"/>
                <a:gd name="connsiteX2" fmla="*/ 3154 w 10000"/>
                <a:gd name="connsiteY2" fmla="*/ 1663 h 10000"/>
                <a:gd name="connsiteX3" fmla="*/ 2194 w 10000"/>
                <a:gd name="connsiteY3" fmla="*/ 1776 h 10000"/>
                <a:gd name="connsiteX4" fmla="*/ 1564 w 10000"/>
                <a:gd name="connsiteY4" fmla="*/ 0 h 10000"/>
                <a:gd name="connsiteX5" fmla="*/ 791 w 10000"/>
                <a:gd name="connsiteY5" fmla="*/ 448 h 10000"/>
                <a:gd name="connsiteX6" fmla="*/ 23 w 10000"/>
                <a:gd name="connsiteY6" fmla="*/ 1417 h 10000"/>
                <a:gd name="connsiteX7" fmla="*/ 251 w 10000"/>
                <a:gd name="connsiteY7" fmla="*/ 3900 h 10000"/>
                <a:gd name="connsiteX8" fmla="*/ 1160 w 10000"/>
                <a:gd name="connsiteY8" fmla="*/ 4950 h 10000"/>
                <a:gd name="connsiteX9" fmla="*/ 1279 w 10000"/>
                <a:gd name="connsiteY9" fmla="*/ 6021 h 10000"/>
                <a:gd name="connsiteX10" fmla="*/ 977 w 10000"/>
                <a:gd name="connsiteY10" fmla="*/ 7008 h 10000"/>
                <a:gd name="connsiteX11" fmla="*/ 1639 w 10000"/>
                <a:gd name="connsiteY11" fmla="*/ 6561 h 10000"/>
                <a:gd name="connsiteX12" fmla="*/ 2472 w 10000"/>
                <a:gd name="connsiteY12" fmla="*/ 6153 h 10000"/>
                <a:gd name="connsiteX13" fmla="*/ 3244 w 10000"/>
                <a:gd name="connsiteY13" fmla="*/ 6145 h 10000"/>
                <a:gd name="connsiteX14" fmla="*/ 4405 w 10000"/>
                <a:gd name="connsiteY14" fmla="*/ 7248 h 10000"/>
                <a:gd name="connsiteX15" fmla="*/ 5945 w 10000"/>
                <a:gd name="connsiteY15" fmla="*/ 8415 h 10000"/>
                <a:gd name="connsiteX16" fmla="*/ 5818 w 10000"/>
                <a:gd name="connsiteY16" fmla="*/ 9313 h 10000"/>
                <a:gd name="connsiteX17" fmla="*/ 7125 w 10000"/>
                <a:gd name="connsiteY17" fmla="*/ 10000 h 10000"/>
                <a:gd name="connsiteX18" fmla="*/ 8183 w 10000"/>
                <a:gd name="connsiteY18" fmla="*/ 9115 h 10000"/>
                <a:gd name="connsiteX19" fmla="*/ 8800 w 10000"/>
                <a:gd name="connsiteY19" fmla="*/ 8418 h 10000"/>
                <a:gd name="connsiteX20" fmla="*/ 8971 w 10000"/>
                <a:gd name="connsiteY20" fmla="*/ 7158 h 10000"/>
                <a:gd name="connsiteX21" fmla="*/ 9977 w 10000"/>
                <a:gd name="connsiteY21" fmla="*/ 7233 h 10000"/>
                <a:gd name="connsiteX22" fmla="*/ 10000 w 10000"/>
                <a:gd name="connsiteY22" fmla="*/ 6315 h 10000"/>
                <a:gd name="connsiteX23" fmla="*/ 7023 w 10000"/>
                <a:gd name="connsiteY23" fmla="*/ 4012 h 10000"/>
                <a:gd name="connsiteX24" fmla="*/ 6496 w 10000"/>
                <a:gd name="connsiteY24" fmla="*/ 2156 h 10000"/>
                <a:gd name="connsiteX25" fmla="*/ 5153 w 10000"/>
                <a:gd name="connsiteY25" fmla="*/ 1758 h 10000"/>
                <a:gd name="connsiteX26" fmla="*/ 4267 w 10000"/>
                <a:gd name="connsiteY26" fmla="*/ 191 h 10000"/>
                <a:gd name="connsiteX0" fmla="*/ 4267 w 10000"/>
                <a:gd name="connsiteY0" fmla="*/ 191 h 10000"/>
                <a:gd name="connsiteX1" fmla="*/ 3371 w 10000"/>
                <a:gd name="connsiteY1" fmla="*/ 393 h 10000"/>
                <a:gd name="connsiteX2" fmla="*/ 3154 w 10000"/>
                <a:gd name="connsiteY2" fmla="*/ 1663 h 10000"/>
                <a:gd name="connsiteX3" fmla="*/ 2194 w 10000"/>
                <a:gd name="connsiteY3" fmla="*/ 1776 h 10000"/>
                <a:gd name="connsiteX4" fmla="*/ 1564 w 10000"/>
                <a:gd name="connsiteY4" fmla="*/ 0 h 10000"/>
                <a:gd name="connsiteX5" fmla="*/ 791 w 10000"/>
                <a:gd name="connsiteY5" fmla="*/ 448 h 10000"/>
                <a:gd name="connsiteX6" fmla="*/ 23 w 10000"/>
                <a:gd name="connsiteY6" fmla="*/ 1417 h 10000"/>
                <a:gd name="connsiteX7" fmla="*/ 251 w 10000"/>
                <a:gd name="connsiteY7" fmla="*/ 3900 h 10000"/>
                <a:gd name="connsiteX8" fmla="*/ 1160 w 10000"/>
                <a:gd name="connsiteY8" fmla="*/ 4950 h 10000"/>
                <a:gd name="connsiteX9" fmla="*/ 1279 w 10000"/>
                <a:gd name="connsiteY9" fmla="*/ 6021 h 10000"/>
                <a:gd name="connsiteX10" fmla="*/ 977 w 10000"/>
                <a:gd name="connsiteY10" fmla="*/ 7008 h 10000"/>
                <a:gd name="connsiteX11" fmla="*/ 1639 w 10000"/>
                <a:gd name="connsiteY11" fmla="*/ 6561 h 10000"/>
                <a:gd name="connsiteX12" fmla="*/ 2472 w 10000"/>
                <a:gd name="connsiteY12" fmla="*/ 6153 h 10000"/>
                <a:gd name="connsiteX13" fmla="*/ 3244 w 10000"/>
                <a:gd name="connsiteY13" fmla="*/ 6145 h 10000"/>
                <a:gd name="connsiteX14" fmla="*/ 4270 w 10000"/>
                <a:gd name="connsiteY14" fmla="*/ 7665 h 10000"/>
                <a:gd name="connsiteX15" fmla="*/ 5945 w 10000"/>
                <a:gd name="connsiteY15" fmla="*/ 8415 h 10000"/>
                <a:gd name="connsiteX16" fmla="*/ 5818 w 10000"/>
                <a:gd name="connsiteY16" fmla="*/ 9313 h 10000"/>
                <a:gd name="connsiteX17" fmla="*/ 7125 w 10000"/>
                <a:gd name="connsiteY17" fmla="*/ 10000 h 10000"/>
                <a:gd name="connsiteX18" fmla="*/ 8183 w 10000"/>
                <a:gd name="connsiteY18" fmla="*/ 9115 h 10000"/>
                <a:gd name="connsiteX19" fmla="*/ 8800 w 10000"/>
                <a:gd name="connsiteY19" fmla="*/ 8418 h 10000"/>
                <a:gd name="connsiteX20" fmla="*/ 8971 w 10000"/>
                <a:gd name="connsiteY20" fmla="*/ 7158 h 10000"/>
                <a:gd name="connsiteX21" fmla="*/ 9977 w 10000"/>
                <a:gd name="connsiteY21" fmla="*/ 7233 h 10000"/>
                <a:gd name="connsiteX22" fmla="*/ 10000 w 10000"/>
                <a:gd name="connsiteY22" fmla="*/ 6315 h 10000"/>
                <a:gd name="connsiteX23" fmla="*/ 7023 w 10000"/>
                <a:gd name="connsiteY23" fmla="*/ 4012 h 10000"/>
                <a:gd name="connsiteX24" fmla="*/ 6496 w 10000"/>
                <a:gd name="connsiteY24" fmla="*/ 2156 h 10000"/>
                <a:gd name="connsiteX25" fmla="*/ 5153 w 10000"/>
                <a:gd name="connsiteY25" fmla="*/ 1758 h 10000"/>
                <a:gd name="connsiteX26" fmla="*/ 4267 w 10000"/>
                <a:gd name="connsiteY26" fmla="*/ 191 h 10000"/>
                <a:gd name="connsiteX0" fmla="*/ 4267 w 10000"/>
                <a:gd name="connsiteY0" fmla="*/ 191 h 10000"/>
                <a:gd name="connsiteX1" fmla="*/ 3371 w 10000"/>
                <a:gd name="connsiteY1" fmla="*/ 393 h 10000"/>
                <a:gd name="connsiteX2" fmla="*/ 3154 w 10000"/>
                <a:gd name="connsiteY2" fmla="*/ 1663 h 10000"/>
                <a:gd name="connsiteX3" fmla="*/ 2194 w 10000"/>
                <a:gd name="connsiteY3" fmla="*/ 1776 h 10000"/>
                <a:gd name="connsiteX4" fmla="*/ 1564 w 10000"/>
                <a:gd name="connsiteY4" fmla="*/ 0 h 10000"/>
                <a:gd name="connsiteX5" fmla="*/ 791 w 10000"/>
                <a:gd name="connsiteY5" fmla="*/ 448 h 10000"/>
                <a:gd name="connsiteX6" fmla="*/ 23 w 10000"/>
                <a:gd name="connsiteY6" fmla="*/ 1417 h 10000"/>
                <a:gd name="connsiteX7" fmla="*/ 251 w 10000"/>
                <a:gd name="connsiteY7" fmla="*/ 3900 h 10000"/>
                <a:gd name="connsiteX8" fmla="*/ 1160 w 10000"/>
                <a:gd name="connsiteY8" fmla="*/ 4950 h 10000"/>
                <a:gd name="connsiteX9" fmla="*/ 1279 w 10000"/>
                <a:gd name="connsiteY9" fmla="*/ 6021 h 10000"/>
                <a:gd name="connsiteX10" fmla="*/ 977 w 10000"/>
                <a:gd name="connsiteY10" fmla="*/ 7008 h 10000"/>
                <a:gd name="connsiteX11" fmla="*/ 1639 w 10000"/>
                <a:gd name="connsiteY11" fmla="*/ 6561 h 10000"/>
                <a:gd name="connsiteX12" fmla="*/ 2472 w 10000"/>
                <a:gd name="connsiteY12" fmla="*/ 6153 h 10000"/>
                <a:gd name="connsiteX13" fmla="*/ 3244 w 10000"/>
                <a:gd name="connsiteY13" fmla="*/ 6145 h 10000"/>
                <a:gd name="connsiteX14" fmla="*/ 4270 w 10000"/>
                <a:gd name="connsiteY14" fmla="*/ 7352 h 10000"/>
                <a:gd name="connsiteX15" fmla="*/ 5945 w 10000"/>
                <a:gd name="connsiteY15" fmla="*/ 8415 h 10000"/>
                <a:gd name="connsiteX16" fmla="*/ 5818 w 10000"/>
                <a:gd name="connsiteY16" fmla="*/ 9313 h 10000"/>
                <a:gd name="connsiteX17" fmla="*/ 7125 w 10000"/>
                <a:gd name="connsiteY17" fmla="*/ 10000 h 10000"/>
                <a:gd name="connsiteX18" fmla="*/ 8183 w 10000"/>
                <a:gd name="connsiteY18" fmla="*/ 9115 h 10000"/>
                <a:gd name="connsiteX19" fmla="*/ 8800 w 10000"/>
                <a:gd name="connsiteY19" fmla="*/ 8418 h 10000"/>
                <a:gd name="connsiteX20" fmla="*/ 8971 w 10000"/>
                <a:gd name="connsiteY20" fmla="*/ 7158 h 10000"/>
                <a:gd name="connsiteX21" fmla="*/ 9977 w 10000"/>
                <a:gd name="connsiteY21" fmla="*/ 7233 h 10000"/>
                <a:gd name="connsiteX22" fmla="*/ 10000 w 10000"/>
                <a:gd name="connsiteY22" fmla="*/ 6315 h 10000"/>
                <a:gd name="connsiteX23" fmla="*/ 7023 w 10000"/>
                <a:gd name="connsiteY23" fmla="*/ 4012 h 10000"/>
                <a:gd name="connsiteX24" fmla="*/ 6496 w 10000"/>
                <a:gd name="connsiteY24" fmla="*/ 2156 h 10000"/>
                <a:gd name="connsiteX25" fmla="*/ 5153 w 10000"/>
                <a:gd name="connsiteY25" fmla="*/ 1758 h 10000"/>
                <a:gd name="connsiteX26" fmla="*/ 4267 w 10000"/>
                <a:gd name="connsiteY26" fmla="*/ 191 h 10000"/>
                <a:gd name="connsiteX0" fmla="*/ 4267 w 10000"/>
                <a:gd name="connsiteY0" fmla="*/ 191 h 10000"/>
                <a:gd name="connsiteX1" fmla="*/ 3371 w 10000"/>
                <a:gd name="connsiteY1" fmla="*/ 393 h 10000"/>
                <a:gd name="connsiteX2" fmla="*/ 3154 w 10000"/>
                <a:gd name="connsiteY2" fmla="*/ 1663 h 10000"/>
                <a:gd name="connsiteX3" fmla="*/ 2194 w 10000"/>
                <a:gd name="connsiteY3" fmla="*/ 1776 h 10000"/>
                <a:gd name="connsiteX4" fmla="*/ 1564 w 10000"/>
                <a:gd name="connsiteY4" fmla="*/ 0 h 10000"/>
                <a:gd name="connsiteX5" fmla="*/ 791 w 10000"/>
                <a:gd name="connsiteY5" fmla="*/ 448 h 10000"/>
                <a:gd name="connsiteX6" fmla="*/ 23 w 10000"/>
                <a:gd name="connsiteY6" fmla="*/ 1417 h 10000"/>
                <a:gd name="connsiteX7" fmla="*/ 251 w 10000"/>
                <a:gd name="connsiteY7" fmla="*/ 3900 h 10000"/>
                <a:gd name="connsiteX8" fmla="*/ 1160 w 10000"/>
                <a:gd name="connsiteY8" fmla="*/ 4950 h 10000"/>
                <a:gd name="connsiteX9" fmla="*/ 977 w 10000"/>
                <a:gd name="connsiteY9" fmla="*/ 7008 h 10000"/>
                <a:gd name="connsiteX10" fmla="*/ 1639 w 10000"/>
                <a:gd name="connsiteY10" fmla="*/ 6561 h 10000"/>
                <a:gd name="connsiteX11" fmla="*/ 2472 w 10000"/>
                <a:gd name="connsiteY11" fmla="*/ 6153 h 10000"/>
                <a:gd name="connsiteX12" fmla="*/ 3244 w 10000"/>
                <a:gd name="connsiteY12" fmla="*/ 6145 h 10000"/>
                <a:gd name="connsiteX13" fmla="*/ 4270 w 10000"/>
                <a:gd name="connsiteY13" fmla="*/ 7352 h 10000"/>
                <a:gd name="connsiteX14" fmla="*/ 5945 w 10000"/>
                <a:gd name="connsiteY14" fmla="*/ 8415 h 10000"/>
                <a:gd name="connsiteX15" fmla="*/ 5818 w 10000"/>
                <a:gd name="connsiteY15" fmla="*/ 9313 h 10000"/>
                <a:gd name="connsiteX16" fmla="*/ 7125 w 10000"/>
                <a:gd name="connsiteY16" fmla="*/ 10000 h 10000"/>
                <a:gd name="connsiteX17" fmla="*/ 8183 w 10000"/>
                <a:gd name="connsiteY17" fmla="*/ 9115 h 10000"/>
                <a:gd name="connsiteX18" fmla="*/ 8800 w 10000"/>
                <a:gd name="connsiteY18" fmla="*/ 8418 h 10000"/>
                <a:gd name="connsiteX19" fmla="*/ 8971 w 10000"/>
                <a:gd name="connsiteY19" fmla="*/ 7158 h 10000"/>
                <a:gd name="connsiteX20" fmla="*/ 9977 w 10000"/>
                <a:gd name="connsiteY20" fmla="*/ 7233 h 10000"/>
                <a:gd name="connsiteX21" fmla="*/ 10000 w 10000"/>
                <a:gd name="connsiteY21" fmla="*/ 6315 h 10000"/>
                <a:gd name="connsiteX22" fmla="*/ 7023 w 10000"/>
                <a:gd name="connsiteY22" fmla="*/ 4012 h 10000"/>
                <a:gd name="connsiteX23" fmla="*/ 6496 w 10000"/>
                <a:gd name="connsiteY23" fmla="*/ 2156 h 10000"/>
                <a:gd name="connsiteX24" fmla="*/ 5153 w 10000"/>
                <a:gd name="connsiteY24" fmla="*/ 1758 h 10000"/>
                <a:gd name="connsiteX25" fmla="*/ 4267 w 10000"/>
                <a:gd name="connsiteY25" fmla="*/ 191 h 10000"/>
                <a:gd name="connsiteX0" fmla="*/ 4267 w 10000"/>
                <a:gd name="connsiteY0" fmla="*/ 191 h 10000"/>
                <a:gd name="connsiteX1" fmla="*/ 3371 w 10000"/>
                <a:gd name="connsiteY1" fmla="*/ 393 h 10000"/>
                <a:gd name="connsiteX2" fmla="*/ 3154 w 10000"/>
                <a:gd name="connsiteY2" fmla="*/ 1663 h 10000"/>
                <a:gd name="connsiteX3" fmla="*/ 2194 w 10000"/>
                <a:gd name="connsiteY3" fmla="*/ 1776 h 10000"/>
                <a:gd name="connsiteX4" fmla="*/ 1564 w 10000"/>
                <a:gd name="connsiteY4" fmla="*/ 0 h 10000"/>
                <a:gd name="connsiteX5" fmla="*/ 791 w 10000"/>
                <a:gd name="connsiteY5" fmla="*/ 448 h 10000"/>
                <a:gd name="connsiteX6" fmla="*/ 23 w 10000"/>
                <a:gd name="connsiteY6" fmla="*/ 1417 h 10000"/>
                <a:gd name="connsiteX7" fmla="*/ 251 w 10000"/>
                <a:gd name="connsiteY7" fmla="*/ 3900 h 10000"/>
                <a:gd name="connsiteX8" fmla="*/ 1160 w 10000"/>
                <a:gd name="connsiteY8" fmla="*/ 4950 h 10000"/>
                <a:gd name="connsiteX9" fmla="*/ 237 w 10000"/>
                <a:gd name="connsiteY9" fmla="*/ 9408 h 10000"/>
                <a:gd name="connsiteX10" fmla="*/ 1639 w 10000"/>
                <a:gd name="connsiteY10" fmla="*/ 6561 h 10000"/>
                <a:gd name="connsiteX11" fmla="*/ 2472 w 10000"/>
                <a:gd name="connsiteY11" fmla="*/ 6153 h 10000"/>
                <a:gd name="connsiteX12" fmla="*/ 3244 w 10000"/>
                <a:gd name="connsiteY12" fmla="*/ 6145 h 10000"/>
                <a:gd name="connsiteX13" fmla="*/ 4270 w 10000"/>
                <a:gd name="connsiteY13" fmla="*/ 7352 h 10000"/>
                <a:gd name="connsiteX14" fmla="*/ 5945 w 10000"/>
                <a:gd name="connsiteY14" fmla="*/ 8415 h 10000"/>
                <a:gd name="connsiteX15" fmla="*/ 5818 w 10000"/>
                <a:gd name="connsiteY15" fmla="*/ 9313 h 10000"/>
                <a:gd name="connsiteX16" fmla="*/ 7125 w 10000"/>
                <a:gd name="connsiteY16" fmla="*/ 10000 h 10000"/>
                <a:gd name="connsiteX17" fmla="*/ 8183 w 10000"/>
                <a:gd name="connsiteY17" fmla="*/ 9115 h 10000"/>
                <a:gd name="connsiteX18" fmla="*/ 8800 w 10000"/>
                <a:gd name="connsiteY18" fmla="*/ 8418 h 10000"/>
                <a:gd name="connsiteX19" fmla="*/ 8971 w 10000"/>
                <a:gd name="connsiteY19" fmla="*/ 7158 h 10000"/>
                <a:gd name="connsiteX20" fmla="*/ 9977 w 10000"/>
                <a:gd name="connsiteY20" fmla="*/ 7233 h 10000"/>
                <a:gd name="connsiteX21" fmla="*/ 10000 w 10000"/>
                <a:gd name="connsiteY21" fmla="*/ 6315 h 10000"/>
                <a:gd name="connsiteX22" fmla="*/ 7023 w 10000"/>
                <a:gd name="connsiteY22" fmla="*/ 4012 h 10000"/>
                <a:gd name="connsiteX23" fmla="*/ 6496 w 10000"/>
                <a:gd name="connsiteY23" fmla="*/ 2156 h 10000"/>
                <a:gd name="connsiteX24" fmla="*/ 5153 w 10000"/>
                <a:gd name="connsiteY24" fmla="*/ 1758 h 10000"/>
                <a:gd name="connsiteX25" fmla="*/ 4267 w 10000"/>
                <a:gd name="connsiteY25" fmla="*/ 191 h 10000"/>
                <a:gd name="connsiteX0" fmla="*/ 4271 w 10004"/>
                <a:gd name="connsiteY0" fmla="*/ 191 h 10000"/>
                <a:gd name="connsiteX1" fmla="*/ 3375 w 10004"/>
                <a:gd name="connsiteY1" fmla="*/ 393 h 10000"/>
                <a:gd name="connsiteX2" fmla="*/ 3158 w 10004"/>
                <a:gd name="connsiteY2" fmla="*/ 1663 h 10000"/>
                <a:gd name="connsiteX3" fmla="*/ 2198 w 10004"/>
                <a:gd name="connsiteY3" fmla="*/ 1776 h 10000"/>
                <a:gd name="connsiteX4" fmla="*/ 1568 w 10004"/>
                <a:gd name="connsiteY4" fmla="*/ 0 h 10000"/>
                <a:gd name="connsiteX5" fmla="*/ 795 w 10004"/>
                <a:gd name="connsiteY5" fmla="*/ 448 h 10000"/>
                <a:gd name="connsiteX6" fmla="*/ 27 w 10004"/>
                <a:gd name="connsiteY6" fmla="*/ 1417 h 10000"/>
                <a:gd name="connsiteX7" fmla="*/ 188 w 10004"/>
                <a:gd name="connsiteY7" fmla="*/ 353 h 10000"/>
                <a:gd name="connsiteX8" fmla="*/ 1164 w 10004"/>
                <a:gd name="connsiteY8" fmla="*/ 4950 h 10000"/>
                <a:gd name="connsiteX9" fmla="*/ 241 w 10004"/>
                <a:gd name="connsiteY9" fmla="*/ 9408 h 10000"/>
                <a:gd name="connsiteX10" fmla="*/ 1643 w 10004"/>
                <a:gd name="connsiteY10" fmla="*/ 6561 h 10000"/>
                <a:gd name="connsiteX11" fmla="*/ 2476 w 10004"/>
                <a:gd name="connsiteY11" fmla="*/ 6153 h 10000"/>
                <a:gd name="connsiteX12" fmla="*/ 3248 w 10004"/>
                <a:gd name="connsiteY12" fmla="*/ 6145 h 10000"/>
                <a:gd name="connsiteX13" fmla="*/ 4274 w 10004"/>
                <a:gd name="connsiteY13" fmla="*/ 7352 h 10000"/>
                <a:gd name="connsiteX14" fmla="*/ 5949 w 10004"/>
                <a:gd name="connsiteY14" fmla="*/ 8415 h 10000"/>
                <a:gd name="connsiteX15" fmla="*/ 5822 w 10004"/>
                <a:gd name="connsiteY15" fmla="*/ 9313 h 10000"/>
                <a:gd name="connsiteX16" fmla="*/ 7129 w 10004"/>
                <a:gd name="connsiteY16" fmla="*/ 10000 h 10000"/>
                <a:gd name="connsiteX17" fmla="*/ 8187 w 10004"/>
                <a:gd name="connsiteY17" fmla="*/ 9115 h 10000"/>
                <a:gd name="connsiteX18" fmla="*/ 8804 w 10004"/>
                <a:gd name="connsiteY18" fmla="*/ 8418 h 10000"/>
                <a:gd name="connsiteX19" fmla="*/ 8975 w 10004"/>
                <a:gd name="connsiteY19" fmla="*/ 7158 h 10000"/>
                <a:gd name="connsiteX20" fmla="*/ 9981 w 10004"/>
                <a:gd name="connsiteY20" fmla="*/ 7233 h 10000"/>
                <a:gd name="connsiteX21" fmla="*/ 10004 w 10004"/>
                <a:gd name="connsiteY21" fmla="*/ 6315 h 10000"/>
                <a:gd name="connsiteX22" fmla="*/ 7027 w 10004"/>
                <a:gd name="connsiteY22" fmla="*/ 4012 h 10000"/>
                <a:gd name="connsiteX23" fmla="*/ 6500 w 10004"/>
                <a:gd name="connsiteY23" fmla="*/ 2156 h 10000"/>
                <a:gd name="connsiteX24" fmla="*/ 5157 w 10004"/>
                <a:gd name="connsiteY24" fmla="*/ 1758 h 10000"/>
                <a:gd name="connsiteX25" fmla="*/ 4271 w 10004"/>
                <a:gd name="connsiteY25" fmla="*/ 191 h 10000"/>
                <a:gd name="connsiteX0" fmla="*/ 4271 w 10004"/>
                <a:gd name="connsiteY0" fmla="*/ 191 h 10000"/>
                <a:gd name="connsiteX1" fmla="*/ 3375 w 10004"/>
                <a:gd name="connsiteY1" fmla="*/ 393 h 10000"/>
                <a:gd name="connsiteX2" fmla="*/ 3158 w 10004"/>
                <a:gd name="connsiteY2" fmla="*/ 1663 h 10000"/>
                <a:gd name="connsiteX3" fmla="*/ 2198 w 10004"/>
                <a:gd name="connsiteY3" fmla="*/ 1776 h 10000"/>
                <a:gd name="connsiteX4" fmla="*/ 1568 w 10004"/>
                <a:gd name="connsiteY4" fmla="*/ 0 h 10000"/>
                <a:gd name="connsiteX5" fmla="*/ 795 w 10004"/>
                <a:gd name="connsiteY5" fmla="*/ 448 h 10000"/>
                <a:gd name="connsiteX6" fmla="*/ 27 w 10004"/>
                <a:gd name="connsiteY6" fmla="*/ 1417 h 10000"/>
                <a:gd name="connsiteX7" fmla="*/ 188 w 10004"/>
                <a:gd name="connsiteY7" fmla="*/ 353 h 10000"/>
                <a:gd name="connsiteX8" fmla="*/ 289 w 10004"/>
                <a:gd name="connsiteY8" fmla="*/ 2655 h 10000"/>
                <a:gd name="connsiteX9" fmla="*/ 241 w 10004"/>
                <a:gd name="connsiteY9" fmla="*/ 9408 h 10000"/>
                <a:gd name="connsiteX10" fmla="*/ 1643 w 10004"/>
                <a:gd name="connsiteY10" fmla="*/ 6561 h 10000"/>
                <a:gd name="connsiteX11" fmla="*/ 2476 w 10004"/>
                <a:gd name="connsiteY11" fmla="*/ 6153 h 10000"/>
                <a:gd name="connsiteX12" fmla="*/ 3248 w 10004"/>
                <a:gd name="connsiteY12" fmla="*/ 6145 h 10000"/>
                <a:gd name="connsiteX13" fmla="*/ 4274 w 10004"/>
                <a:gd name="connsiteY13" fmla="*/ 7352 h 10000"/>
                <a:gd name="connsiteX14" fmla="*/ 5949 w 10004"/>
                <a:gd name="connsiteY14" fmla="*/ 8415 h 10000"/>
                <a:gd name="connsiteX15" fmla="*/ 5822 w 10004"/>
                <a:gd name="connsiteY15" fmla="*/ 9313 h 10000"/>
                <a:gd name="connsiteX16" fmla="*/ 7129 w 10004"/>
                <a:gd name="connsiteY16" fmla="*/ 10000 h 10000"/>
                <a:gd name="connsiteX17" fmla="*/ 8187 w 10004"/>
                <a:gd name="connsiteY17" fmla="*/ 9115 h 10000"/>
                <a:gd name="connsiteX18" fmla="*/ 8804 w 10004"/>
                <a:gd name="connsiteY18" fmla="*/ 8418 h 10000"/>
                <a:gd name="connsiteX19" fmla="*/ 8975 w 10004"/>
                <a:gd name="connsiteY19" fmla="*/ 7158 h 10000"/>
                <a:gd name="connsiteX20" fmla="*/ 9981 w 10004"/>
                <a:gd name="connsiteY20" fmla="*/ 7233 h 10000"/>
                <a:gd name="connsiteX21" fmla="*/ 10004 w 10004"/>
                <a:gd name="connsiteY21" fmla="*/ 6315 h 10000"/>
                <a:gd name="connsiteX22" fmla="*/ 7027 w 10004"/>
                <a:gd name="connsiteY22" fmla="*/ 4012 h 10000"/>
                <a:gd name="connsiteX23" fmla="*/ 6500 w 10004"/>
                <a:gd name="connsiteY23" fmla="*/ 2156 h 10000"/>
                <a:gd name="connsiteX24" fmla="*/ 5157 w 10004"/>
                <a:gd name="connsiteY24" fmla="*/ 1758 h 10000"/>
                <a:gd name="connsiteX25" fmla="*/ 4271 w 10004"/>
                <a:gd name="connsiteY25" fmla="*/ 191 h 10000"/>
                <a:gd name="connsiteX0" fmla="*/ 4271 w 10004"/>
                <a:gd name="connsiteY0" fmla="*/ 191 h 10000"/>
                <a:gd name="connsiteX1" fmla="*/ 3375 w 10004"/>
                <a:gd name="connsiteY1" fmla="*/ 393 h 10000"/>
                <a:gd name="connsiteX2" fmla="*/ 3158 w 10004"/>
                <a:gd name="connsiteY2" fmla="*/ 1663 h 10000"/>
                <a:gd name="connsiteX3" fmla="*/ 2198 w 10004"/>
                <a:gd name="connsiteY3" fmla="*/ 1776 h 10000"/>
                <a:gd name="connsiteX4" fmla="*/ 1568 w 10004"/>
                <a:gd name="connsiteY4" fmla="*/ 0 h 10000"/>
                <a:gd name="connsiteX5" fmla="*/ 795 w 10004"/>
                <a:gd name="connsiteY5" fmla="*/ 448 h 10000"/>
                <a:gd name="connsiteX6" fmla="*/ 27 w 10004"/>
                <a:gd name="connsiteY6" fmla="*/ 1417 h 10000"/>
                <a:gd name="connsiteX7" fmla="*/ 188 w 10004"/>
                <a:gd name="connsiteY7" fmla="*/ 353 h 10000"/>
                <a:gd name="connsiteX8" fmla="*/ 289 w 10004"/>
                <a:gd name="connsiteY8" fmla="*/ 2655 h 10000"/>
                <a:gd name="connsiteX9" fmla="*/ 241 w 10004"/>
                <a:gd name="connsiteY9" fmla="*/ 9408 h 10000"/>
                <a:gd name="connsiteX10" fmla="*/ 1643 w 10004"/>
                <a:gd name="connsiteY10" fmla="*/ 6561 h 10000"/>
                <a:gd name="connsiteX11" fmla="*/ 2476 w 10004"/>
                <a:gd name="connsiteY11" fmla="*/ 6153 h 10000"/>
                <a:gd name="connsiteX12" fmla="*/ 3248 w 10004"/>
                <a:gd name="connsiteY12" fmla="*/ 6145 h 10000"/>
                <a:gd name="connsiteX13" fmla="*/ 4274 w 10004"/>
                <a:gd name="connsiteY13" fmla="*/ 7352 h 10000"/>
                <a:gd name="connsiteX14" fmla="*/ 5949 w 10004"/>
                <a:gd name="connsiteY14" fmla="*/ 8415 h 10000"/>
                <a:gd name="connsiteX15" fmla="*/ 5822 w 10004"/>
                <a:gd name="connsiteY15" fmla="*/ 9313 h 10000"/>
                <a:gd name="connsiteX16" fmla="*/ 7129 w 10004"/>
                <a:gd name="connsiteY16" fmla="*/ 10000 h 10000"/>
                <a:gd name="connsiteX17" fmla="*/ 8187 w 10004"/>
                <a:gd name="connsiteY17" fmla="*/ 9115 h 10000"/>
                <a:gd name="connsiteX18" fmla="*/ 8804 w 10004"/>
                <a:gd name="connsiteY18" fmla="*/ 8418 h 10000"/>
                <a:gd name="connsiteX19" fmla="*/ 8975 w 10004"/>
                <a:gd name="connsiteY19" fmla="*/ 7158 h 10000"/>
                <a:gd name="connsiteX20" fmla="*/ 9981 w 10004"/>
                <a:gd name="connsiteY20" fmla="*/ 7233 h 10000"/>
                <a:gd name="connsiteX21" fmla="*/ 10004 w 10004"/>
                <a:gd name="connsiteY21" fmla="*/ 6315 h 10000"/>
                <a:gd name="connsiteX22" fmla="*/ 7027 w 10004"/>
                <a:gd name="connsiteY22" fmla="*/ 4012 h 10000"/>
                <a:gd name="connsiteX23" fmla="*/ 6500 w 10004"/>
                <a:gd name="connsiteY23" fmla="*/ 2156 h 10000"/>
                <a:gd name="connsiteX24" fmla="*/ 5157 w 10004"/>
                <a:gd name="connsiteY24" fmla="*/ 1758 h 10000"/>
                <a:gd name="connsiteX25" fmla="*/ 4271 w 10004"/>
                <a:gd name="connsiteY25" fmla="*/ 191 h 10000"/>
                <a:gd name="connsiteX0" fmla="*/ 4271 w 10004"/>
                <a:gd name="connsiteY0" fmla="*/ 191 h 10000"/>
                <a:gd name="connsiteX1" fmla="*/ 3375 w 10004"/>
                <a:gd name="connsiteY1" fmla="*/ 393 h 10000"/>
                <a:gd name="connsiteX2" fmla="*/ 3158 w 10004"/>
                <a:gd name="connsiteY2" fmla="*/ 1663 h 10000"/>
                <a:gd name="connsiteX3" fmla="*/ 2198 w 10004"/>
                <a:gd name="connsiteY3" fmla="*/ 1776 h 10000"/>
                <a:gd name="connsiteX4" fmla="*/ 1568 w 10004"/>
                <a:gd name="connsiteY4" fmla="*/ 0 h 10000"/>
                <a:gd name="connsiteX5" fmla="*/ 795 w 10004"/>
                <a:gd name="connsiteY5" fmla="*/ 448 h 10000"/>
                <a:gd name="connsiteX6" fmla="*/ 27 w 10004"/>
                <a:gd name="connsiteY6" fmla="*/ 1417 h 10000"/>
                <a:gd name="connsiteX7" fmla="*/ 188 w 10004"/>
                <a:gd name="connsiteY7" fmla="*/ 353 h 10000"/>
                <a:gd name="connsiteX8" fmla="*/ 222 w 10004"/>
                <a:gd name="connsiteY8" fmla="*/ 2968 h 10000"/>
                <a:gd name="connsiteX9" fmla="*/ 241 w 10004"/>
                <a:gd name="connsiteY9" fmla="*/ 9408 h 10000"/>
                <a:gd name="connsiteX10" fmla="*/ 1643 w 10004"/>
                <a:gd name="connsiteY10" fmla="*/ 6561 h 10000"/>
                <a:gd name="connsiteX11" fmla="*/ 2476 w 10004"/>
                <a:gd name="connsiteY11" fmla="*/ 6153 h 10000"/>
                <a:gd name="connsiteX12" fmla="*/ 3248 w 10004"/>
                <a:gd name="connsiteY12" fmla="*/ 6145 h 10000"/>
                <a:gd name="connsiteX13" fmla="*/ 4274 w 10004"/>
                <a:gd name="connsiteY13" fmla="*/ 7352 h 10000"/>
                <a:gd name="connsiteX14" fmla="*/ 5949 w 10004"/>
                <a:gd name="connsiteY14" fmla="*/ 8415 h 10000"/>
                <a:gd name="connsiteX15" fmla="*/ 5822 w 10004"/>
                <a:gd name="connsiteY15" fmla="*/ 9313 h 10000"/>
                <a:gd name="connsiteX16" fmla="*/ 7129 w 10004"/>
                <a:gd name="connsiteY16" fmla="*/ 10000 h 10000"/>
                <a:gd name="connsiteX17" fmla="*/ 8187 w 10004"/>
                <a:gd name="connsiteY17" fmla="*/ 9115 h 10000"/>
                <a:gd name="connsiteX18" fmla="*/ 8804 w 10004"/>
                <a:gd name="connsiteY18" fmla="*/ 8418 h 10000"/>
                <a:gd name="connsiteX19" fmla="*/ 8975 w 10004"/>
                <a:gd name="connsiteY19" fmla="*/ 7158 h 10000"/>
                <a:gd name="connsiteX20" fmla="*/ 9981 w 10004"/>
                <a:gd name="connsiteY20" fmla="*/ 7233 h 10000"/>
                <a:gd name="connsiteX21" fmla="*/ 10004 w 10004"/>
                <a:gd name="connsiteY21" fmla="*/ 6315 h 10000"/>
                <a:gd name="connsiteX22" fmla="*/ 7027 w 10004"/>
                <a:gd name="connsiteY22" fmla="*/ 4012 h 10000"/>
                <a:gd name="connsiteX23" fmla="*/ 6500 w 10004"/>
                <a:gd name="connsiteY23" fmla="*/ 2156 h 10000"/>
                <a:gd name="connsiteX24" fmla="*/ 5157 w 10004"/>
                <a:gd name="connsiteY24" fmla="*/ 1758 h 10000"/>
                <a:gd name="connsiteX25" fmla="*/ 4271 w 10004"/>
                <a:gd name="connsiteY25" fmla="*/ 191 h 10000"/>
                <a:gd name="connsiteX0" fmla="*/ 4271 w 10004"/>
                <a:gd name="connsiteY0" fmla="*/ 191 h 10000"/>
                <a:gd name="connsiteX1" fmla="*/ 3375 w 10004"/>
                <a:gd name="connsiteY1" fmla="*/ 393 h 10000"/>
                <a:gd name="connsiteX2" fmla="*/ 3158 w 10004"/>
                <a:gd name="connsiteY2" fmla="*/ 1663 h 10000"/>
                <a:gd name="connsiteX3" fmla="*/ 2198 w 10004"/>
                <a:gd name="connsiteY3" fmla="*/ 1776 h 10000"/>
                <a:gd name="connsiteX4" fmla="*/ 1568 w 10004"/>
                <a:gd name="connsiteY4" fmla="*/ 0 h 10000"/>
                <a:gd name="connsiteX5" fmla="*/ 795 w 10004"/>
                <a:gd name="connsiteY5" fmla="*/ 448 h 10000"/>
                <a:gd name="connsiteX6" fmla="*/ 27 w 10004"/>
                <a:gd name="connsiteY6" fmla="*/ 1417 h 10000"/>
                <a:gd name="connsiteX7" fmla="*/ 188 w 10004"/>
                <a:gd name="connsiteY7" fmla="*/ 353 h 10000"/>
                <a:gd name="connsiteX8" fmla="*/ 222 w 10004"/>
                <a:gd name="connsiteY8" fmla="*/ 2968 h 10000"/>
                <a:gd name="connsiteX9" fmla="*/ 241 w 10004"/>
                <a:gd name="connsiteY9" fmla="*/ 9408 h 10000"/>
                <a:gd name="connsiteX10" fmla="*/ 1643 w 10004"/>
                <a:gd name="connsiteY10" fmla="*/ 6561 h 10000"/>
                <a:gd name="connsiteX11" fmla="*/ 2476 w 10004"/>
                <a:gd name="connsiteY11" fmla="*/ 6153 h 10000"/>
                <a:gd name="connsiteX12" fmla="*/ 3248 w 10004"/>
                <a:gd name="connsiteY12" fmla="*/ 6145 h 10000"/>
                <a:gd name="connsiteX13" fmla="*/ 4274 w 10004"/>
                <a:gd name="connsiteY13" fmla="*/ 7352 h 10000"/>
                <a:gd name="connsiteX14" fmla="*/ 5949 w 10004"/>
                <a:gd name="connsiteY14" fmla="*/ 8415 h 10000"/>
                <a:gd name="connsiteX15" fmla="*/ 5822 w 10004"/>
                <a:gd name="connsiteY15" fmla="*/ 9313 h 10000"/>
                <a:gd name="connsiteX16" fmla="*/ 7129 w 10004"/>
                <a:gd name="connsiteY16" fmla="*/ 10000 h 10000"/>
                <a:gd name="connsiteX17" fmla="*/ 8187 w 10004"/>
                <a:gd name="connsiteY17" fmla="*/ 9115 h 10000"/>
                <a:gd name="connsiteX18" fmla="*/ 8804 w 10004"/>
                <a:gd name="connsiteY18" fmla="*/ 8418 h 10000"/>
                <a:gd name="connsiteX19" fmla="*/ 8975 w 10004"/>
                <a:gd name="connsiteY19" fmla="*/ 7158 h 10000"/>
                <a:gd name="connsiteX20" fmla="*/ 9981 w 10004"/>
                <a:gd name="connsiteY20" fmla="*/ 7233 h 10000"/>
                <a:gd name="connsiteX21" fmla="*/ 10004 w 10004"/>
                <a:gd name="connsiteY21" fmla="*/ 6315 h 10000"/>
                <a:gd name="connsiteX22" fmla="*/ 7027 w 10004"/>
                <a:gd name="connsiteY22" fmla="*/ 4012 h 10000"/>
                <a:gd name="connsiteX23" fmla="*/ 6500 w 10004"/>
                <a:gd name="connsiteY23" fmla="*/ 2156 h 10000"/>
                <a:gd name="connsiteX24" fmla="*/ 5157 w 10004"/>
                <a:gd name="connsiteY24" fmla="*/ 1758 h 10000"/>
                <a:gd name="connsiteX25" fmla="*/ 4271 w 10004"/>
                <a:gd name="connsiteY25" fmla="*/ 191 h 10000"/>
                <a:gd name="connsiteX0" fmla="*/ 4271 w 10004"/>
                <a:gd name="connsiteY0" fmla="*/ 191 h 10000"/>
                <a:gd name="connsiteX1" fmla="*/ 3375 w 10004"/>
                <a:gd name="connsiteY1" fmla="*/ 393 h 10000"/>
                <a:gd name="connsiteX2" fmla="*/ 3158 w 10004"/>
                <a:gd name="connsiteY2" fmla="*/ 1663 h 10000"/>
                <a:gd name="connsiteX3" fmla="*/ 2198 w 10004"/>
                <a:gd name="connsiteY3" fmla="*/ 1776 h 10000"/>
                <a:gd name="connsiteX4" fmla="*/ 1568 w 10004"/>
                <a:gd name="connsiteY4" fmla="*/ 0 h 10000"/>
                <a:gd name="connsiteX5" fmla="*/ 795 w 10004"/>
                <a:gd name="connsiteY5" fmla="*/ 448 h 10000"/>
                <a:gd name="connsiteX6" fmla="*/ 27 w 10004"/>
                <a:gd name="connsiteY6" fmla="*/ 1417 h 10000"/>
                <a:gd name="connsiteX7" fmla="*/ 188 w 10004"/>
                <a:gd name="connsiteY7" fmla="*/ 353 h 10000"/>
                <a:gd name="connsiteX8" fmla="*/ 222 w 10004"/>
                <a:gd name="connsiteY8" fmla="*/ 2968 h 10000"/>
                <a:gd name="connsiteX9" fmla="*/ 241 w 10004"/>
                <a:gd name="connsiteY9" fmla="*/ 9408 h 10000"/>
                <a:gd name="connsiteX10" fmla="*/ 1643 w 10004"/>
                <a:gd name="connsiteY10" fmla="*/ 6561 h 10000"/>
                <a:gd name="connsiteX11" fmla="*/ 2476 w 10004"/>
                <a:gd name="connsiteY11" fmla="*/ 6153 h 10000"/>
                <a:gd name="connsiteX12" fmla="*/ 3248 w 10004"/>
                <a:gd name="connsiteY12" fmla="*/ 6145 h 10000"/>
                <a:gd name="connsiteX13" fmla="*/ 4274 w 10004"/>
                <a:gd name="connsiteY13" fmla="*/ 7352 h 10000"/>
                <a:gd name="connsiteX14" fmla="*/ 5949 w 10004"/>
                <a:gd name="connsiteY14" fmla="*/ 8415 h 10000"/>
                <a:gd name="connsiteX15" fmla="*/ 5822 w 10004"/>
                <a:gd name="connsiteY15" fmla="*/ 9313 h 10000"/>
                <a:gd name="connsiteX16" fmla="*/ 7129 w 10004"/>
                <a:gd name="connsiteY16" fmla="*/ 10000 h 10000"/>
                <a:gd name="connsiteX17" fmla="*/ 8187 w 10004"/>
                <a:gd name="connsiteY17" fmla="*/ 9115 h 10000"/>
                <a:gd name="connsiteX18" fmla="*/ 8804 w 10004"/>
                <a:gd name="connsiteY18" fmla="*/ 8418 h 10000"/>
                <a:gd name="connsiteX19" fmla="*/ 8975 w 10004"/>
                <a:gd name="connsiteY19" fmla="*/ 7158 h 10000"/>
                <a:gd name="connsiteX20" fmla="*/ 9981 w 10004"/>
                <a:gd name="connsiteY20" fmla="*/ 7233 h 10000"/>
                <a:gd name="connsiteX21" fmla="*/ 10004 w 10004"/>
                <a:gd name="connsiteY21" fmla="*/ 6315 h 10000"/>
                <a:gd name="connsiteX22" fmla="*/ 7027 w 10004"/>
                <a:gd name="connsiteY22" fmla="*/ 4012 h 10000"/>
                <a:gd name="connsiteX23" fmla="*/ 6500 w 10004"/>
                <a:gd name="connsiteY23" fmla="*/ 2156 h 10000"/>
                <a:gd name="connsiteX24" fmla="*/ 5157 w 10004"/>
                <a:gd name="connsiteY24" fmla="*/ 1758 h 10000"/>
                <a:gd name="connsiteX25" fmla="*/ 4271 w 10004"/>
                <a:gd name="connsiteY25" fmla="*/ 191 h 10000"/>
                <a:gd name="connsiteX0" fmla="*/ 4271 w 10004"/>
                <a:gd name="connsiteY0" fmla="*/ 191 h 10000"/>
                <a:gd name="connsiteX1" fmla="*/ 3375 w 10004"/>
                <a:gd name="connsiteY1" fmla="*/ 393 h 10000"/>
                <a:gd name="connsiteX2" fmla="*/ 3158 w 10004"/>
                <a:gd name="connsiteY2" fmla="*/ 1663 h 10000"/>
                <a:gd name="connsiteX3" fmla="*/ 2198 w 10004"/>
                <a:gd name="connsiteY3" fmla="*/ 1776 h 10000"/>
                <a:gd name="connsiteX4" fmla="*/ 1568 w 10004"/>
                <a:gd name="connsiteY4" fmla="*/ 0 h 10000"/>
                <a:gd name="connsiteX5" fmla="*/ 795 w 10004"/>
                <a:gd name="connsiteY5" fmla="*/ 448 h 10000"/>
                <a:gd name="connsiteX6" fmla="*/ 27 w 10004"/>
                <a:gd name="connsiteY6" fmla="*/ 1417 h 10000"/>
                <a:gd name="connsiteX7" fmla="*/ 188 w 10004"/>
                <a:gd name="connsiteY7" fmla="*/ 353 h 10000"/>
                <a:gd name="connsiteX8" fmla="*/ 289 w 10004"/>
                <a:gd name="connsiteY8" fmla="*/ 2968 h 10000"/>
                <a:gd name="connsiteX9" fmla="*/ 241 w 10004"/>
                <a:gd name="connsiteY9" fmla="*/ 9408 h 10000"/>
                <a:gd name="connsiteX10" fmla="*/ 1643 w 10004"/>
                <a:gd name="connsiteY10" fmla="*/ 6561 h 10000"/>
                <a:gd name="connsiteX11" fmla="*/ 2476 w 10004"/>
                <a:gd name="connsiteY11" fmla="*/ 6153 h 10000"/>
                <a:gd name="connsiteX12" fmla="*/ 3248 w 10004"/>
                <a:gd name="connsiteY12" fmla="*/ 6145 h 10000"/>
                <a:gd name="connsiteX13" fmla="*/ 4274 w 10004"/>
                <a:gd name="connsiteY13" fmla="*/ 7352 h 10000"/>
                <a:gd name="connsiteX14" fmla="*/ 5949 w 10004"/>
                <a:gd name="connsiteY14" fmla="*/ 8415 h 10000"/>
                <a:gd name="connsiteX15" fmla="*/ 5822 w 10004"/>
                <a:gd name="connsiteY15" fmla="*/ 9313 h 10000"/>
                <a:gd name="connsiteX16" fmla="*/ 7129 w 10004"/>
                <a:gd name="connsiteY16" fmla="*/ 10000 h 10000"/>
                <a:gd name="connsiteX17" fmla="*/ 8187 w 10004"/>
                <a:gd name="connsiteY17" fmla="*/ 9115 h 10000"/>
                <a:gd name="connsiteX18" fmla="*/ 8804 w 10004"/>
                <a:gd name="connsiteY18" fmla="*/ 8418 h 10000"/>
                <a:gd name="connsiteX19" fmla="*/ 8975 w 10004"/>
                <a:gd name="connsiteY19" fmla="*/ 7158 h 10000"/>
                <a:gd name="connsiteX20" fmla="*/ 9981 w 10004"/>
                <a:gd name="connsiteY20" fmla="*/ 7233 h 10000"/>
                <a:gd name="connsiteX21" fmla="*/ 10004 w 10004"/>
                <a:gd name="connsiteY21" fmla="*/ 6315 h 10000"/>
                <a:gd name="connsiteX22" fmla="*/ 7027 w 10004"/>
                <a:gd name="connsiteY22" fmla="*/ 4012 h 10000"/>
                <a:gd name="connsiteX23" fmla="*/ 6500 w 10004"/>
                <a:gd name="connsiteY23" fmla="*/ 2156 h 10000"/>
                <a:gd name="connsiteX24" fmla="*/ 5157 w 10004"/>
                <a:gd name="connsiteY24" fmla="*/ 1758 h 10000"/>
                <a:gd name="connsiteX25" fmla="*/ 4271 w 10004"/>
                <a:gd name="connsiteY25" fmla="*/ 191 h 10000"/>
                <a:gd name="connsiteX0" fmla="*/ 4271 w 10004"/>
                <a:gd name="connsiteY0" fmla="*/ 191 h 10000"/>
                <a:gd name="connsiteX1" fmla="*/ 3375 w 10004"/>
                <a:gd name="connsiteY1" fmla="*/ 393 h 10000"/>
                <a:gd name="connsiteX2" fmla="*/ 3158 w 10004"/>
                <a:gd name="connsiteY2" fmla="*/ 1663 h 10000"/>
                <a:gd name="connsiteX3" fmla="*/ 2198 w 10004"/>
                <a:gd name="connsiteY3" fmla="*/ 1776 h 10000"/>
                <a:gd name="connsiteX4" fmla="*/ 1568 w 10004"/>
                <a:gd name="connsiteY4" fmla="*/ 0 h 10000"/>
                <a:gd name="connsiteX5" fmla="*/ 795 w 10004"/>
                <a:gd name="connsiteY5" fmla="*/ 448 h 10000"/>
                <a:gd name="connsiteX6" fmla="*/ 27 w 10004"/>
                <a:gd name="connsiteY6" fmla="*/ 1417 h 10000"/>
                <a:gd name="connsiteX7" fmla="*/ 188 w 10004"/>
                <a:gd name="connsiteY7" fmla="*/ 353 h 10000"/>
                <a:gd name="connsiteX8" fmla="*/ 289 w 10004"/>
                <a:gd name="connsiteY8" fmla="*/ 2968 h 10000"/>
                <a:gd name="connsiteX9" fmla="*/ 241 w 10004"/>
                <a:gd name="connsiteY9" fmla="*/ 9408 h 10000"/>
                <a:gd name="connsiteX10" fmla="*/ 1643 w 10004"/>
                <a:gd name="connsiteY10" fmla="*/ 6561 h 10000"/>
                <a:gd name="connsiteX11" fmla="*/ 2476 w 10004"/>
                <a:gd name="connsiteY11" fmla="*/ 6153 h 10000"/>
                <a:gd name="connsiteX12" fmla="*/ 3248 w 10004"/>
                <a:gd name="connsiteY12" fmla="*/ 6145 h 10000"/>
                <a:gd name="connsiteX13" fmla="*/ 4274 w 10004"/>
                <a:gd name="connsiteY13" fmla="*/ 7352 h 10000"/>
                <a:gd name="connsiteX14" fmla="*/ 5949 w 10004"/>
                <a:gd name="connsiteY14" fmla="*/ 8415 h 10000"/>
                <a:gd name="connsiteX15" fmla="*/ 5822 w 10004"/>
                <a:gd name="connsiteY15" fmla="*/ 9313 h 10000"/>
                <a:gd name="connsiteX16" fmla="*/ 7129 w 10004"/>
                <a:gd name="connsiteY16" fmla="*/ 10000 h 10000"/>
                <a:gd name="connsiteX17" fmla="*/ 8187 w 10004"/>
                <a:gd name="connsiteY17" fmla="*/ 9115 h 10000"/>
                <a:gd name="connsiteX18" fmla="*/ 8804 w 10004"/>
                <a:gd name="connsiteY18" fmla="*/ 8418 h 10000"/>
                <a:gd name="connsiteX19" fmla="*/ 8975 w 10004"/>
                <a:gd name="connsiteY19" fmla="*/ 7158 h 10000"/>
                <a:gd name="connsiteX20" fmla="*/ 9981 w 10004"/>
                <a:gd name="connsiteY20" fmla="*/ 7233 h 10000"/>
                <a:gd name="connsiteX21" fmla="*/ 10004 w 10004"/>
                <a:gd name="connsiteY21" fmla="*/ 6315 h 10000"/>
                <a:gd name="connsiteX22" fmla="*/ 7027 w 10004"/>
                <a:gd name="connsiteY22" fmla="*/ 4012 h 10000"/>
                <a:gd name="connsiteX23" fmla="*/ 6500 w 10004"/>
                <a:gd name="connsiteY23" fmla="*/ 2156 h 10000"/>
                <a:gd name="connsiteX24" fmla="*/ 5157 w 10004"/>
                <a:gd name="connsiteY24" fmla="*/ 1758 h 10000"/>
                <a:gd name="connsiteX25" fmla="*/ 4271 w 10004"/>
                <a:gd name="connsiteY25" fmla="*/ 191 h 10000"/>
                <a:gd name="connsiteX0" fmla="*/ 4271 w 10004"/>
                <a:gd name="connsiteY0" fmla="*/ 191 h 10015"/>
                <a:gd name="connsiteX1" fmla="*/ 3375 w 10004"/>
                <a:gd name="connsiteY1" fmla="*/ 393 h 10015"/>
                <a:gd name="connsiteX2" fmla="*/ 3158 w 10004"/>
                <a:gd name="connsiteY2" fmla="*/ 1663 h 10015"/>
                <a:gd name="connsiteX3" fmla="*/ 2198 w 10004"/>
                <a:gd name="connsiteY3" fmla="*/ 1776 h 10015"/>
                <a:gd name="connsiteX4" fmla="*/ 1568 w 10004"/>
                <a:gd name="connsiteY4" fmla="*/ 0 h 10015"/>
                <a:gd name="connsiteX5" fmla="*/ 795 w 10004"/>
                <a:gd name="connsiteY5" fmla="*/ 448 h 10015"/>
                <a:gd name="connsiteX6" fmla="*/ 27 w 10004"/>
                <a:gd name="connsiteY6" fmla="*/ 1417 h 10015"/>
                <a:gd name="connsiteX7" fmla="*/ 188 w 10004"/>
                <a:gd name="connsiteY7" fmla="*/ 353 h 10015"/>
                <a:gd name="connsiteX8" fmla="*/ 289 w 10004"/>
                <a:gd name="connsiteY8" fmla="*/ 2968 h 10015"/>
                <a:gd name="connsiteX9" fmla="*/ 241 w 10004"/>
                <a:gd name="connsiteY9" fmla="*/ 9408 h 10015"/>
                <a:gd name="connsiteX10" fmla="*/ 835 w 10004"/>
                <a:gd name="connsiteY10" fmla="*/ 9378 h 10015"/>
                <a:gd name="connsiteX11" fmla="*/ 2476 w 10004"/>
                <a:gd name="connsiteY11" fmla="*/ 6153 h 10015"/>
                <a:gd name="connsiteX12" fmla="*/ 3248 w 10004"/>
                <a:gd name="connsiteY12" fmla="*/ 6145 h 10015"/>
                <a:gd name="connsiteX13" fmla="*/ 4274 w 10004"/>
                <a:gd name="connsiteY13" fmla="*/ 7352 h 10015"/>
                <a:gd name="connsiteX14" fmla="*/ 5949 w 10004"/>
                <a:gd name="connsiteY14" fmla="*/ 8415 h 10015"/>
                <a:gd name="connsiteX15" fmla="*/ 5822 w 10004"/>
                <a:gd name="connsiteY15" fmla="*/ 9313 h 10015"/>
                <a:gd name="connsiteX16" fmla="*/ 7129 w 10004"/>
                <a:gd name="connsiteY16" fmla="*/ 10000 h 10015"/>
                <a:gd name="connsiteX17" fmla="*/ 8187 w 10004"/>
                <a:gd name="connsiteY17" fmla="*/ 9115 h 10015"/>
                <a:gd name="connsiteX18" fmla="*/ 8804 w 10004"/>
                <a:gd name="connsiteY18" fmla="*/ 8418 h 10015"/>
                <a:gd name="connsiteX19" fmla="*/ 8975 w 10004"/>
                <a:gd name="connsiteY19" fmla="*/ 7158 h 10015"/>
                <a:gd name="connsiteX20" fmla="*/ 9981 w 10004"/>
                <a:gd name="connsiteY20" fmla="*/ 7233 h 10015"/>
                <a:gd name="connsiteX21" fmla="*/ 10004 w 10004"/>
                <a:gd name="connsiteY21" fmla="*/ 6315 h 10015"/>
                <a:gd name="connsiteX22" fmla="*/ 7027 w 10004"/>
                <a:gd name="connsiteY22" fmla="*/ 4012 h 10015"/>
                <a:gd name="connsiteX23" fmla="*/ 6500 w 10004"/>
                <a:gd name="connsiteY23" fmla="*/ 2156 h 10015"/>
                <a:gd name="connsiteX24" fmla="*/ 5157 w 10004"/>
                <a:gd name="connsiteY24" fmla="*/ 1758 h 10015"/>
                <a:gd name="connsiteX25" fmla="*/ 4271 w 10004"/>
                <a:gd name="connsiteY25" fmla="*/ 191 h 10015"/>
                <a:gd name="connsiteX0" fmla="*/ 4271 w 10004"/>
                <a:gd name="connsiteY0" fmla="*/ 191 h 10000"/>
                <a:gd name="connsiteX1" fmla="*/ 3375 w 10004"/>
                <a:gd name="connsiteY1" fmla="*/ 393 h 10000"/>
                <a:gd name="connsiteX2" fmla="*/ 3158 w 10004"/>
                <a:gd name="connsiteY2" fmla="*/ 1663 h 10000"/>
                <a:gd name="connsiteX3" fmla="*/ 2198 w 10004"/>
                <a:gd name="connsiteY3" fmla="*/ 1776 h 10000"/>
                <a:gd name="connsiteX4" fmla="*/ 1568 w 10004"/>
                <a:gd name="connsiteY4" fmla="*/ 0 h 10000"/>
                <a:gd name="connsiteX5" fmla="*/ 795 w 10004"/>
                <a:gd name="connsiteY5" fmla="*/ 448 h 10000"/>
                <a:gd name="connsiteX6" fmla="*/ 27 w 10004"/>
                <a:gd name="connsiteY6" fmla="*/ 1417 h 10000"/>
                <a:gd name="connsiteX7" fmla="*/ 188 w 10004"/>
                <a:gd name="connsiteY7" fmla="*/ 353 h 10000"/>
                <a:gd name="connsiteX8" fmla="*/ 289 w 10004"/>
                <a:gd name="connsiteY8" fmla="*/ 2968 h 10000"/>
                <a:gd name="connsiteX9" fmla="*/ 241 w 10004"/>
                <a:gd name="connsiteY9" fmla="*/ 9408 h 10000"/>
                <a:gd name="connsiteX10" fmla="*/ 835 w 10004"/>
                <a:gd name="connsiteY10" fmla="*/ 9378 h 10000"/>
                <a:gd name="connsiteX11" fmla="*/ 928 w 10004"/>
                <a:gd name="connsiteY11" fmla="*/ 8240 h 10000"/>
                <a:gd name="connsiteX12" fmla="*/ 3248 w 10004"/>
                <a:gd name="connsiteY12" fmla="*/ 6145 h 10000"/>
                <a:gd name="connsiteX13" fmla="*/ 4274 w 10004"/>
                <a:gd name="connsiteY13" fmla="*/ 7352 h 10000"/>
                <a:gd name="connsiteX14" fmla="*/ 5949 w 10004"/>
                <a:gd name="connsiteY14" fmla="*/ 8415 h 10000"/>
                <a:gd name="connsiteX15" fmla="*/ 5822 w 10004"/>
                <a:gd name="connsiteY15" fmla="*/ 9313 h 10000"/>
                <a:gd name="connsiteX16" fmla="*/ 7129 w 10004"/>
                <a:gd name="connsiteY16" fmla="*/ 10000 h 10000"/>
                <a:gd name="connsiteX17" fmla="*/ 8187 w 10004"/>
                <a:gd name="connsiteY17" fmla="*/ 9115 h 10000"/>
                <a:gd name="connsiteX18" fmla="*/ 8804 w 10004"/>
                <a:gd name="connsiteY18" fmla="*/ 8418 h 10000"/>
                <a:gd name="connsiteX19" fmla="*/ 8975 w 10004"/>
                <a:gd name="connsiteY19" fmla="*/ 7158 h 10000"/>
                <a:gd name="connsiteX20" fmla="*/ 9981 w 10004"/>
                <a:gd name="connsiteY20" fmla="*/ 7233 h 10000"/>
                <a:gd name="connsiteX21" fmla="*/ 10004 w 10004"/>
                <a:gd name="connsiteY21" fmla="*/ 6315 h 10000"/>
                <a:gd name="connsiteX22" fmla="*/ 7027 w 10004"/>
                <a:gd name="connsiteY22" fmla="*/ 4012 h 10000"/>
                <a:gd name="connsiteX23" fmla="*/ 6500 w 10004"/>
                <a:gd name="connsiteY23" fmla="*/ 2156 h 10000"/>
                <a:gd name="connsiteX24" fmla="*/ 5157 w 10004"/>
                <a:gd name="connsiteY24" fmla="*/ 1758 h 10000"/>
                <a:gd name="connsiteX25" fmla="*/ 4271 w 10004"/>
                <a:gd name="connsiteY25" fmla="*/ 191 h 10000"/>
                <a:gd name="connsiteX0" fmla="*/ 4271 w 10004"/>
                <a:gd name="connsiteY0" fmla="*/ 191 h 10000"/>
                <a:gd name="connsiteX1" fmla="*/ 3375 w 10004"/>
                <a:gd name="connsiteY1" fmla="*/ 393 h 10000"/>
                <a:gd name="connsiteX2" fmla="*/ 3158 w 10004"/>
                <a:gd name="connsiteY2" fmla="*/ 1663 h 10000"/>
                <a:gd name="connsiteX3" fmla="*/ 2198 w 10004"/>
                <a:gd name="connsiteY3" fmla="*/ 1776 h 10000"/>
                <a:gd name="connsiteX4" fmla="*/ 1568 w 10004"/>
                <a:gd name="connsiteY4" fmla="*/ 0 h 10000"/>
                <a:gd name="connsiteX5" fmla="*/ 795 w 10004"/>
                <a:gd name="connsiteY5" fmla="*/ 448 h 10000"/>
                <a:gd name="connsiteX6" fmla="*/ 27 w 10004"/>
                <a:gd name="connsiteY6" fmla="*/ 1417 h 10000"/>
                <a:gd name="connsiteX7" fmla="*/ 188 w 10004"/>
                <a:gd name="connsiteY7" fmla="*/ 353 h 10000"/>
                <a:gd name="connsiteX8" fmla="*/ 289 w 10004"/>
                <a:gd name="connsiteY8" fmla="*/ 2968 h 10000"/>
                <a:gd name="connsiteX9" fmla="*/ 241 w 10004"/>
                <a:gd name="connsiteY9" fmla="*/ 9408 h 10000"/>
                <a:gd name="connsiteX10" fmla="*/ 835 w 10004"/>
                <a:gd name="connsiteY10" fmla="*/ 9378 h 10000"/>
                <a:gd name="connsiteX11" fmla="*/ 928 w 10004"/>
                <a:gd name="connsiteY11" fmla="*/ 8240 h 10000"/>
                <a:gd name="connsiteX12" fmla="*/ 1700 w 10004"/>
                <a:gd name="connsiteY12" fmla="*/ 7710 h 10000"/>
                <a:gd name="connsiteX13" fmla="*/ 4274 w 10004"/>
                <a:gd name="connsiteY13" fmla="*/ 7352 h 10000"/>
                <a:gd name="connsiteX14" fmla="*/ 5949 w 10004"/>
                <a:gd name="connsiteY14" fmla="*/ 8415 h 10000"/>
                <a:gd name="connsiteX15" fmla="*/ 5822 w 10004"/>
                <a:gd name="connsiteY15" fmla="*/ 9313 h 10000"/>
                <a:gd name="connsiteX16" fmla="*/ 7129 w 10004"/>
                <a:gd name="connsiteY16" fmla="*/ 10000 h 10000"/>
                <a:gd name="connsiteX17" fmla="*/ 8187 w 10004"/>
                <a:gd name="connsiteY17" fmla="*/ 9115 h 10000"/>
                <a:gd name="connsiteX18" fmla="*/ 8804 w 10004"/>
                <a:gd name="connsiteY18" fmla="*/ 8418 h 10000"/>
                <a:gd name="connsiteX19" fmla="*/ 8975 w 10004"/>
                <a:gd name="connsiteY19" fmla="*/ 7158 h 10000"/>
                <a:gd name="connsiteX20" fmla="*/ 9981 w 10004"/>
                <a:gd name="connsiteY20" fmla="*/ 7233 h 10000"/>
                <a:gd name="connsiteX21" fmla="*/ 10004 w 10004"/>
                <a:gd name="connsiteY21" fmla="*/ 6315 h 10000"/>
                <a:gd name="connsiteX22" fmla="*/ 7027 w 10004"/>
                <a:gd name="connsiteY22" fmla="*/ 4012 h 10000"/>
                <a:gd name="connsiteX23" fmla="*/ 6500 w 10004"/>
                <a:gd name="connsiteY23" fmla="*/ 2156 h 10000"/>
                <a:gd name="connsiteX24" fmla="*/ 5157 w 10004"/>
                <a:gd name="connsiteY24" fmla="*/ 1758 h 10000"/>
                <a:gd name="connsiteX25" fmla="*/ 4271 w 10004"/>
                <a:gd name="connsiteY25" fmla="*/ 191 h 10000"/>
                <a:gd name="connsiteX0" fmla="*/ 4271 w 10004"/>
                <a:gd name="connsiteY0" fmla="*/ 191 h 10000"/>
                <a:gd name="connsiteX1" fmla="*/ 3375 w 10004"/>
                <a:gd name="connsiteY1" fmla="*/ 393 h 10000"/>
                <a:gd name="connsiteX2" fmla="*/ 3158 w 10004"/>
                <a:gd name="connsiteY2" fmla="*/ 1663 h 10000"/>
                <a:gd name="connsiteX3" fmla="*/ 2198 w 10004"/>
                <a:gd name="connsiteY3" fmla="*/ 1776 h 10000"/>
                <a:gd name="connsiteX4" fmla="*/ 1568 w 10004"/>
                <a:gd name="connsiteY4" fmla="*/ 0 h 10000"/>
                <a:gd name="connsiteX5" fmla="*/ 795 w 10004"/>
                <a:gd name="connsiteY5" fmla="*/ 448 h 10000"/>
                <a:gd name="connsiteX6" fmla="*/ 27 w 10004"/>
                <a:gd name="connsiteY6" fmla="*/ 1417 h 10000"/>
                <a:gd name="connsiteX7" fmla="*/ 188 w 10004"/>
                <a:gd name="connsiteY7" fmla="*/ 353 h 10000"/>
                <a:gd name="connsiteX8" fmla="*/ 289 w 10004"/>
                <a:gd name="connsiteY8" fmla="*/ 2968 h 10000"/>
                <a:gd name="connsiteX9" fmla="*/ 241 w 10004"/>
                <a:gd name="connsiteY9" fmla="*/ 9408 h 10000"/>
                <a:gd name="connsiteX10" fmla="*/ 835 w 10004"/>
                <a:gd name="connsiteY10" fmla="*/ 9378 h 10000"/>
                <a:gd name="connsiteX11" fmla="*/ 928 w 10004"/>
                <a:gd name="connsiteY11" fmla="*/ 8240 h 10000"/>
                <a:gd name="connsiteX12" fmla="*/ 1700 w 10004"/>
                <a:gd name="connsiteY12" fmla="*/ 7710 h 10000"/>
                <a:gd name="connsiteX13" fmla="*/ 2591 w 10004"/>
                <a:gd name="connsiteY13" fmla="*/ 9126 h 10000"/>
                <a:gd name="connsiteX14" fmla="*/ 5949 w 10004"/>
                <a:gd name="connsiteY14" fmla="*/ 8415 h 10000"/>
                <a:gd name="connsiteX15" fmla="*/ 5822 w 10004"/>
                <a:gd name="connsiteY15" fmla="*/ 9313 h 10000"/>
                <a:gd name="connsiteX16" fmla="*/ 7129 w 10004"/>
                <a:gd name="connsiteY16" fmla="*/ 10000 h 10000"/>
                <a:gd name="connsiteX17" fmla="*/ 8187 w 10004"/>
                <a:gd name="connsiteY17" fmla="*/ 9115 h 10000"/>
                <a:gd name="connsiteX18" fmla="*/ 8804 w 10004"/>
                <a:gd name="connsiteY18" fmla="*/ 8418 h 10000"/>
                <a:gd name="connsiteX19" fmla="*/ 8975 w 10004"/>
                <a:gd name="connsiteY19" fmla="*/ 7158 h 10000"/>
                <a:gd name="connsiteX20" fmla="*/ 9981 w 10004"/>
                <a:gd name="connsiteY20" fmla="*/ 7233 h 10000"/>
                <a:gd name="connsiteX21" fmla="*/ 10004 w 10004"/>
                <a:gd name="connsiteY21" fmla="*/ 6315 h 10000"/>
                <a:gd name="connsiteX22" fmla="*/ 7027 w 10004"/>
                <a:gd name="connsiteY22" fmla="*/ 4012 h 10000"/>
                <a:gd name="connsiteX23" fmla="*/ 6500 w 10004"/>
                <a:gd name="connsiteY23" fmla="*/ 2156 h 10000"/>
                <a:gd name="connsiteX24" fmla="*/ 5157 w 10004"/>
                <a:gd name="connsiteY24" fmla="*/ 1758 h 10000"/>
                <a:gd name="connsiteX25" fmla="*/ 4271 w 10004"/>
                <a:gd name="connsiteY25" fmla="*/ 191 h 10000"/>
                <a:gd name="connsiteX0" fmla="*/ 4271 w 10004"/>
                <a:gd name="connsiteY0" fmla="*/ 191 h 10000"/>
                <a:gd name="connsiteX1" fmla="*/ 3375 w 10004"/>
                <a:gd name="connsiteY1" fmla="*/ 393 h 10000"/>
                <a:gd name="connsiteX2" fmla="*/ 3158 w 10004"/>
                <a:gd name="connsiteY2" fmla="*/ 1663 h 10000"/>
                <a:gd name="connsiteX3" fmla="*/ 2198 w 10004"/>
                <a:gd name="connsiteY3" fmla="*/ 1776 h 10000"/>
                <a:gd name="connsiteX4" fmla="*/ 1568 w 10004"/>
                <a:gd name="connsiteY4" fmla="*/ 0 h 10000"/>
                <a:gd name="connsiteX5" fmla="*/ 795 w 10004"/>
                <a:gd name="connsiteY5" fmla="*/ 448 h 10000"/>
                <a:gd name="connsiteX6" fmla="*/ 27 w 10004"/>
                <a:gd name="connsiteY6" fmla="*/ 1417 h 10000"/>
                <a:gd name="connsiteX7" fmla="*/ 188 w 10004"/>
                <a:gd name="connsiteY7" fmla="*/ 353 h 10000"/>
                <a:gd name="connsiteX8" fmla="*/ 289 w 10004"/>
                <a:gd name="connsiteY8" fmla="*/ 2968 h 10000"/>
                <a:gd name="connsiteX9" fmla="*/ 241 w 10004"/>
                <a:gd name="connsiteY9" fmla="*/ 9408 h 10000"/>
                <a:gd name="connsiteX10" fmla="*/ 835 w 10004"/>
                <a:gd name="connsiteY10" fmla="*/ 9378 h 10000"/>
                <a:gd name="connsiteX11" fmla="*/ 928 w 10004"/>
                <a:gd name="connsiteY11" fmla="*/ 8240 h 10000"/>
                <a:gd name="connsiteX12" fmla="*/ 1700 w 10004"/>
                <a:gd name="connsiteY12" fmla="*/ 7710 h 10000"/>
                <a:gd name="connsiteX13" fmla="*/ 2591 w 10004"/>
                <a:gd name="connsiteY13" fmla="*/ 9126 h 10000"/>
                <a:gd name="connsiteX14" fmla="*/ 5949 w 10004"/>
                <a:gd name="connsiteY14" fmla="*/ 8415 h 10000"/>
                <a:gd name="connsiteX15" fmla="*/ 5822 w 10004"/>
                <a:gd name="connsiteY15" fmla="*/ 9313 h 10000"/>
                <a:gd name="connsiteX16" fmla="*/ 7129 w 10004"/>
                <a:gd name="connsiteY16" fmla="*/ 10000 h 10000"/>
                <a:gd name="connsiteX17" fmla="*/ 8187 w 10004"/>
                <a:gd name="connsiteY17" fmla="*/ 9115 h 10000"/>
                <a:gd name="connsiteX18" fmla="*/ 8804 w 10004"/>
                <a:gd name="connsiteY18" fmla="*/ 8418 h 10000"/>
                <a:gd name="connsiteX19" fmla="*/ 8975 w 10004"/>
                <a:gd name="connsiteY19" fmla="*/ 7158 h 10000"/>
                <a:gd name="connsiteX20" fmla="*/ 9981 w 10004"/>
                <a:gd name="connsiteY20" fmla="*/ 7233 h 10000"/>
                <a:gd name="connsiteX21" fmla="*/ 10004 w 10004"/>
                <a:gd name="connsiteY21" fmla="*/ 6315 h 10000"/>
                <a:gd name="connsiteX22" fmla="*/ 7027 w 10004"/>
                <a:gd name="connsiteY22" fmla="*/ 4012 h 10000"/>
                <a:gd name="connsiteX23" fmla="*/ 6500 w 10004"/>
                <a:gd name="connsiteY23" fmla="*/ 2156 h 10000"/>
                <a:gd name="connsiteX24" fmla="*/ 5157 w 10004"/>
                <a:gd name="connsiteY24" fmla="*/ 1758 h 10000"/>
                <a:gd name="connsiteX25" fmla="*/ 4271 w 10004"/>
                <a:gd name="connsiteY25" fmla="*/ 191 h 10000"/>
                <a:gd name="connsiteX0" fmla="*/ 4271 w 10004"/>
                <a:gd name="connsiteY0" fmla="*/ 191 h 10000"/>
                <a:gd name="connsiteX1" fmla="*/ 3375 w 10004"/>
                <a:gd name="connsiteY1" fmla="*/ 393 h 10000"/>
                <a:gd name="connsiteX2" fmla="*/ 3158 w 10004"/>
                <a:gd name="connsiteY2" fmla="*/ 1663 h 10000"/>
                <a:gd name="connsiteX3" fmla="*/ 2198 w 10004"/>
                <a:gd name="connsiteY3" fmla="*/ 1776 h 10000"/>
                <a:gd name="connsiteX4" fmla="*/ 1568 w 10004"/>
                <a:gd name="connsiteY4" fmla="*/ 0 h 10000"/>
                <a:gd name="connsiteX5" fmla="*/ 795 w 10004"/>
                <a:gd name="connsiteY5" fmla="*/ 448 h 10000"/>
                <a:gd name="connsiteX6" fmla="*/ 27 w 10004"/>
                <a:gd name="connsiteY6" fmla="*/ 1417 h 10000"/>
                <a:gd name="connsiteX7" fmla="*/ 188 w 10004"/>
                <a:gd name="connsiteY7" fmla="*/ 353 h 10000"/>
                <a:gd name="connsiteX8" fmla="*/ 289 w 10004"/>
                <a:gd name="connsiteY8" fmla="*/ 2968 h 10000"/>
                <a:gd name="connsiteX9" fmla="*/ 241 w 10004"/>
                <a:gd name="connsiteY9" fmla="*/ 9408 h 10000"/>
                <a:gd name="connsiteX10" fmla="*/ 835 w 10004"/>
                <a:gd name="connsiteY10" fmla="*/ 9378 h 10000"/>
                <a:gd name="connsiteX11" fmla="*/ 928 w 10004"/>
                <a:gd name="connsiteY11" fmla="*/ 8240 h 10000"/>
                <a:gd name="connsiteX12" fmla="*/ 1700 w 10004"/>
                <a:gd name="connsiteY12" fmla="*/ 7710 h 10000"/>
                <a:gd name="connsiteX13" fmla="*/ 2591 w 10004"/>
                <a:gd name="connsiteY13" fmla="*/ 9126 h 10000"/>
                <a:gd name="connsiteX14" fmla="*/ 5949 w 10004"/>
                <a:gd name="connsiteY14" fmla="*/ 8415 h 10000"/>
                <a:gd name="connsiteX15" fmla="*/ 5822 w 10004"/>
                <a:gd name="connsiteY15" fmla="*/ 9313 h 10000"/>
                <a:gd name="connsiteX16" fmla="*/ 7129 w 10004"/>
                <a:gd name="connsiteY16" fmla="*/ 10000 h 10000"/>
                <a:gd name="connsiteX17" fmla="*/ 8187 w 10004"/>
                <a:gd name="connsiteY17" fmla="*/ 9115 h 10000"/>
                <a:gd name="connsiteX18" fmla="*/ 8804 w 10004"/>
                <a:gd name="connsiteY18" fmla="*/ 8418 h 10000"/>
                <a:gd name="connsiteX19" fmla="*/ 8975 w 10004"/>
                <a:gd name="connsiteY19" fmla="*/ 7158 h 10000"/>
                <a:gd name="connsiteX20" fmla="*/ 9981 w 10004"/>
                <a:gd name="connsiteY20" fmla="*/ 7233 h 10000"/>
                <a:gd name="connsiteX21" fmla="*/ 10004 w 10004"/>
                <a:gd name="connsiteY21" fmla="*/ 6315 h 10000"/>
                <a:gd name="connsiteX22" fmla="*/ 7027 w 10004"/>
                <a:gd name="connsiteY22" fmla="*/ 4012 h 10000"/>
                <a:gd name="connsiteX23" fmla="*/ 6500 w 10004"/>
                <a:gd name="connsiteY23" fmla="*/ 2156 h 10000"/>
                <a:gd name="connsiteX24" fmla="*/ 5157 w 10004"/>
                <a:gd name="connsiteY24" fmla="*/ 1758 h 10000"/>
                <a:gd name="connsiteX25" fmla="*/ 4271 w 10004"/>
                <a:gd name="connsiteY25" fmla="*/ 191 h 10000"/>
                <a:gd name="connsiteX0" fmla="*/ 4271 w 10004"/>
                <a:gd name="connsiteY0" fmla="*/ 191 h 10000"/>
                <a:gd name="connsiteX1" fmla="*/ 3375 w 10004"/>
                <a:gd name="connsiteY1" fmla="*/ 393 h 10000"/>
                <a:gd name="connsiteX2" fmla="*/ 3158 w 10004"/>
                <a:gd name="connsiteY2" fmla="*/ 1663 h 10000"/>
                <a:gd name="connsiteX3" fmla="*/ 2198 w 10004"/>
                <a:gd name="connsiteY3" fmla="*/ 1776 h 10000"/>
                <a:gd name="connsiteX4" fmla="*/ 1568 w 10004"/>
                <a:gd name="connsiteY4" fmla="*/ 0 h 10000"/>
                <a:gd name="connsiteX5" fmla="*/ 795 w 10004"/>
                <a:gd name="connsiteY5" fmla="*/ 448 h 10000"/>
                <a:gd name="connsiteX6" fmla="*/ 27 w 10004"/>
                <a:gd name="connsiteY6" fmla="*/ 1417 h 10000"/>
                <a:gd name="connsiteX7" fmla="*/ 188 w 10004"/>
                <a:gd name="connsiteY7" fmla="*/ 353 h 10000"/>
                <a:gd name="connsiteX8" fmla="*/ 289 w 10004"/>
                <a:gd name="connsiteY8" fmla="*/ 2968 h 10000"/>
                <a:gd name="connsiteX9" fmla="*/ 241 w 10004"/>
                <a:gd name="connsiteY9" fmla="*/ 9408 h 10000"/>
                <a:gd name="connsiteX10" fmla="*/ 835 w 10004"/>
                <a:gd name="connsiteY10" fmla="*/ 9378 h 10000"/>
                <a:gd name="connsiteX11" fmla="*/ 928 w 10004"/>
                <a:gd name="connsiteY11" fmla="*/ 8240 h 10000"/>
                <a:gd name="connsiteX12" fmla="*/ 1700 w 10004"/>
                <a:gd name="connsiteY12" fmla="*/ 7710 h 10000"/>
                <a:gd name="connsiteX13" fmla="*/ 2591 w 10004"/>
                <a:gd name="connsiteY13" fmla="*/ 9126 h 10000"/>
                <a:gd name="connsiteX14" fmla="*/ 5949 w 10004"/>
                <a:gd name="connsiteY14" fmla="*/ 8415 h 10000"/>
                <a:gd name="connsiteX15" fmla="*/ 5822 w 10004"/>
                <a:gd name="connsiteY15" fmla="*/ 9313 h 10000"/>
                <a:gd name="connsiteX16" fmla="*/ 7129 w 10004"/>
                <a:gd name="connsiteY16" fmla="*/ 10000 h 10000"/>
                <a:gd name="connsiteX17" fmla="*/ 8187 w 10004"/>
                <a:gd name="connsiteY17" fmla="*/ 9115 h 10000"/>
                <a:gd name="connsiteX18" fmla="*/ 8804 w 10004"/>
                <a:gd name="connsiteY18" fmla="*/ 8418 h 10000"/>
                <a:gd name="connsiteX19" fmla="*/ 8975 w 10004"/>
                <a:gd name="connsiteY19" fmla="*/ 7158 h 10000"/>
                <a:gd name="connsiteX20" fmla="*/ 9981 w 10004"/>
                <a:gd name="connsiteY20" fmla="*/ 7233 h 10000"/>
                <a:gd name="connsiteX21" fmla="*/ 10004 w 10004"/>
                <a:gd name="connsiteY21" fmla="*/ 6315 h 10000"/>
                <a:gd name="connsiteX22" fmla="*/ 7027 w 10004"/>
                <a:gd name="connsiteY22" fmla="*/ 4012 h 10000"/>
                <a:gd name="connsiteX23" fmla="*/ 6500 w 10004"/>
                <a:gd name="connsiteY23" fmla="*/ 2156 h 10000"/>
                <a:gd name="connsiteX24" fmla="*/ 5157 w 10004"/>
                <a:gd name="connsiteY24" fmla="*/ 1758 h 10000"/>
                <a:gd name="connsiteX25" fmla="*/ 4271 w 10004"/>
                <a:gd name="connsiteY25" fmla="*/ 191 h 10000"/>
                <a:gd name="connsiteX0" fmla="*/ 4271 w 10004"/>
                <a:gd name="connsiteY0" fmla="*/ 191 h 10000"/>
                <a:gd name="connsiteX1" fmla="*/ 3375 w 10004"/>
                <a:gd name="connsiteY1" fmla="*/ 393 h 10000"/>
                <a:gd name="connsiteX2" fmla="*/ 3158 w 10004"/>
                <a:gd name="connsiteY2" fmla="*/ 1663 h 10000"/>
                <a:gd name="connsiteX3" fmla="*/ 2198 w 10004"/>
                <a:gd name="connsiteY3" fmla="*/ 1776 h 10000"/>
                <a:gd name="connsiteX4" fmla="*/ 1568 w 10004"/>
                <a:gd name="connsiteY4" fmla="*/ 0 h 10000"/>
                <a:gd name="connsiteX5" fmla="*/ 795 w 10004"/>
                <a:gd name="connsiteY5" fmla="*/ 448 h 10000"/>
                <a:gd name="connsiteX6" fmla="*/ 27 w 10004"/>
                <a:gd name="connsiteY6" fmla="*/ 1417 h 10000"/>
                <a:gd name="connsiteX7" fmla="*/ 188 w 10004"/>
                <a:gd name="connsiteY7" fmla="*/ 353 h 10000"/>
                <a:gd name="connsiteX8" fmla="*/ 289 w 10004"/>
                <a:gd name="connsiteY8" fmla="*/ 2968 h 10000"/>
                <a:gd name="connsiteX9" fmla="*/ 241 w 10004"/>
                <a:gd name="connsiteY9" fmla="*/ 9408 h 10000"/>
                <a:gd name="connsiteX10" fmla="*/ 835 w 10004"/>
                <a:gd name="connsiteY10" fmla="*/ 9378 h 10000"/>
                <a:gd name="connsiteX11" fmla="*/ 928 w 10004"/>
                <a:gd name="connsiteY11" fmla="*/ 8240 h 10000"/>
                <a:gd name="connsiteX12" fmla="*/ 1700 w 10004"/>
                <a:gd name="connsiteY12" fmla="*/ 7710 h 10000"/>
                <a:gd name="connsiteX13" fmla="*/ 2591 w 10004"/>
                <a:gd name="connsiteY13" fmla="*/ 9126 h 10000"/>
                <a:gd name="connsiteX14" fmla="*/ 5949 w 10004"/>
                <a:gd name="connsiteY14" fmla="*/ 8415 h 10000"/>
                <a:gd name="connsiteX15" fmla="*/ 5822 w 10004"/>
                <a:gd name="connsiteY15" fmla="*/ 9313 h 10000"/>
                <a:gd name="connsiteX16" fmla="*/ 7129 w 10004"/>
                <a:gd name="connsiteY16" fmla="*/ 10000 h 10000"/>
                <a:gd name="connsiteX17" fmla="*/ 8187 w 10004"/>
                <a:gd name="connsiteY17" fmla="*/ 9115 h 10000"/>
                <a:gd name="connsiteX18" fmla="*/ 8804 w 10004"/>
                <a:gd name="connsiteY18" fmla="*/ 8418 h 10000"/>
                <a:gd name="connsiteX19" fmla="*/ 8975 w 10004"/>
                <a:gd name="connsiteY19" fmla="*/ 7158 h 10000"/>
                <a:gd name="connsiteX20" fmla="*/ 9981 w 10004"/>
                <a:gd name="connsiteY20" fmla="*/ 7233 h 10000"/>
                <a:gd name="connsiteX21" fmla="*/ 10004 w 10004"/>
                <a:gd name="connsiteY21" fmla="*/ 6315 h 10000"/>
                <a:gd name="connsiteX22" fmla="*/ 7027 w 10004"/>
                <a:gd name="connsiteY22" fmla="*/ 4012 h 10000"/>
                <a:gd name="connsiteX23" fmla="*/ 6500 w 10004"/>
                <a:gd name="connsiteY23" fmla="*/ 2156 h 10000"/>
                <a:gd name="connsiteX24" fmla="*/ 5157 w 10004"/>
                <a:gd name="connsiteY24" fmla="*/ 1758 h 10000"/>
                <a:gd name="connsiteX25" fmla="*/ 4271 w 10004"/>
                <a:gd name="connsiteY25" fmla="*/ 191 h 10000"/>
                <a:gd name="connsiteX0" fmla="*/ 4271 w 10004"/>
                <a:gd name="connsiteY0" fmla="*/ 191 h 10000"/>
                <a:gd name="connsiteX1" fmla="*/ 3375 w 10004"/>
                <a:gd name="connsiteY1" fmla="*/ 393 h 10000"/>
                <a:gd name="connsiteX2" fmla="*/ 3158 w 10004"/>
                <a:gd name="connsiteY2" fmla="*/ 1663 h 10000"/>
                <a:gd name="connsiteX3" fmla="*/ 2198 w 10004"/>
                <a:gd name="connsiteY3" fmla="*/ 1776 h 10000"/>
                <a:gd name="connsiteX4" fmla="*/ 1568 w 10004"/>
                <a:gd name="connsiteY4" fmla="*/ 0 h 10000"/>
                <a:gd name="connsiteX5" fmla="*/ 795 w 10004"/>
                <a:gd name="connsiteY5" fmla="*/ 448 h 10000"/>
                <a:gd name="connsiteX6" fmla="*/ 27 w 10004"/>
                <a:gd name="connsiteY6" fmla="*/ 1417 h 10000"/>
                <a:gd name="connsiteX7" fmla="*/ 188 w 10004"/>
                <a:gd name="connsiteY7" fmla="*/ 353 h 10000"/>
                <a:gd name="connsiteX8" fmla="*/ 289 w 10004"/>
                <a:gd name="connsiteY8" fmla="*/ 2968 h 10000"/>
                <a:gd name="connsiteX9" fmla="*/ 241 w 10004"/>
                <a:gd name="connsiteY9" fmla="*/ 9408 h 10000"/>
                <a:gd name="connsiteX10" fmla="*/ 835 w 10004"/>
                <a:gd name="connsiteY10" fmla="*/ 9378 h 10000"/>
                <a:gd name="connsiteX11" fmla="*/ 928 w 10004"/>
                <a:gd name="connsiteY11" fmla="*/ 8240 h 10000"/>
                <a:gd name="connsiteX12" fmla="*/ 1700 w 10004"/>
                <a:gd name="connsiteY12" fmla="*/ 7710 h 10000"/>
                <a:gd name="connsiteX13" fmla="*/ 2591 w 10004"/>
                <a:gd name="connsiteY13" fmla="*/ 9126 h 10000"/>
                <a:gd name="connsiteX14" fmla="*/ 5949 w 10004"/>
                <a:gd name="connsiteY14" fmla="*/ 8415 h 10000"/>
                <a:gd name="connsiteX15" fmla="*/ 5822 w 10004"/>
                <a:gd name="connsiteY15" fmla="*/ 9313 h 10000"/>
                <a:gd name="connsiteX16" fmla="*/ 7129 w 10004"/>
                <a:gd name="connsiteY16" fmla="*/ 10000 h 10000"/>
                <a:gd name="connsiteX17" fmla="*/ 8187 w 10004"/>
                <a:gd name="connsiteY17" fmla="*/ 9115 h 10000"/>
                <a:gd name="connsiteX18" fmla="*/ 8804 w 10004"/>
                <a:gd name="connsiteY18" fmla="*/ 8418 h 10000"/>
                <a:gd name="connsiteX19" fmla="*/ 8975 w 10004"/>
                <a:gd name="connsiteY19" fmla="*/ 7158 h 10000"/>
                <a:gd name="connsiteX20" fmla="*/ 9981 w 10004"/>
                <a:gd name="connsiteY20" fmla="*/ 7233 h 10000"/>
                <a:gd name="connsiteX21" fmla="*/ 10004 w 10004"/>
                <a:gd name="connsiteY21" fmla="*/ 6315 h 10000"/>
                <a:gd name="connsiteX22" fmla="*/ 7027 w 10004"/>
                <a:gd name="connsiteY22" fmla="*/ 4012 h 10000"/>
                <a:gd name="connsiteX23" fmla="*/ 6500 w 10004"/>
                <a:gd name="connsiteY23" fmla="*/ 2156 h 10000"/>
                <a:gd name="connsiteX24" fmla="*/ 5157 w 10004"/>
                <a:gd name="connsiteY24" fmla="*/ 1758 h 10000"/>
                <a:gd name="connsiteX25" fmla="*/ 4271 w 10004"/>
                <a:gd name="connsiteY25" fmla="*/ 191 h 10000"/>
                <a:gd name="connsiteX0" fmla="*/ 4271 w 10004"/>
                <a:gd name="connsiteY0" fmla="*/ 191 h 10000"/>
                <a:gd name="connsiteX1" fmla="*/ 3375 w 10004"/>
                <a:gd name="connsiteY1" fmla="*/ 393 h 10000"/>
                <a:gd name="connsiteX2" fmla="*/ 3158 w 10004"/>
                <a:gd name="connsiteY2" fmla="*/ 1663 h 10000"/>
                <a:gd name="connsiteX3" fmla="*/ 2198 w 10004"/>
                <a:gd name="connsiteY3" fmla="*/ 1776 h 10000"/>
                <a:gd name="connsiteX4" fmla="*/ 1568 w 10004"/>
                <a:gd name="connsiteY4" fmla="*/ 0 h 10000"/>
                <a:gd name="connsiteX5" fmla="*/ 795 w 10004"/>
                <a:gd name="connsiteY5" fmla="*/ 448 h 10000"/>
                <a:gd name="connsiteX6" fmla="*/ 27 w 10004"/>
                <a:gd name="connsiteY6" fmla="*/ 1417 h 10000"/>
                <a:gd name="connsiteX7" fmla="*/ 188 w 10004"/>
                <a:gd name="connsiteY7" fmla="*/ 353 h 10000"/>
                <a:gd name="connsiteX8" fmla="*/ 289 w 10004"/>
                <a:gd name="connsiteY8" fmla="*/ 2968 h 10000"/>
                <a:gd name="connsiteX9" fmla="*/ 241 w 10004"/>
                <a:gd name="connsiteY9" fmla="*/ 9408 h 10000"/>
                <a:gd name="connsiteX10" fmla="*/ 835 w 10004"/>
                <a:gd name="connsiteY10" fmla="*/ 9378 h 10000"/>
                <a:gd name="connsiteX11" fmla="*/ 928 w 10004"/>
                <a:gd name="connsiteY11" fmla="*/ 8240 h 10000"/>
                <a:gd name="connsiteX12" fmla="*/ 1700 w 10004"/>
                <a:gd name="connsiteY12" fmla="*/ 7710 h 10000"/>
                <a:gd name="connsiteX13" fmla="*/ 2591 w 10004"/>
                <a:gd name="connsiteY13" fmla="*/ 9126 h 10000"/>
                <a:gd name="connsiteX14" fmla="*/ 3997 w 10004"/>
                <a:gd name="connsiteY14" fmla="*/ 9771 h 10000"/>
                <a:gd name="connsiteX15" fmla="*/ 5822 w 10004"/>
                <a:gd name="connsiteY15" fmla="*/ 9313 h 10000"/>
                <a:gd name="connsiteX16" fmla="*/ 7129 w 10004"/>
                <a:gd name="connsiteY16" fmla="*/ 10000 h 10000"/>
                <a:gd name="connsiteX17" fmla="*/ 8187 w 10004"/>
                <a:gd name="connsiteY17" fmla="*/ 9115 h 10000"/>
                <a:gd name="connsiteX18" fmla="*/ 8804 w 10004"/>
                <a:gd name="connsiteY18" fmla="*/ 8418 h 10000"/>
                <a:gd name="connsiteX19" fmla="*/ 8975 w 10004"/>
                <a:gd name="connsiteY19" fmla="*/ 7158 h 10000"/>
                <a:gd name="connsiteX20" fmla="*/ 9981 w 10004"/>
                <a:gd name="connsiteY20" fmla="*/ 7233 h 10000"/>
                <a:gd name="connsiteX21" fmla="*/ 10004 w 10004"/>
                <a:gd name="connsiteY21" fmla="*/ 6315 h 10000"/>
                <a:gd name="connsiteX22" fmla="*/ 7027 w 10004"/>
                <a:gd name="connsiteY22" fmla="*/ 4012 h 10000"/>
                <a:gd name="connsiteX23" fmla="*/ 6500 w 10004"/>
                <a:gd name="connsiteY23" fmla="*/ 2156 h 10000"/>
                <a:gd name="connsiteX24" fmla="*/ 5157 w 10004"/>
                <a:gd name="connsiteY24" fmla="*/ 1758 h 10000"/>
                <a:gd name="connsiteX25" fmla="*/ 4271 w 10004"/>
                <a:gd name="connsiteY25" fmla="*/ 191 h 10000"/>
                <a:gd name="connsiteX0" fmla="*/ 4271 w 10004"/>
                <a:gd name="connsiteY0" fmla="*/ 191 h 10000"/>
                <a:gd name="connsiteX1" fmla="*/ 3375 w 10004"/>
                <a:gd name="connsiteY1" fmla="*/ 393 h 10000"/>
                <a:gd name="connsiteX2" fmla="*/ 3158 w 10004"/>
                <a:gd name="connsiteY2" fmla="*/ 1663 h 10000"/>
                <a:gd name="connsiteX3" fmla="*/ 2198 w 10004"/>
                <a:gd name="connsiteY3" fmla="*/ 1776 h 10000"/>
                <a:gd name="connsiteX4" fmla="*/ 1568 w 10004"/>
                <a:gd name="connsiteY4" fmla="*/ 0 h 10000"/>
                <a:gd name="connsiteX5" fmla="*/ 795 w 10004"/>
                <a:gd name="connsiteY5" fmla="*/ 448 h 10000"/>
                <a:gd name="connsiteX6" fmla="*/ 27 w 10004"/>
                <a:gd name="connsiteY6" fmla="*/ 1417 h 10000"/>
                <a:gd name="connsiteX7" fmla="*/ 188 w 10004"/>
                <a:gd name="connsiteY7" fmla="*/ 353 h 10000"/>
                <a:gd name="connsiteX8" fmla="*/ 289 w 10004"/>
                <a:gd name="connsiteY8" fmla="*/ 2968 h 10000"/>
                <a:gd name="connsiteX9" fmla="*/ 241 w 10004"/>
                <a:gd name="connsiteY9" fmla="*/ 9408 h 10000"/>
                <a:gd name="connsiteX10" fmla="*/ 835 w 10004"/>
                <a:gd name="connsiteY10" fmla="*/ 9378 h 10000"/>
                <a:gd name="connsiteX11" fmla="*/ 928 w 10004"/>
                <a:gd name="connsiteY11" fmla="*/ 8240 h 10000"/>
                <a:gd name="connsiteX12" fmla="*/ 1700 w 10004"/>
                <a:gd name="connsiteY12" fmla="*/ 7710 h 10000"/>
                <a:gd name="connsiteX13" fmla="*/ 2591 w 10004"/>
                <a:gd name="connsiteY13" fmla="*/ 9126 h 10000"/>
                <a:gd name="connsiteX14" fmla="*/ 3997 w 10004"/>
                <a:gd name="connsiteY14" fmla="*/ 9771 h 10000"/>
                <a:gd name="connsiteX15" fmla="*/ 5822 w 10004"/>
                <a:gd name="connsiteY15" fmla="*/ 9313 h 10000"/>
                <a:gd name="connsiteX16" fmla="*/ 7129 w 10004"/>
                <a:gd name="connsiteY16" fmla="*/ 10000 h 10000"/>
                <a:gd name="connsiteX17" fmla="*/ 8187 w 10004"/>
                <a:gd name="connsiteY17" fmla="*/ 9115 h 10000"/>
                <a:gd name="connsiteX18" fmla="*/ 8804 w 10004"/>
                <a:gd name="connsiteY18" fmla="*/ 8418 h 10000"/>
                <a:gd name="connsiteX19" fmla="*/ 8975 w 10004"/>
                <a:gd name="connsiteY19" fmla="*/ 7158 h 10000"/>
                <a:gd name="connsiteX20" fmla="*/ 9981 w 10004"/>
                <a:gd name="connsiteY20" fmla="*/ 7233 h 10000"/>
                <a:gd name="connsiteX21" fmla="*/ 10004 w 10004"/>
                <a:gd name="connsiteY21" fmla="*/ 6315 h 10000"/>
                <a:gd name="connsiteX22" fmla="*/ 7027 w 10004"/>
                <a:gd name="connsiteY22" fmla="*/ 4012 h 10000"/>
                <a:gd name="connsiteX23" fmla="*/ 6500 w 10004"/>
                <a:gd name="connsiteY23" fmla="*/ 2156 h 10000"/>
                <a:gd name="connsiteX24" fmla="*/ 5157 w 10004"/>
                <a:gd name="connsiteY24" fmla="*/ 1758 h 10000"/>
                <a:gd name="connsiteX25" fmla="*/ 4271 w 10004"/>
                <a:gd name="connsiteY25" fmla="*/ 191 h 10000"/>
                <a:gd name="connsiteX0" fmla="*/ 4271 w 10004"/>
                <a:gd name="connsiteY0" fmla="*/ 191 h 10000"/>
                <a:gd name="connsiteX1" fmla="*/ 3375 w 10004"/>
                <a:gd name="connsiteY1" fmla="*/ 393 h 10000"/>
                <a:gd name="connsiteX2" fmla="*/ 3158 w 10004"/>
                <a:gd name="connsiteY2" fmla="*/ 1663 h 10000"/>
                <a:gd name="connsiteX3" fmla="*/ 2198 w 10004"/>
                <a:gd name="connsiteY3" fmla="*/ 1776 h 10000"/>
                <a:gd name="connsiteX4" fmla="*/ 1568 w 10004"/>
                <a:gd name="connsiteY4" fmla="*/ 0 h 10000"/>
                <a:gd name="connsiteX5" fmla="*/ 795 w 10004"/>
                <a:gd name="connsiteY5" fmla="*/ 448 h 10000"/>
                <a:gd name="connsiteX6" fmla="*/ 27 w 10004"/>
                <a:gd name="connsiteY6" fmla="*/ 1417 h 10000"/>
                <a:gd name="connsiteX7" fmla="*/ 188 w 10004"/>
                <a:gd name="connsiteY7" fmla="*/ 353 h 10000"/>
                <a:gd name="connsiteX8" fmla="*/ 289 w 10004"/>
                <a:gd name="connsiteY8" fmla="*/ 2968 h 10000"/>
                <a:gd name="connsiteX9" fmla="*/ 241 w 10004"/>
                <a:gd name="connsiteY9" fmla="*/ 9408 h 10000"/>
                <a:gd name="connsiteX10" fmla="*/ 835 w 10004"/>
                <a:gd name="connsiteY10" fmla="*/ 9378 h 10000"/>
                <a:gd name="connsiteX11" fmla="*/ 928 w 10004"/>
                <a:gd name="connsiteY11" fmla="*/ 8240 h 10000"/>
                <a:gd name="connsiteX12" fmla="*/ 1700 w 10004"/>
                <a:gd name="connsiteY12" fmla="*/ 7710 h 10000"/>
                <a:gd name="connsiteX13" fmla="*/ 2591 w 10004"/>
                <a:gd name="connsiteY13" fmla="*/ 9126 h 10000"/>
                <a:gd name="connsiteX14" fmla="*/ 3997 w 10004"/>
                <a:gd name="connsiteY14" fmla="*/ 9771 h 10000"/>
                <a:gd name="connsiteX15" fmla="*/ 5822 w 10004"/>
                <a:gd name="connsiteY15" fmla="*/ 9313 h 10000"/>
                <a:gd name="connsiteX16" fmla="*/ 7129 w 10004"/>
                <a:gd name="connsiteY16" fmla="*/ 10000 h 10000"/>
                <a:gd name="connsiteX17" fmla="*/ 8187 w 10004"/>
                <a:gd name="connsiteY17" fmla="*/ 9115 h 10000"/>
                <a:gd name="connsiteX18" fmla="*/ 8804 w 10004"/>
                <a:gd name="connsiteY18" fmla="*/ 8418 h 10000"/>
                <a:gd name="connsiteX19" fmla="*/ 8975 w 10004"/>
                <a:gd name="connsiteY19" fmla="*/ 7158 h 10000"/>
                <a:gd name="connsiteX20" fmla="*/ 9981 w 10004"/>
                <a:gd name="connsiteY20" fmla="*/ 7233 h 10000"/>
                <a:gd name="connsiteX21" fmla="*/ 10004 w 10004"/>
                <a:gd name="connsiteY21" fmla="*/ 6315 h 10000"/>
                <a:gd name="connsiteX22" fmla="*/ 7027 w 10004"/>
                <a:gd name="connsiteY22" fmla="*/ 4012 h 10000"/>
                <a:gd name="connsiteX23" fmla="*/ 6500 w 10004"/>
                <a:gd name="connsiteY23" fmla="*/ 2156 h 10000"/>
                <a:gd name="connsiteX24" fmla="*/ 5157 w 10004"/>
                <a:gd name="connsiteY24" fmla="*/ 1758 h 10000"/>
                <a:gd name="connsiteX25" fmla="*/ 4271 w 10004"/>
                <a:gd name="connsiteY25" fmla="*/ 191 h 10000"/>
                <a:gd name="connsiteX0" fmla="*/ 4271 w 10004"/>
                <a:gd name="connsiteY0" fmla="*/ 191 h 10000"/>
                <a:gd name="connsiteX1" fmla="*/ 3375 w 10004"/>
                <a:gd name="connsiteY1" fmla="*/ 393 h 10000"/>
                <a:gd name="connsiteX2" fmla="*/ 3158 w 10004"/>
                <a:gd name="connsiteY2" fmla="*/ 1663 h 10000"/>
                <a:gd name="connsiteX3" fmla="*/ 2198 w 10004"/>
                <a:gd name="connsiteY3" fmla="*/ 1776 h 10000"/>
                <a:gd name="connsiteX4" fmla="*/ 1568 w 10004"/>
                <a:gd name="connsiteY4" fmla="*/ 0 h 10000"/>
                <a:gd name="connsiteX5" fmla="*/ 795 w 10004"/>
                <a:gd name="connsiteY5" fmla="*/ 448 h 10000"/>
                <a:gd name="connsiteX6" fmla="*/ 27 w 10004"/>
                <a:gd name="connsiteY6" fmla="*/ 1417 h 10000"/>
                <a:gd name="connsiteX7" fmla="*/ 188 w 10004"/>
                <a:gd name="connsiteY7" fmla="*/ 353 h 10000"/>
                <a:gd name="connsiteX8" fmla="*/ 289 w 10004"/>
                <a:gd name="connsiteY8" fmla="*/ 2968 h 10000"/>
                <a:gd name="connsiteX9" fmla="*/ 241 w 10004"/>
                <a:gd name="connsiteY9" fmla="*/ 9408 h 10000"/>
                <a:gd name="connsiteX10" fmla="*/ 835 w 10004"/>
                <a:gd name="connsiteY10" fmla="*/ 9378 h 10000"/>
                <a:gd name="connsiteX11" fmla="*/ 928 w 10004"/>
                <a:gd name="connsiteY11" fmla="*/ 8240 h 10000"/>
                <a:gd name="connsiteX12" fmla="*/ 1700 w 10004"/>
                <a:gd name="connsiteY12" fmla="*/ 7710 h 10000"/>
                <a:gd name="connsiteX13" fmla="*/ 2591 w 10004"/>
                <a:gd name="connsiteY13" fmla="*/ 9126 h 10000"/>
                <a:gd name="connsiteX14" fmla="*/ 3997 w 10004"/>
                <a:gd name="connsiteY14" fmla="*/ 9771 h 10000"/>
                <a:gd name="connsiteX15" fmla="*/ 5822 w 10004"/>
                <a:gd name="connsiteY15" fmla="*/ 9313 h 10000"/>
                <a:gd name="connsiteX16" fmla="*/ 7129 w 10004"/>
                <a:gd name="connsiteY16" fmla="*/ 10000 h 10000"/>
                <a:gd name="connsiteX17" fmla="*/ 8187 w 10004"/>
                <a:gd name="connsiteY17" fmla="*/ 9115 h 10000"/>
                <a:gd name="connsiteX18" fmla="*/ 8804 w 10004"/>
                <a:gd name="connsiteY18" fmla="*/ 8418 h 10000"/>
                <a:gd name="connsiteX19" fmla="*/ 8975 w 10004"/>
                <a:gd name="connsiteY19" fmla="*/ 7158 h 10000"/>
                <a:gd name="connsiteX20" fmla="*/ 9981 w 10004"/>
                <a:gd name="connsiteY20" fmla="*/ 7233 h 10000"/>
                <a:gd name="connsiteX21" fmla="*/ 10004 w 10004"/>
                <a:gd name="connsiteY21" fmla="*/ 6315 h 10000"/>
                <a:gd name="connsiteX22" fmla="*/ 7027 w 10004"/>
                <a:gd name="connsiteY22" fmla="*/ 4012 h 10000"/>
                <a:gd name="connsiteX23" fmla="*/ 6500 w 10004"/>
                <a:gd name="connsiteY23" fmla="*/ 2156 h 10000"/>
                <a:gd name="connsiteX24" fmla="*/ 5157 w 10004"/>
                <a:gd name="connsiteY24" fmla="*/ 1758 h 10000"/>
                <a:gd name="connsiteX25" fmla="*/ 4271 w 10004"/>
                <a:gd name="connsiteY25" fmla="*/ 191 h 10000"/>
                <a:gd name="connsiteX0" fmla="*/ 4271 w 10004"/>
                <a:gd name="connsiteY0" fmla="*/ 191 h 12026"/>
                <a:gd name="connsiteX1" fmla="*/ 3375 w 10004"/>
                <a:gd name="connsiteY1" fmla="*/ 393 h 12026"/>
                <a:gd name="connsiteX2" fmla="*/ 3158 w 10004"/>
                <a:gd name="connsiteY2" fmla="*/ 1663 h 12026"/>
                <a:gd name="connsiteX3" fmla="*/ 2198 w 10004"/>
                <a:gd name="connsiteY3" fmla="*/ 1776 h 12026"/>
                <a:gd name="connsiteX4" fmla="*/ 1568 w 10004"/>
                <a:gd name="connsiteY4" fmla="*/ 0 h 12026"/>
                <a:gd name="connsiteX5" fmla="*/ 795 w 10004"/>
                <a:gd name="connsiteY5" fmla="*/ 448 h 12026"/>
                <a:gd name="connsiteX6" fmla="*/ 27 w 10004"/>
                <a:gd name="connsiteY6" fmla="*/ 1417 h 12026"/>
                <a:gd name="connsiteX7" fmla="*/ 188 w 10004"/>
                <a:gd name="connsiteY7" fmla="*/ 353 h 12026"/>
                <a:gd name="connsiteX8" fmla="*/ 289 w 10004"/>
                <a:gd name="connsiteY8" fmla="*/ 2968 h 12026"/>
                <a:gd name="connsiteX9" fmla="*/ 241 w 10004"/>
                <a:gd name="connsiteY9" fmla="*/ 9408 h 12026"/>
                <a:gd name="connsiteX10" fmla="*/ 835 w 10004"/>
                <a:gd name="connsiteY10" fmla="*/ 9378 h 12026"/>
                <a:gd name="connsiteX11" fmla="*/ 928 w 10004"/>
                <a:gd name="connsiteY11" fmla="*/ 8240 h 12026"/>
                <a:gd name="connsiteX12" fmla="*/ 1700 w 10004"/>
                <a:gd name="connsiteY12" fmla="*/ 7710 h 12026"/>
                <a:gd name="connsiteX13" fmla="*/ 2591 w 10004"/>
                <a:gd name="connsiteY13" fmla="*/ 9126 h 12026"/>
                <a:gd name="connsiteX14" fmla="*/ 3997 w 10004"/>
                <a:gd name="connsiteY14" fmla="*/ 9771 h 12026"/>
                <a:gd name="connsiteX15" fmla="*/ 4476 w 10004"/>
                <a:gd name="connsiteY15" fmla="*/ 12026 h 12026"/>
                <a:gd name="connsiteX16" fmla="*/ 7129 w 10004"/>
                <a:gd name="connsiteY16" fmla="*/ 10000 h 12026"/>
                <a:gd name="connsiteX17" fmla="*/ 8187 w 10004"/>
                <a:gd name="connsiteY17" fmla="*/ 9115 h 12026"/>
                <a:gd name="connsiteX18" fmla="*/ 8804 w 10004"/>
                <a:gd name="connsiteY18" fmla="*/ 8418 h 12026"/>
                <a:gd name="connsiteX19" fmla="*/ 8975 w 10004"/>
                <a:gd name="connsiteY19" fmla="*/ 7158 h 12026"/>
                <a:gd name="connsiteX20" fmla="*/ 9981 w 10004"/>
                <a:gd name="connsiteY20" fmla="*/ 7233 h 12026"/>
                <a:gd name="connsiteX21" fmla="*/ 10004 w 10004"/>
                <a:gd name="connsiteY21" fmla="*/ 6315 h 12026"/>
                <a:gd name="connsiteX22" fmla="*/ 7027 w 10004"/>
                <a:gd name="connsiteY22" fmla="*/ 4012 h 12026"/>
                <a:gd name="connsiteX23" fmla="*/ 6500 w 10004"/>
                <a:gd name="connsiteY23" fmla="*/ 2156 h 12026"/>
                <a:gd name="connsiteX24" fmla="*/ 5157 w 10004"/>
                <a:gd name="connsiteY24" fmla="*/ 1758 h 12026"/>
                <a:gd name="connsiteX25" fmla="*/ 4271 w 10004"/>
                <a:gd name="connsiteY25" fmla="*/ 191 h 12026"/>
                <a:gd name="connsiteX0" fmla="*/ 4271 w 10004"/>
                <a:gd name="connsiteY0" fmla="*/ 191 h 12026"/>
                <a:gd name="connsiteX1" fmla="*/ 3375 w 10004"/>
                <a:gd name="connsiteY1" fmla="*/ 393 h 12026"/>
                <a:gd name="connsiteX2" fmla="*/ 3158 w 10004"/>
                <a:gd name="connsiteY2" fmla="*/ 1663 h 12026"/>
                <a:gd name="connsiteX3" fmla="*/ 2198 w 10004"/>
                <a:gd name="connsiteY3" fmla="*/ 1776 h 12026"/>
                <a:gd name="connsiteX4" fmla="*/ 1568 w 10004"/>
                <a:gd name="connsiteY4" fmla="*/ 0 h 12026"/>
                <a:gd name="connsiteX5" fmla="*/ 795 w 10004"/>
                <a:gd name="connsiteY5" fmla="*/ 448 h 12026"/>
                <a:gd name="connsiteX6" fmla="*/ 27 w 10004"/>
                <a:gd name="connsiteY6" fmla="*/ 1417 h 12026"/>
                <a:gd name="connsiteX7" fmla="*/ 188 w 10004"/>
                <a:gd name="connsiteY7" fmla="*/ 353 h 12026"/>
                <a:gd name="connsiteX8" fmla="*/ 289 w 10004"/>
                <a:gd name="connsiteY8" fmla="*/ 2968 h 12026"/>
                <a:gd name="connsiteX9" fmla="*/ 241 w 10004"/>
                <a:gd name="connsiteY9" fmla="*/ 9408 h 12026"/>
                <a:gd name="connsiteX10" fmla="*/ 835 w 10004"/>
                <a:gd name="connsiteY10" fmla="*/ 9378 h 12026"/>
                <a:gd name="connsiteX11" fmla="*/ 928 w 10004"/>
                <a:gd name="connsiteY11" fmla="*/ 8240 h 12026"/>
                <a:gd name="connsiteX12" fmla="*/ 1700 w 10004"/>
                <a:gd name="connsiteY12" fmla="*/ 7710 h 12026"/>
                <a:gd name="connsiteX13" fmla="*/ 2591 w 10004"/>
                <a:gd name="connsiteY13" fmla="*/ 9126 h 12026"/>
                <a:gd name="connsiteX14" fmla="*/ 3997 w 10004"/>
                <a:gd name="connsiteY14" fmla="*/ 9771 h 12026"/>
                <a:gd name="connsiteX15" fmla="*/ 4476 w 10004"/>
                <a:gd name="connsiteY15" fmla="*/ 12026 h 12026"/>
                <a:gd name="connsiteX16" fmla="*/ 7129 w 10004"/>
                <a:gd name="connsiteY16" fmla="*/ 10000 h 12026"/>
                <a:gd name="connsiteX17" fmla="*/ 8187 w 10004"/>
                <a:gd name="connsiteY17" fmla="*/ 9115 h 12026"/>
                <a:gd name="connsiteX18" fmla="*/ 8804 w 10004"/>
                <a:gd name="connsiteY18" fmla="*/ 8418 h 12026"/>
                <a:gd name="connsiteX19" fmla="*/ 8975 w 10004"/>
                <a:gd name="connsiteY19" fmla="*/ 7158 h 12026"/>
                <a:gd name="connsiteX20" fmla="*/ 9981 w 10004"/>
                <a:gd name="connsiteY20" fmla="*/ 7233 h 12026"/>
                <a:gd name="connsiteX21" fmla="*/ 10004 w 10004"/>
                <a:gd name="connsiteY21" fmla="*/ 6315 h 12026"/>
                <a:gd name="connsiteX22" fmla="*/ 7027 w 10004"/>
                <a:gd name="connsiteY22" fmla="*/ 4012 h 12026"/>
                <a:gd name="connsiteX23" fmla="*/ 6500 w 10004"/>
                <a:gd name="connsiteY23" fmla="*/ 2156 h 12026"/>
                <a:gd name="connsiteX24" fmla="*/ 5157 w 10004"/>
                <a:gd name="connsiteY24" fmla="*/ 1758 h 12026"/>
                <a:gd name="connsiteX25" fmla="*/ 4271 w 10004"/>
                <a:gd name="connsiteY25" fmla="*/ 191 h 12026"/>
                <a:gd name="connsiteX0" fmla="*/ 4271 w 10004"/>
                <a:gd name="connsiteY0" fmla="*/ 191 h 12026"/>
                <a:gd name="connsiteX1" fmla="*/ 3375 w 10004"/>
                <a:gd name="connsiteY1" fmla="*/ 393 h 12026"/>
                <a:gd name="connsiteX2" fmla="*/ 3158 w 10004"/>
                <a:gd name="connsiteY2" fmla="*/ 1663 h 12026"/>
                <a:gd name="connsiteX3" fmla="*/ 2198 w 10004"/>
                <a:gd name="connsiteY3" fmla="*/ 1776 h 12026"/>
                <a:gd name="connsiteX4" fmla="*/ 1568 w 10004"/>
                <a:gd name="connsiteY4" fmla="*/ 0 h 12026"/>
                <a:gd name="connsiteX5" fmla="*/ 795 w 10004"/>
                <a:gd name="connsiteY5" fmla="*/ 448 h 12026"/>
                <a:gd name="connsiteX6" fmla="*/ 27 w 10004"/>
                <a:gd name="connsiteY6" fmla="*/ 1417 h 12026"/>
                <a:gd name="connsiteX7" fmla="*/ 188 w 10004"/>
                <a:gd name="connsiteY7" fmla="*/ 353 h 12026"/>
                <a:gd name="connsiteX8" fmla="*/ 289 w 10004"/>
                <a:gd name="connsiteY8" fmla="*/ 2968 h 12026"/>
                <a:gd name="connsiteX9" fmla="*/ 241 w 10004"/>
                <a:gd name="connsiteY9" fmla="*/ 9408 h 12026"/>
                <a:gd name="connsiteX10" fmla="*/ 835 w 10004"/>
                <a:gd name="connsiteY10" fmla="*/ 9378 h 12026"/>
                <a:gd name="connsiteX11" fmla="*/ 928 w 10004"/>
                <a:gd name="connsiteY11" fmla="*/ 8240 h 12026"/>
                <a:gd name="connsiteX12" fmla="*/ 1700 w 10004"/>
                <a:gd name="connsiteY12" fmla="*/ 7710 h 12026"/>
                <a:gd name="connsiteX13" fmla="*/ 2591 w 10004"/>
                <a:gd name="connsiteY13" fmla="*/ 9126 h 12026"/>
                <a:gd name="connsiteX14" fmla="*/ 3997 w 10004"/>
                <a:gd name="connsiteY14" fmla="*/ 9771 h 12026"/>
                <a:gd name="connsiteX15" fmla="*/ 4476 w 10004"/>
                <a:gd name="connsiteY15" fmla="*/ 12026 h 12026"/>
                <a:gd name="connsiteX16" fmla="*/ 7129 w 10004"/>
                <a:gd name="connsiteY16" fmla="*/ 10000 h 12026"/>
                <a:gd name="connsiteX17" fmla="*/ 8187 w 10004"/>
                <a:gd name="connsiteY17" fmla="*/ 9115 h 12026"/>
                <a:gd name="connsiteX18" fmla="*/ 8804 w 10004"/>
                <a:gd name="connsiteY18" fmla="*/ 8418 h 12026"/>
                <a:gd name="connsiteX19" fmla="*/ 8975 w 10004"/>
                <a:gd name="connsiteY19" fmla="*/ 7158 h 12026"/>
                <a:gd name="connsiteX20" fmla="*/ 9981 w 10004"/>
                <a:gd name="connsiteY20" fmla="*/ 7233 h 12026"/>
                <a:gd name="connsiteX21" fmla="*/ 10004 w 10004"/>
                <a:gd name="connsiteY21" fmla="*/ 6315 h 12026"/>
                <a:gd name="connsiteX22" fmla="*/ 7027 w 10004"/>
                <a:gd name="connsiteY22" fmla="*/ 4012 h 12026"/>
                <a:gd name="connsiteX23" fmla="*/ 6500 w 10004"/>
                <a:gd name="connsiteY23" fmla="*/ 2156 h 12026"/>
                <a:gd name="connsiteX24" fmla="*/ 5157 w 10004"/>
                <a:gd name="connsiteY24" fmla="*/ 1758 h 12026"/>
                <a:gd name="connsiteX25" fmla="*/ 4271 w 10004"/>
                <a:gd name="connsiteY25" fmla="*/ 191 h 12026"/>
                <a:gd name="connsiteX0" fmla="*/ 4271 w 10004"/>
                <a:gd name="connsiteY0" fmla="*/ 191 h 12026"/>
                <a:gd name="connsiteX1" fmla="*/ 3375 w 10004"/>
                <a:gd name="connsiteY1" fmla="*/ 393 h 12026"/>
                <a:gd name="connsiteX2" fmla="*/ 3158 w 10004"/>
                <a:gd name="connsiteY2" fmla="*/ 1663 h 12026"/>
                <a:gd name="connsiteX3" fmla="*/ 2198 w 10004"/>
                <a:gd name="connsiteY3" fmla="*/ 1776 h 12026"/>
                <a:gd name="connsiteX4" fmla="*/ 1568 w 10004"/>
                <a:gd name="connsiteY4" fmla="*/ 0 h 12026"/>
                <a:gd name="connsiteX5" fmla="*/ 795 w 10004"/>
                <a:gd name="connsiteY5" fmla="*/ 448 h 12026"/>
                <a:gd name="connsiteX6" fmla="*/ 27 w 10004"/>
                <a:gd name="connsiteY6" fmla="*/ 1417 h 12026"/>
                <a:gd name="connsiteX7" fmla="*/ 188 w 10004"/>
                <a:gd name="connsiteY7" fmla="*/ 353 h 12026"/>
                <a:gd name="connsiteX8" fmla="*/ 289 w 10004"/>
                <a:gd name="connsiteY8" fmla="*/ 2968 h 12026"/>
                <a:gd name="connsiteX9" fmla="*/ 241 w 10004"/>
                <a:gd name="connsiteY9" fmla="*/ 9408 h 12026"/>
                <a:gd name="connsiteX10" fmla="*/ 835 w 10004"/>
                <a:gd name="connsiteY10" fmla="*/ 9378 h 12026"/>
                <a:gd name="connsiteX11" fmla="*/ 928 w 10004"/>
                <a:gd name="connsiteY11" fmla="*/ 8240 h 12026"/>
                <a:gd name="connsiteX12" fmla="*/ 1700 w 10004"/>
                <a:gd name="connsiteY12" fmla="*/ 7710 h 12026"/>
                <a:gd name="connsiteX13" fmla="*/ 2591 w 10004"/>
                <a:gd name="connsiteY13" fmla="*/ 9126 h 12026"/>
                <a:gd name="connsiteX14" fmla="*/ 3997 w 10004"/>
                <a:gd name="connsiteY14" fmla="*/ 9771 h 12026"/>
                <a:gd name="connsiteX15" fmla="*/ 4476 w 10004"/>
                <a:gd name="connsiteY15" fmla="*/ 12026 h 12026"/>
                <a:gd name="connsiteX16" fmla="*/ 7129 w 10004"/>
                <a:gd name="connsiteY16" fmla="*/ 10000 h 12026"/>
                <a:gd name="connsiteX17" fmla="*/ 8187 w 10004"/>
                <a:gd name="connsiteY17" fmla="*/ 9115 h 12026"/>
                <a:gd name="connsiteX18" fmla="*/ 8804 w 10004"/>
                <a:gd name="connsiteY18" fmla="*/ 8418 h 12026"/>
                <a:gd name="connsiteX19" fmla="*/ 8975 w 10004"/>
                <a:gd name="connsiteY19" fmla="*/ 7158 h 12026"/>
                <a:gd name="connsiteX20" fmla="*/ 9981 w 10004"/>
                <a:gd name="connsiteY20" fmla="*/ 7233 h 12026"/>
                <a:gd name="connsiteX21" fmla="*/ 10004 w 10004"/>
                <a:gd name="connsiteY21" fmla="*/ 6315 h 12026"/>
                <a:gd name="connsiteX22" fmla="*/ 7027 w 10004"/>
                <a:gd name="connsiteY22" fmla="*/ 4012 h 12026"/>
                <a:gd name="connsiteX23" fmla="*/ 6500 w 10004"/>
                <a:gd name="connsiteY23" fmla="*/ 2156 h 12026"/>
                <a:gd name="connsiteX24" fmla="*/ 5157 w 10004"/>
                <a:gd name="connsiteY24" fmla="*/ 1758 h 12026"/>
                <a:gd name="connsiteX25" fmla="*/ 4271 w 10004"/>
                <a:gd name="connsiteY25" fmla="*/ 191 h 12026"/>
                <a:gd name="connsiteX0" fmla="*/ 4271 w 10004"/>
                <a:gd name="connsiteY0" fmla="*/ 191 h 13965"/>
                <a:gd name="connsiteX1" fmla="*/ 3375 w 10004"/>
                <a:gd name="connsiteY1" fmla="*/ 393 h 13965"/>
                <a:gd name="connsiteX2" fmla="*/ 3158 w 10004"/>
                <a:gd name="connsiteY2" fmla="*/ 1663 h 13965"/>
                <a:gd name="connsiteX3" fmla="*/ 2198 w 10004"/>
                <a:gd name="connsiteY3" fmla="*/ 1776 h 13965"/>
                <a:gd name="connsiteX4" fmla="*/ 1568 w 10004"/>
                <a:gd name="connsiteY4" fmla="*/ 0 h 13965"/>
                <a:gd name="connsiteX5" fmla="*/ 795 w 10004"/>
                <a:gd name="connsiteY5" fmla="*/ 448 h 13965"/>
                <a:gd name="connsiteX6" fmla="*/ 27 w 10004"/>
                <a:gd name="connsiteY6" fmla="*/ 1417 h 13965"/>
                <a:gd name="connsiteX7" fmla="*/ 188 w 10004"/>
                <a:gd name="connsiteY7" fmla="*/ 353 h 13965"/>
                <a:gd name="connsiteX8" fmla="*/ 289 w 10004"/>
                <a:gd name="connsiteY8" fmla="*/ 2968 h 13965"/>
                <a:gd name="connsiteX9" fmla="*/ 241 w 10004"/>
                <a:gd name="connsiteY9" fmla="*/ 9408 h 13965"/>
                <a:gd name="connsiteX10" fmla="*/ 835 w 10004"/>
                <a:gd name="connsiteY10" fmla="*/ 9378 h 13965"/>
                <a:gd name="connsiteX11" fmla="*/ 928 w 10004"/>
                <a:gd name="connsiteY11" fmla="*/ 8240 h 13965"/>
                <a:gd name="connsiteX12" fmla="*/ 1700 w 10004"/>
                <a:gd name="connsiteY12" fmla="*/ 7710 h 13965"/>
                <a:gd name="connsiteX13" fmla="*/ 2591 w 10004"/>
                <a:gd name="connsiteY13" fmla="*/ 9126 h 13965"/>
                <a:gd name="connsiteX14" fmla="*/ 3997 w 10004"/>
                <a:gd name="connsiteY14" fmla="*/ 9771 h 13965"/>
                <a:gd name="connsiteX15" fmla="*/ 4476 w 10004"/>
                <a:gd name="connsiteY15" fmla="*/ 12026 h 13965"/>
                <a:gd name="connsiteX16" fmla="*/ 7331 w 10004"/>
                <a:gd name="connsiteY16" fmla="*/ 13965 h 13965"/>
                <a:gd name="connsiteX17" fmla="*/ 8187 w 10004"/>
                <a:gd name="connsiteY17" fmla="*/ 9115 h 13965"/>
                <a:gd name="connsiteX18" fmla="*/ 8804 w 10004"/>
                <a:gd name="connsiteY18" fmla="*/ 8418 h 13965"/>
                <a:gd name="connsiteX19" fmla="*/ 8975 w 10004"/>
                <a:gd name="connsiteY19" fmla="*/ 7158 h 13965"/>
                <a:gd name="connsiteX20" fmla="*/ 9981 w 10004"/>
                <a:gd name="connsiteY20" fmla="*/ 7233 h 13965"/>
                <a:gd name="connsiteX21" fmla="*/ 10004 w 10004"/>
                <a:gd name="connsiteY21" fmla="*/ 6315 h 13965"/>
                <a:gd name="connsiteX22" fmla="*/ 7027 w 10004"/>
                <a:gd name="connsiteY22" fmla="*/ 4012 h 13965"/>
                <a:gd name="connsiteX23" fmla="*/ 6500 w 10004"/>
                <a:gd name="connsiteY23" fmla="*/ 2156 h 13965"/>
                <a:gd name="connsiteX24" fmla="*/ 5157 w 10004"/>
                <a:gd name="connsiteY24" fmla="*/ 1758 h 13965"/>
                <a:gd name="connsiteX25" fmla="*/ 4271 w 10004"/>
                <a:gd name="connsiteY25" fmla="*/ 191 h 13965"/>
                <a:gd name="connsiteX0" fmla="*/ 4271 w 10004"/>
                <a:gd name="connsiteY0" fmla="*/ 191 h 13965"/>
                <a:gd name="connsiteX1" fmla="*/ 3375 w 10004"/>
                <a:gd name="connsiteY1" fmla="*/ 393 h 13965"/>
                <a:gd name="connsiteX2" fmla="*/ 3158 w 10004"/>
                <a:gd name="connsiteY2" fmla="*/ 1663 h 13965"/>
                <a:gd name="connsiteX3" fmla="*/ 2198 w 10004"/>
                <a:gd name="connsiteY3" fmla="*/ 1776 h 13965"/>
                <a:gd name="connsiteX4" fmla="*/ 1568 w 10004"/>
                <a:gd name="connsiteY4" fmla="*/ 0 h 13965"/>
                <a:gd name="connsiteX5" fmla="*/ 795 w 10004"/>
                <a:gd name="connsiteY5" fmla="*/ 448 h 13965"/>
                <a:gd name="connsiteX6" fmla="*/ 27 w 10004"/>
                <a:gd name="connsiteY6" fmla="*/ 1417 h 13965"/>
                <a:gd name="connsiteX7" fmla="*/ 188 w 10004"/>
                <a:gd name="connsiteY7" fmla="*/ 353 h 13965"/>
                <a:gd name="connsiteX8" fmla="*/ 289 w 10004"/>
                <a:gd name="connsiteY8" fmla="*/ 2968 h 13965"/>
                <a:gd name="connsiteX9" fmla="*/ 241 w 10004"/>
                <a:gd name="connsiteY9" fmla="*/ 9408 h 13965"/>
                <a:gd name="connsiteX10" fmla="*/ 835 w 10004"/>
                <a:gd name="connsiteY10" fmla="*/ 9378 h 13965"/>
                <a:gd name="connsiteX11" fmla="*/ 928 w 10004"/>
                <a:gd name="connsiteY11" fmla="*/ 8240 h 13965"/>
                <a:gd name="connsiteX12" fmla="*/ 1700 w 10004"/>
                <a:gd name="connsiteY12" fmla="*/ 7710 h 13965"/>
                <a:gd name="connsiteX13" fmla="*/ 2591 w 10004"/>
                <a:gd name="connsiteY13" fmla="*/ 9126 h 13965"/>
                <a:gd name="connsiteX14" fmla="*/ 3997 w 10004"/>
                <a:gd name="connsiteY14" fmla="*/ 9771 h 13965"/>
                <a:gd name="connsiteX15" fmla="*/ 4476 w 10004"/>
                <a:gd name="connsiteY15" fmla="*/ 12026 h 13965"/>
                <a:gd name="connsiteX16" fmla="*/ 7331 w 10004"/>
                <a:gd name="connsiteY16" fmla="*/ 13965 h 13965"/>
                <a:gd name="connsiteX17" fmla="*/ 8187 w 10004"/>
                <a:gd name="connsiteY17" fmla="*/ 9115 h 13965"/>
                <a:gd name="connsiteX18" fmla="*/ 8804 w 10004"/>
                <a:gd name="connsiteY18" fmla="*/ 8418 h 13965"/>
                <a:gd name="connsiteX19" fmla="*/ 8975 w 10004"/>
                <a:gd name="connsiteY19" fmla="*/ 7158 h 13965"/>
                <a:gd name="connsiteX20" fmla="*/ 9981 w 10004"/>
                <a:gd name="connsiteY20" fmla="*/ 7233 h 13965"/>
                <a:gd name="connsiteX21" fmla="*/ 10004 w 10004"/>
                <a:gd name="connsiteY21" fmla="*/ 6315 h 13965"/>
                <a:gd name="connsiteX22" fmla="*/ 7027 w 10004"/>
                <a:gd name="connsiteY22" fmla="*/ 4012 h 13965"/>
                <a:gd name="connsiteX23" fmla="*/ 6500 w 10004"/>
                <a:gd name="connsiteY23" fmla="*/ 2156 h 13965"/>
                <a:gd name="connsiteX24" fmla="*/ 5157 w 10004"/>
                <a:gd name="connsiteY24" fmla="*/ 1758 h 13965"/>
                <a:gd name="connsiteX25" fmla="*/ 4271 w 10004"/>
                <a:gd name="connsiteY25" fmla="*/ 191 h 13965"/>
                <a:gd name="connsiteX0" fmla="*/ 4271 w 10004"/>
                <a:gd name="connsiteY0" fmla="*/ 191 h 13965"/>
                <a:gd name="connsiteX1" fmla="*/ 3375 w 10004"/>
                <a:gd name="connsiteY1" fmla="*/ 393 h 13965"/>
                <a:gd name="connsiteX2" fmla="*/ 3158 w 10004"/>
                <a:gd name="connsiteY2" fmla="*/ 1663 h 13965"/>
                <a:gd name="connsiteX3" fmla="*/ 2198 w 10004"/>
                <a:gd name="connsiteY3" fmla="*/ 1776 h 13965"/>
                <a:gd name="connsiteX4" fmla="*/ 1568 w 10004"/>
                <a:gd name="connsiteY4" fmla="*/ 0 h 13965"/>
                <a:gd name="connsiteX5" fmla="*/ 795 w 10004"/>
                <a:gd name="connsiteY5" fmla="*/ 448 h 13965"/>
                <a:gd name="connsiteX6" fmla="*/ 27 w 10004"/>
                <a:gd name="connsiteY6" fmla="*/ 1417 h 13965"/>
                <a:gd name="connsiteX7" fmla="*/ 188 w 10004"/>
                <a:gd name="connsiteY7" fmla="*/ 353 h 13965"/>
                <a:gd name="connsiteX8" fmla="*/ 289 w 10004"/>
                <a:gd name="connsiteY8" fmla="*/ 2968 h 13965"/>
                <a:gd name="connsiteX9" fmla="*/ 241 w 10004"/>
                <a:gd name="connsiteY9" fmla="*/ 9408 h 13965"/>
                <a:gd name="connsiteX10" fmla="*/ 835 w 10004"/>
                <a:gd name="connsiteY10" fmla="*/ 9378 h 13965"/>
                <a:gd name="connsiteX11" fmla="*/ 928 w 10004"/>
                <a:gd name="connsiteY11" fmla="*/ 8240 h 13965"/>
                <a:gd name="connsiteX12" fmla="*/ 1700 w 10004"/>
                <a:gd name="connsiteY12" fmla="*/ 7710 h 13965"/>
                <a:gd name="connsiteX13" fmla="*/ 2591 w 10004"/>
                <a:gd name="connsiteY13" fmla="*/ 9126 h 13965"/>
                <a:gd name="connsiteX14" fmla="*/ 3997 w 10004"/>
                <a:gd name="connsiteY14" fmla="*/ 9771 h 13965"/>
                <a:gd name="connsiteX15" fmla="*/ 4476 w 10004"/>
                <a:gd name="connsiteY15" fmla="*/ 12026 h 13965"/>
                <a:gd name="connsiteX16" fmla="*/ 7331 w 10004"/>
                <a:gd name="connsiteY16" fmla="*/ 13965 h 13965"/>
                <a:gd name="connsiteX17" fmla="*/ 8187 w 10004"/>
                <a:gd name="connsiteY17" fmla="*/ 9115 h 13965"/>
                <a:gd name="connsiteX18" fmla="*/ 8804 w 10004"/>
                <a:gd name="connsiteY18" fmla="*/ 8418 h 13965"/>
                <a:gd name="connsiteX19" fmla="*/ 8975 w 10004"/>
                <a:gd name="connsiteY19" fmla="*/ 7158 h 13965"/>
                <a:gd name="connsiteX20" fmla="*/ 9981 w 10004"/>
                <a:gd name="connsiteY20" fmla="*/ 7233 h 13965"/>
                <a:gd name="connsiteX21" fmla="*/ 10004 w 10004"/>
                <a:gd name="connsiteY21" fmla="*/ 6315 h 13965"/>
                <a:gd name="connsiteX22" fmla="*/ 7027 w 10004"/>
                <a:gd name="connsiteY22" fmla="*/ 4012 h 13965"/>
                <a:gd name="connsiteX23" fmla="*/ 6500 w 10004"/>
                <a:gd name="connsiteY23" fmla="*/ 2156 h 13965"/>
                <a:gd name="connsiteX24" fmla="*/ 5157 w 10004"/>
                <a:gd name="connsiteY24" fmla="*/ 1758 h 13965"/>
                <a:gd name="connsiteX25" fmla="*/ 4271 w 10004"/>
                <a:gd name="connsiteY25" fmla="*/ 191 h 13965"/>
                <a:gd name="connsiteX0" fmla="*/ 4271 w 10004"/>
                <a:gd name="connsiteY0" fmla="*/ 191 h 13965"/>
                <a:gd name="connsiteX1" fmla="*/ 3375 w 10004"/>
                <a:gd name="connsiteY1" fmla="*/ 393 h 13965"/>
                <a:gd name="connsiteX2" fmla="*/ 3158 w 10004"/>
                <a:gd name="connsiteY2" fmla="*/ 1663 h 13965"/>
                <a:gd name="connsiteX3" fmla="*/ 2198 w 10004"/>
                <a:gd name="connsiteY3" fmla="*/ 1776 h 13965"/>
                <a:gd name="connsiteX4" fmla="*/ 1568 w 10004"/>
                <a:gd name="connsiteY4" fmla="*/ 0 h 13965"/>
                <a:gd name="connsiteX5" fmla="*/ 795 w 10004"/>
                <a:gd name="connsiteY5" fmla="*/ 448 h 13965"/>
                <a:gd name="connsiteX6" fmla="*/ 27 w 10004"/>
                <a:gd name="connsiteY6" fmla="*/ 1417 h 13965"/>
                <a:gd name="connsiteX7" fmla="*/ 188 w 10004"/>
                <a:gd name="connsiteY7" fmla="*/ 353 h 13965"/>
                <a:gd name="connsiteX8" fmla="*/ 289 w 10004"/>
                <a:gd name="connsiteY8" fmla="*/ 2968 h 13965"/>
                <a:gd name="connsiteX9" fmla="*/ 241 w 10004"/>
                <a:gd name="connsiteY9" fmla="*/ 9408 h 13965"/>
                <a:gd name="connsiteX10" fmla="*/ 835 w 10004"/>
                <a:gd name="connsiteY10" fmla="*/ 9378 h 13965"/>
                <a:gd name="connsiteX11" fmla="*/ 928 w 10004"/>
                <a:gd name="connsiteY11" fmla="*/ 8240 h 13965"/>
                <a:gd name="connsiteX12" fmla="*/ 1700 w 10004"/>
                <a:gd name="connsiteY12" fmla="*/ 7710 h 13965"/>
                <a:gd name="connsiteX13" fmla="*/ 2591 w 10004"/>
                <a:gd name="connsiteY13" fmla="*/ 9126 h 13965"/>
                <a:gd name="connsiteX14" fmla="*/ 3997 w 10004"/>
                <a:gd name="connsiteY14" fmla="*/ 9771 h 13965"/>
                <a:gd name="connsiteX15" fmla="*/ 4476 w 10004"/>
                <a:gd name="connsiteY15" fmla="*/ 12026 h 13965"/>
                <a:gd name="connsiteX16" fmla="*/ 7331 w 10004"/>
                <a:gd name="connsiteY16" fmla="*/ 13965 h 13965"/>
                <a:gd name="connsiteX17" fmla="*/ 8187 w 10004"/>
                <a:gd name="connsiteY17" fmla="*/ 9115 h 13965"/>
                <a:gd name="connsiteX18" fmla="*/ 8804 w 10004"/>
                <a:gd name="connsiteY18" fmla="*/ 8418 h 13965"/>
                <a:gd name="connsiteX19" fmla="*/ 8975 w 10004"/>
                <a:gd name="connsiteY19" fmla="*/ 7158 h 13965"/>
                <a:gd name="connsiteX20" fmla="*/ 9981 w 10004"/>
                <a:gd name="connsiteY20" fmla="*/ 7233 h 13965"/>
                <a:gd name="connsiteX21" fmla="*/ 10004 w 10004"/>
                <a:gd name="connsiteY21" fmla="*/ 6315 h 13965"/>
                <a:gd name="connsiteX22" fmla="*/ 7027 w 10004"/>
                <a:gd name="connsiteY22" fmla="*/ 4012 h 13965"/>
                <a:gd name="connsiteX23" fmla="*/ 6500 w 10004"/>
                <a:gd name="connsiteY23" fmla="*/ 2156 h 13965"/>
                <a:gd name="connsiteX24" fmla="*/ 5157 w 10004"/>
                <a:gd name="connsiteY24" fmla="*/ 1758 h 13965"/>
                <a:gd name="connsiteX25" fmla="*/ 4271 w 10004"/>
                <a:gd name="connsiteY25" fmla="*/ 191 h 13965"/>
                <a:gd name="connsiteX0" fmla="*/ 4271 w 10004"/>
                <a:gd name="connsiteY0" fmla="*/ 191 h 15354"/>
                <a:gd name="connsiteX1" fmla="*/ 3375 w 10004"/>
                <a:gd name="connsiteY1" fmla="*/ 393 h 15354"/>
                <a:gd name="connsiteX2" fmla="*/ 3158 w 10004"/>
                <a:gd name="connsiteY2" fmla="*/ 1663 h 15354"/>
                <a:gd name="connsiteX3" fmla="*/ 2198 w 10004"/>
                <a:gd name="connsiteY3" fmla="*/ 1776 h 15354"/>
                <a:gd name="connsiteX4" fmla="*/ 1568 w 10004"/>
                <a:gd name="connsiteY4" fmla="*/ 0 h 15354"/>
                <a:gd name="connsiteX5" fmla="*/ 795 w 10004"/>
                <a:gd name="connsiteY5" fmla="*/ 448 h 15354"/>
                <a:gd name="connsiteX6" fmla="*/ 27 w 10004"/>
                <a:gd name="connsiteY6" fmla="*/ 1417 h 15354"/>
                <a:gd name="connsiteX7" fmla="*/ 188 w 10004"/>
                <a:gd name="connsiteY7" fmla="*/ 353 h 15354"/>
                <a:gd name="connsiteX8" fmla="*/ 289 w 10004"/>
                <a:gd name="connsiteY8" fmla="*/ 2968 h 15354"/>
                <a:gd name="connsiteX9" fmla="*/ 241 w 10004"/>
                <a:gd name="connsiteY9" fmla="*/ 9408 h 15354"/>
                <a:gd name="connsiteX10" fmla="*/ 835 w 10004"/>
                <a:gd name="connsiteY10" fmla="*/ 9378 h 15354"/>
                <a:gd name="connsiteX11" fmla="*/ 928 w 10004"/>
                <a:gd name="connsiteY11" fmla="*/ 8240 h 15354"/>
                <a:gd name="connsiteX12" fmla="*/ 1700 w 10004"/>
                <a:gd name="connsiteY12" fmla="*/ 7710 h 15354"/>
                <a:gd name="connsiteX13" fmla="*/ 2591 w 10004"/>
                <a:gd name="connsiteY13" fmla="*/ 9126 h 15354"/>
                <a:gd name="connsiteX14" fmla="*/ 3997 w 10004"/>
                <a:gd name="connsiteY14" fmla="*/ 9771 h 15354"/>
                <a:gd name="connsiteX15" fmla="*/ 4476 w 10004"/>
                <a:gd name="connsiteY15" fmla="*/ 12026 h 15354"/>
                <a:gd name="connsiteX16" fmla="*/ 7331 w 10004"/>
                <a:gd name="connsiteY16" fmla="*/ 13965 h 15354"/>
                <a:gd name="connsiteX17" fmla="*/ 7447 w 10004"/>
                <a:gd name="connsiteY17" fmla="*/ 15062 h 15354"/>
                <a:gd name="connsiteX18" fmla="*/ 8804 w 10004"/>
                <a:gd name="connsiteY18" fmla="*/ 8418 h 15354"/>
                <a:gd name="connsiteX19" fmla="*/ 8975 w 10004"/>
                <a:gd name="connsiteY19" fmla="*/ 7158 h 15354"/>
                <a:gd name="connsiteX20" fmla="*/ 9981 w 10004"/>
                <a:gd name="connsiteY20" fmla="*/ 7233 h 15354"/>
                <a:gd name="connsiteX21" fmla="*/ 10004 w 10004"/>
                <a:gd name="connsiteY21" fmla="*/ 6315 h 15354"/>
                <a:gd name="connsiteX22" fmla="*/ 7027 w 10004"/>
                <a:gd name="connsiteY22" fmla="*/ 4012 h 15354"/>
                <a:gd name="connsiteX23" fmla="*/ 6500 w 10004"/>
                <a:gd name="connsiteY23" fmla="*/ 2156 h 15354"/>
                <a:gd name="connsiteX24" fmla="*/ 5157 w 10004"/>
                <a:gd name="connsiteY24" fmla="*/ 1758 h 15354"/>
                <a:gd name="connsiteX25" fmla="*/ 4271 w 10004"/>
                <a:gd name="connsiteY25" fmla="*/ 191 h 15354"/>
                <a:gd name="connsiteX0" fmla="*/ 4271 w 10004"/>
                <a:gd name="connsiteY0" fmla="*/ 191 h 15062"/>
                <a:gd name="connsiteX1" fmla="*/ 3375 w 10004"/>
                <a:gd name="connsiteY1" fmla="*/ 393 h 15062"/>
                <a:gd name="connsiteX2" fmla="*/ 3158 w 10004"/>
                <a:gd name="connsiteY2" fmla="*/ 1663 h 15062"/>
                <a:gd name="connsiteX3" fmla="*/ 2198 w 10004"/>
                <a:gd name="connsiteY3" fmla="*/ 1776 h 15062"/>
                <a:gd name="connsiteX4" fmla="*/ 1568 w 10004"/>
                <a:gd name="connsiteY4" fmla="*/ 0 h 15062"/>
                <a:gd name="connsiteX5" fmla="*/ 795 w 10004"/>
                <a:gd name="connsiteY5" fmla="*/ 448 h 15062"/>
                <a:gd name="connsiteX6" fmla="*/ 27 w 10004"/>
                <a:gd name="connsiteY6" fmla="*/ 1417 h 15062"/>
                <a:gd name="connsiteX7" fmla="*/ 188 w 10004"/>
                <a:gd name="connsiteY7" fmla="*/ 353 h 15062"/>
                <a:gd name="connsiteX8" fmla="*/ 289 w 10004"/>
                <a:gd name="connsiteY8" fmla="*/ 2968 h 15062"/>
                <a:gd name="connsiteX9" fmla="*/ 241 w 10004"/>
                <a:gd name="connsiteY9" fmla="*/ 9408 h 15062"/>
                <a:gd name="connsiteX10" fmla="*/ 835 w 10004"/>
                <a:gd name="connsiteY10" fmla="*/ 9378 h 15062"/>
                <a:gd name="connsiteX11" fmla="*/ 928 w 10004"/>
                <a:gd name="connsiteY11" fmla="*/ 8240 h 15062"/>
                <a:gd name="connsiteX12" fmla="*/ 1700 w 10004"/>
                <a:gd name="connsiteY12" fmla="*/ 7710 h 15062"/>
                <a:gd name="connsiteX13" fmla="*/ 2591 w 10004"/>
                <a:gd name="connsiteY13" fmla="*/ 9126 h 15062"/>
                <a:gd name="connsiteX14" fmla="*/ 3997 w 10004"/>
                <a:gd name="connsiteY14" fmla="*/ 9771 h 15062"/>
                <a:gd name="connsiteX15" fmla="*/ 4476 w 10004"/>
                <a:gd name="connsiteY15" fmla="*/ 12026 h 15062"/>
                <a:gd name="connsiteX16" fmla="*/ 7331 w 10004"/>
                <a:gd name="connsiteY16" fmla="*/ 13965 h 15062"/>
                <a:gd name="connsiteX17" fmla="*/ 7447 w 10004"/>
                <a:gd name="connsiteY17" fmla="*/ 15062 h 15062"/>
                <a:gd name="connsiteX18" fmla="*/ 8804 w 10004"/>
                <a:gd name="connsiteY18" fmla="*/ 8418 h 15062"/>
                <a:gd name="connsiteX19" fmla="*/ 8975 w 10004"/>
                <a:gd name="connsiteY19" fmla="*/ 7158 h 15062"/>
                <a:gd name="connsiteX20" fmla="*/ 9981 w 10004"/>
                <a:gd name="connsiteY20" fmla="*/ 7233 h 15062"/>
                <a:gd name="connsiteX21" fmla="*/ 10004 w 10004"/>
                <a:gd name="connsiteY21" fmla="*/ 6315 h 15062"/>
                <a:gd name="connsiteX22" fmla="*/ 7027 w 10004"/>
                <a:gd name="connsiteY22" fmla="*/ 4012 h 15062"/>
                <a:gd name="connsiteX23" fmla="*/ 6500 w 10004"/>
                <a:gd name="connsiteY23" fmla="*/ 2156 h 15062"/>
                <a:gd name="connsiteX24" fmla="*/ 5157 w 10004"/>
                <a:gd name="connsiteY24" fmla="*/ 1758 h 15062"/>
                <a:gd name="connsiteX25" fmla="*/ 4271 w 10004"/>
                <a:gd name="connsiteY25" fmla="*/ 191 h 15062"/>
                <a:gd name="connsiteX0" fmla="*/ 4271 w 10004"/>
                <a:gd name="connsiteY0" fmla="*/ 191 h 15419"/>
                <a:gd name="connsiteX1" fmla="*/ 3375 w 10004"/>
                <a:gd name="connsiteY1" fmla="*/ 393 h 15419"/>
                <a:gd name="connsiteX2" fmla="*/ 3158 w 10004"/>
                <a:gd name="connsiteY2" fmla="*/ 1663 h 15419"/>
                <a:gd name="connsiteX3" fmla="*/ 2198 w 10004"/>
                <a:gd name="connsiteY3" fmla="*/ 1776 h 15419"/>
                <a:gd name="connsiteX4" fmla="*/ 1568 w 10004"/>
                <a:gd name="connsiteY4" fmla="*/ 0 h 15419"/>
                <a:gd name="connsiteX5" fmla="*/ 795 w 10004"/>
                <a:gd name="connsiteY5" fmla="*/ 448 h 15419"/>
                <a:gd name="connsiteX6" fmla="*/ 27 w 10004"/>
                <a:gd name="connsiteY6" fmla="*/ 1417 h 15419"/>
                <a:gd name="connsiteX7" fmla="*/ 188 w 10004"/>
                <a:gd name="connsiteY7" fmla="*/ 353 h 15419"/>
                <a:gd name="connsiteX8" fmla="*/ 289 w 10004"/>
                <a:gd name="connsiteY8" fmla="*/ 2968 h 15419"/>
                <a:gd name="connsiteX9" fmla="*/ 241 w 10004"/>
                <a:gd name="connsiteY9" fmla="*/ 9408 h 15419"/>
                <a:gd name="connsiteX10" fmla="*/ 835 w 10004"/>
                <a:gd name="connsiteY10" fmla="*/ 9378 h 15419"/>
                <a:gd name="connsiteX11" fmla="*/ 928 w 10004"/>
                <a:gd name="connsiteY11" fmla="*/ 8240 h 15419"/>
                <a:gd name="connsiteX12" fmla="*/ 1700 w 10004"/>
                <a:gd name="connsiteY12" fmla="*/ 7710 h 15419"/>
                <a:gd name="connsiteX13" fmla="*/ 2591 w 10004"/>
                <a:gd name="connsiteY13" fmla="*/ 9126 h 15419"/>
                <a:gd name="connsiteX14" fmla="*/ 3997 w 10004"/>
                <a:gd name="connsiteY14" fmla="*/ 9771 h 15419"/>
                <a:gd name="connsiteX15" fmla="*/ 4476 w 10004"/>
                <a:gd name="connsiteY15" fmla="*/ 12026 h 15419"/>
                <a:gd name="connsiteX16" fmla="*/ 7331 w 10004"/>
                <a:gd name="connsiteY16" fmla="*/ 13965 h 15419"/>
                <a:gd name="connsiteX17" fmla="*/ 7447 w 10004"/>
                <a:gd name="connsiteY17" fmla="*/ 15062 h 15419"/>
                <a:gd name="connsiteX18" fmla="*/ 8266 w 10004"/>
                <a:gd name="connsiteY18" fmla="*/ 14678 h 15419"/>
                <a:gd name="connsiteX19" fmla="*/ 8975 w 10004"/>
                <a:gd name="connsiteY19" fmla="*/ 7158 h 15419"/>
                <a:gd name="connsiteX20" fmla="*/ 9981 w 10004"/>
                <a:gd name="connsiteY20" fmla="*/ 7233 h 15419"/>
                <a:gd name="connsiteX21" fmla="*/ 10004 w 10004"/>
                <a:gd name="connsiteY21" fmla="*/ 6315 h 15419"/>
                <a:gd name="connsiteX22" fmla="*/ 7027 w 10004"/>
                <a:gd name="connsiteY22" fmla="*/ 4012 h 15419"/>
                <a:gd name="connsiteX23" fmla="*/ 6500 w 10004"/>
                <a:gd name="connsiteY23" fmla="*/ 2156 h 15419"/>
                <a:gd name="connsiteX24" fmla="*/ 5157 w 10004"/>
                <a:gd name="connsiteY24" fmla="*/ 1758 h 15419"/>
                <a:gd name="connsiteX25" fmla="*/ 4271 w 10004"/>
                <a:gd name="connsiteY25" fmla="*/ 191 h 15419"/>
                <a:gd name="connsiteX0" fmla="*/ 4271 w 10004"/>
                <a:gd name="connsiteY0" fmla="*/ 191 h 15488"/>
                <a:gd name="connsiteX1" fmla="*/ 3375 w 10004"/>
                <a:gd name="connsiteY1" fmla="*/ 393 h 15488"/>
                <a:gd name="connsiteX2" fmla="*/ 3158 w 10004"/>
                <a:gd name="connsiteY2" fmla="*/ 1663 h 15488"/>
                <a:gd name="connsiteX3" fmla="*/ 2198 w 10004"/>
                <a:gd name="connsiteY3" fmla="*/ 1776 h 15488"/>
                <a:gd name="connsiteX4" fmla="*/ 1568 w 10004"/>
                <a:gd name="connsiteY4" fmla="*/ 0 h 15488"/>
                <a:gd name="connsiteX5" fmla="*/ 795 w 10004"/>
                <a:gd name="connsiteY5" fmla="*/ 448 h 15488"/>
                <a:gd name="connsiteX6" fmla="*/ 27 w 10004"/>
                <a:gd name="connsiteY6" fmla="*/ 1417 h 15488"/>
                <a:gd name="connsiteX7" fmla="*/ 188 w 10004"/>
                <a:gd name="connsiteY7" fmla="*/ 353 h 15488"/>
                <a:gd name="connsiteX8" fmla="*/ 289 w 10004"/>
                <a:gd name="connsiteY8" fmla="*/ 2968 h 15488"/>
                <a:gd name="connsiteX9" fmla="*/ 241 w 10004"/>
                <a:gd name="connsiteY9" fmla="*/ 9408 h 15488"/>
                <a:gd name="connsiteX10" fmla="*/ 835 w 10004"/>
                <a:gd name="connsiteY10" fmla="*/ 9378 h 15488"/>
                <a:gd name="connsiteX11" fmla="*/ 928 w 10004"/>
                <a:gd name="connsiteY11" fmla="*/ 8240 h 15488"/>
                <a:gd name="connsiteX12" fmla="*/ 1700 w 10004"/>
                <a:gd name="connsiteY12" fmla="*/ 7710 h 15488"/>
                <a:gd name="connsiteX13" fmla="*/ 2591 w 10004"/>
                <a:gd name="connsiteY13" fmla="*/ 9126 h 15488"/>
                <a:gd name="connsiteX14" fmla="*/ 3997 w 10004"/>
                <a:gd name="connsiteY14" fmla="*/ 9771 h 15488"/>
                <a:gd name="connsiteX15" fmla="*/ 4476 w 10004"/>
                <a:gd name="connsiteY15" fmla="*/ 12026 h 15488"/>
                <a:gd name="connsiteX16" fmla="*/ 7331 w 10004"/>
                <a:gd name="connsiteY16" fmla="*/ 13965 h 15488"/>
                <a:gd name="connsiteX17" fmla="*/ 7447 w 10004"/>
                <a:gd name="connsiteY17" fmla="*/ 15062 h 15488"/>
                <a:gd name="connsiteX18" fmla="*/ 8064 w 10004"/>
                <a:gd name="connsiteY18" fmla="*/ 14782 h 15488"/>
                <a:gd name="connsiteX19" fmla="*/ 8975 w 10004"/>
                <a:gd name="connsiteY19" fmla="*/ 7158 h 15488"/>
                <a:gd name="connsiteX20" fmla="*/ 9981 w 10004"/>
                <a:gd name="connsiteY20" fmla="*/ 7233 h 15488"/>
                <a:gd name="connsiteX21" fmla="*/ 10004 w 10004"/>
                <a:gd name="connsiteY21" fmla="*/ 6315 h 15488"/>
                <a:gd name="connsiteX22" fmla="*/ 7027 w 10004"/>
                <a:gd name="connsiteY22" fmla="*/ 4012 h 15488"/>
                <a:gd name="connsiteX23" fmla="*/ 6500 w 10004"/>
                <a:gd name="connsiteY23" fmla="*/ 2156 h 15488"/>
                <a:gd name="connsiteX24" fmla="*/ 5157 w 10004"/>
                <a:gd name="connsiteY24" fmla="*/ 1758 h 15488"/>
                <a:gd name="connsiteX25" fmla="*/ 4271 w 10004"/>
                <a:gd name="connsiteY25" fmla="*/ 191 h 15488"/>
                <a:gd name="connsiteX0" fmla="*/ 4271 w 10004"/>
                <a:gd name="connsiteY0" fmla="*/ 191 h 15637"/>
                <a:gd name="connsiteX1" fmla="*/ 3375 w 10004"/>
                <a:gd name="connsiteY1" fmla="*/ 393 h 15637"/>
                <a:gd name="connsiteX2" fmla="*/ 3158 w 10004"/>
                <a:gd name="connsiteY2" fmla="*/ 1663 h 15637"/>
                <a:gd name="connsiteX3" fmla="*/ 2198 w 10004"/>
                <a:gd name="connsiteY3" fmla="*/ 1776 h 15637"/>
                <a:gd name="connsiteX4" fmla="*/ 1568 w 10004"/>
                <a:gd name="connsiteY4" fmla="*/ 0 h 15637"/>
                <a:gd name="connsiteX5" fmla="*/ 795 w 10004"/>
                <a:gd name="connsiteY5" fmla="*/ 448 h 15637"/>
                <a:gd name="connsiteX6" fmla="*/ 27 w 10004"/>
                <a:gd name="connsiteY6" fmla="*/ 1417 h 15637"/>
                <a:gd name="connsiteX7" fmla="*/ 188 w 10004"/>
                <a:gd name="connsiteY7" fmla="*/ 353 h 15637"/>
                <a:gd name="connsiteX8" fmla="*/ 289 w 10004"/>
                <a:gd name="connsiteY8" fmla="*/ 2968 h 15637"/>
                <a:gd name="connsiteX9" fmla="*/ 241 w 10004"/>
                <a:gd name="connsiteY9" fmla="*/ 9408 h 15637"/>
                <a:gd name="connsiteX10" fmla="*/ 835 w 10004"/>
                <a:gd name="connsiteY10" fmla="*/ 9378 h 15637"/>
                <a:gd name="connsiteX11" fmla="*/ 928 w 10004"/>
                <a:gd name="connsiteY11" fmla="*/ 8240 h 15637"/>
                <a:gd name="connsiteX12" fmla="*/ 1700 w 10004"/>
                <a:gd name="connsiteY12" fmla="*/ 7710 h 15637"/>
                <a:gd name="connsiteX13" fmla="*/ 2591 w 10004"/>
                <a:gd name="connsiteY13" fmla="*/ 9126 h 15637"/>
                <a:gd name="connsiteX14" fmla="*/ 3997 w 10004"/>
                <a:gd name="connsiteY14" fmla="*/ 9771 h 15637"/>
                <a:gd name="connsiteX15" fmla="*/ 4476 w 10004"/>
                <a:gd name="connsiteY15" fmla="*/ 12026 h 15637"/>
                <a:gd name="connsiteX16" fmla="*/ 7331 w 10004"/>
                <a:gd name="connsiteY16" fmla="*/ 13965 h 15637"/>
                <a:gd name="connsiteX17" fmla="*/ 7447 w 10004"/>
                <a:gd name="connsiteY17" fmla="*/ 15062 h 15637"/>
                <a:gd name="connsiteX18" fmla="*/ 8199 w 10004"/>
                <a:gd name="connsiteY18" fmla="*/ 14991 h 15637"/>
                <a:gd name="connsiteX19" fmla="*/ 8975 w 10004"/>
                <a:gd name="connsiteY19" fmla="*/ 7158 h 15637"/>
                <a:gd name="connsiteX20" fmla="*/ 9981 w 10004"/>
                <a:gd name="connsiteY20" fmla="*/ 7233 h 15637"/>
                <a:gd name="connsiteX21" fmla="*/ 10004 w 10004"/>
                <a:gd name="connsiteY21" fmla="*/ 6315 h 15637"/>
                <a:gd name="connsiteX22" fmla="*/ 7027 w 10004"/>
                <a:gd name="connsiteY22" fmla="*/ 4012 h 15637"/>
                <a:gd name="connsiteX23" fmla="*/ 6500 w 10004"/>
                <a:gd name="connsiteY23" fmla="*/ 2156 h 15637"/>
                <a:gd name="connsiteX24" fmla="*/ 5157 w 10004"/>
                <a:gd name="connsiteY24" fmla="*/ 1758 h 15637"/>
                <a:gd name="connsiteX25" fmla="*/ 4271 w 10004"/>
                <a:gd name="connsiteY25" fmla="*/ 191 h 15637"/>
                <a:gd name="connsiteX0" fmla="*/ 4271 w 10004"/>
                <a:gd name="connsiteY0" fmla="*/ 191 h 15062"/>
                <a:gd name="connsiteX1" fmla="*/ 3375 w 10004"/>
                <a:gd name="connsiteY1" fmla="*/ 393 h 15062"/>
                <a:gd name="connsiteX2" fmla="*/ 3158 w 10004"/>
                <a:gd name="connsiteY2" fmla="*/ 1663 h 15062"/>
                <a:gd name="connsiteX3" fmla="*/ 2198 w 10004"/>
                <a:gd name="connsiteY3" fmla="*/ 1776 h 15062"/>
                <a:gd name="connsiteX4" fmla="*/ 1568 w 10004"/>
                <a:gd name="connsiteY4" fmla="*/ 0 h 15062"/>
                <a:gd name="connsiteX5" fmla="*/ 795 w 10004"/>
                <a:gd name="connsiteY5" fmla="*/ 448 h 15062"/>
                <a:gd name="connsiteX6" fmla="*/ 27 w 10004"/>
                <a:gd name="connsiteY6" fmla="*/ 1417 h 15062"/>
                <a:gd name="connsiteX7" fmla="*/ 188 w 10004"/>
                <a:gd name="connsiteY7" fmla="*/ 353 h 15062"/>
                <a:gd name="connsiteX8" fmla="*/ 289 w 10004"/>
                <a:gd name="connsiteY8" fmla="*/ 2968 h 15062"/>
                <a:gd name="connsiteX9" fmla="*/ 241 w 10004"/>
                <a:gd name="connsiteY9" fmla="*/ 9408 h 15062"/>
                <a:gd name="connsiteX10" fmla="*/ 835 w 10004"/>
                <a:gd name="connsiteY10" fmla="*/ 9378 h 15062"/>
                <a:gd name="connsiteX11" fmla="*/ 928 w 10004"/>
                <a:gd name="connsiteY11" fmla="*/ 8240 h 15062"/>
                <a:gd name="connsiteX12" fmla="*/ 1700 w 10004"/>
                <a:gd name="connsiteY12" fmla="*/ 7710 h 15062"/>
                <a:gd name="connsiteX13" fmla="*/ 2591 w 10004"/>
                <a:gd name="connsiteY13" fmla="*/ 9126 h 15062"/>
                <a:gd name="connsiteX14" fmla="*/ 3997 w 10004"/>
                <a:gd name="connsiteY14" fmla="*/ 9771 h 15062"/>
                <a:gd name="connsiteX15" fmla="*/ 4476 w 10004"/>
                <a:gd name="connsiteY15" fmla="*/ 12026 h 15062"/>
                <a:gd name="connsiteX16" fmla="*/ 7331 w 10004"/>
                <a:gd name="connsiteY16" fmla="*/ 13965 h 15062"/>
                <a:gd name="connsiteX17" fmla="*/ 7447 w 10004"/>
                <a:gd name="connsiteY17" fmla="*/ 15062 h 15062"/>
                <a:gd name="connsiteX18" fmla="*/ 8199 w 10004"/>
                <a:gd name="connsiteY18" fmla="*/ 14991 h 15062"/>
                <a:gd name="connsiteX19" fmla="*/ 8975 w 10004"/>
                <a:gd name="connsiteY19" fmla="*/ 7158 h 15062"/>
                <a:gd name="connsiteX20" fmla="*/ 9981 w 10004"/>
                <a:gd name="connsiteY20" fmla="*/ 7233 h 15062"/>
                <a:gd name="connsiteX21" fmla="*/ 10004 w 10004"/>
                <a:gd name="connsiteY21" fmla="*/ 6315 h 15062"/>
                <a:gd name="connsiteX22" fmla="*/ 7027 w 10004"/>
                <a:gd name="connsiteY22" fmla="*/ 4012 h 15062"/>
                <a:gd name="connsiteX23" fmla="*/ 6500 w 10004"/>
                <a:gd name="connsiteY23" fmla="*/ 2156 h 15062"/>
                <a:gd name="connsiteX24" fmla="*/ 5157 w 10004"/>
                <a:gd name="connsiteY24" fmla="*/ 1758 h 15062"/>
                <a:gd name="connsiteX25" fmla="*/ 4271 w 10004"/>
                <a:gd name="connsiteY25" fmla="*/ 191 h 15062"/>
                <a:gd name="connsiteX0" fmla="*/ 4271 w 10096"/>
                <a:gd name="connsiteY0" fmla="*/ 191 h 15097"/>
                <a:gd name="connsiteX1" fmla="*/ 3375 w 10096"/>
                <a:gd name="connsiteY1" fmla="*/ 393 h 15097"/>
                <a:gd name="connsiteX2" fmla="*/ 3158 w 10096"/>
                <a:gd name="connsiteY2" fmla="*/ 1663 h 15097"/>
                <a:gd name="connsiteX3" fmla="*/ 2198 w 10096"/>
                <a:gd name="connsiteY3" fmla="*/ 1776 h 15097"/>
                <a:gd name="connsiteX4" fmla="*/ 1568 w 10096"/>
                <a:gd name="connsiteY4" fmla="*/ 0 h 15097"/>
                <a:gd name="connsiteX5" fmla="*/ 795 w 10096"/>
                <a:gd name="connsiteY5" fmla="*/ 448 h 15097"/>
                <a:gd name="connsiteX6" fmla="*/ 27 w 10096"/>
                <a:gd name="connsiteY6" fmla="*/ 1417 h 15097"/>
                <a:gd name="connsiteX7" fmla="*/ 188 w 10096"/>
                <a:gd name="connsiteY7" fmla="*/ 353 h 15097"/>
                <a:gd name="connsiteX8" fmla="*/ 289 w 10096"/>
                <a:gd name="connsiteY8" fmla="*/ 2968 h 15097"/>
                <a:gd name="connsiteX9" fmla="*/ 241 w 10096"/>
                <a:gd name="connsiteY9" fmla="*/ 9408 h 15097"/>
                <a:gd name="connsiteX10" fmla="*/ 835 w 10096"/>
                <a:gd name="connsiteY10" fmla="*/ 9378 h 15097"/>
                <a:gd name="connsiteX11" fmla="*/ 928 w 10096"/>
                <a:gd name="connsiteY11" fmla="*/ 8240 h 15097"/>
                <a:gd name="connsiteX12" fmla="*/ 1700 w 10096"/>
                <a:gd name="connsiteY12" fmla="*/ 7710 h 15097"/>
                <a:gd name="connsiteX13" fmla="*/ 2591 w 10096"/>
                <a:gd name="connsiteY13" fmla="*/ 9126 h 15097"/>
                <a:gd name="connsiteX14" fmla="*/ 3997 w 10096"/>
                <a:gd name="connsiteY14" fmla="*/ 9771 h 15097"/>
                <a:gd name="connsiteX15" fmla="*/ 4476 w 10096"/>
                <a:gd name="connsiteY15" fmla="*/ 12026 h 15097"/>
                <a:gd name="connsiteX16" fmla="*/ 7331 w 10096"/>
                <a:gd name="connsiteY16" fmla="*/ 13965 h 15097"/>
                <a:gd name="connsiteX17" fmla="*/ 7447 w 10096"/>
                <a:gd name="connsiteY17" fmla="*/ 15062 h 15097"/>
                <a:gd name="connsiteX18" fmla="*/ 8199 w 10096"/>
                <a:gd name="connsiteY18" fmla="*/ 14991 h 15097"/>
                <a:gd name="connsiteX19" fmla="*/ 8504 w 10096"/>
                <a:gd name="connsiteY19" fmla="*/ 13835 h 15097"/>
                <a:gd name="connsiteX20" fmla="*/ 9981 w 10096"/>
                <a:gd name="connsiteY20" fmla="*/ 7233 h 15097"/>
                <a:gd name="connsiteX21" fmla="*/ 10004 w 10096"/>
                <a:gd name="connsiteY21" fmla="*/ 6315 h 15097"/>
                <a:gd name="connsiteX22" fmla="*/ 7027 w 10096"/>
                <a:gd name="connsiteY22" fmla="*/ 4012 h 15097"/>
                <a:gd name="connsiteX23" fmla="*/ 6500 w 10096"/>
                <a:gd name="connsiteY23" fmla="*/ 2156 h 15097"/>
                <a:gd name="connsiteX24" fmla="*/ 5157 w 10096"/>
                <a:gd name="connsiteY24" fmla="*/ 1758 h 15097"/>
                <a:gd name="connsiteX25" fmla="*/ 4271 w 10096"/>
                <a:gd name="connsiteY25" fmla="*/ 191 h 15097"/>
                <a:gd name="connsiteX0" fmla="*/ 4271 w 10096"/>
                <a:gd name="connsiteY0" fmla="*/ 191 h 15162"/>
                <a:gd name="connsiteX1" fmla="*/ 3375 w 10096"/>
                <a:gd name="connsiteY1" fmla="*/ 393 h 15162"/>
                <a:gd name="connsiteX2" fmla="*/ 3158 w 10096"/>
                <a:gd name="connsiteY2" fmla="*/ 1663 h 15162"/>
                <a:gd name="connsiteX3" fmla="*/ 2198 w 10096"/>
                <a:gd name="connsiteY3" fmla="*/ 1776 h 15162"/>
                <a:gd name="connsiteX4" fmla="*/ 1568 w 10096"/>
                <a:gd name="connsiteY4" fmla="*/ 0 h 15162"/>
                <a:gd name="connsiteX5" fmla="*/ 795 w 10096"/>
                <a:gd name="connsiteY5" fmla="*/ 448 h 15162"/>
                <a:gd name="connsiteX6" fmla="*/ 27 w 10096"/>
                <a:gd name="connsiteY6" fmla="*/ 1417 h 15162"/>
                <a:gd name="connsiteX7" fmla="*/ 188 w 10096"/>
                <a:gd name="connsiteY7" fmla="*/ 353 h 15162"/>
                <a:gd name="connsiteX8" fmla="*/ 289 w 10096"/>
                <a:gd name="connsiteY8" fmla="*/ 2968 h 15162"/>
                <a:gd name="connsiteX9" fmla="*/ 241 w 10096"/>
                <a:gd name="connsiteY9" fmla="*/ 9408 h 15162"/>
                <a:gd name="connsiteX10" fmla="*/ 835 w 10096"/>
                <a:gd name="connsiteY10" fmla="*/ 9378 h 15162"/>
                <a:gd name="connsiteX11" fmla="*/ 928 w 10096"/>
                <a:gd name="connsiteY11" fmla="*/ 8240 h 15162"/>
                <a:gd name="connsiteX12" fmla="*/ 1700 w 10096"/>
                <a:gd name="connsiteY12" fmla="*/ 7710 h 15162"/>
                <a:gd name="connsiteX13" fmla="*/ 2591 w 10096"/>
                <a:gd name="connsiteY13" fmla="*/ 9126 h 15162"/>
                <a:gd name="connsiteX14" fmla="*/ 3997 w 10096"/>
                <a:gd name="connsiteY14" fmla="*/ 9771 h 15162"/>
                <a:gd name="connsiteX15" fmla="*/ 4476 w 10096"/>
                <a:gd name="connsiteY15" fmla="*/ 12026 h 15162"/>
                <a:gd name="connsiteX16" fmla="*/ 7331 w 10096"/>
                <a:gd name="connsiteY16" fmla="*/ 13965 h 15162"/>
                <a:gd name="connsiteX17" fmla="*/ 7447 w 10096"/>
                <a:gd name="connsiteY17" fmla="*/ 15062 h 15162"/>
                <a:gd name="connsiteX18" fmla="*/ 8199 w 10096"/>
                <a:gd name="connsiteY18" fmla="*/ 14991 h 15162"/>
                <a:gd name="connsiteX19" fmla="*/ 8504 w 10096"/>
                <a:gd name="connsiteY19" fmla="*/ 13835 h 15162"/>
                <a:gd name="connsiteX20" fmla="*/ 9981 w 10096"/>
                <a:gd name="connsiteY20" fmla="*/ 7233 h 15162"/>
                <a:gd name="connsiteX21" fmla="*/ 10004 w 10096"/>
                <a:gd name="connsiteY21" fmla="*/ 6315 h 15162"/>
                <a:gd name="connsiteX22" fmla="*/ 7027 w 10096"/>
                <a:gd name="connsiteY22" fmla="*/ 4012 h 15162"/>
                <a:gd name="connsiteX23" fmla="*/ 6500 w 10096"/>
                <a:gd name="connsiteY23" fmla="*/ 2156 h 15162"/>
                <a:gd name="connsiteX24" fmla="*/ 5157 w 10096"/>
                <a:gd name="connsiteY24" fmla="*/ 1758 h 15162"/>
                <a:gd name="connsiteX25" fmla="*/ 4271 w 10096"/>
                <a:gd name="connsiteY25" fmla="*/ 191 h 15162"/>
                <a:gd name="connsiteX0" fmla="*/ 4271 w 10096"/>
                <a:gd name="connsiteY0" fmla="*/ 191 h 15162"/>
                <a:gd name="connsiteX1" fmla="*/ 3375 w 10096"/>
                <a:gd name="connsiteY1" fmla="*/ 393 h 15162"/>
                <a:gd name="connsiteX2" fmla="*/ 3158 w 10096"/>
                <a:gd name="connsiteY2" fmla="*/ 1663 h 15162"/>
                <a:gd name="connsiteX3" fmla="*/ 2198 w 10096"/>
                <a:gd name="connsiteY3" fmla="*/ 1776 h 15162"/>
                <a:gd name="connsiteX4" fmla="*/ 1568 w 10096"/>
                <a:gd name="connsiteY4" fmla="*/ 0 h 15162"/>
                <a:gd name="connsiteX5" fmla="*/ 795 w 10096"/>
                <a:gd name="connsiteY5" fmla="*/ 448 h 15162"/>
                <a:gd name="connsiteX6" fmla="*/ 27 w 10096"/>
                <a:gd name="connsiteY6" fmla="*/ 1417 h 15162"/>
                <a:gd name="connsiteX7" fmla="*/ 188 w 10096"/>
                <a:gd name="connsiteY7" fmla="*/ 353 h 15162"/>
                <a:gd name="connsiteX8" fmla="*/ 289 w 10096"/>
                <a:gd name="connsiteY8" fmla="*/ 2968 h 15162"/>
                <a:gd name="connsiteX9" fmla="*/ 241 w 10096"/>
                <a:gd name="connsiteY9" fmla="*/ 9408 h 15162"/>
                <a:gd name="connsiteX10" fmla="*/ 835 w 10096"/>
                <a:gd name="connsiteY10" fmla="*/ 9378 h 15162"/>
                <a:gd name="connsiteX11" fmla="*/ 928 w 10096"/>
                <a:gd name="connsiteY11" fmla="*/ 8240 h 15162"/>
                <a:gd name="connsiteX12" fmla="*/ 1700 w 10096"/>
                <a:gd name="connsiteY12" fmla="*/ 7710 h 15162"/>
                <a:gd name="connsiteX13" fmla="*/ 2591 w 10096"/>
                <a:gd name="connsiteY13" fmla="*/ 9126 h 15162"/>
                <a:gd name="connsiteX14" fmla="*/ 3997 w 10096"/>
                <a:gd name="connsiteY14" fmla="*/ 9771 h 15162"/>
                <a:gd name="connsiteX15" fmla="*/ 4476 w 10096"/>
                <a:gd name="connsiteY15" fmla="*/ 12026 h 15162"/>
                <a:gd name="connsiteX16" fmla="*/ 7331 w 10096"/>
                <a:gd name="connsiteY16" fmla="*/ 13965 h 15162"/>
                <a:gd name="connsiteX17" fmla="*/ 7447 w 10096"/>
                <a:gd name="connsiteY17" fmla="*/ 15062 h 15162"/>
                <a:gd name="connsiteX18" fmla="*/ 8199 w 10096"/>
                <a:gd name="connsiteY18" fmla="*/ 14991 h 15162"/>
                <a:gd name="connsiteX19" fmla="*/ 8504 w 10096"/>
                <a:gd name="connsiteY19" fmla="*/ 13835 h 15162"/>
                <a:gd name="connsiteX20" fmla="*/ 9981 w 10096"/>
                <a:gd name="connsiteY20" fmla="*/ 7233 h 15162"/>
                <a:gd name="connsiteX21" fmla="*/ 10004 w 10096"/>
                <a:gd name="connsiteY21" fmla="*/ 6315 h 15162"/>
                <a:gd name="connsiteX22" fmla="*/ 7027 w 10096"/>
                <a:gd name="connsiteY22" fmla="*/ 4012 h 15162"/>
                <a:gd name="connsiteX23" fmla="*/ 6500 w 10096"/>
                <a:gd name="connsiteY23" fmla="*/ 2156 h 15162"/>
                <a:gd name="connsiteX24" fmla="*/ 5157 w 10096"/>
                <a:gd name="connsiteY24" fmla="*/ 1758 h 15162"/>
                <a:gd name="connsiteX25" fmla="*/ 4271 w 10096"/>
                <a:gd name="connsiteY25" fmla="*/ 191 h 15162"/>
                <a:gd name="connsiteX0" fmla="*/ 4271 w 10084"/>
                <a:gd name="connsiteY0" fmla="*/ 191 h 15097"/>
                <a:gd name="connsiteX1" fmla="*/ 3375 w 10084"/>
                <a:gd name="connsiteY1" fmla="*/ 393 h 15097"/>
                <a:gd name="connsiteX2" fmla="*/ 3158 w 10084"/>
                <a:gd name="connsiteY2" fmla="*/ 1663 h 15097"/>
                <a:gd name="connsiteX3" fmla="*/ 2198 w 10084"/>
                <a:gd name="connsiteY3" fmla="*/ 1776 h 15097"/>
                <a:gd name="connsiteX4" fmla="*/ 1568 w 10084"/>
                <a:gd name="connsiteY4" fmla="*/ 0 h 15097"/>
                <a:gd name="connsiteX5" fmla="*/ 795 w 10084"/>
                <a:gd name="connsiteY5" fmla="*/ 448 h 15097"/>
                <a:gd name="connsiteX6" fmla="*/ 27 w 10084"/>
                <a:gd name="connsiteY6" fmla="*/ 1417 h 15097"/>
                <a:gd name="connsiteX7" fmla="*/ 188 w 10084"/>
                <a:gd name="connsiteY7" fmla="*/ 353 h 15097"/>
                <a:gd name="connsiteX8" fmla="*/ 289 w 10084"/>
                <a:gd name="connsiteY8" fmla="*/ 2968 h 15097"/>
                <a:gd name="connsiteX9" fmla="*/ 241 w 10084"/>
                <a:gd name="connsiteY9" fmla="*/ 9408 h 15097"/>
                <a:gd name="connsiteX10" fmla="*/ 835 w 10084"/>
                <a:gd name="connsiteY10" fmla="*/ 9378 h 15097"/>
                <a:gd name="connsiteX11" fmla="*/ 928 w 10084"/>
                <a:gd name="connsiteY11" fmla="*/ 8240 h 15097"/>
                <a:gd name="connsiteX12" fmla="*/ 1700 w 10084"/>
                <a:gd name="connsiteY12" fmla="*/ 7710 h 15097"/>
                <a:gd name="connsiteX13" fmla="*/ 2591 w 10084"/>
                <a:gd name="connsiteY13" fmla="*/ 9126 h 15097"/>
                <a:gd name="connsiteX14" fmla="*/ 3997 w 10084"/>
                <a:gd name="connsiteY14" fmla="*/ 9771 h 15097"/>
                <a:gd name="connsiteX15" fmla="*/ 4476 w 10084"/>
                <a:gd name="connsiteY15" fmla="*/ 12026 h 15097"/>
                <a:gd name="connsiteX16" fmla="*/ 7331 w 10084"/>
                <a:gd name="connsiteY16" fmla="*/ 13965 h 15097"/>
                <a:gd name="connsiteX17" fmla="*/ 7447 w 10084"/>
                <a:gd name="connsiteY17" fmla="*/ 15062 h 15097"/>
                <a:gd name="connsiteX18" fmla="*/ 8199 w 10084"/>
                <a:gd name="connsiteY18" fmla="*/ 14991 h 15097"/>
                <a:gd name="connsiteX19" fmla="*/ 8504 w 10084"/>
                <a:gd name="connsiteY19" fmla="*/ 13835 h 15097"/>
                <a:gd name="connsiteX20" fmla="*/ 9173 w 10084"/>
                <a:gd name="connsiteY20" fmla="*/ 12241 h 15097"/>
                <a:gd name="connsiteX21" fmla="*/ 10004 w 10084"/>
                <a:gd name="connsiteY21" fmla="*/ 6315 h 15097"/>
                <a:gd name="connsiteX22" fmla="*/ 7027 w 10084"/>
                <a:gd name="connsiteY22" fmla="*/ 4012 h 15097"/>
                <a:gd name="connsiteX23" fmla="*/ 6500 w 10084"/>
                <a:gd name="connsiteY23" fmla="*/ 2156 h 15097"/>
                <a:gd name="connsiteX24" fmla="*/ 5157 w 10084"/>
                <a:gd name="connsiteY24" fmla="*/ 1758 h 15097"/>
                <a:gd name="connsiteX25" fmla="*/ 4271 w 10084"/>
                <a:gd name="connsiteY25" fmla="*/ 191 h 15097"/>
                <a:gd name="connsiteX0" fmla="*/ 4271 w 10082"/>
                <a:gd name="connsiteY0" fmla="*/ 191 h 15120"/>
                <a:gd name="connsiteX1" fmla="*/ 3375 w 10082"/>
                <a:gd name="connsiteY1" fmla="*/ 393 h 15120"/>
                <a:gd name="connsiteX2" fmla="*/ 3158 w 10082"/>
                <a:gd name="connsiteY2" fmla="*/ 1663 h 15120"/>
                <a:gd name="connsiteX3" fmla="*/ 2198 w 10082"/>
                <a:gd name="connsiteY3" fmla="*/ 1776 h 15120"/>
                <a:gd name="connsiteX4" fmla="*/ 1568 w 10082"/>
                <a:gd name="connsiteY4" fmla="*/ 0 h 15120"/>
                <a:gd name="connsiteX5" fmla="*/ 795 w 10082"/>
                <a:gd name="connsiteY5" fmla="*/ 448 h 15120"/>
                <a:gd name="connsiteX6" fmla="*/ 27 w 10082"/>
                <a:gd name="connsiteY6" fmla="*/ 1417 h 15120"/>
                <a:gd name="connsiteX7" fmla="*/ 188 w 10082"/>
                <a:gd name="connsiteY7" fmla="*/ 353 h 15120"/>
                <a:gd name="connsiteX8" fmla="*/ 289 w 10082"/>
                <a:gd name="connsiteY8" fmla="*/ 2968 h 15120"/>
                <a:gd name="connsiteX9" fmla="*/ 241 w 10082"/>
                <a:gd name="connsiteY9" fmla="*/ 9408 h 15120"/>
                <a:gd name="connsiteX10" fmla="*/ 835 w 10082"/>
                <a:gd name="connsiteY10" fmla="*/ 9378 h 15120"/>
                <a:gd name="connsiteX11" fmla="*/ 928 w 10082"/>
                <a:gd name="connsiteY11" fmla="*/ 8240 h 15120"/>
                <a:gd name="connsiteX12" fmla="*/ 1700 w 10082"/>
                <a:gd name="connsiteY12" fmla="*/ 7710 h 15120"/>
                <a:gd name="connsiteX13" fmla="*/ 2591 w 10082"/>
                <a:gd name="connsiteY13" fmla="*/ 9126 h 15120"/>
                <a:gd name="connsiteX14" fmla="*/ 3997 w 10082"/>
                <a:gd name="connsiteY14" fmla="*/ 9771 h 15120"/>
                <a:gd name="connsiteX15" fmla="*/ 4476 w 10082"/>
                <a:gd name="connsiteY15" fmla="*/ 12026 h 15120"/>
                <a:gd name="connsiteX16" fmla="*/ 7331 w 10082"/>
                <a:gd name="connsiteY16" fmla="*/ 13965 h 15120"/>
                <a:gd name="connsiteX17" fmla="*/ 7447 w 10082"/>
                <a:gd name="connsiteY17" fmla="*/ 15062 h 15120"/>
                <a:gd name="connsiteX18" fmla="*/ 8199 w 10082"/>
                <a:gd name="connsiteY18" fmla="*/ 14991 h 15120"/>
                <a:gd name="connsiteX19" fmla="*/ 8639 w 10082"/>
                <a:gd name="connsiteY19" fmla="*/ 13522 h 15120"/>
                <a:gd name="connsiteX20" fmla="*/ 9173 w 10082"/>
                <a:gd name="connsiteY20" fmla="*/ 12241 h 15120"/>
                <a:gd name="connsiteX21" fmla="*/ 10004 w 10082"/>
                <a:gd name="connsiteY21" fmla="*/ 6315 h 15120"/>
                <a:gd name="connsiteX22" fmla="*/ 7027 w 10082"/>
                <a:gd name="connsiteY22" fmla="*/ 4012 h 15120"/>
                <a:gd name="connsiteX23" fmla="*/ 6500 w 10082"/>
                <a:gd name="connsiteY23" fmla="*/ 2156 h 15120"/>
                <a:gd name="connsiteX24" fmla="*/ 5157 w 10082"/>
                <a:gd name="connsiteY24" fmla="*/ 1758 h 15120"/>
                <a:gd name="connsiteX25" fmla="*/ 4271 w 10082"/>
                <a:gd name="connsiteY25" fmla="*/ 191 h 15120"/>
                <a:gd name="connsiteX0" fmla="*/ 4271 w 10014"/>
                <a:gd name="connsiteY0" fmla="*/ 191 h 15120"/>
                <a:gd name="connsiteX1" fmla="*/ 3375 w 10014"/>
                <a:gd name="connsiteY1" fmla="*/ 393 h 15120"/>
                <a:gd name="connsiteX2" fmla="*/ 3158 w 10014"/>
                <a:gd name="connsiteY2" fmla="*/ 1663 h 15120"/>
                <a:gd name="connsiteX3" fmla="*/ 2198 w 10014"/>
                <a:gd name="connsiteY3" fmla="*/ 1776 h 15120"/>
                <a:gd name="connsiteX4" fmla="*/ 1568 w 10014"/>
                <a:gd name="connsiteY4" fmla="*/ 0 h 15120"/>
                <a:gd name="connsiteX5" fmla="*/ 795 w 10014"/>
                <a:gd name="connsiteY5" fmla="*/ 448 h 15120"/>
                <a:gd name="connsiteX6" fmla="*/ 27 w 10014"/>
                <a:gd name="connsiteY6" fmla="*/ 1417 h 15120"/>
                <a:gd name="connsiteX7" fmla="*/ 188 w 10014"/>
                <a:gd name="connsiteY7" fmla="*/ 353 h 15120"/>
                <a:gd name="connsiteX8" fmla="*/ 289 w 10014"/>
                <a:gd name="connsiteY8" fmla="*/ 2968 h 15120"/>
                <a:gd name="connsiteX9" fmla="*/ 241 w 10014"/>
                <a:gd name="connsiteY9" fmla="*/ 9408 h 15120"/>
                <a:gd name="connsiteX10" fmla="*/ 835 w 10014"/>
                <a:gd name="connsiteY10" fmla="*/ 9378 h 15120"/>
                <a:gd name="connsiteX11" fmla="*/ 928 w 10014"/>
                <a:gd name="connsiteY11" fmla="*/ 8240 h 15120"/>
                <a:gd name="connsiteX12" fmla="*/ 1700 w 10014"/>
                <a:gd name="connsiteY12" fmla="*/ 7710 h 15120"/>
                <a:gd name="connsiteX13" fmla="*/ 2591 w 10014"/>
                <a:gd name="connsiteY13" fmla="*/ 9126 h 15120"/>
                <a:gd name="connsiteX14" fmla="*/ 3997 w 10014"/>
                <a:gd name="connsiteY14" fmla="*/ 9771 h 15120"/>
                <a:gd name="connsiteX15" fmla="*/ 4476 w 10014"/>
                <a:gd name="connsiteY15" fmla="*/ 12026 h 15120"/>
                <a:gd name="connsiteX16" fmla="*/ 7331 w 10014"/>
                <a:gd name="connsiteY16" fmla="*/ 13965 h 15120"/>
                <a:gd name="connsiteX17" fmla="*/ 7447 w 10014"/>
                <a:gd name="connsiteY17" fmla="*/ 15062 h 15120"/>
                <a:gd name="connsiteX18" fmla="*/ 8199 w 10014"/>
                <a:gd name="connsiteY18" fmla="*/ 14991 h 15120"/>
                <a:gd name="connsiteX19" fmla="*/ 8639 w 10014"/>
                <a:gd name="connsiteY19" fmla="*/ 13522 h 15120"/>
                <a:gd name="connsiteX20" fmla="*/ 8029 w 10014"/>
                <a:gd name="connsiteY20" fmla="*/ 12032 h 15120"/>
                <a:gd name="connsiteX21" fmla="*/ 10004 w 10014"/>
                <a:gd name="connsiteY21" fmla="*/ 6315 h 15120"/>
                <a:gd name="connsiteX22" fmla="*/ 7027 w 10014"/>
                <a:gd name="connsiteY22" fmla="*/ 4012 h 15120"/>
                <a:gd name="connsiteX23" fmla="*/ 6500 w 10014"/>
                <a:gd name="connsiteY23" fmla="*/ 2156 h 15120"/>
                <a:gd name="connsiteX24" fmla="*/ 5157 w 10014"/>
                <a:gd name="connsiteY24" fmla="*/ 1758 h 15120"/>
                <a:gd name="connsiteX25" fmla="*/ 4271 w 10014"/>
                <a:gd name="connsiteY25" fmla="*/ 191 h 15120"/>
                <a:gd name="connsiteX0" fmla="*/ 4271 w 9211"/>
                <a:gd name="connsiteY0" fmla="*/ 191 h 15120"/>
                <a:gd name="connsiteX1" fmla="*/ 3375 w 9211"/>
                <a:gd name="connsiteY1" fmla="*/ 393 h 15120"/>
                <a:gd name="connsiteX2" fmla="*/ 3158 w 9211"/>
                <a:gd name="connsiteY2" fmla="*/ 1663 h 15120"/>
                <a:gd name="connsiteX3" fmla="*/ 2198 w 9211"/>
                <a:gd name="connsiteY3" fmla="*/ 1776 h 15120"/>
                <a:gd name="connsiteX4" fmla="*/ 1568 w 9211"/>
                <a:gd name="connsiteY4" fmla="*/ 0 h 15120"/>
                <a:gd name="connsiteX5" fmla="*/ 795 w 9211"/>
                <a:gd name="connsiteY5" fmla="*/ 448 h 15120"/>
                <a:gd name="connsiteX6" fmla="*/ 27 w 9211"/>
                <a:gd name="connsiteY6" fmla="*/ 1417 h 15120"/>
                <a:gd name="connsiteX7" fmla="*/ 188 w 9211"/>
                <a:gd name="connsiteY7" fmla="*/ 353 h 15120"/>
                <a:gd name="connsiteX8" fmla="*/ 289 w 9211"/>
                <a:gd name="connsiteY8" fmla="*/ 2968 h 15120"/>
                <a:gd name="connsiteX9" fmla="*/ 241 w 9211"/>
                <a:gd name="connsiteY9" fmla="*/ 9408 h 15120"/>
                <a:gd name="connsiteX10" fmla="*/ 835 w 9211"/>
                <a:gd name="connsiteY10" fmla="*/ 9378 h 15120"/>
                <a:gd name="connsiteX11" fmla="*/ 928 w 9211"/>
                <a:gd name="connsiteY11" fmla="*/ 8240 h 15120"/>
                <a:gd name="connsiteX12" fmla="*/ 1700 w 9211"/>
                <a:gd name="connsiteY12" fmla="*/ 7710 h 15120"/>
                <a:gd name="connsiteX13" fmla="*/ 2591 w 9211"/>
                <a:gd name="connsiteY13" fmla="*/ 9126 h 15120"/>
                <a:gd name="connsiteX14" fmla="*/ 3997 w 9211"/>
                <a:gd name="connsiteY14" fmla="*/ 9771 h 15120"/>
                <a:gd name="connsiteX15" fmla="*/ 4476 w 9211"/>
                <a:gd name="connsiteY15" fmla="*/ 12026 h 15120"/>
                <a:gd name="connsiteX16" fmla="*/ 7331 w 9211"/>
                <a:gd name="connsiteY16" fmla="*/ 13965 h 15120"/>
                <a:gd name="connsiteX17" fmla="*/ 7447 w 9211"/>
                <a:gd name="connsiteY17" fmla="*/ 15062 h 15120"/>
                <a:gd name="connsiteX18" fmla="*/ 8199 w 9211"/>
                <a:gd name="connsiteY18" fmla="*/ 14991 h 15120"/>
                <a:gd name="connsiteX19" fmla="*/ 8639 w 9211"/>
                <a:gd name="connsiteY19" fmla="*/ 13522 h 15120"/>
                <a:gd name="connsiteX20" fmla="*/ 8029 w 9211"/>
                <a:gd name="connsiteY20" fmla="*/ 12032 h 15120"/>
                <a:gd name="connsiteX21" fmla="*/ 9196 w 9211"/>
                <a:gd name="connsiteY21" fmla="*/ 11532 h 15120"/>
                <a:gd name="connsiteX22" fmla="*/ 7027 w 9211"/>
                <a:gd name="connsiteY22" fmla="*/ 4012 h 15120"/>
                <a:gd name="connsiteX23" fmla="*/ 6500 w 9211"/>
                <a:gd name="connsiteY23" fmla="*/ 2156 h 15120"/>
                <a:gd name="connsiteX24" fmla="*/ 5157 w 9211"/>
                <a:gd name="connsiteY24" fmla="*/ 1758 h 15120"/>
                <a:gd name="connsiteX25" fmla="*/ 4271 w 9211"/>
                <a:gd name="connsiteY25" fmla="*/ 191 h 15120"/>
                <a:gd name="connsiteX0" fmla="*/ 4637 w 10154"/>
                <a:gd name="connsiteY0" fmla="*/ 126 h 10000"/>
                <a:gd name="connsiteX1" fmla="*/ 3664 w 10154"/>
                <a:gd name="connsiteY1" fmla="*/ 260 h 10000"/>
                <a:gd name="connsiteX2" fmla="*/ 3429 w 10154"/>
                <a:gd name="connsiteY2" fmla="*/ 1100 h 10000"/>
                <a:gd name="connsiteX3" fmla="*/ 2386 w 10154"/>
                <a:gd name="connsiteY3" fmla="*/ 1175 h 10000"/>
                <a:gd name="connsiteX4" fmla="*/ 1702 w 10154"/>
                <a:gd name="connsiteY4" fmla="*/ 0 h 10000"/>
                <a:gd name="connsiteX5" fmla="*/ 863 w 10154"/>
                <a:gd name="connsiteY5" fmla="*/ 296 h 10000"/>
                <a:gd name="connsiteX6" fmla="*/ 29 w 10154"/>
                <a:gd name="connsiteY6" fmla="*/ 937 h 10000"/>
                <a:gd name="connsiteX7" fmla="*/ 204 w 10154"/>
                <a:gd name="connsiteY7" fmla="*/ 233 h 10000"/>
                <a:gd name="connsiteX8" fmla="*/ 314 w 10154"/>
                <a:gd name="connsiteY8" fmla="*/ 1963 h 10000"/>
                <a:gd name="connsiteX9" fmla="*/ 262 w 10154"/>
                <a:gd name="connsiteY9" fmla="*/ 6222 h 10000"/>
                <a:gd name="connsiteX10" fmla="*/ 907 w 10154"/>
                <a:gd name="connsiteY10" fmla="*/ 6202 h 10000"/>
                <a:gd name="connsiteX11" fmla="*/ 1007 w 10154"/>
                <a:gd name="connsiteY11" fmla="*/ 5450 h 10000"/>
                <a:gd name="connsiteX12" fmla="*/ 1846 w 10154"/>
                <a:gd name="connsiteY12" fmla="*/ 5099 h 10000"/>
                <a:gd name="connsiteX13" fmla="*/ 2813 w 10154"/>
                <a:gd name="connsiteY13" fmla="*/ 6036 h 10000"/>
                <a:gd name="connsiteX14" fmla="*/ 4339 w 10154"/>
                <a:gd name="connsiteY14" fmla="*/ 6462 h 10000"/>
                <a:gd name="connsiteX15" fmla="*/ 4859 w 10154"/>
                <a:gd name="connsiteY15" fmla="*/ 7954 h 10000"/>
                <a:gd name="connsiteX16" fmla="*/ 7959 w 10154"/>
                <a:gd name="connsiteY16" fmla="*/ 9236 h 10000"/>
                <a:gd name="connsiteX17" fmla="*/ 8085 w 10154"/>
                <a:gd name="connsiteY17" fmla="*/ 9962 h 10000"/>
                <a:gd name="connsiteX18" fmla="*/ 8901 w 10154"/>
                <a:gd name="connsiteY18" fmla="*/ 9915 h 10000"/>
                <a:gd name="connsiteX19" fmla="*/ 9379 w 10154"/>
                <a:gd name="connsiteY19" fmla="*/ 8943 h 10000"/>
                <a:gd name="connsiteX20" fmla="*/ 8717 w 10154"/>
                <a:gd name="connsiteY20" fmla="*/ 7958 h 10000"/>
                <a:gd name="connsiteX21" fmla="*/ 9984 w 10154"/>
                <a:gd name="connsiteY21" fmla="*/ 7627 h 10000"/>
                <a:gd name="connsiteX22" fmla="*/ 9821 w 10154"/>
                <a:gd name="connsiteY22" fmla="*/ 6655 h 10000"/>
                <a:gd name="connsiteX23" fmla="*/ 7057 w 10154"/>
                <a:gd name="connsiteY23" fmla="*/ 1426 h 10000"/>
                <a:gd name="connsiteX24" fmla="*/ 5599 w 10154"/>
                <a:gd name="connsiteY24" fmla="*/ 1163 h 10000"/>
                <a:gd name="connsiteX25" fmla="*/ 4637 w 10154"/>
                <a:gd name="connsiteY25" fmla="*/ 126 h 10000"/>
                <a:gd name="connsiteX0" fmla="*/ 4637 w 11866"/>
                <a:gd name="connsiteY0" fmla="*/ 126 h 10000"/>
                <a:gd name="connsiteX1" fmla="*/ 3664 w 11866"/>
                <a:gd name="connsiteY1" fmla="*/ 260 h 10000"/>
                <a:gd name="connsiteX2" fmla="*/ 3429 w 11866"/>
                <a:gd name="connsiteY2" fmla="*/ 1100 h 10000"/>
                <a:gd name="connsiteX3" fmla="*/ 2386 w 11866"/>
                <a:gd name="connsiteY3" fmla="*/ 1175 h 10000"/>
                <a:gd name="connsiteX4" fmla="*/ 1702 w 11866"/>
                <a:gd name="connsiteY4" fmla="*/ 0 h 10000"/>
                <a:gd name="connsiteX5" fmla="*/ 863 w 11866"/>
                <a:gd name="connsiteY5" fmla="*/ 296 h 10000"/>
                <a:gd name="connsiteX6" fmla="*/ 29 w 11866"/>
                <a:gd name="connsiteY6" fmla="*/ 937 h 10000"/>
                <a:gd name="connsiteX7" fmla="*/ 204 w 11866"/>
                <a:gd name="connsiteY7" fmla="*/ 233 h 10000"/>
                <a:gd name="connsiteX8" fmla="*/ 314 w 11866"/>
                <a:gd name="connsiteY8" fmla="*/ 1963 h 10000"/>
                <a:gd name="connsiteX9" fmla="*/ 262 w 11866"/>
                <a:gd name="connsiteY9" fmla="*/ 6222 h 10000"/>
                <a:gd name="connsiteX10" fmla="*/ 907 w 11866"/>
                <a:gd name="connsiteY10" fmla="*/ 6202 h 10000"/>
                <a:gd name="connsiteX11" fmla="*/ 1007 w 11866"/>
                <a:gd name="connsiteY11" fmla="*/ 5450 h 10000"/>
                <a:gd name="connsiteX12" fmla="*/ 1846 w 11866"/>
                <a:gd name="connsiteY12" fmla="*/ 5099 h 10000"/>
                <a:gd name="connsiteX13" fmla="*/ 2813 w 11866"/>
                <a:gd name="connsiteY13" fmla="*/ 6036 h 10000"/>
                <a:gd name="connsiteX14" fmla="*/ 4339 w 11866"/>
                <a:gd name="connsiteY14" fmla="*/ 6462 h 10000"/>
                <a:gd name="connsiteX15" fmla="*/ 4859 w 11866"/>
                <a:gd name="connsiteY15" fmla="*/ 7954 h 10000"/>
                <a:gd name="connsiteX16" fmla="*/ 7959 w 11866"/>
                <a:gd name="connsiteY16" fmla="*/ 9236 h 10000"/>
                <a:gd name="connsiteX17" fmla="*/ 8085 w 11866"/>
                <a:gd name="connsiteY17" fmla="*/ 9962 h 10000"/>
                <a:gd name="connsiteX18" fmla="*/ 8901 w 11866"/>
                <a:gd name="connsiteY18" fmla="*/ 9915 h 10000"/>
                <a:gd name="connsiteX19" fmla="*/ 9379 w 11866"/>
                <a:gd name="connsiteY19" fmla="*/ 8943 h 10000"/>
                <a:gd name="connsiteX20" fmla="*/ 8717 w 11866"/>
                <a:gd name="connsiteY20" fmla="*/ 7958 h 10000"/>
                <a:gd name="connsiteX21" fmla="*/ 9984 w 11866"/>
                <a:gd name="connsiteY21" fmla="*/ 7627 h 10000"/>
                <a:gd name="connsiteX22" fmla="*/ 9821 w 11866"/>
                <a:gd name="connsiteY22" fmla="*/ 6655 h 10000"/>
                <a:gd name="connsiteX23" fmla="*/ 11734 w 11866"/>
                <a:gd name="connsiteY23" fmla="*/ 6808 h 10000"/>
                <a:gd name="connsiteX24" fmla="*/ 5599 w 11866"/>
                <a:gd name="connsiteY24" fmla="*/ 1163 h 10000"/>
                <a:gd name="connsiteX25" fmla="*/ 4637 w 11866"/>
                <a:gd name="connsiteY25" fmla="*/ 126 h 10000"/>
                <a:gd name="connsiteX0" fmla="*/ 4637 w 11754"/>
                <a:gd name="connsiteY0" fmla="*/ 126 h 10000"/>
                <a:gd name="connsiteX1" fmla="*/ 3664 w 11754"/>
                <a:gd name="connsiteY1" fmla="*/ 260 h 10000"/>
                <a:gd name="connsiteX2" fmla="*/ 3429 w 11754"/>
                <a:gd name="connsiteY2" fmla="*/ 1100 h 10000"/>
                <a:gd name="connsiteX3" fmla="*/ 2386 w 11754"/>
                <a:gd name="connsiteY3" fmla="*/ 1175 h 10000"/>
                <a:gd name="connsiteX4" fmla="*/ 1702 w 11754"/>
                <a:gd name="connsiteY4" fmla="*/ 0 h 10000"/>
                <a:gd name="connsiteX5" fmla="*/ 863 w 11754"/>
                <a:gd name="connsiteY5" fmla="*/ 296 h 10000"/>
                <a:gd name="connsiteX6" fmla="*/ 29 w 11754"/>
                <a:gd name="connsiteY6" fmla="*/ 937 h 10000"/>
                <a:gd name="connsiteX7" fmla="*/ 204 w 11754"/>
                <a:gd name="connsiteY7" fmla="*/ 233 h 10000"/>
                <a:gd name="connsiteX8" fmla="*/ 314 w 11754"/>
                <a:gd name="connsiteY8" fmla="*/ 1963 h 10000"/>
                <a:gd name="connsiteX9" fmla="*/ 262 w 11754"/>
                <a:gd name="connsiteY9" fmla="*/ 6222 h 10000"/>
                <a:gd name="connsiteX10" fmla="*/ 907 w 11754"/>
                <a:gd name="connsiteY10" fmla="*/ 6202 h 10000"/>
                <a:gd name="connsiteX11" fmla="*/ 1007 w 11754"/>
                <a:gd name="connsiteY11" fmla="*/ 5450 h 10000"/>
                <a:gd name="connsiteX12" fmla="*/ 1846 w 11754"/>
                <a:gd name="connsiteY12" fmla="*/ 5099 h 10000"/>
                <a:gd name="connsiteX13" fmla="*/ 2813 w 11754"/>
                <a:gd name="connsiteY13" fmla="*/ 6036 h 10000"/>
                <a:gd name="connsiteX14" fmla="*/ 4339 w 11754"/>
                <a:gd name="connsiteY14" fmla="*/ 6462 h 10000"/>
                <a:gd name="connsiteX15" fmla="*/ 4859 w 11754"/>
                <a:gd name="connsiteY15" fmla="*/ 7954 h 10000"/>
                <a:gd name="connsiteX16" fmla="*/ 7959 w 11754"/>
                <a:gd name="connsiteY16" fmla="*/ 9236 h 10000"/>
                <a:gd name="connsiteX17" fmla="*/ 8085 w 11754"/>
                <a:gd name="connsiteY17" fmla="*/ 9962 h 10000"/>
                <a:gd name="connsiteX18" fmla="*/ 8901 w 11754"/>
                <a:gd name="connsiteY18" fmla="*/ 9915 h 10000"/>
                <a:gd name="connsiteX19" fmla="*/ 9379 w 11754"/>
                <a:gd name="connsiteY19" fmla="*/ 8943 h 10000"/>
                <a:gd name="connsiteX20" fmla="*/ 8717 w 11754"/>
                <a:gd name="connsiteY20" fmla="*/ 7958 h 10000"/>
                <a:gd name="connsiteX21" fmla="*/ 9984 w 11754"/>
                <a:gd name="connsiteY21" fmla="*/ 7627 h 10000"/>
                <a:gd name="connsiteX22" fmla="*/ 9821 w 11754"/>
                <a:gd name="connsiteY22" fmla="*/ 6655 h 10000"/>
                <a:gd name="connsiteX23" fmla="*/ 11734 w 11754"/>
                <a:gd name="connsiteY23" fmla="*/ 6808 h 10000"/>
                <a:gd name="connsiteX24" fmla="*/ 10422 w 11754"/>
                <a:gd name="connsiteY24" fmla="*/ 5372 h 10000"/>
                <a:gd name="connsiteX25" fmla="*/ 4637 w 11754"/>
                <a:gd name="connsiteY25" fmla="*/ 126 h 10000"/>
                <a:gd name="connsiteX0" fmla="*/ 8291 w 11742"/>
                <a:gd name="connsiteY0" fmla="*/ 6129 h 10000"/>
                <a:gd name="connsiteX1" fmla="*/ 3664 w 11742"/>
                <a:gd name="connsiteY1" fmla="*/ 260 h 10000"/>
                <a:gd name="connsiteX2" fmla="*/ 3429 w 11742"/>
                <a:gd name="connsiteY2" fmla="*/ 1100 h 10000"/>
                <a:gd name="connsiteX3" fmla="*/ 2386 w 11742"/>
                <a:gd name="connsiteY3" fmla="*/ 1175 h 10000"/>
                <a:gd name="connsiteX4" fmla="*/ 1702 w 11742"/>
                <a:gd name="connsiteY4" fmla="*/ 0 h 10000"/>
                <a:gd name="connsiteX5" fmla="*/ 863 w 11742"/>
                <a:gd name="connsiteY5" fmla="*/ 296 h 10000"/>
                <a:gd name="connsiteX6" fmla="*/ 29 w 11742"/>
                <a:gd name="connsiteY6" fmla="*/ 937 h 10000"/>
                <a:gd name="connsiteX7" fmla="*/ 204 w 11742"/>
                <a:gd name="connsiteY7" fmla="*/ 233 h 10000"/>
                <a:gd name="connsiteX8" fmla="*/ 314 w 11742"/>
                <a:gd name="connsiteY8" fmla="*/ 1963 h 10000"/>
                <a:gd name="connsiteX9" fmla="*/ 262 w 11742"/>
                <a:gd name="connsiteY9" fmla="*/ 6222 h 10000"/>
                <a:gd name="connsiteX10" fmla="*/ 907 w 11742"/>
                <a:gd name="connsiteY10" fmla="*/ 6202 h 10000"/>
                <a:gd name="connsiteX11" fmla="*/ 1007 w 11742"/>
                <a:gd name="connsiteY11" fmla="*/ 5450 h 10000"/>
                <a:gd name="connsiteX12" fmla="*/ 1846 w 11742"/>
                <a:gd name="connsiteY12" fmla="*/ 5099 h 10000"/>
                <a:gd name="connsiteX13" fmla="*/ 2813 w 11742"/>
                <a:gd name="connsiteY13" fmla="*/ 6036 h 10000"/>
                <a:gd name="connsiteX14" fmla="*/ 4339 w 11742"/>
                <a:gd name="connsiteY14" fmla="*/ 6462 h 10000"/>
                <a:gd name="connsiteX15" fmla="*/ 4859 w 11742"/>
                <a:gd name="connsiteY15" fmla="*/ 7954 h 10000"/>
                <a:gd name="connsiteX16" fmla="*/ 7959 w 11742"/>
                <a:gd name="connsiteY16" fmla="*/ 9236 h 10000"/>
                <a:gd name="connsiteX17" fmla="*/ 8085 w 11742"/>
                <a:gd name="connsiteY17" fmla="*/ 9962 h 10000"/>
                <a:gd name="connsiteX18" fmla="*/ 8901 w 11742"/>
                <a:gd name="connsiteY18" fmla="*/ 9915 h 10000"/>
                <a:gd name="connsiteX19" fmla="*/ 9379 w 11742"/>
                <a:gd name="connsiteY19" fmla="*/ 8943 h 10000"/>
                <a:gd name="connsiteX20" fmla="*/ 8717 w 11742"/>
                <a:gd name="connsiteY20" fmla="*/ 7958 h 10000"/>
                <a:gd name="connsiteX21" fmla="*/ 9984 w 11742"/>
                <a:gd name="connsiteY21" fmla="*/ 7627 h 10000"/>
                <a:gd name="connsiteX22" fmla="*/ 9821 w 11742"/>
                <a:gd name="connsiteY22" fmla="*/ 6655 h 10000"/>
                <a:gd name="connsiteX23" fmla="*/ 11734 w 11742"/>
                <a:gd name="connsiteY23" fmla="*/ 6808 h 10000"/>
                <a:gd name="connsiteX24" fmla="*/ 10422 w 11742"/>
                <a:gd name="connsiteY24" fmla="*/ 5372 h 10000"/>
                <a:gd name="connsiteX25" fmla="*/ 8291 w 11742"/>
                <a:gd name="connsiteY25" fmla="*/ 6129 h 10000"/>
                <a:gd name="connsiteX0" fmla="*/ 8291 w 11742"/>
                <a:gd name="connsiteY0" fmla="*/ 6129 h 10000"/>
                <a:gd name="connsiteX1" fmla="*/ 6952 w 11742"/>
                <a:gd name="connsiteY1" fmla="*/ 3227 h 10000"/>
                <a:gd name="connsiteX2" fmla="*/ 3429 w 11742"/>
                <a:gd name="connsiteY2" fmla="*/ 1100 h 10000"/>
                <a:gd name="connsiteX3" fmla="*/ 2386 w 11742"/>
                <a:gd name="connsiteY3" fmla="*/ 1175 h 10000"/>
                <a:gd name="connsiteX4" fmla="*/ 1702 w 11742"/>
                <a:gd name="connsiteY4" fmla="*/ 0 h 10000"/>
                <a:gd name="connsiteX5" fmla="*/ 863 w 11742"/>
                <a:gd name="connsiteY5" fmla="*/ 296 h 10000"/>
                <a:gd name="connsiteX6" fmla="*/ 29 w 11742"/>
                <a:gd name="connsiteY6" fmla="*/ 937 h 10000"/>
                <a:gd name="connsiteX7" fmla="*/ 204 w 11742"/>
                <a:gd name="connsiteY7" fmla="*/ 233 h 10000"/>
                <a:gd name="connsiteX8" fmla="*/ 314 w 11742"/>
                <a:gd name="connsiteY8" fmla="*/ 1963 h 10000"/>
                <a:gd name="connsiteX9" fmla="*/ 262 w 11742"/>
                <a:gd name="connsiteY9" fmla="*/ 6222 h 10000"/>
                <a:gd name="connsiteX10" fmla="*/ 907 w 11742"/>
                <a:gd name="connsiteY10" fmla="*/ 6202 h 10000"/>
                <a:gd name="connsiteX11" fmla="*/ 1007 w 11742"/>
                <a:gd name="connsiteY11" fmla="*/ 5450 h 10000"/>
                <a:gd name="connsiteX12" fmla="*/ 1846 w 11742"/>
                <a:gd name="connsiteY12" fmla="*/ 5099 h 10000"/>
                <a:gd name="connsiteX13" fmla="*/ 2813 w 11742"/>
                <a:gd name="connsiteY13" fmla="*/ 6036 h 10000"/>
                <a:gd name="connsiteX14" fmla="*/ 4339 w 11742"/>
                <a:gd name="connsiteY14" fmla="*/ 6462 h 10000"/>
                <a:gd name="connsiteX15" fmla="*/ 4859 w 11742"/>
                <a:gd name="connsiteY15" fmla="*/ 7954 h 10000"/>
                <a:gd name="connsiteX16" fmla="*/ 7959 w 11742"/>
                <a:gd name="connsiteY16" fmla="*/ 9236 h 10000"/>
                <a:gd name="connsiteX17" fmla="*/ 8085 w 11742"/>
                <a:gd name="connsiteY17" fmla="*/ 9962 h 10000"/>
                <a:gd name="connsiteX18" fmla="*/ 8901 w 11742"/>
                <a:gd name="connsiteY18" fmla="*/ 9915 h 10000"/>
                <a:gd name="connsiteX19" fmla="*/ 9379 w 11742"/>
                <a:gd name="connsiteY19" fmla="*/ 8943 h 10000"/>
                <a:gd name="connsiteX20" fmla="*/ 8717 w 11742"/>
                <a:gd name="connsiteY20" fmla="*/ 7958 h 10000"/>
                <a:gd name="connsiteX21" fmla="*/ 9984 w 11742"/>
                <a:gd name="connsiteY21" fmla="*/ 7627 h 10000"/>
                <a:gd name="connsiteX22" fmla="*/ 9821 w 11742"/>
                <a:gd name="connsiteY22" fmla="*/ 6655 h 10000"/>
                <a:gd name="connsiteX23" fmla="*/ 11734 w 11742"/>
                <a:gd name="connsiteY23" fmla="*/ 6808 h 10000"/>
                <a:gd name="connsiteX24" fmla="*/ 10422 w 11742"/>
                <a:gd name="connsiteY24" fmla="*/ 5372 h 10000"/>
                <a:gd name="connsiteX25" fmla="*/ 8291 w 11742"/>
                <a:gd name="connsiteY25" fmla="*/ 6129 h 10000"/>
                <a:gd name="connsiteX0" fmla="*/ 8291 w 11742"/>
                <a:gd name="connsiteY0" fmla="*/ 6129 h 10000"/>
                <a:gd name="connsiteX1" fmla="*/ 6952 w 11742"/>
                <a:gd name="connsiteY1" fmla="*/ 3227 h 10000"/>
                <a:gd name="connsiteX2" fmla="*/ 4014 w 11742"/>
                <a:gd name="connsiteY2" fmla="*/ 3239 h 10000"/>
                <a:gd name="connsiteX3" fmla="*/ 2386 w 11742"/>
                <a:gd name="connsiteY3" fmla="*/ 1175 h 10000"/>
                <a:gd name="connsiteX4" fmla="*/ 1702 w 11742"/>
                <a:gd name="connsiteY4" fmla="*/ 0 h 10000"/>
                <a:gd name="connsiteX5" fmla="*/ 863 w 11742"/>
                <a:gd name="connsiteY5" fmla="*/ 296 h 10000"/>
                <a:gd name="connsiteX6" fmla="*/ 29 w 11742"/>
                <a:gd name="connsiteY6" fmla="*/ 937 h 10000"/>
                <a:gd name="connsiteX7" fmla="*/ 204 w 11742"/>
                <a:gd name="connsiteY7" fmla="*/ 233 h 10000"/>
                <a:gd name="connsiteX8" fmla="*/ 314 w 11742"/>
                <a:gd name="connsiteY8" fmla="*/ 1963 h 10000"/>
                <a:gd name="connsiteX9" fmla="*/ 262 w 11742"/>
                <a:gd name="connsiteY9" fmla="*/ 6222 h 10000"/>
                <a:gd name="connsiteX10" fmla="*/ 907 w 11742"/>
                <a:gd name="connsiteY10" fmla="*/ 6202 h 10000"/>
                <a:gd name="connsiteX11" fmla="*/ 1007 w 11742"/>
                <a:gd name="connsiteY11" fmla="*/ 5450 h 10000"/>
                <a:gd name="connsiteX12" fmla="*/ 1846 w 11742"/>
                <a:gd name="connsiteY12" fmla="*/ 5099 h 10000"/>
                <a:gd name="connsiteX13" fmla="*/ 2813 w 11742"/>
                <a:gd name="connsiteY13" fmla="*/ 6036 h 10000"/>
                <a:gd name="connsiteX14" fmla="*/ 4339 w 11742"/>
                <a:gd name="connsiteY14" fmla="*/ 6462 h 10000"/>
                <a:gd name="connsiteX15" fmla="*/ 4859 w 11742"/>
                <a:gd name="connsiteY15" fmla="*/ 7954 h 10000"/>
                <a:gd name="connsiteX16" fmla="*/ 7959 w 11742"/>
                <a:gd name="connsiteY16" fmla="*/ 9236 h 10000"/>
                <a:gd name="connsiteX17" fmla="*/ 8085 w 11742"/>
                <a:gd name="connsiteY17" fmla="*/ 9962 h 10000"/>
                <a:gd name="connsiteX18" fmla="*/ 8901 w 11742"/>
                <a:gd name="connsiteY18" fmla="*/ 9915 h 10000"/>
                <a:gd name="connsiteX19" fmla="*/ 9379 w 11742"/>
                <a:gd name="connsiteY19" fmla="*/ 8943 h 10000"/>
                <a:gd name="connsiteX20" fmla="*/ 8717 w 11742"/>
                <a:gd name="connsiteY20" fmla="*/ 7958 h 10000"/>
                <a:gd name="connsiteX21" fmla="*/ 9984 w 11742"/>
                <a:gd name="connsiteY21" fmla="*/ 7627 h 10000"/>
                <a:gd name="connsiteX22" fmla="*/ 9821 w 11742"/>
                <a:gd name="connsiteY22" fmla="*/ 6655 h 10000"/>
                <a:gd name="connsiteX23" fmla="*/ 11734 w 11742"/>
                <a:gd name="connsiteY23" fmla="*/ 6808 h 10000"/>
                <a:gd name="connsiteX24" fmla="*/ 10422 w 11742"/>
                <a:gd name="connsiteY24" fmla="*/ 5372 h 10000"/>
                <a:gd name="connsiteX25" fmla="*/ 8291 w 11742"/>
                <a:gd name="connsiteY25" fmla="*/ 6129 h 10000"/>
                <a:gd name="connsiteX0" fmla="*/ 8291 w 11742"/>
                <a:gd name="connsiteY0" fmla="*/ 6129 h 10000"/>
                <a:gd name="connsiteX1" fmla="*/ 6952 w 11742"/>
                <a:gd name="connsiteY1" fmla="*/ 3227 h 10000"/>
                <a:gd name="connsiteX2" fmla="*/ 4014 w 11742"/>
                <a:gd name="connsiteY2" fmla="*/ 3239 h 10000"/>
                <a:gd name="connsiteX3" fmla="*/ 2751 w 11742"/>
                <a:gd name="connsiteY3" fmla="*/ 1520 h 10000"/>
                <a:gd name="connsiteX4" fmla="*/ 1702 w 11742"/>
                <a:gd name="connsiteY4" fmla="*/ 0 h 10000"/>
                <a:gd name="connsiteX5" fmla="*/ 863 w 11742"/>
                <a:gd name="connsiteY5" fmla="*/ 296 h 10000"/>
                <a:gd name="connsiteX6" fmla="*/ 29 w 11742"/>
                <a:gd name="connsiteY6" fmla="*/ 937 h 10000"/>
                <a:gd name="connsiteX7" fmla="*/ 204 w 11742"/>
                <a:gd name="connsiteY7" fmla="*/ 233 h 10000"/>
                <a:gd name="connsiteX8" fmla="*/ 314 w 11742"/>
                <a:gd name="connsiteY8" fmla="*/ 1963 h 10000"/>
                <a:gd name="connsiteX9" fmla="*/ 262 w 11742"/>
                <a:gd name="connsiteY9" fmla="*/ 6222 h 10000"/>
                <a:gd name="connsiteX10" fmla="*/ 907 w 11742"/>
                <a:gd name="connsiteY10" fmla="*/ 6202 h 10000"/>
                <a:gd name="connsiteX11" fmla="*/ 1007 w 11742"/>
                <a:gd name="connsiteY11" fmla="*/ 5450 h 10000"/>
                <a:gd name="connsiteX12" fmla="*/ 1846 w 11742"/>
                <a:gd name="connsiteY12" fmla="*/ 5099 h 10000"/>
                <a:gd name="connsiteX13" fmla="*/ 2813 w 11742"/>
                <a:gd name="connsiteY13" fmla="*/ 6036 h 10000"/>
                <a:gd name="connsiteX14" fmla="*/ 4339 w 11742"/>
                <a:gd name="connsiteY14" fmla="*/ 6462 h 10000"/>
                <a:gd name="connsiteX15" fmla="*/ 4859 w 11742"/>
                <a:gd name="connsiteY15" fmla="*/ 7954 h 10000"/>
                <a:gd name="connsiteX16" fmla="*/ 7959 w 11742"/>
                <a:gd name="connsiteY16" fmla="*/ 9236 h 10000"/>
                <a:gd name="connsiteX17" fmla="*/ 8085 w 11742"/>
                <a:gd name="connsiteY17" fmla="*/ 9962 h 10000"/>
                <a:gd name="connsiteX18" fmla="*/ 8901 w 11742"/>
                <a:gd name="connsiteY18" fmla="*/ 9915 h 10000"/>
                <a:gd name="connsiteX19" fmla="*/ 9379 w 11742"/>
                <a:gd name="connsiteY19" fmla="*/ 8943 h 10000"/>
                <a:gd name="connsiteX20" fmla="*/ 8717 w 11742"/>
                <a:gd name="connsiteY20" fmla="*/ 7958 h 10000"/>
                <a:gd name="connsiteX21" fmla="*/ 9984 w 11742"/>
                <a:gd name="connsiteY21" fmla="*/ 7627 h 10000"/>
                <a:gd name="connsiteX22" fmla="*/ 9821 w 11742"/>
                <a:gd name="connsiteY22" fmla="*/ 6655 h 10000"/>
                <a:gd name="connsiteX23" fmla="*/ 11734 w 11742"/>
                <a:gd name="connsiteY23" fmla="*/ 6808 h 10000"/>
                <a:gd name="connsiteX24" fmla="*/ 10422 w 11742"/>
                <a:gd name="connsiteY24" fmla="*/ 5372 h 10000"/>
                <a:gd name="connsiteX25" fmla="*/ 8291 w 11742"/>
                <a:gd name="connsiteY25" fmla="*/ 6129 h 10000"/>
                <a:gd name="connsiteX0" fmla="*/ 8291 w 11742"/>
                <a:gd name="connsiteY0" fmla="*/ 5944 h 9815"/>
                <a:gd name="connsiteX1" fmla="*/ 6952 w 11742"/>
                <a:gd name="connsiteY1" fmla="*/ 3042 h 9815"/>
                <a:gd name="connsiteX2" fmla="*/ 4014 w 11742"/>
                <a:gd name="connsiteY2" fmla="*/ 3054 h 9815"/>
                <a:gd name="connsiteX3" fmla="*/ 2751 w 11742"/>
                <a:gd name="connsiteY3" fmla="*/ 1335 h 9815"/>
                <a:gd name="connsiteX4" fmla="*/ 863 w 11742"/>
                <a:gd name="connsiteY4" fmla="*/ 111 h 9815"/>
                <a:gd name="connsiteX5" fmla="*/ 29 w 11742"/>
                <a:gd name="connsiteY5" fmla="*/ 752 h 9815"/>
                <a:gd name="connsiteX6" fmla="*/ 204 w 11742"/>
                <a:gd name="connsiteY6" fmla="*/ 48 h 9815"/>
                <a:gd name="connsiteX7" fmla="*/ 314 w 11742"/>
                <a:gd name="connsiteY7" fmla="*/ 1778 h 9815"/>
                <a:gd name="connsiteX8" fmla="*/ 262 w 11742"/>
                <a:gd name="connsiteY8" fmla="*/ 6037 h 9815"/>
                <a:gd name="connsiteX9" fmla="*/ 907 w 11742"/>
                <a:gd name="connsiteY9" fmla="*/ 6017 h 9815"/>
                <a:gd name="connsiteX10" fmla="*/ 1007 w 11742"/>
                <a:gd name="connsiteY10" fmla="*/ 5265 h 9815"/>
                <a:gd name="connsiteX11" fmla="*/ 1846 w 11742"/>
                <a:gd name="connsiteY11" fmla="*/ 4914 h 9815"/>
                <a:gd name="connsiteX12" fmla="*/ 2813 w 11742"/>
                <a:gd name="connsiteY12" fmla="*/ 5851 h 9815"/>
                <a:gd name="connsiteX13" fmla="*/ 4339 w 11742"/>
                <a:gd name="connsiteY13" fmla="*/ 6277 h 9815"/>
                <a:gd name="connsiteX14" fmla="*/ 4859 w 11742"/>
                <a:gd name="connsiteY14" fmla="*/ 7769 h 9815"/>
                <a:gd name="connsiteX15" fmla="*/ 7959 w 11742"/>
                <a:gd name="connsiteY15" fmla="*/ 9051 h 9815"/>
                <a:gd name="connsiteX16" fmla="*/ 8085 w 11742"/>
                <a:gd name="connsiteY16" fmla="*/ 9777 h 9815"/>
                <a:gd name="connsiteX17" fmla="*/ 8901 w 11742"/>
                <a:gd name="connsiteY17" fmla="*/ 9730 h 9815"/>
                <a:gd name="connsiteX18" fmla="*/ 9379 w 11742"/>
                <a:gd name="connsiteY18" fmla="*/ 8758 h 9815"/>
                <a:gd name="connsiteX19" fmla="*/ 8717 w 11742"/>
                <a:gd name="connsiteY19" fmla="*/ 7773 h 9815"/>
                <a:gd name="connsiteX20" fmla="*/ 9984 w 11742"/>
                <a:gd name="connsiteY20" fmla="*/ 7442 h 9815"/>
                <a:gd name="connsiteX21" fmla="*/ 9821 w 11742"/>
                <a:gd name="connsiteY21" fmla="*/ 6470 h 9815"/>
                <a:gd name="connsiteX22" fmla="*/ 11734 w 11742"/>
                <a:gd name="connsiteY22" fmla="*/ 6623 h 9815"/>
                <a:gd name="connsiteX23" fmla="*/ 10422 w 11742"/>
                <a:gd name="connsiteY23" fmla="*/ 5187 h 9815"/>
                <a:gd name="connsiteX24" fmla="*/ 8291 w 11742"/>
                <a:gd name="connsiteY24" fmla="*/ 5944 h 9815"/>
                <a:gd name="connsiteX0" fmla="*/ 7061 w 9999"/>
                <a:gd name="connsiteY0" fmla="*/ 6056 h 10000"/>
                <a:gd name="connsiteX1" fmla="*/ 5921 w 9999"/>
                <a:gd name="connsiteY1" fmla="*/ 3099 h 10000"/>
                <a:gd name="connsiteX2" fmla="*/ 3418 w 9999"/>
                <a:gd name="connsiteY2" fmla="*/ 3112 h 10000"/>
                <a:gd name="connsiteX3" fmla="*/ 2343 w 9999"/>
                <a:gd name="connsiteY3" fmla="*/ 1360 h 10000"/>
                <a:gd name="connsiteX4" fmla="*/ 25 w 9999"/>
                <a:gd name="connsiteY4" fmla="*/ 766 h 10000"/>
                <a:gd name="connsiteX5" fmla="*/ 174 w 9999"/>
                <a:gd name="connsiteY5" fmla="*/ 49 h 10000"/>
                <a:gd name="connsiteX6" fmla="*/ 267 w 9999"/>
                <a:gd name="connsiteY6" fmla="*/ 1812 h 10000"/>
                <a:gd name="connsiteX7" fmla="*/ 223 w 9999"/>
                <a:gd name="connsiteY7" fmla="*/ 6151 h 10000"/>
                <a:gd name="connsiteX8" fmla="*/ 772 w 9999"/>
                <a:gd name="connsiteY8" fmla="*/ 6130 h 10000"/>
                <a:gd name="connsiteX9" fmla="*/ 858 w 9999"/>
                <a:gd name="connsiteY9" fmla="*/ 5364 h 10000"/>
                <a:gd name="connsiteX10" fmla="*/ 1572 w 9999"/>
                <a:gd name="connsiteY10" fmla="*/ 5007 h 10000"/>
                <a:gd name="connsiteX11" fmla="*/ 2396 w 9999"/>
                <a:gd name="connsiteY11" fmla="*/ 5961 h 10000"/>
                <a:gd name="connsiteX12" fmla="*/ 3695 w 9999"/>
                <a:gd name="connsiteY12" fmla="*/ 6395 h 10000"/>
                <a:gd name="connsiteX13" fmla="*/ 4138 w 9999"/>
                <a:gd name="connsiteY13" fmla="*/ 7915 h 10000"/>
                <a:gd name="connsiteX14" fmla="*/ 6778 w 9999"/>
                <a:gd name="connsiteY14" fmla="*/ 9222 h 10000"/>
                <a:gd name="connsiteX15" fmla="*/ 6886 w 9999"/>
                <a:gd name="connsiteY15" fmla="*/ 9961 h 10000"/>
                <a:gd name="connsiteX16" fmla="*/ 7580 w 9999"/>
                <a:gd name="connsiteY16" fmla="*/ 9913 h 10000"/>
                <a:gd name="connsiteX17" fmla="*/ 7988 w 9999"/>
                <a:gd name="connsiteY17" fmla="*/ 8923 h 10000"/>
                <a:gd name="connsiteX18" fmla="*/ 7424 w 9999"/>
                <a:gd name="connsiteY18" fmla="*/ 7920 h 10000"/>
                <a:gd name="connsiteX19" fmla="*/ 8503 w 9999"/>
                <a:gd name="connsiteY19" fmla="*/ 7582 h 10000"/>
                <a:gd name="connsiteX20" fmla="*/ 8364 w 9999"/>
                <a:gd name="connsiteY20" fmla="*/ 6592 h 10000"/>
                <a:gd name="connsiteX21" fmla="*/ 9993 w 9999"/>
                <a:gd name="connsiteY21" fmla="*/ 6748 h 10000"/>
                <a:gd name="connsiteX22" fmla="*/ 8876 w 9999"/>
                <a:gd name="connsiteY22" fmla="*/ 5285 h 10000"/>
                <a:gd name="connsiteX23" fmla="*/ 7061 w 9999"/>
                <a:gd name="connsiteY23" fmla="*/ 6056 h 10000"/>
                <a:gd name="connsiteX0" fmla="*/ 6888 w 9826"/>
                <a:gd name="connsiteY0" fmla="*/ 6012 h 9956"/>
                <a:gd name="connsiteX1" fmla="*/ 5748 w 9826"/>
                <a:gd name="connsiteY1" fmla="*/ 3055 h 9956"/>
                <a:gd name="connsiteX2" fmla="*/ 3244 w 9826"/>
                <a:gd name="connsiteY2" fmla="*/ 3068 h 9956"/>
                <a:gd name="connsiteX3" fmla="*/ 2169 w 9826"/>
                <a:gd name="connsiteY3" fmla="*/ 1316 h 9956"/>
                <a:gd name="connsiteX4" fmla="*/ 0 w 9826"/>
                <a:gd name="connsiteY4" fmla="*/ 5 h 9956"/>
                <a:gd name="connsiteX5" fmla="*/ 93 w 9826"/>
                <a:gd name="connsiteY5" fmla="*/ 1768 h 9956"/>
                <a:gd name="connsiteX6" fmla="*/ 49 w 9826"/>
                <a:gd name="connsiteY6" fmla="*/ 6107 h 9956"/>
                <a:gd name="connsiteX7" fmla="*/ 598 w 9826"/>
                <a:gd name="connsiteY7" fmla="*/ 6086 h 9956"/>
                <a:gd name="connsiteX8" fmla="*/ 684 w 9826"/>
                <a:gd name="connsiteY8" fmla="*/ 5320 h 9956"/>
                <a:gd name="connsiteX9" fmla="*/ 1398 w 9826"/>
                <a:gd name="connsiteY9" fmla="*/ 4963 h 9956"/>
                <a:gd name="connsiteX10" fmla="*/ 2222 w 9826"/>
                <a:gd name="connsiteY10" fmla="*/ 5917 h 9956"/>
                <a:gd name="connsiteX11" fmla="*/ 3521 w 9826"/>
                <a:gd name="connsiteY11" fmla="*/ 6351 h 9956"/>
                <a:gd name="connsiteX12" fmla="*/ 3964 w 9826"/>
                <a:gd name="connsiteY12" fmla="*/ 7871 h 9956"/>
                <a:gd name="connsiteX13" fmla="*/ 6605 w 9826"/>
                <a:gd name="connsiteY13" fmla="*/ 9178 h 9956"/>
                <a:gd name="connsiteX14" fmla="*/ 6713 w 9826"/>
                <a:gd name="connsiteY14" fmla="*/ 9917 h 9956"/>
                <a:gd name="connsiteX15" fmla="*/ 7407 w 9826"/>
                <a:gd name="connsiteY15" fmla="*/ 9869 h 9956"/>
                <a:gd name="connsiteX16" fmla="*/ 7815 w 9826"/>
                <a:gd name="connsiteY16" fmla="*/ 8879 h 9956"/>
                <a:gd name="connsiteX17" fmla="*/ 7251 w 9826"/>
                <a:gd name="connsiteY17" fmla="*/ 7876 h 9956"/>
                <a:gd name="connsiteX18" fmla="*/ 8330 w 9826"/>
                <a:gd name="connsiteY18" fmla="*/ 7538 h 9956"/>
                <a:gd name="connsiteX19" fmla="*/ 8191 w 9826"/>
                <a:gd name="connsiteY19" fmla="*/ 6548 h 9956"/>
                <a:gd name="connsiteX20" fmla="*/ 9820 w 9826"/>
                <a:gd name="connsiteY20" fmla="*/ 6704 h 9956"/>
                <a:gd name="connsiteX21" fmla="*/ 8703 w 9826"/>
                <a:gd name="connsiteY21" fmla="*/ 5241 h 9956"/>
                <a:gd name="connsiteX22" fmla="*/ 6888 w 9826"/>
                <a:gd name="connsiteY22" fmla="*/ 6012 h 9956"/>
                <a:gd name="connsiteX0" fmla="*/ 6992 w 9983"/>
                <a:gd name="connsiteY0" fmla="*/ 4908 h 8869"/>
                <a:gd name="connsiteX1" fmla="*/ 5832 w 9983"/>
                <a:gd name="connsiteY1" fmla="*/ 1938 h 8869"/>
                <a:gd name="connsiteX2" fmla="*/ 3283 w 9983"/>
                <a:gd name="connsiteY2" fmla="*/ 1951 h 8869"/>
                <a:gd name="connsiteX3" fmla="*/ 2189 w 9983"/>
                <a:gd name="connsiteY3" fmla="*/ 191 h 8869"/>
                <a:gd name="connsiteX4" fmla="*/ 805 w 9983"/>
                <a:gd name="connsiteY4" fmla="*/ 427 h 8869"/>
                <a:gd name="connsiteX5" fmla="*/ 77 w 9983"/>
                <a:gd name="connsiteY5" fmla="*/ 645 h 8869"/>
                <a:gd name="connsiteX6" fmla="*/ 32 w 9983"/>
                <a:gd name="connsiteY6" fmla="*/ 5003 h 8869"/>
                <a:gd name="connsiteX7" fmla="*/ 591 w 9983"/>
                <a:gd name="connsiteY7" fmla="*/ 4982 h 8869"/>
                <a:gd name="connsiteX8" fmla="*/ 678 w 9983"/>
                <a:gd name="connsiteY8" fmla="*/ 4213 h 8869"/>
                <a:gd name="connsiteX9" fmla="*/ 1405 w 9983"/>
                <a:gd name="connsiteY9" fmla="*/ 3854 h 8869"/>
                <a:gd name="connsiteX10" fmla="*/ 2243 w 9983"/>
                <a:gd name="connsiteY10" fmla="*/ 4812 h 8869"/>
                <a:gd name="connsiteX11" fmla="*/ 3565 w 9983"/>
                <a:gd name="connsiteY11" fmla="*/ 5248 h 8869"/>
                <a:gd name="connsiteX12" fmla="*/ 4016 w 9983"/>
                <a:gd name="connsiteY12" fmla="*/ 6775 h 8869"/>
                <a:gd name="connsiteX13" fmla="*/ 6704 w 9983"/>
                <a:gd name="connsiteY13" fmla="*/ 8088 h 8869"/>
                <a:gd name="connsiteX14" fmla="*/ 6814 w 9983"/>
                <a:gd name="connsiteY14" fmla="*/ 8830 h 8869"/>
                <a:gd name="connsiteX15" fmla="*/ 7520 w 9983"/>
                <a:gd name="connsiteY15" fmla="*/ 8782 h 8869"/>
                <a:gd name="connsiteX16" fmla="*/ 7935 w 9983"/>
                <a:gd name="connsiteY16" fmla="*/ 7787 h 8869"/>
                <a:gd name="connsiteX17" fmla="*/ 7361 w 9983"/>
                <a:gd name="connsiteY17" fmla="*/ 6780 h 8869"/>
                <a:gd name="connsiteX18" fmla="*/ 8460 w 9983"/>
                <a:gd name="connsiteY18" fmla="*/ 6440 h 8869"/>
                <a:gd name="connsiteX19" fmla="*/ 8318 w 9983"/>
                <a:gd name="connsiteY19" fmla="*/ 5446 h 8869"/>
                <a:gd name="connsiteX20" fmla="*/ 9976 w 9983"/>
                <a:gd name="connsiteY20" fmla="*/ 5603 h 8869"/>
                <a:gd name="connsiteX21" fmla="*/ 8839 w 9983"/>
                <a:gd name="connsiteY21" fmla="*/ 4133 h 8869"/>
                <a:gd name="connsiteX22" fmla="*/ 6992 w 9983"/>
                <a:gd name="connsiteY22" fmla="*/ 4908 h 8869"/>
                <a:gd name="connsiteX0" fmla="*/ 7004 w 9999"/>
                <a:gd name="connsiteY0" fmla="*/ 5506 h 9972"/>
                <a:gd name="connsiteX1" fmla="*/ 5842 w 9999"/>
                <a:gd name="connsiteY1" fmla="*/ 2157 h 9972"/>
                <a:gd name="connsiteX2" fmla="*/ 3289 w 9999"/>
                <a:gd name="connsiteY2" fmla="*/ 2172 h 9972"/>
                <a:gd name="connsiteX3" fmla="*/ 2193 w 9999"/>
                <a:gd name="connsiteY3" fmla="*/ 187 h 9972"/>
                <a:gd name="connsiteX4" fmla="*/ 77 w 9999"/>
                <a:gd name="connsiteY4" fmla="*/ 699 h 9972"/>
                <a:gd name="connsiteX5" fmla="*/ 32 w 9999"/>
                <a:gd name="connsiteY5" fmla="*/ 5613 h 9972"/>
                <a:gd name="connsiteX6" fmla="*/ 592 w 9999"/>
                <a:gd name="connsiteY6" fmla="*/ 5589 h 9972"/>
                <a:gd name="connsiteX7" fmla="*/ 679 w 9999"/>
                <a:gd name="connsiteY7" fmla="*/ 4722 h 9972"/>
                <a:gd name="connsiteX8" fmla="*/ 1407 w 9999"/>
                <a:gd name="connsiteY8" fmla="*/ 4317 h 9972"/>
                <a:gd name="connsiteX9" fmla="*/ 2247 w 9999"/>
                <a:gd name="connsiteY9" fmla="*/ 5398 h 9972"/>
                <a:gd name="connsiteX10" fmla="*/ 3571 w 9999"/>
                <a:gd name="connsiteY10" fmla="*/ 5889 h 9972"/>
                <a:gd name="connsiteX11" fmla="*/ 4023 w 9999"/>
                <a:gd name="connsiteY11" fmla="*/ 7611 h 9972"/>
                <a:gd name="connsiteX12" fmla="*/ 6715 w 9999"/>
                <a:gd name="connsiteY12" fmla="*/ 9091 h 9972"/>
                <a:gd name="connsiteX13" fmla="*/ 6826 w 9999"/>
                <a:gd name="connsiteY13" fmla="*/ 9928 h 9972"/>
                <a:gd name="connsiteX14" fmla="*/ 7533 w 9999"/>
                <a:gd name="connsiteY14" fmla="*/ 9874 h 9972"/>
                <a:gd name="connsiteX15" fmla="*/ 7949 w 9999"/>
                <a:gd name="connsiteY15" fmla="*/ 8752 h 9972"/>
                <a:gd name="connsiteX16" fmla="*/ 7374 w 9999"/>
                <a:gd name="connsiteY16" fmla="*/ 7617 h 9972"/>
                <a:gd name="connsiteX17" fmla="*/ 8474 w 9999"/>
                <a:gd name="connsiteY17" fmla="*/ 7233 h 9972"/>
                <a:gd name="connsiteX18" fmla="*/ 8332 w 9999"/>
                <a:gd name="connsiteY18" fmla="*/ 6112 h 9972"/>
                <a:gd name="connsiteX19" fmla="*/ 9993 w 9999"/>
                <a:gd name="connsiteY19" fmla="*/ 6290 h 9972"/>
                <a:gd name="connsiteX20" fmla="*/ 8854 w 9999"/>
                <a:gd name="connsiteY20" fmla="*/ 4632 h 9972"/>
                <a:gd name="connsiteX21" fmla="*/ 7004 w 9999"/>
                <a:gd name="connsiteY21" fmla="*/ 5506 h 9972"/>
                <a:gd name="connsiteX0" fmla="*/ 7005 w 10000"/>
                <a:gd name="connsiteY0" fmla="*/ 5333 h 9812"/>
                <a:gd name="connsiteX1" fmla="*/ 5843 w 10000"/>
                <a:gd name="connsiteY1" fmla="*/ 1975 h 9812"/>
                <a:gd name="connsiteX2" fmla="*/ 3289 w 10000"/>
                <a:gd name="connsiteY2" fmla="*/ 1990 h 9812"/>
                <a:gd name="connsiteX3" fmla="*/ 2193 w 10000"/>
                <a:gd name="connsiteY3" fmla="*/ 0 h 9812"/>
                <a:gd name="connsiteX4" fmla="*/ 77 w 10000"/>
                <a:gd name="connsiteY4" fmla="*/ 513 h 9812"/>
                <a:gd name="connsiteX5" fmla="*/ 32 w 10000"/>
                <a:gd name="connsiteY5" fmla="*/ 5441 h 9812"/>
                <a:gd name="connsiteX6" fmla="*/ 592 w 10000"/>
                <a:gd name="connsiteY6" fmla="*/ 5417 h 9812"/>
                <a:gd name="connsiteX7" fmla="*/ 679 w 10000"/>
                <a:gd name="connsiteY7" fmla="*/ 4547 h 9812"/>
                <a:gd name="connsiteX8" fmla="*/ 1407 w 10000"/>
                <a:gd name="connsiteY8" fmla="*/ 4141 h 9812"/>
                <a:gd name="connsiteX9" fmla="*/ 2247 w 10000"/>
                <a:gd name="connsiteY9" fmla="*/ 5225 h 9812"/>
                <a:gd name="connsiteX10" fmla="*/ 3571 w 10000"/>
                <a:gd name="connsiteY10" fmla="*/ 5718 h 9812"/>
                <a:gd name="connsiteX11" fmla="*/ 4023 w 10000"/>
                <a:gd name="connsiteY11" fmla="*/ 7444 h 9812"/>
                <a:gd name="connsiteX12" fmla="*/ 6716 w 10000"/>
                <a:gd name="connsiteY12" fmla="*/ 8929 h 9812"/>
                <a:gd name="connsiteX13" fmla="*/ 6827 w 10000"/>
                <a:gd name="connsiteY13" fmla="*/ 9768 h 9812"/>
                <a:gd name="connsiteX14" fmla="*/ 7534 w 10000"/>
                <a:gd name="connsiteY14" fmla="*/ 9714 h 9812"/>
                <a:gd name="connsiteX15" fmla="*/ 7950 w 10000"/>
                <a:gd name="connsiteY15" fmla="*/ 8589 h 9812"/>
                <a:gd name="connsiteX16" fmla="*/ 7375 w 10000"/>
                <a:gd name="connsiteY16" fmla="*/ 7450 h 9812"/>
                <a:gd name="connsiteX17" fmla="*/ 8475 w 10000"/>
                <a:gd name="connsiteY17" fmla="*/ 7065 h 9812"/>
                <a:gd name="connsiteX18" fmla="*/ 8333 w 10000"/>
                <a:gd name="connsiteY18" fmla="*/ 5941 h 9812"/>
                <a:gd name="connsiteX19" fmla="*/ 9994 w 10000"/>
                <a:gd name="connsiteY19" fmla="*/ 6120 h 9812"/>
                <a:gd name="connsiteX20" fmla="*/ 8855 w 10000"/>
                <a:gd name="connsiteY20" fmla="*/ 4457 h 9812"/>
                <a:gd name="connsiteX21" fmla="*/ 7005 w 10000"/>
                <a:gd name="connsiteY21" fmla="*/ 5333 h 9812"/>
                <a:gd name="connsiteX0" fmla="*/ 7005 w 10000"/>
                <a:gd name="connsiteY0" fmla="*/ 5435 h 10000"/>
                <a:gd name="connsiteX1" fmla="*/ 5843 w 10000"/>
                <a:gd name="connsiteY1" fmla="*/ 2013 h 10000"/>
                <a:gd name="connsiteX2" fmla="*/ 3289 w 10000"/>
                <a:gd name="connsiteY2" fmla="*/ 2028 h 10000"/>
                <a:gd name="connsiteX3" fmla="*/ 2193 w 10000"/>
                <a:gd name="connsiteY3" fmla="*/ 0 h 10000"/>
                <a:gd name="connsiteX4" fmla="*/ 77 w 10000"/>
                <a:gd name="connsiteY4" fmla="*/ 523 h 10000"/>
                <a:gd name="connsiteX5" fmla="*/ 32 w 10000"/>
                <a:gd name="connsiteY5" fmla="*/ 5545 h 10000"/>
                <a:gd name="connsiteX6" fmla="*/ 592 w 10000"/>
                <a:gd name="connsiteY6" fmla="*/ 5521 h 10000"/>
                <a:gd name="connsiteX7" fmla="*/ 679 w 10000"/>
                <a:gd name="connsiteY7" fmla="*/ 4634 h 10000"/>
                <a:gd name="connsiteX8" fmla="*/ 1407 w 10000"/>
                <a:gd name="connsiteY8" fmla="*/ 4220 h 10000"/>
                <a:gd name="connsiteX9" fmla="*/ 2247 w 10000"/>
                <a:gd name="connsiteY9" fmla="*/ 5325 h 10000"/>
                <a:gd name="connsiteX10" fmla="*/ 3571 w 10000"/>
                <a:gd name="connsiteY10" fmla="*/ 5828 h 10000"/>
                <a:gd name="connsiteX11" fmla="*/ 4023 w 10000"/>
                <a:gd name="connsiteY11" fmla="*/ 7587 h 10000"/>
                <a:gd name="connsiteX12" fmla="*/ 6716 w 10000"/>
                <a:gd name="connsiteY12" fmla="*/ 9100 h 10000"/>
                <a:gd name="connsiteX13" fmla="*/ 6827 w 10000"/>
                <a:gd name="connsiteY13" fmla="*/ 9955 h 10000"/>
                <a:gd name="connsiteX14" fmla="*/ 7534 w 10000"/>
                <a:gd name="connsiteY14" fmla="*/ 9900 h 10000"/>
                <a:gd name="connsiteX15" fmla="*/ 7950 w 10000"/>
                <a:gd name="connsiteY15" fmla="*/ 8754 h 10000"/>
                <a:gd name="connsiteX16" fmla="*/ 7375 w 10000"/>
                <a:gd name="connsiteY16" fmla="*/ 7593 h 10000"/>
                <a:gd name="connsiteX17" fmla="*/ 8475 w 10000"/>
                <a:gd name="connsiteY17" fmla="*/ 7200 h 10000"/>
                <a:gd name="connsiteX18" fmla="*/ 8333 w 10000"/>
                <a:gd name="connsiteY18" fmla="*/ 6055 h 10000"/>
                <a:gd name="connsiteX19" fmla="*/ 9994 w 10000"/>
                <a:gd name="connsiteY19" fmla="*/ 6237 h 10000"/>
                <a:gd name="connsiteX20" fmla="*/ 8855 w 10000"/>
                <a:gd name="connsiteY20" fmla="*/ 4542 h 10000"/>
                <a:gd name="connsiteX21" fmla="*/ 7005 w 10000"/>
                <a:gd name="connsiteY21" fmla="*/ 5435 h 10000"/>
                <a:gd name="connsiteX0" fmla="*/ 7005 w 10000"/>
                <a:gd name="connsiteY0" fmla="*/ 5435 h 10000"/>
                <a:gd name="connsiteX1" fmla="*/ 5843 w 10000"/>
                <a:gd name="connsiteY1" fmla="*/ 2013 h 10000"/>
                <a:gd name="connsiteX2" fmla="*/ 3289 w 10000"/>
                <a:gd name="connsiteY2" fmla="*/ 2028 h 10000"/>
                <a:gd name="connsiteX3" fmla="*/ 2193 w 10000"/>
                <a:gd name="connsiteY3" fmla="*/ 0 h 10000"/>
                <a:gd name="connsiteX4" fmla="*/ 77 w 10000"/>
                <a:gd name="connsiteY4" fmla="*/ 523 h 10000"/>
                <a:gd name="connsiteX5" fmla="*/ 32 w 10000"/>
                <a:gd name="connsiteY5" fmla="*/ 5545 h 10000"/>
                <a:gd name="connsiteX6" fmla="*/ 592 w 10000"/>
                <a:gd name="connsiteY6" fmla="*/ 5521 h 10000"/>
                <a:gd name="connsiteX7" fmla="*/ 679 w 10000"/>
                <a:gd name="connsiteY7" fmla="*/ 4634 h 10000"/>
                <a:gd name="connsiteX8" fmla="*/ 1407 w 10000"/>
                <a:gd name="connsiteY8" fmla="*/ 4220 h 10000"/>
                <a:gd name="connsiteX9" fmla="*/ 2247 w 10000"/>
                <a:gd name="connsiteY9" fmla="*/ 5325 h 10000"/>
                <a:gd name="connsiteX10" fmla="*/ 3571 w 10000"/>
                <a:gd name="connsiteY10" fmla="*/ 5828 h 10000"/>
                <a:gd name="connsiteX11" fmla="*/ 4023 w 10000"/>
                <a:gd name="connsiteY11" fmla="*/ 7587 h 10000"/>
                <a:gd name="connsiteX12" fmla="*/ 6716 w 10000"/>
                <a:gd name="connsiteY12" fmla="*/ 9100 h 10000"/>
                <a:gd name="connsiteX13" fmla="*/ 6827 w 10000"/>
                <a:gd name="connsiteY13" fmla="*/ 9955 h 10000"/>
                <a:gd name="connsiteX14" fmla="*/ 7534 w 10000"/>
                <a:gd name="connsiteY14" fmla="*/ 9900 h 10000"/>
                <a:gd name="connsiteX15" fmla="*/ 7950 w 10000"/>
                <a:gd name="connsiteY15" fmla="*/ 8754 h 10000"/>
                <a:gd name="connsiteX16" fmla="*/ 7375 w 10000"/>
                <a:gd name="connsiteY16" fmla="*/ 7593 h 10000"/>
                <a:gd name="connsiteX17" fmla="*/ 8475 w 10000"/>
                <a:gd name="connsiteY17" fmla="*/ 7200 h 10000"/>
                <a:gd name="connsiteX18" fmla="*/ 8333 w 10000"/>
                <a:gd name="connsiteY18" fmla="*/ 6055 h 10000"/>
                <a:gd name="connsiteX19" fmla="*/ 9994 w 10000"/>
                <a:gd name="connsiteY19" fmla="*/ 6237 h 10000"/>
                <a:gd name="connsiteX20" fmla="*/ 8855 w 10000"/>
                <a:gd name="connsiteY20" fmla="*/ 4542 h 10000"/>
                <a:gd name="connsiteX21" fmla="*/ 7005 w 10000"/>
                <a:gd name="connsiteY21" fmla="*/ 5435 h 10000"/>
                <a:gd name="connsiteX0" fmla="*/ 7005 w 9994"/>
                <a:gd name="connsiteY0" fmla="*/ 5435 h 10000"/>
                <a:gd name="connsiteX1" fmla="*/ 5843 w 9994"/>
                <a:gd name="connsiteY1" fmla="*/ 2013 h 10000"/>
                <a:gd name="connsiteX2" fmla="*/ 3289 w 9994"/>
                <a:gd name="connsiteY2" fmla="*/ 2028 h 10000"/>
                <a:gd name="connsiteX3" fmla="*/ 2193 w 9994"/>
                <a:gd name="connsiteY3" fmla="*/ 0 h 10000"/>
                <a:gd name="connsiteX4" fmla="*/ 77 w 9994"/>
                <a:gd name="connsiteY4" fmla="*/ 523 h 10000"/>
                <a:gd name="connsiteX5" fmla="*/ 32 w 9994"/>
                <a:gd name="connsiteY5" fmla="*/ 5545 h 10000"/>
                <a:gd name="connsiteX6" fmla="*/ 592 w 9994"/>
                <a:gd name="connsiteY6" fmla="*/ 5521 h 10000"/>
                <a:gd name="connsiteX7" fmla="*/ 679 w 9994"/>
                <a:gd name="connsiteY7" fmla="*/ 4634 h 10000"/>
                <a:gd name="connsiteX8" fmla="*/ 1407 w 9994"/>
                <a:gd name="connsiteY8" fmla="*/ 4220 h 10000"/>
                <a:gd name="connsiteX9" fmla="*/ 2247 w 9994"/>
                <a:gd name="connsiteY9" fmla="*/ 5325 h 10000"/>
                <a:gd name="connsiteX10" fmla="*/ 3571 w 9994"/>
                <a:gd name="connsiteY10" fmla="*/ 5828 h 10000"/>
                <a:gd name="connsiteX11" fmla="*/ 4023 w 9994"/>
                <a:gd name="connsiteY11" fmla="*/ 7587 h 10000"/>
                <a:gd name="connsiteX12" fmla="*/ 6716 w 9994"/>
                <a:gd name="connsiteY12" fmla="*/ 9100 h 10000"/>
                <a:gd name="connsiteX13" fmla="*/ 6827 w 9994"/>
                <a:gd name="connsiteY13" fmla="*/ 9955 h 10000"/>
                <a:gd name="connsiteX14" fmla="*/ 7534 w 9994"/>
                <a:gd name="connsiteY14" fmla="*/ 9900 h 10000"/>
                <a:gd name="connsiteX15" fmla="*/ 7950 w 9994"/>
                <a:gd name="connsiteY15" fmla="*/ 8754 h 10000"/>
                <a:gd name="connsiteX16" fmla="*/ 7375 w 9994"/>
                <a:gd name="connsiteY16" fmla="*/ 7593 h 10000"/>
                <a:gd name="connsiteX17" fmla="*/ 8475 w 9994"/>
                <a:gd name="connsiteY17" fmla="*/ 7200 h 10000"/>
                <a:gd name="connsiteX18" fmla="*/ 8333 w 9994"/>
                <a:gd name="connsiteY18" fmla="*/ 6055 h 10000"/>
                <a:gd name="connsiteX19" fmla="*/ 9994 w 9994"/>
                <a:gd name="connsiteY19" fmla="*/ 6237 h 10000"/>
                <a:gd name="connsiteX20" fmla="*/ 8855 w 9994"/>
                <a:gd name="connsiteY20" fmla="*/ 4542 h 10000"/>
                <a:gd name="connsiteX21" fmla="*/ 7005 w 9994"/>
                <a:gd name="connsiteY21" fmla="*/ 5435 h 10000"/>
                <a:gd name="connsiteX0" fmla="*/ 7009 w 10000"/>
                <a:gd name="connsiteY0" fmla="*/ 5435 h 10000"/>
                <a:gd name="connsiteX1" fmla="*/ 5847 w 10000"/>
                <a:gd name="connsiteY1" fmla="*/ 2013 h 10000"/>
                <a:gd name="connsiteX2" fmla="*/ 3291 w 10000"/>
                <a:gd name="connsiteY2" fmla="*/ 2028 h 10000"/>
                <a:gd name="connsiteX3" fmla="*/ 2194 w 10000"/>
                <a:gd name="connsiteY3" fmla="*/ 0 h 10000"/>
                <a:gd name="connsiteX4" fmla="*/ 77 w 10000"/>
                <a:gd name="connsiteY4" fmla="*/ 523 h 10000"/>
                <a:gd name="connsiteX5" fmla="*/ 32 w 10000"/>
                <a:gd name="connsiteY5" fmla="*/ 5545 h 10000"/>
                <a:gd name="connsiteX6" fmla="*/ 592 w 10000"/>
                <a:gd name="connsiteY6" fmla="*/ 5521 h 10000"/>
                <a:gd name="connsiteX7" fmla="*/ 679 w 10000"/>
                <a:gd name="connsiteY7" fmla="*/ 4634 h 10000"/>
                <a:gd name="connsiteX8" fmla="*/ 1408 w 10000"/>
                <a:gd name="connsiteY8" fmla="*/ 4220 h 10000"/>
                <a:gd name="connsiteX9" fmla="*/ 2248 w 10000"/>
                <a:gd name="connsiteY9" fmla="*/ 5325 h 10000"/>
                <a:gd name="connsiteX10" fmla="*/ 3573 w 10000"/>
                <a:gd name="connsiteY10" fmla="*/ 5828 h 10000"/>
                <a:gd name="connsiteX11" fmla="*/ 4025 w 10000"/>
                <a:gd name="connsiteY11" fmla="*/ 7587 h 10000"/>
                <a:gd name="connsiteX12" fmla="*/ 6720 w 10000"/>
                <a:gd name="connsiteY12" fmla="*/ 9100 h 10000"/>
                <a:gd name="connsiteX13" fmla="*/ 6831 w 10000"/>
                <a:gd name="connsiteY13" fmla="*/ 9955 h 10000"/>
                <a:gd name="connsiteX14" fmla="*/ 7539 w 10000"/>
                <a:gd name="connsiteY14" fmla="*/ 9900 h 10000"/>
                <a:gd name="connsiteX15" fmla="*/ 7955 w 10000"/>
                <a:gd name="connsiteY15" fmla="*/ 8754 h 10000"/>
                <a:gd name="connsiteX16" fmla="*/ 7379 w 10000"/>
                <a:gd name="connsiteY16" fmla="*/ 7593 h 10000"/>
                <a:gd name="connsiteX17" fmla="*/ 8480 w 10000"/>
                <a:gd name="connsiteY17" fmla="*/ 7200 h 10000"/>
                <a:gd name="connsiteX18" fmla="*/ 8338 w 10000"/>
                <a:gd name="connsiteY18" fmla="*/ 6055 h 10000"/>
                <a:gd name="connsiteX19" fmla="*/ 10000 w 10000"/>
                <a:gd name="connsiteY19" fmla="*/ 6237 h 10000"/>
                <a:gd name="connsiteX20" fmla="*/ 8860 w 10000"/>
                <a:gd name="connsiteY20" fmla="*/ 4542 h 10000"/>
                <a:gd name="connsiteX21" fmla="*/ 7009 w 10000"/>
                <a:gd name="connsiteY21" fmla="*/ 5435 h 10000"/>
                <a:gd name="connsiteX0" fmla="*/ 7009 w 10000"/>
                <a:gd name="connsiteY0" fmla="*/ 5435 h 10000"/>
                <a:gd name="connsiteX1" fmla="*/ 5847 w 10000"/>
                <a:gd name="connsiteY1" fmla="*/ 2013 h 10000"/>
                <a:gd name="connsiteX2" fmla="*/ 3291 w 10000"/>
                <a:gd name="connsiteY2" fmla="*/ 2028 h 10000"/>
                <a:gd name="connsiteX3" fmla="*/ 2194 w 10000"/>
                <a:gd name="connsiteY3" fmla="*/ 0 h 10000"/>
                <a:gd name="connsiteX4" fmla="*/ 77 w 10000"/>
                <a:gd name="connsiteY4" fmla="*/ 523 h 10000"/>
                <a:gd name="connsiteX5" fmla="*/ 32 w 10000"/>
                <a:gd name="connsiteY5" fmla="*/ 5545 h 10000"/>
                <a:gd name="connsiteX6" fmla="*/ 592 w 10000"/>
                <a:gd name="connsiteY6" fmla="*/ 5521 h 10000"/>
                <a:gd name="connsiteX7" fmla="*/ 679 w 10000"/>
                <a:gd name="connsiteY7" fmla="*/ 4634 h 10000"/>
                <a:gd name="connsiteX8" fmla="*/ 1408 w 10000"/>
                <a:gd name="connsiteY8" fmla="*/ 4220 h 10000"/>
                <a:gd name="connsiteX9" fmla="*/ 2248 w 10000"/>
                <a:gd name="connsiteY9" fmla="*/ 5325 h 10000"/>
                <a:gd name="connsiteX10" fmla="*/ 3573 w 10000"/>
                <a:gd name="connsiteY10" fmla="*/ 5828 h 10000"/>
                <a:gd name="connsiteX11" fmla="*/ 4025 w 10000"/>
                <a:gd name="connsiteY11" fmla="*/ 7587 h 10000"/>
                <a:gd name="connsiteX12" fmla="*/ 6720 w 10000"/>
                <a:gd name="connsiteY12" fmla="*/ 9100 h 10000"/>
                <a:gd name="connsiteX13" fmla="*/ 6831 w 10000"/>
                <a:gd name="connsiteY13" fmla="*/ 9955 h 10000"/>
                <a:gd name="connsiteX14" fmla="*/ 7539 w 10000"/>
                <a:gd name="connsiteY14" fmla="*/ 9900 h 10000"/>
                <a:gd name="connsiteX15" fmla="*/ 7955 w 10000"/>
                <a:gd name="connsiteY15" fmla="*/ 8754 h 10000"/>
                <a:gd name="connsiteX16" fmla="*/ 7379 w 10000"/>
                <a:gd name="connsiteY16" fmla="*/ 7593 h 10000"/>
                <a:gd name="connsiteX17" fmla="*/ 8480 w 10000"/>
                <a:gd name="connsiteY17" fmla="*/ 7200 h 10000"/>
                <a:gd name="connsiteX18" fmla="*/ 8338 w 10000"/>
                <a:gd name="connsiteY18" fmla="*/ 6055 h 10000"/>
                <a:gd name="connsiteX19" fmla="*/ 10000 w 10000"/>
                <a:gd name="connsiteY19" fmla="*/ 6237 h 10000"/>
                <a:gd name="connsiteX20" fmla="*/ 8860 w 10000"/>
                <a:gd name="connsiteY20" fmla="*/ 4542 h 10000"/>
                <a:gd name="connsiteX21" fmla="*/ 7009 w 10000"/>
                <a:gd name="connsiteY21" fmla="*/ 5435 h 10000"/>
                <a:gd name="connsiteX0" fmla="*/ 7009 w 10000"/>
                <a:gd name="connsiteY0" fmla="*/ 5435 h 10000"/>
                <a:gd name="connsiteX1" fmla="*/ 5847 w 10000"/>
                <a:gd name="connsiteY1" fmla="*/ 2013 h 10000"/>
                <a:gd name="connsiteX2" fmla="*/ 3291 w 10000"/>
                <a:gd name="connsiteY2" fmla="*/ 2028 h 10000"/>
                <a:gd name="connsiteX3" fmla="*/ 2194 w 10000"/>
                <a:gd name="connsiteY3" fmla="*/ 0 h 10000"/>
                <a:gd name="connsiteX4" fmla="*/ 77 w 10000"/>
                <a:gd name="connsiteY4" fmla="*/ 523 h 10000"/>
                <a:gd name="connsiteX5" fmla="*/ 32 w 10000"/>
                <a:gd name="connsiteY5" fmla="*/ 5545 h 10000"/>
                <a:gd name="connsiteX6" fmla="*/ 592 w 10000"/>
                <a:gd name="connsiteY6" fmla="*/ 5521 h 10000"/>
                <a:gd name="connsiteX7" fmla="*/ 679 w 10000"/>
                <a:gd name="connsiteY7" fmla="*/ 4634 h 10000"/>
                <a:gd name="connsiteX8" fmla="*/ 1408 w 10000"/>
                <a:gd name="connsiteY8" fmla="*/ 4220 h 10000"/>
                <a:gd name="connsiteX9" fmla="*/ 2248 w 10000"/>
                <a:gd name="connsiteY9" fmla="*/ 5325 h 10000"/>
                <a:gd name="connsiteX10" fmla="*/ 3573 w 10000"/>
                <a:gd name="connsiteY10" fmla="*/ 5828 h 10000"/>
                <a:gd name="connsiteX11" fmla="*/ 4025 w 10000"/>
                <a:gd name="connsiteY11" fmla="*/ 7587 h 10000"/>
                <a:gd name="connsiteX12" fmla="*/ 6720 w 10000"/>
                <a:gd name="connsiteY12" fmla="*/ 9100 h 10000"/>
                <a:gd name="connsiteX13" fmla="*/ 6831 w 10000"/>
                <a:gd name="connsiteY13" fmla="*/ 9955 h 10000"/>
                <a:gd name="connsiteX14" fmla="*/ 7539 w 10000"/>
                <a:gd name="connsiteY14" fmla="*/ 9900 h 10000"/>
                <a:gd name="connsiteX15" fmla="*/ 7955 w 10000"/>
                <a:gd name="connsiteY15" fmla="*/ 8754 h 10000"/>
                <a:gd name="connsiteX16" fmla="*/ 7379 w 10000"/>
                <a:gd name="connsiteY16" fmla="*/ 7593 h 10000"/>
                <a:gd name="connsiteX17" fmla="*/ 8480 w 10000"/>
                <a:gd name="connsiteY17" fmla="*/ 7200 h 10000"/>
                <a:gd name="connsiteX18" fmla="*/ 8338 w 10000"/>
                <a:gd name="connsiteY18" fmla="*/ 6055 h 10000"/>
                <a:gd name="connsiteX19" fmla="*/ 10000 w 10000"/>
                <a:gd name="connsiteY19" fmla="*/ 6237 h 10000"/>
                <a:gd name="connsiteX20" fmla="*/ 8860 w 10000"/>
                <a:gd name="connsiteY20" fmla="*/ 4542 h 10000"/>
                <a:gd name="connsiteX21" fmla="*/ 7009 w 10000"/>
                <a:gd name="connsiteY21" fmla="*/ 5435 h 10000"/>
                <a:gd name="connsiteX0" fmla="*/ 7009 w 10000"/>
                <a:gd name="connsiteY0" fmla="*/ 5435 h 10000"/>
                <a:gd name="connsiteX1" fmla="*/ 5847 w 10000"/>
                <a:gd name="connsiteY1" fmla="*/ 2013 h 10000"/>
                <a:gd name="connsiteX2" fmla="*/ 3291 w 10000"/>
                <a:gd name="connsiteY2" fmla="*/ 2028 h 10000"/>
                <a:gd name="connsiteX3" fmla="*/ 2194 w 10000"/>
                <a:gd name="connsiteY3" fmla="*/ 0 h 10000"/>
                <a:gd name="connsiteX4" fmla="*/ 77 w 10000"/>
                <a:gd name="connsiteY4" fmla="*/ 523 h 10000"/>
                <a:gd name="connsiteX5" fmla="*/ 32 w 10000"/>
                <a:gd name="connsiteY5" fmla="*/ 5545 h 10000"/>
                <a:gd name="connsiteX6" fmla="*/ 592 w 10000"/>
                <a:gd name="connsiteY6" fmla="*/ 5521 h 10000"/>
                <a:gd name="connsiteX7" fmla="*/ 679 w 10000"/>
                <a:gd name="connsiteY7" fmla="*/ 4634 h 10000"/>
                <a:gd name="connsiteX8" fmla="*/ 1408 w 10000"/>
                <a:gd name="connsiteY8" fmla="*/ 4220 h 10000"/>
                <a:gd name="connsiteX9" fmla="*/ 2248 w 10000"/>
                <a:gd name="connsiteY9" fmla="*/ 5325 h 10000"/>
                <a:gd name="connsiteX10" fmla="*/ 3573 w 10000"/>
                <a:gd name="connsiteY10" fmla="*/ 5828 h 10000"/>
                <a:gd name="connsiteX11" fmla="*/ 4025 w 10000"/>
                <a:gd name="connsiteY11" fmla="*/ 7587 h 10000"/>
                <a:gd name="connsiteX12" fmla="*/ 6720 w 10000"/>
                <a:gd name="connsiteY12" fmla="*/ 9100 h 10000"/>
                <a:gd name="connsiteX13" fmla="*/ 6831 w 10000"/>
                <a:gd name="connsiteY13" fmla="*/ 9955 h 10000"/>
                <a:gd name="connsiteX14" fmla="*/ 7539 w 10000"/>
                <a:gd name="connsiteY14" fmla="*/ 9900 h 10000"/>
                <a:gd name="connsiteX15" fmla="*/ 7955 w 10000"/>
                <a:gd name="connsiteY15" fmla="*/ 8754 h 10000"/>
                <a:gd name="connsiteX16" fmla="*/ 7379 w 10000"/>
                <a:gd name="connsiteY16" fmla="*/ 7593 h 10000"/>
                <a:gd name="connsiteX17" fmla="*/ 8480 w 10000"/>
                <a:gd name="connsiteY17" fmla="*/ 7200 h 10000"/>
                <a:gd name="connsiteX18" fmla="*/ 8338 w 10000"/>
                <a:gd name="connsiteY18" fmla="*/ 6055 h 10000"/>
                <a:gd name="connsiteX19" fmla="*/ 10000 w 10000"/>
                <a:gd name="connsiteY19" fmla="*/ 6237 h 10000"/>
                <a:gd name="connsiteX20" fmla="*/ 8860 w 10000"/>
                <a:gd name="connsiteY20" fmla="*/ 4542 h 10000"/>
                <a:gd name="connsiteX21" fmla="*/ 7009 w 10000"/>
                <a:gd name="connsiteY21" fmla="*/ 5435 h 10000"/>
                <a:gd name="connsiteX0" fmla="*/ 7009 w 10000"/>
                <a:gd name="connsiteY0" fmla="*/ 5435 h 10000"/>
                <a:gd name="connsiteX1" fmla="*/ 5847 w 10000"/>
                <a:gd name="connsiteY1" fmla="*/ 2013 h 10000"/>
                <a:gd name="connsiteX2" fmla="*/ 3291 w 10000"/>
                <a:gd name="connsiteY2" fmla="*/ 2028 h 10000"/>
                <a:gd name="connsiteX3" fmla="*/ 2194 w 10000"/>
                <a:gd name="connsiteY3" fmla="*/ 0 h 10000"/>
                <a:gd name="connsiteX4" fmla="*/ 77 w 10000"/>
                <a:gd name="connsiteY4" fmla="*/ 523 h 10000"/>
                <a:gd name="connsiteX5" fmla="*/ 32 w 10000"/>
                <a:gd name="connsiteY5" fmla="*/ 5545 h 10000"/>
                <a:gd name="connsiteX6" fmla="*/ 592 w 10000"/>
                <a:gd name="connsiteY6" fmla="*/ 5521 h 10000"/>
                <a:gd name="connsiteX7" fmla="*/ 679 w 10000"/>
                <a:gd name="connsiteY7" fmla="*/ 4634 h 10000"/>
                <a:gd name="connsiteX8" fmla="*/ 1408 w 10000"/>
                <a:gd name="connsiteY8" fmla="*/ 4220 h 10000"/>
                <a:gd name="connsiteX9" fmla="*/ 2248 w 10000"/>
                <a:gd name="connsiteY9" fmla="*/ 5325 h 10000"/>
                <a:gd name="connsiteX10" fmla="*/ 3573 w 10000"/>
                <a:gd name="connsiteY10" fmla="*/ 5828 h 10000"/>
                <a:gd name="connsiteX11" fmla="*/ 4025 w 10000"/>
                <a:gd name="connsiteY11" fmla="*/ 7587 h 10000"/>
                <a:gd name="connsiteX12" fmla="*/ 6720 w 10000"/>
                <a:gd name="connsiteY12" fmla="*/ 9100 h 10000"/>
                <a:gd name="connsiteX13" fmla="*/ 6831 w 10000"/>
                <a:gd name="connsiteY13" fmla="*/ 9955 h 10000"/>
                <a:gd name="connsiteX14" fmla="*/ 7539 w 10000"/>
                <a:gd name="connsiteY14" fmla="*/ 9900 h 10000"/>
                <a:gd name="connsiteX15" fmla="*/ 7955 w 10000"/>
                <a:gd name="connsiteY15" fmla="*/ 8754 h 10000"/>
                <a:gd name="connsiteX16" fmla="*/ 7379 w 10000"/>
                <a:gd name="connsiteY16" fmla="*/ 7593 h 10000"/>
                <a:gd name="connsiteX17" fmla="*/ 8480 w 10000"/>
                <a:gd name="connsiteY17" fmla="*/ 7200 h 10000"/>
                <a:gd name="connsiteX18" fmla="*/ 8338 w 10000"/>
                <a:gd name="connsiteY18" fmla="*/ 6055 h 10000"/>
                <a:gd name="connsiteX19" fmla="*/ 10000 w 10000"/>
                <a:gd name="connsiteY19" fmla="*/ 6237 h 10000"/>
                <a:gd name="connsiteX20" fmla="*/ 8860 w 10000"/>
                <a:gd name="connsiteY20" fmla="*/ 4542 h 10000"/>
                <a:gd name="connsiteX21" fmla="*/ 7009 w 10000"/>
                <a:gd name="connsiteY21" fmla="*/ 5435 h 10000"/>
                <a:gd name="connsiteX0" fmla="*/ 7009 w 10000"/>
                <a:gd name="connsiteY0" fmla="*/ 5435 h 10026"/>
                <a:gd name="connsiteX1" fmla="*/ 5847 w 10000"/>
                <a:gd name="connsiteY1" fmla="*/ 2013 h 10026"/>
                <a:gd name="connsiteX2" fmla="*/ 3291 w 10000"/>
                <a:gd name="connsiteY2" fmla="*/ 2028 h 10026"/>
                <a:gd name="connsiteX3" fmla="*/ 2194 w 10000"/>
                <a:gd name="connsiteY3" fmla="*/ 0 h 10026"/>
                <a:gd name="connsiteX4" fmla="*/ 77 w 10000"/>
                <a:gd name="connsiteY4" fmla="*/ 523 h 10026"/>
                <a:gd name="connsiteX5" fmla="*/ 32 w 10000"/>
                <a:gd name="connsiteY5" fmla="*/ 5545 h 10026"/>
                <a:gd name="connsiteX6" fmla="*/ 592 w 10000"/>
                <a:gd name="connsiteY6" fmla="*/ 5521 h 10026"/>
                <a:gd name="connsiteX7" fmla="*/ 679 w 10000"/>
                <a:gd name="connsiteY7" fmla="*/ 4634 h 10026"/>
                <a:gd name="connsiteX8" fmla="*/ 1408 w 10000"/>
                <a:gd name="connsiteY8" fmla="*/ 4220 h 10026"/>
                <a:gd name="connsiteX9" fmla="*/ 2248 w 10000"/>
                <a:gd name="connsiteY9" fmla="*/ 5325 h 10026"/>
                <a:gd name="connsiteX10" fmla="*/ 3573 w 10000"/>
                <a:gd name="connsiteY10" fmla="*/ 5828 h 10026"/>
                <a:gd name="connsiteX11" fmla="*/ 4025 w 10000"/>
                <a:gd name="connsiteY11" fmla="*/ 7587 h 10026"/>
                <a:gd name="connsiteX12" fmla="*/ 6720 w 10000"/>
                <a:gd name="connsiteY12" fmla="*/ 9100 h 10026"/>
                <a:gd name="connsiteX13" fmla="*/ 6831 w 10000"/>
                <a:gd name="connsiteY13" fmla="*/ 9955 h 10026"/>
                <a:gd name="connsiteX14" fmla="*/ 7539 w 10000"/>
                <a:gd name="connsiteY14" fmla="*/ 9900 h 10026"/>
                <a:gd name="connsiteX15" fmla="*/ 7955 w 10000"/>
                <a:gd name="connsiteY15" fmla="*/ 8754 h 10026"/>
                <a:gd name="connsiteX16" fmla="*/ 7379 w 10000"/>
                <a:gd name="connsiteY16" fmla="*/ 7593 h 10026"/>
                <a:gd name="connsiteX17" fmla="*/ 8480 w 10000"/>
                <a:gd name="connsiteY17" fmla="*/ 7200 h 10026"/>
                <a:gd name="connsiteX18" fmla="*/ 8338 w 10000"/>
                <a:gd name="connsiteY18" fmla="*/ 6055 h 10026"/>
                <a:gd name="connsiteX19" fmla="*/ 10000 w 10000"/>
                <a:gd name="connsiteY19" fmla="*/ 6237 h 10026"/>
                <a:gd name="connsiteX20" fmla="*/ 8860 w 10000"/>
                <a:gd name="connsiteY20" fmla="*/ 4542 h 10026"/>
                <a:gd name="connsiteX21" fmla="*/ 7009 w 10000"/>
                <a:gd name="connsiteY21" fmla="*/ 5435 h 10026"/>
                <a:gd name="connsiteX0" fmla="*/ 7009 w 10000"/>
                <a:gd name="connsiteY0" fmla="*/ 5435 h 10026"/>
                <a:gd name="connsiteX1" fmla="*/ 5847 w 10000"/>
                <a:gd name="connsiteY1" fmla="*/ 2013 h 10026"/>
                <a:gd name="connsiteX2" fmla="*/ 3291 w 10000"/>
                <a:gd name="connsiteY2" fmla="*/ 2028 h 10026"/>
                <a:gd name="connsiteX3" fmla="*/ 2194 w 10000"/>
                <a:gd name="connsiteY3" fmla="*/ 0 h 10026"/>
                <a:gd name="connsiteX4" fmla="*/ 77 w 10000"/>
                <a:gd name="connsiteY4" fmla="*/ 523 h 10026"/>
                <a:gd name="connsiteX5" fmla="*/ 32 w 10000"/>
                <a:gd name="connsiteY5" fmla="*/ 5545 h 10026"/>
                <a:gd name="connsiteX6" fmla="*/ 592 w 10000"/>
                <a:gd name="connsiteY6" fmla="*/ 5521 h 10026"/>
                <a:gd name="connsiteX7" fmla="*/ 679 w 10000"/>
                <a:gd name="connsiteY7" fmla="*/ 4634 h 10026"/>
                <a:gd name="connsiteX8" fmla="*/ 1408 w 10000"/>
                <a:gd name="connsiteY8" fmla="*/ 4220 h 10026"/>
                <a:gd name="connsiteX9" fmla="*/ 2248 w 10000"/>
                <a:gd name="connsiteY9" fmla="*/ 5325 h 10026"/>
                <a:gd name="connsiteX10" fmla="*/ 3573 w 10000"/>
                <a:gd name="connsiteY10" fmla="*/ 5828 h 10026"/>
                <a:gd name="connsiteX11" fmla="*/ 4025 w 10000"/>
                <a:gd name="connsiteY11" fmla="*/ 7587 h 10026"/>
                <a:gd name="connsiteX12" fmla="*/ 6720 w 10000"/>
                <a:gd name="connsiteY12" fmla="*/ 9100 h 10026"/>
                <a:gd name="connsiteX13" fmla="*/ 6831 w 10000"/>
                <a:gd name="connsiteY13" fmla="*/ 9955 h 10026"/>
                <a:gd name="connsiteX14" fmla="*/ 7539 w 10000"/>
                <a:gd name="connsiteY14" fmla="*/ 9900 h 10026"/>
                <a:gd name="connsiteX15" fmla="*/ 7955 w 10000"/>
                <a:gd name="connsiteY15" fmla="*/ 8754 h 10026"/>
                <a:gd name="connsiteX16" fmla="*/ 7379 w 10000"/>
                <a:gd name="connsiteY16" fmla="*/ 7593 h 10026"/>
                <a:gd name="connsiteX17" fmla="*/ 8480 w 10000"/>
                <a:gd name="connsiteY17" fmla="*/ 7200 h 10026"/>
                <a:gd name="connsiteX18" fmla="*/ 8338 w 10000"/>
                <a:gd name="connsiteY18" fmla="*/ 6055 h 10026"/>
                <a:gd name="connsiteX19" fmla="*/ 10000 w 10000"/>
                <a:gd name="connsiteY19" fmla="*/ 6237 h 10026"/>
                <a:gd name="connsiteX20" fmla="*/ 8860 w 10000"/>
                <a:gd name="connsiteY20" fmla="*/ 4542 h 10026"/>
                <a:gd name="connsiteX21" fmla="*/ 7009 w 10000"/>
                <a:gd name="connsiteY21" fmla="*/ 5435 h 10026"/>
                <a:gd name="connsiteX0" fmla="*/ 7009 w 10000"/>
                <a:gd name="connsiteY0" fmla="*/ 5435 h 10026"/>
                <a:gd name="connsiteX1" fmla="*/ 5847 w 10000"/>
                <a:gd name="connsiteY1" fmla="*/ 2013 h 10026"/>
                <a:gd name="connsiteX2" fmla="*/ 3291 w 10000"/>
                <a:gd name="connsiteY2" fmla="*/ 2028 h 10026"/>
                <a:gd name="connsiteX3" fmla="*/ 2194 w 10000"/>
                <a:gd name="connsiteY3" fmla="*/ 0 h 10026"/>
                <a:gd name="connsiteX4" fmla="*/ 77 w 10000"/>
                <a:gd name="connsiteY4" fmla="*/ 523 h 10026"/>
                <a:gd name="connsiteX5" fmla="*/ 32 w 10000"/>
                <a:gd name="connsiteY5" fmla="*/ 5545 h 10026"/>
                <a:gd name="connsiteX6" fmla="*/ 592 w 10000"/>
                <a:gd name="connsiteY6" fmla="*/ 5521 h 10026"/>
                <a:gd name="connsiteX7" fmla="*/ 679 w 10000"/>
                <a:gd name="connsiteY7" fmla="*/ 4634 h 10026"/>
                <a:gd name="connsiteX8" fmla="*/ 1408 w 10000"/>
                <a:gd name="connsiteY8" fmla="*/ 4220 h 10026"/>
                <a:gd name="connsiteX9" fmla="*/ 2248 w 10000"/>
                <a:gd name="connsiteY9" fmla="*/ 5325 h 10026"/>
                <a:gd name="connsiteX10" fmla="*/ 3573 w 10000"/>
                <a:gd name="connsiteY10" fmla="*/ 5828 h 10026"/>
                <a:gd name="connsiteX11" fmla="*/ 4025 w 10000"/>
                <a:gd name="connsiteY11" fmla="*/ 7587 h 10026"/>
                <a:gd name="connsiteX12" fmla="*/ 6720 w 10000"/>
                <a:gd name="connsiteY12" fmla="*/ 9100 h 10026"/>
                <a:gd name="connsiteX13" fmla="*/ 6831 w 10000"/>
                <a:gd name="connsiteY13" fmla="*/ 9955 h 10026"/>
                <a:gd name="connsiteX14" fmla="*/ 7539 w 10000"/>
                <a:gd name="connsiteY14" fmla="*/ 9900 h 10026"/>
                <a:gd name="connsiteX15" fmla="*/ 7955 w 10000"/>
                <a:gd name="connsiteY15" fmla="*/ 8754 h 10026"/>
                <a:gd name="connsiteX16" fmla="*/ 7379 w 10000"/>
                <a:gd name="connsiteY16" fmla="*/ 7593 h 10026"/>
                <a:gd name="connsiteX17" fmla="*/ 8480 w 10000"/>
                <a:gd name="connsiteY17" fmla="*/ 7200 h 10026"/>
                <a:gd name="connsiteX18" fmla="*/ 8338 w 10000"/>
                <a:gd name="connsiteY18" fmla="*/ 6055 h 10026"/>
                <a:gd name="connsiteX19" fmla="*/ 10000 w 10000"/>
                <a:gd name="connsiteY19" fmla="*/ 6237 h 10026"/>
                <a:gd name="connsiteX20" fmla="*/ 8860 w 10000"/>
                <a:gd name="connsiteY20" fmla="*/ 4542 h 10026"/>
                <a:gd name="connsiteX21" fmla="*/ 7009 w 10000"/>
                <a:gd name="connsiteY21" fmla="*/ 5435 h 10026"/>
                <a:gd name="connsiteX0" fmla="*/ 7009 w 10000"/>
                <a:gd name="connsiteY0" fmla="*/ 5435 h 10026"/>
                <a:gd name="connsiteX1" fmla="*/ 5847 w 10000"/>
                <a:gd name="connsiteY1" fmla="*/ 2013 h 10026"/>
                <a:gd name="connsiteX2" fmla="*/ 3291 w 10000"/>
                <a:gd name="connsiteY2" fmla="*/ 2028 h 10026"/>
                <a:gd name="connsiteX3" fmla="*/ 2194 w 10000"/>
                <a:gd name="connsiteY3" fmla="*/ 0 h 10026"/>
                <a:gd name="connsiteX4" fmla="*/ 77 w 10000"/>
                <a:gd name="connsiteY4" fmla="*/ 523 h 10026"/>
                <a:gd name="connsiteX5" fmla="*/ 32 w 10000"/>
                <a:gd name="connsiteY5" fmla="*/ 5545 h 10026"/>
                <a:gd name="connsiteX6" fmla="*/ 592 w 10000"/>
                <a:gd name="connsiteY6" fmla="*/ 5521 h 10026"/>
                <a:gd name="connsiteX7" fmla="*/ 679 w 10000"/>
                <a:gd name="connsiteY7" fmla="*/ 4634 h 10026"/>
                <a:gd name="connsiteX8" fmla="*/ 1408 w 10000"/>
                <a:gd name="connsiteY8" fmla="*/ 4220 h 10026"/>
                <a:gd name="connsiteX9" fmla="*/ 2248 w 10000"/>
                <a:gd name="connsiteY9" fmla="*/ 5325 h 10026"/>
                <a:gd name="connsiteX10" fmla="*/ 3573 w 10000"/>
                <a:gd name="connsiteY10" fmla="*/ 5828 h 10026"/>
                <a:gd name="connsiteX11" fmla="*/ 4025 w 10000"/>
                <a:gd name="connsiteY11" fmla="*/ 7587 h 10026"/>
                <a:gd name="connsiteX12" fmla="*/ 6720 w 10000"/>
                <a:gd name="connsiteY12" fmla="*/ 9100 h 10026"/>
                <a:gd name="connsiteX13" fmla="*/ 6831 w 10000"/>
                <a:gd name="connsiteY13" fmla="*/ 9955 h 10026"/>
                <a:gd name="connsiteX14" fmla="*/ 7539 w 10000"/>
                <a:gd name="connsiteY14" fmla="*/ 9900 h 10026"/>
                <a:gd name="connsiteX15" fmla="*/ 7955 w 10000"/>
                <a:gd name="connsiteY15" fmla="*/ 8754 h 10026"/>
                <a:gd name="connsiteX16" fmla="*/ 7379 w 10000"/>
                <a:gd name="connsiteY16" fmla="*/ 7593 h 10026"/>
                <a:gd name="connsiteX17" fmla="*/ 8480 w 10000"/>
                <a:gd name="connsiteY17" fmla="*/ 7200 h 10026"/>
                <a:gd name="connsiteX18" fmla="*/ 8338 w 10000"/>
                <a:gd name="connsiteY18" fmla="*/ 6055 h 10026"/>
                <a:gd name="connsiteX19" fmla="*/ 10000 w 10000"/>
                <a:gd name="connsiteY19" fmla="*/ 6237 h 10026"/>
                <a:gd name="connsiteX20" fmla="*/ 8860 w 10000"/>
                <a:gd name="connsiteY20" fmla="*/ 4542 h 10026"/>
                <a:gd name="connsiteX21" fmla="*/ 7009 w 10000"/>
                <a:gd name="connsiteY21" fmla="*/ 5435 h 10026"/>
                <a:gd name="connsiteX0" fmla="*/ 7009 w 10108"/>
                <a:gd name="connsiteY0" fmla="*/ 5435 h 10026"/>
                <a:gd name="connsiteX1" fmla="*/ 5847 w 10108"/>
                <a:gd name="connsiteY1" fmla="*/ 2013 h 10026"/>
                <a:gd name="connsiteX2" fmla="*/ 3291 w 10108"/>
                <a:gd name="connsiteY2" fmla="*/ 2028 h 10026"/>
                <a:gd name="connsiteX3" fmla="*/ 2194 w 10108"/>
                <a:gd name="connsiteY3" fmla="*/ 0 h 10026"/>
                <a:gd name="connsiteX4" fmla="*/ 77 w 10108"/>
                <a:gd name="connsiteY4" fmla="*/ 523 h 10026"/>
                <a:gd name="connsiteX5" fmla="*/ 32 w 10108"/>
                <a:gd name="connsiteY5" fmla="*/ 5545 h 10026"/>
                <a:gd name="connsiteX6" fmla="*/ 592 w 10108"/>
                <a:gd name="connsiteY6" fmla="*/ 5521 h 10026"/>
                <a:gd name="connsiteX7" fmla="*/ 679 w 10108"/>
                <a:gd name="connsiteY7" fmla="*/ 4634 h 10026"/>
                <a:gd name="connsiteX8" fmla="*/ 1408 w 10108"/>
                <a:gd name="connsiteY8" fmla="*/ 4220 h 10026"/>
                <a:gd name="connsiteX9" fmla="*/ 2248 w 10108"/>
                <a:gd name="connsiteY9" fmla="*/ 5325 h 10026"/>
                <a:gd name="connsiteX10" fmla="*/ 3573 w 10108"/>
                <a:gd name="connsiteY10" fmla="*/ 5828 h 10026"/>
                <a:gd name="connsiteX11" fmla="*/ 4025 w 10108"/>
                <a:gd name="connsiteY11" fmla="*/ 7587 h 10026"/>
                <a:gd name="connsiteX12" fmla="*/ 6720 w 10108"/>
                <a:gd name="connsiteY12" fmla="*/ 9100 h 10026"/>
                <a:gd name="connsiteX13" fmla="*/ 6831 w 10108"/>
                <a:gd name="connsiteY13" fmla="*/ 9955 h 10026"/>
                <a:gd name="connsiteX14" fmla="*/ 7539 w 10108"/>
                <a:gd name="connsiteY14" fmla="*/ 9900 h 10026"/>
                <a:gd name="connsiteX15" fmla="*/ 7955 w 10108"/>
                <a:gd name="connsiteY15" fmla="*/ 8754 h 10026"/>
                <a:gd name="connsiteX16" fmla="*/ 7379 w 10108"/>
                <a:gd name="connsiteY16" fmla="*/ 7593 h 10026"/>
                <a:gd name="connsiteX17" fmla="*/ 8480 w 10108"/>
                <a:gd name="connsiteY17" fmla="*/ 7200 h 10026"/>
                <a:gd name="connsiteX18" fmla="*/ 8338 w 10108"/>
                <a:gd name="connsiteY18" fmla="*/ 6055 h 10026"/>
                <a:gd name="connsiteX19" fmla="*/ 10000 w 10108"/>
                <a:gd name="connsiteY19" fmla="*/ 6237 h 10026"/>
                <a:gd name="connsiteX20" fmla="*/ 9939 w 10108"/>
                <a:gd name="connsiteY20" fmla="*/ 4786 h 10026"/>
                <a:gd name="connsiteX21" fmla="*/ 7009 w 10108"/>
                <a:gd name="connsiteY21" fmla="*/ 5435 h 10026"/>
                <a:gd name="connsiteX0" fmla="*/ 7009 w 10040"/>
                <a:gd name="connsiteY0" fmla="*/ 5435 h 10026"/>
                <a:gd name="connsiteX1" fmla="*/ 5847 w 10040"/>
                <a:gd name="connsiteY1" fmla="*/ 2013 h 10026"/>
                <a:gd name="connsiteX2" fmla="*/ 3291 w 10040"/>
                <a:gd name="connsiteY2" fmla="*/ 2028 h 10026"/>
                <a:gd name="connsiteX3" fmla="*/ 2194 w 10040"/>
                <a:gd name="connsiteY3" fmla="*/ 0 h 10026"/>
                <a:gd name="connsiteX4" fmla="*/ 77 w 10040"/>
                <a:gd name="connsiteY4" fmla="*/ 523 h 10026"/>
                <a:gd name="connsiteX5" fmla="*/ 32 w 10040"/>
                <a:gd name="connsiteY5" fmla="*/ 5545 h 10026"/>
                <a:gd name="connsiteX6" fmla="*/ 592 w 10040"/>
                <a:gd name="connsiteY6" fmla="*/ 5521 h 10026"/>
                <a:gd name="connsiteX7" fmla="*/ 679 w 10040"/>
                <a:gd name="connsiteY7" fmla="*/ 4634 h 10026"/>
                <a:gd name="connsiteX8" fmla="*/ 1408 w 10040"/>
                <a:gd name="connsiteY8" fmla="*/ 4220 h 10026"/>
                <a:gd name="connsiteX9" fmla="*/ 2248 w 10040"/>
                <a:gd name="connsiteY9" fmla="*/ 5325 h 10026"/>
                <a:gd name="connsiteX10" fmla="*/ 3573 w 10040"/>
                <a:gd name="connsiteY10" fmla="*/ 5828 h 10026"/>
                <a:gd name="connsiteX11" fmla="*/ 4025 w 10040"/>
                <a:gd name="connsiteY11" fmla="*/ 7587 h 10026"/>
                <a:gd name="connsiteX12" fmla="*/ 6720 w 10040"/>
                <a:gd name="connsiteY12" fmla="*/ 9100 h 10026"/>
                <a:gd name="connsiteX13" fmla="*/ 6831 w 10040"/>
                <a:gd name="connsiteY13" fmla="*/ 9955 h 10026"/>
                <a:gd name="connsiteX14" fmla="*/ 7539 w 10040"/>
                <a:gd name="connsiteY14" fmla="*/ 9900 h 10026"/>
                <a:gd name="connsiteX15" fmla="*/ 7955 w 10040"/>
                <a:gd name="connsiteY15" fmla="*/ 8754 h 10026"/>
                <a:gd name="connsiteX16" fmla="*/ 7379 w 10040"/>
                <a:gd name="connsiteY16" fmla="*/ 7593 h 10026"/>
                <a:gd name="connsiteX17" fmla="*/ 8480 w 10040"/>
                <a:gd name="connsiteY17" fmla="*/ 7200 h 10026"/>
                <a:gd name="connsiteX18" fmla="*/ 8338 w 10040"/>
                <a:gd name="connsiteY18" fmla="*/ 6055 h 10026"/>
                <a:gd name="connsiteX19" fmla="*/ 10000 w 10040"/>
                <a:gd name="connsiteY19" fmla="*/ 6237 h 10026"/>
                <a:gd name="connsiteX20" fmla="*/ 9558 w 10040"/>
                <a:gd name="connsiteY20" fmla="*/ 5437 h 10026"/>
                <a:gd name="connsiteX21" fmla="*/ 7009 w 10040"/>
                <a:gd name="connsiteY21" fmla="*/ 5435 h 10026"/>
                <a:gd name="connsiteX0" fmla="*/ 7009 w 10041"/>
                <a:gd name="connsiteY0" fmla="*/ 5435 h 10026"/>
                <a:gd name="connsiteX1" fmla="*/ 5847 w 10041"/>
                <a:gd name="connsiteY1" fmla="*/ 2013 h 10026"/>
                <a:gd name="connsiteX2" fmla="*/ 3291 w 10041"/>
                <a:gd name="connsiteY2" fmla="*/ 2028 h 10026"/>
                <a:gd name="connsiteX3" fmla="*/ 2194 w 10041"/>
                <a:gd name="connsiteY3" fmla="*/ 0 h 10026"/>
                <a:gd name="connsiteX4" fmla="*/ 77 w 10041"/>
                <a:gd name="connsiteY4" fmla="*/ 523 h 10026"/>
                <a:gd name="connsiteX5" fmla="*/ 32 w 10041"/>
                <a:gd name="connsiteY5" fmla="*/ 5545 h 10026"/>
                <a:gd name="connsiteX6" fmla="*/ 592 w 10041"/>
                <a:gd name="connsiteY6" fmla="*/ 5521 h 10026"/>
                <a:gd name="connsiteX7" fmla="*/ 679 w 10041"/>
                <a:gd name="connsiteY7" fmla="*/ 4634 h 10026"/>
                <a:gd name="connsiteX8" fmla="*/ 1408 w 10041"/>
                <a:gd name="connsiteY8" fmla="*/ 4220 h 10026"/>
                <a:gd name="connsiteX9" fmla="*/ 2248 w 10041"/>
                <a:gd name="connsiteY9" fmla="*/ 5325 h 10026"/>
                <a:gd name="connsiteX10" fmla="*/ 3573 w 10041"/>
                <a:gd name="connsiteY10" fmla="*/ 5828 h 10026"/>
                <a:gd name="connsiteX11" fmla="*/ 4025 w 10041"/>
                <a:gd name="connsiteY11" fmla="*/ 7587 h 10026"/>
                <a:gd name="connsiteX12" fmla="*/ 6720 w 10041"/>
                <a:gd name="connsiteY12" fmla="*/ 9100 h 10026"/>
                <a:gd name="connsiteX13" fmla="*/ 6831 w 10041"/>
                <a:gd name="connsiteY13" fmla="*/ 9955 h 10026"/>
                <a:gd name="connsiteX14" fmla="*/ 7539 w 10041"/>
                <a:gd name="connsiteY14" fmla="*/ 9900 h 10026"/>
                <a:gd name="connsiteX15" fmla="*/ 7955 w 10041"/>
                <a:gd name="connsiteY15" fmla="*/ 8754 h 10026"/>
                <a:gd name="connsiteX16" fmla="*/ 7379 w 10041"/>
                <a:gd name="connsiteY16" fmla="*/ 7593 h 10026"/>
                <a:gd name="connsiteX17" fmla="*/ 8480 w 10041"/>
                <a:gd name="connsiteY17" fmla="*/ 7200 h 10026"/>
                <a:gd name="connsiteX18" fmla="*/ 8338 w 10041"/>
                <a:gd name="connsiteY18" fmla="*/ 6055 h 10026"/>
                <a:gd name="connsiteX19" fmla="*/ 10000 w 10041"/>
                <a:gd name="connsiteY19" fmla="*/ 6237 h 10026"/>
                <a:gd name="connsiteX20" fmla="*/ 9558 w 10041"/>
                <a:gd name="connsiteY20" fmla="*/ 5437 h 10026"/>
                <a:gd name="connsiteX21" fmla="*/ 9733 w 10041"/>
                <a:gd name="connsiteY21" fmla="*/ 4602 h 10026"/>
                <a:gd name="connsiteX22" fmla="*/ 7009 w 10041"/>
                <a:gd name="connsiteY22" fmla="*/ 5435 h 10026"/>
                <a:gd name="connsiteX0" fmla="*/ 7009 w 10014"/>
                <a:gd name="connsiteY0" fmla="*/ 5435 h 10026"/>
                <a:gd name="connsiteX1" fmla="*/ 5847 w 10014"/>
                <a:gd name="connsiteY1" fmla="*/ 2013 h 10026"/>
                <a:gd name="connsiteX2" fmla="*/ 3291 w 10014"/>
                <a:gd name="connsiteY2" fmla="*/ 2028 h 10026"/>
                <a:gd name="connsiteX3" fmla="*/ 2194 w 10014"/>
                <a:gd name="connsiteY3" fmla="*/ 0 h 10026"/>
                <a:gd name="connsiteX4" fmla="*/ 77 w 10014"/>
                <a:gd name="connsiteY4" fmla="*/ 523 h 10026"/>
                <a:gd name="connsiteX5" fmla="*/ 32 w 10014"/>
                <a:gd name="connsiteY5" fmla="*/ 5545 h 10026"/>
                <a:gd name="connsiteX6" fmla="*/ 592 w 10014"/>
                <a:gd name="connsiteY6" fmla="*/ 5521 h 10026"/>
                <a:gd name="connsiteX7" fmla="*/ 679 w 10014"/>
                <a:gd name="connsiteY7" fmla="*/ 4634 h 10026"/>
                <a:gd name="connsiteX8" fmla="*/ 1408 w 10014"/>
                <a:gd name="connsiteY8" fmla="*/ 4220 h 10026"/>
                <a:gd name="connsiteX9" fmla="*/ 2248 w 10014"/>
                <a:gd name="connsiteY9" fmla="*/ 5325 h 10026"/>
                <a:gd name="connsiteX10" fmla="*/ 3573 w 10014"/>
                <a:gd name="connsiteY10" fmla="*/ 5828 h 10026"/>
                <a:gd name="connsiteX11" fmla="*/ 4025 w 10014"/>
                <a:gd name="connsiteY11" fmla="*/ 7587 h 10026"/>
                <a:gd name="connsiteX12" fmla="*/ 6720 w 10014"/>
                <a:gd name="connsiteY12" fmla="*/ 9100 h 10026"/>
                <a:gd name="connsiteX13" fmla="*/ 6831 w 10014"/>
                <a:gd name="connsiteY13" fmla="*/ 9955 h 10026"/>
                <a:gd name="connsiteX14" fmla="*/ 7539 w 10014"/>
                <a:gd name="connsiteY14" fmla="*/ 9900 h 10026"/>
                <a:gd name="connsiteX15" fmla="*/ 7955 w 10014"/>
                <a:gd name="connsiteY15" fmla="*/ 8754 h 10026"/>
                <a:gd name="connsiteX16" fmla="*/ 7379 w 10014"/>
                <a:gd name="connsiteY16" fmla="*/ 7593 h 10026"/>
                <a:gd name="connsiteX17" fmla="*/ 8480 w 10014"/>
                <a:gd name="connsiteY17" fmla="*/ 7200 h 10026"/>
                <a:gd name="connsiteX18" fmla="*/ 8338 w 10014"/>
                <a:gd name="connsiteY18" fmla="*/ 6055 h 10026"/>
                <a:gd name="connsiteX19" fmla="*/ 10000 w 10014"/>
                <a:gd name="connsiteY19" fmla="*/ 6237 h 10026"/>
                <a:gd name="connsiteX20" fmla="*/ 9177 w 10014"/>
                <a:gd name="connsiteY20" fmla="*/ 5518 h 10026"/>
                <a:gd name="connsiteX21" fmla="*/ 9733 w 10014"/>
                <a:gd name="connsiteY21" fmla="*/ 4602 h 10026"/>
                <a:gd name="connsiteX22" fmla="*/ 7009 w 10014"/>
                <a:gd name="connsiteY22" fmla="*/ 5435 h 10026"/>
                <a:gd name="connsiteX0" fmla="*/ 7009 w 10014"/>
                <a:gd name="connsiteY0" fmla="*/ 5435 h 10026"/>
                <a:gd name="connsiteX1" fmla="*/ 5847 w 10014"/>
                <a:gd name="connsiteY1" fmla="*/ 2013 h 10026"/>
                <a:gd name="connsiteX2" fmla="*/ 3291 w 10014"/>
                <a:gd name="connsiteY2" fmla="*/ 2028 h 10026"/>
                <a:gd name="connsiteX3" fmla="*/ 2194 w 10014"/>
                <a:gd name="connsiteY3" fmla="*/ 0 h 10026"/>
                <a:gd name="connsiteX4" fmla="*/ 77 w 10014"/>
                <a:gd name="connsiteY4" fmla="*/ 523 h 10026"/>
                <a:gd name="connsiteX5" fmla="*/ 32 w 10014"/>
                <a:gd name="connsiteY5" fmla="*/ 5545 h 10026"/>
                <a:gd name="connsiteX6" fmla="*/ 592 w 10014"/>
                <a:gd name="connsiteY6" fmla="*/ 5521 h 10026"/>
                <a:gd name="connsiteX7" fmla="*/ 679 w 10014"/>
                <a:gd name="connsiteY7" fmla="*/ 4634 h 10026"/>
                <a:gd name="connsiteX8" fmla="*/ 1408 w 10014"/>
                <a:gd name="connsiteY8" fmla="*/ 4220 h 10026"/>
                <a:gd name="connsiteX9" fmla="*/ 2248 w 10014"/>
                <a:gd name="connsiteY9" fmla="*/ 5325 h 10026"/>
                <a:gd name="connsiteX10" fmla="*/ 3573 w 10014"/>
                <a:gd name="connsiteY10" fmla="*/ 5828 h 10026"/>
                <a:gd name="connsiteX11" fmla="*/ 4025 w 10014"/>
                <a:gd name="connsiteY11" fmla="*/ 7587 h 10026"/>
                <a:gd name="connsiteX12" fmla="*/ 6720 w 10014"/>
                <a:gd name="connsiteY12" fmla="*/ 9100 h 10026"/>
                <a:gd name="connsiteX13" fmla="*/ 6831 w 10014"/>
                <a:gd name="connsiteY13" fmla="*/ 9955 h 10026"/>
                <a:gd name="connsiteX14" fmla="*/ 7539 w 10014"/>
                <a:gd name="connsiteY14" fmla="*/ 9900 h 10026"/>
                <a:gd name="connsiteX15" fmla="*/ 7955 w 10014"/>
                <a:gd name="connsiteY15" fmla="*/ 8754 h 10026"/>
                <a:gd name="connsiteX16" fmla="*/ 7379 w 10014"/>
                <a:gd name="connsiteY16" fmla="*/ 7593 h 10026"/>
                <a:gd name="connsiteX17" fmla="*/ 8480 w 10014"/>
                <a:gd name="connsiteY17" fmla="*/ 7200 h 10026"/>
                <a:gd name="connsiteX18" fmla="*/ 8338 w 10014"/>
                <a:gd name="connsiteY18" fmla="*/ 6055 h 10026"/>
                <a:gd name="connsiteX19" fmla="*/ 10000 w 10014"/>
                <a:gd name="connsiteY19" fmla="*/ 6237 h 10026"/>
                <a:gd name="connsiteX20" fmla="*/ 9177 w 10014"/>
                <a:gd name="connsiteY20" fmla="*/ 5518 h 10026"/>
                <a:gd name="connsiteX21" fmla="*/ 9860 w 10014"/>
                <a:gd name="connsiteY21" fmla="*/ 4846 h 10026"/>
                <a:gd name="connsiteX22" fmla="*/ 7009 w 10014"/>
                <a:gd name="connsiteY22" fmla="*/ 5435 h 10026"/>
                <a:gd name="connsiteX0" fmla="*/ 7009 w 10391"/>
                <a:gd name="connsiteY0" fmla="*/ 5435 h 10026"/>
                <a:gd name="connsiteX1" fmla="*/ 5847 w 10391"/>
                <a:gd name="connsiteY1" fmla="*/ 2013 h 10026"/>
                <a:gd name="connsiteX2" fmla="*/ 3291 w 10391"/>
                <a:gd name="connsiteY2" fmla="*/ 2028 h 10026"/>
                <a:gd name="connsiteX3" fmla="*/ 2194 w 10391"/>
                <a:gd name="connsiteY3" fmla="*/ 0 h 10026"/>
                <a:gd name="connsiteX4" fmla="*/ 77 w 10391"/>
                <a:gd name="connsiteY4" fmla="*/ 523 h 10026"/>
                <a:gd name="connsiteX5" fmla="*/ 32 w 10391"/>
                <a:gd name="connsiteY5" fmla="*/ 5545 h 10026"/>
                <a:gd name="connsiteX6" fmla="*/ 592 w 10391"/>
                <a:gd name="connsiteY6" fmla="*/ 5521 h 10026"/>
                <a:gd name="connsiteX7" fmla="*/ 679 w 10391"/>
                <a:gd name="connsiteY7" fmla="*/ 4634 h 10026"/>
                <a:gd name="connsiteX8" fmla="*/ 1408 w 10391"/>
                <a:gd name="connsiteY8" fmla="*/ 4220 h 10026"/>
                <a:gd name="connsiteX9" fmla="*/ 2248 w 10391"/>
                <a:gd name="connsiteY9" fmla="*/ 5325 h 10026"/>
                <a:gd name="connsiteX10" fmla="*/ 3573 w 10391"/>
                <a:gd name="connsiteY10" fmla="*/ 5828 h 10026"/>
                <a:gd name="connsiteX11" fmla="*/ 4025 w 10391"/>
                <a:gd name="connsiteY11" fmla="*/ 7587 h 10026"/>
                <a:gd name="connsiteX12" fmla="*/ 6720 w 10391"/>
                <a:gd name="connsiteY12" fmla="*/ 9100 h 10026"/>
                <a:gd name="connsiteX13" fmla="*/ 6831 w 10391"/>
                <a:gd name="connsiteY13" fmla="*/ 9955 h 10026"/>
                <a:gd name="connsiteX14" fmla="*/ 7539 w 10391"/>
                <a:gd name="connsiteY14" fmla="*/ 9900 h 10026"/>
                <a:gd name="connsiteX15" fmla="*/ 7955 w 10391"/>
                <a:gd name="connsiteY15" fmla="*/ 8754 h 10026"/>
                <a:gd name="connsiteX16" fmla="*/ 7379 w 10391"/>
                <a:gd name="connsiteY16" fmla="*/ 7593 h 10026"/>
                <a:gd name="connsiteX17" fmla="*/ 8480 w 10391"/>
                <a:gd name="connsiteY17" fmla="*/ 7200 h 10026"/>
                <a:gd name="connsiteX18" fmla="*/ 8338 w 10391"/>
                <a:gd name="connsiteY18" fmla="*/ 6055 h 10026"/>
                <a:gd name="connsiteX19" fmla="*/ 10381 w 10391"/>
                <a:gd name="connsiteY19" fmla="*/ 6237 h 10026"/>
                <a:gd name="connsiteX20" fmla="*/ 9177 w 10391"/>
                <a:gd name="connsiteY20" fmla="*/ 5518 h 10026"/>
                <a:gd name="connsiteX21" fmla="*/ 9860 w 10391"/>
                <a:gd name="connsiteY21" fmla="*/ 4846 h 10026"/>
                <a:gd name="connsiteX22" fmla="*/ 7009 w 10391"/>
                <a:gd name="connsiteY22" fmla="*/ 5435 h 10026"/>
                <a:gd name="connsiteX0" fmla="*/ 7009 w 10399"/>
                <a:gd name="connsiteY0" fmla="*/ 5435 h 10026"/>
                <a:gd name="connsiteX1" fmla="*/ 5847 w 10399"/>
                <a:gd name="connsiteY1" fmla="*/ 2013 h 10026"/>
                <a:gd name="connsiteX2" fmla="*/ 3291 w 10399"/>
                <a:gd name="connsiteY2" fmla="*/ 2028 h 10026"/>
                <a:gd name="connsiteX3" fmla="*/ 2194 w 10399"/>
                <a:gd name="connsiteY3" fmla="*/ 0 h 10026"/>
                <a:gd name="connsiteX4" fmla="*/ 77 w 10399"/>
                <a:gd name="connsiteY4" fmla="*/ 523 h 10026"/>
                <a:gd name="connsiteX5" fmla="*/ 32 w 10399"/>
                <a:gd name="connsiteY5" fmla="*/ 5545 h 10026"/>
                <a:gd name="connsiteX6" fmla="*/ 592 w 10399"/>
                <a:gd name="connsiteY6" fmla="*/ 5521 h 10026"/>
                <a:gd name="connsiteX7" fmla="*/ 679 w 10399"/>
                <a:gd name="connsiteY7" fmla="*/ 4634 h 10026"/>
                <a:gd name="connsiteX8" fmla="*/ 1408 w 10399"/>
                <a:gd name="connsiteY8" fmla="*/ 4220 h 10026"/>
                <a:gd name="connsiteX9" fmla="*/ 2248 w 10399"/>
                <a:gd name="connsiteY9" fmla="*/ 5325 h 10026"/>
                <a:gd name="connsiteX10" fmla="*/ 3573 w 10399"/>
                <a:gd name="connsiteY10" fmla="*/ 5828 h 10026"/>
                <a:gd name="connsiteX11" fmla="*/ 4025 w 10399"/>
                <a:gd name="connsiteY11" fmla="*/ 7587 h 10026"/>
                <a:gd name="connsiteX12" fmla="*/ 6720 w 10399"/>
                <a:gd name="connsiteY12" fmla="*/ 9100 h 10026"/>
                <a:gd name="connsiteX13" fmla="*/ 6831 w 10399"/>
                <a:gd name="connsiteY13" fmla="*/ 9955 h 10026"/>
                <a:gd name="connsiteX14" fmla="*/ 7539 w 10399"/>
                <a:gd name="connsiteY14" fmla="*/ 9900 h 10026"/>
                <a:gd name="connsiteX15" fmla="*/ 7955 w 10399"/>
                <a:gd name="connsiteY15" fmla="*/ 8754 h 10026"/>
                <a:gd name="connsiteX16" fmla="*/ 7379 w 10399"/>
                <a:gd name="connsiteY16" fmla="*/ 7593 h 10026"/>
                <a:gd name="connsiteX17" fmla="*/ 8480 w 10399"/>
                <a:gd name="connsiteY17" fmla="*/ 7200 h 10026"/>
                <a:gd name="connsiteX18" fmla="*/ 8338 w 10399"/>
                <a:gd name="connsiteY18" fmla="*/ 6055 h 10026"/>
                <a:gd name="connsiteX19" fmla="*/ 9796 w 10399"/>
                <a:gd name="connsiteY19" fmla="*/ 6473 h 10026"/>
                <a:gd name="connsiteX20" fmla="*/ 10381 w 10399"/>
                <a:gd name="connsiteY20" fmla="*/ 6237 h 10026"/>
                <a:gd name="connsiteX21" fmla="*/ 9177 w 10399"/>
                <a:gd name="connsiteY21" fmla="*/ 5518 h 10026"/>
                <a:gd name="connsiteX22" fmla="*/ 9860 w 10399"/>
                <a:gd name="connsiteY22" fmla="*/ 4846 h 10026"/>
                <a:gd name="connsiteX23" fmla="*/ 7009 w 10399"/>
                <a:gd name="connsiteY23" fmla="*/ 5435 h 10026"/>
                <a:gd name="connsiteX0" fmla="*/ 7009 w 10522"/>
                <a:gd name="connsiteY0" fmla="*/ 5435 h 10026"/>
                <a:gd name="connsiteX1" fmla="*/ 5847 w 10522"/>
                <a:gd name="connsiteY1" fmla="*/ 2013 h 10026"/>
                <a:gd name="connsiteX2" fmla="*/ 3291 w 10522"/>
                <a:gd name="connsiteY2" fmla="*/ 2028 h 10026"/>
                <a:gd name="connsiteX3" fmla="*/ 2194 w 10522"/>
                <a:gd name="connsiteY3" fmla="*/ 0 h 10026"/>
                <a:gd name="connsiteX4" fmla="*/ 77 w 10522"/>
                <a:gd name="connsiteY4" fmla="*/ 523 h 10026"/>
                <a:gd name="connsiteX5" fmla="*/ 32 w 10522"/>
                <a:gd name="connsiteY5" fmla="*/ 5545 h 10026"/>
                <a:gd name="connsiteX6" fmla="*/ 592 w 10522"/>
                <a:gd name="connsiteY6" fmla="*/ 5521 h 10026"/>
                <a:gd name="connsiteX7" fmla="*/ 679 w 10522"/>
                <a:gd name="connsiteY7" fmla="*/ 4634 h 10026"/>
                <a:gd name="connsiteX8" fmla="*/ 1408 w 10522"/>
                <a:gd name="connsiteY8" fmla="*/ 4220 h 10026"/>
                <a:gd name="connsiteX9" fmla="*/ 2248 w 10522"/>
                <a:gd name="connsiteY9" fmla="*/ 5325 h 10026"/>
                <a:gd name="connsiteX10" fmla="*/ 3573 w 10522"/>
                <a:gd name="connsiteY10" fmla="*/ 5828 h 10026"/>
                <a:gd name="connsiteX11" fmla="*/ 4025 w 10522"/>
                <a:gd name="connsiteY11" fmla="*/ 7587 h 10026"/>
                <a:gd name="connsiteX12" fmla="*/ 6720 w 10522"/>
                <a:gd name="connsiteY12" fmla="*/ 9100 h 10026"/>
                <a:gd name="connsiteX13" fmla="*/ 6831 w 10522"/>
                <a:gd name="connsiteY13" fmla="*/ 9955 h 10026"/>
                <a:gd name="connsiteX14" fmla="*/ 7539 w 10522"/>
                <a:gd name="connsiteY14" fmla="*/ 9900 h 10026"/>
                <a:gd name="connsiteX15" fmla="*/ 7955 w 10522"/>
                <a:gd name="connsiteY15" fmla="*/ 8754 h 10026"/>
                <a:gd name="connsiteX16" fmla="*/ 7379 w 10522"/>
                <a:gd name="connsiteY16" fmla="*/ 7593 h 10026"/>
                <a:gd name="connsiteX17" fmla="*/ 8480 w 10522"/>
                <a:gd name="connsiteY17" fmla="*/ 7200 h 10026"/>
                <a:gd name="connsiteX18" fmla="*/ 8338 w 10522"/>
                <a:gd name="connsiteY18" fmla="*/ 6055 h 10026"/>
                <a:gd name="connsiteX19" fmla="*/ 9796 w 10522"/>
                <a:gd name="connsiteY19" fmla="*/ 6473 h 10026"/>
                <a:gd name="connsiteX20" fmla="*/ 10508 w 10522"/>
                <a:gd name="connsiteY20" fmla="*/ 5830 h 10026"/>
                <a:gd name="connsiteX21" fmla="*/ 9177 w 10522"/>
                <a:gd name="connsiteY21" fmla="*/ 5518 h 10026"/>
                <a:gd name="connsiteX22" fmla="*/ 9860 w 10522"/>
                <a:gd name="connsiteY22" fmla="*/ 4846 h 10026"/>
                <a:gd name="connsiteX23" fmla="*/ 7009 w 10522"/>
                <a:gd name="connsiteY23" fmla="*/ 5435 h 10026"/>
                <a:gd name="connsiteX0" fmla="*/ 7009 w 10575"/>
                <a:gd name="connsiteY0" fmla="*/ 5435 h 10026"/>
                <a:gd name="connsiteX1" fmla="*/ 5847 w 10575"/>
                <a:gd name="connsiteY1" fmla="*/ 2013 h 10026"/>
                <a:gd name="connsiteX2" fmla="*/ 3291 w 10575"/>
                <a:gd name="connsiteY2" fmla="*/ 2028 h 10026"/>
                <a:gd name="connsiteX3" fmla="*/ 2194 w 10575"/>
                <a:gd name="connsiteY3" fmla="*/ 0 h 10026"/>
                <a:gd name="connsiteX4" fmla="*/ 77 w 10575"/>
                <a:gd name="connsiteY4" fmla="*/ 523 h 10026"/>
                <a:gd name="connsiteX5" fmla="*/ 32 w 10575"/>
                <a:gd name="connsiteY5" fmla="*/ 5545 h 10026"/>
                <a:gd name="connsiteX6" fmla="*/ 592 w 10575"/>
                <a:gd name="connsiteY6" fmla="*/ 5521 h 10026"/>
                <a:gd name="connsiteX7" fmla="*/ 679 w 10575"/>
                <a:gd name="connsiteY7" fmla="*/ 4634 h 10026"/>
                <a:gd name="connsiteX8" fmla="*/ 1408 w 10575"/>
                <a:gd name="connsiteY8" fmla="*/ 4220 h 10026"/>
                <a:gd name="connsiteX9" fmla="*/ 2248 w 10575"/>
                <a:gd name="connsiteY9" fmla="*/ 5325 h 10026"/>
                <a:gd name="connsiteX10" fmla="*/ 3573 w 10575"/>
                <a:gd name="connsiteY10" fmla="*/ 5828 h 10026"/>
                <a:gd name="connsiteX11" fmla="*/ 4025 w 10575"/>
                <a:gd name="connsiteY11" fmla="*/ 7587 h 10026"/>
                <a:gd name="connsiteX12" fmla="*/ 6720 w 10575"/>
                <a:gd name="connsiteY12" fmla="*/ 9100 h 10026"/>
                <a:gd name="connsiteX13" fmla="*/ 6831 w 10575"/>
                <a:gd name="connsiteY13" fmla="*/ 9955 h 10026"/>
                <a:gd name="connsiteX14" fmla="*/ 7539 w 10575"/>
                <a:gd name="connsiteY14" fmla="*/ 9900 h 10026"/>
                <a:gd name="connsiteX15" fmla="*/ 7955 w 10575"/>
                <a:gd name="connsiteY15" fmla="*/ 8754 h 10026"/>
                <a:gd name="connsiteX16" fmla="*/ 7379 w 10575"/>
                <a:gd name="connsiteY16" fmla="*/ 7593 h 10026"/>
                <a:gd name="connsiteX17" fmla="*/ 8480 w 10575"/>
                <a:gd name="connsiteY17" fmla="*/ 7200 h 10026"/>
                <a:gd name="connsiteX18" fmla="*/ 8338 w 10575"/>
                <a:gd name="connsiteY18" fmla="*/ 6055 h 10026"/>
                <a:gd name="connsiteX19" fmla="*/ 10177 w 10575"/>
                <a:gd name="connsiteY19" fmla="*/ 6554 h 10026"/>
                <a:gd name="connsiteX20" fmla="*/ 10508 w 10575"/>
                <a:gd name="connsiteY20" fmla="*/ 5830 h 10026"/>
                <a:gd name="connsiteX21" fmla="*/ 9177 w 10575"/>
                <a:gd name="connsiteY21" fmla="*/ 5518 h 10026"/>
                <a:gd name="connsiteX22" fmla="*/ 9860 w 10575"/>
                <a:gd name="connsiteY22" fmla="*/ 4846 h 10026"/>
                <a:gd name="connsiteX23" fmla="*/ 7009 w 10575"/>
                <a:gd name="connsiteY23" fmla="*/ 5435 h 10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0575" h="10026">
                  <a:moveTo>
                    <a:pt x="7009" y="5435"/>
                  </a:moveTo>
                  <a:lnTo>
                    <a:pt x="5847" y="2013"/>
                  </a:lnTo>
                  <a:lnTo>
                    <a:pt x="3291" y="2028"/>
                  </a:lnTo>
                  <a:lnTo>
                    <a:pt x="2194" y="0"/>
                  </a:lnTo>
                  <a:lnTo>
                    <a:pt x="77" y="523"/>
                  </a:lnTo>
                  <a:cubicBezTo>
                    <a:pt x="61" y="2196"/>
                    <a:pt x="-54" y="4712"/>
                    <a:pt x="32" y="5545"/>
                  </a:cubicBezTo>
                  <a:lnTo>
                    <a:pt x="592" y="5521"/>
                  </a:lnTo>
                  <a:cubicBezTo>
                    <a:pt x="621" y="5227"/>
                    <a:pt x="651" y="4930"/>
                    <a:pt x="679" y="4634"/>
                  </a:cubicBezTo>
                  <a:lnTo>
                    <a:pt x="1408" y="4220"/>
                  </a:lnTo>
                  <a:lnTo>
                    <a:pt x="2248" y="5325"/>
                  </a:lnTo>
                  <a:lnTo>
                    <a:pt x="3573" y="5828"/>
                  </a:lnTo>
                  <a:cubicBezTo>
                    <a:pt x="3724" y="6414"/>
                    <a:pt x="3874" y="7001"/>
                    <a:pt x="4025" y="7587"/>
                  </a:cubicBezTo>
                  <a:lnTo>
                    <a:pt x="6720" y="9100"/>
                  </a:lnTo>
                  <a:cubicBezTo>
                    <a:pt x="6757" y="9384"/>
                    <a:pt x="6639" y="9970"/>
                    <a:pt x="6831" y="9955"/>
                  </a:cubicBezTo>
                  <a:cubicBezTo>
                    <a:pt x="7066" y="9937"/>
                    <a:pt x="7445" y="10158"/>
                    <a:pt x="7539" y="9900"/>
                  </a:cubicBezTo>
                  <a:lnTo>
                    <a:pt x="7955" y="8754"/>
                  </a:lnTo>
                  <a:lnTo>
                    <a:pt x="7379" y="7593"/>
                  </a:lnTo>
                  <a:lnTo>
                    <a:pt x="8480" y="7200"/>
                  </a:lnTo>
                  <a:cubicBezTo>
                    <a:pt x="8433" y="6818"/>
                    <a:pt x="8055" y="6163"/>
                    <a:pt x="8338" y="6055"/>
                  </a:cubicBezTo>
                  <a:cubicBezTo>
                    <a:pt x="8621" y="5947"/>
                    <a:pt x="9837" y="6524"/>
                    <a:pt x="10177" y="6554"/>
                  </a:cubicBezTo>
                  <a:cubicBezTo>
                    <a:pt x="10517" y="6584"/>
                    <a:pt x="10675" y="6003"/>
                    <a:pt x="10508" y="5830"/>
                  </a:cubicBezTo>
                  <a:cubicBezTo>
                    <a:pt x="10341" y="5657"/>
                    <a:pt x="9285" y="5682"/>
                    <a:pt x="9177" y="5518"/>
                  </a:cubicBezTo>
                  <a:cubicBezTo>
                    <a:pt x="9069" y="5354"/>
                    <a:pt x="10288" y="4853"/>
                    <a:pt x="9860" y="4846"/>
                  </a:cubicBezTo>
                  <a:lnTo>
                    <a:pt x="7009" y="5435"/>
                  </a:ln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271" name="TJ"/>
            <p:cNvSpPr>
              <a:spLocks/>
            </p:cNvSpPr>
            <p:nvPr/>
          </p:nvSpPr>
          <p:spPr bwMode="auto">
            <a:xfrm>
              <a:off x="5935554" y="3318772"/>
              <a:ext cx="191144" cy="121538"/>
            </a:xfrm>
            <a:custGeom>
              <a:avLst/>
              <a:gdLst>
                <a:gd name="T0" fmla="*/ 22159047 w 10000"/>
                <a:gd name="T1" fmla="*/ 1471825 h 10000"/>
                <a:gd name="T2" fmla="*/ 5539588 w 10000"/>
                <a:gd name="T3" fmla="*/ 1471825 h 10000"/>
                <a:gd name="T4" fmla="*/ 0 w 10000"/>
                <a:gd name="T5" fmla="*/ 0 h 10000"/>
                <a:gd name="T6" fmla="*/ 0 w 10000"/>
                <a:gd name="T7" fmla="*/ 2940641 h 10000"/>
                <a:gd name="T8" fmla="*/ 2772971 w 10000"/>
                <a:gd name="T9" fmla="*/ 7356103 h 10000"/>
                <a:gd name="T10" fmla="*/ 4138115 w 10000"/>
                <a:gd name="T11" fmla="*/ 12109724 h 10000"/>
                <a:gd name="T12" fmla="*/ 2772971 w 10000"/>
                <a:gd name="T13" fmla="*/ 14954558 h 10000"/>
                <a:gd name="T14" fmla="*/ 5539588 w 10000"/>
                <a:gd name="T15" fmla="*/ 17897996 h 10000"/>
                <a:gd name="T16" fmla="*/ 9738697 w 10000"/>
                <a:gd name="T17" fmla="*/ 21659295 h 10000"/>
                <a:gd name="T18" fmla="*/ 25047652 w 10000"/>
                <a:gd name="T19" fmla="*/ 18924256 h 10000"/>
                <a:gd name="T20" fmla="*/ 27107390 w 10000"/>
                <a:gd name="T21" fmla="*/ 19930961 h 10000"/>
                <a:gd name="T22" fmla="*/ 30532582 w 10000"/>
                <a:gd name="T23" fmla="*/ 19950516 h 10000"/>
                <a:gd name="T24" fmla="*/ 30471606 w 10000"/>
                <a:gd name="T25" fmla="*/ 20838638 h 10000"/>
                <a:gd name="T26" fmla="*/ 27698635 w 10000"/>
                <a:gd name="T27" fmla="*/ 22310463 h 10000"/>
                <a:gd name="T28" fmla="*/ 30471606 w 10000"/>
                <a:gd name="T29" fmla="*/ 28194755 h 10000"/>
                <a:gd name="T30" fmla="*/ 41551111 w 10000"/>
                <a:gd name="T31" fmla="*/ 23782288 h 10000"/>
                <a:gd name="T32" fmla="*/ 52630635 w 10000"/>
                <a:gd name="T33" fmla="*/ 23782288 h 10000"/>
                <a:gd name="T34" fmla="*/ 58170241 w 10000"/>
                <a:gd name="T35" fmla="*/ 19369822 h 10000"/>
                <a:gd name="T36" fmla="*/ 60943194 w 10000"/>
                <a:gd name="T37" fmla="*/ 19369822 h 10000"/>
                <a:gd name="T38" fmla="*/ 44324082 w 10000"/>
                <a:gd name="T39" fmla="*/ 16426171 h 10000"/>
                <a:gd name="T40" fmla="*/ 41551111 w 10000"/>
                <a:gd name="T41" fmla="*/ 8824933 h 10000"/>
                <a:gd name="T42" fmla="*/ 52630635 w 10000"/>
                <a:gd name="T43" fmla="*/ 2940641 h 10000"/>
                <a:gd name="T44" fmla="*/ 36011194 w 10000"/>
                <a:gd name="T45" fmla="*/ 0 h 10000"/>
                <a:gd name="T46" fmla="*/ 22159047 w 10000"/>
                <a:gd name="T47" fmla="*/ 1471825 h 10000"/>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connsiteX0" fmla="*/ 3636 w 10000"/>
                <a:gd name="connsiteY0" fmla="*/ 522 h 10000"/>
                <a:gd name="connsiteX1" fmla="*/ 909 w 10000"/>
                <a:gd name="connsiteY1" fmla="*/ 522 h 10000"/>
                <a:gd name="connsiteX2" fmla="*/ 0 w 10000"/>
                <a:gd name="connsiteY2" fmla="*/ 0 h 10000"/>
                <a:gd name="connsiteX3" fmla="*/ 0 w 10000"/>
                <a:gd name="connsiteY3" fmla="*/ 1043 h 10000"/>
                <a:gd name="connsiteX4" fmla="*/ 455 w 10000"/>
                <a:gd name="connsiteY4" fmla="*/ 2609 h 10000"/>
                <a:gd name="connsiteX5" fmla="*/ 679 w 10000"/>
                <a:gd name="connsiteY5" fmla="*/ 4295 h 10000"/>
                <a:gd name="connsiteX6" fmla="*/ 455 w 10000"/>
                <a:gd name="connsiteY6" fmla="*/ 5304 h 10000"/>
                <a:gd name="connsiteX7" fmla="*/ 909 w 10000"/>
                <a:gd name="connsiteY7" fmla="*/ 6348 h 10000"/>
                <a:gd name="connsiteX8" fmla="*/ 1598 w 10000"/>
                <a:gd name="connsiteY8" fmla="*/ 7682 h 10000"/>
                <a:gd name="connsiteX9" fmla="*/ 4110 w 10000"/>
                <a:gd name="connsiteY9" fmla="*/ 6712 h 10000"/>
                <a:gd name="connsiteX10" fmla="*/ 4448 w 10000"/>
                <a:gd name="connsiteY10" fmla="*/ 7069 h 10000"/>
                <a:gd name="connsiteX11" fmla="*/ 5010 w 10000"/>
                <a:gd name="connsiteY11" fmla="*/ 7076 h 10000"/>
                <a:gd name="connsiteX12" fmla="*/ 5000 w 10000"/>
                <a:gd name="connsiteY12" fmla="*/ 7391 h 10000"/>
                <a:gd name="connsiteX13" fmla="*/ 4545 w 10000"/>
                <a:gd name="connsiteY13" fmla="*/ 7913 h 10000"/>
                <a:gd name="connsiteX14" fmla="*/ 5000 w 10000"/>
                <a:gd name="connsiteY14" fmla="*/ 10000 h 10000"/>
                <a:gd name="connsiteX15" fmla="*/ 8151 w 10000"/>
                <a:gd name="connsiteY15" fmla="*/ 8940 h 10000"/>
                <a:gd name="connsiteX16" fmla="*/ 8636 w 10000"/>
                <a:gd name="connsiteY16" fmla="*/ 8435 h 10000"/>
                <a:gd name="connsiteX17" fmla="*/ 9545 w 10000"/>
                <a:gd name="connsiteY17" fmla="*/ 6870 h 10000"/>
                <a:gd name="connsiteX18" fmla="*/ 10000 w 10000"/>
                <a:gd name="connsiteY18" fmla="*/ 6870 h 10000"/>
                <a:gd name="connsiteX19" fmla="*/ 7273 w 10000"/>
                <a:gd name="connsiteY19" fmla="*/ 5826 h 10000"/>
                <a:gd name="connsiteX20" fmla="*/ 6818 w 10000"/>
                <a:gd name="connsiteY20" fmla="*/ 3130 h 10000"/>
                <a:gd name="connsiteX21" fmla="*/ 8636 w 10000"/>
                <a:gd name="connsiteY21" fmla="*/ 1043 h 10000"/>
                <a:gd name="connsiteX22" fmla="*/ 5909 w 10000"/>
                <a:gd name="connsiteY22" fmla="*/ 0 h 10000"/>
                <a:gd name="connsiteX23" fmla="*/ 3636 w 10000"/>
                <a:gd name="connsiteY23" fmla="*/ 522 h 10000"/>
                <a:gd name="connsiteX0" fmla="*/ 3636 w 10000"/>
                <a:gd name="connsiteY0" fmla="*/ 522 h 10000"/>
                <a:gd name="connsiteX1" fmla="*/ 909 w 10000"/>
                <a:gd name="connsiteY1" fmla="*/ 522 h 10000"/>
                <a:gd name="connsiteX2" fmla="*/ 0 w 10000"/>
                <a:gd name="connsiteY2" fmla="*/ 0 h 10000"/>
                <a:gd name="connsiteX3" fmla="*/ 0 w 10000"/>
                <a:gd name="connsiteY3" fmla="*/ 1043 h 10000"/>
                <a:gd name="connsiteX4" fmla="*/ 455 w 10000"/>
                <a:gd name="connsiteY4" fmla="*/ 2609 h 10000"/>
                <a:gd name="connsiteX5" fmla="*/ 679 w 10000"/>
                <a:gd name="connsiteY5" fmla="*/ 4295 h 10000"/>
                <a:gd name="connsiteX6" fmla="*/ 455 w 10000"/>
                <a:gd name="connsiteY6" fmla="*/ 5304 h 10000"/>
                <a:gd name="connsiteX7" fmla="*/ 909 w 10000"/>
                <a:gd name="connsiteY7" fmla="*/ 6348 h 10000"/>
                <a:gd name="connsiteX8" fmla="*/ 1598 w 10000"/>
                <a:gd name="connsiteY8" fmla="*/ 7682 h 10000"/>
                <a:gd name="connsiteX9" fmla="*/ 4110 w 10000"/>
                <a:gd name="connsiteY9" fmla="*/ 6712 h 10000"/>
                <a:gd name="connsiteX10" fmla="*/ 4448 w 10000"/>
                <a:gd name="connsiteY10" fmla="*/ 7069 h 10000"/>
                <a:gd name="connsiteX11" fmla="*/ 5010 w 10000"/>
                <a:gd name="connsiteY11" fmla="*/ 7076 h 10000"/>
                <a:gd name="connsiteX12" fmla="*/ 5000 w 10000"/>
                <a:gd name="connsiteY12" fmla="*/ 7391 h 10000"/>
                <a:gd name="connsiteX13" fmla="*/ 4545 w 10000"/>
                <a:gd name="connsiteY13" fmla="*/ 7913 h 10000"/>
                <a:gd name="connsiteX14" fmla="*/ 7417 w 10000"/>
                <a:gd name="connsiteY14" fmla="*/ 6551 h 10000"/>
                <a:gd name="connsiteX15" fmla="*/ 5000 w 10000"/>
                <a:gd name="connsiteY15" fmla="*/ 10000 h 10000"/>
                <a:gd name="connsiteX16" fmla="*/ 8151 w 10000"/>
                <a:gd name="connsiteY16" fmla="*/ 8940 h 10000"/>
                <a:gd name="connsiteX17" fmla="*/ 8636 w 10000"/>
                <a:gd name="connsiteY17" fmla="*/ 8435 h 10000"/>
                <a:gd name="connsiteX18" fmla="*/ 9545 w 10000"/>
                <a:gd name="connsiteY18" fmla="*/ 6870 h 10000"/>
                <a:gd name="connsiteX19" fmla="*/ 10000 w 10000"/>
                <a:gd name="connsiteY19" fmla="*/ 6870 h 10000"/>
                <a:gd name="connsiteX20" fmla="*/ 7273 w 10000"/>
                <a:gd name="connsiteY20" fmla="*/ 5826 h 10000"/>
                <a:gd name="connsiteX21" fmla="*/ 6818 w 10000"/>
                <a:gd name="connsiteY21" fmla="*/ 3130 h 10000"/>
                <a:gd name="connsiteX22" fmla="*/ 8636 w 10000"/>
                <a:gd name="connsiteY22" fmla="*/ 1043 h 10000"/>
                <a:gd name="connsiteX23" fmla="*/ 5909 w 10000"/>
                <a:gd name="connsiteY23" fmla="*/ 0 h 10000"/>
                <a:gd name="connsiteX24" fmla="*/ 3636 w 10000"/>
                <a:gd name="connsiteY24" fmla="*/ 522 h 10000"/>
                <a:gd name="connsiteX0" fmla="*/ 3636 w 10000"/>
                <a:gd name="connsiteY0" fmla="*/ 522 h 8940"/>
                <a:gd name="connsiteX1" fmla="*/ 909 w 10000"/>
                <a:gd name="connsiteY1" fmla="*/ 522 h 8940"/>
                <a:gd name="connsiteX2" fmla="*/ 0 w 10000"/>
                <a:gd name="connsiteY2" fmla="*/ 0 h 8940"/>
                <a:gd name="connsiteX3" fmla="*/ 0 w 10000"/>
                <a:gd name="connsiteY3" fmla="*/ 1043 h 8940"/>
                <a:gd name="connsiteX4" fmla="*/ 455 w 10000"/>
                <a:gd name="connsiteY4" fmla="*/ 2609 h 8940"/>
                <a:gd name="connsiteX5" fmla="*/ 679 w 10000"/>
                <a:gd name="connsiteY5" fmla="*/ 4295 h 8940"/>
                <a:gd name="connsiteX6" fmla="*/ 455 w 10000"/>
                <a:gd name="connsiteY6" fmla="*/ 5304 h 8940"/>
                <a:gd name="connsiteX7" fmla="*/ 909 w 10000"/>
                <a:gd name="connsiteY7" fmla="*/ 6348 h 8940"/>
                <a:gd name="connsiteX8" fmla="*/ 1598 w 10000"/>
                <a:gd name="connsiteY8" fmla="*/ 7682 h 8940"/>
                <a:gd name="connsiteX9" fmla="*/ 4110 w 10000"/>
                <a:gd name="connsiteY9" fmla="*/ 6712 h 8940"/>
                <a:gd name="connsiteX10" fmla="*/ 4448 w 10000"/>
                <a:gd name="connsiteY10" fmla="*/ 7069 h 8940"/>
                <a:gd name="connsiteX11" fmla="*/ 5010 w 10000"/>
                <a:gd name="connsiteY11" fmla="*/ 7076 h 8940"/>
                <a:gd name="connsiteX12" fmla="*/ 5000 w 10000"/>
                <a:gd name="connsiteY12" fmla="*/ 7391 h 8940"/>
                <a:gd name="connsiteX13" fmla="*/ 4545 w 10000"/>
                <a:gd name="connsiteY13" fmla="*/ 7913 h 8940"/>
                <a:gd name="connsiteX14" fmla="*/ 7417 w 10000"/>
                <a:gd name="connsiteY14" fmla="*/ 6551 h 8940"/>
                <a:gd name="connsiteX15" fmla="*/ 6733 w 10000"/>
                <a:gd name="connsiteY15" fmla="*/ 8318 h 8940"/>
                <a:gd name="connsiteX16" fmla="*/ 8151 w 10000"/>
                <a:gd name="connsiteY16" fmla="*/ 8940 h 8940"/>
                <a:gd name="connsiteX17" fmla="*/ 8636 w 10000"/>
                <a:gd name="connsiteY17" fmla="*/ 8435 h 8940"/>
                <a:gd name="connsiteX18" fmla="*/ 9545 w 10000"/>
                <a:gd name="connsiteY18" fmla="*/ 6870 h 8940"/>
                <a:gd name="connsiteX19" fmla="*/ 10000 w 10000"/>
                <a:gd name="connsiteY19" fmla="*/ 6870 h 8940"/>
                <a:gd name="connsiteX20" fmla="*/ 7273 w 10000"/>
                <a:gd name="connsiteY20" fmla="*/ 5826 h 8940"/>
                <a:gd name="connsiteX21" fmla="*/ 6818 w 10000"/>
                <a:gd name="connsiteY21" fmla="*/ 3130 h 8940"/>
                <a:gd name="connsiteX22" fmla="*/ 8636 w 10000"/>
                <a:gd name="connsiteY22" fmla="*/ 1043 h 8940"/>
                <a:gd name="connsiteX23" fmla="*/ 5909 w 10000"/>
                <a:gd name="connsiteY23" fmla="*/ 0 h 8940"/>
                <a:gd name="connsiteX24" fmla="*/ 3636 w 10000"/>
                <a:gd name="connsiteY24" fmla="*/ 522 h 8940"/>
                <a:gd name="connsiteX0" fmla="*/ 3636 w 10000"/>
                <a:gd name="connsiteY0" fmla="*/ 584 h 10000"/>
                <a:gd name="connsiteX1" fmla="*/ 909 w 10000"/>
                <a:gd name="connsiteY1" fmla="*/ 584 h 10000"/>
                <a:gd name="connsiteX2" fmla="*/ 0 w 10000"/>
                <a:gd name="connsiteY2" fmla="*/ 0 h 10000"/>
                <a:gd name="connsiteX3" fmla="*/ 0 w 10000"/>
                <a:gd name="connsiteY3" fmla="*/ 1167 h 10000"/>
                <a:gd name="connsiteX4" fmla="*/ 455 w 10000"/>
                <a:gd name="connsiteY4" fmla="*/ 2918 h 10000"/>
                <a:gd name="connsiteX5" fmla="*/ 679 w 10000"/>
                <a:gd name="connsiteY5" fmla="*/ 4804 h 10000"/>
                <a:gd name="connsiteX6" fmla="*/ 455 w 10000"/>
                <a:gd name="connsiteY6" fmla="*/ 5933 h 10000"/>
                <a:gd name="connsiteX7" fmla="*/ 909 w 10000"/>
                <a:gd name="connsiteY7" fmla="*/ 7101 h 10000"/>
                <a:gd name="connsiteX8" fmla="*/ 1598 w 10000"/>
                <a:gd name="connsiteY8" fmla="*/ 8593 h 10000"/>
                <a:gd name="connsiteX9" fmla="*/ 4110 w 10000"/>
                <a:gd name="connsiteY9" fmla="*/ 7508 h 10000"/>
                <a:gd name="connsiteX10" fmla="*/ 4448 w 10000"/>
                <a:gd name="connsiteY10" fmla="*/ 7907 h 10000"/>
                <a:gd name="connsiteX11" fmla="*/ 5010 w 10000"/>
                <a:gd name="connsiteY11" fmla="*/ 7915 h 10000"/>
                <a:gd name="connsiteX12" fmla="*/ 5000 w 10000"/>
                <a:gd name="connsiteY12" fmla="*/ 8267 h 10000"/>
                <a:gd name="connsiteX13" fmla="*/ 4545 w 10000"/>
                <a:gd name="connsiteY13" fmla="*/ 8851 h 10000"/>
                <a:gd name="connsiteX14" fmla="*/ 7417 w 10000"/>
                <a:gd name="connsiteY14" fmla="*/ 7328 h 10000"/>
                <a:gd name="connsiteX15" fmla="*/ 6733 w 10000"/>
                <a:gd name="connsiteY15" fmla="*/ 9304 h 10000"/>
                <a:gd name="connsiteX16" fmla="*/ 8151 w 10000"/>
                <a:gd name="connsiteY16" fmla="*/ 10000 h 10000"/>
                <a:gd name="connsiteX17" fmla="*/ 8636 w 10000"/>
                <a:gd name="connsiteY17" fmla="*/ 9435 h 10000"/>
                <a:gd name="connsiteX18" fmla="*/ 9545 w 10000"/>
                <a:gd name="connsiteY18" fmla="*/ 7685 h 10000"/>
                <a:gd name="connsiteX19" fmla="*/ 10000 w 10000"/>
                <a:gd name="connsiteY19" fmla="*/ 7685 h 10000"/>
                <a:gd name="connsiteX20" fmla="*/ 9539 w 10000"/>
                <a:gd name="connsiteY20" fmla="*/ 4448 h 10000"/>
                <a:gd name="connsiteX21" fmla="*/ 6818 w 10000"/>
                <a:gd name="connsiteY21" fmla="*/ 3501 h 10000"/>
                <a:gd name="connsiteX22" fmla="*/ 8636 w 10000"/>
                <a:gd name="connsiteY22" fmla="*/ 1167 h 10000"/>
                <a:gd name="connsiteX23" fmla="*/ 5909 w 10000"/>
                <a:gd name="connsiteY23" fmla="*/ 0 h 10000"/>
                <a:gd name="connsiteX24" fmla="*/ 3636 w 10000"/>
                <a:gd name="connsiteY24" fmla="*/ 584 h 10000"/>
                <a:gd name="connsiteX0" fmla="*/ 3636 w 10000"/>
                <a:gd name="connsiteY0" fmla="*/ 584 h 10000"/>
                <a:gd name="connsiteX1" fmla="*/ 909 w 10000"/>
                <a:gd name="connsiteY1" fmla="*/ 584 h 10000"/>
                <a:gd name="connsiteX2" fmla="*/ 0 w 10000"/>
                <a:gd name="connsiteY2" fmla="*/ 0 h 10000"/>
                <a:gd name="connsiteX3" fmla="*/ 0 w 10000"/>
                <a:gd name="connsiteY3" fmla="*/ 1167 h 10000"/>
                <a:gd name="connsiteX4" fmla="*/ 455 w 10000"/>
                <a:gd name="connsiteY4" fmla="*/ 2918 h 10000"/>
                <a:gd name="connsiteX5" fmla="*/ 679 w 10000"/>
                <a:gd name="connsiteY5" fmla="*/ 4804 h 10000"/>
                <a:gd name="connsiteX6" fmla="*/ 455 w 10000"/>
                <a:gd name="connsiteY6" fmla="*/ 5933 h 10000"/>
                <a:gd name="connsiteX7" fmla="*/ 909 w 10000"/>
                <a:gd name="connsiteY7" fmla="*/ 7101 h 10000"/>
                <a:gd name="connsiteX8" fmla="*/ 1598 w 10000"/>
                <a:gd name="connsiteY8" fmla="*/ 8593 h 10000"/>
                <a:gd name="connsiteX9" fmla="*/ 4110 w 10000"/>
                <a:gd name="connsiteY9" fmla="*/ 7508 h 10000"/>
                <a:gd name="connsiteX10" fmla="*/ 4448 w 10000"/>
                <a:gd name="connsiteY10" fmla="*/ 7907 h 10000"/>
                <a:gd name="connsiteX11" fmla="*/ 5010 w 10000"/>
                <a:gd name="connsiteY11" fmla="*/ 7915 h 10000"/>
                <a:gd name="connsiteX12" fmla="*/ 5000 w 10000"/>
                <a:gd name="connsiteY12" fmla="*/ 8267 h 10000"/>
                <a:gd name="connsiteX13" fmla="*/ 4545 w 10000"/>
                <a:gd name="connsiteY13" fmla="*/ 8851 h 10000"/>
                <a:gd name="connsiteX14" fmla="*/ 7417 w 10000"/>
                <a:gd name="connsiteY14" fmla="*/ 7328 h 10000"/>
                <a:gd name="connsiteX15" fmla="*/ 6733 w 10000"/>
                <a:gd name="connsiteY15" fmla="*/ 9304 h 10000"/>
                <a:gd name="connsiteX16" fmla="*/ 8151 w 10000"/>
                <a:gd name="connsiteY16" fmla="*/ 10000 h 10000"/>
                <a:gd name="connsiteX17" fmla="*/ 8636 w 10000"/>
                <a:gd name="connsiteY17" fmla="*/ 9435 h 10000"/>
                <a:gd name="connsiteX18" fmla="*/ 9545 w 10000"/>
                <a:gd name="connsiteY18" fmla="*/ 7685 h 10000"/>
                <a:gd name="connsiteX19" fmla="*/ 10000 w 10000"/>
                <a:gd name="connsiteY19" fmla="*/ 7685 h 10000"/>
                <a:gd name="connsiteX20" fmla="*/ 9539 w 10000"/>
                <a:gd name="connsiteY20" fmla="*/ 4448 h 10000"/>
                <a:gd name="connsiteX21" fmla="*/ 8551 w 10000"/>
                <a:gd name="connsiteY21" fmla="*/ 2749 h 10000"/>
                <a:gd name="connsiteX22" fmla="*/ 8636 w 10000"/>
                <a:gd name="connsiteY22" fmla="*/ 1167 h 10000"/>
                <a:gd name="connsiteX23" fmla="*/ 5909 w 10000"/>
                <a:gd name="connsiteY23" fmla="*/ 0 h 10000"/>
                <a:gd name="connsiteX24" fmla="*/ 3636 w 10000"/>
                <a:gd name="connsiteY24" fmla="*/ 584 h 10000"/>
                <a:gd name="connsiteX0" fmla="*/ 3636 w 10000"/>
                <a:gd name="connsiteY0" fmla="*/ 584 h 10000"/>
                <a:gd name="connsiteX1" fmla="*/ 909 w 10000"/>
                <a:gd name="connsiteY1" fmla="*/ 584 h 10000"/>
                <a:gd name="connsiteX2" fmla="*/ 0 w 10000"/>
                <a:gd name="connsiteY2" fmla="*/ 0 h 10000"/>
                <a:gd name="connsiteX3" fmla="*/ 0 w 10000"/>
                <a:gd name="connsiteY3" fmla="*/ 1167 h 10000"/>
                <a:gd name="connsiteX4" fmla="*/ 455 w 10000"/>
                <a:gd name="connsiteY4" fmla="*/ 2918 h 10000"/>
                <a:gd name="connsiteX5" fmla="*/ 679 w 10000"/>
                <a:gd name="connsiteY5" fmla="*/ 4804 h 10000"/>
                <a:gd name="connsiteX6" fmla="*/ 455 w 10000"/>
                <a:gd name="connsiteY6" fmla="*/ 5933 h 10000"/>
                <a:gd name="connsiteX7" fmla="*/ 909 w 10000"/>
                <a:gd name="connsiteY7" fmla="*/ 7101 h 10000"/>
                <a:gd name="connsiteX8" fmla="*/ 1598 w 10000"/>
                <a:gd name="connsiteY8" fmla="*/ 8593 h 10000"/>
                <a:gd name="connsiteX9" fmla="*/ 4110 w 10000"/>
                <a:gd name="connsiteY9" fmla="*/ 7508 h 10000"/>
                <a:gd name="connsiteX10" fmla="*/ 4448 w 10000"/>
                <a:gd name="connsiteY10" fmla="*/ 7907 h 10000"/>
                <a:gd name="connsiteX11" fmla="*/ 5010 w 10000"/>
                <a:gd name="connsiteY11" fmla="*/ 7915 h 10000"/>
                <a:gd name="connsiteX12" fmla="*/ 5000 w 10000"/>
                <a:gd name="connsiteY12" fmla="*/ 8267 h 10000"/>
                <a:gd name="connsiteX13" fmla="*/ 4545 w 10000"/>
                <a:gd name="connsiteY13" fmla="*/ 8851 h 10000"/>
                <a:gd name="connsiteX14" fmla="*/ 7417 w 10000"/>
                <a:gd name="connsiteY14" fmla="*/ 7328 h 10000"/>
                <a:gd name="connsiteX15" fmla="*/ 6733 w 10000"/>
                <a:gd name="connsiteY15" fmla="*/ 9304 h 10000"/>
                <a:gd name="connsiteX16" fmla="*/ 8151 w 10000"/>
                <a:gd name="connsiteY16" fmla="*/ 10000 h 10000"/>
                <a:gd name="connsiteX17" fmla="*/ 8636 w 10000"/>
                <a:gd name="connsiteY17" fmla="*/ 9435 h 10000"/>
                <a:gd name="connsiteX18" fmla="*/ 9545 w 10000"/>
                <a:gd name="connsiteY18" fmla="*/ 7685 h 10000"/>
                <a:gd name="connsiteX19" fmla="*/ 10000 w 10000"/>
                <a:gd name="connsiteY19" fmla="*/ 7685 h 10000"/>
                <a:gd name="connsiteX20" fmla="*/ 9539 w 10000"/>
                <a:gd name="connsiteY20" fmla="*/ 4448 h 10000"/>
                <a:gd name="connsiteX21" fmla="*/ 8551 w 10000"/>
                <a:gd name="connsiteY21" fmla="*/ 2749 h 10000"/>
                <a:gd name="connsiteX22" fmla="*/ 7169 w 10000"/>
                <a:gd name="connsiteY22" fmla="*/ 3612 h 10000"/>
                <a:gd name="connsiteX23" fmla="*/ 5909 w 10000"/>
                <a:gd name="connsiteY23" fmla="*/ 0 h 10000"/>
                <a:gd name="connsiteX24" fmla="*/ 3636 w 10000"/>
                <a:gd name="connsiteY24" fmla="*/ 584 h 10000"/>
                <a:gd name="connsiteX0" fmla="*/ 3636 w 10000"/>
                <a:gd name="connsiteY0" fmla="*/ 584 h 10000"/>
                <a:gd name="connsiteX1" fmla="*/ 909 w 10000"/>
                <a:gd name="connsiteY1" fmla="*/ 584 h 10000"/>
                <a:gd name="connsiteX2" fmla="*/ 0 w 10000"/>
                <a:gd name="connsiteY2" fmla="*/ 0 h 10000"/>
                <a:gd name="connsiteX3" fmla="*/ 0 w 10000"/>
                <a:gd name="connsiteY3" fmla="*/ 1167 h 10000"/>
                <a:gd name="connsiteX4" fmla="*/ 455 w 10000"/>
                <a:gd name="connsiteY4" fmla="*/ 2918 h 10000"/>
                <a:gd name="connsiteX5" fmla="*/ 679 w 10000"/>
                <a:gd name="connsiteY5" fmla="*/ 4804 h 10000"/>
                <a:gd name="connsiteX6" fmla="*/ 455 w 10000"/>
                <a:gd name="connsiteY6" fmla="*/ 5933 h 10000"/>
                <a:gd name="connsiteX7" fmla="*/ 909 w 10000"/>
                <a:gd name="connsiteY7" fmla="*/ 7101 h 10000"/>
                <a:gd name="connsiteX8" fmla="*/ 1598 w 10000"/>
                <a:gd name="connsiteY8" fmla="*/ 8593 h 10000"/>
                <a:gd name="connsiteX9" fmla="*/ 4110 w 10000"/>
                <a:gd name="connsiteY9" fmla="*/ 7508 h 10000"/>
                <a:gd name="connsiteX10" fmla="*/ 4448 w 10000"/>
                <a:gd name="connsiteY10" fmla="*/ 7907 h 10000"/>
                <a:gd name="connsiteX11" fmla="*/ 5010 w 10000"/>
                <a:gd name="connsiteY11" fmla="*/ 7915 h 10000"/>
                <a:gd name="connsiteX12" fmla="*/ 5000 w 10000"/>
                <a:gd name="connsiteY12" fmla="*/ 8267 h 10000"/>
                <a:gd name="connsiteX13" fmla="*/ 4545 w 10000"/>
                <a:gd name="connsiteY13" fmla="*/ 8851 h 10000"/>
                <a:gd name="connsiteX14" fmla="*/ 7417 w 10000"/>
                <a:gd name="connsiteY14" fmla="*/ 7328 h 10000"/>
                <a:gd name="connsiteX15" fmla="*/ 6733 w 10000"/>
                <a:gd name="connsiteY15" fmla="*/ 9304 h 10000"/>
                <a:gd name="connsiteX16" fmla="*/ 8151 w 10000"/>
                <a:gd name="connsiteY16" fmla="*/ 10000 h 10000"/>
                <a:gd name="connsiteX17" fmla="*/ 8636 w 10000"/>
                <a:gd name="connsiteY17" fmla="*/ 9435 h 10000"/>
                <a:gd name="connsiteX18" fmla="*/ 9545 w 10000"/>
                <a:gd name="connsiteY18" fmla="*/ 7685 h 10000"/>
                <a:gd name="connsiteX19" fmla="*/ 10000 w 10000"/>
                <a:gd name="connsiteY19" fmla="*/ 7685 h 10000"/>
                <a:gd name="connsiteX20" fmla="*/ 9539 w 10000"/>
                <a:gd name="connsiteY20" fmla="*/ 4448 h 10000"/>
                <a:gd name="connsiteX21" fmla="*/ 8551 w 10000"/>
                <a:gd name="connsiteY21" fmla="*/ 2749 h 10000"/>
                <a:gd name="connsiteX22" fmla="*/ 7169 w 10000"/>
                <a:gd name="connsiteY22" fmla="*/ 3612 h 10000"/>
                <a:gd name="connsiteX23" fmla="*/ 5776 w 10000"/>
                <a:gd name="connsiteY23" fmla="*/ 2069 h 10000"/>
                <a:gd name="connsiteX24" fmla="*/ 3636 w 10000"/>
                <a:gd name="connsiteY24" fmla="*/ 584 h 10000"/>
                <a:gd name="connsiteX0" fmla="*/ 4969 w 10000"/>
                <a:gd name="connsiteY0" fmla="*/ 4346 h 10000"/>
                <a:gd name="connsiteX1" fmla="*/ 909 w 10000"/>
                <a:gd name="connsiteY1" fmla="*/ 584 h 10000"/>
                <a:gd name="connsiteX2" fmla="*/ 0 w 10000"/>
                <a:gd name="connsiteY2" fmla="*/ 0 h 10000"/>
                <a:gd name="connsiteX3" fmla="*/ 0 w 10000"/>
                <a:gd name="connsiteY3" fmla="*/ 1167 h 10000"/>
                <a:gd name="connsiteX4" fmla="*/ 455 w 10000"/>
                <a:gd name="connsiteY4" fmla="*/ 2918 h 10000"/>
                <a:gd name="connsiteX5" fmla="*/ 679 w 10000"/>
                <a:gd name="connsiteY5" fmla="*/ 4804 h 10000"/>
                <a:gd name="connsiteX6" fmla="*/ 455 w 10000"/>
                <a:gd name="connsiteY6" fmla="*/ 5933 h 10000"/>
                <a:gd name="connsiteX7" fmla="*/ 909 w 10000"/>
                <a:gd name="connsiteY7" fmla="*/ 7101 h 10000"/>
                <a:gd name="connsiteX8" fmla="*/ 1598 w 10000"/>
                <a:gd name="connsiteY8" fmla="*/ 8593 h 10000"/>
                <a:gd name="connsiteX9" fmla="*/ 4110 w 10000"/>
                <a:gd name="connsiteY9" fmla="*/ 7508 h 10000"/>
                <a:gd name="connsiteX10" fmla="*/ 4448 w 10000"/>
                <a:gd name="connsiteY10" fmla="*/ 7907 h 10000"/>
                <a:gd name="connsiteX11" fmla="*/ 5010 w 10000"/>
                <a:gd name="connsiteY11" fmla="*/ 7915 h 10000"/>
                <a:gd name="connsiteX12" fmla="*/ 5000 w 10000"/>
                <a:gd name="connsiteY12" fmla="*/ 8267 h 10000"/>
                <a:gd name="connsiteX13" fmla="*/ 4545 w 10000"/>
                <a:gd name="connsiteY13" fmla="*/ 8851 h 10000"/>
                <a:gd name="connsiteX14" fmla="*/ 7417 w 10000"/>
                <a:gd name="connsiteY14" fmla="*/ 7328 h 10000"/>
                <a:gd name="connsiteX15" fmla="*/ 6733 w 10000"/>
                <a:gd name="connsiteY15" fmla="*/ 9304 h 10000"/>
                <a:gd name="connsiteX16" fmla="*/ 8151 w 10000"/>
                <a:gd name="connsiteY16" fmla="*/ 10000 h 10000"/>
                <a:gd name="connsiteX17" fmla="*/ 8636 w 10000"/>
                <a:gd name="connsiteY17" fmla="*/ 9435 h 10000"/>
                <a:gd name="connsiteX18" fmla="*/ 9545 w 10000"/>
                <a:gd name="connsiteY18" fmla="*/ 7685 h 10000"/>
                <a:gd name="connsiteX19" fmla="*/ 10000 w 10000"/>
                <a:gd name="connsiteY19" fmla="*/ 7685 h 10000"/>
                <a:gd name="connsiteX20" fmla="*/ 9539 w 10000"/>
                <a:gd name="connsiteY20" fmla="*/ 4448 h 10000"/>
                <a:gd name="connsiteX21" fmla="*/ 8551 w 10000"/>
                <a:gd name="connsiteY21" fmla="*/ 2749 h 10000"/>
                <a:gd name="connsiteX22" fmla="*/ 7169 w 10000"/>
                <a:gd name="connsiteY22" fmla="*/ 3612 h 10000"/>
                <a:gd name="connsiteX23" fmla="*/ 5776 w 10000"/>
                <a:gd name="connsiteY23" fmla="*/ 2069 h 10000"/>
                <a:gd name="connsiteX24" fmla="*/ 4969 w 10000"/>
                <a:gd name="connsiteY24" fmla="*/ 4346 h 10000"/>
                <a:gd name="connsiteX0" fmla="*/ 4969 w 10000"/>
                <a:gd name="connsiteY0" fmla="*/ 4346 h 10000"/>
                <a:gd name="connsiteX1" fmla="*/ 3709 w 10000"/>
                <a:gd name="connsiteY1" fmla="*/ 4158 h 10000"/>
                <a:gd name="connsiteX2" fmla="*/ 0 w 10000"/>
                <a:gd name="connsiteY2" fmla="*/ 0 h 10000"/>
                <a:gd name="connsiteX3" fmla="*/ 0 w 10000"/>
                <a:gd name="connsiteY3" fmla="*/ 1167 h 10000"/>
                <a:gd name="connsiteX4" fmla="*/ 455 w 10000"/>
                <a:gd name="connsiteY4" fmla="*/ 2918 h 10000"/>
                <a:gd name="connsiteX5" fmla="*/ 679 w 10000"/>
                <a:gd name="connsiteY5" fmla="*/ 4804 h 10000"/>
                <a:gd name="connsiteX6" fmla="*/ 455 w 10000"/>
                <a:gd name="connsiteY6" fmla="*/ 5933 h 10000"/>
                <a:gd name="connsiteX7" fmla="*/ 909 w 10000"/>
                <a:gd name="connsiteY7" fmla="*/ 7101 h 10000"/>
                <a:gd name="connsiteX8" fmla="*/ 1598 w 10000"/>
                <a:gd name="connsiteY8" fmla="*/ 8593 h 10000"/>
                <a:gd name="connsiteX9" fmla="*/ 4110 w 10000"/>
                <a:gd name="connsiteY9" fmla="*/ 7508 h 10000"/>
                <a:gd name="connsiteX10" fmla="*/ 4448 w 10000"/>
                <a:gd name="connsiteY10" fmla="*/ 7907 h 10000"/>
                <a:gd name="connsiteX11" fmla="*/ 5010 w 10000"/>
                <a:gd name="connsiteY11" fmla="*/ 7915 h 10000"/>
                <a:gd name="connsiteX12" fmla="*/ 5000 w 10000"/>
                <a:gd name="connsiteY12" fmla="*/ 8267 h 10000"/>
                <a:gd name="connsiteX13" fmla="*/ 4545 w 10000"/>
                <a:gd name="connsiteY13" fmla="*/ 8851 h 10000"/>
                <a:gd name="connsiteX14" fmla="*/ 7417 w 10000"/>
                <a:gd name="connsiteY14" fmla="*/ 7328 h 10000"/>
                <a:gd name="connsiteX15" fmla="*/ 6733 w 10000"/>
                <a:gd name="connsiteY15" fmla="*/ 9304 h 10000"/>
                <a:gd name="connsiteX16" fmla="*/ 8151 w 10000"/>
                <a:gd name="connsiteY16" fmla="*/ 10000 h 10000"/>
                <a:gd name="connsiteX17" fmla="*/ 8636 w 10000"/>
                <a:gd name="connsiteY17" fmla="*/ 9435 h 10000"/>
                <a:gd name="connsiteX18" fmla="*/ 9545 w 10000"/>
                <a:gd name="connsiteY18" fmla="*/ 7685 h 10000"/>
                <a:gd name="connsiteX19" fmla="*/ 10000 w 10000"/>
                <a:gd name="connsiteY19" fmla="*/ 7685 h 10000"/>
                <a:gd name="connsiteX20" fmla="*/ 9539 w 10000"/>
                <a:gd name="connsiteY20" fmla="*/ 4448 h 10000"/>
                <a:gd name="connsiteX21" fmla="*/ 8551 w 10000"/>
                <a:gd name="connsiteY21" fmla="*/ 2749 h 10000"/>
                <a:gd name="connsiteX22" fmla="*/ 7169 w 10000"/>
                <a:gd name="connsiteY22" fmla="*/ 3612 h 10000"/>
                <a:gd name="connsiteX23" fmla="*/ 5776 w 10000"/>
                <a:gd name="connsiteY23" fmla="*/ 2069 h 10000"/>
                <a:gd name="connsiteX24" fmla="*/ 4969 w 10000"/>
                <a:gd name="connsiteY24" fmla="*/ 4346 h 10000"/>
                <a:gd name="connsiteX0" fmla="*/ 5769 w 10000"/>
                <a:gd name="connsiteY0" fmla="*/ 4722 h 10000"/>
                <a:gd name="connsiteX1" fmla="*/ 3709 w 10000"/>
                <a:gd name="connsiteY1" fmla="*/ 4158 h 10000"/>
                <a:gd name="connsiteX2" fmla="*/ 0 w 10000"/>
                <a:gd name="connsiteY2" fmla="*/ 0 h 10000"/>
                <a:gd name="connsiteX3" fmla="*/ 0 w 10000"/>
                <a:gd name="connsiteY3" fmla="*/ 1167 h 10000"/>
                <a:gd name="connsiteX4" fmla="*/ 455 w 10000"/>
                <a:gd name="connsiteY4" fmla="*/ 2918 h 10000"/>
                <a:gd name="connsiteX5" fmla="*/ 679 w 10000"/>
                <a:gd name="connsiteY5" fmla="*/ 4804 h 10000"/>
                <a:gd name="connsiteX6" fmla="*/ 455 w 10000"/>
                <a:gd name="connsiteY6" fmla="*/ 5933 h 10000"/>
                <a:gd name="connsiteX7" fmla="*/ 909 w 10000"/>
                <a:gd name="connsiteY7" fmla="*/ 7101 h 10000"/>
                <a:gd name="connsiteX8" fmla="*/ 1598 w 10000"/>
                <a:gd name="connsiteY8" fmla="*/ 8593 h 10000"/>
                <a:gd name="connsiteX9" fmla="*/ 4110 w 10000"/>
                <a:gd name="connsiteY9" fmla="*/ 7508 h 10000"/>
                <a:gd name="connsiteX10" fmla="*/ 4448 w 10000"/>
                <a:gd name="connsiteY10" fmla="*/ 7907 h 10000"/>
                <a:gd name="connsiteX11" fmla="*/ 5010 w 10000"/>
                <a:gd name="connsiteY11" fmla="*/ 7915 h 10000"/>
                <a:gd name="connsiteX12" fmla="*/ 5000 w 10000"/>
                <a:gd name="connsiteY12" fmla="*/ 8267 h 10000"/>
                <a:gd name="connsiteX13" fmla="*/ 4545 w 10000"/>
                <a:gd name="connsiteY13" fmla="*/ 8851 h 10000"/>
                <a:gd name="connsiteX14" fmla="*/ 7417 w 10000"/>
                <a:gd name="connsiteY14" fmla="*/ 7328 h 10000"/>
                <a:gd name="connsiteX15" fmla="*/ 6733 w 10000"/>
                <a:gd name="connsiteY15" fmla="*/ 9304 h 10000"/>
                <a:gd name="connsiteX16" fmla="*/ 8151 w 10000"/>
                <a:gd name="connsiteY16" fmla="*/ 10000 h 10000"/>
                <a:gd name="connsiteX17" fmla="*/ 8636 w 10000"/>
                <a:gd name="connsiteY17" fmla="*/ 9435 h 10000"/>
                <a:gd name="connsiteX18" fmla="*/ 9545 w 10000"/>
                <a:gd name="connsiteY18" fmla="*/ 7685 h 10000"/>
                <a:gd name="connsiteX19" fmla="*/ 10000 w 10000"/>
                <a:gd name="connsiteY19" fmla="*/ 7685 h 10000"/>
                <a:gd name="connsiteX20" fmla="*/ 9539 w 10000"/>
                <a:gd name="connsiteY20" fmla="*/ 4448 h 10000"/>
                <a:gd name="connsiteX21" fmla="*/ 8551 w 10000"/>
                <a:gd name="connsiteY21" fmla="*/ 2749 h 10000"/>
                <a:gd name="connsiteX22" fmla="*/ 7169 w 10000"/>
                <a:gd name="connsiteY22" fmla="*/ 3612 h 10000"/>
                <a:gd name="connsiteX23" fmla="*/ 5776 w 10000"/>
                <a:gd name="connsiteY23" fmla="*/ 2069 h 10000"/>
                <a:gd name="connsiteX24" fmla="*/ 5769 w 10000"/>
                <a:gd name="connsiteY24" fmla="*/ 4722 h 10000"/>
                <a:gd name="connsiteX0" fmla="*/ 6302 w 10000"/>
                <a:gd name="connsiteY0" fmla="*/ 4534 h 10000"/>
                <a:gd name="connsiteX1" fmla="*/ 3709 w 10000"/>
                <a:gd name="connsiteY1" fmla="*/ 4158 h 10000"/>
                <a:gd name="connsiteX2" fmla="*/ 0 w 10000"/>
                <a:gd name="connsiteY2" fmla="*/ 0 h 10000"/>
                <a:gd name="connsiteX3" fmla="*/ 0 w 10000"/>
                <a:gd name="connsiteY3" fmla="*/ 1167 h 10000"/>
                <a:gd name="connsiteX4" fmla="*/ 455 w 10000"/>
                <a:gd name="connsiteY4" fmla="*/ 2918 h 10000"/>
                <a:gd name="connsiteX5" fmla="*/ 679 w 10000"/>
                <a:gd name="connsiteY5" fmla="*/ 4804 h 10000"/>
                <a:gd name="connsiteX6" fmla="*/ 455 w 10000"/>
                <a:gd name="connsiteY6" fmla="*/ 5933 h 10000"/>
                <a:gd name="connsiteX7" fmla="*/ 909 w 10000"/>
                <a:gd name="connsiteY7" fmla="*/ 7101 h 10000"/>
                <a:gd name="connsiteX8" fmla="*/ 1598 w 10000"/>
                <a:gd name="connsiteY8" fmla="*/ 8593 h 10000"/>
                <a:gd name="connsiteX9" fmla="*/ 4110 w 10000"/>
                <a:gd name="connsiteY9" fmla="*/ 7508 h 10000"/>
                <a:gd name="connsiteX10" fmla="*/ 4448 w 10000"/>
                <a:gd name="connsiteY10" fmla="*/ 7907 h 10000"/>
                <a:gd name="connsiteX11" fmla="*/ 5010 w 10000"/>
                <a:gd name="connsiteY11" fmla="*/ 7915 h 10000"/>
                <a:gd name="connsiteX12" fmla="*/ 5000 w 10000"/>
                <a:gd name="connsiteY12" fmla="*/ 8267 h 10000"/>
                <a:gd name="connsiteX13" fmla="*/ 4545 w 10000"/>
                <a:gd name="connsiteY13" fmla="*/ 8851 h 10000"/>
                <a:gd name="connsiteX14" fmla="*/ 7417 w 10000"/>
                <a:gd name="connsiteY14" fmla="*/ 7328 h 10000"/>
                <a:gd name="connsiteX15" fmla="*/ 6733 w 10000"/>
                <a:gd name="connsiteY15" fmla="*/ 9304 h 10000"/>
                <a:gd name="connsiteX16" fmla="*/ 8151 w 10000"/>
                <a:gd name="connsiteY16" fmla="*/ 10000 h 10000"/>
                <a:gd name="connsiteX17" fmla="*/ 8636 w 10000"/>
                <a:gd name="connsiteY17" fmla="*/ 9435 h 10000"/>
                <a:gd name="connsiteX18" fmla="*/ 9545 w 10000"/>
                <a:gd name="connsiteY18" fmla="*/ 7685 h 10000"/>
                <a:gd name="connsiteX19" fmla="*/ 10000 w 10000"/>
                <a:gd name="connsiteY19" fmla="*/ 7685 h 10000"/>
                <a:gd name="connsiteX20" fmla="*/ 9539 w 10000"/>
                <a:gd name="connsiteY20" fmla="*/ 4448 h 10000"/>
                <a:gd name="connsiteX21" fmla="*/ 8551 w 10000"/>
                <a:gd name="connsiteY21" fmla="*/ 2749 h 10000"/>
                <a:gd name="connsiteX22" fmla="*/ 7169 w 10000"/>
                <a:gd name="connsiteY22" fmla="*/ 3612 h 10000"/>
                <a:gd name="connsiteX23" fmla="*/ 5776 w 10000"/>
                <a:gd name="connsiteY23" fmla="*/ 2069 h 10000"/>
                <a:gd name="connsiteX24" fmla="*/ 6302 w 10000"/>
                <a:gd name="connsiteY24" fmla="*/ 4534 h 10000"/>
                <a:gd name="connsiteX0" fmla="*/ 6302 w 10000"/>
                <a:gd name="connsiteY0" fmla="*/ 4534 h 10000"/>
                <a:gd name="connsiteX1" fmla="*/ 4776 w 10000"/>
                <a:gd name="connsiteY1" fmla="*/ 4346 h 10000"/>
                <a:gd name="connsiteX2" fmla="*/ 0 w 10000"/>
                <a:gd name="connsiteY2" fmla="*/ 0 h 10000"/>
                <a:gd name="connsiteX3" fmla="*/ 0 w 10000"/>
                <a:gd name="connsiteY3" fmla="*/ 1167 h 10000"/>
                <a:gd name="connsiteX4" fmla="*/ 455 w 10000"/>
                <a:gd name="connsiteY4" fmla="*/ 2918 h 10000"/>
                <a:gd name="connsiteX5" fmla="*/ 679 w 10000"/>
                <a:gd name="connsiteY5" fmla="*/ 4804 h 10000"/>
                <a:gd name="connsiteX6" fmla="*/ 455 w 10000"/>
                <a:gd name="connsiteY6" fmla="*/ 5933 h 10000"/>
                <a:gd name="connsiteX7" fmla="*/ 909 w 10000"/>
                <a:gd name="connsiteY7" fmla="*/ 7101 h 10000"/>
                <a:gd name="connsiteX8" fmla="*/ 1598 w 10000"/>
                <a:gd name="connsiteY8" fmla="*/ 8593 h 10000"/>
                <a:gd name="connsiteX9" fmla="*/ 4110 w 10000"/>
                <a:gd name="connsiteY9" fmla="*/ 7508 h 10000"/>
                <a:gd name="connsiteX10" fmla="*/ 4448 w 10000"/>
                <a:gd name="connsiteY10" fmla="*/ 7907 h 10000"/>
                <a:gd name="connsiteX11" fmla="*/ 5010 w 10000"/>
                <a:gd name="connsiteY11" fmla="*/ 7915 h 10000"/>
                <a:gd name="connsiteX12" fmla="*/ 5000 w 10000"/>
                <a:gd name="connsiteY12" fmla="*/ 8267 h 10000"/>
                <a:gd name="connsiteX13" fmla="*/ 4545 w 10000"/>
                <a:gd name="connsiteY13" fmla="*/ 8851 h 10000"/>
                <a:gd name="connsiteX14" fmla="*/ 7417 w 10000"/>
                <a:gd name="connsiteY14" fmla="*/ 7328 h 10000"/>
                <a:gd name="connsiteX15" fmla="*/ 6733 w 10000"/>
                <a:gd name="connsiteY15" fmla="*/ 9304 h 10000"/>
                <a:gd name="connsiteX16" fmla="*/ 8151 w 10000"/>
                <a:gd name="connsiteY16" fmla="*/ 10000 h 10000"/>
                <a:gd name="connsiteX17" fmla="*/ 8636 w 10000"/>
                <a:gd name="connsiteY17" fmla="*/ 9435 h 10000"/>
                <a:gd name="connsiteX18" fmla="*/ 9545 w 10000"/>
                <a:gd name="connsiteY18" fmla="*/ 7685 h 10000"/>
                <a:gd name="connsiteX19" fmla="*/ 10000 w 10000"/>
                <a:gd name="connsiteY19" fmla="*/ 7685 h 10000"/>
                <a:gd name="connsiteX20" fmla="*/ 9539 w 10000"/>
                <a:gd name="connsiteY20" fmla="*/ 4448 h 10000"/>
                <a:gd name="connsiteX21" fmla="*/ 8551 w 10000"/>
                <a:gd name="connsiteY21" fmla="*/ 2749 h 10000"/>
                <a:gd name="connsiteX22" fmla="*/ 7169 w 10000"/>
                <a:gd name="connsiteY22" fmla="*/ 3612 h 10000"/>
                <a:gd name="connsiteX23" fmla="*/ 5776 w 10000"/>
                <a:gd name="connsiteY23" fmla="*/ 2069 h 10000"/>
                <a:gd name="connsiteX24" fmla="*/ 6302 w 10000"/>
                <a:gd name="connsiteY24" fmla="*/ 4534 h 10000"/>
                <a:gd name="connsiteX0" fmla="*/ 6302 w 10000"/>
                <a:gd name="connsiteY0" fmla="*/ 3367 h 8833"/>
                <a:gd name="connsiteX1" fmla="*/ 4776 w 10000"/>
                <a:gd name="connsiteY1" fmla="*/ 3179 h 8833"/>
                <a:gd name="connsiteX2" fmla="*/ 4666 w 10000"/>
                <a:gd name="connsiteY2" fmla="*/ 4853 h 8833"/>
                <a:gd name="connsiteX3" fmla="*/ 0 w 10000"/>
                <a:gd name="connsiteY3" fmla="*/ 0 h 8833"/>
                <a:gd name="connsiteX4" fmla="*/ 455 w 10000"/>
                <a:gd name="connsiteY4" fmla="*/ 1751 h 8833"/>
                <a:gd name="connsiteX5" fmla="*/ 679 w 10000"/>
                <a:gd name="connsiteY5" fmla="*/ 3637 h 8833"/>
                <a:gd name="connsiteX6" fmla="*/ 455 w 10000"/>
                <a:gd name="connsiteY6" fmla="*/ 4766 h 8833"/>
                <a:gd name="connsiteX7" fmla="*/ 909 w 10000"/>
                <a:gd name="connsiteY7" fmla="*/ 5934 h 8833"/>
                <a:gd name="connsiteX8" fmla="*/ 1598 w 10000"/>
                <a:gd name="connsiteY8" fmla="*/ 7426 h 8833"/>
                <a:gd name="connsiteX9" fmla="*/ 4110 w 10000"/>
                <a:gd name="connsiteY9" fmla="*/ 6341 h 8833"/>
                <a:gd name="connsiteX10" fmla="*/ 4448 w 10000"/>
                <a:gd name="connsiteY10" fmla="*/ 6740 h 8833"/>
                <a:gd name="connsiteX11" fmla="*/ 5010 w 10000"/>
                <a:gd name="connsiteY11" fmla="*/ 6748 h 8833"/>
                <a:gd name="connsiteX12" fmla="*/ 5000 w 10000"/>
                <a:gd name="connsiteY12" fmla="*/ 7100 h 8833"/>
                <a:gd name="connsiteX13" fmla="*/ 4545 w 10000"/>
                <a:gd name="connsiteY13" fmla="*/ 7684 h 8833"/>
                <a:gd name="connsiteX14" fmla="*/ 7417 w 10000"/>
                <a:gd name="connsiteY14" fmla="*/ 6161 h 8833"/>
                <a:gd name="connsiteX15" fmla="*/ 6733 w 10000"/>
                <a:gd name="connsiteY15" fmla="*/ 8137 h 8833"/>
                <a:gd name="connsiteX16" fmla="*/ 8151 w 10000"/>
                <a:gd name="connsiteY16" fmla="*/ 8833 h 8833"/>
                <a:gd name="connsiteX17" fmla="*/ 8636 w 10000"/>
                <a:gd name="connsiteY17" fmla="*/ 8268 h 8833"/>
                <a:gd name="connsiteX18" fmla="*/ 9545 w 10000"/>
                <a:gd name="connsiteY18" fmla="*/ 6518 h 8833"/>
                <a:gd name="connsiteX19" fmla="*/ 10000 w 10000"/>
                <a:gd name="connsiteY19" fmla="*/ 6518 h 8833"/>
                <a:gd name="connsiteX20" fmla="*/ 9539 w 10000"/>
                <a:gd name="connsiteY20" fmla="*/ 3281 h 8833"/>
                <a:gd name="connsiteX21" fmla="*/ 8551 w 10000"/>
                <a:gd name="connsiteY21" fmla="*/ 1582 h 8833"/>
                <a:gd name="connsiteX22" fmla="*/ 7169 w 10000"/>
                <a:gd name="connsiteY22" fmla="*/ 2445 h 8833"/>
                <a:gd name="connsiteX23" fmla="*/ 5776 w 10000"/>
                <a:gd name="connsiteY23" fmla="*/ 902 h 8833"/>
                <a:gd name="connsiteX24" fmla="*/ 6302 w 10000"/>
                <a:gd name="connsiteY24" fmla="*/ 3367 h 8833"/>
                <a:gd name="connsiteX0" fmla="*/ 6702 w 10400"/>
                <a:gd name="connsiteY0" fmla="*/ 3812 h 10000"/>
                <a:gd name="connsiteX1" fmla="*/ 5176 w 10400"/>
                <a:gd name="connsiteY1" fmla="*/ 3599 h 10000"/>
                <a:gd name="connsiteX2" fmla="*/ 5066 w 10400"/>
                <a:gd name="connsiteY2" fmla="*/ 5494 h 10000"/>
                <a:gd name="connsiteX3" fmla="*/ 0 w 10400"/>
                <a:gd name="connsiteY3" fmla="*/ 0 h 10000"/>
                <a:gd name="connsiteX4" fmla="*/ 855 w 10400"/>
                <a:gd name="connsiteY4" fmla="*/ 1982 h 10000"/>
                <a:gd name="connsiteX5" fmla="*/ 1079 w 10400"/>
                <a:gd name="connsiteY5" fmla="*/ 4118 h 10000"/>
                <a:gd name="connsiteX6" fmla="*/ 855 w 10400"/>
                <a:gd name="connsiteY6" fmla="*/ 5396 h 10000"/>
                <a:gd name="connsiteX7" fmla="*/ 1309 w 10400"/>
                <a:gd name="connsiteY7" fmla="*/ 6718 h 10000"/>
                <a:gd name="connsiteX8" fmla="*/ 1998 w 10400"/>
                <a:gd name="connsiteY8" fmla="*/ 8407 h 10000"/>
                <a:gd name="connsiteX9" fmla="*/ 4510 w 10400"/>
                <a:gd name="connsiteY9" fmla="*/ 7179 h 10000"/>
                <a:gd name="connsiteX10" fmla="*/ 4848 w 10400"/>
                <a:gd name="connsiteY10" fmla="*/ 7630 h 10000"/>
                <a:gd name="connsiteX11" fmla="*/ 5410 w 10400"/>
                <a:gd name="connsiteY11" fmla="*/ 7640 h 10000"/>
                <a:gd name="connsiteX12" fmla="*/ 5400 w 10400"/>
                <a:gd name="connsiteY12" fmla="*/ 8038 h 10000"/>
                <a:gd name="connsiteX13" fmla="*/ 4945 w 10400"/>
                <a:gd name="connsiteY13" fmla="*/ 8699 h 10000"/>
                <a:gd name="connsiteX14" fmla="*/ 7817 w 10400"/>
                <a:gd name="connsiteY14" fmla="*/ 6975 h 10000"/>
                <a:gd name="connsiteX15" fmla="*/ 7133 w 10400"/>
                <a:gd name="connsiteY15" fmla="*/ 9212 h 10000"/>
                <a:gd name="connsiteX16" fmla="*/ 8551 w 10400"/>
                <a:gd name="connsiteY16" fmla="*/ 10000 h 10000"/>
                <a:gd name="connsiteX17" fmla="*/ 9036 w 10400"/>
                <a:gd name="connsiteY17" fmla="*/ 9360 h 10000"/>
                <a:gd name="connsiteX18" fmla="*/ 9945 w 10400"/>
                <a:gd name="connsiteY18" fmla="*/ 7379 h 10000"/>
                <a:gd name="connsiteX19" fmla="*/ 10400 w 10400"/>
                <a:gd name="connsiteY19" fmla="*/ 7379 h 10000"/>
                <a:gd name="connsiteX20" fmla="*/ 9939 w 10400"/>
                <a:gd name="connsiteY20" fmla="*/ 3714 h 10000"/>
                <a:gd name="connsiteX21" fmla="*/ 8951 w 10400"/>
                <a:gd name="connsiteY21" fmla="*/ 1791 h 10000"/>
                <a:gd name="connsiteX22" fmla="*/ 7569 w 10400"/>
                <a:gd name="connsiteY22" fmla="*/ 2768 h 10000"/>
                <a:gd name="connsiteX23" fmla="*/ 6176 w 10400"/>
                <a:gd name="connsiteY23" fmla="*/ 1021 h 10000"/>
                <a:gd name="connsiteX24" fmla="*/ 6702 w 10400"/>
                <a:gd name="connsiteY24" fmla="*/ 3812 h 10000"/>
                <a:gd name="connsiteX0" fmla="*/ 5847 w 9545"/>
                <a:gd name="connsiteY0" fmla="*/ 2791 h 8979"/>
                <a:gd name="connsiteX1" fmla="*/ 4321 w 9545"/>
                <a:gd name="connsiteY1" fmla="*/ 2578 h 8979"/>
                <a:gd name="connsiteX2" fmla="*/ 4211 w 9545"/>
                <a:gd name="connsiteY2" fmla="*/ 4473 h 8979"/>
                <a:gd name="connsiteX3" fmla="*/ 0 w 9545"/>
                <a:gd name="connsiteY3" fmla="*/ 961 h 8979"/>
                <a:gd name="connsiteX4" fmla="*/ 224 w 9545"/>
                <a:gd name="connsiteY4" fmla="*/ 3097 h 8979"/>
                <a:gd name="connsiteX5" fmla="*/ 0 w 9545"/>
                <a:gd name="connsiteY5" fmla="*/ 4375 h 8979"/>
                <a:gd name="connsiteX6" fmla="*/ 454 w 9545"/>
                <a:gd name="connsiteY6" fmla="*/ 5697 h 8979"/>
                <a:gd name="connsiteX7" fmla="*/ 1143 w 9545"/>
                <a:gd name="connsiteY7" fmla="*/ 7386 h 8979"/>
                <a:gd name="connsiteX8" fmla="*/ 3655 w 9545"/>
                <a:gd name="connsiteY8" fmla="*/ 6158 h 8979"/>
                <a:gd name="connsiteX9" fmla="*/ 3993 w 9545"/>
                <a:gd name="connsiteY9" fmla="*/ 6609 h 8979"/>
                <a:gd name="connsiteX10" fmla="*/ 4555 w 9545"/>
                <a:gd name="connsiteY10" fmla="*/ 6619 h 8979"/>
                <a:gd name="connsiteX11" fmla="*/ 4545 w 9545"/>
                <a:gd name="connsiteY11" fmla="*/ 7017 h 8979"/>
                <a:gd name="connsiteX12" fmla="*/ 4090 w 9545"/>
                <a:gd name="connsiteY12" fmla="*/ 7678 h 8979"/>
                <a:gd name="connsiteX13" fmla="*/ 6962 w 9545"/>
                <a:gd name="connsiteY13" fmla="*/ 5954 h 8979"/>
                <a:gd name="connsiteX14" fmla="*/ 6278 w 9545"/>
                <a:gd name="connsiteY14" fmla="*/ 8191 h 8979"/>
                <a:gd name="connsiteX15" fmla="*/ 7696 w 9545"/>
                <a:gd name="connsiteY15" fmla="*/ 8979 h 8979"/>
                <a:gd name="connsiteX16" fmla="*/ 8181 w 9545"/>
                <a:gd name="connsiteY16" fmla="*/ 8339 h 8979"/>
                <a:gd name="connsiteX17" fmla="*/ 9090 w 9545"/>
                <a:gd name="connsiteY17" fmla="*/ 6358 h 8979"/>
                <a:gd name="connsiteX18" fmla="*/ 9545 w 9545"/>
                <a:gd name="connsiteY18" fmla="*/ 6358 h 8979"/>
                <a:gd name="connsiteX19" fmla="*/ 9084 w 9545"/>
                <a:gd name="connsiteY19" fmla="*/ 2693 h 8979"/>
                <a:gd name="connsiteX20" fmla="*/ 8096 w 9545"/>
                <a:gd name="connsiteY20" fmla="*/ 770 h 8979"/>
                <a:gd name="connsiteX21" fmla="*/ 6714 w 9545"/>
                <a:gd name="connsiteY21" fmla="*/ 1747 h 8979"/>
                <a:gd name="connsiteX22" fmla="*/ 5321 w 9545"/>
                <a:gd name="connsiteY22" fmla="*/ 0 h 8979"/>
                <a:gd name="connsiteX23" fmla="*/ 5847 w 9545"/>
                <a:gd name="connsiteY23" fmla="*/ 2791 h 8979"/>
                <a:gd name="connsiteX0" fmla="*/ 6126 w 10000"/>
                <a:gd name="connsiteY0" fmla="*/ 3108 h 10000"/>
                <a:gd name="connsiteX1" fmla="*/ 4527 w 10000"/>
                <a:gd name="connsiteY1" fmla="*/ 2871 h 10000"/>
                <a:gd name="connsiteX2" fmla="*/ 4412 w 10000"/>
                <a:gd name="connsiteY2" fmla="*/ 4982 h 10000"/>
                <a:gd name="connsiteX3" fmla="*/ 235 w 10000"/>
                <a:gd name="connsiteY3" fmla="*/ 3449 h 10000"/>
                <a:gd name="connsiteX4" fmla="*/ 0 w 10000"/>
                <a:gd name="connsiteY4" fmla="*/ 4872 h 10000"/>
                <a:gd name="connsiteX5" fmla="*/ 476 w 10000"/>
                <a:gd name="connsiteY5" fmla="*/ 6345 h 10000"/>
                <a:gd name="connsiteX6" fmla="*/ 1197 w 10000"/>
                <a:gd name="connsiteY6" fmla="*/ 8226 h 10000"/>
                <a:gd name="connsiteX7" fmla="*/ 3829 w 10000"/>
                <a:gd name="connsiteY7" fmla="*/ 6858 h 10000"/>
                <a:gd name="connsiteX8" fmla="*/ 4183 w 10000"/>
                <a:gd name="connsiteY8" fmla="*/ 7361 h 10000"/>
                <a:gd name="connsiteX9" fmla="*/ 4772 w 10000"/>
                <a:gd name="connsiteY9" fmla="*/ 7372 h 10000"/>
                <a:gd name="connsiteX10" fmla="*/ 4762 w 10000"/>
                <a:gd name="connsiteY10" fmla="*/ 7815 h 10000"/>
                <a:gd name="connsiteX11" fmla="*/ 4285 w 10000"/>
                <a:gd name="connsiteY11" fmla="*/ 8551 h 10000"/>
                <a:gd name="connsiteX12" fmla="*/ 7294 w 10000"/>
                <a:gd name="connsiteY12" fmla="*/ 6631 h 10000"/>
                <a:gd name="connsiteX13" fmla="*/ 6577 w 10000"/>
                <a:gd name="connsiteY13" fmla="*/ 9122 h 10000"/>
                <a:gd name="connsiteX14" fmla="*/ 8063 w 10000"/>
                <a:gd name="connsiteY14" fmla="*/ 10000 h 10000"/>
                <a:gd name="connsiteX15" fmla="*/ 8571 w 10000"/>
                <a:gd name="connsiteY15" fmla="*/ 9287 h 10000"/>
                <a:gd name="connsiteX16" fmla="*/ 9523 w 10000"/>
                <a:gd name="connsiteY16" fmla="*/ 7081 h 10000"/>
                <a:gd name="connsiteX17" fmla="*/ 10000 w 10000"/>
                <a:gd name="connsiteY17" fmla="*/ 7081 h 10000"/>
                <a:gd name="connsiteX18" fmla="*/ 9517 w 10000"/>
                <a:gd name="connsiteY18" fmla="*/ 2999 h 10000"/>
                <a:gd name="connsiteX19" fmla="*/ 8482 w 10000"/>
                <a:gd name="connsiteY19" fmla="*/ 858 h 10000"/>
                <a:gd name="connsiteX20" fmla="*/ 7034 w 10000"/>
                <a:gd name="connsiteY20" fmla="*/ 1946 h 10000"/>
                <a:gd name="connsiteX21" fmla="*/ 5575 w 10000"/>
                <a:gd name="connsiteY21" fmla="*/ 0 h 10000"/>
                <a:gd name="connsiteX22" fmla="*/ 6126 w 10000"/>
                <a:gd name="connsiteY22" fmla="*/ 3108 h 10000"/>
                <a:gd name="connsiteX0" fmla="*/ 6126 w 10000"/>
                <a:gd name="connsiteY0" fmla="*/ 3108 h 10000"/>
                <a:gd name="connsiteX1" fmla="*/ 4527 w 10000"/>
                <a:gd name="connsiteY1" fmla="*/ 2871 h 10000"/>
                <a:gd name="connsiteX2" fmla="*/ 4412 w 10000"/>
                <a:gd name="connsiteY2" fmla="*/ 4982 h 10000"/>
                <a:gd name="connsiteX3" fmla="*/ 0 w 10000"/>
                <a:gd name="connsiteY3" fmla="*/ 4872 h 10000"/>
                <a:gd name="connsiteX4" fmla="*/ 476 w 10000"/>
                <a:gd name="connsiteY4" fmla="*/ 6345 h 10000"/>
                <a:gd name="connsiteX5" fmla="*/ 1197 w 10000"/>
                <a:gd name="connsiteY5" fmla="*/ 8226 h 10000"/>
                <a:gd name="connsiteX6" fmla="*/ 3829 w 10000"/>
                <a:gd name="connsiteY6" fmla="*/ 6858 h 10000"/>
                <a:gd name="connsiteX7" fmla="*/ 4183 w 10000"/>
                <a:gd name="connsiteY7" fmla="*/ 7361 h 10000"/>
                <a:gd name="connsiteX8" fmla="*/ 4772 w 10000"/>
                <a:gd name="connsiteY8" fmla="*/ 7372 h 10000"/>
                <a:gd name="connsiteX9" fmla="*/ 4762 w 10000"/>
                <a:gd name="connsiteY9" fmla="*/ 7815 h 10000"/>
                <a:gd name="connsiteX10" fmla="*/ 4285 w 10000"/>
                <a:gd name="connsiteY10" fmla="*/ 8551 h 10000"/>
                <a:gd name="connsiteX11" fmla="*/ 7294 w 10000"/>
                <a:gd name="connsiteY11" fmla="*/ 6631 h 10000"/>
                <a:gd name="connsiteX12" fmla="*/ 6577 w 10000"/>
                <a:gd name="connsiteY12" fmla="*/ 9122 h 10000"/>
                <a:gd name="connsiteX13" fmla="*/ 8063 w 10000"/>
                <a:gd name="connsiteY13" fmla="*/ 10000 h 10000"/>
                <a:gd name="connsiteX14" fmla="*/ 8571 w 10000"/>
                <a:gd name="connsiteY14" fmla="*/ 9287 h 10000"/>
                <a:gd name="connsiteX15" fmla="*/ 9523 w 10000"/>
                <a:gd name="connsiteY15" fmla="*/ 7081 h 10000"/>
                <a:gd name="connsiteX16" fmla="*/ 10000 w 10000"/>
                <a:gd name="connsiteY16" fmla="*/ 7081 h 10000"/>
                <a:gd name="connsiteX17" fmla="*/ 9517 w 10000"/>
                <a:gd name="connsiteY17" fmla="*/ 2999 h 10000"/>
                <a:gd name="connsiteX18" fmla="*/ 8482 w 10000"/>
                <a:gd name="connsiteY18" fmla="*/ 858 h 10000"/>
                <a:gd name="connsiteX19" fmla="*/ 7034 w 10000"/>
                <a:gd name="connsiteY19" fmla="*/ 1946 h 10000"/>
                <a:gd name="connsiteX20" fmla="*/ 5575 w 10000"/>
                <a:gd name="connsiteY20" fmla="*/ 0 h 10000"/>
                <a:gd name="connsiteX21" fmla="*/ 6126 w 10000"/>
                <a:gd name="connsiteY21" fmla="*/ 3108 h 10000"/>
                <a:gd name="connsiteX0" fmla="*/ 5650 w 9524"/>
                <a:gd name="connsiteY0" fmla="*/ 3108 h 10000"/>
                <a:gd name="connsiteX1" fmla="*/ 4051 w 9524"/>
                <a:gd name="connsiteY1" fmla="*/ 2871 h 10000"/>
                <a:gd name="connsiteX2" fmla="*/ 3936 w 9524"/>
                <a:gd name="connsiteY2" fmla="*/ 4982 h 10000"/>
                <a:gd name="connsiteX3" fmla="*/ 0 w 9524"/>
                <a:gd name="connsiteY3" fmla="*/ 6345 h 10000"/>
                <a:gd name="connsiteX4" fmla="*/ 721 w 9524"/>
                <a:gd name="connsiteY4" fmla="*/ 8226 h 10000"/>
                <a:gd name="connsiteX5" fmla="*/ 3353 w 9524"/>
                <a:gd name="connsiteY5" fmla="*/ 6858 h 10000"/>
                <a:gd name="connsiteX6" fmla="*/ 3707 w 9524"/>
                <a:gd name="connsiteY6" fmla="*/ 7361 h 10000"/>
                <a:gd name="connsiteX7" fmla="*/ 4296 w 9524"/>
                <a:gd name="connsiteY7" fmla="*/ 7372 h 10000"/>
                <a:gd name="connsiteX8" fmla="*/ 4286 w 9524"/>
                <a:gd name="connsiteY8" fmla="*/ 7815 h 10000"/>
                <a:gd name="connsiteX9" fmla="*/ 3809 w 9524"/>
                <a:gd name="connsiteY9" fmla="*/ 8551 h 10000"/>
                <a:gd name="connsiteX10" fmla="*/ 6818 w 9524"/>
                <a:gd name="connsiteY10" fmla="*/ 6631 h 10000"/>
                <a:gd name="connsiteX11" fmla="*/ 6101 w 9524"/>
                <a:gd name="connsiteY11" fmla="*/ 9122 h 10000"/>
                <a:gd name="connsiteX12" fmla="*/ 7587 w 9524"/>
                <a:gd name="connsiteY12" fmla="*/ 10000 h 10000"/>
                <a:gd name="connsiteX13" fmla="*/ 8095 w 9524"/>
                <a:gd name="connsiteY13" fmla="*/ 9287 h 10000"/>
                <a:gd name="connsiteX14" fmla="*/ 9047 w 9524"/>
                <a:gd name="connsiteY14" fmla="*/ 7081 h 10000"/>
                <a:gd name="connsiteX15" fmla="*/ 9524 w 9524"/>
                <a:gd name="connsiteY15" fmla="*/ 7081 h 10000"/>
                <a:gd name="connsiteX16" fmla="*/ 9041 w 9524"/>
                <a:gd name="connsiteY16" fmla="*/ 2999 h 10000"/>
                <a:gd name="connsiteX17" fmla="*/ 8006 w 9524"/>
                <a:gd name="connsiteY17" fmla="*/ 858 h 10000"/>
                <a:gd name="connsiteX18" fmla="*/ 6558 w 9524"/>
                <a:gd name="connsiteY18" fmla="*/ 1946 h 10000"/>
                <a:gd name="connsiteX19" fmla="*/ 5099 w 9524"/>
                <a:gd name="connsiteY19" fmla="*/ 0 h 10000"/>
                <a:gd name="connsiteX20" fmla="*/ 5650 w 9524"/>
                <a:gd name="connsiteY20" fmla="*/ 3108 h 10000"/>
                <a:gd name="connsiteX0" fmla="*/ 5175 w 9243"/>
                <a:gd name="connsiteY0" fmla="*/ 3108 h 10000"/>
                <a:gd name="connsiteX1" fmla="*/ 3496 w 9243"/>
                <a:gd name="connsiteY1" fmla="*/ 2871 h 10000"/>
                <a:gd name="connsiteX2" fmla="*/ 3376 w 9243"/>
                <a:gd name="connsiteY2" fmla="*/ 4982 h 10000"/>
                <a:gd name="connsiteX3" fmla="*/ 0 w 9243"/>
                <a:gd name="connsiteY3" fmla="*/ 8226 h 10000"/>
                <a:gd name="connsiteX4" fmla="*/ 2764 w 9243"/>
                <a:gd name="connsiteY4" fmla="*/ 6858 h 10000"/>
                <a:gd name="connsiteX5" fmla="*/ 3135 w 9243"/>
                <a:gd name="connsiteY5" fmla="*/ 7361 h 10000"/>
                <a:gd name="connsiteX6" fmla="*/ 3754 w 9243"/>
                <a:gd name="connsiteY6" fmla="*/ 7372 h 10000"/>
                <a:gd name="connsiteX7" fmla="*/ 3743 w 9243"/>
                <a:gd name="connsiteY7" fmla="*/ 7815 h 10000"/>
                <a:gd name="connsiteX8" fmla="*/ 3242 w 9243"/>
                <a:gd name="connsiteY8" fmla="*/ 8551 h 10000"/>
                <a:gd name="connsiteX9" fmla="*/ 6402 w 9243"/>
                <a:gd name="connsiteY9" fmla="*/ 6631 h 10000"/>
                <a:gd name="connsiteX10" fmla="*/ 5649 w 9243"/>
                <a:gd name="connsiteY10" fmla="*/ 9122 h 10000"/>
                <a:gd name="connsiteX11" fmla="*/ 7209 w 9243"/>
                <a:gd name="connsiteY11" fmla="*/ 10000 h 10000"/>
                <a:gd name="connsiteX12" fmla="*/ 7743 w 9243"/>
                <a:gd name="connsiteY12" fmla="*/ 9287 h 10000"/>
                <a:gd name="connsiteX13" fmla="*/ 8742 w 9243"/>
                <a:gd name="connsiteY13" fmla="*/ 7081 h 10000"/>
                <a:gd name="connsiteX14" fmla="*/ 9243 w 9243"/>
                <a:gd name="connsiteY14" fmla="*/ 7081 h 10000"/>
                <a:gd name="connsiteX15" fmla="*/ 8736 w 9243"/>
                <a:gd name="connsiteY15" fmla="*/ 2999 h 10000"/>
                <a:gd name="connsiteX16" fmla="*/ 7649 w 9243"/>
                <a:gd name="connsiteY16" fmla="*/ 858 h 10000"/>
                <a:gd name="connsiteX17" fmla="*/ 6129 w 9243"/>
                <a:gd name="connsiteY17" fmla="*/ 1946 h 10000"/>
                <a:gd name="connsiteX18" fmla="*/ 4597 w 9243"/>
                <a:gd name="connsiteY18" fmla="*/ 0 h 10000"/>
                <a:gd name="connsiteX19" fmla="*/ 5175 w 9243"/>
                <a:gd name="connsiteY19" fmla="*/ 3108 h 10000"/>
                <a:gd name="connsiteX0" fmla="*/ 2609 w 7010"/>
                <a:gd name="connsiteY0" fmla="*/ 3108 h 10000"/>
                <a:gd name="connsiteX1" fmla="*/ 792 w 7010"/>
                <a:gd name="connsiteY1" fmla="*/ 2871 h 10000"/>
                <a:gd name="connsiteX2" fmla="*/ 662 w 7010"/>
                <a:gd name="connsiteY2" fmla="*/ 4982 h 10000"/>
                <a:gd name="connsiteX3" fmla="*/ 0 w 7010"/>
                <a:gd name="connsiteY3" fmla="*/ 6858 h 10000"/>
                <a:gd name="connsiteX4" fmla="*/ 402 w 7010"/>
                <a:gd name="connsiteY4" fmla="*/ 7361 h 10000"/>
                <a:gd name="connsiteX5" fmla="*/ 1071 w 7010"/>
                <a:gd name="connsiteY5" fmla="*/ 7372 h 10000"/>
                <a:gd name="connsiteX6" fmla="*/ 1060 w 7010"/>
                <a:gd name="connsiteY6" fmla="*/ 7815 h 10000"/>
                <a:gd name="connsiteX7" fmla="*/ 518 w 7010"/>
                <a:gd name="connsiteY7" fmla="*/ 8551 h 10000"/>
                <a:gd name="connsiteX8" fmla="*/ 3936 w 7010"/>
                <a:gd name="connsiteY8" fmla="*/ 6631 h 10000"/>
                <a:gd name="connsiteX9" fmla="*/ 3122 w 7010"/>
                <a:gd name="connsiteY9" fmla="*/ 9122 h 10000"/>
                <a:gd name="connsiteX10" fmla="*/ 4809 w 7010"/>
                <a:gd name="connsiteY10" fmla="*/ 10000 h 10000"/>
                <a:gd name="connsiteX11" fmla="*/ 5387 w 7010"/>
                <a:gd name="connsiteY11" fmla="*/ 9287 h 10000"/>
                <a:gd name="connsiteX12" fmla="*/ 6468 w 7010"/>
                <a:gd name="connsiteY12" fmla="*/ 7081 h 10000"/>
                <a:gd name="connsiteX13" fmla="*/ 7010 w 7010"/>
                <a:gd name="connsiteY13" fmla="*/ 7081 h 10000"/>
                <a:gd name="connsiteX14" fmla="*/ 6461 w 7010"/>
                <a:gd name="connsiteY14" fmla="*/ 2999 h 10000"/>
                <a:gd name="connsiteX15" fmla="*/ 5285 w 7010"/>
                <a:gd name="connsiteY15" fmla="*/ 858 h 10000"/>
                <a:gd name="connsiteX16" fmla="*/ 3641 w 7010"/>
                <a:gd name="connsiteY16" fmla="*/ 1946 h 10000"/>
                <a:gd name="connsiteX17" fmla="*/ 1983 w 7010"/>
                <a:gd name="connsiteY17" fmla="*/ 0 h 10000"/>
                <a:gd name="connsiteX18" fmla="*/ 2609 w 7010"/>
                <a:gd name="connsiteY18" fmla="*/ 3108 h 10000"/>
                <a:gd name="connsiteX0" fmla="*/ 3722 w 10000"/>
                <a:gd name="connsiteY0" fmla="*/ 3108 h 11186"/>
                <a:gd name="connsiteX1" fmla="*/ 1130 w 10000"/>
                <a:gd name="connsiteY1" fmla="*/ 2871 h 11186"/>
                <a:gd name="connsiteX2" fmla="*/ 944 w 10000"/>
                <a:gd name="connsiteY2" fmla="*/ 4982 h 11186"/>
                <a:gd name="connsiteX3" fmla="*/ 0 w 10000"/>
                <a:gd name="connsiteY3" fmla="*/ 6858 h 11186"/>
                <a:gd name="connsiteX4" fmla="*/ 573 w 10000"/>
                <a:gd name="connsiteY4" fmla="*/ 7361 h 11186"/>
                <a:gd name="connsiteX5" fmla="*/ 1528 w 10000"/>
                <a:gd name="connsiteY5" fmla="*/ 7372 h 11186"/>
                <a:gd name="connsiteX6" fmla="*/ 1512 w 10000"/>
                <a:gd name="connsiteY6" fmla="*/ 7815 h 11186"/>
                <a:gd name="connsiteX7" fmla="*/ 739 w 10000"/>
                <a:gd name="connsiteY7" fmla="*/ 8551 h 11186"/>
                <a:gd name="connsiteX8" fmla="*/ 5615 w 10000"/>
                <a:gd name="connsiteY8" fmla="*/ 6631 h 11186"/>
                <a:gd name="connsiteX9" fmla="*/ 4454 w 10000"/>
                <a:gd name="connsiteY9" fmla="*/ 9122 h 11186"/>
                <a:gd name="connsiteX10" fmla="*/ 6860 w 10000"/>
                <a:gd name="connsiteY10" fmla="*/ 11186 h 11186"/>
                <a:gd name="connsiteX11" fmla="*/ 7685 w 10000"/>
                <a:gd name="connsiteY11" fmla="*/ 9287 h 11186"/>
                <a:gd name="connsiteX12" fmla="*/ 9227 w 10000"/>
                <a:gd name="connsiteY12" fmla="*/ 7081 h 11186"/>
                <a:gd name="connsiteX13" fmla="*/ 10000 w 10000"/>
                <a:gd name="connsiteY13" fmla="*/ 7081 h 11186"/>
                <a:gd name="connsiteX14" fmla="*/ 9217 w 10000"/>
                <a:gd name="connsiteY14" fmla="*/ 2999 h 11186"/>
                <a:gd name="connsiteX15" fmla="*/ 7539 w 10000"/>
                <a:gd name="connsiteY15" fmla="*/ 858 h 11186"/>
                <a:gd name="connsiteX16" fmla="*/ 5194 w 10000"/>
                <a:gd name="connsiteY16" fmla="*/ 1946 h 11186"/>
                <a:gd name="connsiteX17" fmla="*/ 2829 w 10000"/>
                <a:gd name="connsiteY17" fmla="*/ 0 h 11186"/>
                <a:gd name="connsiteX18" fmla="*/ 3722 w 10000"/>
                <a:gd name="connsiteY18" fmla="*/ 3108 h 11186"/>
                <a:gd name="connsiteX0" fmla="*/ 3722 w 10000"/>
                <a:gd name="connsiteY0" fmla="*/ 3108 h 11186"/>
                <a:gd name="connsiteX1" fmla="*/ 1130 w 10000"/>
                <a:gd name="connsiteY1" fmla="*/ 2871 h 11186"/>
                <a:gd name="connsiteX2" fmla="*/ 944 w 10000"/>
                <a:gd name="connsiteY2" fmla="*/ 4982 h 11186"/>
                <a:gd name="connsiteX3" fmla="*/ 0 w 10000"/>
                <a:gd name="connsiteY3" fmla="*/ 6858 h 11186"/>
                <a:gd name="connsiteX4" fmla="*/ 573 w 10000"/>
                <a:gd name="connsiteY4" fmla="*/ 7361 h 11186"/>
                <a:gd name="connsiteX5" fmla="*/ 1528 w 10000"/>
                <a:gd name="connsiteY5" fmla="*/ 7372 h 11186"/>
                <a:gd name="connsiteX6" fmla="*/ 1512 w 10000"/>
                <a:gd name="connsiteY6" fmla="*/ 7815 h 11186"/>
                <a:gd name="connsiteX7" fmla="*/ 739 w 10000"/>
                <a:gd name="connsiteY7" fmla="*/ 8551 h 11186"/>
                <a:gd name="connsiteX8" fmla="*/ 5615 w 10000"/>
                <a:gd name="connsiteY8" fmla="*/ 6631 h 11186"/>
                <a:gd name="connsiteX9" fmla="*/ 5133 w 10000"/>
                <a:gd name="connsiteY9" fmla="*/ 9359 h 11186"/>
                <a:gd name="connsiteX10" fmla="*/ 6860 w 10000"/>
                <a:gd name="connsiteY10" fmla="*/ 11186 h 11186"/>
                <a:gd name="connsiteX11" fmla="*/ 7685 w 10000"/>
                <a:gd name="connsiteY11" fmla="*/ 9287 h 11186"/>
                <a:gd name="connsiteX12" fmla="*/ 9227 w 10000"/>
                <a:gd name="connsiteY12" fmla="*/ 7081 h 11186"/>
                <a:gd name="connsiteX13" fmla="*/ 10000 w 10000"/>
                <a:gd name="connsiteY13" fmla="*/ 7081 h 11186"/>
                <a:gd name="connsiteX14" fmla="*/ 9217 w 10000"/>
                <a:gd name="connsiteY14" fmla="*/ 2999 h 11186"/>
                <a:gd name="connsiteX15" fmla="*/ 7539 w 10000"/>
                <a:gd name="connsiteY15" fmla="*/ 858 h 11186"/>
                <a:gd name="connsiteX16" fmla="*/ 5194 w 10000"/>
                <a:gd name="connsiteY16" fmla="*/ 1946 h 11186"/>
                <a:gd name="connsiteX17" fmla="*/ 2829 w 10000"/>
                <a:gd name="connsiteY17" fmla="*/ 0 h 11186"/>
                <a:gd name="connsiteX18" fmla="*/ 3722 w 10000"/>
                <a:gd name="connsiteY18" fmla="*/ 3108 h 11186"/>
                <a:gd name="connsiteX0" fmla="*/ 3722 w 10000"/>
                <a:gd name="connsiteY0" fmla="*/ 3108 h 11186"/>
                <a:gd name="connsiteX1" fmla="*/ 1130 w 10000"/>
                <a:gd name="connsiteY1" fmla="*/ 2871 h 11186"/>
                <a:gd name="connsiteX2" fmla="*/ 944 w 10000"/>
                <a:gd name="connsiteY2" fmla="*/ 4982 h 11186"/>
                <a:gd name="connsiteX3" fmla="*/ 0 w 10000"/>
                <a:gd name="connsiteY3" fmla="*/ 6858 h 11186"/>
                <a:gd name="connsiteX4" fmla="*/ 573 w 10000"/>
                <a:gd name="connsiteY4" fmla="*/ 7361 h 11186"/>
                <a:gd name="connsiteX5" fmla="*/ 1528 w 10000"/>
                <a:gd name="connsiteY5" fmla="*/ 7372 h 11186"/>
                <a:gd name="connsiteX6" fmla="*/ 1512 w 10000"/>
                <a:gd name="connsiteY6" fmla="*/ 7815 h 11186"/>
                <a:gd name="connsiteX7" fmla="*/ 739 w 10000"/>
                <a:gd name="connsiteY7" fmla="*/ 8551 h 11186"/>
                <a:gd name="connsiteX8" fmla="*/ 6747 w 10000"/>
                <a:gd name="connsiteY8" fmla="*/ 6868 h 11186"/>
                <a:gd name="connsiteX9" fmla="*/ 5133 w 10000"/>
                <a:gd name="connsiteY9" fmla="*/ 9359 h 11186"/>
                <a:gd name="connsiteX10" fmla="*/ 6860 w 10000"/>
                <a:gd name="connsiteY10" fmla="*/ 11186 h 11186"/>
                <a:gd name="connsiteX11" fmla="*/ 7685 w 10000"/>
                <a:gd name="connsiteY11" fmla="*/ 9287 h 11186"/>
                <a:gd name="connsiteX12" fmla="*/ 9227 w 10000"/>
                <a:gd name="connsiteY12" fmla="*/ 7081 h 11186"/>
                <a:gd name="connsiteX13" fmla="*/ 10000 w 10000"/>
                <a:gd name="connsiteY13" fmla="*/ 7081 h 11186"/>
                <a:gd name="connsiteX14" fmla="*/ 9217 w 10000"/>
                <a:gd name="connsiteY14" fmla="*/ 2999 h 11186"/>
                <a:gd name="connsiteX15" fmla="*/ 7539 w 10000"/>
                <a:gd name="connsiteY15" fmla="*/ 858 h 11186"/>
                <a:gd name="connsiteX16" fmla="*/ 5194 w 10000"/>
                <a:gd name="connsiteY16" fmla="*/ 1946 h 11186"/>
                <a:gd name="connsiteX17" fmla="*/ 2829 w 10000"/>
                <a:gd name="connsiteY17" fmla="*/ 0 h 11186"/>
                <a:gd name="connsiteX18" fmla="*/ 3722 w 10000"/>
                <a:gd name="connsiteY18" fmla="*/ 3108 h 11186"/>
                <a:gd name="connsiteX0" fmla="*/ 3722 w 10000"/>
                <a:gd name="connsiteY0" fmla="*/ 3108 h 11186"/>
                <a:gd name="connsiteX1" fmla="*/ 1130 w 10000"/>
                <a:gd name="connsiteY1" fmla="*/ 2871 h 11186"/>
                <a:gd name="connsiteX2" fmla="*/ 944 w 10000"/>
                <a:gd name="connsiteY2" fmla="*/ 4982 h 11186"/>
                <a:gd name="connsiteX3" fmla="*/ 0 w 10000"/>
                <a:gd name="connsiteY3" fmla="*/ 6858 h 11186"/>
                <a:gd name="connsiteX4" fmla="*/ 573 w 10000"/>
                <a:gd name="connsiteY4" fmla="*/ 7361 h 11186"/>
                <a:gd name="connsiteX5" fmla="*/ 1528 w 10000"/>
                <a:gd name="connsiteY5" fmla="*/ 7372 h 11186"/>
                <a:gd name="connsiteX6" fmla="*/ 1512 w 10000"/>
                <a:gd name="connsiteY6" fmla="*/ 7815 h 11186"/>
                <a:gd name="connsiteX7" fmla="*/ 3908 w 10000"/>
                <a:gd name="connsiteY7" fmla="*/ 6891 h 11186"/>
                <a:gd name="connsiteX8" fmla="*/ 6747 w 10000"/>
                <a:gd name="connsiteY8" fmla="*/ 6868 h 11186"/>
                <a:gd name="connsiteX9" fmla="*/ 5133 w 10000"/>
                <a:gd name="connsiteY9" fmla="*/ 9359 h 11186"/>
                <a:gd name="connsiteX10" fmla="*/ 6860 w 10000"/>
                <a:gd name="connsiteY10" fmla="*/ 11186 h 11186"/>
                <a:gd name="connsiteX11" fmla="*/ 7685 w 10000"/>
                <a:gd name="connsiteY11" fmla="*/ 9287 h 11186"/>
                <a:gd name="connsiteX12" fmla="*/ 9227 w 10000"/>
                <a:gd name="connsiteY12" fmla="*/ 7081 h 11186"/>
                <a:gd name="connsiteX13" fmla="*/ 10000 w 10000"/>
                <a:gd name="connsiteY13" fmla="*/ 7081 h 11186"/>
                <a:gd name="connsiteX14" fmla="*/ 9217 w 10000"/>
                <a:gd name="connsiteY14" fmla="*/ 2999 h 11186"/>
                <a:gd name="connsiteX15" fmla="*/ 7539 w 10000"/>
                <a:gd name="connsiteY15" fmla="*/ 858 h 11186"/>
                <a:gd name="connsiteX16" fmla="*/ 5194 w 10000"/>
                <a:gd name="connsiteY16" fmla="*/ 1946 h 11186"/>
                <a:gd name="connsiteX17" fmla="*/ 2829 w 10000"/>
                <a:gd name="connsiteY17" fmla="*/ 0 h 11186"/>
                <a:gd name="connsiteX18" fmla="*/ 3722 w 10000"/>
                <a:gd name="connsiteY18" fmla="*/ 3108 h 11186"/>
                <a:gd name="connsiteX0" fmla="*/ 3722 w 10000"/>
                <a:gd name="connsiteY0" fmla="*/ 3108 h 11186"/>
                <a:gd name="connsiteX1" fmla="*/ 1130 w 10000"/>
                <a:gd name="connsiteY1" fmla="*/ 2871 h 11186"/>
                <a:gd name="connsiteX2" fmla="*/ 944 w 10000"/>
                <a:gd name="connsiteY2" fmla="*/ 4982 h 11186"/>
                <a:gd name="connsiteX3" fmla="*/ 0 w 10000"/>
                <a:gd name="connsiteY3" fmla="*/ 6858 h 11186"/>
                <a:gd name="connsiteX4" fmla="*/ 573 w 10000"/>
                <a:gd name="connsiteY4" fmla="*/ 7361 h 11186"/>
                <a:gd name="connsiteX5" fmla="*/ 1528 w 10000"/>
                <a:gd name="connsiteY5" fmla="*/ 7372 h 11186"/>
                <a:gd name="connsiteX6" fmla="*/ 1965 w 10000"/>
                <a:gd name="connsiteY6" fmla="*/ 10661 h 11186"/>
                <a:gd name="connsiteX7" fmla="*/ 3908 w 10000"/>
                <a:gd name="connsiteY7" fmla="*/ 6891 h 11186"/>
                <a:gd name="connsiteX8" fmla="*/ 6747 w 10000"/>
                <a:gd name="connsiteY8" fmla="*/ 6868 h 11186"/>
                <a:gd name="connsiteX9" fmla="*/ 5133 w 10000"/>
                <a:gd name="connsiteY9" fmla="*/ 9359 h 11186"/>
                <a:gd name="connsiteX10" fmla="*/ 6860 w 10000"/>
                <a:gd name="connsiteY10" fmla="*/ 11186 h 11186"/>
                <a:gd name="connsiteX11" fmla="*/ 7685 w 10000"/>
                <a:gd name="connsiteY11" fmla="*/ 9287 h 11186"/>
                <a:gd name="connsiteX12" fmla="*/ 9227 w 10000"/>
                <a:gd name="connsiteY12" fmla="*/ 7081 h 11186"/>
                <a:gd name="connsiteX13" fmla="*/ 10000 w 10000"/>
                <a:gd name="connsiteY13" fmla="*/ 7081 h 11186"/>
                <a:gd name="connsiteX14" fmla="*/ 9217 w 10000"/>
                <a:gd name="connsiteY14" fmla="*/ 2999 h 11186"/>
                <a:gd name="connsiteX15" fmla="*/ 7539 w 10000"/>
                <a:gd name="connsiteY15" fmla="*/ 858 h 11186"/>
                <a:gd name="connsiteX16" fmla="*/ 5194 w 10000"/>
                <a:gd name="connsiteY16" fmla="*/ 1946 h 11186"/>
                <a:gd name="connsiteX17" fmla="*/ 2829 w 10000"/>
                <a:gd name="connsiteY17" fmla="*/ 0 h 11186"/>
                <a:gd name="connsiteX18" fmla="*/ 3722 w 10000"/>
                <a:gd name="connsiteY18" fmla="*/ 3108 h 11186"/>
                <a:gd name="connsiteX0" fmla="*/ 3722 w 10000"/>
                <a:gd name="connsiteY0" fmla="*/ 3108 h 11186"/>
                <a:gd name="connsiteX1" fmla="*/ 1130 w 10000"/>
                <a:gd name="connsiteY1" fmla="*/ 2871 h 11186"/>
                <a:gd name="connsiteX2" fmla="*/ 944 w 10000"/>
                <a:gd name="connsiteY2" fmla="*/ 4982 h 11186"/>
                <a:gd name="connsiteX3" fmla="*/ 0 w 10000"/>
                <a:gd name="connsiteY3" fmla="*/ 6858 h 11186"/>
                <a:gd name="connsiteX4" fmla="*/ 573 w 10000"/>
                <a:gd name="connsiteY4" fmla="*/ 7361 h 11186"/>
                <a:gd name="connsiteX5" fmla="*/ 1528 w 10000"/>
                <a:gd name="connsiteY5" fmla="*/ 7372 h 11186"/>
                <a:gd name="connsiteX6" fmla="*/ 1965 w 10000"/>
                <a:gd name="connsiteY6" fmla="*/ 10661 h 11186"/>
                <a:gd name="connsiteX7" fmla="*/ 3908 w 10000"/>
                <a:gd name="connsiteY7" fmla="*/ 6891 h 11186"/>
                <a:gd name="connsiteX8" fmla="*/ 6747 w 10000"/>
                <a:gd name="connsiteY8" fmla="*/ 6868 h 11186"/>
                <a:gd name="connsiteX9" fmla="*/ 6038 w 10000"/>
                <a:gd name="connsiteY9" fmla="*/ 9359 h 11186"/>
                <a:gd name="connsiteX10" fmla="*/ 6860 w 10000"/>
                <a:gd name="connsiteY10" fmla="*/ 11186 h 11186"/>
                <a:gd name="connsiteX11" fmla="*/ 7685 w 10000"/>
                <a:gd name="connsiteY11" fmla="*/ 9287 h 11186"/>
                <a:gd name="connsiteX12" fmla="*/ 9227 w 10000"/>
                <a:gd name="connsiteY12" fmla="*/ 7081 h 11186"/>
                <a:gd name="connsiteX13" fmla="*/ 10000 w 10000"/>
                <a:gd name="connsiteY13" fmla="*/ 7081 h 11186"/>
                <a:gd name="connsiteX14" fmla="*/ 9217 w 10000"/>
                <a:gd name="connsiteY14" fmla="*/ 2999 h 11186"/>
                <a:gd name="connsiteX15" fmla="*/ 7539 w 10000"/>
                <a:gd name="connsiteY15" fmla="*/ 858 h 11186"/>
                <a:gd name="connsiteX16" fmla="*/ 5194 w 10000"/>
                <a:gd name="connsiteY16" fmla="*/ 1946 h 11186"/>
                <a:gd name="connsiteX17" fmla="*/ 2829 w 10000"/>
                <a:gd name="connsiteY17" fmla="*/ 0 h 11186"/>
                <a:gd name="connsiteX18" fmla="*/ 3722 w 10000"/>
                <a:gd name="connsiteY18" fmla="*/ 3108 h 11186"/>
                <a:gd name="connsiteX0" fmla="*/ 3722 w 10000"/>
                <a:gd name="connsiteY0" fmla="*/ 3108 h 11186"/>
                <a:gd name="connsiteX1" fmla="*/ 1130 w 10000"/>
                <a:gd name="connsiteY1" fmla="*/ 2871 h 11186"/>
                <a:gd name="connsiteX2" fmla="*/ 944 w 10000"/>
                <a:gd name="connsiteY2" fmla="*/ 4982 h 11186"/>
                <a:gd name="connsiteX3" fmla="*/ 0 w 10000"/>
                <a:gd name="connsiteY3" fmla="*/ 6858 h 11186"/>
                <a:gd name="connsiteX4" fmla="*/ 573 w 10000"/>
                <a:gd name="connsiteY4" fmla="*/ 7361 h 11186"/>
                <a:gd name="connsiteX5" fmla="*/ 1528 w 10000"/>
                <a:gd name="connsiteY5" fmla="*/ 7372 h 11186"/>
                <a:gd name="connsiteX6" fmla="*/ 1965 w 10000"/>
                <a:gd name="connsiteY6" fmla="*/ 10661 h 11186"/>
                <a:gd name="connsiteX7" fmla="*/ 3908 w 10000"/>
                <a:gd name="connsiteY7" fmla="*/ 6891 h 11186"/>
                <a:gd name="connsiteX8" fmla="*/ 5842 w 10000"/>
                <a:gd name="connsiteY8" fmla="*/ 8054 h 11186"/>
                <a:gd name="connsiteX9" fmla="*/ 6038 w 10000"/>
                <a:gd name="connsiteY9" fmla="*/ 9359 h 11186"/>
                <a:gd name="connsiteX10" fmla="*/ 6860 w 10000"/>
                <a:gd name="connsiteY10" fmla="*/ 11186 h 11186"/>
                <a:gd name="connsiteX11" fmla="*/ 7685 w 10000"/>
                <a:gd name="connsiteY11" fmla="*/ 9287 h 11186"/>
                <a:gd name="connsiteX12" fmla="*/ 9227 w 10000"/>
                <a:gd name="connsiteY12" fmla="*/ 7081 h 11186"/>
                <a:gd name="connsiteX13" fmla="*/ 10000 w 10000"/>
                <a:gd name="connsiteY13" fmla="*/ 7081 h 11186"/>
                <a:gd name="connsiteX14" fmla="*/ 9217 w 10000"/>
                <a:gd name="connsiteY14" fmla="*/ 2999 h 11186"/>
                <a:gd name="connsiteX15" fmla="*/ 7539 w 10000"/>
                <a:gd name="connsiteY15" fmla="*/ 858 h 11186"/>
                <a:gd name="connsiteX16" fmla="*/ 5194 w 10000"/>
                <a:gd name="connsiteY16" fmla="*/ 1946 h 11186"/>
                <a:gd name="connsiteX17" fmla="*/ 2829 w 10000"/>
                <a:gd name="connsiteY17" fmla="*/ 0 h 11186"/>
                <a:gd name="connsiteX18" fmla="*/ 3722 w 10000"/>
                <a:gd name="connsiteY18" fmla="*/ 3108 h 11186"/>
                <a:gd name="connsiteX0" fmla="*/ 3722 w 10000"/>
                <a:gd name="connsiteY0" fmla="*/ 3108 h 11186"/>
                <a:gd name="connsiteX1" fmla="*/ 1130 w 10000"/>
                <a:gd name="connsiteY1" fmla="*/ 2871 h 11186"/>
                <a:gd name="connsiteX2" fmla="*/ 944 w 10000"/>
                <a:gd name="connsiteY2" fmla="*/ 4982 h 11186"/>
                <a:gd name="connsiteX3" fmla="*/ 0 w 10000"/>
                <a:gd name="connsiteY3" fmla="*/ 6858 h 11186"/>
                <a:gd name="connsiteX4" fmla="*/ 573 w 10000"/>
                <a:gd name="connsiteY4" fmla="*/ 7361 h 11186"/>
                <a:gd name="connsiteX5" fmla="*/ 1528 w 10000"/>
                <a:gd name="connsiteY5" fmla="*/ 7372 h 11186"/>
                <a:gd name="connsiteX6" fmla="*/ 1965 w 10000"/>
                <a:gd name="connsiteY6" fmla="*/ 10661 h 11186"/>
                <a:gd name="connsiteX7" fmla="*/ 4134 w 10000"/>
                <a:gd name="connsiteY7" fmla="*/ 9026 h 11186"/>
                <a:gd name="connsiteX8" fmla="*/ 5842 w 10000"/>
                <a:gd name="connsiteY8" fmla="*/ 8054 h 11186"/>
                <a:gd name="connsiteX9" fmla="*/ 6038 w 10000"/>
                <a:gd name="connsiteY9" fmla="*/ 9359 h 11186"/>
                <a:gd name="connsiteX10" fmla="*/ 6860 w 10000"/>
                <a:gd name="connsiteY10" fmla="*/ 11186 h 11186"/>
                <a:gd name="connsiteX11" fmla="*/ 7685 w 10000"/>
                <a:gd name="connsiteY11" fmla="*/ 9287 h 11186"/>
                <a:gd name="connsiteX12" fmla="*/ 9227 w 10000"/>
                <a:gd name="connsiteY12" fmla="*/ 7081 h 11186"/>
                <a:gd name="connsiteX13" fmla="*/ 10000 w 10000"/>
                <a:gd name="connsiteY13" fmla="*/ 7081 h 11186"/>
                <a:gd name="connsiteX14" fmla="*/ 9217 w 10000"/>
                <a:gd name="connsiteY14" fmla="*/ 2999 h 11186"/>
                <a:gd name="connsiteX15" fmla="*/ 7539 w 10000"/>
                <a:gd name="connsiteY15" fmla="*/ 858 h 11186"/>
                <a:gd name="connsiteX16" fmla="*/ 5194 w 10000"/>
                <a:gd name="connsiteY16" fmla="*/ 1946 h 11186"/>
                <a:gd name="connsiteX17" fmla="*/ 2829 w 10000"/>
                <a:gd name="connsiteY17" fmla="*/ 0 h 11186"/>
                <a:gd name="connsiteX18" fmla="*/ 3722 w 10000"/>
                <a:gd name="connsiteY18" fmla="*/ 3108 h 11186"/>
                <a:gd name="connsiteX0" fmla="*/ 3722 w 10000"/>
                <a:gd name="connsiteY0" fmla="*/ 3108 h 11847"/>
                <a:gd name="connsiteX1" fmla="*/ 1130 w 10000"/>
                <a:gd name="connsiteY1" fmla="*/ 2871 h 11847"/>
                <a:gd name="connsiteX2" fmla="*/ 944 w 10000"/>
                <a:gd name="connsiteY2" fmla="*/ 4982 h 11847"/>
                <a:gd name="connsiteX3" fmla="*/ 0 w 10000"/>
                <a:gd name="connsiteY3" fmla="*/ 6858 h 11847"/>
                <a:gd name="connsiteX4" fmla="*/ 573 w 10000"/>
                <a:gd name="connsiteY4" fmla="*/ 7361 h 11847"/>
                <a:gd name="connsiteX5" fmla="*/ 1528 w 10000"/>
                <a:gd name="connsiteY5" fmla="*/ 7372 h 11847"/>
                <a:gd name="connsiteX6" fmla="*/ 2191 w 10000"/>
                <a:gd name="connsiteY6" fmla="*/ 11847 h 11847"/>
                <a:gd name="connsiteX7" fmla="*/ 4134 w 10000"/>
                <a:gd name="connsiteY7" fmla="*/ 9026 h 11847"/>
                <a:gd name="connsiteX8" fmla="*/ 5842 w 10000"/>
                <a:gd name="connsiteY8" fmla="*/ 8054 h 11847"/>
                <a:gd name="connsiteX9" fmla="*/ 6038 w 10000"/>
                <a:gd name="connsiteY9" fmla="*/ 9359 h 11847"/>
                <a:gd name="connsiteX10" fmla="*/ 6860 w 10000"/>
                <a:gd name="connsiteY10" fmla="*/ 11186 h 11847"/>
                <a:gd name="connsiteX11" fmla="*/ 7685 w 10000"/>
                <a:gd name="connsiteY11" fmla="*/ 9287 h 11847"/>
                <a:gd name="connsiteX12" fmla="*/ 9227 w 10000"/>
                <a:gd name="connsiteY12" fmla="*/ 7081 h 11847"/>
                <a:gd name="connsiteX13" fmla="*/ 10000 w 10000"/>
                <a:gd name="connsiteY13" fmla="*/ 7081 h 11847"/>
                <a:gd name="connsiteX14" fmla="*/ 9217 w 10000"/>
                <a:gd name="connsiteY14" fmla="*/ 2999 h 11847"/>
                <a:gd name="connsiteX15" fmla="*/ 7539 w 10000"/>
                <a:gd name="connsiteY15" fmla="*/ 858 h 11847"/>
                <a:gd name="connsiteX16" fmla="*/ 5194 w 10000"/>
                <a:gd name="connsiteY16" fmla="*/ 1946 h 11847"/>
                <a:gd name="connsiteX17" fmla="*/ 2829 w 10000"/>
                <a:gd name="connsiteY17" fmla="*/ 0 h 11847"/>
                <a:gd name="connsiteX18" fmla="*/ 3722 w 10000"/>
                <a:gd name="connsiteY18" fmla="*/ 3108 h 11847"/>
                <a:gd name="connsiteX0" fmla="*/ 3722 w 10000"/>
                <a:gd name="connsiteY0" fmla="*/ 3108 h 11847"/>
                <a:gd name="connsiteX1" fmla="*/ 1130 w 10000"/>
                <a:gd name="connsiteY1" fmla="*/ 2871 h 11847"/>
                <a:gd name="connsiteX2" fmla="*/ 944 w 10000"/>
                <a:gd name="connsiteY2" fmla="*/ 4982 h 11847"/>
                <a:gd name="connsiteX3" fmla="*/ 0 w 10000"/>
                <a:gd name="connsiteY3" fmla="*/ 6858 h 11847"/>
                <a:gd name="connsiteX4" fmla="*/ 573 w 10000"/>
                <a:gd name="connsiteY4" fmla="*/ 7361 h 11847"/>
                <a:gd name="connsiteX5" fmla="*/ 849 w 10000"/>
                <a:gd name="connsiteY5" fmla="*/ 9032 h 11847"/>
                <a:gd name="connsiteX6" fmla="*/ 2191 w 10000"/>
                <a:gd name="connsiteY6" fmla="*/ 11847 h 11847"/>
                <a:gd name="connsiteX7" fmla="*/ 4134 w 10000"/>
                <a:gd name="connsiteY7" fmla="*/ 9026 h 11847"/>
                <a:gd name="connsiteX8" fmla="*/ 5842 w 10000"/>
                <a:gd name="connsiteY8" fmla="*/ 8054 h 11847"/>
                <a:gd name="connsiteX9" fmla="*/ 6038 w 10000"/>
                <a:gd name="connsiteY9" fmla="*/ 9359 h 11847"/>
                <a:gd name="connsiteX10" fmla="*/ 6860 w 10000"/>
                <a:gd name="connsiteY10" fmla="*/ 11186 h 11847"/>
                <a:gd name="connsiteX11" fmla="*/ 7685 w 10000"/>
                <a:gd name="connsiteY11" fmla="*/ 9287 h 11847"/>
                <a:gd name="connsiteX12" fmla="*/ 9227 w 10000"/>
                <a:gd name="connsiteY12" fmla="*/ 7081 h 11847"/>
                <a:gd name="connsiteX13" fmla="*/ 10000 w 10000"/>
                <a:gd name="connsiteY13" fmla="*/ 7081 h 11847"/>
                <a:gd name="connsiteX14" fmla="*/ 9217 w 10000"/>
                <a:gd name="connsiteY14" fmla="*/ 2999 h 11847"/>
                <a:gd name="connsiteX15" fmla="*/ 7539 w 10000"/>
                <a:gd name="connsiteY15" fmla="*/ 858 h 11847"/>
                <a:gd name="connsiteX16" fmla="*/ 5194 w 10000"/>
                <a:gd name="connsiteY16" fmla="*/ 1946 h 11847"/>
                <a:gd name="connsiteX17" fmla="*/ 2829 w 10000"/>
                <a:gd name="connsiteY17" fmla="*/ 0 h 11847"/>
                <a:gd name="connsiteX18" fmla="*/ 3722 w 10000"/>
                <a:gd name="connsiteY18" fmla="*/ 3108 h 11847"/>
                <a:gd name="connsiteX0" fmla="*/ 3722 w 10000"/>
                <a:gd name="connsiteY0" fmla="*/ 3108 h 11186"/>
                <a:gd name="connsiteX1" fmla="*/ 1130 w 10000"/>
                <a:gd name="connsiteY1" fmla="*/ 2871 h 11186"/>
                <a:gd name="connsiteX2" fmla="*/ 944 w 10000"/>
                <a:gd name="connsiteY2" fmla="*/ 4982 h 11186"/>
                <a:gd name="connsiteX3" fmla="*/ 0 w 10000"/>
                <a:gd name="connsiteY3" fmla="*/ 6858 h 11186"/>
                <a:gd name="connsiteX4" fmla="*/ 573 w 10000"/>
                <a:gd name="connsiteY4" fmla="*/ 7361 h 11186"/>
                <a:gd name="connsiteX5" fmla="*/ 849 w 10000"/>
                <a:gd name="connsiteY5" fmla="*/ 9032 h 11186"/>
                <a:gd name="connsiteX6" fmla="*/ 2870 w 10000"/>
                <a:gd name="connsiteY6" fmla="*/ 10898 h 11186"/>
                <a:gd name="connsiteX7" fmla="*/ 4134 w 10000"/>
                <a:gd name="connsiteY7" fmla="*/ 9026 h 11186"/>
                <a:gd name="connsiteX8" fmla="*/ 5842 w 10000"/>
                <a:gd name="connsiteY8" fmla="*/ 8054 h 11186"/>
                <a:gd name="connsiteX9" fmla="*/ 6038 w 10000"/>
                <a:gd name="connsiteY9" fmla="*/ 9359 h 11186"/>
                <a:gd name="connsiteX10" fmla="*/ 6860 w 10000"/>
                <a:gd name="connsiteY10" fmla="*/ 11186 h 11186"/>
                <a:gd name="connsiteX11" fmla="*/ 7685 w 10000"/>
                <a:gd name="connsiteY11" fmla="*/ 9287 h 11186"/>
                <a:gd name="connsiteX12" fmla="*/ 9227 w 10000"/>
                <a:gd name="connsiteY12" fmla="*/ 7081 h 11186"/>
                <a:gd name="connsiteX13" fmla="*/ 10000 w 10000"/>
                <a:gd name="connsiteY13" fmla="*/ 7081 h 11186"/>
                <a:gd name="connsiteX14" fmla="*/ 9217 w 10000"/>
                <a:gd name="connsiteY14" fmla="*/ 2999 h 11186"/>
                <a:gd name="connsiteX15" fmla="*/ 7539 w 10000"/>
                <a:gd name="connsiteY15" fmla="*/ 858 h 11186"/>
                <a:gd name="connsiteX16" fmla="*/ 5194 w 10000"/>
                <a:gd name="connsiteY16" fmla="*/ 1946 h 11186"/>
                <a:gd name="connsiteX17" fmla="*/ 2829 w 10000"/>
                <a:gd name="connsiteY17" fmla="*/ 0 h 11186"/>
                <a:gd name="connsiteX18" fmla="*/ 3722 w 10000"/>
                <a:gd name="connsiteY18" fmla="*/ 3108 h 11186"/>
                <a:gd name="connsiteX0" fmla="*/ 3722 w 10000"/>
                <a:gd name="connsiteY0" fmla="*/ 3108 h 11186"/>
                <a:gd name="connsiteX1" fmla="*/ 1130 w 10000"/>
                <a:gd name="connsiteY1" fmla="*/ 2871 h 11186"/>
                <a:gd name="connsiteX2" fmla="*/ 944 w 10000"/>
                <a:gd name="connsiteY2" fmla="*/ 4982 h 11186"/>
                <a:gd name="connsiteX3" fmla="*/ 0 w 10000"/>
                <a:gd name="connsiteY3" fmla="*/ 6858 h 11186"/>
                <a:gd name="connsiteX4" fmla="*/ 573 w 10000"/>
                <a:gd name="connsiteY4" fmla="*/ 7361 h 11186"/>
                <a:gd name="connsiteX5" fmla="*/ 2870 w 10000"/>
                <a:gd name="connsiteY5" fmla="*/ 10898 h 11186"/>
                <a:gd name="connsiteX6" fmla="*/ 4134 w 10000"/>
                <a:gd name="connsiteY6" fmla="*/ 9026 h 11186"/>
                <a:gd name="connsiteX7" fmla="*/ 5842 w 10000"/>
                <a:gd name="connsiteY7" fmla="*/ 8054 h 11186"/>
                <a:gd name="connsiteX8" fmla="*/ 6038 w 10000"/>
                <a:gd name="connsiteY8" fmla="*/ 9359 h 11186"/>
                <a:gd name="connsiteX9" fmla="*/ 6860 w 10000"/>
                <a:gd name="connsiteY9" fmla="*/ 11186 h 11186"/>
                <a:gd name="connsiteX10" fmla="*/ 7685 w 10000"/>
                <a:gd name="connsiteY10" fmla="*/ 9287 h 11186"/>
                <a:gd name="connsiteX11" fmla="*/ 9227 w 10000"/>
                <a:gd name="connsiteY11" fmla="*/ 7081 h 11186"/>
                <a:gd name="connsiteX12" fmla="*/ 10000 w 10000"/>
                <a:gd name="connsiteY12" fmla="*/ 7081 h 11186"/>
                <a:gd name="connsiteX13" fmla="*/ 9217 w 10000"/>
                <a:gd name="connsiteY13" fmla="*/ 2999 h 11186"/>
                <a:gd name="connsiteX14" fmla="*/ 7539 w 10000"/>
                <a:gd name="connsiteY14" fmla="*/ 858 h 11186"/>
                <a:gd name="connsiteX15" fmla="*/ 5194 w 10000"/>
                <a:gd name="connsiteY15" fmla="*/ 1946 h 11186"/>
                <a:gd name="connsiteX16" fmla="*/ 2829 w 10000"/>
                <a:gd name="connsiteY16" fmla="*/ 0 h 11186"/>
                <a:gd name="connsiteX17" fmla="*/ 3722 w 10000"/>
                <a:gd name="connsiteY17" fmla="*/ 3108 h 11186"/>
                <a:gd name="connsiteX0" fmla="*/ 3722 w 10000"/>
                <a:gd name="connsiteY0" fmla="*/ 3108 h 11186"/>
                <a:gd name="connsiteX1" fmla="*/ 1130 w 10000"/>
                <a:gd name="connsiteY1" fmla="*/ 2871 h 11186"/>
                <a:gd name="connsiteX2" fmla="*/ 944 w 10000"/>
                <a:gd name="connsiteY2" fmla="*/ 4982 h 11186"/>
                <a:gd name="connsiteX3" fmla="*/ 0 w 10000"/>
                <a:gd name="connsiteY3" fmla="*/ 6858 h 11186"/>
                <a:gd name="connsiteX4" fmla="*/ 2870 w 10000"/>
                <a:gd name="connsiteY4" fmla="*/ 10898 h 11186"/>
                <a:gd name="connsiteX5" fmla="*/ 4134 w 10000"/>
                <a:gd name="connsiteY5" fmla="*/ 9026 h 11186"/>
                <a:gd name="connsiteX6" fmla="*/ 5842 w 10000"/>
                <a:gd name="connsiteY6" fmla="*/ 8054 h 11186"/>
                <a:gd name="connsiteX7" fmla="*/ 6038 w 10000"/>
                <a:gd name="connsiteY7" fmla="*/ 9359 h 11186"/>
                <a:gd name="connsiteX8" fmla="*/ 6860 w 10000"/>
                <a:gd name="connsiteY8" fmla="*/ 11186 h 11186"/>
                <a:gd name="connsiteX9" fmla="*/ 7685 w 10000"/>
                <a:gd name="connsiteY9" fmla="*/ 9287 h 11186"/>
                <a:gd name="connsiteX10" fmla="*/ 9227 w 10000"/>
                <a:gd name="connsiteY10" fmla="*/ 7081 h 11186"/>
                <a:gd name="connsiteX11" fmla="*/ 10000 w 10000"/>
                <a:gd name="connsiteY11" fmla="*/ 7081 h 11186"/>
                <a:gd name="connsiteX12" fmla="*/ 9217 w 10000"/>
                <a:gd name="connsiteY12" fmla="*/ 2999 h 11186"/>
                <a:gd name="connsiteX13" fmla="*/ 7539 w 10000"/>
                <a:gd name="connsiteY13" fmla="*/ 858 h 11186"/>
                <a:gd name="connsiteX14" fmla="*/ 5194 w 10000"/>
                <a:gd name="connsiteY14" fmla="*/ 1946 h 11186"/>
                <a:gd name="connsiteX15" fmla="*/ 2829 w 10000"/>
                <a:gd name="connsiteY15" fmla="*/ 0 h 11186"/>
                <a:gd name="connsiteX16" fmla="*/ 3722 w 10000"/>
                <a:gd name="connsiteY16" fmla="*/ 3108 h 11186"/>
                <a:gd name="connsiteX0" fmla="*/ 3722 w 10000"/>
                <a:gd name="connsiteY0" fmla="*/ 3108 h 11186"/>
                <a:gd name="connsiteX1" fmla="*/ 1130 w 10000"/>
                <a:gd name="connsiteY1" fmla="*/ 2871 h 11186"/>
                <a:gd name="connsiteX2" fmla="*/ 0 w 10000"/>
                <a:gd name="connsiteY2" fmla="*/ 6858 h 11186"/>
                <a:gd name="connsiteX3" fmla="*/ 2870 w 10000"/>
                <a:gd name="connsiteY3" fmla="*/ 10898 h 11186"/>
                <a:gd name="connsiteX4" fmla="*/ 4134 w 10000"/>
                <a:gd name="connsiteY4" fmla="*/ 9026 h 11186"/>
                <a:gd name="connsiteX5" fmla="*/ 5842 w 10000"/>
                <a:gd name="connsiteY5" fmla="*/ 8054 h 11186"/>
                <a:gd name="connsiteX6" fmla="*/ 6038 w 10000"/>
                <a:gd name="connsiteY6" fmla="*/ 9359 h 11186"/>
                <a:gd name="connsiteX7" fmla="*/ 6860 w 10000"/>
                <a:gd name="connsiteY7" fmla="*/ 11186 h 11186"/>
                <a:gd name="connsiteX8" fmla="*/ 7685 w 10000"/>
                <a:gd name="connsiteY8" fmla="*/ 9287 h 11186"/>
                <a:gd name="connsiteX9" fmla="*/ 9227 w 10000"/>
                <a:gd name="connsiteY9" fmla="*/ 7081 h 11186"/>
                <a:gd name="connsiteX10" fmla="*/ 10000 w 10000"/>
                <a:gd name="connsiteY10" fmla="*/ 7081 h 11186"/>
                <a:gd name="connsiteX11" fmla="*/ 9217 w 10000"/>
                <a:gd name="connsiteY11" fmla="*/ 2999 h 11186"/>
                <a:gd name="connsiteX12" fmla="*/ 7539 w 10000"/>
                <a:gd name="connsiteY12" fmla="*/ 858 h 11186"/>
                <a:gd name="connsiteX13" fmla="*/ 5194 w 10000"/>
                <a:gd name="connsiteY13" fmla="*/ 1946 h 11186"/>
                <a:gd name="connsiteX14" fmla="*/ 2829 w 10000"/>
                <a:gd name="connsiteY14" fmla="*/ 0 h 11186"/>
                <a:gd name="connsiteX15" fmla="*/ 3722 w 10000"/>
                <a:gd name="connsiteY15" fmla="*/ 3108 h 11186"/>
                <a:gd name="connsiteX0" fmla="*/ 2592 w 8870"/>
                <a:gd name="connsiteY0" fmla="*/ 3108 h 11186"/>
                <a:gd name="connsiteX1" fmla="*/ 0 w 8870"/>
                <a:gd name="connsiteY1" fmla="*/ 2871 h 11186"/>
                <a:gd name="connsiteX2" fmla="*/ 228 w 8870"/>
                <a:gd name="connsiteY2" fmla="*/ 6858 h 11186"/>
                <a:gd name="connsiteX3" fmla="*/ 1740 w 8870"/>
                <a:gd name="connsiteY3" fmla="*/ 10898 h 11186"/>
                <a:gd name="connsiteX4" fmla="*/ 3004 w 8870"/>
                <a:gd name="connsiteY4" fmla="*/ 9026 h 11186"/>
                <a:gd name="connsiteX5" fmla="*/ 4712 w 8870"/>
                <a:gd name="connsiteY5" fmla="*/ 8054 h 11186"/>
                <a:gd name="connsiteX6" fmla="*/ 4908 w 8870"/>
                <a:gd name="connsiteY6" fmla="*/ 9359 h 11186"/>
                <a:gd name="connsiteX7" fmla="*/ 5730 w 8870"/>
                <a:gd name="connsiteY7" fmla="*/ 11186 h 11186"/>
                <a:gd name="connsiteX8" fmla="*/ 6555 w 8870"/>
                <a:gd name="connsiteY8" fmla="*/ 9287 h 11186"/>
                <a:gd name="connsiteX9" fmla="*/ 8097 w 8870"/>
                <a:gd name="connsiteY9" fmla="*/ 7081 h 11186"/>
                <a:gd name="connsiteX10" fmla="*/ 8870 w 8870"/>
                <a:gd name="connsiteY10" fmla="*/ 7081 h 11186"/>
                <a:gd name="connsiteX11" fmla="*/ 8087 w 8870"/>
                <a:gd name="connsiteY11" fmla="*/ 2999 h 11186"/>
                <a:gd name="connsiteX12" fmla="*/ 6409 w 8870"/>
                <a:gd name="connsiteY12" fmla="*/ 858 h 11186"/>
                <a:gd name="connsiteX13" fmla="*/ 4064 w 8870"/>
                <a:gd name="connsiteY13" fmla="*/ 1946 h 11186"/>
                <a:gd name="connsiteX14" fmla="*/ 1699 w 8870"/>
                <a:gd name="connsiteY14" fmla="*/ 0 h 11186"/>
                <a:gd name="connsiteX15" fmla="*/ 2592 w 8870"/>
                <a:gd name="connsiteY15" fmla="*/ 3108 h 11186"/>
                <a:gd name="connsiteX0" fmla="*/ 2922 w 10000"/>
                <a:gd name="connsiteY0" fmla="*/ 2778 h 10000"/>
                <a:gd name="connsiteX1" fmla="*/ 0 w 10000"/>
                <a:gd name="connsiteY1" fmla="*/ 2567 h 10000"/>
                <a:gd name="connsiteX2" fmla="*/ 257 w 10000"/>
                <a:gd name="connsiteY2" fmla="*/ 6979 h 10000"/>
                <a:gd name="connsiteX3" fmla="*/ 1962 w 10000"/>
                <a:gd name="connsiteY3" fmla="*/ 9743 h 10000"/>
                <a:gd name="connsiteX4" fmla="*/ 3387 w 10000"/>
                <a:gd name="connsiteY4" fmla="*/ 8069 h 10000"/>
                <a:gd name="connsiteX5" fmla="*/ 5312 w 10000"/>
                <a:gd name="connsiteY5" fmla="*/ 7200 h 10000"/>
                <a:gd name="connsiteX6" fmla="*/ 5533 w 10000"/>
                <a:gd name="connsiteY6" fmla="*/ 8367 h 10000"/>
                <a:gd name="connsiteX7" fmla="*/ 6460 w 10000"/>
                <a:gd name="connsiteY7" fmla="*/ 10000 h 10000"/>
                <a:gd name="connsiteX8" fmla="*/ 7390 w 10000"/>
                <a:gd name="connsiteY8" fmla="*/ 8302 h 10000"/>
                <a:gd name="connsiteX9" fmla="*/ 9129 w 10000"/>
                <a:gd name="connsiteY9" fmla="*/ 6330 h 10000"/>
                <a:gd name="connsiteX10" fmla="*/ 10000 w 10000"/>
                <a:gd name="connsiteY10" fmla="*/ 6330 h 10000"/>
                <a:gd name="connsiteX11" fmla="*/ 9117 w 10000"/>
                <a:gd name="connsiteY11" fmla="*/ 2681 h 10000"/>
                <a:gd name="connsiteX12" fmla="*/ 7225 w 10000"/>
                <a:gd name="connsiteY12" fmla="*/ 767 h 10000"/>
                <a:gd name="connsiteX13" fmla="*/ 4582 w 10000"/>
                <a:gd name="connsiteY13" fmla="*/ 1740 h 10000"/>
                <a:gd name="connsiteX14" fmla="*/ 1915 w 10000"/>
                <a:gd name="connsiteY14" fmla="*/ 0 h 10000"/>
                <a:gd name="connsiteX15" fmla="*/ 2922 w 10000"/>
                <a:gd name="connsiteY15" fmla="*/ 2778 h 10000"/>
                <a:gd name="connsiteX0" fmla="*/ 2922 w 10000"/>
                <a:gd name="connsiteY0" fmla="*/ 2778 h 10000"/>
                <a:gd name="connsiteX1" fmla="*/ 0 w 10000"/>
                <a:gd name="connsiteY1" fmla="*/ 2567 h 10000"/>
                <a:gd name="connsiteX2" fmla="*/ 257 w 10000"/>
                <a:gd name="connsiteY2" fmla="*/ 6979 h 10000"/>
                <a:gd name="connsiteX3" fmla="*/ 1962 w 10000"/>
                <a:gd name="connsiteY3" fmla="*/ 9743 h 10000"/>
                <a:gd name="connsiteX4" fmla="*/ 3387 w 10000"/>
                <a:gd name="connsiteY4" fmla="*/ 8069 h 10000"/>
                <a:gd name="connsiteX5" fmla="*/ 5312 w 10000"/>
                <a:gd name="connsiteY5" fmla="*/ 7200 h 10000"/>
                <a:gd name="connsiteX6" fmla="*/ 5533 w 10000"/>
                <a:gd name="connsiteY6" fmla="*/ 8367 h 10000"/>
                <a:gd name="connsiteX7" fmla="*/ 6460 w 10000"/>
                <a:gd name="connsiteY7" fmla="*/ 10000 h 10000"/>
                <a:gd name="connsiteX8" fmla="*/ 7390 w 10000"/>
                <a:gd name="connsiteY8" fmla="*/ 8302 h 10000"/>
                <a:gd name="connsiteX9" fmla="*/ 10000 w 10000"/>
                <a:gd name="connsiteY9" fmla="*/ 6330 h 10000"/>
                <a:gd name="connsiteX10" fmla="*/ 9117 w 10000"/>
                <a:gd name="connsiteY10" fmla="*/ 2681 h 10000"/>
                <a:gd name="connsiteX11" fmla="*/ 7225 w 10000"/>
                <a:gd name="connsiteY11" fmla="*/ 767 h 10000"/>
                <a:gd name="connsiteX12" fmla="*/ 4582 w 10000"/>
                <a:gd name="connsiteY12" fmla="*/ 1740 h 10000"/>
                <a:gd name="connsiteX13" fmla="*/ 1915 w 10000"/>
                <a:gd name="connsiteY13" fmla="*/ 0 h 10000"/>
                <a:gd name="connsiteX14" fmla="*/ 2922 w 10000"/>
                <a:gd name="connsiteY14" fmla="*/ 2778 h 10000"/>
                <a:gd name="connsiteX0" fmla="*/ 2922 w 10000"/>
                <a:gd name="connsiteY0" fmla="*/ 2778 h 10000"/>
                <a:gd name="connsiteX1" fmla="*/ 0 w 10000"/>
                <a:gd name="connsiteY1" fmla="*/ 2567 h 10000"/>
                <a:gd name="connsiteX2" fmla="*/ 257 w 10000"/>
                <a:gd name="connsiteY2" fmla="*/ 6979 h 10000"/>
                <a:gd name="connsiteX3" fmla="*/ 1962 w 10000"/>
                <a:gd name="connsiteY3" fmla="*/ 9743 h 10000"/>
                <a:gd name="connsiteX4" fmla="*/ 3387 w 10000"/>
                <a:gd name="connsiteY4" fmla="*/ 8069 h 10000"/>
                <a:gd name="connsiteX5" fmla="*/ 5312 w 10000"/>
                <a:gd name="connsiteY5" fmla="*/ 7200 h 10000"/>
                <a:gd name="connsiteX6" fmla="*/ 5533 w 10000"/>
                <a:gd name="connsiteY6" fmla="*/ 8367 h 10000"/>
                <a:gd name="connsiteX7" fmla="*/ 6460 w 10000"/>
                <a:gd name="connsiteY7" fmla="*/ 10000 h 10000"/>
                <a:gd name="connsiteX8" fmla="*/ 10000 w 10000"/>
                <a:gd name="connsiteY8" fmla="*/ 6330 h 10000"/>
                <a:gd name="connsiteX9" fmla="*/ 9117 w 10000"/>
                <a:gd name="connsiteY9" fmla="*/ 2681 h 10000"/>
                <a:gd name="connsiteX10" fmla="*/ 7225 w 10000"/>
                <a:gd name="connsiteY10" fmla="*/ 767 h 10000"/>
                <a:gd name="connsiteX11" fmla="*/ 4582 w 10000"/>
                <a:gd name="connsiteY11" fmla="*/ 1740 h 10000"/>
                <a:gd name="connsiteX12" fmla="*/ 1915 w 10000"/>
                <a:gd name="connsiteY12" fmla="*/ 0 h 10000"/>
                <a:gd name="connsiteX13" fmla="*/ 2922 w 10000"/>
                <a:gd name="connsiteY13" fmla="*/ 2778 h 10000"/>
                <a:gd name="connsiteX0" fmla="*/ 2922 w 10000"/>
                <a:gd name="connsiteY0" fmla="*/ 2778 h 10005"/>
                <a:gd name="connsiteX1" fmla="*/ 0 w 10000"/>
                <a:gd name="connsiteY1" fmla="*/ 2567 h 10005"/>
                <a:gd name="connsiteX2" fmla="*/ 257 w 10000"/>
                <a:gd name="connsiteY2" fmla="*/ 6979 h 10005"/>
                <a:gd name="connsiteX3" fmla="*/ 1962 w 10000"/>
                <a:gd name="connsiteY3" fmla="*/ 9743 h 10005"/>
                <a:gd name="connsiteX4" fmla="*/ 3387 w 10000"/>
                <a:gd name="connsiteY4" fmla="*/ 8069 h 10005"/>
                <a:gd name="connsiteX5" fmla="*/ 5312 w 10000"/>
                <a:gd name="connsiteY5" fmla="*/ 7200 h 10005"/>
                <a:gd name="connsiteX6" fmla="*/ 6460 w 10000"/>
                <a:gd name="connsiteY6" fmla="*/ 10000 h 10005"/>
                <a:gd name="connsiteX7" fmla="*/ 10000 w 10000"/>
                <a:gd name="connsiteY7" fmla="*/ 6330 h 10005"/>
                <a:gd name="connsiteX8" fmla="*/ 9117 w 10000"/>
                <a:gd name="connsiteY8" fmla="*/ 2681 h 10005"/>
                <a:gd name="connsiteX9" fmla="*/ 7225 w 10000"/>
                <a:gd name="connsiteY9" fmla="*/ 767 h 10005"/>
                <a:gd name="connsiteX10" fmla="*/ 4582 w 10000"/>
                <a:gd name="connsiteY10" fmla="*/ 1740 h 10005"/>
                <a:gd name="connsiteX11" fmla="*/ 1915 w 10000"/>
                <a:gd name="connsiteY11" fmla="*/ 0 h 10005"/>
                <a:gd name="connsiteX12" fmla="*/ 2922 w 10000"/>
                <a:gd name="connsiteY12" fmla="*/ 2778 h 10005"/>
                <a:gd name="connsiteX0" fmla="*/ 2922 w 10000"/>
                <a:gd name="connsiteY0" fmla="*/ 2778 h 10007"/>
                <a:gd name="connsiteX1" fmla="*/ 0 w 10000"/>
                <a:gd name="connsiteY1" fmla="*/ 2567 h 10007"/>
                <a:gd name="connsiteX2" fmla="*/ 257 w 10000"/>
                <a:gd name="connsiteY2" fmla="*/ 6979 h 10007"/>
                <a:gd name="connsiteX3" fmla="*/ 1962 w 10000"/>
                <a:gd name="connsiteY3" fmla="*/ 9743 h 10007"/>
                <a:gd name="connsiteX4" fmla="*/ 3387 w 10000"/>
                <a:gd name="connsiteY4" fmla="*/ 8069 h 10007"/>
                <a:gd name="connsiteX5" fmla="*/ 5312 w 10000"/>
                <a:gd name="connsiteY5" fmla="*/ 7836 h 10007"/>
                <a:gd name="connsiteX6" fmla="*/ 6460 w 10000"/>
                <a:gd name="connsiteY6" fmla="*/ 10000 h 10007"/>
                <a:gd name="connsiteX7" fmla="*/ 10000 w 10000"/>
                <a:gd name="connsiteY7" fmla="*/ 6330 h 10007"/>
                <a:gd name="connsiteX8" fmla="*/ 9117 w 10000"/>
                <a:gd name="connsiteY8" fmla="*/ 2681 h 10007"/>
                <a:gd name="connsiteX9" fmla="*/ 7225 w 10000"/>
                <a:gd name="connsiteY9" fmla="*/ 767 h 10007"/>
                <a:gd name="connsiteX10" fmla="*/ 4582 w 10000"/>
                <a:gd name="connsiteY10" fmla="*/ 1740 h 10007"/>
                <a:gd name="connsiteX11" fmla="*/ 1915 w 10000"/>
                <a:gd name="connsiteY11" fmla="*/ 0 h 10007"/>
                <a:gd name="connsiteX12" fmla="*/ 2922 w 10000"/>
                <a:gd name="connsiteY12" fmla="*/ 2778 h 10007"/>
                <a:gd name="connsiteX0" fmla="*/ 2922 w 10000"/>
                <a:gd name="connsiteY0" fmla="*/ 2778 h 10007"/>
                <a:gd name="connsiteX1" fmla="*/ 0 w 10000"/>
                <a:gd name="connsiteY1" fmla="*/ 2567 h 10007"/>
                <a:gd name="connsiteX2" fmla="*/ 257 w 10000"/>
                <a:gd name="connsiteY2" fmla="*/ 6979 h 10007"/>
                <a:gd name="connsiteX3" fmla="*/ 1962 w 10000"/>
                <a:gd name="connsiteY3" fmla="*/ 9743 h 10007"/>
                <a:gd name="connsiteX4" fmla="*/ 3897 w 10000"/>
                <a:gd name="connsiteY4" fmla="*/ 8917 h 10007"/>
                <a:gd name="connsiteX5" fmla="*/ 5312 w 10000"/>
                <a:gd name="connsiteY5" fmla="*/ 7836 h 10007"/>
                <a:gd name="connsiteX6" fmla="*/ 6460 w 10000"/>
                <a:gd name="connsiteY6" fmla="*/ 10000 h 10007"/>
                <a:gd name="connsiteX7" fmla="*/ 10000 w 10000"/>
                <a:gd name="connsiteY7" fmla="*/ 6330 h 10007"/>
                <a:gd name="connsiteX8" fmla="*/ 9117 w 10000"/>
                <a:gd name="connsiteY8" fmla="*/ 2681 h 10007"/>
                <a:gd name="connsiteX9" fmla="*/ 7225 w 10000"/>
                <a:gd name="connsiteY9" fmla="*/ 767 h 10007"/>
                <a:gd name="connsiteX10" fmla="*/ 4582 w 10000"/>
                <a:gd name="connsiteY10" fmla="*/ 1740 h 10007"/>
                <a:gd name="connsiteX11" fmla="*/ 1915 w 10000"/>
                <a:gd name="connsiteY11" fmla="*/ 0 h 10007"/>
                <a:gd name="connsiteX12" fmla="*/ 2922 w 10000"/>
                <a:gd name="connsiteY12" fmla="*/ 2778 h 10007"/>
                <a:gd name="connsiteX0" fmla="*/ 2922 w 10000"/>
                <a:gd name="connsiteY0" fmla="*/ 2778 h 10007"/>
                <a:gd name="connsiteX1" fmla="*/ 0 w 10000"/>
                <a:gd name="connsiteY1" fmla="*/ 2567 h 10007"/>
                <a:gd name="connsiteX2" fmla="*/ 257 w 10000"/>
                <a:gd name="connsiteY2" fmla="*/ 6979 h 10007"/>
                <a:gd name="connsiteX3" fmla="*/ 1962 w 10000"/>
                <a:gd name="connsiteY3" fmla="*/ 9743 h 10007"/>
                <a:gd name="connsiteX4" fmla="*/ 3642 w 10000"/>
                <a:gd name="connsiteY4" fmla="*/ 7857 h 10007"/>
                <a:gd name="connsiteX5" fmla="*/ 5312 w 10000"/>
                <a:gd name="connsiteY5" fmla="*/ 7836 h 10007"/>
                <a:gd name="connsiteX6" fmla="*/ 6460 w 10000"/>
                <a:gd name="connsiteY6" fmla="*/ 10000 h 10007"/>
                <a:gd name="connsiteX7" fmla="*/ 10000 w 10000"/>
                <a:gd name="connsiteY7" fmla="*/ 6330 h 10007"/>
                <a:gd name="connsiteX8" fmla="*/ 9117 w 10000"/>
                <a:gd name="connsiteY8" fmla="*/ 2681 h 10007"/>
                <a:gd name="connsiteX9" fmla="*/ 7225 w 10000"/>
                <a:gd name="connsiteY9" fmla="*/ 767 h 10007"/>
                <a:gd name="connsiteX10" fmla="*/ 4582 w 10000"/>
                <a:gd name="connsiteY10" fmla="*/ 1740 h 10007"/>
                <a:gd name="connsiteX11" fmla="*/ 1915 w 10000"/>
                <a:gd name="connsiteY11" fmla="*/ 0 h 10007"/>
                <a:gd name="connsiteX12" fmla="*/ 2922 w 10000"/>
                <a:gd name="connsiteY12" fmla="*/ 2778 h 10007"/>
                <a:gd name="connsiteX0" fmla="*/ 2922 w 10000"/>
                <a:gd name="connsiteY0" fmla="*/ 2778 h 10007"/>
                <a:gd name="connsiteX1" fmla="*/ 0 w 10000"/>
                <a:gd name="connsiteY1" fmla="*/ 2567 h 10007"/>
                <a:gd name="connsiteX2" fmla="*/ 1023 w 10000"/>
                <a:gd name="connsiteY2" fmla="*/ 6979 h 10007"/>
                <a:gd name="connsiteX3" fmla="*/ 1962 w 10000"/>
                <a:gd name="connsiteY3" fmla="*/ 9743 h 10007"/>
                <a:gd name="connsiteX4" fmla="*/ 3642 w 10000"/>
                <a:gd name="connsiteY4" fmla="*/ 7857 h 10007"/>
                <a:gd name="connsiteX5" fmla="*/ 5312 w 10000"/>
                <a:gd name="connsiteY5" fmla="*/ 7836 h 10007"/>
                <a:gd name="connsiteX6" fmla="*/ 6460 w 10000"/>
                <a:gd name="connsiteY6" fmla="*/ 10000 h 10007"/>
                <a:gd name="connsiteX7" fmla="*/ 10000 w 10000"/>
                <a:gd name="connsiteY7" fmla="*/ 6330 h 10007"/>
                <a:gd name="connsiteX8" fmla="*/ 9117 w 10000"/>
                <a:gd name="connsiteY8" fmla="*/ 2681 h 10007"/>
                <a:gd name="connsiteX9" fmla="*/ 7225 w 10000"/>
                <a:gd name="connsiteY9" fmla="*/ 767 h 10007"/>
                <a:gd name="connsiteX10" fmla="*/ 4582 w 10000"/>
                <a:gd name="connsiteY10" fmla="*/ 1740 h 10007"/>
                <a:gd name="connsiteX11" fmla="*/ 1915 w 10000"/>
                <a:gd name="connsiteY11" fmla="*/ 0 h 10007"/>
                <a:gd name="connsiteX12" fmla="*/ 2922 w 10000"/>
                <a:gd name="connsiteY12" fmla="*/ 2778 h 10007"/>
                <a:gd name="connsiteX0" fmla="*/ 1925 w 9003"/>
                <a:gd name="connsiteY0" fmla="*/ 2778 h 10007"/>
                <a:gd name="connsiteX1" fmla="*/ 24 w 9003"/>
                <a:gd name="connsiteY1" fmla="*/ 3415 h 10007"/>
                <a:gd name="connsiteX2" fmla="*/ 26 w 9003"/>
                <a:gd name="connsiteY2" fmla="*/ 6979 h 10007"/>
                <a:gd name="connsiteX3" fmla="*/ 965 w 9003"/>
                <a:gd name="connsiteY3" fmla="*/ 9743 h 10007"/>
                <a:gd name="connsiteX4" fmla="*/ 2645 w 9003"/>
                <a:gd name="connsiteY4" fmla="*/ 7857 h 10007"/>
                <a:gd name="connsiteX5" fmla="*/ 4315 w 9003"/>
                <a:gd name="connsiteY5" fmla="*/ 7836 h 10007"/>
                <a:gd name="connsiteX6" fmla="*/ 5463 w 9003"/>
                <a:gd name="connsiteY6" fmla="*/ 10000 h 10007"/>
                <a:gd name="connsiteX7" fmla="*/ 9003 w 9003"/>
                <a:gd name="connsiteY7" fmla="*/ 6330 h 10007"/>
                <a:gd name="connsiteX8" fmla="*/ 8120 w 9003"/>
                <a:gd name="connsiteY8" fmla="*/ 2681 h 10007"/>
                <a:gd name="connsiteX9" fmla="*/ 6228 w 9003"/>
                <a:gd name="connsiteY9" fmla="*/ 767 h 10007"/>
                <a:gd name="connsiteX10" fmla="*/ 3585 w 9003"/>
                <a:gd name="connsiteY10" fmla="*/ 1740 h 10007"/>
                <a:gd name="connsiteX11" fmla="*/ 918 w 9003"/>
                <a:gd name="connsiteY11" fmla="*/ 0 h 10007"/>
                <a:gd name="connsiteX12" fmla="*/ 1925 w 9003"/>
                <a:gd name="connsiteY12" fmla="*/ 2778 h 10007"/>
                <a:gd name="connsiteX0" fmla="*/ 2421 w 10000"/>
                <a:gd name="connsiteY0" fmla="*/ 4047 h 10000"/>
                <a:gd name="connsiteX1" fmla="*/ 27 w 10000"/>
                <a:gd name="connsiteY1" fmla="*/ 3413 h 10000"/>
                <a:gd name="connsiteX2" fmla="*/ 29 w 10000"/>
                <a:gd name="connsiteY2" fmla="*/ 6974 h 10000"/>
                <a:gd name="connsiteX3" fmla="*/ 1072 w 10000"/>
                <a:gd name="connsiteY3" fmla="*/ 9736 h 10000"/>
                <a:gd name="connsiteX4" fmla="*/ 2938 w 10000"/>
                <a:gd name="connsiteY4" fmla="*/ 7852 h 10000"/>
                <a:gd name="connsiteX5" fmla="*/ 4793 w 10000"/>
                <a:gd name="connsiteY5" fmla="*/ 7831 h 10000"/>
                <a:gd name="connsiteX6" fmla="*/ 6068 w 10000"/>
                <a:gd name="connsiteY6" fmla="*/ 9993 h 10000"/>
                <a:gd name="connsiteX7" fmla="*/ 10000 w 10000"/>
                <a:gd name="connsiteY7" fmla="*/ 6326 h 10000"/>
                <a:gd name="connsiteX8" fmla="*/ 9019 w 10000"/>
                <a:gd name="connsiteY8" fmla="*/ 2679 h 10000"/>
                <a:gd name="connsiteX9" fmla="*/ 6918 w 10000"/>
                <a:gd name="connsiteY9" fmla="*/ 766 h 10000"/>
                <a:gd name="connsiteX10" fmla="*/ 3982 w 10000"/>
                <a:gd name="connsiteY10" fmla="*/ 1739 h 10000"/>
                <a:gd name="connsiteX11" fmla="*/ 1020 w 10000"/>
                <a:gd name="connsiteY11" fmla="*/ 0 h 10000"/>
                <a:gd name="connsiteX12" fmla="*/ 2421 w 10000"/>
                <a:gd name="connsiteY12" fmla="*/ 4047 h 10000"/>
                <a:gd name="connsiteX0" fmla="*/ 2421 w 10000"/>
                <a:gd name="connsiteY0" fmla="*/ 3386 h 9339"/>
                <a:gd name="connsiteX1" fmla="*/ 27 w 10000"/>
                <a:gd name="connsiteY1" fmla="*/ 2752 h 9339"/>
                <a:gd name="connsiteX2" fmla="*/ 29 w 10000"/>
                <a:gd name="connsiteY2" fmla="*/ 6313 h 9339"/>
                <a:gd name="connsiteX3" fmla="*/ 1072 w 10000"/>
                <a:gd name="connsiteY3" fmla="*/ 9075 h 9339"/>
                <a:gd name="connsiteX4" fmla="*/ 2938 w 10000"/>
                <a:gd name="connsiteY4" fmla="*/ 7191 h 9339"/>
                <a:gd name="connsiteX5" fmla="*/ 4793 w 10000"/>
                <a:gd name="connsiteY5" fmla="*/ 7170 h 9339"/>
                <a:gd name="connsiteX6" fmla="*/ 6068 w 10000"/>
                <a:gd name="connsiteY6" fmla="*/ 9332 h 9339"/>
                <a:gd name="connsiteX7" fmla="*/ 10000 w 10000"/>
                <a:gd name="connsiteY7" fmla="*/ 5665 h 9339"/>
                <a:gd name="connsiteX8" fmla="*/ 9019 w 10000"/>
                <a:gd name="connsiteY8" fmla="*/ 2018 h 9339"/>
                <a:gd name="connsiteX9" fmla="*/ 6918 w 10000"/>
                <a:gd name="connsiteY9" fmla="*/ 105 h 9339"/>
                <a:gd name="connsiteX10" fmla="*/ 3982 w 10000"/>
                <a:gd name="connsiteY10" fmla="*/ 1078 h 9339"/>
                <a:gd name="connsiteX11" fmla="*/ 2154 w 10000"/>
                <a:gd name="connsiteY11" fmla="*/ 822 h 9339"/>
                <a:gd name="connsiteX12" fmla="*/ 2421 w 10000"/>
                <a:gd name="connsiteY12" fmla="*/ 3386 h 9339"/>
                <a:gd name="connsiteX0" fmla="*/ 2421 w 10000"/>
                <a:gd name="connsiteY0" fmla="*/ 3593 h 9968"/>
                <a:gd name="connsiteX1" fmla="*/ 27 w 10000"/>
                <a:gd name="connsiteY1" fmla="*/ 2914 h 9968"/>
                <a:gd name="connsiteX2" fmla="*/ 29 w 10000"/>
                <a:gd name="connsiteY2" fmla="*/ 6727 h 9968"/>
                <a:gd name="connsiteX3" fmla="*/ 1072 w 10000"/>
                <a:gd name="connsiteY3" fmla="*/ 9684 h 9968"/>
                <a:gd name="connsiteX4" fmla="*/ 2938 w 10000"/>
                <a:gd name="connsiteY4" fmla="*/ 7667 h 9968"/>
                <a:gd name="connsiteX5" fmla="*/ 4793 w 10000"/>
                <a:gd name="connsiteY5" fmla="*/ 7644 h 9968"/>
                <a:gd name="connsiteX6" fmla="*/ 6068 w 10000"/>
                <a:gd name="connsiteY6" fmla="*/ 9960 h 9968"/>
                <a:gd name="connsiteX7" fmla="*/ 10000 w 10000"/>
                <a:gd name="connsiteY7" fmla="*/ 6033 h 9968"/>
                <a:gd name="connsiteX8" fmla="*/ 9019 w 10000"/>
                <a:gd name="connsiteY8" fmla="*/ 2128 h 9968"/>
                <a:gd name="connsiteX9" fmla="*/ 6918 w 10000"/>
                <a:gd name="connsiteY9" fmla="*/ 79 h 9968"/>
                <a:gd name="connsiteX10" fmla="*/ 4832 w 10000"/>
                <a:gd name="connsiteY10" fmla="*/ 2255 h 9968"/>
                <a:gd name="connsiteX11" fmla="*/ 2154 w 10000"/>
                <a:gd name="connsiteY11" fmla="*/ 847 h 9968"/>
                <a:gd name="connsiteX12" fmla="*/ 2421 w 10000"/>
                <a:gd name="connsiteY12" fmla="*/ 3593 h 9968"/>
                <a:gd name="connsiteX0" fmla="*/ 2421 w 10000"/>
                <a:gd name="connsiteY0" fmla="*/ 2755 h 9150"/>
                <a:gd name="connsiteX1" fmla="*/ 27 w 10000"/>
                <a:gd name="connsiteY1" fmla="*/ 2073 h 9150"/>
                <a:gd name="connsiteX2" fmla="*/ 29 w 10000"/>
                <a:gd name="connsiteY2" fmla="*/ 5899 h 9150"/>
                <a:gd name="connsiteX3" fmla="*/ 1072 w 10000"/>
                <a:gd name="connsiteY3" fmla="*/ 8865 h 9150"/>
                <a:gd name="connsiteX4" fmla="*/ 2938 w 10000"/>
                <a:gd name="connsiteY4" fmla="*/ 6842 h 9150"/>
                <a:gd name="connsiteX5" fmla="*/ 4793 w 10000"/>
                <a:gd name="connsiteY5" fmla="*/ 6819 h 9150"/>
                <a:gd name="connsiteX6" fmla="*/ 6068 w 10000"/>
                <a:gd name="connsiteY6" fmla="*/ 9142 h 9150"/>
                <a:gd name="connsiteX7" fmla="*/ 10000 w 10000"/>
                <a:gd name="connsiteY7" fmla="*/ 5202 h 9150"/>
                <a:gd name="connsiteX8" fmla="*/ 9019 w 10000"/>
                <a:gd name="connsiteY8" fmla="*/ 1285 h 9150"/>
                <a:gd name="connsiteX9" fmla="*/ 7202 w 10000"/>
                <a:gd name="connsiteY9" fmla="*/ 139 h 9150"/>
                <a:gd name="connsiteX10" fmla="*/ 4832 w 10000"/>
                <a:gd name="connsiteY10" fmla="*/ 1412 h 9150"/>
                <a:gd name="connsiteX11" fmla="*/ 2154 w 10000"/>
                <a:gd name="connsiteY11" fmla="*/ 0 h 9150"/>
                <a:gd name="connsiteX12" fmla="*/ 2421 w 10000"/>
                <a:gd name="connsiteY12" fmla="*/ 2755 h 9150"/>
                <a:gd name="connsiteX0" fmla="*/ 2421 w 18786"/>
                <a:gd name="connsiteY0" fmla="*/ 3011 h 9999"/>
                <a:gd name="connsiteX1" fmla="*/ 27 w 18786"/>
                <a:gd name="connsiteY1" fmla="*/ 2266 h 9999"/>
                <a:gd name="connsiteX2" fmla="*/ 29 w 18786"/>
                <a:gd name="connsiteY2" fmla="*/ 6447 h 9999"/>
                <a:gd name="connsiteX3" fmla="*/ 1072 w 18786"/>
                <a:gd name="connsiteY3" fmla="*/ 9689 h 9999"/>
                <a:gd name="connsiteX4" fmla="*/ 2938 w 18786"/>
                <a:gd name="connsiteY4" fmla="*/ 7478 h 9999"/>
                <a:gd name="connsiteX5" fmla="*/ 4793 w 18786"/>
                <a:gd name="connsiteY5" fmla="*/ 7452 h 9999"/>
                <a:gd name="connsiteX6" fmla="*/ 6068 w 18786"/>
                <a:gd name="connsiteY6" fmla="*/ 9991 h 9999"/>
                <a:gd name="connsiteX7" fmla="*/ 18786 w 18786"/>
                <a:gd name="connsiteY7" fmla="*/ 7675 h 9999"/>
                <a:gd name="connsiteX8" fmla="*/ 9019 w 18786"/>
                <a:gd name="connsiteY8" fmla="*/ 1404 h 9999"/>
                <a:gd name="connsiteX9" fmla="*/ 7202 w 18786"/>
                <a:gd name="connsiteY9" fmla="*/ 152 h 9999"/>
                <a:gd name="connsiteX10" fmla="*/ 4832 w 18786"/>
                <a:gd name="connsiteY10" fmla="*/ 1543 h 9999"/>
                <a:gd name="connsiteX11" fmla="*/ 2154 w 18786"/>
                <a:gd name="connsiteY11" fmla="*/ 0 h 9999"/>
                <a:gd name="connsiteX12" fmla="*/ 2421 w 18786"/>
                <a:gd name="connsiteY12" fmla="*/ 3011 h 9999"/>
                <a:gd name="connsiteX0" fmla="*/ 1289 w 10000"/>
                <a:gd name="connsiteY0" fmla="*/ 3011 h 10000"/>
                <a:gd name="connsiteX1" fmla="*/ 14 w 10000"/>
                <a:gd name="connsiteY1" fmla="*/ 2266 h 10000"/>
                <a:gd name="connsiteX2" fmla="*/ 15 w 10000"/>
                <a:gd name="connsiteY2" fmla="*/ 6448 h 10000"/>
                <a:gd name="connsiteX3" fmla="*/ 571 w 10000"/>
                <a:gd name="connsiteY3" fmla="*/ 9690 h 10000"/>
                <a:gd name="connsiteX4" fmla="*/ 1564 w 10000"/>
                <a:gd name="connsiteY4" fmla="*/ 7479 h 10000"/>
                <a:gd name="connsiteX5" fmla="*/ 2551 w 10000"/>
                <a:gd name="connsiteY5" fmla="*/ 7453 h 10000"/>
                <a:gd name="connsiteX6" fmla="*/ 3230 w 10000"/>
                <a:gd name="connsiteY6" fmla="*/ 9992 h 10000"/>
                <a:gd name="connsiteX7" fmla="*/ 10000 w 10000"/>
                <a:gd name="connsiteY7" fmla="*/ 7676 h 10000"/>
                <a:gd name="connsiteX8" fmla="*/ 7517 w 10000"/>
                <a:gd name="connsiteY8" fmla="*/ 3892 h 10000"/>
                <a:gd name="connsiteX9" fmla="*/ 3834 w 10000"/>
                <a:gd name="connsiteY9" fmla="*/ 152 h 10000"/>
                <a:gd name="connsiteX10" fmla="*/ 2572 w 10000"/>
                <a:gd name="connsiteY10" fmla="*/ 1543 h 10000"/>
                <a:gd name="connsiteX11" fmla="*/ 1147 w 10000"/>
                <a:gd name="connsiteY11" fmla="*/ 0 h 10000"/>
                <a:gd name="connsiteX12" fmla="*/ 1289 w 10000"/>
                <a:gd name="connsiteY12" fmla="*/ 3011 h 10000"/>
                <a:gd name="connsiteX0" fmla="*/ 1289 w 10000"/>
                <a:gd name="connsiteY0" fmla="*/ 3011 h 10000"/>
                <a:gd name="connsiteX1" fmla="*/ 14 w 10000"/>
                <a:gd name="connsiteY1" fmla="*/ 2266 h 10000"/>
                <a:gd name="connsiteX2" fmla="*/ 15 w 10000"/>
                <a:gd name="connsiteY2" fmla="*/ 6448 h 10000"/>
                <a:gd name="connsiteX3" fmla="*/ 571 w 10000"/>
                <a:gd name="connsiteY3" fmla="*/ 9690 h 10000"/>
                <a:gd name="connsiteX4" fmla="*/ 1564 w 10000"/>
                <a:gd name="connsiteY4" fmla="*/ 7479 h 10000"/>
                <a:gd name="connsiteX5" fmla="*/ 2551 w 10000"/>
                <a:gd name="connsiteY5" fmla="*/ 7453 h 10000"/>
                <a:gd name="connsiteX6" fmla="*/ 3230 w 10000"/>
                <a:gd name="connsiteY6" fmla="*/ 9992 h 10000"/>
                <a:gd name="connsiteX7" fmla="*/ 10000 w 10000"/>
                <a:gd name="connsiteY7" fmla="*/ 7676 h 10000"/>
                <a:gd name="connsiteX8" fmla="*/ 7517 w 10000"/>
                <a:gd name="connsiteY8" fmla="*/ 3892 h 10000"/>
                <a:gd name="connsiteX9" fmla="*/ 4588 w 10000"/>
                <a:gd name="connsiteY9" fmla="*/ 2640 h 10000"/>
                <a:gd name="connsiteX10" fmla="*/ 2572 w 10000"/>
                <a:gd name="connsiteY10" fmla="*/ 1543 h 10000"/>
                <a:gd name="connsiteX11" fmla="*/ 1147 w 10000"/>
                <a:gd name="connsiteY11" fmla="*/ 0 h 10000"/>
                <a:gd name="connsiteX12" fmla="*/ 1289 w 10000"/>
                <a:gd name="connsiteY12" fmla="*/ 3011 h 10000"/>
                <a:gd name="connsiteX0" fmla="*/ 0 w 11125"/>
                <a:gd name="connsiteY0" fmla="*/ 372 h 10098"/>
                <a:gd name="connsiteX1" fmla="*/ 1139 w 11125"/>
                <a:gd name="connsiteY1" fmla="*/ 2364 h 10098"/>
                <a:gd name="connsiteX2" fmla="*/ 1140 w 11125"/>
                <a:gd name="connsiteY2" fmla="*/ 6546 h 10098"/>
                <a:gd name="connsiteX3" fmla="*/ 1696 w 11125"/>
                <a:gd name="connsiteY3" fmla="*/ 9788 h 10098"/>
                <a:gd name="connsiteX4" fmla="*/ 2689 w 11125"/>
                <a:gd name="connsiteY4" fmla="*/ 7577 h 10098"/>
                <a:gd name="connsiteX5" fmla="*/ 3676 w 11125"/>
                <a:gd name="connsiteY5" fmla="*/ 7551 h 10098"/>
                <a:gd name="connsiteX6" fmla="*/ 4355 w 11125"/>
                <a:gd name="connsiteY6" fmla="*/ 10090 h 10098"/>
                <a:gd name="connsiteX7" fmla="*/ 11125 w 11125"/>
                <a:gd name="connsiteY7" fmla="*/ 7774 h 10098"/>
                <a:gd name="connsiteX8" fmla="*/ 8642 w 11125"/>
                <a:gd name="connsiteY8" fmla="*/ 3990 h 10098"/>
                <a:gd name="connsiteX9" fmla="*/ 5713 w 11125"/>
                <a:gd name="connsiteY9" fmla="*/ 2738 h 10098"/>
                <a:gd name="connsiteX10" fmla="*/ 3697 w 11125"/>
                <a:gd name="connsiteY10" fmla="*/ 1641 h 10098"/>
                <a:gd name="connsiteX11" fmla="*/ 2272 w 11125"/>
                <a:gd name="connsiteY11" fmla="*/ 98 h 10098"/>
                <a:gd name="connsiteX12" fmla="*/ 0 w 11125"/>
                <a:gd name="connsiteY12" fmla="*/ 372 h 10098"/>
                <a:gd name="connsiteX0" fmla="*/ 0 w 11125"/>
                <a:gd name="connsiteY0" fmla="*/ 372 h 10098"/>
                <a:gd name="connsiteX1" fmla="*/ 1743 w 11125"/>
                <a:gd name="connsiteY1" fmla="*/ 3857 h 10098"/>
                <a:gd name="connsiteX2" fmla="*/ 1140 w 11125"/>
                <a:gd name="connsiteY2" fmla="*/ 6546 h 10098"/>
                <a:gd name="connsiteX3" fmla="*/ 1696 w 11125"/>
                <a:gd name="connsiteY3" fmla="*/ 9788 h 10098"/>
                <a:gd name="connsiteX4" fmla="*/ 2689 w 11125"/>
                <a:gd name="connsiteY4" fmla="*/ 7577 h 10098"/>
                <a:gd name="connsiteX5" fmla="*/ 3676 w 11125"/>
                <a:gd name="connsiteY5" fmla="*/ 7551 h 10098"/>
                <a:gd name="connsiteX6" fmla="*/ 4355 w 11125"/>
                <a:gd name="connsiteY6" fmla="*/ 10090 h 10098"/>
                <a:gd name="connsiteX7" fmla="*/ 11125 w 11125"/>
                <a:gd name="connsiteY7" fmla="*/ 7774 h 10098"/>
                <a:gd name="connsiteX8" fmla="*/ 8642 w 11125"/>
                <a:gd name="connsiteY8" fmla="*/ 3990 h 10098"/>
                <a:gd name="connsiteX9" fmla="*/ 5713 w 11125"/>
                <a:gd name="connsiteY9" fmla="*/ 2738 h 10098"/>
                <a:gd name="connsiteX10" fmla="*/ 3697 w 11125"/>
                <a:gd name="connsiteY10" fmla="*/ 1641 h 10098"/>
                <a:gd name="connsiteX11" fmla="*/ 2272 w 11125"/>
                <a:gd name="connsiteY11" fmla="*/ 98 h 10098"/>
                <a:gd name="connsiteX12" fmla="*/ 0 w 11125"/>
                <a:gd name="connsiteY12" fmla="*/ 372 h 10098"/>
                <a:gd name="connsiteX0" fmla="*/ 0 w 11125"/>
                <a:gd name="connsiteY0" fmla="*/ 271 h 9997"/>
                <a:gd name="connsiteX1" fmla="*/ 1743 w 11125"/>
                <a:gd name="connsiteY1" fmla="*/ 3756 h 9997"/>
                <a:gd name="connsiteX2" fmla="*/ 1140 w 11125"/>
                <a:gd name="connsiteY2" fmla="*/ 6445 h 9997"/>
                <a:gd name="connsiteX3" fmla="*/ 1696 w 11125"/>
                <a:gd name="connsiteY3" fmla="*/ 9687 h 9997"/>
                <a:gd name="connsiteX4" fmla="*/ 2689 w 11125"/>
                <a:gd name="connsiteY4" fmla="*/ 7476 h 9997"/>
                <a:gd name="connsiteX5" fmla="*/ 3676 w 11125"/>
                <a:gd name="connsiteY5" fmla="*/ 7450 h 9997"/>
                <a:gd name="connsiteX6" fmla="*/ 4355 w 11125"/>
                <a:gd name="connsiteY6" fmla="*/ 9989 h 9997"/>
                <a:gd name="connsiteX7" fmla="*/ 11125 w 11125"/>
                <a:gd name="connsiteY7" fmla="*/ 7673 h 9997"/>
                <a:gd name="connsiteX8" fmla="*/ 8642 w 11125"/>
                <a:gd name="connsiteY8" fmla="*/ 3889 h 9997"/>
                <a:gd name="connsiteX9" fmla="*/ 5713 w 11125"/>
                <a:gd name="connsiteY9" fmla="*/ 2637 h 9997"/>
                <a:gd name="connsiteX10" fmla="*/ 3697 w 11125"/>
                <a:gd name="connsiteY10" fmla="*/ 1540 h 9997"/>
                <a:gd name="connsiteX11" fmla="*/ 2272 w 11125"/>
                <a:gd name="connsiteY11" fmla="*/ 992 h 9997"/>
                <a:gd name="connsiteX12" fmla="*/ 0 w 11125"/>
                <a:gd name="connsiteY12" fmla="*/ 271 h 9997"/>
                <a:gd name="connsiteX0" fmla="*/ 0 w 10000"/>
                <a:gd name="connsiteY0" fmla="*/ 271 h 10000"/>
                <a:gd name="connsiteX1" fmla="*/ 1567 w 10000"/>
                <a:gd name="connsiteY1" fmla="*/ 3757 h 10000"/>
                <a:gd name="connsiteX2" fmla="*/ 1025 w 10000"/>
                <a:gd name="connsiteY2" fmla="*/ 6447 h 10000"/>
                <a:gd name="connsiteX3" fmla="*/ 1524 w 10000"/>
                <a:gd name="connsiteY3" fmla="*/ 9690 h 10000"/>
                <a:gd name="connsiteX4" fmla="*/ 2417 w 10000"/>
                <a:gd name="connsiteY4" fmla="*/ 7478 h 10000"/>
                <a:gd name="connsiteX5" fmla="*/ 3304 w 10000"/>
                <a:gd name="connsiteY5" fmla="*/ 7452 h 10000"/>
                <a:gd name="connsiteX6" fmla="*/ 3915 w 10000"/>
                <a:gd name="connsiteY6" fmla="*/ 9992 h 10000"/>
                <a:gd name="connsiteX7" fmla="*/ 10000 w 10000"/>
                <a:gd name="connsiteY7" fmla="*/ 7675 h 10000"/>
                <a:gd name="connsiteX8" fmla="*/ 7768 w 10000"/>
                <a:gd name="connsiteY8" fmla="*/ 3890 h 10000"/>
                <a:gd name="connsiteX9" fmla="*/ 5135 w 10000"/>
                <a:gd name="connsiteY9" fmla="*/ 2638 h 10000"/>
                <a:gd name="connsiteX10" fmla="*/ 3594 w 10000"/>
                <a:gd name="connsiteY10" fmla="*/ 2784 h 10000"/>
                <a:gd name="connsiteX11" fmla="*/ 2042 w 10000"/>
                <a:gd name="connsiteY11" fmla="*/ 992 h 10000"/>
                <a:gd name="connsiteX12" fmla="*/ 0 w 10000"/>
                <a:gd name="connsiteY12" fmla="*/ 271 h 10000"/>
                <a:gd name="connsiteX0" fmla="*/ 0 w 10000"/>
                <a:gd name="connsiteY0" fmla="*/ 271 h 10000"/>
                <a:gd name="connsiteX1" fmla="*/ 1567 w 10000"/>
                <a:gd name="connsiteY1" fmla="*/ 3757 h 10000"/>
                <a:gd name="connsiteX2" fmla="*/ 1025 w 10000"/>
                <a:gd name="connsiteY2" fmla="*/ 6447 h 10000"/>
                <a:gd name="connsiteX3" fmla="*/ 1524 w 10000"/>
                <a:gd name="connsiteY3" fmla="*/ 9690 h 10000"/>
                <a:gd name="connsiteX4" fmla="*/ 2417 w 10000"/>
                <a:gd name="connsiteY4" fmla="*/ 7478 h 10000"/>
                <a:gd name="connsiteX5" fmla="*/ 3304 w 10000"/>
                <a:gd name="connsiteY5" fmla="*/ 7452 h 10000"/>
                <a:gd name="connsiteX6" fmla="*/ 3915 w 10000"/>
                <a:gd name="connsiteY6" fmla="*/ 9992 h 10000"/>
                <a:gd name="connsiteX7" fmla="*/ 10000 w 10000"/>
                <a:gd name="connsiteY7" fmla="*/ 7675 h 10000"/>
                <a:gd name="connsiteX8" fmla="*/ 7768 w 10000"/>
                <a:gd name="connsiteY8" fmla="*/ 3890 h 10000"/>
                <a:gd name="connsiteX9" fmla="*/ 5949 w 10000"/>
                <a:gd name="connsiteY9" fmla="*/ 3385 h 10000"/>
                <a:gd name="connsiteX10" fmla="*/ 3594 w 10000"/>
                <a:gd name="connsiteY10" fmla="*/ 2784 h 10000"/>
                <a:gd name="connsiteX11" fmla="*/ 2042 w 10000"/>
                <a:gd name="connsiteY11" fmla="*/ 992 h 10000"/>
                <a:gd name="connsiteX12" fmla="*/ 0 w 10000"/>
                <a:gd name="connsiteY12" fmla="*/ 271 h 10000"/>
                <a:gd name="connsiteX0" fmla="*/ 0 w 10000"/>
                <a:gd name="connsiteY0" fmla="*/ 271 h 10000"/>
                <a:gd name="connsiteX1" fmla="*/ 889 w 10000"/>
                <a:gd name="connsiteY1" fmla="*/ 3757 h 10000"/>
                <a:gd name="connsiteX2" fmla="*/ 1025 w 10000"/>
                <a:gd name="connsiteY2" fmla="*/ 6447 h 10000"/>
                <a:gd name="connsiteX3" fmla="*/ 1524 w 10000"/>
                <a:gd name="connsiteY3" fmla="*/ 9690 h 10000"/>
                <a:gd name="connsiteX4" fmla="*/ 2417 w 10000"/>
                <a:gd name="connsiteY4" fmla="*/ 7478 h 10000"/>
                <a:gd name="connsiteX5" fmla="*/ 3304 w 10000"/>
                <a:gd name="connsiteY5" fmla="*/ 7452 h 10000"/>
                <a:gd name="connsiteX6" fmla="*/ 3915 w 10000"/>
                <a:gd name="connsiteY6" fmla="*/ 9992 h 10000"/>
                <a:gd name="connsiteX7" fmla="*/ 10000 w 10000"/>
                <a:gd name="connsiteY7" fmla="*/ 7675 h 10000"/>
                <a:gd name="connsiteX8" fmla="*/ 7768 w 10000"/>
                <a:gd name="connsiteY8" fmla="*/ 3890 h 10000"/>
                <a:gd name="connsiteX9" fmla="*/ 5949 w 10000"/>
                <a:gd name="connsiteY9" fmla="*/ 3385 h 10000"/>
                <a:gd name="connsiteX10" fmla="*/ 3594 w 10000"/>
                <a:gd name="connsiteY10" fmla="*/ 2784 h 10000"/>
                <a:gd name="connsiteX11" fmla="*/ 2042 w 10000"/>
                <a:gd name="connsiteY11" fmla="*/ 992 h 10000"/>
                <a:gd name="connsiteX12" fmla="*/ 0 w 10000"/>
                <a:gd name="connsiteY12" fmla="*/ 271 h 10000"/>
                <a:gd name="connsiteX0" fmla="*/ 0 w 10000"/>
                <a:gd name="connsiteY0" fmla="*/ 271 h 10000"/>
                <a:gd name="connsiteX1" fmla="*/ 889 w 10000"/>
                <a:gd name="connsiteY1" fmla="*/ 3757 h 10000"/>
                <a:gd name="connsiteX2" fmla="*/ 1974 w 10000"/>
                <a:gd name="connsiteY2" fmla="*/ 6198 h 10000"/>
                <a:gd name="connsiteX3" fmla="*/ 1524 w 10000"/>
                <a:gd name="connsiteY3" fmla="*/ 9690 h 10000"/>
                <a:gd name="connsiteX4" fmla="*/ 2417 w 10000"/>
                <a:gd name="connsiteY4" fmla="*/ 7478 h 10000"/>
                <a:gd name="connsiteX5" fmla="*/ 3304 w 10000"/>
                <a:gd name="connsiteY5" fmla="*/ 7452 h 10000"/>
                <a:gd name="connsiteX6" fmla="*/ 3915 w 10000"/>
                <a:gd name="connsiteY6" fmla="*/ 9992 h 10000"/>
                <a:gd name="connsiteX7" fmla="*/ 10000 w 10000"/>
                <a:gd name="connsiteY7" fmla="*/ 7675 h 10000"/>
                <a:gd name="connsiteX8" fmla="*/ 7768 w 10000"/>
                <a:gd name="connsiteY8" fmla="*/ 3890 h 10000"/>
                <a:gd name="connsiteX9" fmla="*/ 5949 w 10000"/>
                <a:gd name="connsiteY9" fmla="*/ 3385 h 10000"/>
                <a:gd name="connsiteX10" fmla="*/ 3594 w 10000"/>
                <a:gd name="connsiteY10" fmla="*/ 2784 h 10000"/>
                <a:gd name="connsiteX11" fmla="*/ 2042 w 10000"/>
                <a:gd name="connsiteY11" fmla="*/ 992 h 10000"/>
                <a:gd name="connsiteX12" fmla="*/ 0 w 10000"/>
                <a:gd name="connsiteY12" fmla="*/ 271 h 10000"/>
                <a:gd name="connsiteX0" fmla="*/ 0 w 10000"/>
                <a:gd name="connsiteY0" fmla="*/ 271 h 10000"/>
                <a:gd name="connsiteX1" fmla="*/ 889 w 10000"/>
                <a:gd name="connsiteY1" fmla="*/ 3757 h 10000"/>
                <a:gd name="connsiteX2" fmla="*/ 1974 w 10000"/>
                <a:gd name="connsiteY2" fmla="*/ 6198 h 10000"/>
                <a:gd name="connsiteX3" fmla="*/ 2417 w 10000"/>
                <a:gd name="connsiteY3" fmla="*/ 7478 h 10000"/>
                <a:gd name="connsiteX4" fmla="*/ 3304 w 10000"/>
                <a:gd name="connsiteY4" fmla="*/ 7452 h 10000"/>
                <a:gd name="connsiteX5" fmla="*/ 3915 w 10000"/>
                <a:gd name="connsiteY5" fmla="*/ 9992 h 10000"/>
                <a:gd name="connsiteX6" fmla="*/ 10000 w 10000"/>
                <a:gd name="connsiteY6" fmla="*/ 7675 h 10000"/>
                <a:gd name="connsiteX7" fmla="*/ 7768 w 10000"/>
                <a:gd name="connsiteY7" fmla="*/ 3890 h 10000"/>
                <a:gd name="connsiteX8" fmla="*/ 5949 w 10000"/>
                <a:gd name="connsiteY8" fmla="*/ 3385 h 10000"/>
                <a:gd name="connsiteX9" fmla="*/ 3594 w 10000"/>
                <a:gd name="connsiteY9" fmla="*/ 2784 h 10000"/>
                <a:gd name="connsiteX10" fmla="*/ 2042 w 10000"/>
                <a:gd name="connsiteY10" fmla="*/ 992 h 10000"/>
                <a:gd name="connsiteX11" fmla="*/ 0 w 10000"/>
                <a:gd name="connsiteY11" fmla="*/ 271 h 10000"/>
                <a:gd name="connsiteX0" fmla="*/ 0 w 10000"/>
                <a:gd name="connsiteY0" fmla="*/ 271 h 9992"/>
                <a:gd name="connsiteX1" fmla="*/ 889 w 10000"/>
                <a:gd name="connsiteY1" fmla="*/ 3757 h 9992"/>
                <a:gd name="connsiteX2" fmla="*/ 1974 w 10000"/>
                <a:gd name="connsiteY2" fmla="*/ 6198 h 9992"/>
                <a:gd name="connsiteX3" fmla="*/ 2417 w 10000"/>
                <a:gd name="connsiteY3" fmla="*/ 7478 h 9992"/>
                <a:gd name="connsiteX4" fmla="*/ 3915 w 10000"/>
                <a:gd name="connsiteY4" fmla="*/ 9992 h 9992"/>
                <a:gd name="connsiteX5" fmla="*/ 10000 w 10000"/>
                <a:gd name="connsiteY5" fmla="*/ 7675 h 9992"/>
                <a:gd name="connsiteX6" fmla="*/ 7768 w 10000"/>
                <a:gd name="connsiteY6" fmla="*/ 3890 h 9992"/>
                <a:gd name="connsiteX7" fmla="*/ 5949 w 10000"/>
                <a:gd name="connsiteY7" fmla="*/ 3385 h 9992"/>
                <a:gd name="connsiteX8" fmla="*/ 3594 w 10000"/>
                <a:gd name="connsiteY8" fmla="*/ 2784 h 9992"/>
                <a:gd name="connsiteX9" fmla="*/ 2042 w 10000"/>
                <a:gd name="connsiteY9" fmla="*/ 992 h 9992"/>
                <a:gd name="connsiteX10" fmla="*/ 0 w 10000"/>
                <a:gd name="connsiteY10" fmla="*/ 271 h 9992"/>
                <a:gd name="connsiteX0" fmla="*/ 0 w 10000"/>
                <a:gd name="connsiteY0" fmla="*/ 271 h 10000"/>
                <a:gd name="connsiteX1" fmla="*/ 889 w 10000"/>
                <a:gd name="connsiteY1" fmla="*/ 3760 h 10000"/>
                <a:gd name="connsiteX2" fmla="*/ 1974 w 10000"/>
                <a:gd name="connsiteY2" fmla="*/ 6203 h 10000"/>
                <a:gd name="connsiteX3" fmla="*/ 2417 w 10000"/>
                <a:gd name="connsiteY3" fmla="*/ 8729 h 10000"/>
                <a:gd name="connsiteX4" fmla="*/ 3915 w 10000"/>
                <a:gd name="connsiteY4" fmla="*/ 10000 h 10000"/>
                <a:gd name="connsiteX5" fmla="*/ 10000 w 10000"/>
                <a:gd name="connsiteY5" fmla="*/ 7681 h 10000"/>
                <a:gd name="connsiteX6" fmla="*/ 7768 w 10000"/>
                <a:gd name="connsiteY6" fmla="*/ 3893 h 10000"/>
                <a:gd name="connsiteX7" fmla="*/ 5949 w 10000"/>
                <a:gd name="connsiteY7" fmla="*/ 3388 h 10000"/>
                <a:gd name="connsiteX8" fmla="*/ 3594 w 10000"/>
                <a:gd name="connsiteY8" fmla="*/ 2786 h 10000"/>
                <a:gd name="connsiteX9" fmla="*/ 2042 w 10000"/>
                <a:gd name="connsiteY9" fmla="*/ 993 h 10000"/>
                <a:gd name="connsiteX10" fmla="*/ 0 w 10000"/>
                <a:gd name="connsiteY10" fmla="*/ 271 h 10000"/>
                <a:gd name="connsiteX0" fmla="*/ 0 w 9864"/>
                <a:gd name="connsiteY0" fmla="*/ 373 h 9106"/>
                <a:gd name="connsiteX1" fmla="*/ 753 w 9864"/>
                <a:gd name="connsiteY1" fmla="*/ 2866 h 9106"/>
                <a:gd name="connsiteX2" fmla="*/ 1838 w 9864"/>
                <a:gd name="connsiteY2" fmla="*/ 5309 h 9106"/>
                <a:gd name="connsiteX3" fmla="*/ 2281 w 9864"/>
                <a:gd name="connsiteY3" fmla="*/ 7835 h 9106"/>
                <a:gd name="connsiteX4" fmla="*/ 3779 w 9864"/>
                <a:gd name="connsiteY4" fmla="*/ 9106 h 9106"/>
                <a:gd name="connsiteX5" fmla="*/ 9864 w 9864"/>
                <a:gd name="connsiteY5" fmla="*/ 6787 h 9106"/>
                <a:gd name="connsiteX6" fmla="*/ 7632 w 9864"/>
                <a:gd name="connsiteY6" fmla="*/ 2999 h 9106"/>
                <a:gd name="connsiteX7" fmla="*/ 5813 w 9864"/>
                <a:gd name="connsiteY7" fmla="*/ 2494 h 9106"/>
                <a:gd name="connsiteX8" fmla="*/ 3458 w 9864"/>
                <a:gd name="connsiteY8" fmla="*/ 1892 h 9106"/>
                <a:gd name="connsiteX9" fmla="*/ 1906 w 9864"/>
                <a:gd name="connsiteY9" fmla="*/ 99 h 9106"/>
                <a:gd name="connsiteX10" fmla="*/ 0 w 9864"/>
                <a:gd name="connsiteY10" fmla="*/ 373 h 9106"/>
                <a:gd name="connsiteX0" fmla="*/ 0 w 10000"/>
                <a:gd name="connsiteY0" fmla="*/ 409 h 9002"/>
                <a:gd name="connsiteX1" fmla="*/ 763 w 10000"/>
                <a:gd name="connsiteY1" fmla="*/ 3146 h 9002"/>
                <a:gd name="connsiteX2" fmla="*/ 1863 w 10000"/>
                <a:gd name="connsiteY2" fmla="*/ 5829 h 9002"/>
                <a:gd name="connsiteX3" fmla="*/ 2312 w 10000"/>
                <a:gd name="connsiteY3" fmla="*/ 8603 h 9002"/>
                <a:gd name="connsiteX4" fmla="*/ 3968 w 10000"/>
                <a:gd name="connsiteY4" fmla="*/ 8905 h 9002"/>
                <a:gd name="connsiteX5" fmla="*/ 10000 w 10000"/>
                <a:gd name="connsiteY5" fmla="*/ 7452 h 9002"/>
                <a:gd name="connsiteX6" fmla="*/ 7737 w 10000"/>
                <a:gd name="connsiteY6" fmla="*/ 3292 h 9002"/>
                <a:gd name="connsiteX7" fmla="*/ 5893 w 10000"/>
                <a:gd name="connsiteY7" fmla="*/ 2738 h 9002"/>
                <a:gd name="connsiteX8" fmla="*/ 3506 w 10000"/>
                <a:gd name="connsiteY8" fmla="*/ 2077 h 9002"/>
                <a:gd name="connsiteX9" fmla="*/ 1932 w 10000"/>
                <a:gd name="connsiteY9" fmla="*/ 108 h 9002"/>
                <a:gd name="connsiteX10" fmla="*/ 0 w 10000"/>
                <a:gd name="connsiteY10" fmla="*/ 409 h 9002"/>
                <a:gd name="connsiteX0" fmla="*/ 0 w 10000"/>
                <a:gd name="connsiteY0" fmla="*/ 454 h 9892"/>
                <a:gd name="connsiteX1" fmla="*/ 763 w 10000"/>
                <a:gd name="connsiteY1" fmla="*/ 3495 h 9892"/>
                <a:gd name="connsiteX2" fmla="*/ 1863 w 10000"/>
                <a:gd name="connsiteY2" fmla="*/ 6475 h 9892"/>
                <a:gd name="connsiteX3" fmla="*/ 2862 w 10000"/>
                <a:gd name="connsiteY3" fmla="*/ 8038 h 9892"/>
                <a:gd name="connsiteX4" fmla="*/ 3968 w 10000"/>
                <a:gd name="connsiteY4" fmla="*/ 9892 h 9892"/>
                <a:gd name="connsiteX5" fmla="*/ 10000 w 10000"/>
                <a:gd name="connsiteY5" fmla="*/ 8278 h 9892"/>
                <a:gd name="connsiteX6" fmla="*/ 7737 w 10000"/>
                <a:gd name="connsiteY6" fmla="*/ 3657 h 9892"/>
                <a:gd name="connsiteX7" fmla="*/ 5893 w 10000"/>
                <a:gd name="connsiteY7" fmla="*/ 3042 h 9892"/>
                <a:gd name="connsiteX8" fmla="*/ 3506 w 10000"/>
                <a:gd name="connsiteY8" fmla="*/ 2307 h 9892"/>
                <a:gd name="connsiteX9" fmla="*/ 1932 w 10000"/>
                <a:gd name="connsiteY9" fmla="*/ 120 h 9892"/>
                <a:gd name="connsiteX10" fmla="*/ 0 w 10000"/>
                <a:gd name="connsiteY10" fmla="*/ 454 h 9892"/>
                <a:gd name="connsiteX0" fmla="*/ 0 w 10000"/>
                <a:gd name="connsiteY0" fmla="*/ 459 h 10000"/>
                <a:gd name="connsiteX1" fmla="*/ 763 w 10000"/>
                <a:gd name="connsiteY1" fmla="*/ 3533 h 10000"/>
                <a:gd name="connsiteX2" fmla="*/ 2275 w 10000"/>
                <a:gd name="connsiteY2" fmla="*/ 6546 h 10000"/>
                <a:gd name="connsiteX3" fmla="*/ 2862 w 10000"/>
                <a:gd name="connsiteY3" fmla="*/ 8126 h 10000"/>
                <a:gd name="connsiteX4" fmla="*/ 3968 w 10000"/>
                <a:gd name="connsiteY4" fmla="*/ 10000 h 10000"/>
                <a:gd name="connsiteX5" fmla="*/ 10000 w 10000"/>
                <a:gd name="connsiteY5" fmla="*/ 8368 h 10000"/>
                <a:gd name="connsiteX6" fmla="*/ 7737 w 10000"/>
                <a:gd name="connsiteY6" fmla="*/ 3697 h 10000"/>
                <a:gd name="connsiteX7" fmla="*/ 5893 w 10000"/>
                <a:gd name="connsiteY7" fmla="*/ 3075 h 10000"/>
                <a:gd name="connsiteX8" fmla="*/ 3506 w 10000"/>
                <a:gd name="connsiteY8" fmla="*/ 2332 h 10000"/>
                <a:gd name="connsiteX9" fmla="*/ 1932 w 10000"/>
                <a:gd name="connsiteY9" fmla="*/ 121 h 10000"/>
                <a:gd name="connsiteX10" fmla="*/ 0 w 10000"/>
                <a:gd name="connsiteY10" fmla="*/ 459 h 10000"/>
                <a:gd name="connsiteX0" fmla="*/ 0 w 10000"/>
                <a:gd name="connsiteY0" fmla="*/ 459 h 10000"/>
                <a:gd name="connsiteX1" fmla="*/ 763 w 10000"/>
                <a:gd name="connsiteY1" fmla="*/ 3533 h 10000"/>
                <a:gd name="connsiteX2" fmla="*/ 2825 w 10000"/>
                <a:gd name="connsiteY2" fmla="*/ 6546 h 10000"/>
                <a:gd name="connsiteX3" fmla="*/ 2862 w 10000"/>
                <a:gd name="connsiteY3" fmla="*/ 8126 h 10000"/>
                <a:gd name="connsiteX4" fmla="*/ 3968 w 10000"/>
                <a:gd name="connsiteY4" fmla="*/ 10000 h 10000"/>
                <a:gd name="connsiteX5" fmla="*/ 10000 w 10000"/>
                <a:gd name="connsiteY5" fmla="*/ 8368 h 10000"/>
                <a:gd name="connsiteX6" fmla="*/ 7737 w 10000"/>
                <a:gd name="connsiteY6" fmla="*/ 3697 h 10000"/>
                <a:gd name="connsiteX7" fmla="*/ 5893 w 10000"/>
                <a:gd name="connsiteY7" fmla="*/ 3075 h 10000"/>
                <a:gd name="connsiteX8" fmla="*/ 3506 w 10000"/>
                <a:gd name="connsiteY8" fmla="*/ 2332 h 10000"/>
                <a:gd name="connsiteX9" fmla="*/ 1932 w 10000"/>
                <a:gd name="connsiteY9" fmla="*/ 121 h 10000"/>
                <a:gd name="connsiteX10" fmla="*/ 0 w 10000"/>
                <a:gd name="connsiteY10" fmla="*/ 459 h 10000"/>
                <a:gd name="connsiteX0" fmla="*/ 0 w 10000"/>
                <a:gd name="connsiteY0" fmla="*/ 459 h 10000"/>
                <a:gd name="connsiteX1" fmla="*/ 1450 w 10000"/>
                <a:gd name="connsiteY1" fmla="*/ 2919 h 10000"/>
                <a:gd name="connsiteX2" fmla="*/ 2825 w 10000"/>
                <a:gd name="connsiteY2" fmla="*/ 6546 h 10000"/>
                <a:gd name="connsiteX3" fmla="*/ 2862 w 10000"/>
                <a:gd name="connsiteY3" fmla="*/ 8126 h 10000"/>
                <a:gd name="connsiteX4" fmla="*/ 3968 w 10000"/>
                <a:gd name="connsiteY4" fmla="*/ 10000 h 10000"/>
                <a:gd name="connsiteX5" fmla="*/ 10000 w 10000"/>
                <a:gd name="connsiteY5" fmla="*/ 8368 h 10000"/>
                <a:gd name="connsiteX6" fmla="*/ 7737 w 10000"/>
                <a:gd name="connsiteY6" fmla="*/ 3697 h 10000"/>
                <a:gd name="connsiteX7" fmla="*/ 5893 w 10000"/>
                <a:gd name="connsiteY7" fmla="*/ 3075 h 10000"/>
                <a:gd name="connsiteX8" fmla="*/ 3506 w 10000"/>
                <a:gd name="connsiteY8" fmla="*/ 2332 h 10000"/>
                <a:gd name="connsiteX9" fmla="*/ 1932 w 10000"/>
                <a:gd name="connsiteY9" fmla="*/ 121 h 10000"/>
                <a:gd name="connsiteX10" fmla="*/ 0 w 10000"/>
                <a:gd name="connsiteY10" fmla="*/ 459 h 10000"/>
                <a:gd name="connsiteX0" fmla="*/ 0 w 10000"/>
                <a:gd name="connsiteY0" fmla="*/ 459 h 10000"/>
                <a:gd name="connsiteX1" fmla="*/ 762 w 10000"/>
                <a:gd name="connsiteY1" fmla="*/ 3840 h 10000"/>
                <a:gd name="connsiteX2" fmla="*/ 2825 w 10000"/>
                <a:gd name="connsiteY2" fmla="*/ 6546 h 10000"/>
                <a:gd name="connsiteX3" fmla="*/ 2862 w 10000"/>
                <a:gd name="connsiteY3" fmla="*/ 8126 h 10000"/>
                <a:gd name="connsiteX4" fmla="*/ 3968 w 10000"/>
                <a:gd name="connsiteY4" fmla="*/ 10000 h 10000"/>
                <a:gd name="connsiteX5" fmla="*/ 10000 w 10000"/>
                <a:gd name="connsiteY5" fmla="*/ 8368 h 10000"/>
                <a:gd name="connsiteX6" fmla="*/ 7737 w 10000"/>
                <a:gd name="connsiteY6" fmla="*/ 3697 h 10000"/>
                <a:gd name="connsiteX7" fmla="*/ 5893 w 10000"/>
                <a:gd name="connsiteY7" fmla="*/ 3075 h 10000"/>
                <a:gd name="connsiteX8" fmla="*/ 3506 w 10000"/>
                <a:gd name="connsiteY8" fmla="*/ 2332 h 10000"/>
                <a:gd name="connsiteX9" fmla="*/ 1932 w 10000"/>
                <a:gd name="connsiteY9" fmla="*/ 121 h 10000"/>
                <a:gd name="connsiteX10" fmla="*/ 0 w 10000"/>
                <a:gd name="connsiteY10" fmla="*/ 459 h 10000"/>
                <a:gd name="connsiteX0" fmla="*/ 0 w 10000"/>
                <a:gd name="connsiteY0" fmla="*/ 459 h 10000"/>
                <a:gd name="connsiteX1" fmla="*/ 1174 w 10000"/>
                <a:gd name="connsiteY1" fmla="*/ 3533 h 10000"/>
                <a:gd name="connsiteX2" fmla="*/ 2825 w 10000"/>
                <a:gd name="connsiteY2" fmla="*/ 6546 h 10000"/>
                <a:gd name="connsiteX3" fmla="*/ 2862 w 10000"/>
                <a:gd name="connsiteY3" fmla="*/ 8126 h 10000"/>
                <a:gd name="connsiteX4" fmla="*/ 3968 w 10000"/>
                <a:gd name="connsiteY4" fmla="*/ 10000 h 10000"/>
                <a:gd name="connsiteX5" fmla="*/ 10000 w 10000"/>
                <a:gd name="connsiteY5" fmla="*/ 8368 h 10000"/>
                <a:gd name="connsiteX6" fmla="*/ 7737 w 10000"/>
                <a:gd name="connsiteY6" fmla="*/ 3697 h 10000"/>
                <a:gd name="connsiteX7" fmla="*/ 5893 w 10000"/>
                <a:gd name="connsiteY7" fmla="*/ 3075 h 10000"/>
                <a:gd name="connsiteX8" fmla="*/ 3506 w 10000"/>
                <a:gd name="connsiteY8" fmla="*/ 2332 h 10000"/>
                <a:gd name="connsiteX9" fmla="*/ 1932 w 10000"/>
                <a:gd name="connsiteY9" fmla="*/ 121 h 10000"/>
                <a:gd name="connsiteX10" fmla="*/ 0 w 10000"/>
                <a:gd name="connsiteY10" fmla="*/ 459 h 10000"/>
                <a:gd name="connsiteX0" fmla="*/ 0 w 10000"/>
                <a:gd name="connsiteY0" fmla="*/ 459 h 10000"/>
                <a:gd name="connsiteX1" fmla="*/ 1174 w 10000"/>
                <a:gd name="connsiteY1" fmla="*/ 3533 h 10000"/>
                <a:gd name="connsiteX2" fmla="*/ 2862 w 10000"/>
                <a:gd name="connsiteY2" fmla="*/ 8126 h 10000"/>
                <a:gd name="connsiteX3" fmla="*/ 3968 w 10000"/>
                <a:gd name="connsiteY3" fmla="*/ 10000 h 10000"/>
                <a:gd name="connsiteX4" fmla="*/ 10000 w 10000"/>
                <a:gd name="connsiteY4" fmla="*/ 8368 h 10000"/>
                <a:gd name="connsiteX5" fmla="*/ 7737 w 10000"/>
                <a:gd name="connsiteY5" fmla="*/ 3697 h 10000"/>
                <a:gd name="connsiteX6" fmla="*/ 5893 w 10000"/>
                <a:gd name="connsiteY6" fmla="*/ 3075 h 10000"/>
                <a:gd name="connsiteX7" fmla="*/ 3506 w 10000"/>
                <a:gd name="connsiteY7" fmla="*/ 2332 h 10000"/>
                <a:gd name="connsiteX8" fmla="*/ 1932 w 10000"/>
                <a:gd name="connsiteY8" fmla="*/ 121 h 10000"/>
                <a:gd name="connsiteX9" fmla="*/ 0 w 10000"/>
                <a:gd name="connsiteY9" fmla="*/ 459 h 10000"/>
                <a:gd name="connsiteX0" fmla="*/ 0 w 10000"/>
                <a:gd name="connsiteY0" fmla="*/ 459 h 11229"/>
                <a:gd name="connsiteX1" fmla="*/ 1174 w 10000"/>
                <a:gd name="connsiteY1" fmla="*/ 3533 h 11229"/>
                <a:gd name="connsiteX2" fmla="*/ 2862 w 10000"/>
                <a:gd name="connsiteY2" fmla="*/ 8126 h 11229"/>
                <a:gd name="connsiteX3" fmla="*/ 9605 w 10000"/>
                <a:gd name="connsiteY3" fmla="*/ 11229 h 11229"/>
                <a:gd name="connsiteX4" fmla="*/ 10000 w 10000"/>
                <a:gd name="connsiteY4" fmla="*/ 8368 h 11229"/>
                <a:gd name="connsiteX5" fmla="*/ 7737 w 10000"/>
                <a:gd name="connsiteY5" fmla="*/ 3697 h 11229"/>
                <a:gd name="connsiteX6" fmla="*/ 5893 w 10000"/>
                <a:gd name="connsiteY6" fmla="*/ 3075 h 11229"/>
                <a:gd name="connsiteX7" fmla="*/ 3506 w 10000"/>
                <a:gd name="connsiteY7" fmla="*/ 2332 h 11229"/>
                <a:gd name="connsiteX8" fmla="*/ 1932 w 10000"/>
                <a:gd name="connsiteY8" fmla="*/ 121 h 11229"/>
                <a:gd name="connsiteX9" fmla="*/ 0 w 10000"/>
                <a:gd name="connsiteY9" fmla="*/ 459 h 11229"/>
                <a:gd name="connsiteX0" fmla="*/ 0 w 10000"/>
                <a:gd name="connsiteY0" fmla="*/ 459 h 11229"/>
                <a:gd name="connsiteX1" fmla="*/ 1174 w 10000"/>
                <a:gd name="connsiteY1" fmla="*/ 3533 h 11229"/>
                <a:gd name="connsiteX2" fmla="*/ 8087 w 10000"/>
                <a:gd name="connsiteY2" fmla="*/ 9355 h 11229"/>
                <a:gd name="connsiteX3" fmla="*/ 9605 w 10000"/>
                <a:gd name="connsiteY3" fmla="*/ 11229 h 11229"/>
                <a:gd name="connsiteX4" fmla="*/ 10000 w 10000"/>
                <a:gd name="connsiteY4" fmla="*/ 8368 h 11229"/>
                <a:gd name="connsiteX5" fmla="*/ 7737 w 10000"/>
                <a:gd name="connsiteY5" fmla="*/ 3697 h 11229"/>
                <a:gd name="connsiteX6" fmla="*/ 5893 w 10000"/>
                <a:gd name="connsiteY6" fmla="*/ 3075 h 11229"/>
                <a:gd name="connsiteX7" fmla="*/ 3506 w 10000"/>
                <a:gd name="connsiteY7" fmla="*/ 2332 h 11229"/>
                <a:gd name="connsiteX8" fmla="*/ 1932 w 10000"/>
                <a:gd name="connsiteY8" fmla="*/ 121 h 11229"/>
                <a:gd name="connsiteX9" fmla="*/ 0 w 10000"/>
                <a:gd name="connsiteY9" fmla="*/ 459 h 11229"/>
                <a:gd name="connsiteX0" fmla="*/ 0 w 10000"/>
                <a:gd name="connsiteY0" fmla="*/ 459 h 11229"/>
                <a:gd name="connsiteX1" fmla="*/ 1174 w 10000"/>
                <a:gd name="connsiteY1" fmla="*/ 3533 h 11229"/>
                <a:gd name="connsiteX2" fmla="*/ 3900 w 10000"/>
                <a:gd name="connsiteY2" fmla="*/ 5636 h 11229"/>
                <a:gd name="connsiteX3" fmla="*/ 8087 w 10000"/>
                <a:gd name="connsiteY3" fmla="*/ 9355 h 11229"/>
                <a:gd name="connsiteX4" fmla="*/ 9605 w 10000"/>
                <a:gd name="connsiteY4" fmla="*/ 11229 h 11229"/>
                <a:gd name="connsiteX5" fmla="*/ 10000 w 10000"/>
                <a:gd name="connsiteY5" fmla="*/ 8368 h 11229"/>
                <a:gd name="connsiteX6" fmla="*/ 7737 w 10000"/>
                <a:gd name="connsiteY6" fmla="*/ 3697 h 11229"/>
                <a:gd name="connsiteX7" fmla="*/ 5893 w 10000"/>
                <a:gd name="connsiteY7" fmla="*/ 3075 h 11229"/>
                <a:gd name="connsiteX8" fmla="*/ 3506 w 10000"/>
                <a:gd name="connsiteY8" fmla="*/ 2332 h 11229"/>
                <a:gd name="connsiteX9" fmla="*/ 1932 w 10000"/>
                <a:gd name="connsiteY9" fmla="*/ 121 h 11229"/>
                <a:gd name="connsiteX10" fmla="*/ 0 w 10000"/>
                <a:gd name="connsiteY10" fmla="*/ 459 h 11229"/>
                <a:gd name="connsiteX0" fmla="*/ 0 w 10000"/>
                <a:gd name="connsiteY0" fmla="*/ 459 h 11229"/>
                <a:gd name="connsiteX1" fmla="*/ 1174 w 10000"/>
                <a:gd name="connsiteY1" fmla="*/ 3533 h 11229"/>
                <a:gd name="connsiteX2" fmla="*/ 3900 w 10000"/>
                <a:gd name="connsiteY2" fmla="*/ 5636 h 11229"/>
                <a:gd name="connsiteX3" fmla="*/ 4862 w 10000"/>
                <a:gd name="connsiteY3" fmla="*/ 10243 h 11229"/>
                <a:gd name="connsiteX4" fmla="*/ 8087 w 10000"/>
                <a:gd name="connsiteY4" fmla="*/ 9355 h 11229"/>
                <a:gd name="connsiteX5" fmla="*/ 9605 w 10000"/>
                <a:gd name="connsiteY5" fmla="*/ 11229 h 11229"/>
                <a:gd name="connsiteX6" fmla="*/ 10000 w 10000"/>
                <a:gd name="connsiteY6" fmla="*/ 8368 h 11229"/>
                <a:gd name="connsiteX7" fmla="*/ 7737 w 10000"/>
                <a:gd name="connsiteY7" fmla="*/ 3697 h 11229"/>
                <a:gd name="connsiteX8" fmla="*/ 5893 w 10000"/>
                <a:gd name="connsiteY8" fmla="*/ 3075 h 11229"/>
                <a:gd name="connsiteX9" fmla="*/ 3506 w 10000"/>
                <a:gd name="connsiteY9" fmla="*/ 2332 h 11229"/>
                <a:gd name="connsiteX10" fmla="*/ 1932 w 10000"/>
                <a:gd name="connsiteY10" fmla="*/ 121 h 11229"/>
                <a:gd name="connsiteX11" fmla="*/ 0 w 10000"/>
                <a:gd name="connsiteY11" fmla="*/ 459 h 11229"/>
                <a:gd name="connsiteX0" fmla="*/ 0 w 10000"/>
                <a:gd name="connsiteY0" fmla="*/ 459 h 11229"/>
                <a:gd name="connsiteX1" fmla="*/ 1174 w 10000"/>
                <a:gd name="connsiteY1" fmla="*/ 3533 h 11229"/>
                <a:gd name="connsiteX2" fmla="*/ 3900 w 10000"/>
                <a:gd name="connsiteY2" fmla="*/ 5636 h 11229"/>
                <a:gd name="connsiteX3" fmla="*/ 4862 w 10000"/>
                <a:gd name="connsiteY3" fmla="*/ 10243 h 11229"/>
                <a:gd name="connsiteX4" fmla="*/ 8087 w 10000"/>
                <a:gd name="connsiteY4" fmla="*/ 9355 h 11229"/>
                <a:gd name="connsiteX5" fmla="*/ 9605 w 10000"/>
                <a:gd name="connsiteY5" fmla="*/ 11229 h 11229"/>
                <a:gd name="connsiteX6" fmla="*/ 10000 w 10000"/>
                <a:gd name="connsiteY6" fmla="*/ 8368 h 11229"/>
                <a:gd name="connsiteX7" fmla="*/ 7737 w 10000"/>
                <a:gd name="connsiteY7" fmla="*/ 3697 h 11229"/>
                <a:gd name="connsiteX8" fmla="*/ 5893 w 10000"/>
                <a:gd name="connsiteY8" fmla="*/ 3075 h 11229"/>
                <a:gd name="connsiteX9" fmla="*/ 3506 w 10000"/>
                <a:gd name="connsiteY9" fmla="*/ 2332 h 11229"/>
                <a:gd name="connsiteX10" fmla="*/ 1932 w 10000"/>
                <a:gd name="connsiteY10" fmla="*/ 121 h 11229"/>
                <a:gd name="connsiteX11" fmla="*/ 0 w 10000"/>
                <a:gd name="connsiteY11" fmla="*/ 459 h 11229"/>
                <a:gd name="connsiteX0" fmla="*/ 0 w 10000"/>
                <a:gd name="connsiteY0" fmla="*/ 459 h 11229"/>
                <a:gd name="connsiteX1" fmla="*/ 1174 w 10000"/>
                <a:gd name="connsiteY1" fmla="*/ 3533 h 11229"/>
                <a:gd name="connsiteX2" fmla="*/ 3900 w 10000"/>
                <a:gd name="connsiteY2" fmla="*/ 5636 h 11229"/>
                <a:gd name="connsiteX3" fmla="*/ 4862 w 10000"/>
                <a:gd name="connsiteY3" fmla="*/ 10243 h 11229"/>
                <a:gd name="connsiteX4" fmla="*/ 8087 w 10000"/>
                <a:gd name="connsiteY4" fmla="*/ 9355 h 11229"/>
                <a:gd name="connsiteX5" fmla="*/ 9605 w 10000"/>
                <a:gd name="connsiteY5" fmla="*/ 11229 h 11229"/>
                <a:gd name="connsiteX6" fmla="*/ 10000 w 10000"/>
                <a:gd name="connsiteY6" fmla="*/ 8368 h 11229"/>
                <a:gd name="connsiteX7" fmla="*/ 7737 w 10000"/>
                <a:gd name="connsiteY7" fmla="*/ 3697 h 11229"/>
                <a:gd name="connsiteX8" fmla="*/ 5893 w 10000"/>
                <a:gd name="connsiteY8" fmla="*/ 3075 h 11229"/>
                <a:gd name="connsiteX9" fmla="*/ 3506 w 10000"/>
                <a:gd name="connsiteY9" fmla="*/ 2332 h 11229"/>
                <a:gd name="connsiteX10" fmla="*/ 1932 w 10000"/>
                <a:gd name="connsiteY10" fmla="*/ 121 h 11229"/>
                <a:gd name="connsiteX11" fmla="*/ 0 w 10000"/>
                <a:gd name="connsiteY11" fmla="*/ 459 h 11229"/>
                <a:gd name="connsiteX0" fmla="*/ 0 w 10000"/>
                <a:gd name="connsiteY0" fmla="*/ 459 h 11229"/>
                <a:gd name="connsiteX1" fmla="*/ 1174 w 10000"/>
                <a:gd name="connsiteY1" fmla="*/ 3533 h 11229"/>
                <a:gd name="connsiteX2" fmla="*/ 3900 w 10000"/>
                <a:gd name="connsiteY2" fmla="*/ 5636 h 11229"/>
                <a:gd name="connsiteX3" fmla="*/ 4862 w 10000"/>
                <a:gd name="connsiteY3" fmla="*/ 10243 h 11229"/>
                <a:gd name="connsiteX4" fmla="*/ 8087 w 10000"/>
                <a:gd name="connsiteY4" fmla="*/ 9355 h 11229"/>
                <a:gd name="connsiteX5" fmla="*/ 9605 w 10000"/>
                <a:gd name="connsiteY5" fmla="*/ 11229 h 11229"/>
                <a:gd name="connsiteX6" fmla="*/ 10000 w 10000"/>
                <a:gd name="connsiteY6" fmla="*/ 8368 h 11229"/>
                <a:gd name="connsiteX7" fmla="*/ 7737 w 10000"/>
                <a:gd name="connsiteY7" fmla="*/ 3697 h 11229"/>
                <a:gd name="connsiteX8" fmla="*/ 5893 w 10000"/>
                <a:gd name="connsiteY8" fmla="*/ 3075 h 11229"/>
                <a:gd name="connsiteX9" fmla="*/ 3506 w 10000"/>
                <a:gd name="connsiteY9" fmla="*/ 2332 h 11229"/>
                <a:gd name="connsiteX10" fmla="*/ 1932 w 10000"/>
                <a:gd name="connsiteY10" fmla="*/ 121 h 11229"/>
                <a:gd name="connsiteX11" fmla="*/ 0 w 10000"/>
                <a:gd name="connsiteY11" fmla="*/ 459 h 11229"/>
                <a:gd name="connsiteX0" fmla="*/ 0 w 10000"/>
                <a:gd name="connsiteY0" fmla="*/ 338 h 11108"/>
                <a:gd name="connsiteX1" fmla="*/ 1174 w 10000"/>
                <a:gd name="connsiteY1" fmla="*/ 3412 h 11108"/>
                <a:gd name="connsiteX2" fmla="*/ 3900 w 10000"/>
                <a:gd name="connsiteY2" fmla="*/ 5515 h 11108"/>
                <a:gd name="connsiteX3" fmla="*/ 4862 w 10000"/>
                <a:gd name="connsiteY3" fmla="*/ 10122 h 11108"/>
                <a:gd name="connsiteX4" fmla="*/ 8087 w 10000"/>
                <a:gd name="connsiteY4" fmla="*/ 9234 h 11108"/>
                <a:gd name="connsiteX5" fmla="*/ 9605 w 10000"/>
                <a:gd name="connsiteY5" fmla="*/ 11108 h 11108"/>
                <a:gd name="connsiteX6" fmla="*/ 10000 w 10000"/>
                <a:gd name="connsiteY6" fmla="*/ 8247 h 11108"/>
                <a:gd name="connsiteX7" fmla="*/ 7737 w 10000"/>
                <a:gd name="connsiteY7" fmla="*/ 3576 h 11108"/>
                <a:gd name="connsiteX8" fmla="*/ 5893 w 10000"/>
                <a:gd name="connsiteY8" fmla="*/ 2954 h 11108"/>
                <a:gd name="connsiteX9" fmla="*/ 3506 w 10000"/>
                <a:gd name="connsiteY9" fmla="*/ 2211 h 11108"/>
                <a:gd name="connsiteX10" fmla="*/ 1932 w 10000"/>
                <a:gd name="connsiteY10" fmla="*/ 0 h 11108"/>
                <a:gd name="connsiteX11" fmla="*/ 0 w 10000"/>
                <a:gd name="connsiteY11" fmla="*/ 338 h 11108"/>
                <a:gd name="connsiteX0" fmla="*/ 0 w 10000"/>
                <a:gd name="connsiteY0" fmla="*/ 338 h 11108"/>
                <a:gd name="connsiteX1" fmla="*/ 1312 w 10000"/>
                <a:gd name="connsiteY1" fmla="*/ 4641 h 11108"/>
                <a:gd name="connsiteX2" fmla="*/ 3900 w 10000"/>
                <a:gd name="connsiteY2" fmla="*/ 5515 h 11108"/>
                <a:gd name="connsiteX3" fmla="*/ 4862 w 10000"/>
                <a:gd name="connsiteY3" fmla="*/ 10122 h 11108"/>
                <a:gd name="connsiteX4" fmla="*/ 8087 w 10000"/>
                <a:gd name="connsiteY4" fmla="*/ 9234 h 11108"/>
                <a:gd name="connsiteX5" fmla="*/ 9605 w 10000"/>
                <a:gd name="connsiteY5" fmla="*/ 11108 h 11108"/>
                <a:gd name="connsiteX6" fmla="*/ 10000 w 10000"/>
                <a:gd name="connsiteY6" fmla="*/ 8247 h 11108"/>
                <a:gd name="connsiteX7" fmla="*/ 7737 w 10000"/>
                <a:gd name="connsiteY7" fmla="*/ 3576 h 11108"/>
                <a:gd name="connsiteX8" fmla="*/ 5893 w 10000"/>
                <a:gd name="connsiteY8" fmla="*/ 2954 h 11108"/>
                <a:gd name="connsiteX9" fmla="*/ 3506 w 10000"/>
                <a:gd name="connsiteY9" fmla="*/ 2211 h 11108"/>
                <a:gd name="connsiteX10" fmla="*/ 1932 w 10000"/>
                <a:gd name="connsiteY10" fmla="*/ 0 h 11108"/>
                <a:gd name="connsiteX11" fmla="*/ 0 w 10000"/>
                <a:gd name="connsiteY11" fmla="*/ 338 h 11108"/>
                <a:gd name="connsiteX0" fmla="*/ 0 w 11375"/>
                <a:gd name="connsiteY0" fmla="*/ 2795 h 11108"/>
                <a:gd name="connsiteX1" fmla="*/ 2687 w 11375"/>
                <a:gd name="connsiteY1" fmla="*/ 4641 h 11108"/>
                <a:gd name="connsiteX2" fmla="*/ 5275 w 11375"/>
                <a:gd name="connsiteY2" fmla="*/ 5515 h 11108"/>
                <a:gd name="connsiteX3" fmla="*/ 6237 w 11375"/>
                <a:gd name="connsiteY3" fmla="*/ 10122 h 11108"/>
                <a:gd name="connsiteX4" fmla="*/ 9462 w 11375"/>
                <a:gd name="connsiteY4" fmla="*/ 9234 h 11108"/>
                <a:gd name="connsiteX5" fmla="*/ 10980 w 11375"/>
                <a:gd name="connsiteY5" fmla="*/ 11108 h 11108"/>
                <a:gd name="connsiteX6" fmla="*/ 11375 w 11375"/>
                <a:gd name="connsiteY6" fmla="*/ 8247 h 11108"/>
                <a:gd name="connsiteX7" fmla="*/ 9112 w 11375"/>
                <a:gd name="connsiteY7" fmla="*/ 3576 h 11108"/>
                <a:gd name="connsiteX8" fmla="*/ 7268 w 11375"/>
                <a:gd name="connsiteY8" fmla="*/ 2954 h 11108"/>
                <a:gd name="connsiteX9" fmla="*/ 4881 w 11375"/>
                <a:gd name="connsiteY9" fmla="*/ 2211 h 11108"/>
                <a:gd name="connsiteX10" fmla="*/ 3307 w 11375"/>
                <a:gd name="connsiteY10" fmla="*/ 0 h 11108"/>
                <a:gd name="connsiteX11" fmla="*/ 0 w 11375"/>
                <a:gd name="connsiteY11" fmla="*/ 2795 h 11108"/>
                <a:gd name="connsiteX0" fmla="*/ 0 w 11375"/>
                <a:gd name="connsiteY0" fmla="*/ 2795 h 11108"/>
                <a:gd name="connsiteX1" fmla="*/ 1037 w 11375"/>
                <a:gd name="connsiteY1" fmla="*/ 7098 h 11108"/>
                <a:gd name="connsiteX2" fmla="*/ 5275 w 11375"/>
                <a:gd name="connsiteY2" fmla="*/ 5515 h 11108"/>
                <a:gd name="connsiteX3" fmla="*/ 6237 w 11375"/>
                <a:gd name="connsiteY3" fmla="*/ 10122 h 11108"/>
                <a:gd name="connsiteX4" fmla="*/ 9462 w 11375"/>
                <a:gd name="connsiteY4" fmla="*/ 9234 h 11108"/>
                <a:gd name="connsiteX5" fmla="*/ 10980 w 11375"/>
                <a:gd name="connsiteY5" fmla="*/ 11108 h 11108"/>
                <a:gd name="connsiteX6" fmla="*/ 11375 w 11375"/>
                <a:gd name="connsiteY6" fmla="*/ 8247 h 11108"/>
                <a:gd name="connsiteX7" fmla="*/ 9112 w 11375"/>
                <a:gd name="connsiteY7" fmla="*/ 3576 h 11108"/>
                <a:gd name="connsiteX8" fmla="*/ 7268 w 11375"/>
                <a:gd name="connsiteY8" fmla="*/ 2954 h 11108"/>
                <a:gd name="connsiteX9" fmla="*/ 4881 w 11375"/>
                <a:gd name="connsiteY9" fmla="*/ 2211 h 11108"/>
                <a:gd name="connsiteX10" fmla="*/ 3307 w 11375"/>
                <a:gd name="connsiteY10" fmla="*/ 0 h 11108"/>
                <a:gd name="connsiteX11" fmla="*/ 0 w 11375"/>
                <a:gd name="connsiteY11" fmla="*/ 2795 h 11108"/>
                <a:gd name="connsiteX0" fmla="*/ 0 w 11375"/>
                <a:gd name="connsiteY0" fmla="*/ 2795 h 12272"/>
                <a:gd name="connsiteX1" fmla="*/ 1037 w 11375"/>
                <a:gd name="connsiteY1" fmla="*/ 7098 h 12272"/>
                <a:gd name="connsiteX2" fmla="*/ 600 w 11375"/>
                <a:gd name="connsiteY2" fmla="*/ 12272 h 12272"/>
                <a:gd name="connsiteX3" fmla="*/ 6237 w 11375"/>
                <a:gd name="connsiteY3" fmla="*/ 10122 h 12272"/>
                <a:gd name="connsiteX4" fmla="*/ 9462 w 11375"/>
                <a:gd name="connsiteY4" fmla="*/ 9234 h 12272"/>
                <a:gd name="connsiteX5" fmla="*/ 10980 w 11375"/>
                <a:gd name="connsiteY5" fmla="*/ 11108 h 12272"/>
                <a:gd name="connsiteX6" fmla="*/ 11375 w 11375"/>
                <a:gd name="connsiteY6" fmla="*/ 8247 h 12272"/>
                <a:gd name="connsiteX7" fmla="*/ 9112 w 11375"/>
                <a:gd name="connsiteY7" fmla="*/ 3576 h 12272"/>
                <a:gd name="connsiteX8" fmla="*/ 7268 w 11375"/>
                <a:gd name="connsiteY8" fmla="*/ 2954 h 12272"/>
                <a:gd name="connsiteX9" fmla="*/ 4881 w 11375"/>
                <a:gd name="connsiteY9" fmla="*/ 2211 h 12272"/>
                <a:gd name="connsiteX10" fmla="*/ 3307 w 11375"/>
                <a:gd name="connsiteY10" fmla="*/ 0 h 12272"/>
                <a:gd name="connsiteX11" fmla="*/ 0 w 11375"/>
                <a:gd name="connsiteY11" fmla="*/ 2795 h 12272"/>
                <a:gd name="connsiteX0" fmla="*/ 0 w 11375"/>
                <a:gd name="connsiteY0" fmla="*/ 2795 h 12579"/>
                <a:gd name="connsiteX1" fmla="*/ 1037 w 11375"/>
                <a:gd name="connsiteY1" fmla="*/ 7098 h 12579"/>
                <a:gd name="connsiteX2" fmla="*/ 600 w 11375"/>
                <a:gd name="connsiteY2" fmla="*/ 12272 h 12579"/>
                <a:gd name="connsiteX3" fmla="*/ 2662 w 11375"/>
                <a:gd name="connsiteY3" fmla="*/ 12579 h 12579"/>
                <a:gd name="connsiteX4" fmla="*/ 9462 w 11375"/>
                <a:gd name="connsiteY4" fmla="*/ 9234 h 12579"/>
                <a:gd name="connsiteX5" fmla="*/ 10980 w 11375"/>
                <a:gd name="connsiteY5" fmla="*/ 11108 h 12579"/>
                <a:gd name="connsiteX6" fmla="*/ 11375 w 11375"/>
                <a:gd name="connsiteY6" fmla="*/ 8247 h 12579"/>
                <a:gd name="connsiteX7" fmla="*/ 9112 w 11375"/>
                <a:gd name="connsiteY7" fmla="*/ 3576 h 12579"/>
                <a:gd name="connsiteX8" fmla="*/ 7268 w 11375"/>
                <a:gd name="connsiteY8" fmla="*/ 2954 h 12579"/>
                <a:gd name="connsiteX9" fmla="*/ 4881 w 11375"/>
                <a:gd name="connsiteY9" fmla="*/ 2211 h 12579"/>
                <a:gd name="connsiteX10" fmla="*/ 3307 w 11375"/>
                <a:gd name="connsiteY10" fmla="*/ 0 h 12579"/>
                <a:gd name="connsiteX11" fmla="*/ 0 w 11375"/>
                <a:gd name="connsiteY11" fmla="*/ 2795 h 12579"/>
                <a:gd name="connsiteX0" fmla="*/ 0 w 11375"/>
                <a:gd name="connsiteY0" fmla="*/ 2795 h 12579"/>
                <a:gd name="connsiteX1" fmla="*/ 1037 w 11375"/>
                <a:gd name="connsiteY1" fmla="*/ 7098 h 12579"/>
                <a:gd name="connsiteX2" fmla="*/ 600 w 11375"/>
                <a:gd name="connsiteY2" fmla="*/ 12272 h 12579"/>
                <a:gd name="connsiteX3" fmla="*/ 2662 w 11375"/>
                <a:gd name="connsiteY3" fmla="*/ 12579 h 12579"/>
                <a:gd name="connsiteX4" fmla="*/ 4100 w 11375"/>
                <a:gd name="connsiteY4" fmla="*/ 7698 h 12579"/>
                <a:gd name="connsiteX5" fmla="*/ 10980 w 11375"/>
                <a:gd name="connsiteY5" fmla="*/ 11108 h 12579"/>
                <a:gd name="connsiteX6" fmla="*/ 11375 w 11375"/>
                <a:gd name="connsiteY6" fmla="*/ 8247 h 12579"/>
                <a:gd name="connsiteX7" fmla="*/ 9112 w 11375"/>
                <a:gd name="connsiteY7" fmla="*/ 3576 h 12579"/>
                <a:gd name="connsiteX8" fmla="*/ 7268 w 11375"/>
                <a:gd name="connsiteY8" fmla="*/ 2954 h 12579"/>
                <a:gd name="connsiteX9" fmla="*/ 4881 w 11375"/>
                <a:gd name="connsiteY9" fmla="*/ 2211 h 12579"/>
                <a:gd name="connsiteX10" fmla="*/ 3307 w 11375"/>
                <a:gd name="connsiteY10" fmla="*/ 0 h 12579"/>
                <a:gd name="connsiteX11" fmla="*/ 0 w 11375"/>
                <a:gd name="connsiteY11" fmla="*/ 2795 h 12579"/>
                <a:gd name="connsiteX0" fmla="*/ 0 w 11375"/>
                <a:gd name="connsiteY0" fmla="*/ 2795 h 12579"/>
                <a:gd name="connsiteX1" fmla="*/ 1037 w 11375"/>
                <a:gd name="connsiteY1" fmla="*/ 7098 h 12579"/>
                <a:gd name="connsiteX2" fmla="*/ 600 w 11375"/>
                <a:gd name="connsiteY2" fmla="*/ 12272 h 12579"/>
                <a:gd name="connsiteX3" fmla="*/ 2662 w 11375"/>
                <a:gd name="connsiteY3" fmla="*/ 12579 h 12579"/>
                <a:gd name="connsiteX4" fmla="*/ 4100 w 11375"/>
                <a:gd name="connsiteY4" fmla="*/ 5241 h 12579"/>
                <a:gd name="connsiteX5" fmla="*/ 10980 w 11375"/>
                <a:gd name="connsiteY5" fmla="*/ 11108 h 12579"/>
                <a:gd name="connsiteX6" fmla="*/ 11375 w 11375"/>
                <a:gd name="connsiteY6" fmla="*/ 8247 h 12579"/>
                <a:gd name="connsiteX7" fmla="*/ 9112 w 11375"/>
                <a:gd name="connsiteY7" fmla="*/ 3576 h 12579"/>
                <a:gd name="connsiteX8" fmla="*/ 7268 w 11375"/>
                <a:gd name="connsiteY8" fmla="*/ 2954 h 12579"/>
                <a:gd name="connsiteX9" fmla="*/ 4881 w 11375"/>
                <a:gd name="connsiteY9" fmla="*/ 2211 h 12579"/>
                <a:gd name="connsiteX10" fmla="*/ 3307 w 11375"/>
                <a:gd name="connsiteY10" fmla="*/ 0 h 12579"/>
                <a:gd name="connsiteX11" fmla="*/ 0 w 11375"/>
                <a:gd name="connsiteY11" fmla="*/ 2795 h 12579"/>
                <a:gd name="connsiteX0" fmla="*/ 0 w 11375"/>
                <a:gd name="connsiteY0" fmla="*/ 2795 h 12579"/>
                <a:gd name="connsiteX1" fmla="*/ 1037 w 11375"/>
                <a:gd name="connsiteY1" fmla="*/ 7098 h 12579"/>
                <a:gd name="connsiteX2" fmla="*/ 600 w 11375"/>
                <a:gd name="connsiteY2" fmla="*/ 12272 h 12579"/>
                <a:gd name="connsiteX3" fmla="*/ 2662 w 11375"/>
                <a:gd name="connsiteY3" fmla="*/ 12579 h 12579"/>
                <a:gd name="connsiteX4" fmla="*/ 4650 w 11375"/>
                <a:gd name="connsiteY4" fmla="*/ 6777 h 12579"/>
                <a:gd name="connsiteX5" fmla="*/ 10980 w 11375"/>
                <a:gd name="connsiteY5" fmla="*/ 11108 h 12579"/>
                <a:gd name="connsiteX6" fmla="*/ 11375 w 11375"/>
                <a:gd name="connsiteY6" fmla="*/ 8247 h 12579"/>
                <a:gd name="connsiteX7" fmla="*/ 9112 w 11375"/>
                <a:gd name="connsiteY7" fmla="*/ 3576 h 12579"/>
                <a:gd name="connsiteX8" fmla="*/ 7268 w 11375"/>
                <a:gd name="connsiteY8" fmla="*/ 2954 h 12579"/>
                <a:gd name="connsiteX9" fmla="*/ 4881 w 11375"/>
                <a:gd name="connsiteY9" fmla="*/ 2211 h 12579"/>
                <a:gd name="connsiteX10" fmla="*/ 3307 w 11375"/>
                <a:gd name="connsiteY10" fmla="*/ 0 h 12579"/>
                <a:gd name="connsiteX11" fmla="*/ 0 w 11375"/>
                <a:gd name="connsiteY11" fmla="*/ 2795 h 12579"/>
                <a:gd name="connsiteX0" fmla="*/ 0 w 11375"/>
                <a:gd name="connsiteY0" fmla="*/ 2795 h 12579"/>
                <a:gd name="connsiteX1" fmla="*/ 1037 w 11375"/>
                <a:gd name="connsiteY1" fmla="*/ 7098 h 12579"/>
                <a:gd name="connsiteX2" fmla="*/ 600 w 11375"/>
                <a:gd name="connsiteY2" fmla="*/ 12272 h 12579"/>
                <a:gd name="connsiteX3" fmla="*/ 2662 w 11375"/>
                <a:gd name="connsiteY3" fmla="*/ 12579 h 12579"/>
                <a:gd name="connsiteX4" fmla="*/ 4650 w 11375"/>
                <a:gd name="connsiteY4" fmla="*/ 6777 h 12579"/>
                <a:gd name="connsiteX5" fmla="*/ 5480 w 11375"/>
                <a:gd name="connsiteY5" fmla="*/ 11722 h 12579"/>
                <a:gd name="connsiteX6" fmla="*/ 11375 w 11375"/>
                <a:gd name="connsiteY6" fmla="*/ 8247 h 12579"/>
                <a:gd name="connsiteX7" fmla="*/ 9112 w 11375"/>
                <a:gd name="connsiteY7" fmla="*/ 3576 h 12579"/>
                <a:gd name="connsiteX8" fmla="*/ 7268 w 11375"/>
                <a:gd name="connsiteY8" fmla="*/ 2954 h 12579"/>
                <a:gd name="connsiteX9" fmla="*/ 4881 w 11375"/>
                <a:gd name="connsiteY9" fmla="*/ 2211 h 12579"/>
                <a:gd name="connsiteX10" fmla="*/ 3307 w 11375"/>
                <a:gd name="connsiteY10" fmla="*/ 0 h 12579"/>
                <a:gd name="connsiteX11" fmla="*/ 0 w 11375"/>
                <a:gd name="connsiteY11" fmla="*/ 2795 h 12579"/>
                <a:gd name="connsiteX0" fmla="*/ 0 w 9112"/>
                <a:gd name="connsiteY0" fmla="*/ 2795 h 12579"/>
                <a:gd name="connsiteX1" fmla="*/ 1037 w 9112"/>
                <a:gd name="connsiteY1" fmla="*/ 7098 h 12579"/>
                <a:gd name="connsiteX2" fmla="*/ 600 w 9112"/>
                <a:gd name="connsiteY2" fmla="*/ 12272 h 12579"/>
                <a:gd name="connsiteX3" fmla="*/ 2662 w 9112"/>
                <a:gd name="connsiteY3" fmla="*/ 12579 h 12579"/>
                <a:gd name="connsiteX4" fmla="*/ 4650 w 9112"/>
                <a:gd name="connsiteY4" fmla="*/ 6777 h 12579"/>
                <a:gd name="connsiteX5" fmla="*/ 5480 w 9112"/>
                <a:gd name="connsiteY5" fmla="*/ 11722 h 12579"/>
                <a:gd name="connsiteX6" fmla="*/ 8075 w 9112"/>
                <a:gd name="connsiteY6" fmla="*/ 10397 h 12579"/>
                <a:gd name="connsiteX7" fmla="*/ 9112 w 9112"/>
                <a:gd name="connsiteY7" fmla="*/ 3576 h 12579"/>
                <a:gd name="connsiteX8" fmla="*/ 7268 w 9112"/>
                <a:gd name="connsiteY8" fmla="*/ 2954 h 12579"/>
                <a:gd name="connsiteX9" fmla="*/ 4881 w 9112"/>
                <a:gd name="connsiteY9" fmla="*/ 2211 h 12579"/>
                <a:gd name="connsiteX10" fmla="*/ 3307 w 9112"/>
                <a:gd name="connsiteY10" fmla="*/ 0 h 12579"/>
                <a:gd name="connsiteX11" fmla="*/ 0 w 9112"/>
                <a:gd name="connsiteY11" fmla="*/ 2795 h 12579"/>
                <a:gd name="connsiteX0" fmla="*/ 0 w 11509"/>
                <a:gd name="connsiteY0" fmla="*/ 2222 h 10000"/>
                <a:gd name="connsiteX1" fmla="*/ 1138 w 11509"/>
                <a:gd name="connsiteY1" fmla="*/ 5643 h 10000"/>
                <a:gd name="connsiteX2" fmla="*/ 658 w 11509"/>
                <a:gd name="connsiteY2" fmla="*/ 9756 h 10000"/>
                <a:gd name="connsiteX3" fmla="*/ 2921 w 11509"/>
                <a:gd name="connsiteY3" fmla="*/ 10000 h 10000"/>
                <a:gd name="connsiteX4" fmla="*/ 5103 w 11509"/>
                <a:gd name="connsiteY4" fmla="*/ 5388 h 10000"/>
                <a:gd name="connsiteX5" fmla="*/ 6014 w 11509"/>
                <a:gd name="connsiteY5" fmla="*/ 9319 h 10000"/>
                <a:gd name="connsiteX6" fmla="*/ 8862 w 11509"/>
                <a:gd name="connsiteY6" fmla="*/ 8265 h 10000"/>
                <a:gd name="connsiteX7" fmla="*/ 11509 w 11509"/>
                <a:gd name="connsiteY7" fmla="*/ 9924 h 10000"/>
                <a:gd name="connsiteX8" fmla="*/ 7976 w 11509"/>
                <a:gd name="connsiteY8" fmla="*/ 2348 h 10000"/>
                <a:gd name="connsiteX9" fmla="*/ 5357 w 11509"/>
                <a:gd name="connsiteY9" fmla="*/ 1758 h 10000"/>
                <a:gd name="connsiteX10" fmla="*/ 3629 w 11509"/>
                <a:gd name="connsiteY10" fmla="*/ 0 h 10000"/>
                <a:gd name="connsiteX11" fmla="*/ 0 w 11509"/>
                <a:gd name="connsiteY11" fmla="*/ 2222 h 10000"/>
                <a:gd name="connsiteX0" fmla="*/ 0 w 11509"/>
                <a:gd name="connsiteY0" fmla="*/ 2222 h 10000"/>
                <a:gd name="connsiteX1" fmla="*/ 1138 w 11509"/>
                <a:gd name="connsiteY1" fmla="*/ 5643 h 10000"/>
                <a:gd name="connsiteX2" fmla="*/ 658 w 11509"/>
                <a:gd name="connsiteY2" fmla="*/ 9756 h 10000"/>
                <a:gd name="connsiteX3" fmla="*/ 2921 w 11509"/>
                <a:gd name="connsiteY3" fmla="*/ 10000 h 10000"/>
                <a:gd name="connsiteX4" fmla="*/ 5103 w 11509"/>
                <a:gd name="connsiteY4" fmla="*/ 5388 h 10000"/>
                <a:gd name="connsiteX5" fmla="*/ 6014 w 11509"/>
                <a:gd name="connsiteY5" fmla="*/ 9319 h 10000"/>
                <a:gd name="connsiteX6" fmla="*/ 8862 w 11509"/>
                <a:gd name="connsiteY6" fmla="*/ 8265 h 10000"/>
                <a:gd name="connsiteX7" fmla="*/ 11509 w 11509"/>
                <a:gd name="connsiteY7" fmla="*/ 9924 h 10000"/>
                <a:gd name="connsiteX8" fmla="*/ 11446 w 11509"/>
                <a:gd name="connsiteY8" fmla="*/ 5522 h 10000"/>
                <a:gd name="connsiteX9" fmla="*/ 5357 w 11509"/>
                <a:gd name="connsiteY9" fmla="*/ 1758 h 10000"/>
                <a:gd name="connsiteX10" fmla="*/ 3629 w 11509"/>
                <a:gd name="connsiteY10" fmla="*/ 0 h 10000"/>
                <a:gd name="connsiteX11" fmla="*/ 0 w 11509"/>
                <a:gd name="connsiteY11" fmla="*/ 2222 h 10000"/>
                <a:gd name="connsiteX0" fmla="*/ 0 w 11509"/>
                <a:gd name="connsiteY0" fmla="*/ 2222 h 10000"/>
                <a:gd name="connsiteX1" fmla="*/ 1138 w 11509"/>
                <a:gd name="connsiteY1" fmla="*/ 5643 h 10000"/>
                <a:gd name="connsiteX2" fmla="*/ 658 w 11509"/>
                <a:gd name="connsiteY2" fmla="*/ 9756 h 10000"/>
                <a:gd name="connsiteX3" fmla="*/ 2921 w 11509"/>
                <a:gd name="connsiteY3" fmla="*/ 10000 h 10000"/>
                <a:gd name="connsiteX4" fmla="*/ 5103 w 11509"/>
                <a:gd name="connsiteY4" fmla="*/ 5388 h 10000"/>
                <a:gd name="connsiteX5" fmla="*/ 6014 w 11509"/>
                <a:gd name="connsiteY5" fmla="*/ 9319 h 10000"/>
                <a:gd name="connsiteX6" fmla="*/ 8862 w 11509"/>
                <a:gd name="connsiteY6" fmla="*/ 8265 h 10000"/>
                <a:gd name="connsiteX7" fmla="*/ 11509 w 11509"/>
                <a:gd name="connsiteY7" fmla="*/ 9924 h 10000"/>
                <a:gd name="connsiteX8" fmla="*/ 11446 w 11509"/>
                <a:gd name="connsiteY8" fmla="*/ 5522 h 10000"/>
                <a:gd name="connsiteX9" fmla="*/ 9733 w 11509"/>
                <a:gd name="connsiteY9" fmla="*/ 2735 h 10000"/>
                <a:gd name="connsiteX10" fmla="*/ 3629 w 11509"/>
                <a:gd name="connsiteY10" fmla="*/ 0 h 10000"/>
                <a:gd name="connsiteX11" fmla="*/ 0 w 11509"/>
                <a:gd name="connsiteY11" fmla="*/ 2222 h 10000"/>
                <a:gd name="connsiteX0" fmla="*/ 0 w 11509"/>
                <a:gd name="connsiteY0" fmla="*/ 24 h 7802"/>
                <a:gd name="connsiteX1" fmla="*/ 1138 w 11509"/>
                <a:gd name="connsiteY1" fmla="*/ 3445 h 7802"/>
                <a:gd name="connsiteX2" fmla="*/ 658 w 11509"/>
                <a:gd name="connsiteY2" fmla="*/ 7558 h 7802"/>
                <a:gd name="connsiteX3" fmla="*/ 2921 w 11509"/>
                <a:gd name="connsiteY3" fmla="*/ 7802 h 7802"/>
                <a:gd name="connsiteX4" fmla="*/ 5103 w 11509"/>
                <a:gd name="connsiteY4" fmla="*/ 3190 h 7802"/>
                <a:gd name="connsiteX5" fmla="*/ 6014 w 11509"/>
                <a:gd name="connsiteY5" fmla="*/ 7121 h 7802"/>
                <a:gd name="connsiteX6" fmla="*/ 8862 w 11509"/>
                <a:gd name="connsiteY6" fmla="*/ 6067 h 7802"/>
                <a:gd name="connsiteX7" fmla="*/ 11509 w 11509"/>
                <a:gd name="connsiteY7" fmla="*/ 7726 h 7802"/>
                <a:gd name="connsiteX8" fmla="*/ 11446 w 11509"/>
                <a:gd name="connsiteY8" fmla="*/ 3324 h 7802"/>
                <a:gd name="connsiteX9" fmla="*/ 9733 w 11509"/>
                <a:gd name="connsiteY9" fmla="*/ 537 h 7802"/>
                <a:gd name="connsiteX10" fmla="*/ 5289 w 11509"/>
                <a:gd name="connsiteY10" fmla="*/ 0 h 7802"/>
                <a:gd name="connsiteX11" fmla="*/ 0 w 11509"/>
                <a:gd name="connsiteY11" fmla="*/ 24 h 7802"/>
                <a:gd name="connsiteX0" fmla="*/ 0 w 10000"/>
                <a:gd name="connsiteY0" fmla="*/ 1411 h 11380"/>
                <a:gd name="connsiteX1" fmla="*/ 989 w 10000"/>
                <a:gd name="connsiteY1" fmla="*/ 5796 h 11380"/>
                <a:gd name="connsiteX2" fmla="*/ 572 w 10000"/>
                <a:gd name="connsiteY2" fmla="*/ 11067 h 11380"/>
                <a:gd name="connsiteX3" fmla="*/ 2538 w 10000"/>
                <a:gd name="connsiteY3" fmla="*/ 11380 h 11380"/>
                <a:gd name="connsiteX4" fmla="*/ 4434 w 10000"/>
                <a:gd name="connsiteY4" fmla="*/ 5469 h 11380"/>
                <a:gd name="connsiteX5" fmla="*/ 5225 w 10000"/>
                <a:gd name="connsiteY5" fmla="*/ 10507 h 11380"/>
                <a:gd name="connsiteX6" fmla="*/ 7700 w 10000"/>
                <a:gd name="connsiteY6" fmla="*/ 9156 h 11380"/>
                <a:gd name="connsiteX7" fmla="*/ 10000 w 10000"/>
                <a:gd name="connsiteY7" fmla="*/ 11283 h 11380"/>
                <a:gd name="connsiteX8" fmla="*/ 9945 w 10000"/>
                <a:gd name="connsiteY8" fmla="*/ 5640 h 11380"/>
                <a:gd name="connsiteX9" fmla="*/ 8457 w 10000"/>
                <a:gd name="connsiteY9" fmla="*/ 2068 h 11380"/>
                <a:gd name="connsiteX10" fmla="*/ 4596 w 10000"/>
                <a:gd name="connsiteY10" fmla="*/ 1380 h 11380"/>
                <a:gd name="connsiteX11" fmla="*/ 0 w 10000"/>
                <a:gd name="connsiteY11" fmla="*/ 1411 h 11380"/>
                <a:gd name="connsiteX0" fmla="*/ 0 w 10000"/>
                <a:gd name="connsiteY0" fmla="*/ 3175 h 13144"/>
                <a:gd name="connsiteX1" fmla="*/ 989 w 10000"/>
                <a:gd name="connsiteY1" fmla="*/ 7560 h 13144"/>
                <a:gd name="connsiteX2" fmla="*/ 572 w 10000"/>
                <a:gd name="connsiteY2" fmla="*/ 12831 h 13144"/>
                <a:gd name="connsiteX3" fmla="*/ 2538 w 10000"/>
                <a:gd name="connsiteY3" fmla="*/ 13144 h 13144"/>
                <a:gd name="connsiteX4" fmla="*/ 4434 w 10000"/>
                <a:gd name="connsiteY4" fmla="*/ 7233 h 13144"/>
                <a:gd name="connsiteX5" fmla="*/ 5225 w 10000"/>
                <a:gd name="connsiteY5" fmla="*/ 12271 h 13144"/>
                <a:gd name="connsiteX6" fmla="*/ 7700 w 10000"/>
                <a:gd name="connsiteY6" fmla="*/ 10920 h 13144"/>
                <a:gd name="connsiteX7" fmla="*/ 10000 w 10000"/>
                <a:gd name="connsiteY7" fmla="*/ 13047 h 13144"/>
                <a:gd name="connsiteX8" fmla="*/ 9945 w 10000"/>
                <a:gd name="connsiteY8" fmla="*/ 7404 h 13144"/>
                <a:gd name="connsiteX9" fmla="*/ 8457 w 10000"/>
                <a:gd name="connsiteY9" fmla="*/ 3832 h 13144"/>
                <a:gd name="connsiteX10" fmla="*/ 4596 w 10000"/>
                <a:gd name="connsiteY10" fmla="*/ 3144 h 13144"/>
                <a:gd name="connsiteX11" fmla="*/ 3588 w 10000"/>
                <a:gd name="connsiteY11" fmla="*/ 0 h 13144"/>
                <a:gd name="connsiteX12" fmla="*/ 0 w 10000"/>
                <a:gd name="connsiteY12" fmla="*/ 3175 h 13144"/>
                <a:gd name="connsiteX0" fmla="*/ 0 w 10000"/>
                <a:gd name="connsiteY0" fmla="*/ 4835 h 14804"/>
                <a:gd name="connsiteX1" fmla="*/ 989 w 10000"/>
                <a:gd name="connsiteY1" fmla="*/ 9220 h 14804"/>
                <a:gd name="connsiteX2" fmla="*/ 572 w 10000"/>
                <a:gd name="connsiteY2" fmla="*/ 14491 h 14804"/>
                <a:gd name="connsiteX3" fmla="*/ 2538 w 10000"/>
                <a:gd name="connsiteY3" fmla="*/ 14804 h 14804"/>
                <a:gd name="connsiteX4" fmla="*/ 4434 w 10000"/>
                <a:gd name="connsiteY4" fmla="*/ 8893 h 14804"/>
                <a:gd name="connsiteX5" fmla="*/ 5225 w 10000"/>
                <a:gd name="connsiteY5" fmla="*/ 13931 h 14804"/>
                <a:gd name="connsiteX6" fmla="*/ 7700 w 10000"/>
                <a:gd name="connsiteY6" fmla="*/ 12580 h 14804"/>
                <a:gd name="connsiteX7" fmla="*/ 10000 w 10000"/>
                <a:gd name="connsiteY7" fmla="*/ 14707 h 14804"/>
                <a:gd name="connsiteX8" fmla="*/ 9945 w 10000"/>
                <a:gd name="connsiteY8" fmla="*/ 9064 h 14804"/>
                <a:gd name="connsiteX9" fmla="*/ 8457 w 10000"/>
                <a:gd name="connsiteY9" fmla="*/ 5492 h 14804"/>
                <a:gd name="connsiteX10" fmla="*/ 4596 w 10000"/>
                <a:gd name="connsiteY10" fmla="*/ 4804 h 14804"/>
                <a:gd name="connsiteX11" fmla="*/ 3588 w 10000"/>
                <a:gd name="connsiteY11" fmla="*/ 1660 h 14804"/>
                <a:gd name="connsiteX12" fmla="*/ 1752 w 10000"/>
                <a:gd name="connsiteY12" fmla="*/ 95 h 14804"/>
                <a:gd name="connsiteX13" fmla="*/ 0 w 10000"/>
                <a:gd name="connsiteY13" fmla="*/ 4835 h 14804"/>
                <a:gd name="connsiteX0" fmla="*/ 0 w 10000"/>
                <a:gd name="connsiteY0" fmla="*/ 3219 h 13188"/>
                <a:gd name="connsiteX1" fmla="*/ 989 w 10000"/>
                <a:gd name="connsiteY1" fmla="*/ 7604 h 13188"/>
                <a:gd name="connsiteX2" fmla="*/ 572 w 10000"/>
                <a:gd name="connsiteY2" fmla="*/ 12875 h 13188"/>
                <a:gd name="connsiteX3" fmla="*/ 2538 w 10000"/>
                <a:gd name="connsiteY3" fmla="*/ 13188 h 13188"/>
                <a:gd name="connsiteX4" fmla="*/ 4434 w 10000"/>
                <a:gd name="connsiteY4" fmla="*/ 7277 h 13188"/>
                <a:gd name="connsiteX5" fmla="*/ 5225 w 10000"/>
                <a:gd name="connsiteY5" fmla="*/ 12315 h 13188"/>
                <a:gd name="connsiteX6" fmla="*/ 7700 w 10000"/>
                <a:gd name="connsiteY6" fmla="*/ 10964 h 13188"/>
                <a:gd name="connsiteX7" fmla="*/ 10000 w 10000"/>
                <a:gd name="connsiteY7" fmla="*/ 13091 h 13188"/>
                <a:gd name="connsiteX8" fmla="*/ 9945 w 10000"/>
                <a:gd name="connsiteY8" fmla="*/ 7448 h 13188"/>
                <a:gd name="connsiteX9" fmla="*/ 8457 w 10000"/>
                <a:gd name="connsiteY9" fmla="*/ 3876 h 13188"/>
                <a:gd name="connsiteX10" fmla="*/ 4596 w 10000"/>
                <a:gd name="connsiteY10" fmla="*/ 3188 h 13188"/>
                <a:gd name="connsiteX11" fmla="*/ 3588 w 10000"/>
                <a:gd name="connsiteY11" fmla="*/ 44 h 13188"/>
                <a:gd name="connsiteX12" fmla="*/ 1621 w 10000"/>
                <a:gd name="connsiteY12" fmla="*/ 1296 h 13188"/>
                <a:gd name="connsiteX13" fmla="*/ 0 w 10000"/>
                <a:gd name="connsiteY13" fmla="*/ 3219 h 13188"/>
                <a:gd name="connsiteX0" fmla="*/ 0 w 10000"/>
                <a:gd name="connsiteY0" fmla="*/ 3219 h 13188"/>
                <a:gd name="connsiteX1" fmla="*/ 989 w 10000"/>
                <a:gd name="connsiteY1" fmla="*/ 7604 h 13188"/>
                <a:gd name="connsiteX2" fmla="*/ 572 w 10000"/>
                <a:gd name="connsiteY2" fmla="*/ 12875 h 13188"/>
                <a:gd name="connsiteX3" fmla="*/ 2538 w 10000"/>
                <a:gd name="connsiteY3" fmla="*/ 13188 h 13188"/>
                <a:gd name="connsiteX4" fmla="*/ 4434 w 10000"/>
                <a:gd name="connsiteY4" fmla="*/ 7277 h 13188"/>
                <a:gd name="connsiteX5" fmla="*/ 5225 w 10000"/>
                <a:gd name="connsiteY5" fmla="*/ 12315 h 13188"/>
                <a:gd name="connsiteX6" fmla="*/ 7700 w 10000"/>
                <a:gd name="connsiteY6" fmla="*/ 10964 h 13188"/>
                <a:gd name="connsiteX7" fmla="*/ 10000 w 10000"/>
                <a:gd name="connsiteY7" fmla="*/ 13091 h 13188"/>
                <a:gd name="connsiteX8" fmla="*/ 9945 w 10000"/>
                <a:gd name="connsiteY8" fmla="*/ 7448 h 13188"/>
                <a:gd name="connsiteX9" fmla="*/ 8457 w 10000"/>
                <a:gd name="connsiteY9" fmla="*/ 3876 h 13188"/>
                <a:gd name="connsiteX10" fmla="*/ 4596 w 10000"/>
                <a:gd name="connsiteY10" fmla="*/ 3188 h 13188"/>
                <a:gd name="connsiteX11" fmla="*/ 3588 w 10000"/>
                <a:gd name="connsiteY11" fmla="*/ 44 h 13188"/>
                <a:gd name="connsiteX12" fmla="*/ 1621 w 10000"/>
                <a:gd name="connsiteY12" fmla="*/ 1296 h 13188"/>
                <a:gd name="connsiteX13" fmla="*/ 0 w 10000"/>
                <a:gd name="connsiteY13" fmla="*/ 3219 h 13188"/>
                <a:gd name="connsiteX0" fmla="*/ 0 w 10000"/>
                <a:gd name="connsiteY0" fmla="*/ 3219 h 13188"/>
                <a:gd name="connsiteX1" fmla="*/ 989 w 10000"/>
                <a:gd name="connsiteY1" fmla="*/ 7604 h 13188"/>
                <a:gd name="connsiteX2" fmla="*/ 572 w 10000"/>
                <a:gd name="connsiteY2" fmla="*/ 12875 h 13188"/>
                <a:gd name="connsiteX3" fmla="*/ 2538 w 10000"/>
                <a:gd name="connsiteY3" fmla="*/ 13188 h 13188"/>
                <a:gd name="connsiteX4" fmla="*/ 4434 w 10000"/>
                <a:gd name="connsiteY4" fmla="*/ 7277 h 13188"/>
                <a:gd name="connsiteX5" fmla="*/ 5225 w 10000"/>
                <a:gd name="connsiteY5" fmla="*/ 12315 h 13188"/>
                <a:gd name="connsiteX6" fmla="*/ 7700 w 10000"/>
                <a:gd name="connsiteY6" fmla="*/ 10964 h 13188"/>
                <a:gd name="connsiteX7" fmla="*/ 10000 w 10000"/>
                <a:gd name="connsiteY7" fmla="*/ 13091 h 13188"/>
                <a:gd name="connsiteX8" fmla="*/ 9945 w 10000"/>
                <a:gd name="connsiteY8" fmla="*/ 7448 h 13188"/>
                <a:gd name="connsiteX9" fmla="*/ 8457 w 10000"/>
                <a:gd name="connsiteY9" fmla="*/ 3876 h 13188"/>
                <a:gd name="connsiteX10" fmla="*/ 4596 w 10000"/>
                <a:gd name="connsiteY10" fmla="*/ 3188 h 13188"/>
                <a:gd name="connsiteX11" fmla="*/ 3588 w 10000"/>
                <a:gd name="connsiteY11" fmla="*/ 44 h 13188"/>
                <a:gd name="connsiteX12" fmla="*/ 1621 w 10000"/>
                <a:gd name="connsiteY12" fmla="*/ 1296 h 13188"/>
                <a:gd name="connsiteX13" fmla="*/ 0 w 10000"/>
                <a:gd name="connsiteY13" fmla="*/ 3219 h 13188"/>
                <a:gd name="connsiteX0" fmla="*/ 0 w 10000"/>
                <a:gd name="connsiteY0" fmla="*/ 3219 h 13188"/>
                <a:gd name="connsiteX1" fmla="*/ 989 w 10000"/>
                <a:gd name="connsiteY1" fmla="*/ 7604 h 13188"/>
                <a:gd name="connsiteX2" fmla="*/ 572 w 10000"/>
                <a:gd name="connsiteY2" fmla="*/ 12875 h 13188"/>
                <a:gd name="connsiteX3" fmla="*/ 2538 w 10000"/>
                <a:gd name="connsiteY3" fmla="*/ 13188 h 13188"/>
                <a:gd name="connsiteX4" fmla="*/ 4434 w 10000"/>
                <a:gd name="connsiteY4" fmla="*/ 7277 h 13188"/>
                <a:gd name="connsiteX5" fmla="*/ 5225 w 10000"/>
                <a:gd name="connsiteY5" fmla="*/ 12315 h 13188"/>
                <a:gd name="connsiteX6" fmla="*/ 7700 w 10000"/>
                <a:gd name="connsiteY6" fmla="*/ 10964 h 13188"/>
                <a:gd name="connsiteX7" fmla="*/ 10000 w 10000"/>
                <a:gd name="connsiteY7" fmla="*/ 13091 h 13188"/>
                <a:gd name="connsiteX8" fmla="*/ 9945 w 10000"/>
                <a:gd name="connsiteY8" fmla="*/ 7448 h 13188"/>
                <a:gd name="connsiteX9" fmla="*/ 8457 w 10000"/>
                <a:gd name="connsiteY9" fmla="*/ 3876 h 13188"/>
                <a:gd name="connsiteX10" fmla="*/ 4596 w 10000"/>
                <a:gd name="connsiteY10" fmla="*/ 3188 h 13188"/>
                <a:gd name="connsiteX11" fmla="*/ 3588 w 10000"/>
                <a:gd name="connsiteY11" fmla="*/ 44 h 13188"/>
                <a:gd name="connsiteX12" fmla="*/ 1621 w 10000"/>
                <a:gd name="connsiteY12" fmla="*/ 1296 h 13188"/>
                <a:gd name="connsiteX13" fmla="*/ 0 w 10000"/>
                <a:gd name="connsiteY13" fmla="*/ 3219 h 13188"/>
                <a:gd name="connsiteX0" fmla="*/ 0 w 10000"/>
                <a:gd name="connsiteY0" fmla="*/ 3219 h 13188"/>
                <a:gd name="connsiteX1" fmla="*/ 989 w 10000"/>
                <a:gd name="connsiteY1" fmla="*/ 7604 h 13188"/>
                <a:gd name="connsiteX2" fmla="*/ 572 w 10000"/>
                <a:gd name="connsiteY2" fmla="*/ 12875 h 13188"/>
                <a:gd name="connsiteX3" fmla="*/ 2538 w 10000"/>
                <a:gd name="connsiteY3" fmla="*/ 13188 h 13188"/>
                <a:gd name="connsiteX4" fmla="*/ 4434 w 10000"/>
                <a:gd name="connsiteY4" fmla="*/ 7277 h 13188"/>
                <a:gd name="connsiteX5" fmla="*/ 5225 w 10000"/>
                <a:gd name="connsiteY5" fmla="*/ 12315 h 13188"/>
                <a:gd name="connsiteX6" fmla="*/ 7700 w 10000"/>
                <a:gd name="connsiteY6" fmla="*/ 10964 h 13188"/>
                <a:gd name="connsiteX7" fmla="*/ 10000 w 10000"/>
                <a:gd name="connsiteY7" fmla="*/ 13091 h 13188"/>
                <a:gd name="connsiteX8" fmla="*/ 9945 w 10000"/>
                <a:gd name="connsiteY8" fmla="*/ 7448 h 13188"/>
                <a:gd name="connsiteX9" fmla="*/ 8457 w 10000"/>
                <a:gd name="connsiteY9" fmla="*/ 3876 h 13188"/>
                <a:gd name="connsiteX10" fmla="*/ 4596 w 10000"/>
                <a:gd name="connsiteY10" fmla="*/ 3188 h 13188"/>
                <a:gd name="connsiteX11" fmla="*/ 3588 w 10000"/>
                <a:gd name="connsiteY11" fmla="*/ 44 h 13188"/>
                <a:gd name="connsiteX12" fmla="*/ 1621 w 10000"/>
                <a:gd name="connsiteY12" fmla="*/ 1296 h 13188"/>
                <a:gd name="connsiteX13" fmla="*/ 0 w 10000"/>
                <a:gd name="connsiteY13" fmla="*/ 3219 h 13188"/>
                <a:gd name="connsiteX0" fmla="*/ 0 w 10000"/>
                <a:gd name="connsiteY0" fmla="*/ 3219 h 13188"/>
                <a:gd name="connsiteX1" fmla="*/ 989 w 10000"/>
                <a:gd name="connsiteY1" fmla="*/ 7604 h 13188"/>
                <a:gd name="connsiteX2" fmla="*/ 572 w 10000"/>
                <a:gd name="connsiteY2" fmla="*/ 12875 h 13188"/>
                <a:gd name="connsiteX3" fmla="*/ 2538 w 10000"/>
                <a:gd name="connsiteY3" fmla="*/ 13188 h 13188"/>
                <a:gd name="connsiteX4" fmla="*/ 4434 w 10000"/>
                <a:gd name="connsiteY4" fmla="*/ 7277 h 13188"/>
                <a:gd name="connsiteX5" fmla="*/ 5225 w 10000"/>
                <a:gd name="connsiteY5" fmla="*/ 12315 h 13188"/>
                <a:gd name="connsiteX6" fmla="*/ 7700 w 10000"/>
                <a:gd name="connsiteY6" fmla="*/ 10964 h 13188"/>
                <a:gd name="connsiteX7" fmla="*/ 10000 w 10000"/>
                <a:gd name="connsiteY7" fmla="*/ 13091 h 13188"/>
                <a:gd name="connsiteX8" fmla="*/ 9945 w 10000"/>
                <a:gd name="connsiteY8" fmla="*/ 7448 h 13188"/>
                <a:gd name="connsiteX9" fmla="*/ 8457 w 10000"/>
                <a:gd name="connsiteY9" fmla="*/ 3876 h 13188"/>
                <a:gd name="connsiteX10" fmla="*/ 4596 w 10000"/>
                <a:gd name="connsiteY10" fmla="*/ 3188 h 13188"/>
                <a:gd name="connsiteX11" fmla="*/ 3588 w 10000"/>
                <a:gd name="connsiteY11" fmla="*/ 44 h 13188"/>
                <a:gd name="connsiteX12" fmla="*/ 1621 w 10000"/>
                <a:gd name="connsiteY12" fmla="*/ 1296 h 13188"/>
                <a:gd name="connsiteX13" fmla="*/ 0 w 10000"/>
                <a:gd name="connsiteY13" fmla="*/ 3219 h 13188"/>
                <a:gd name="connsiteX0" fmla="*/ 0 w 10000"/>
                <a:gd name="connsiteY0" fmla="*/ 5692 h 15661"/>
                <a:gd name="connsiteX1" fmla="*/ 989 w 10000"/>
                <a:gd name="connsiteY1" fmla="*/ 10077 h 15661"/>
                <a:gd name="connsiteX2" fmla="*/ 572 w 10000"/>
                <a:gd name="connsiteY2" fmla="*/ 15348 h 15661"/>
                <a:gd name="connsiteX3" fmla="*/ 2538 w 10000"/>
                <a:gd name="connsiteY3" fmla="*/ 15661 h 15661"/>
                <a:gd name="connsiteX4" fmla="*/ 4434 w 10000"/>
                <a:gd name="connsiteY4" fmla="*/ 9750 h 15661"/>
                <a:gd name="connsiteX5" fmla="*/ 5225 w 10000"/>
                <a:gd name="connsiteY5" fmla="*/ 14788 h 15661"/>
                <a:gd name="connsiteX6" fmla="*/ 7700 w 10000"/>
                <a:gd name="connsiteY6" fmla="*/ 13437 h 15661"/>
                <a:gd name="connsiteX7" fmla="*/ 10000 w 10000"/>
                <a:gd name="connsiteY7" fmla="*/ 15564 h 15661"/>
                <a:gd name="connsiteX8" fmla="*/ 9945 w 10000"/>
                <a:gd name="connsiteY8" fmla="*/ 9921 h 15661"/>
                <a:gd name="connsiteX9" fmla="*/ 8457 w 10000"/>
                <a:gd name="connsiteY9" fmla="*/ 6349 h 15661"/>
                <a:gd name="connsiteX10" fmla="*/ 4596 w 10000"/>
                <a:gd name="connsiteY10" fmla="*/ 5661 h 15661"/>
                <a:gd name="connsiteX11" fmla="*/ 3588 w 10000"/>
                <a:gd name="connsiteY11" fmla="*/ 2517 h 15661"/>
                <a:gd name="connsiteX12" fmla="*/ 2670 w 10000"/>
                <a:gd name="connsiteY12" fmla="*/ 13 h 15661"/>
                <a:gd name="connsiteX13" fmla="*/ 1621 w 10000"/>
                <a:gd name="connsiteY13" fmla="*/ 3769 h 15661"/>
                <a:gd name="connsiteX14" fmla="*/ 0 w 10000"/>
                <a:gd name="connsiteY14" fmla="*/ 5692 h 15661"/>
                <a:gd name="connsiteX0" fmla="*/ 0 w 10000"/>
                <a:gd name="connsiteY0" fmla="*/ 5784 h 15753"/>
                <a:gd name="connsiteX1" fmla="*/ 989 w 10000"/>
                <a:gd name="connsiteY1" fmla="*/ 10169 h 15753"/>
                <a:gd name="connsiteX2" fmla="*/ 572 w 10000"/>
                <a:gd name="connsiteY2" fmla="*/ 15440 h 15753"/>
                <a:gd name="connsiteX3" fmla="*/ 2538 w 10000"/>
                <a:gd name="connsiteY3" fmla="*/ 15753 h 15753"/>
                <a:gd name="connsiteX4" fmla="*/ 4434 w 10000"/>
                <a:gd name="connsiteY4" fmla="*/ 9842 h 15753"/>
                <a:gd name="connsiteX5" fmla="*/ 5225 w 10000"/>
                <a:gd name="connsiteY5" fmla="*/ 14880 h 15753"/>
                <a:gd name="connsiteX6" fmla="*/ 7700 w 10000"/>
                <a:gd name="connsiteY6" fmla="*/ 13529 h 15753"/>
                <a:gd name="connsiteX7" fmla="*/ 10000 w 10000"/>
                <a:gd name="connsiteY7" fmla="*/ 15656 h 15753"/>
                <a:gd name="connsiteX8" fmla="*/ 9945 w 10000"/>
                <a:gd name="connsiteY8" fmla="*/ 10013 h 15753"/>
                <a:gd name="connsiteX9" fmla="*/ 8457 w 10000"/>
                <a:gd name="connsiteY9" fmla="*/ 6441 h 15753"/>
                <a:gd name="connsiteX10" fmla="*/ 4596 w 10000"/>
                <a:gd name="connsiteY10" fmla="*/ 5753 h 15753"/>
                <a:gd name="connsiteX11" fmla="*/ 4243 w 10000"/>
                <a:gd name="connsiteY11" fmla="*/ 418 h 15753"/>
                <a:gd name="connsiteX12" fmla="*/ 2670 w 10000"/>
                <a:gd name="connsiteY12" fmla="*/ 105 h 15753"/>
                <a:gd name="connsiteX13" fmla="*/ 1621 w 10000"/>
                <a:gd name="connsiteY13" fmla="*/ 3861 h 15753"/>
                <a:gd name="connsiteX14" fmla="*/ 0 w 10000"/>
                <a:gd name="connsiteY14" fmla="*/ 5784 h 15753"/>
                <a:gd name="connsiteX0" fmla="*/ 0 w 10000"/>
                <a:gd name="connsiteY0" fmla="*/ 5784 h 15753"/>
                <a:gd name="connsiteX1" fmla="*/ 989 w 10000"/>
                <a:gd name="connsiteY1" fmla="*/ 10169 h 15753"/>
                <a:gd name="connsiteX2" fmla="*/ 572 w 10000"/>
                <a:gd name="connsiteY2" fmla="*/ 15440 h 15753"/>
                <a:gd name="connsiteX3" fmla="*/ 2538 w 10000"/>
                <a:gd name="connsiteY3" fmla="*/ 15753 h 15753"/>
                <a:gd name="connsiteX4" fmla="*/ 4434 w 10000"/>
                <a:gd name="connsiteY4" fmla="*/ 9842 h 15753"/>
                <a:gd name="connsiteX5" fmla="*/ 5225 w 10000"/>
                <a:gd name="connsiteY5" fmla="*/ 14880 h 15753"/>
                <a:gd name="connsiteX6" fmla="*/ 7700 w 10000"/>
                <a:gd name="connsiteY6" fmla="*/ 13529 h 15753"/>
                <a:gd name="connsiteX7" fmla="*/ 10000 w 10000"/>
                <a:gd name="connsiteY7" fmla="*/ 15656 h 15753"/>
                <a:gd name="connsiteX8" fmla="*/ 9945 w 10000"/>
                <a:gd name="connsiteY8" fmla="*/ 10013 h 15753"/>
                <a:gd name="connsiteX9" fmla="*/ 8457 w 10000"/>
                <a:gd name="connsiteY9" fmla="*/ 6441 h 15753"/>
                <a:gd name="connsiteX10" fmla="*/ 2367 w 10000"/>
                <a:gd name="connsiteY10" fmla="*/ 5753 h 15753"/>
                <a:gd name="connsiteX11" fmla="*/ 4243 w 10000"/>
                <a:gd name="connsiteY11" fmla="*/ 418 h 15753"/>
                <a:gd name="connsiteX12" fmla="*/ 2670 w 10000"/>
                <a:gd name="connsiteY12" fmla="*/ 105 h 15753"/>
                <a:gd name="connsiteX13" fmla="*/ 1621 w 10000"/>
                <a:gd name="connsiteY13" fmla="*/ 3861 h 15753"/>
                <a:gd name="connsiteX14" fmla="*/ 0 w 10000"/>
                <a:gd name="connsiteY14" fmla="*/ 5784 h 15753"/>
                <a:gd name="connsiteX0" fmla="*/ 0 w 10000"/>
                <a:gd name="connsiteY0" fmla="*/ 5784 h 15753"/>
                <a:gd name="connsiteX1" fmla="*/ 989 w 10000"/>
                <a:gd name="connsiteY1" fmla="*/ 10169 h 15753"/>
                <a:gd name="connsiteX2" fmla="*/ 572 w 10000"/>
                <a:gd name="connsiteY2" fmla="*/ 15440 h 15753"/>
                <a:gd name="connsiteX3" fmla="*/ 2538 w 10000"/>
                <a:gd name="connsiteY3" fmla="*/ 15753 h 15753"/>
                <a:gd name="connsiteX4" fmla="*/ 4434 w 10000"/>
                <a:gd name="connsiteY4" fmla="*/ 9842 h 15753"/>
                <a:gd name="connsiteX5" fmla="*/ 5225 w 10000"/>
                <a:gd name="connsiteY5" fmla="*/ 14880 h 15753"/>
                <a:gd name="connsiteX6" fmla="*/ 7700 w 10000"/>
                <a:gd name="connsiteY6" fmla="*/ 13529 h 15753"/>
                <a:gd name="connsiteX7" fmla="*/ 10000 w 10000"/>
                <a:gd name="connsiteY7" fmla="*/ 15656 h 15753"/>
                <a:gd name="connsiteX8" fmla="*/ 9945 w 10000"/>
                <a:gd name="connsiteY8" fmla="*/ 10013 h 15753"/>
                <a:gd name="connsiteX9" fmla="*/ 8457 w 10000"/>
                <a:gd name="connsiteY9" fmla="*/ 6441 h 15753"/>
                <a:gd name="connsiteX10" fmla="*/ 2760 w 10000"/>
                <a:gd name="connsiteY10" fmla="*/ 5753 h 15753"/>
                <a:gd name="connsiteX11" fmla="*/ 4243 w 10000"/>
                <a:gd name="connsiteY11" fmla="*/ 418 h 15753"/>
                <a:gd name="connsiteX12" fmla="*/ 2670 w 10000"/>
                <a:gd name="connsiteY12" fmla="*/ 105 h 15753"/>
                <a:gd name="connsiteX13" fmla="*/ 1621 w 10000"/>
                <a:gd name="connsiteY13" fmla="*/ 3861 h 15753"/>
                <a:gd name="connsiteX14" fmla="*/ 0 w 10000"/>
                <a:gd name="connsiteY14" fmla="*/ 5784 h 15753"/>
                <a:gd name="connsiteX0" fmla="*/ 0 w 10000"/>
                <a:gd name="connsiteY0" fmla="*/ 5784 h 15753"/>
                <a:gd name="connsiteX1" fmla="*/ 989 w 10000"/>
                <a:gd name="connsiteY1" fmla="*/ 10169 h 15753"/>
                <a:gd name="connsiteX2" fmla="*/ 572 w 10000"/>
                <a:gd name="connsiteY2" fmla="*/ 15440 h 15753"/>
                <a:gd name="connsiteX3" fmla="*/ 2538 w 10000"/>
                <a:gd name="connsiteY3" fmla="*/ 15753 h 15753"/>
                <a:gd name="connsiteX4" fmla="*/ 4434 w 10000"/>
                <a:gd name="connsiteY4" fmla="*/ 9842 h 15753"/>
                <a:gd name="connsiteX5" fmla="*/ 5225 w 10000"/>
                <a:gd name="connsiteY5" fmla="*/ 14880 h 15753"/>
                <a:gd name="connsiteX6" fmla="*/ 7700 w 10000"/>
                <a:gd name="connsiteY6" fmla="*/ 13529 h 15753"/>
                <a:gd name="connsiteX7" fmla="*/ 10000 w 10000"/>
                <a:gd name="connsiteY7" fmla="*/ 15656 h 15753"/>
                <a:gd name="connsiteX8" fmla="*/ 9945 w 10000"/>
                <a:gd name="connsiteY8" fmla="*/ 10013 h 15753"/>
                <a:gd name="connsiteX9" fmla="*/ 8457 w 10000"/>
                <a:gd name="connsiteY9" fmla="*/ 6441 h 15753"/>
                <a:gd name="connsiteX10" fmla="*/ 2760 w 10000"/>
                <a:gd name="connsiteY10" fmla="*/ 5753 h 15753"/>
                <a:gd name="connsiteX11" fmla="*/ 4243 w 10000"/>
                <a:gd name="connsiteY11" fmla="*/ 418 h 15753"/>
                <a:gd name="connsiteX12" fmla="*/ 2670 w 10000"/>
                <a:gd name="connsiteY12" fmla="*/ 105 h 15753"/>
                <a:gd name="connsiteX13" fmla="*/ 1621 w 10000"/>
                <a:gd name="connsiteY13" fmla="*/ 3861 h 15753"/>
                <a:gd name="connsiteX14" fmla="*/ 0 w 10000"/>
                <a:gd name="connsiteY14" fmla="*/ 5784 h 15753"/>
                <a:gd name="connsiteX0" fmla="*/ 0 w 10000"/>
                <a:gd name="connsiteY0" fmla="*/ 5784 h 15753"/>
                <a:gd name="connsiteX1" fmla="*/ 989 w 10000"/>
                <a:gd name="connsiteY1" fmla="*/ 10169 h 15753"/>
                <a:gd name="connsiteX2" fmla="*/ 572 w 10000"/>
                <a:gd name="connsiteY2" fmla="*/ 15440 h 15753"/>
                <a:gd name="connsiteX3" fmla="*/ 2538 w 10000"/>
                <a:gd name="connsiteY3" fmla="*/ 15753 h 15753"/>
                <a:gd name="connsiteX4" fmla="*/ 4434 w 10000"/>
                <a:gd name="connsiteY4" fmla="*/ 9842 h 15753"/>
                <a:gd name="connsiteX5" fmla="*/ 5225 w 10000"/>
                <a:gd name="connsiteY5" fmla="*/ 14880 h 15753"/>
                <a:gd name="connsiteX6" fmla="*/ 7700 w 10000"/>
                <a:gd name="connsiteY6" fmla="*/ 13529 h 15753"/>
                <a:gd name="connsiteX7" fmla="*/ 10000 w 10000"/>
                <a:gd name="connsiteY7" fmla="*/ 15656 h 15753"/>
                <a:gd name="connsiteX8" fmla="*/ 9945 w 10000"/>
                <a:gd name="connsiteY8" fmla="*/ 10013 h 15753"/>
                <a:gd name="connsiteX9" fmla="*/ 8457 w 10000"/>
                <a:gd name="connsiteY9" fmla="*/ 6441 h 15753"/>
                <a:gd name="connsiteX10" fmla="*/ 2760 w 10000"/>
                <a:gd name="connsiteY10" fmla="*/ 5753 h 15753"/>
                <a:gd name="connsiteX11" fmla="*/ 4243 w 10000"/>
                <a:gd name="connsiteY11" fmla="*/ 418 h 15753"/>
                <a:gd name="connsiteX12" fmla="*/ 2670 w 10000"/>
                <a:gd name="connsiteY12" fmla="*/ 105 h 15753"/>
                <a:gd name="connsiteX13" fmla="*/ 1621 w 10000"/>
                <a:gd name="connsiteY13" fmla="*/ 3861 h 15753"/>
                <a:gd name="connsiteX14" fmla="*/ 0 w 10000"/>
                <a:gd name="connsiteY14" fmla="*/ 5784 h 15753"/>
                <a:gd name="connsiteX0" fmla="*/ 0 w 10000"/>
                <a:gd name="connsiteY0" fmla="*/ 5784 h 15753"/>
                <a:gd name="connsiteX1" fmla="*/ 989 w 10000"/>
                <a:gd name="connsiteY1" fmla="*/ 10169 h 15753"/>
                <a:gd name="connsiteX2" fmla="*/ 572 w 10000"/>
                <a:gd name="connsiteY2" fmla="*/ 15440 h 15753"/>
                <a:gd name="connsiteX3" fmla="*/ 2538 w 10000"/>
                <a:gd name="connsiteY3" fmla="*/ 15753 h 15753"/>
                <a:gd name="connsiteX4" fmla="*/ 4434 w 10000"/>
                <a:gd name="connsiteY4" fmla="*/ 9842 h 15753"/>
                <a:gd name="connsiteX5" fmla="*/ 5225 w 10000"/>
                <a:gd name="connsiteY5" fmla="*/ 14880 h 15753"/>
                <a:gd name="connsiteX6" fmla="*/ 7700 w 10000"/>
                <a:gd name="connsiteY6" fmla="*/ 13529 h 15753"/>
                <a:gd name="connsiteX7" fmla="*/ 10000 w 10000"/>
                <a:gd name="connsiteY7" fmla="*/ 15656 h 15753"/>
                <a:gd name="connsiteX8" fmla="*/ 9945 w 10000"/>
                <a:gd name="connsiteY8" fmla="*/ 10013 h 15753"/>
                <a:gd name="connsiteX9" fmla="*/ 8457 w 10000"/>
                <a:gd name="connsiteY9" fmla="*/ 6441 h 15753"/>
                <a:gd name="connsiteX10" fmla="*/ 2760 w 10000"/>
                <a:gd name="connsiteY10" fmla="*/ 5753 h 15753"/>
                <a:gd name="connsiteX11" fmla="*/ 4243 w 10000"/>
                <a:gd name="connsiteY11" fmla="*/ 418 h 15753"/>
                <a:gd name="connsiteX12" fmla="*/ 2670 w 10000"/>
                <a:gd name="connsiteY12" fmla="*/ 105 h 15753"/>
                <a:gd name="connsiteX13" fmla="*/ 1621 w 10000"/>
                <a:gd name="connsiteY13" fmla="*/ 3861 h 15753"/>
                <a:gd name="connsiteX14" fmla="*/ 0 w 10000"/>
                <a:gd name="connsiteY14" fmla="*/ 5784 h 15753"/>
                <a:gd name="connsiteX0" fmla="*/ 0 w 10000"/>
                <a:gd name="connsiteY0" fmla="*/ 5784 h 15753"/>
                <a:gd name="connsiteX1" fmla="*/ 989 w 10000"/>
                <a:gd name="connsiteY1" fmla="*/ 10169 h 15753"/>
                <a:gd name="connsiteX2" fmla="*/ 572 w 10000"/>
                <a:gd name="connsiteY2" fmla="*/ 15440 h 15753"/>
                <a:gd name="connsiteX3" fmla="*/ 2538 w 10000"/>
                <a:gd name="connsiteY3" fmla="*/ 15753 h 15753"/>
                <a:gd name="connsiteX4" fmla="*/ 4434 w 10000"/>
                <a:gd name="connsiteY4" fmla="*/ 9842 h 15753"/>
                <a:gd name="connsiteX5" fmla="*/ 5225 w 10000"/>
                <a:gd name="connsiteY5" fmla="*/ 14880 h 15753"/>
                <a:gd name="connsiteX6" fmla="*/ 7700 w 10000"/>
                <a:gd name="connsiteY6" fmla="*/ 13529 h 15753"/>
                <a:gd name="connsiteX7" fmla="*/ 10000 w 10000"/>
                <a:gd name="connsiteY7" fmla="*/ 15656 h 15753"/>
                <a:gd name="connsiteX8" fmla="*/ 9945 w 10000"/>
                <a:gd name="connsiteY8" fmla="*/ 10013 h 15753"/>
                <a:gd name="connsiteX9" fmla="*/ 8457 w 10000"/>
                <a:gd name="connsiteY9" fmla="*/ 6441 h 15753"/>
                <a:gd name="connsiteX10" fmla="*/ 2760 w 10000"/>
                <a:gd name="connsiteY10" fmla="*/ 5753 h 15753"/>
                <a:gd name="connsiteX11" fmla="*/ 4243 w 10000"/>
                <a:gd name="connsiteY11" fmla="*/ 418 h 15753"/>
                <a:gd name="connsiteX12" fmla="*/ 2670 w 10000"/>
                <a:gd name="connsiteY12" fmla="*/ 105 h 15753"/>
                <a:gd name="connsiteX13" fmla="*/ 1621 w 10000"/>
                <a:gd name="connsiteY13" fmla="*/ 3861 h 15753"/>
                <a:gd name="connsiteX14" fmla="*/ 0 w 10000"/>
                <a:gd name="connsiteY14" fmla="*/ 5784 h 15753"/>
                <a:gd name="connsiteX0" fmla="*/ 0 w 10000"/>
                <a:gd name="connsiteY0" fmla="*/ 5784 h 15753"/>
                <a:gd name="connsiteX1" fmla="*/ 989 w 10000"/>
                <a:gd name="connsiteY1" fmla="*/ 10169 h 15753"/>
                <a:gd name="connsiteX2" fmla="*/ 572 w 10000"/>
                <a:gd name="connsiteY2" fmla="*/ 15440 h 15753"/>
                <a:gd name="connsiteX3" fmla="*/ 2538 w 10000"/>
                <a:gd name="connsiteY3" fmla="*/ 15753 h 15753"/>
                <a:gd name="connsiteX4" fmla="*/ 4434 w 10000"/>
                <a:gd name="connsiteY4" fmla="*/ 9842 h 15753"/>
                <a:gd name="connsiteX5" fmla="*/ 5225 w 10000"/>
                <a:gd name="connsiteY5" fmla="*/ 14880 h 15753"/>
                <a:gd name="connsiteX6" fmla="*/ 7700 w 10000"/>
                <a:gd name="connsiteY6" fmla="*/ 13529 h 15753"/>
                <a:gd name="connsiteX7" fmla="*/ 10000 w 10000"/>
                <a:gd name="connsiteY7" fmla="*/ 15656 h 15753"/>
                <a:gd name="connsiteX8" fmla="*/ 9945 w 10000"/>
                <a:gd name="connsiteY8" fmla="*/ 10013 h 15753"/>
                <a:gd name="connsiteX9" fmla="*/ 8981 w 10000"/>
                <a:gd name="connsiteY9" fmla="*/ 5502 h 15753"/>
                <a:gd name="connsiteX10" fmla="*/ 2760 w 10000"/>
                <a:gd name="connsiteY10" fmla="*/ 5753 h 15753"/>
                <a:gd name="connsiteX11" fmla="*/ 4243 w 10000"/>
                <a:gd name="connsiteY11" fmla="*/ 418 h 15753"/>
                <a:gd name="connsiteX12" fmla="*/ 2670 w 10000"/>
                <a:gd name="connsiteY12" fmla="*/ 105 h 15753"/>
                <a:gd name="connsiteX13" fmla="*/ 1621 w 10000"/>
                <a:gd name="connsiteY13" fmla="*/ 3861 h 15753"/>
                <a:gd name="connsiteX14" fmla="*/ 0 w 10000"/>
                <a:gd name="connsiteY14" fmla="*/ 5784 h 15753"/>
                <a:gd name="connsiteX0" fmla="*/ 0 w 10524"/>
                <a:gd name="connsiteY0" fmla="*/ 5784 h 15753"/>
                <a:gd name="connsiteX1" fmla="*/ 989 w 10524"/>
                <a:gd name="connsiteY1" fmla="*/ 10169 h 15753"/>
                <a:gd name="connsiteX2" fmla="*/ 572 w 10524"/>
                <a:gd name="connsiteY2" fmla="*/ 15440 h 15753"/>
                <a:gd name="connsiteX3" fmla="*/ 2538 w 10524"/>
                <a:gd name="connsiteY3" fmla="*/ 15753 h 15753"/>
                <a:gd name="connsiteX4" fmla="*/ 4434 w 10524"/>
                <a:gd name="connsiteY4" fmla="*/ 9842 h 15753"/>
                <a:gd name="connsiteX5" fmla="*/ 5225 w 10524"/>
                <a:gd name="connsiteY5" fmla="*/ 14880 h 15753"/>
                <a:gd name="connsiteX6" fmla="*/ 7700 w 10524"/>
                <a:gd name="connsiteY6" fmla="*/ 13529 h 15753"/>
                <a:gd name="connsiteX7" fmla="*/ 10524 w 10524"/>
                <a:gd name="connsiteY7" fmla="*/ 14717 h 15753"/>
                <a:gd name="connsiteX8" fmla="*/ 9945 w 10524"/>
                <a:gd name="connsiteY8" fmla="*/ 10013 h 15753"/>
                <a:gd name="connsiteX9" fmla="*/ 8981 w 10524"/>
                <a:gd name="connsiteY9" fmla="*/ 5502 h 15753"/>
                <a:gd name="connsiteX10" fmla="*/ 2760 w 10524"/>
                <a:gd name="connsiteY10" fmla="*/ 5753 h 15753"/>
                <a:gd name="connsiteX11" fmla="*/ 4243 w 10524"/>
                <a:gd name="connsiteY11" fmla="*/ 418 h 15753"/>
                <a:gd name="connsiteX12" fmla="*/ 2670 w 10524"/>
                <a:gd name="connsiteY12" fmla="*/ 105 h 15753"/>
                <a:gd name="connsiteX13" fmla="*/ 1621 w 10524"/>
                <a:gd name="connsiteY13" fmla="*/ 3861 h 15753"/>
                <a:gd name="connsiteX14" fmla="*/ 0 w 10524"/>
                <a:gd name="connsiteY14" fmla="*/ 5784 h 15753"/>
                <a:gd name="connsiteX0" fmla="*/ 0 w 10524"/>
                <a:gd name="connsiteY0" fmla="*/ 5784 h 15753"/>
                <a:gd name="connsiteX1" fmla="*/ 989 w 10524"/>
                <a:gd name="connsiteY1" fmla="*/ 10169 h 15753"/>
                <a:gd name="connsiteX2" fmla="*/ 572 w 10524"/>
                <a:gd name="connsiteY2" fmla="*/ 15440 h 15753"/>
                <a:gd name="connsiteX3" fmla="*/ 2538 w 10524"/>
                <a:gd name="connsiteY3" fmla="*/ 15753 h 15753"/>
                <a:gd name="connsiteX4" fmla="*/ 4434 w 10524"/>
                <a:gd name="connsiteY4" fmla="*/ 9842 h 15753"/>
                <a:gd name="connsiteX5" fmla="*/ 5618 w 10524"/>
                <a:gd name="connsiteY5" fmla="*/ 13941 h 15753"/>
                <a:gd name="connsiteX6" fmla="*/ 7700 w 10524"/>
                <a:gd name="connsiteY6" fmla="*/ 13529 h 15753"/>
                <a:gd name="connsiteX7" fmla="*/ 10524 w 10524"/>
                <a:gd name="connsiteY7" fmla="*/ 14717 h 15753"/>
                <a:gd name="connsiteX8" fmla="*/ 9945 w 10524"/>
                <a:gd name="connsiteY8" fmla="*/ 10013 h 15753"/>
                <a:gd name="connsiteX9" fmla="*/ 8981 w 10524"/>
                <a:gd name="connsiteY9" fmla="*/ 5502 h 15753"/>
                <a:gd name="connsiteX10" fmla="*/ 2760 w 10524"/>
                <a:gd name="connsiteY10" fmla="*/ 5753 h 15753"/>
                <a:gd name="connsiteX11" fmla="*/ 4243 w 10524"/>
                <a:gd name="connsiteY11" fmla="*/ 418 h 15753"/>
                <a:gd name="connsiteX12" fmla="*/ 2670 w 10524"/>
                <a:gd name="connsiteY12" fmla="*/ 105 h 15753"/>
                <a:gd name="connsiteX13" fmla="*/ 1621 w 10524"/>
                <a:gd name="connsiteY13" fmla="*/ 3861 h 15753"/>
                <a:gd name="connsiteX14" fmla="*/ 0 w 10524"/>
                <a:gd name="connsiteY14" fmla="*/ 5784 h 15753"/>
                <a:gd name="connsiteX0" fmla="*/ 0 w 10524"/>
                <a:gd name="connsiteY0" fmla="*/ 5784 h 15753"/>
                <a:gd name="connsiteX1" fmla="*/ 989 w 10524"/>
                <a:gd name="connsiteY1" fmla="*/ 10169 h 15753"/>
                <a:gd name="connsiteX2" fmla="*/ 572 w 10524"/>
                <a:gd name="connsiteY2" fmla="*/ 15440 h 15753"/>
                <a:gd name="connsiteX3" fmla="*/ 2538 w 10524"/>
                <a:gd name="connsiteY3" fmla="*/ 15753 h 15753"/>
                <a:gd name="connsiteX4" fmla="*/ 4434 w 10524"/>
                <a:gd name="connsiteY4" fmla="*/ 9842 h 15753"/>
                <a:gd name="connsiteX5" fmla="*/ 5618 w 10524"/>
                <a:gd name="connsiteY5" fmla="*/ 13941 h 15753"/>
                <a:gd name="connsiteX6" fmla="*/ 7700 w 10524"/>
                <a:gd name="connsiteY6" fmla="*/ 14468 h 15753"/>
                <a:gd name="connsiteX7" fmla="*/ 10524 w 10524"/>
                <a:gd name="connsiteY7" fmla="*/ 14717 h 15753"/>
                <a:gd name="connsiteX8" fmla="*/ 9945 w 10524"/>
                <a:gd name="connsiteY8" fmla="*/ 10013 h 15753"/>
                <a:gd name="connsiteX9" fmla="*/ 8981 w 10524"/>
                <a:gd name="connsiteY9" fmla="*/ 5502 h 15753"/>
                <a:gd name="connsiteX10" fmla="*/ 2760 w 10524"/>
                <a:gd name="connsiteY10" fmla="*/ 5753 h 15753"/>
                <a:gd name="connsiteX11" fmla="*/ 4243 w 10524"/>
                <a:gd name="connsiteY11" fmla="*/ 418 h 15753"/>
                <a:gd name="connsiteX12" fmla="*/ 2670 w 10524"/>
                <a:gd name="connsiteY12" fmla="*/ 105 h 15753"/>
                <a:gd name="connsiteX13" fmla="*/ 1621 w 10524"/>
                <a:gd name="connsiteY13" fmla="*/ 3861 h 15753"/>
                <a:gd name="connsiteX14" fmla="*/ 0 w 10524"/>
                <a:gd name="connsiteY14" fmla="*/ 5784 h 15753"/>
                <a:gd name="connsiteX0" fmla="*/ 0 w 10524"/>
                <a:gd name="connsiteY0" fmla="*/ 5784 h 15753"/>
                <a:gd name="connsiteX1" fmla="*/ 989 w 10524"/>
                <a:gd name="connsiteY1" fmla="*/ 10169 h 15753"/>
                <a:gd name="connsiteX2" fmla="*/ 572 w 10524"/>
                <a:gd name="connsiteY2" fmla="*/ 15440 h 15753"/>
                <a:gd name="connsiteX3" fmla="*/ 2538 w 10524"/>
                <a:gd name="connsiteY3" fmla="*/ 15753 h 15753"/>
                <a:gd name="connsiteX4" fmla="*/ 5352 w 10524"/>
                <a:gd name="connsiteY4" fmla="*/ 9842 h 15753"/>
                <a:gd name="connsiteX5" fmla="*/ 5618 w 10524"/>
                <a:gd name="connsiteY5" fmla="*/ 13941 h 15753"/>
                <a:gd name="connsiteX6" fmla="*/ 7700 w 10524"/>
                <a:gd name="connsiteY6" fmla="*/ 14468 h 15753"/>
                <a:gd name="connsiteX7" fmla="*/ 10524 w 10524"/>
                <a:gd name="connsiteY7" fmla="*/ 14717 h 15753"/>
                <a:gd name="connsiteX8" fmla="*/ 9945 w 10524"/>
                <a:gd name="connsiteY8" fmla="*/ 10013 h 15753"/>
                <a:gd name="connsiteX9" fmla="*/ 8981 w 10524"/>
                <a:gd name="connsiteY9" fmla="*/ 5502 h 15753"/>
                <a:gd name="connsiteX10" fmla="*/ 2760 w 10524"/>
                <a:gd name="connsiteY10" fmla="*/ 5753 h 15753"/>
                <a:gd name="connsiteX11" fmla="*/ 4243 w 10524"/>
                <a:gd name="connsiteY11" fmla="*/ 418 h 15753"/>
                <a:gd name="connsiteX12" fmla="*/ 2670 w 10524"/>
                <a:gd name="connsiteY12" fmla="*/ 105 h 15753"/>
                <a:gd name="connsiteX13" fmla="*/ 1621 w 10524"/>
                <a:gd name="connsiteY13" fmla="*/ 3861 h 15753"/>
                <a:gd name="connsiteX14" fmla="*/ 0 w 10524"/>
                <a:gd name="connsiteY14" fmla="*/ 5784 h 15753"/>
                <a:gd name="connsiteX0" fmla="*/ 0 w 10524"/>
                <a:gd name="connsiteY0" fmla="*/ 5784 h 15753"/>
                <a:gd name="connsiteX1" fmla="*/ 989 w 10524"/>
                <a:gd name="connsiteY1" fmla="*/ 10169 h 15753"/>
                <a:gd name="connsiteX2" fmla="*/ 572 w 10524"/>
                <a:gd name="connsiteY2" fmla="*/ 15440 h 15753"/>
                <a:gd name="connsiteX3" fmla="*/ 2538 w 10524"/>
                <a:gd name="connsiteY3" fmla="*/ 15753 h 15753"/>
                <a:gd name="connsiteX4" fmla="*/ 3588 w 10524"/>
                <a:gd name="connsiteY4" fmla="*/ 11059 h 15753"/>
                <a:gd name="connsiteX5" fmla="*/ 5352 w 10524"/>
                <a:gd name="connsiteY5" fmla="*/ 9842 h 15753"/>
                <a:gd name="connsiteX6" fmla="*/ 5618 w 10524"/>
                <a:gd name="connsiteY6" fmla="*/ 13941 h 15753"/>
                <a:gd name="connsiteX7" fmla="*/ 7700 w 10524"/>
                <a:gd name="connsiteY7" fmla="*/ 14468 h 15753"/>
                <a:gd name="connsiteX8" fmla="*/ 10524 w 10524"/>
                <a:gd name="connsiteY8" fmla="*/ 14717 h 15753"/>
                <a:gd name="connsiteX9" fmla="*/ 9945 w 10524"/>
                <a:gd name="connsiteY9" fmla="*/ 10013 h 15753"/>
                <a:gd name="connsiteX10" fmla="*/ 8981 w 10524"/>
                <a:gd name="connsiteY10" fmla="*/ 5502 h 15753"/>
                <a:gd name="connsiteX11" fmla="*/ 2760 w 10524"/>
                <a:gd name="connsiteY11" fmla="*/ 5753 h 15753"/>
                <a:gd name="connsiteX12" fmla="*/ 4243 w 10524"/>
                <a:gd name="connsiteY12" fmla="*/ 418 h 15753"/>
                <a:gd name="connsiteX13" fmla="*/ 2670 w 10524"/>
                <a:gd name="connsiteY13" fmla="*/ 105 h 15753"/>
                <a:gd name="connsiteX14" fmla="*/ 1621 w 10524"/>
                <a:gd name="connsiteY14" fmla="*/ 3861 h 15753"/>
                <a:gd name="connsiteX15" fmla="*/ 0 w 10524"/>
                <a:gd name="connsiteY15" fmla="*/ 5784 h 15753"/>
                <a:gd name="connsiteX0" fmla="*/ 0 w 10524"/>
                <a:gd name="connsiteY0" fmla="*/ 5784 h 15753"/>
                <a:gd name="connsiteX1" fmla="*/ 989 w 10524"/>
                <a:gd name="connsiteY1" fmla="*/ 10169 h 15753"/>
                <a:gd name="connsiteX2" fmla="*/ 572 w 10524"/>
                <a:gd name="connsiteY2" fmla="*/ 15440 h 15753"/>
                <a:gd name="connsiteX3" fmla="*/ 2538 w 10524"/>
                <a:gd name="connsiteY3" fmla="*/ 15753 h 15753"/>
                <a:gd name="connsiteX4" fmla="*/ 3588 w 10524"/>
                <a:gd name="connsiteY4" fmla="*/ 11059 h 15753"/>
                <a:gd name="connsiteX5" fmla="*/ 5090 w 10524"/>
                <a:gd name="connsiteY5" fmla="*/ 11094 h 15753"/>
                <a:gd name="connsiteX6" fmla="*/ 5618 w 10524"/>
                <a:gd name="connsiteY6" fmla="*/ 13941 h 15753"/>
                <a:gd name="connsiteX7" fmla="*/ 7700 w 10524"/>
                <a:gd name="connsiteY7" fmla="*/ 14468 h 15753"/>
                <a:gd name="connsiteX8" fmla="*/ 10524 w 10524"/>
                <a:gd name="connsiteY8" fmla="*/ 14717 h 15753"/>
                <a:gd name="connsiteX9" fmla="*/ 9945 w 10524"/>
                <a:gd name="connsiteY9" fmla="*/ 10013 h 15753"/>
                <a:gd name="connsiteX10" fmla="*/ 8981 w 10524"/>
                <a:gd name="connsiteY10" fmla="*/ 5502 h 15753"/>
                <a:gd name="connsiteX11" fmla="*/ 2760 w 10524"/>
                <a:gd name="connsiteY11" fmla="*/ 5753 h 15753"/>
                <a:gd name="connsiteX12" fmla="*/ 4243 w 10524"/>
                <a:gd name="connsiteY12" fmla="*/ 418 h 15753"/>
                <a:gd name="connsiteX13" fmla="*/ 2670 w 10524"/>
                <a:gd name="connsiteY13" fmla="*/ 105 h 15753"/>
                <a:gd name="connsiteX14" fmla="*/ 1621 w 10524"/>
                <a:gd name="connsiteY14" fmla="*/ 3861 h 15753"/>
                <a:gd name="connsiteX15" fmla="*/ 0 w 10524"/>
                <a:gd name="connsiteY15" fmla="*/ 5784 h 15753"/>
                <a:gd name="connsiteX0" fmla="*/ 0 w 10524"/>
                <a:gd name="connsiteY0" fmla="*/ 5784 h 15753"/>
                <a:gd name="connsiteX1" fmla="*/ 989 w 10524"/>
                <a:gd name="connsiteY1" fmla="*/ 10169 h 15753"/>
                <a:gd name="connsiteX2" fmla="*/ 572 w 10524"/>
                <a:gd name="connsiteY2" fmla="*/ 15440 h 15753"/>
                <a:gd name="connsiteX3" fmla="*/ 2538 w 10524"/>
                <a:gd name="connsiteY3" fmla="*/ 15753 h 15753"/>
                <a:gd name="connsiteX4" fmla="*/ 3850 w 10524"/>
                <a:gd name="connsiteY4" fmla="*/ 11685 h 15753"/>
                <a:gd name="connsiteX5" fmla="*/ 5090 w 10524"/>
                <a:gd name="connsiteY5" fmla="*/ 11094 h 15753"/>
                <a:gd name="connsiteX6" fmla="*/ 5618 w 10524"/>
                <a:gd name="connsiteY6" fmla="*/ 13941 h 15753"/>
                <a:gd name="connsiteX7" fmla="*/ 7700 w 10524"/>
                <a:gd name="connsiteY7" fmla="*/ 14468 h 15753"/>
                <a:gd name="connsiteX8" fmla="*/ 10524 w 10524"/>
                <a:gd name="connsiteY8" fmla="*/ 14717 h 15753"/>
                <a:gd name="connsiteX9" fmla="*/ 9945 w 10524"/>
                <a:gd name="connsiteY9" fmla="*/ 10013 h 15753"/>
                <a:gd name="connsiteX10" fmla="*/ 8981 w 10524"/>
                <a:gd name="connsiteY10" fmla="*/ 5502 h 15753"/>
                <a:gd name="connsiteX11" fmla="*/ 2760 w 10524"/>
                <a:gd name="connsiteY11" fmla="*/ 5753 h 15753"/>
                <a:gd name="connsiteX12" fmla="*/ 4243 w 10524"/>
                <a:gd name="connsiteY12" fmla="*/ 418 h 15753"/>
                <a:gd name="connsiteX13" fmla="*/ 2670 w 10524"/>
                <a:gd name="connsiteY13" fmla="*/ 105 h 15753"/>
                <a:gd name="connsiteX14" fmla="*/ 1621 w 10524"/>
                <a:gd name="connsiteY14" fmla="*/ 3861 h 15753"/>
                <a:gd name="connsiteX15" fmla="*/ 0 w 10524"/>
                <a:gd name="connsiteY15" fmla="*/ 5784 h 15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524" h="15753">
                  <a:moveTo>
                    <a:pt x="0" y="5784"/>
                  </a:moveTo>
                  <a:lnTo>
                    <a:pt x="989" y="10169"/>
                  </a:lnTo>
                  <a:cubicBezTo>
                    <a:pt x="850" y="11926"/>
                    <a:pt x="712" y="13683"/>
                    <a:pt x="572" y="15440"/>
                  </a:cubicBezTo>
                  <a:lnTo>
                    <a:pt x="2538" y="15753"/>
                  </a:lnTo>
                  <a:cubicBezTo>
                    <a:pt x="2975" y="15023"/>
                    <a:pt x="3413" y="12415"/>
                    <a:pt x="3850" y="11685"/>
                  </a:cubicBezTo>
                  <a:lnTo>
                    <a:pt x="5090" y="11094"/>
                  </a:lnTo>
                  <a:cubicBezTo>
                    <a:pt x="5179" y="12460"/>
                    <a:pt x="5529" y="12575"/>
                    <a:pt x="5618" y="13941"/>
                  </a:cubicBezTo>
                  <a:lnTo>
                    <a:pt x="7700" y="14468"/>
                  </a:lnTo>
                  <a:lnTo>
                    <a:pt x="10524" y="14717"/>
                  </a:lnTo>
                  <a:cubicBezTo>
                    <a:pt x="10506" y="12836"/>
                    <a:pt x="9963" y="11894"/>
                    <a:pt x="9945" y="10013"/>
                  </a:cubicBezTo>
                  <a:lnTo>
                    <a:pt x="8981" y="5502"/>
                  </a:lnTo>
                  <a:lnTo>
                    <a:pt x="2760" y="5753"/>
                  </a:lnTo>
                  <a:cubicBezTo>
                    <a:pt x="2642" y="3975"/>
                    <a:pt x="4361" y="2196"/>
                    <a:pt x="4243" y="418"/>
                  </a:cubicBezTo>
                  <a:cubicBezTo>
                    <a:pt x="3900" y="-2"/>
                    <a:pt x="2998" y="-104"/>
                    <a:pt x="2670" y="105"/>
                  </a:cubicBezTo>
                  <a:cubicBezTo>
                    <a:pt x="2342" y="314"/>
                    <a:pt x="2066" y="2915"/>
                    <a:pt x="1621" y="3861"/>
                  </a:cubicBezTo>
                  <a:cubicBezTo>
                    <a:pt x="1176" y="4807"/>
                    <a:pt x="149" y="4785"/>
                    <a:pt x="0" y="5784"/>
                  </a:cubicBez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272" name="KG"/>
            <p:cNvSpPr>
              <a:spLocks/>
            </p:cNvSpPr>
            <p:nvPr/>
          </p:nvSpPr>
          <p:spPr bwMode="auto">
            <a:xfrm>
              <a:off x="5980564" y="3254357"/>
              <a:ext cx="253754" cy="112530"/>
            </a:xfrm>
            <a:custGeom>
              <a:avLst/>
              <a:gdLst>
                <a:gd name="T0" fmla="*/ 22159047 w 10000"/>
                <a:gd name="T1" fmla="*/ 1471825 h 10000"/>
                <a:gd name="T2" fmla="*/ 5539588 w 10000"/>
                <a:gd name="T3" fmla="*/ 1471825 h 10000"/>
                <a:gd name="T4" fmla="*/ 0 w 10000"/>
                <a:gd name="T5" fmla="*/ 0 h 10000"/>
                <a:gd name="T6" fmla="*/ 0 w 10000"/>
                <a:gd name="T7" fmla="*/ 2940641 h 10000"/>
                <a:gd name="T8" fmla="*/ 2772971 w 10000"/>
                <a:gd name="T9" fmla="*/ 7356103 h 10000"/>
                <a:gd name="T10" fmla="*/ 4138115 w 10000"/>
                <a:gd name="T11" fmla="*/ 12109724 h 10000"/>
                <a:gd name="T12" fmla="*/ 2772971 w 10000"/>
                <a:gd name="T13" fmla="*/ 14954558 h 10000"/>
                <a:gd name="T14" fmla="*/ 5539588 w 10000"/>
                <a:gd name="T15" fmla="*/ 17897996 h 10000"/>
                <a:gd name="T16" fmla="*/ 9738697 w 10000"/>
                <a:gd name="T17" fmla="*/ 21659295 h 10000"/>
                <a:gd name="T18" fmla="*/ 25047652 w 10000"/>
                <a:gd name="T19" fmla="*/ 18924256 h 10000"/>
                <a:gd name="T20" fmla="*/ 27107390 w 10000"/>
                <a:gd name="T21" fmla="*/ 19930961 h 10000"/>
                <a:gd name="T22" fmla="*/ 30532582 w 10000"/>
                <a:gd name="T23" fmla="*/ 19950516 h 10000"/>
                <a:gd name="T24" fmla="*/ 30471606 w 10000"/>
                <a:gd name="T25" fmla="*/ 20838638 h 10000"/>
                <a:gd name="T26" fmla="*/ 27698635 w 10000"/>
                <a:gd name="T27" fmla="*/ 22310463 h 10000"/>
                <a:gd name="T28" fmla="*/ 30471606 w 10000"/>
                <a:gd name="T29" fmla="*/ 28194755 h 10000"/>
                <a:gd name="T30" fmla="*/ 41551111 w 10000"/>
                <a:gd name="T31" fmla="*/ 23782288 h 10000"/>
                <a:gd name="T32" fmla="*/ 52630635 w 10000"/>
                <a:gd name="T33" fmla="*/ 23782288 h 10000"/>
                <a:gd name="T34" fmla="*/ 58170241 w 10000"/>
                <a:gd name="T35" fmla="*/ 19369822 h 10000"/>
                <a:gd name="T36" fmla="*/ 60943194 w 10000"/>
                <a:gd name="T37" fmla="*/ 19369822 h 10000"/>
                <a:gd name="T38" fmla="*/ 44324082 w 10000"/>
                <a:gd name="T39" fmla="*/ 16426171 h 10000"/>
                <a:gd name="T40" fmla="*/ 41551111 w 10000"/>
                <a:gd name="T41" fmla="*/ 8824933 h 10000"/>
                <a:gd name="T42" fmla="*/ 52630635 w 10000"/>
                <a:gd name="T43" fmla="*/ 2940641 h 10000"/>
                <a:gd name="T44" fmla="*/ 36011194 w 10000"/>
                <a:gd name="T45" fmla="*/ 0 h 10000"/>
                <a:gd name="T46" fmla="*/ 22159047 w 10000"/>
                <a:gd name="T47" fmla="*/ 1471825 h 10000"/>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connsiteX0" fmla="*/ 3636 w 10000"/>
                <a:gd name="connsiteY0" fmla="*/ 522 h 10000"/>
                <a:gd name="connsiteX1" fmla="*/ 909 w 10000"/>
                <a:gd name="connsiteY1" fmla="*/ 522 h 10000"/>
                <a:gd name="connsiteX2" fmla="*/ 0 w 10000"/>
                <a:gd name="connsiteY2" fmla="*/ 0 h 10000"/>
                <a:gd name="connsiteX3" fmla="*/ 0 w 10000"/>
                <a:gd name="connsiteY3" fmla="*/ 1043 h 10000"/>
                <a:gd name="connsiteX4" fmla="*/ 455 w 10000"/>
                <a:gd name="connsiteY4" fmla="*/ 2609 h 10000"/>
                <a:gd name="connsiteX5" fmla="*/ 679 w 10000"/>
                <a:gd name="connsiteY5" fmla="*/ 4295 h 10000"/>
                <a:gd name="connsiteX6" fmla="*/ 455 w 10000"/>
                <a:gd name="connsiteY6" fmla="*/ 5304 h 10000"/>
                <a:gd name="connsiteX7" fmla="*/ 909 w 10000"/>
                <a:gd name="connsiteY7" fmla="*/ 6348 h 10000"/>
                <a:gd name="connsiteX8" fmla="*/ 1598 w 10000"/>
                <a:gd name="connsiteY8" fmla="*/ 7682 h 10000"/>
                <a:gd name="connsiteX9" fmla="*/ 4110 w 10000"/>
                <a:gd name="connsiteY9" fmla="*/ 6712 h 10000"/>
                <a:gd name="connsiteX10" fmla="*/ 4448 w 10000"/>
                <a:gd name="connsiteY10" fmla="*/ 7069 h 10000"/>
                <a:gd name="connsiteX11" fmla="*/ 5010 w 10000"/>
                <a:gd name="connsiteY11" fmla="*/ 7076 h 10000"/>
                <a:gd name="connsiteX12" fmla="*/ 5000 w 10000"/>
                <a:gd name="connsiteY12" fmla="*/ 7391 h 10000"/>
                <a:gd name="connsiteX13" fmla="*/ 4545 w 10000"/>
                <a:gd name="connsiteY13" fmla="*/ 7913 h 10000"/>
                <a:gd name="connsiteX14" fmla="*/ 5000 w 10000"/>
                <a:gd name="connsiteY14" fmla="*/ 10000 h 10000"/>
                <a:gd name="connsiteX15" fmla="*/ 8151 w 10000"/>
                <a:gd name="connsiteY15" fmla="*/ 8940 h 10000"/>
                <a:gd name="connsiteX16" fmla="*/ 8636 w 10000"/>
                <a:gd name="connsiteY16" fmla="*/ 8435 h 10000"/>
                <a:gd name="connsiteX17" fmla="*/ 9545 w 10000"/>
                <a:gd name="connsiteY17" fmla="*/ 6870 h 10000"/>
                <a:gd name="connsiteX18" fmla="*/ 10000 w 10000"/>
                <a:gd name="connsiteY18" fmla="*/ 6870 h 10000"/>
                <a:gd name="connsiteX19" fmla="*/ 7273 w 10000"/>
                <a:gd name="connsiteY19" fmla="*/ 5826 h 10000"/>
                <a:gd name="connsiteX20" fmla="*/ 6818 w 10000"/>
                <a:gd name="connsiteY20" fmla="*/ 3130 h 10000"/>
                <a:gd name="connsiteX21" fmla="*/ 8636 w 10000"/>
                <a:gd name="connsiteY21" fmla="*/ 1043 h 10000"/>
                <a:gd name="connsiteX22" fmla="*/ 5909 w 10000"/>
                <a:gd name="connsiteY22" fmla="*/ 0 h 10000"/>
                <a:gd name="connsiteX23" fmla="*/ 3636 w 10000"/>
                <a:gd name="connsiteY23" fmla="*/ 522 h 10000"/>
                <a:gd name="connsiteX0" fmla="*/ 3636 w 10000"/>
                <a:gd name="connsiteY0" fmla="*/ 522 h 10000"/>
                <a:gd name="connsiteX1" fmla="*/ 909 w 10000"/>
                <a:gd name="connsiteY1" fmla="*/ 522 h 10000"/>
                <a:gd name="connsiteX2" fmla="*/ 0 w 10000"/>
                <a:gd name="connsiteY2" fmla="*/ 0 h 10000"/>
                <a:gd name="connsiteX3" fmla="*/ 0 w 10000"/>
                <a:gd name="connsiteY3" fmla="*/ 1043 h 10000"/>
                <a:gd name="connsiteX4" fmla="*/ 455 w 10000"/>
                <a:gd name="connsiteY4" fmla="*/ 2609 h 10000"/>
                <a:gd name="connsiteX5" fmla="*/ 679 w 10000"/>
                <a:gd name="connsiteY5" fmla="*/ 4295 h 10000"/>
                <a:gd name="connsiteX6" fmla="*/ 455 w 10000"/>
                <a:gd name="connsiteY6" fmla="*/ 5304 h 10000"/>
                <a:gd name="connsiteX7" fmla="*/ 909 w 10000"/>
                <a:gd name="connsiteY7" fmla="*/ 6348 h 10000"/>
                <a:gd name="connsiteX8" fmla="*/ 1598 w 10000"/>
                <a:gd name="connsiteY8" fmla="*/ 7682 h 10000"/>
                <a:gd name="connsiteX9" fmla="*/ 4110 w 10000"/>
                <a:gd name="connsiteY9" fmla="*/ 6712 h 10000"/>
                <a:gd name="connsiteX10" fmla="*/ 4448 w 10000"/>
                <a:gd name="connsiteY10" fmla="*/ 7069 h 10000"/>
                <a:gd name="connsiteX11" fmla="*/ 5010 w 10000"/>
                <a:gd name="connsiteY11" fmla="*/ 7076 h 10000"/>
                <a:gd name="connsiteX12" fmla="*/ 5000 w 10000"/>
                <a:gd name="connsiteY12" fmla="*/ 7391 h 10000"/>
                <a:gd name="connsiteX13" fmla="*/ 4545 w 10000"/>
                <a:gd name="connsiteY13" fmla="*/ 7913 h 10000"/>
                <a:gd name="connsiteX14" fmla="*/ 7417 w 10000"/>
                <a:gd name="connsiteY14" fmla="*/ 6551 h 10000"/>
                <a:gd name="connsiteX15" fmla="*/ 5000 w 10000"/>
                <a:gd name="connsiteY15" fmla="*/ 10000 h 10000"/>
                <a:gd name="connsiteX16" fmla="*/ 8151 w 10000"/>
                <a:gd name="connsiteY16" fmla="*/ 8940 h 10000"/>
                <a:gd name="connsiteX17" fmla="*/ 8636 w 10000"/>
                <a:gd name="connsiteY17" fmla="*/ 8435 h 10000"/>
                <a:gd name="connsiteX18" fmla="*/ 9545 w 10000"/>
                <a:gd name="connsiteY18" fmla="*/ 6870 h 10000"/>
                <a:gd name="connsiteX19" fmla="*/ 10000 w 10000"/>
                <a:gd name="connsiteY19" fmla="*/ 6870 h 10000"/>
                <a:gd name="connsiteX20" fmla="*/ 7273 w 10000"/>
                <a:gd name="connsiteY20" fmla="*/ 5826 h 10000"/>
                <a:gd name="connsiteX21" fmla="*/ 6818 w 10000"/>
                <a:gd name="connsiteY21" fmla="*/ 3130 h 10000"/>
                <a:gd name="connsiteX22" fmla="*/ 8636 w 10000"/>
                <a:gd name="connsiteY22" fmla="*/ 1043 h 10000"/>
                <a:gd name="connsiteX23" fmla="*/ 5909 w 10000"/>
                <a:gd name="connsiteY23" fmla="*/ 0 h 10000"/>
                <a:gd name="connsiteX24" fmla="*/ 3636 w 10000"/>
                <a:gd name="connsiteY24" fmla="*/ 522 h 10000"/>
                <a:gd name="connsiteX0" fmla="*/ 3636 w 10000"/>
                <a:gd name="connsiteY0" fmla="*/ 522 h 8940"/>
                <a:gd name="connsiteX1" fmla="*/ 909 w 10000"/>
                <a:gd name="connsiteY1" fmla="*/ 522 h 8940"/>
                <a:gd name="connsiteX2" fmla="*/ 0 w 10000"/>
                <a:gd name="connsiteY2" fmla="*/ 0 h 8940"/>
                <a:gd name="connsiteX3" fmla="*/ 0 w 10000"/>
                <a:gd name="connsiteY3" fmla="*/ 1043 h 8940"/>
                <a:gd name="connsiteX4" fmla="*/ 455 w 10000"/>
                <a:gd name="connsiteY4" fmla="*/ 2609 h 8940"/>
                <a:gd name="connsiteX5" fmla="*/ 679 w 10000"/>
                <a:gd name="connsiteY5" fmla="*/ 4295 h 8940"/>
                <a:gd name="connsiteX6" fmla="*/ 455 w 10000"/>
                <a:gd name="connsiteY6" fmla="*/ 5304 h 8940"/>
                <a:gd name="connsiteX7" fmla="*/ 909 w 10000"/>
                <a:gd name="connsiteY7" fmla="*/ 6348 h 8940"/>
                <a:gd name="connsiteX8" fmla="*/ 1598 w 10000"/>
                <a:gd name="connsiteY8" fmla="*/ 7682 h 8940"/>
                <a:gd name="connsiteX9" fmla="*/ 4110 w 10000"/>
                <a:gd name="connsiteY9" fmla="*/ 6712 h 8940"/>
                <a:gd name="connsiteX10" fmla="*/ 4448 w 10000"/>
                <a:gd name="connsiteY10" fmla="*/ 7069 h 8940"/>
                <a:gd name="connsiteX11" fmla="*/ 5010 w 10000"/>
                <a:gd name="connsiteY11" fmla="*/ 7076 h 8940"/>
                <a:gd name="connsiteX12" fmla="*/ 5000 w 10000"/>
                <a:gd name="connsiteY12" fmla="*/ 7391 h 8940"/>
                <a:gd name="connsiteX13" fmla="*/ 4545 w 10000"/>
                <a:gd name="connsiteY13" fmla="*/ 7913 h 8940"/>
                <a:gd name="connsiteX14" fmla="*/ 7417 w 10000"/>
                <a:gd name="connsiteY14" fmla="*/ 6551 h 8940"/>
                <a:gd name="connsiteX15" fmla="*/ 6733 w 10000"/>
                <a:gd name="connsiteY15" fmla="*/ 8318 h 8940"/>
                <a:gd name="connsiteX16" fmla="*/ 8151 w 10000"/>
                <a:gd name="connsiteY16" fmla="*/ 8940 h 8940"/>
                <a:gd name="connsiteX17" fmla="*/ 8636 w 10000"/>
                <a:gd name="connsiteY17" fmla="*/ 8435 h 8940"/>
                <a:gd name="connsiteX18" fmla="*/ 9545 w 10000"/>
                <a:gd name="connsiteY18" fmla="*/ 6870 h 8940"/>
                <a:gd name="connsiteX19" fmla="*/ 10000 w 10000"/>
                <a:gd name="connsiteY19" fmla="*/ 6870 h 8940"/>
                <a:gd name="connsiteX20" fmla="*/ 7273 w 10000"/>
                <a:gd name="connsiteY20" fmla="*/ 5826 h 8940"/>
                <a:gd name="connsiteX21" fmla="*/ 6818 w 10000"/>
                <a:gd name="connsiteY21" fmla="*/ 3130 h 8940"/>
                <a:gd name="connsiteX22" fmla="*/ 8636 w 10000"/>
                <a:gd name="connsiteY22" fmla="*/ 1043 h 8940"/>
                <a:gd name="connsiteX23" fmla="*/ 5909 w 10000"/>
                <a:gd name="connsiteY23" fmla="*/ 0 h 8940"/>
                <a:gd name="connsiteX24" fmla="*/ 3636 w 10000"/>
                <a:gd name="connsiteY24" fmla="*/ 522 h 8940"/>
                <a:gd name="connsiteX0" fmla="*/ 3636 w 10000"/>
                <a:gd name="connsiteY0" fmla="*/ 584 h 10000"/>
                <a:gd name="connsiteX1" fmla="*/ 909 w 10000"/>
                <a:gd name="connsiteY1" fmla="*/ 584 h 10000"/>
                <a:gd name="connsiteX2" fmla="*/ 0 w 10000"/>
                <a:gd name="connsiteY2" fmla="*/ 0 h 10000"/>
                <a:gd name="connsiteX3" fmla="*/ 0 w 10000"/>
                <a:gd name="connsiteY3" fmla="*/ 1167 h 10000"/>
                <a:gd name="connsiteX4" fmla="*/ 455 w 10000"/>
                <a:gd name="connsiteY4" fmla="*/ 2918 h 10000"/>
                <a:gd name="connsiteX5" fmla="*/ 679 w 10000"/>
                <a:gd name="connsiteY5" fmla="*/ 4804 h 10000"/>
                <a:gd name="connsiteX6" fmla="*/ 455 w 10000"/>
                <a:gd name="connsiteY6" fmla="*/ 5933 h 10000"/>
                <a:gd name="connsiteX7" fmla="*/ 909 w 10000"/>
                <a:gd name="connsiteY7" fmla="*/ 7101 h 10000"/>
                <a:gd name="connsiteX8" fmla="*/ 1598 w 10000"/>
                <a:gd name="connsiteY8" fmla="*/ 8593 h 10000"/>
                <a:gd name="connsiteX9" fmla="*/ 4110 w 10000"/>
                <a:gd name="connsiteY9" fmla="*/ 7508 h 10000"/>
                <a:gd name="connsiteX10" fmla="*/ 4448 w 10000"/>
                <a:gd name="connsiteY10" fmla="*/ 7907 h 10000"/>
                <a:gd name="connsiteX11" fmla="*/ 5010 w 10000"/>
                <a:gd name="connsiteY11" fmla="*/ 7915 h 10000"/>
                <a:gd name="connsiteX12" fmla="*/ 5000 w 10000"/>
                <a:gd name="connsiteY12" fmla="*/ 8267 h 10000"/>
                <a:gd name="connsiteX13" fmla="*/ 4545 w 10000"/>
                <a:gd name="connsiteY13" fmla="*/ 8851 h 10000"/>
                <a:gd name="connsiteX14" fmla="*/ 7417 w 10000"/>
                <a:gd name="connsiteY14" fmla="*/ 7328 h 10000"/>
                <a:gd name="connsiteX15" fmla="*/ 6733 w 10000"/>
                <a:gd name="connsiteY15" fmla="*/ 9304 h 10000"/>
                <a:gd name="connsiteX16" fmla="*/ 8151 w 10000"/>
                <a:gd name="connsiteY16" fmla="*/ 10000 h 10000"/>
                <a:gd name="connsiteX17" fmla="*/ 8636 w 10000"/>
                <a:gd name="connsiteY17" fmla="*/ 9435 h 10000"/>
                <a:gd name="connsiteX18" fmla="*/ 9545 w 10000"/>
                <a:gd name="connsiteY18" fmla="*/ 7685 h 10000"/>
                <a:gd name="connsiteX19" fmla="*/ 10000 w 10000"/>
                <a:gd name="connsiteY19" fmla="*/ 7685 h 10000"/>
                <a:gd name="connsiteX20" fmla="*/ 9539 w 10000"/>
                <a:gd name="connsiteY20" fmla="*/ 4448 h 10000"/>
                <a:gd name="connsiteX21" fmla="*/ 6818 w 10000"/>
                <a:gd name="connsiteY21" fmla="*/ 3501 h 10000"/>
                <a:gd name="connsiteX22" fmla="*/ 8636 w 10000"/>
                <a:gd name="connsiteY22" fmla="*/ 1167 h 10000"/>
                <a:gd name="connsiteX23" fmla="*/ 5909 w 10000"/>
                <a:gd name="connsiteY23" fmla="*/ 0 h 10000"/>
                <a:gd name="connsiteX24" fmla="*/ 3636 w 10000"/>
                <a:gd name="connsiteY24" fmla="*/ 584 h 10000"/>
                <a:gd name="connsiteX0" fmla="*/ 3636 w 10000"/>
                <a:gd name="connsiteY0" fmla="*/ 584 h 10000"/>
                <a:gd name="connsiteX1" fmla="*/ 909 w 10000"/>
                <a:gd name="connsiteY1" fmla="*/ 584 h 10000"/>
                <a:gd name="connsiteX2" fmla="*/ 0 w 10000"/>
                <a:gd name="connsiteY2" fmla="*/ 0 h 10000"/>
                <a:gd name="connsiteX3" fmla="*/ 0 w 10000"/>
                <a:gd name="connsiteY3" fmla="*/ 1167 h 10000"/>
                <a:gd name="connsiteX4" fmla="*/ 455 w 10000"/>
                <a:gd name="connsiteY4" fmla="*/ 2918 h 10000"/>
                <a:gd name="connsiteX5" fmla="*/ 679 w 10000"/>
                <a:gd name="connsiteY5" fmla="*/ 4804 h 10000"/>
                <a:gd name="connsiteX6" fmla="*/ 455 w 10000"/>
                <a:gd name="connsiteY6" fmla="*/ 5933 h 10000"/>
                <a:gd name="connsiteX7" fmla="*/ 909 w 10000"/>
                <a:gd name="connsiteY7" fmla="*/ 7101 h 10000"/>
                <a:gd name="connsiteX8" fmla="*/ 1598 w 10000"/>
                <a:gd name="connsiteY8" fmla="*/ 8593 h 10000"/>
                <a:gd name="connsiteX9" fmla="*/ 4110 w 10000"/>
                <a:gd name="connsiteY9" fmla="*/ 7508 h 10000"/>
                <a:gd name="connsiteX10" fmla="*/ 4448 w 10000"/>
                <a:gd name="connsiteY10" fmla="*/ 7907 h 10000"/>
                <a:gd name="connsiteX11" fmla="*/ 5010 w 10000"/>
                <a:gd name="connsiteY11" fmla="*/ 7915 h 10000"/>
                <a:gd name="connsiteX12" fmla="*/ 5000 w 10000"/>
                <a:gd name="connsiteY12" fmla="*/ 8267 h 10000"/>
                <a:gd name="connsiteX13" fmla="*/ 4545 w 10000"/>
                <a:gd name="connsiteY13" fmla="*/ 8851 h 10000"/>
                <a:gd name="connsiteX14" fmla="*/ 7417 w 10000"/>
                <a:gd name="connsiteY14" fmla="*/ 7328 h 10000"/>
                <a:gd name="connsiteX15" fmla="*/ 6733 w 10000"/>
                <a:gd name="connsiteY15" fmla="*/ 9304 h 10000"/>
                <a:gd name="connsiteX16" fmla="*/ 8151 w 10000"/>
                <a:gd name="connsiteY16" fmla="*/ 10000 h 10000"/>
                <a:gd name="connsiteX17" fmla="*/ 8636 w 10000"/>
                <a:gd name="connsiteY17" fmla="*/ 9435 h 10000"/>
                <a:gd name="connsiteX18" fmla="*/ 9545 w 10000"/>
                <a:gd name="connsiteY18" fmla="*/ 7685 h 10000"/>
                <a:gd name="connsiteX19" fmla="*/ 10000 w 10000"/>
                <a:gd name="connsiteY19" fmla="*/ 7685 h 10000"/>
                <a:gd name="connsiteX20" fmla="*/ 9539 w 10000"/>
                <a:gd name="connsiteY20" fmla="*/ 4448 h 10000"/>
                <a:gd name="connsiteX21" fmla="*/ 8551 w 10000"/>
                <a:gd name="connsiteY21" fmla="*/ 2749 h 10000"/>
                <a:gd name="connsiteX22" fmla="*/ 8636 w 10000"/>
                <a:gd name="connsiteY22" fmla="*/ 1167 h 10000"/>
                <a:gd name="connsiteX23" fmla="*/ 5909 w 10000"/>
                <a:gd name="connsiteY23" fmla="*/ 0 h 10000"/>
                <a:gd name="connsiteX24" fmla="*/ 3636 w 10000"/>
                <a:gd name="connsiteY24" fmla="*/ 584 h 10000"/>
                <a:gd name="connsiteX0" fmla="*/ 3636 w 10000"/>
                <a:gd name="connsiteY0" fmla="*/ 584 h 10000"/>
                <a:gd name="connsiteX1" fmla="*/ 909 w 10000"/>
                <a:gd name="connsiteY1" fmla="*/ 584 h 10000"/>
                <a:gd name="connsiteX2" fmla="*/ 0 w 10000"/>
                <a:gd name="connsiteY2" fmla="*/ 0 h 10000"/>
                <a:gd name="connsiteX3" fmla="*/ 0 w 10000"/>
                <a:gd name="connsiteY3" fmla="*/ 1167 h 10000"/>
                <a:gd name="connsiteX4" fmla="*/ 455 w 10000"/>
                <a:gd name="connsiteY4" fmla="*/ 2918 h 10000"/>
                <a:gd name="connsiteX5" fmla="*/ 679 w 10000"/>
                <a:gd name="connsiteY5" fmla="*/ 4804 h 10000"/>
                <a:gd name="connsiteX6" fmla="*/ 455 w 10000"/>
                <a:gd name="connsiteY6" fmla="*/ 5933 h 10000"/>
                <a:gd name="connsiteX7" fmla="*/ 909 w 10000"/>
                <a:gd name="connsiteY7" fmla="*/ 7101 h 10000"/>
                <a:gd name="connsiteX8" fmla="*/ 1598 w 10000"/>
                <a:gd name="connsiteY8" fmla="*/ 8593 h 10000"/>
                <a:gd name="connsiteX9" fmla="*/ 4110 w 10000"/>
                <a:gd name="connsiteY9" fmla="*/ 7508 h 10000"/>
                <a:gd name="connsiteX10" fmla="*/ 4448 w 10000"/>
                <a:gd name="connsiteY10" fmla="*/ 7907 h 10000"/>
                <a:gd name="connsiteX11" fmla="*/ 5010 w 10000"/>
                <a:gd name="connsiteY11" fmla="*/ 7915 h 10000"/>
                <a:gd name="connsiteX12" fmla="*/ 5000 w 10000"/>
                <a:gd name="connsiteY12" fmla="*/ 8267 h 10000"/>
                <a:gd name="connsiteX13" fmla="*/ 4545 w 10000"/>
                <a:gd name="connsiteY13" fmla="*/ 8851 h 10000"/>
                <a:gd name="connsiteX14" fmla="*/ 7417 w 10000"/>
                <a:gd name="connsiteY14" fmla="*/ 7328 h 10000"/>
                <a:gd name="connsiteX15" fmla="*/ 6733 w 10000"/>
                <a:gd name="connsiteY15" fmla="*/ 9304 h 10000"/>
                <a:gd name="connsiteX16" fmla="*/ 8151 w 10000"/>
                <a:gd name="connsiteY16" fmla="*/ 10000 h 10000"/>
                <a:gd name="connsiteX17" fmla="*/ 8636 w 10000"/>
                <a:gd name="connsiteY17" fmla="*/ 9435 h 10000"/>
                <a:gd name="connsiteX18" fmla="*/ 9545 w 10000"/>
                <a:gd name="connsiteY18" fmla="*/ 7685 h 10000"/>
                <a:gd name="connsiteX19" fmla="*/ 10000 w 10000"/>
                <a:gd name="connsiteY19" fmla="*/ 7685 h 10000"/>
                <a:gd name="connsiteX20" fmla="*/ 9539 w 10000"/>
                <a:gd name="connsiteY20" fmla="*/ 4448 h 10000"/>
                <a:gd name="connsiteX21" fmla="*/ 8551 w 10000"/>
                <a:gd name="connsiteY21" fmla="*/ 2749 h 10000"/>
                <a:gd name="connsiteX22" fmla="*/ 7169 w 10000"/>
                <a:gd name="connsiteY22" fmla="*/ 3612 h 10000"/>
                <a:gd name="connsiteX23" fmla="*/ 5909 w 10000"/>
                <a:gd name="connsiteY23" fmla="*/ 0 h 10000"/>
                <a:gd name="connsiteX24" fmla="*/ 3636 w 10000"/>
                <a:gd name="connsiteY24" fmla="*/ 584 h 10000"/>
                <a:gd name="connsiteX0" fmla="*/ 3636 w 10000"/>
                <a:gd name="connsiteY0" fmla="*/ 584 h 10000"/>
                <a:gd name="connsiteX1" fmla="*/ 909 w 10000"/>
                <a:gd name="connsiteY1" fmla="*/ 584 h 10000"/>
                <a:gd name="connsiteX2" fmla="*/ 0 w 10000"/>
                <a:gd name="connsiteY2" fmla="*/ 0 h 10000"/>
                <a:gd name="connsiteX3" fmla="*/ 0 w 10000"/>
                <a:gd name="connsiteY3" fmla="*/ 1167 h 10000"/>
                <a:gd name="connsiteX4" fmla="*/ 455 w 10000"/>
                <a:gd name="connsiteY4" fmla="*/ 2918 h 10000"/>
                <a:gd name="connsiteX5" fmla="*/ 679 w 10000"/>
                <a:gd name="connsiteY5" fmla="*/ 4804 h 10000"/>
                <a:gd name="connsiteX6" fmla="*/ 455 w 10000"/>
                <a:gd name="connsiteY6" fmla="*/ 5933 h 10000"/>
                <a:gd name="connsiteX7" fmla="*/ 909 w 10000"/>
                <a:gd name="connsiteY7" fmla="*/ 7101 h 10000"/>
                <a:gd name="connsiteX8" fmla="*/ 1598 w 10000"/>
                <a:gd name="connsiteY8" fmla="*/ 8593 h 10000"/>
                <a:gd name="connsiteX9" fmla="*/ 4110 w 10000"/>
                <a:gd name="connsiteY9" fmla="*/ 7508 h 10000"/>
                <a:gd name="connsiteX10" fmla="*/ 4448 w 10000"/>
                <a:gd name="connsiteY10" fmla="*/ 7907 h 10000"/>
                <a:gd name="connsiteX11" fmla="*/ 5010 w 10000"/>
                <a:gd name="connsiteY11" fmla="*/ 7915 h 10000"/>
                <a:gd name="connsiteX12" fmla="*/ 5000 w 10000"/>
                <a:gd name="connsiteY12" fmla="*/ 8267 h 10000"/>
                <a:gd name="connsiteX13" fmla="*/ 4545 w 10000"/>
                <a:gd name="connsiteY13" fmla="*/ 8851 h 10000"/>
                <a:gd name="connsiteX14" fmla="*/ 7417 w 10000"/>
                <a:gd name="connsiteY14" fmla="*/ 7328 h 10000"/>
                <a:gd name="connsiteX15" fmla="*/ 6733 w 10000"/>
                <a:gd name="connsiteY15" fmla="*/ 9304 h 10000"/>
                <a:gd name="connsiteX16" fmla="*/ 8151 w 10000"/>
                <a:gd name="connsiteY16" fmla="*/ 10000 h 10000"/>
                <a:gd name="connsiteX17" fmla="*/ 8636 w 10000"/>
                <a:gd name="connsiteY17" fmla="*/ 9435 h 10000"/>
                <a:gd name="connsiteX18" fmla="*/ 9545 w 10000"/>
                <a:gd name="connsiteY18" fmla="*/ 7685 h 10000"/>
                <a:gd name="connsiteX19" fmla="*/ 10000 w 10000"/>
                <a:gd name="connsiteY19" fmla="*/ 7685 h 10000"/>
                <a:gd name="connsiteX20" fmla="*/ 9539 w 10000"/>
                <a:gd name="connsiteY20" fmla="*/ 4448 h 10000"/>
                <a:gd name="connsiteX21" fmla="*/ 8551 w 10000"/>
                <a:gd name="connsiteY21" fmla="*/ 2749 h 10000"/>
                <a:gd name="connsiteX22" fmla="*/ 7169 w 10000"/>
                <a:gd name="connsiteY22" fmla="*/ 3612 h 10000"/>
                <a:gd name="connsiteX23" fmla="*/ 5776 w 10000"/>
                <a:gd name="connsiteY23" fmla="*/ 2069 h 10000"/>
                <a:gd name="connsiteX24" fmla="*/ 3636 w 10000"/>
                <a:gd name="connsiteY24" fmla="*/ 584 h 10000"/>
                <a:gd name="connsiteX0" fmla="*/ 4969 w 10000"/>
                <a:gd name="connsiteY0" fmla="*/ 4346 h 10000"/>
                <a:gd name="connsiteX1" fmla="*/ 909 w 10000"/>
                <a:gd name="connsiteY1" fmla="*/ 584 h 10000"/>
                <a:gd name="connsiteX2" fmla="*/ 0 w 10000"/>
                <a:gd name="connsiteY2" fmla="*/ 0 h 10000"/>
                <a:gd name="connsiteX3" fmla="*/ 0 w 10000"/>
                <a:gd name="connsiteY3" fmla="*/ 1167 h 10000"/>
                <a:gd name="connsiteX4" fmla="*/ 455 w 10000"/>
                <a:gd name="connsiteY4" fmla="*/ 2918 h 10000"/>
                <a:gd name="connsiteX5" fmla="*/ 679 w 10000"/>
                <a:gd name="connsiteY5" fmla="*/ 4804 h 10000"/>
                <a:gd name="connsiteX6" fmla="*/ 455 w 10000"/>
                <a:gd name="connsiteY6" fmla="*/ 5933 h 10000"/>
                <a:gd name="connsiteX7" fmla="*/ 909 w 10000"/>
                <a:gd name="connsiteY7" fmla="*/ 7101 h 10000"/>
                <a:gd name="connsiteX8" fmla="*/ 1598 w 10000"/>
                <a:gd name="connsiteY8" fmla="*/ 8593 h 10000"/>
                <a:gd name="connsiteX9" fmla="*/ 4110 w 10000"/>
                <a:gd name="connsiteY9" fmla="*/ 7508 h 10000"/>
                <a:gd name="connsiteX10" fmla="*/ 4448 w 10000"/>
                <a:gd name="connsiteY10" fmla="*/ 7907 h 10000"/>
                <a:gd name="connsiteX11" fmla="*/ 5010 w 10000"/>
                <a:gd name="connsiteY11" fmla="*/ 7915 h 10000"/>
                <a:gd name="connsiteX12" fmla="*/ 5000 w 10000"/>
                <a:gd name="connsiteY12" fmla="*/ 8267 h 10000"/>
                <a:gd name="connsiteX13" fmla="*/ 4545 w 10000"/>
                <a:gd name="connsiteY13" fmla="*/ 8851 h 10000"/>
                <a:gd name="connsiteX14" fmla="*/ 7417 w 10000"/>
                <a:gd name="connsiteY14" fmla="*/ 7328 h 10000"/>
                <a:gd name="connsiteX15" fmla="*/ 6733 w 10000"/>
                <a:gd name="connsiteY15" fmla="*/ 9304 h 10000"/>
                <a:gd name="connsiteX16" fmla="*/ 8151 w 10000"/>
                <a:gd name="connsiteY16" fmla="*/ 10000 h 10000"/>
                <a:gd name="connsiteX17" fmla="*/ 8636 w 10000"/>
                <a:gd name="connsiteY17" fmla="*/ 9435 h 10000"/>
                <a:gd name="connsiteX18" fmla="*/ 9545 w 10000"/>
                <a:gd name="connsiteY18" fmla="*/ 7685 h 10000"/>
                <a:gd name="connsiteX19" fmla="*/ 10000 w 10000"/>
                <a:gd name="connsiteY19" fmla="*/ 7685 h 10000"/>
                <a:gd name="connsiteX20" fmla="*/ 9539 w 10000"/>
                <a:gd name="connsiteY20" fmla="*/ 4448 h 10000"/>
                <a:gd name="connsiteX21" fmla="*/ 8551 w 10000"/>
                <a:gd name="connsiteY21" fmla="*/ 2749 h 10000"/>
                <a:gd name="connsiteX22" fmla="*/ 7169 w 10000"/>
                <a:gd name="connsiteY22" fmla="*/ 3612 h 10000"/>
                <a:gd name="connsiteX23" fmla="*/ 5776 w 10000"/>
                <a:gd name="connsiteY23" fmla="*/ 2069 h 10000"/>
                <a:gd name="connsiteX24" fmla="*/ 4969 w 10000"/>
                <a:gd name="connsiteY24" fmla="*/ 4346 h 10000"/>
                <a:gd name="connsiteX0" fmla="*/ 4969 w 10000"/>
                <a:gd name="connsiteY0" fmla="*/ 4346 h 10000"/>
                <a:gd name="connsiteX1" fmla="*/ 3709 w 10000"/>
                <a:gd name="connsiteY1" fmla="*/ 4158 h 10000"/>
                <a:gd name="connsiteX2" fmla="*/ 0 w 10000"/>
                <a:gd name="connsiteY2" fmla="*/ 0 h 10000"/>
                <a:gd name="connsiteX3" fmla="*/ 0 w 10000"/>
                <a:gd name="connsiteY3" fmla="*/ 1167 h 10000"/>
                <a:gd name="connsiteX4" fmla="*/ 455 w 10000"/>
                <a:gd name="connsiteY4" fmla="*/ 2918 h 10000"/>
                <a:gd name="connsiteX5" fmla="*/ 679 w 10000"/>
                <a:gd name="connsiteY5" fmla="*/ 4804 h 10000"/>
                <a:gd name="connsiteX6" fmla="*/ 455 w 10000"/>
                <a:gd name="connsiteY6" fmla="*/ 5933 h 10000"/>
                <a:gd name="connsiteX7" fmla="*/ 909 w 10000"/>
                <a:gd name="connsiteY7" fmla="*/ 7101 h 10000"/>
                <a:gd name="connsiteX8" fmla="*/ 1598 w 10000"/>
                <a:gd name="connsiteY8" fmla="*/ 8593 h 10000"/>
                <a:gd name="connsiteX9" fmla="*/ 4110 w 10000"/>
                <a:gd name="connsiteY9" fmla="*/ 7508 h 10000"/>
                <a:gd name="connsiteX10" fmla="*/ 4448 w 10000"/>
                <a:gd name="connsiteY10" fmla="*/ 7907 h 10000"/>
                <a:gd name="connsiteX11" fmla="*/ 5010 w 10000"/>
                <a:gd name="connsiteY11" fmla="*/ 7915 h 10000"/>
                <a:gd name="connsiteX12" fmla="*/ 5000 w 10000"/>
                <a:gd name="connsiteY12" fmla="*/ 8267 h 10000"/>
                <a:gd name="connsiteX13" fmla="*/ 4545 w 10000"/>
                <a:gd name="connsiteY13" fmla="*/ 8851 h 10000"/>
                <a:gd name="connsiteX14" fmla="*/ 7417 w 10000"/>
                <a:gd name="connsiteY14" fmla="*/ 7328 h 10000"/>
                <a:gd name="connsiteX15" fmla="*/ 6733 w 10000"/>
                <a:gd name="connsiteY15" fmla="*/ 9304 h 10000"/>
                <a:gd name="connsiteX16" fmla="*/ 8151 w 10000"/>
                <a:gd name="connsiteY16" fmla="*/ 10000 h 10000"/>
                <a:gd name="connsiteX17" fmla="*/ 8636 w 10000"/>
                <a:gd name="connsiteY17" fmla="*/ 9435 h 10000"/>
                <a:gd name="connsiteX18" fmla="*/ 9545 w 10000"/>
                <a:gd name="connsiteY18" fmla="*/ 7685 h 10000"/>
                <a:gd name="connsiteX19" fmla="*/ 10000 w 10000"/>
                <a:gd name="connsiteY19" fmla="*/ 7685 h 10000"/>
                <a:gd name="connsiteX20" fmla="*/ 9539 w 10000"/>
                <a:gd name="connsiteY20" fmla="*/ 4448 h 10000"/>
                <a:gd name="connsiteX21" fmla="*/ 8551 w 10000"/>
                <a:gd name="connsiteY21" fmla="*/ 2749 h 10000"/>
                <a:gd name="connsiteX22" fmla="*/ 7169 w 10000"/>
                <a:gd name="connsiteY22" fmla="*/ 3612 h 10000"/>
                <a:gd name="connsiteX23" fmla="*/ 5776 w 10000"/>
                <a:gd name="connsiteY23" fmla="*/ 2069 h 10000"/>
                <a:gd name="connsiteX24" fmla="*/ 4969 w 10000"/>
                <a:gd name="connsiteY24" fmla="*/ 4346 h 10000"/>
                <a:gd name="connsiteX0" fmla="*/ 5769 w 10000"/>
                <a:gd name="connsiteY0" fmla="*/ 4722 h 10000"/>
                <a:gd name="connsiteX1" fmla="*/ 3709 w 10000"/>
                <a:gd name="connsiteY1" fmla="*/ 4158 h 10000"/>
                <a:gd name="connsiteX2" fmla="*/ 0 w 10000"/>
                <a:gd name="connsiteY2" fmla="*/ 0 h 10000"/>
                <a:gd name="connsiteX3" fmla="*/ 0 w 10000"/>
                <a:gd name="connsiteY3" fmla="*/ 1167 h 10000"/>
                <a:gd name="connsiteX4" fmla="*/ 455 w 10000"/>
                <a:gd name="connsiteY4" fmla="*/ 2918 h 10000"/>
                <a:gd name="connsiteX5" fmla="*/ 679 w 10000"/>
                <a:gd name="connsiteY5" fmla="*/ 4804 h 10000"/>
                <a:gd name="connsiteX6" fmla="*/ 455 w 10000"/>
                <a:gd name="connsiteY6" fmla="*/ 5933 h 10000"/>
                <a:gd name="connsiteX7" fmla="*/ 909 w 10000"/>
                <a:gd name="connsiteY7" fmla="*/ 7101 h 10000"/>
                <a:gd name="connsiteX8" fmla="*/ 1598 w 10000"/>
                <a:gd name="connsiteY8" fmla="*/ 8593 h 10000"/>
                <a:gd name="connsiteX9" fmla="*/ 4110 w 10000"/>
                <a:gd name="connsiteY9" fmla="*/ 7508 h 10000"/>
                <a:gd name="connsiteX10" fmla="*/ 4448 w 10000"/>
                <a:gd name="connsiteY10" fmla="*/ 7907 h 10000"/>
                <a:gd name="connsiteX11" fmla="*/ 5010 w 10000"/>
                <a:gd name="connsiteY11" fmla="*/ 7915 h 10000"/>
                <a:gd name="connsiteX12" fmla="*/ 5000 w 10000"/>
                <a:gd name="connsiteY12" fmla="*/ 8267 h 10000"/>
                <a:gd name="connsiteX13" fmla="*/ 4545 w 10000"/>
                <a:gd name="connsiteY13" fmla="*/ 8851 h 10000"/>
                <a:gd name="connsiteX14" fmla="*/ 7417 w 10000"/>
                <a:gd name="connsiteY14" fmla="*/ 7328 h 10000"/>
                <a:gd name="connsiteX15" fmla="*/ 6733 w 10000"/>
                <a:gd name="connsiteY15" fmla="*/ 9304 h 10000"/>
                <a:gd name="connsiteX16" fmla="*/ 8151 w 10000"/>
                <a:gd name="connsiteY16" fmla="*/ 10000 h 10000"/>
                <a:gd name="connsiteX17" fmla="*/ 8636 w 10000"/>
                <a:gd name="connsiteY17" fmla="*/ 9435 h 10000"/>
                <a:gd name="connsiteX18" fmla="*/ 9545 w 10000"/>
                <a:gd name="connsiteY18" fmla="*/ 7685 h 10000"/>
                <a:gd name="connsiteX19" fmla="*/ 10000 w 10000"/>
                <a:gd name="connsiteY19" fmla="*/ 7685 h 10000"/>
                <a:gd name="connsiteX20" fmla="*/ 9539 w 10000"/>
                <a:gd name="connsiteY20" fmla="*/ 4448 h 10000"/>
                <a:gd name="connsiteX21" fmla="*/ 8551 w 10000"/>
                <a:gd name="connsiteY21" fmla="*/ 2749 h 10000"/>
                <a:gd name="connsiteX22" fmla="*/ 7169 w 10000"/>
                <a:gd name="connsiteY22" fmla="*/ 3612 h 10000"/>
                <a:gd name="connsiteX23" fmla="*/ 5776 w 10000"/>
                <a:gd name="connsiteY23" fmla="*/ 2069 h 10000"/>
                <a:gd name="connsiteX24" fmla="*/ 5769 w 10000"/>
                <a:gd name="connsiteY24" fmla="*/ 4722 h 10000"/>
                <a:gd name="connsiteX0" fmla="*/ 6302 w 10000"/>
                <a:gd name="connsiteY0" fmla="*/ 4534 h 10000"/>
                <a:gd name="connsiteX1" fmla="*/ 3709 w 10000"/>
                <a:gd name="connsiteY1" fmla="*/ 4158 h 10000"/>
                <a:gd name="connsiteX2" fmla="*/ 0 w 10000"/>
                <a:gd name="connsiteY2" fmla="*/ 0 h 10000"/>
                <a:gd name="connsiteX3" fmla="*/ 0 w 10000"/>
                <a:gd name="connsiteY3" fmla="*/ 1167 h 10000"/>
                <a:gd name="connsiteX4" fmla="*/ 455 w 10000"/>
                <a:gd name="connsiteY4" fmla="*/ 2918 h 10000"/>
                <a:gd name="connsiteX5" fmla="*/ 679 w 10000"/>
                <a:gd name="connsiteY5" fmla="*/ 4804 h 10000"/>
                <a:gd name="connsiteX6" fmla="*/ 455 w 10000"/>
                <a:gd name="connsiteY6" fmla="*/ 5933 h 10000"/>
                <a:gd name="connsiteX7" fmla="*/ 909 w 10000"/>
                <a:gd name="connsiteY7" fmla="*/ 7101 h 10000"/>
                <a:gd name="connsiteX8" fmla="*/ 1598 w 10000"/>
                <a:gd name="connsiteY8" fmla="*/ 8593 h 10000"/>
                <a:gd name="connsiteX9" fmla="*/ 4110 w 10000"/>
                <a:gd name="connsiteY9" fmla="*/ 7508 h 10000"/>
                <a:gd name="connsiteX10" fmla="*/ 4448 w 10000"/>
                <a:gd name="connsiteY10" fmla="*/ 7907 h 10000"/>
                <a:gd name="connsiteX11" fmla="*/ 5010 w 10000"/>
                <a:gd name="connsiteY11" fmla="*/ 7915 h 10000"/>
                <a:gd name="connsiteX12" fmla="*/ 5000 w 10000"/>
                <a:gd name="connsiteY12" fmla="*/ 8267 h 10000"/>
                <a:gd name="connsiteX13" fmla="*/ 4545 w 10000"/>
                <a:gd name="connsiteY13" fmla="*/ 8851 h 10000"/>
                <a:gd name="connsiteX14" fmla="*/ 7417 w 10000"/>
                <a:gd name="connsiteY14" fmla="*/ 7328 h 10000"/>
                <a:gd name="connsiteX15" fmla="*/ 6733 w 10000"/>
                <a:gd name="connsiteY15" fmla="*/ 9304 h 10000"/>
                <a:gd name="connsiteX16" fmla="*/ 8151 w 10000"/>
                <a:gd name="connsiteY16" fmla="*/ 10000 h 10000"/>
                <a:gd name="connsiteX17" fmla="*/ 8636 w 10000"/>
                <a:gd name="connsiteY17" fmla="*/ 9435 h 10000"/>
                <a:gd name="connsiteX18" fmla="*/ 9545 w 10000"/>
                <a:gd name="connsiteY18" fmla="*/ 7685 h 10000"/>
                <a:gd name="connsiteX19" fmla="*/ 10000 w 10000"/>
                <a:gd name="connsiteY19" fmla="*/ 7685 h 10000"/>
                <a:gd name="connsiteX20" fmla="*/ 9539 w 10000"/>
                <a:gd name="connsiteY20" fmla="*/ 4448 h 10000"/>
                <a:gd name="connsiteX21" fmla="*/ 8551 w 10000"/>
                <a:gd name="connsiteY21" fmla="*/ 2749 h 10000"/>
                <a:gd name="connsiteX22" fmla="*/ 7169 w 10000"/>
                <a:gd name="connsiteY22" fmla="*/ 3612 h 10000"/>
                <a:gd name="connsiteX23" fmla="*/ 5776 w 10000"/>
                <a:gd name="connsiteY23" fmla="*/ 2069 h 10000"/>
                <a:gd name="connsiteX24" fmla="*/ 6302 w 10000"/>
                <a:gd name="connsiteY24" fmla="*/ 4534 h 10000"/>
                <a:gd name="connsiteX0" fmla="*/ 6302 w 10000"/>
                <a:gd name="connsiteY0" fmla="*/ 4534 h 10000"/>
                <a:gd name="connsiteX1" fmla="*/ 4776 w 10000"/>
                <a:gd name="connsiteY1" fmla="*/ 4346 h 10000"/>
                <a:gd name="connsiteX2" fmla="*/ 0 w 10000"/>
                <a:gd name="connsiteY2" fmla="*/ 0 h 10000"/>
                <a:gd name="connsiteX3" fmla="*/ 0 w 10000"/>
                <a:gd name="connsiteY3" fmla="*/ 1167 h 10000"/>
                <a:gd name="connsiteX4" fmla="*/ 455 w 10000"/>
                <a:gd name="connsiteY4" fmla="*/ 2918 h 10000"/>
                <a:gd name="connsiteX5" fmla="*/ 679 w 10000"/>
                <a:gd name="connsiteY5" fmla="*/ 4804 h 10000"/>
                <a:gd name="connsiteX6" fmla="*/ 455 w 10000"/>
                <a:gd name="connsiteY6" fmla="*/ 5933 h 10000"/>
                <a:gd name="connsiteX7" fmla="*/ 909 w 10000"/>
                <a:gd name="connsiteY7" fmla="*/ 7101 h 10000"/>
                <a:gd name="connsiteX8" fmla="*/ 1598 w 10000"/>
                <a:gd name="connsiteY8" fmla="*/ 8593 h 10000"/>
                <a:gd name="connsiteX9" fmla="*/ 4110 w 10000"/>
                <a:gd name="connsiteY9" fmla="*/ 7508 h 10000"/>
                <a:gd name="connsiteX10" fmla="*/ 4448 w 10000"/>
                <a:gd name="connsiteY10" fmla="*/ 7907 h 10000"/>
                <a:gd name="connsiteX11" fmla="*/ 5010 w 10000"/>
                <a:gd name="connsiteY11" fmla="*/ 7915 h 10000"/>
                <a:gd name="connsiteX12" fmla="*/ 5000 w 10000"/>
                <a:gd name="connsiteY12" fmla="*/ 8267 h 10000"/>
                <a:gd name="connsiteX13" fmla="*/ 4545 w 10000"/>
                <a:gd name="connsiteY13" fmla="*/ 8851 h 10000"/>
                <a:gd name="connsiteX14" fmla="*/ 7417 w 10000"/>
                <a:gd name="connsiteY14" fmla="*/ 7328 h 10000"/>
                <a:gd name="connsiteX15" fmla="*/ 6733 w 10000"/>
                <a:gd name="connsiteY15" fmla="*/ 9304 h 10000"/>
                <a:gd name="connsiteX16" fmla="*/ 8151 w 10000"/>
                <a:gd name="connsiteY16" fmla="*/ 10000 h 10000"/>
                <a:gd name="connsiteX17" fmla="*/ 8636 w 10000"/>
                <a:gd name="connsiteY17" fmla="*/ 9435 h 10000"/>
                <a:gd name="connsiteX18" fmla="*/ 9545 w 10000"/>
                <a:gd name="connsiteY18" fmla="*/ 7685 h 10000"/>
                <a:gd name="connsiteX19" fmla="*/ 10000 w 10000"/>
                <a:gd name="connsiteY19" fmla="*/ 7685 h 10000"/>
                <a:gd name="connsiteX20" fmla="*/ 9539 w 10000"/>
                <a:gd name="connsiteY20" fmla="*/ 4448 h 10000"/>
                <a:gd name="connsiteX21" fmla="*/ 8551 w 10000"/>
                <a:gd name="connsiteY21" fmla="*/ 2749 h 10000"/>
                <a:gd name="connsiteX22" fmla="*/ 7169 w 10000"/>
                <a:gd name="connsiteY22" fmla="*/ 3612 h 10000"/>
                <a:gd name="connsiteX23" fmla="*/ 5776 w 10000"/>
                <a:gd name="connsiteY23" fmla="*/ 2069 h 10000"/>
                <a:gd name="connsiteX24" fmla="*/ 6302 w 10000"/>
                <a:gd name="connsiteY24" fmla="*/ 4534 h 10000"/>
                <a:gd name="connsiteX0" fmla="*/ 6302 w 10000"/>
                <a:gd name="connsiteY0" fmla="*/ 3367 h 8833"/>
                <a:gd name="connsiteX1" fmla="*/ 4776 w 10000"/>
                <a:gd name="connsiteY1" fmla="*/ 3179 h 8833"/>
                <a:gd name="connsiteX2" fmla="*/ 4666 w 10000"/>
                <a:gd name="connsiteY2" fmla="*/ 4853 h 8833"/>
                <a:gd name="connsiteX3" fmla="*/ 0 w 10000"/>
                <a:gd name="connsiteY3" fmla="*/ 0 h 8833"/>
                <a:gd name="connsiteX4" fmla="*/ 455 w 10000"/>
                <a:gd name="connsiteY4" fmla="*/ 1751 h 8833"/>
                <a:gd name="connsiteX5" fmla="*/ 679 w 10000"/>
                <a:gd name="connsiteY5" fmla="*/ 3637 h 8833"/>
                <a:gd name="connsiteX6" fmla="*/ 455 w 10000"/>
                <a:gd name="connsiteY6" fmla="*/ 4766 h 8833"/>
                <a:gd name="connsiteX7" fmla="*/ 909 w 10000"/>
                <a:gd name="connsiteY7" fmla="*/ 5934 h 8833"/>
                <a:gd name="connsiteX8" fmla="*/ 1598 w 10000"/>
                <a:gd name="connsiteY8" fmla="*/ 7426 h 8833"/>
                <a:gd name="connsiteX9" fmla="*/ 4110 w 10000"/>
                <a:gd name="connsiteY9" fmla="*/ 6341 h 8833"/>
                <a:gd name="connsiteX10" fmla="*/ 4448 w 10000"/>
                <a:gd name="connsiteY10" fmla="*/ 6740 h 8833"/>
                <a:gd name="connsiteX11" fmla="*/ 5010 w 10000"/>
                <a:gd name="connsiteY11" fmla="*/ 6748 h 8833"/>
                <a:gd name="connsiteX12" fmla="*/ 5000 w 10000"/>
                <a:gd name="connsiteY12" fmla="*/ 7100 h 8833"/>
                <a:gd name="connsiteX13" fmla="*/ 4545 w 10000"/>
                <a:gd name="connsiteY13" fmla="*/ 7684 h 8833"/>
                <a:gd name="connsiteX14" fmla="*/ 7417 w 10000"/>
                <a:gd name="connsiteY14" fmla="*/ 6161 h 8833"/>
                <a:gd name="connsiteX15" fmla="*/ 6733 w 10000"/>
                <a:gd name="connsiteY15" fmla="*/ 8137 h 8833"/>
                <a:gd name="connsiteX16" fmla="*/ 8151 w 10000"/>
                <a:gd name="connsiteY16" fmla="*/ 8833 h 8833"/>
                <a:gd name="connsiteX17" fmla="*/ 8636 w 10000"/>
                <a:gd name="connsiteY17" fmla="*/ 8268 h 8833"/>
                <a:gd name="connsiteX18" fmla="*/ 9545 w 10000"/>
                <a:gd name="connsiteY18" fmla="*/ 6518 h 8833"/>
                <a:gd name="connsiteX19" fmla="*/ 10000 w 10000"/>
                <a:gd name="connsiteY19" fmla="*/ 6518 h 8833"/>
                <a:gd name="connsiteX20" fmla="*/ 9539 w 10000"/>
                <a:gd name="connsiteY20" fmla="*/ 3281 h 8833"/>
                <a:gd name="connsiteX21" fmla="*/ 8551 w 10000"/>
                <a:gd name="connsiteY21" fmla="*/ 1582 h 8833"/>
                <a:gd name="connsiteX22" fmla="*/ 7169 w 10000"/>
                <a:gd name="connsiteY22" fmla="*/ 2445 h 8833"/>
                <a:gd name="connsiteX23" fmla="*/ 5776 w 10000"/>
                <a:gd name="connsiteY23" fmla="*/ 902 h 8833"/>
                <a:gd name="connsiteX24" fmla="*/ 6302 w 10000"/>
                <a:gd name="connsiteY24" fmla="*/ 3367 h 8833"/>
                <a:gd name="connsiteX0" fmla="*/ 6702 w 10400"/>
                <a:gd name="connsiteY0" fmla="*/ 3812 h 10000"/>
                <a:gd name="connsiteX1" fmla="*/ 5176 w 10400"/>
                <a:gd name="connsiteY1" fmla="*/ 3599 h 10000"/>
                <a:gd name="connsiteX2" fmla="*/ 5066 w 10400"/>
                <a:gd name="connsiteY2" fmla="*/ 5494 h 10000"/>
                <a:gd name="connsiteX3" fmla="*/ 0 w 10400"/>
                <a:gd name="connsiteY3" fmla="*/ 0 h 10000"/>
                <a:gd name="connsiteX4" fmla="*/ 855 w 10400"/>
                <a:gd name="connsiteY4" fmla="*/ 1982 h 10000"/>
                <a:gd name="connsiteX5" fmla="*/ 1079 w 10400"/>
                <a:gd name="connsiteY5" fmla="*/ 4118 h 10000"/>
                <a:gd name="connsiteX6" fmla="*/ 855 w 10400"/>
                <a:gd name="connsiteY6" fmla="*/ 5396 h 10000"/>
                <a:gd name="connsiteX7" fmla="*/ 1309 w 10400"/>
                <a:gd name="connsiteY7" fmla="*/ 6718 h 10000"/>
                <a:gd name="connsiteX8" fmla="*/ 1998 w 10400"/>
                <a:gd name="connsiteY8" fmla="*/ 8407 h 10000"/>
                <a:gd name="connsiteX9" fmla="*/ 4510 w 10400"/>
                <a:gd name="connsiteY9" fmla="*/ 7179 h 10000"/>
                <a:gd name="connsiteX10" fmla="*/ 4848 w 10400"/>
                <a:gd name="connsiteY10" fmla="*/ 7630 h 10000"/>
                <a:gd name="connsiteX11" fmla="*/ 5410 w 10400"/>
                <a:gd name="connsiteY11" fmla="*/ 7640 h 10000"/>
                <a:gd name="connsiteX12" fmla="*/ 5400 w 10400"/>
                <a:gd name="connsiteY12" fmla="*/ 8038 h 10000"/>
                <a:gd name="connsiteX13" fmla="*/ 4945 w 10400"/>
                <a:gd name="connsiteY13" fmla="*/ 8699 h 10000"/>
                <a:gd name="connsiteX14" fmla="*/ 7817 w 10400"/>
                <a:gd name="connsiteY14" fmla="*/ 6975 h 10000"/>
                <a:gd name="connsiteX15" fmla="*/ 7133 w 10400"/>
                <a:gd name="connsiteY15" fmla="*/ 9212 h 10000"/>
                <a:gd name="connsiteX16" fmla="*/ 8551 w 10400"/>
                <a:gd name="connsiteY16" fmla="*/ 10000 h 10000"/>
                <a:gd name="connsiteX17" fmla="*/ 9036 w 10400"/>
                <a:gd name="connsiteY17" fmla="*/ 9360 h 10000"/>
                <a:gd name="connsiteX18" fmla="*/ 9945 w 10400"/>
                <a:gd name="connsiteY18" fmla="*/ 7379 h 10000"/>
                <a:gd name="connsiteX19" fmla="*/ 10400 w 10400"/>
                <a:gd name="connsiteY19" fmla="*/ 7379 h 10000"/>
                <a:gd name="connsiteX20" fmla="*/ 9939 w 10400"/>
                <a:gd name="connsiteY20" fmla="*/ 3714 h 10000"/>
                <a:gd name="connsiteX21" fmla="*/ 8951 w 10400"/>
                <a:gd name="connsiteY21" fmla="*/ 1791 h 10000"/>
                <a:gd name="connsiteX22" fmla="*/ 7569 w 10400"/>
                <a:gd name="connsiteY22" fmla="*/ 2768 h 10000"/>
                <a:gd name="connsiteX23" fmla="*/ 6176 w 10400"/>
                <a:gd name="connsiteY23" fmla="*/ 1021 h 10000"/>
                <a:gd name="connsiteX24" fmla="*/ 6702 w 10400"/>
                <a:gd name="connsiteY24" fmla="*/ 3812 h 10000"/>
                <a:gd name="connsiteX0" fmla="*/ 5847 w 9545"/>
                <a:gd name="connsiteY0" fmla="*/ 2791 h 8979"/>
                <a:gd name="connsiteX1" fmla="*/ 4321 w 9545"/>
                <a:gd name="connsiteY1" fmla="*/ 2578 h 8979"/>
                <a:gd name="connsiteX2" fmla="*/ 4211 w 9545"/>
                <a:gd name="connsiteY2" fmla="*/ 4473 h 8979"/>
                <a:gd name="connsiteX3" fmla="*/ 0 w 9545"/>
                <a:gd name="connsiteY3" fmla="*/ 961 h 8979"/>
                <a:gd name="connsiteX4" fmla="*/ 224 w 9545"/>
                <a:gd name="connsiteY4" fmla="*/ 3097 h 8979"/>
                <a:gd name="connsiteX5" fmla="*/ 0 w 9545"/>
                <a:gd name="connsiteY5" fmla="*/ 4375 h 8979"/>
                <a:gd name="connsiteX6" fmla="*/ 454 w 9545"/>
                <a:gd name="connsiteY6" fmla="*/ 5697 h 8979"/>
                <a:gd name="connsiteX7" fmla="*/ 1143 w 9545"/>
                <a:gd name="connsiteY7" fmla="*/ 7386 h 8979"/>
                <a:gd name="connsiteX8" fmla="*/ 3655 w 9545"/>
                <a:gd name="connsiteY8" fmla="*/ 6158 h 8979"/>
                <a:gd name="connsiteX9" fmla="*/ 3993 w 9545"/>
                <a:gd name="connsiteY9" fmla="*/ 6609 h 8979"/>
                <a:gd name="connsiteX10" fmla="*/ 4555 w 9545"/>
                <a:gd name="connsiteY10" fmla="*/ 6619 h 8979"/>
                <a:gd name="connsiteX11" fmla="*/ 4545 w 9545"/>
                <a:gd name="connsiteY11" fmla="*/ 7017 h 8979"/>
                <a:gd name="connsiteX12" fmla="*/ 4090 w 9545"/>
                <a:gd name="connsiteY12" fmla="*/ 7678 h 8979"/>
                <a:gd name="connsiteX13" fmla="*/ 6962 w 9545"/>
                <a:gd name="connsiteY13" fmla="*/ 5954 h 8979"/>
                <a:gd name="connsiteX14" fmla="*/ 6278 w 9545"/>
                <a:gd name="connsiteY14" fmla="*/ 8191 h 8979"/>
                <a:gd name="connsiteX15" fmla="*/ 7696 w 9545"/>
                <a:gd name="connsiteY15" fmla="*/ 8979 h 8979"/>
                <a:gd name="connsiteX16" fmla="*/ 8181 w 9545"/>
                <a:gd name="connsiteY16" fmla="*/ 8339 h 8979"/>
                <a:gd name="connsiteX17" fmla="*/ 9090 w 9545"/>
                <a:gd name="connsiteY17" fmla="*/ 6358 h 8979"/>
                <a:gd name="connsiteX18" fmla="*/ 9545 w 9545"/>
                <a:gd name="connsiteY18" fmla="*/ 6358 h 8979"/>
                <a:gd name="connsiteX19" fmla="*/ 9084 w 9545"/>
                <a:gd name="connsiteY19" fmla="*/ 2693 h 8979"/>
                <a:gd name="connsiteX20" fmla="*/ 8096 w 9545"/>
                <a:gd name="connsiteY20" fmla="*/ 770 h 8979"/>
                <a:gd name="connsiteX21" fmla="*/ 6714 w 9545"/>
                <a:gd name="connsiteY21" fmla="*/ 1747 h 8979"/>
                <a:gd name="connsiteX22" fmla="*/ 5321 w 9545"/>
                <a:gd name="connsiteY22" fmla="*/ 0 h 8979"/>
                <a:gd name="connsiteX23" fmla="*/ 5847 w 9545"/>
                <a:gd name="connsiteY23" fmla="*/ 2791 h 8979"/>
                <a:gd name="connsiteX0" fmla="*/ 6126 w 10000"/>
                <a:gd name="connsiteY0" fmla="*/ 3108 h 10000"/>
                <a:gd name="connsiteX1" fmla="*/ 4527 w 10000"/>
                <a:gd name="connsiteY1" fmla="*/ 2871 h 10000"/>
                <a:gd name="connsiteX2" fmla="*/ 4412 w 10000"/>
                <a:gd name="connsiteY2" fmla="*/ 4982 h 10000"/>
                <a:gd name="connsiteX3" fmla="*/ 235 w 10000"/>
                <a:gd name="connsiteY3" fmla="*/ 3449 h 10000"/>
                <a:gd name="connsiteX4" fmla="*/ 0 w 10000"/>
                <a:gd name="connsiteY4" fmla="*/ 4872 h 10000"/>
                <a:gd name="connsiteX5" fmla="*/ 476 w 10000"/>
                <a:gd name="connsiteY5" fmla="*/ 6345 h 10000"/>
                <a:gd name="connsiteX6" fmla="*/ 1197 w 10000"/>
                <a:gd name="connsiteY6" fmla="*/ 8226 h 10000"/>
                <a:gd name="connsiteX7" fmla="*/ 3829 w 10000"/>
                <a:gd name="connsiteY7" fmla="*/ 6858 h 10000"/>
                <a:gd name="connsiteX8" fmla="*/ 4183 w 10000"/>
                <a:gd name="connsiteY8" fmla="*/ 7361 h 10000"/>
                <a:gd name="connsiteX9" fmla="*/ 4772 w 10000"/>
                <a:gd name="connsiteY9" fmla="*/ 7372 h 10000"/>
                <a:gd name="connsiteX10" fmla="*/ 4762 w 10000"/>
                <a:gd name="connsiteY10" fmla="*/ 7815 h 10000"/>
                <a:gd name="connsiteX11" fmla="*/ 4285 w 10000"/>
                <a:gd name="connsiteY11" fmla="*/ 8551 h 10000"/>
                <a:gd name="connsiteX12" fmla="*/ 7294 w 10000"/>
                <a:gd name="connsiteY12" fmla="*/ 6631 h 10000"/>
                <a:gd name="connsiteX13" fmla="*/ 6577 w 10000"/>
                <a:gd name="connsiteY13" fmla="*/ 9122 h 10000"/>
                <a:gd name="connsiteX14" fmla="*/ 8063 w 10000"/>
                <a:gd name="connsiteY14" fmla="*/ 10000 h 10000"/>
                <a:gd name="connsiteX15" fmla="*/ 8571 w 10000"/>
                <a:gd name="connsiteY15" fmla="*/ 9287 h 10000"/>
                <a:gd name="connsiteX16" fmla="*/ 9523 w 10000"/>
                <a:gd name="connsiteY16" fmla="*/ 7081 h 10000"/>
                <a:gd name="connsiteX17" fmla="*/ 10000 w 10000"/>
                <a:gd name="connsiteY17" fmla="*/ 7081 h 10000"/>
                <a:gd name="connsiteX18" fmla="*/ 9517 w 10000"/>
                <a:gd name="connsiteY18" fmla="*/ 2999 h 10000"/>
                <a:gd name="connsiteX19" fmla="*/ 8482 w 10000"/>
                <a:gd name="connsiteY19" fmla="*/ 858 h 10000"/>
                <a:gd name="connsiteX20" fmla="*/ 7034 w 10000"/>
                <a:gd name="connsiteY20" fmla="*/ 1946 h 10000"/>
                <a:gd name="connsiteX21" fmla="*/ 5575 w 10000"/>
                <a:gd name="connsiteY21" fmla="*/ 0 h 10000"/>
                <a:gd name="connsiteX22" fmla="*/ 6126 w 10000"/>
                <a:gd name="connsiteY22" fmla="*/ 3108 h 10000"/>
                <a:gd name="connsiteX0" fmla="*/ 6126 w 10000"/>
                <a:gd name="connsiteY0" fmla="*/ 3108 h 10000"/>
                <a:gd name="connsiteX1" fmla="*/ 4527 w 10000"/>
                <a:gd name="connsiteY1" fmla="*/ 2871 h 10000"/>
                <a:gd name="connsiteX2" fmla="*/ 4412 w 10000"/>
                <a:gd name="connsiteY2" fmla="*/ 4982 h 10000"/>
                <a:gd name="connsiteX3" fmla="*/ 0 w 10000"/>
                <a:gd name="connsiteY3" fmla="*/ 4872 h 10000"/>
                <a:gd name="connsiteX4" fmla="*/ 476 w 10000"/>
                <a:gd name="connsiteY4" fmla="*/ 6345 h 10000"/>
                <a:gd name="connsiteX5" fmla="*/ 1197 w 10000"/>
                <a:gd name="connsiteY5" fmla="*/ 8226 h 10000"/>
                <a:gd name="connsiteX6" fmla="*/ 3829 w 10000"/>
                <a:gd name="connsiteY6" fmla="*/ 6858 h 10000"/>
                <a:gd name="connsiteX7" fmla="*/ 4183 w 10000"/>
                <a:gd name="connsiteY7" fmla="*/ 7361 h 10000"/>
                <a:gd name="connsiteX8" fmla="*/ 4772 w 10000"/>
                <a:gd name="connsiteY8" fmla="*/ 7372 h 10000"/>
                <a:gd name="connsiteX9" fmla="*/ 4762 w 10000"/>
                <a:gd name="connsiteY9" fmla="*/ 7815 h 10000"/>
                <a:gd name="connsiteX10" fmla="*/ 4285 w 10000"/>
                <a:gd name="connsiteY10" fmla="*/ 8551 h 10000"/>
                <a:gd name="connsiteX11" fmla="*/ 7294 w 10000"/>
                <a:gd name="connsiteY11" fmla="*/ 6631 h 10000"/>
                <a:gd name="connsiteX12" fmla="*/ 6577 w 10000"/>
                <a:gd name="connsiteY12" fmla="*/ 9122 h 10000"/>
                <a:gd name="connsiteX13" fmla="*/ 8063 w 10000"/>
                <a:gd name="connsiteY13" fmla="*/ 10000 h 10000"/>
                <a:gd name="connsiteX14" fmla="*/ 8571 w 10000"/>
                <a:gd name="connsiteY14" fmla="*/ 9287 h 10000"/>
                <a:gd name="connsiteX15" fmla="*/ 9523 w 10000"/>
                <a:gd name="connsiteY15" fmla="*/ 7081 h 10000"/>
                <a:gd name="connsiteX16" fmla="*/ 10000 w 10000"/>
                <a:gd name="connsiteY16" fmla="*/ 7081 h 10000"/>
                <a:gd name="connsiteX17" fmla="*/ 9517 w 10000"/>
                <a:gd name="connsiteY17" fmla="*/ 2999 h 10000"/>
                <a:gd name="connsiteX18" fmla="*/ 8482 w 10000"/>
                <a:gd name="connsiteY18" fmla="*/ 858 h 10000"/>
                <a:gd name="connsiteX19" fmla="*/ 7034 w 10000"/>
                <a:gd name="connsiteY19" fmla="*/ 1946 h 10000"/>
                <a:gd name="connsiteX20" fmla="*/ 5575 w 10000"/>
                <a:gd name="connsiteY20" fmla="*/ 0 h 10000"/>
                <a:gd name="connsiteX21" fmla="*/ 6126 w 10000"/>
                <a:gd name="connsiteY21" fmla="*/ 3108 h 10000"/>
                <a:gd name="connsiteX0" fmla="*/ 5650 w 9524"/>
                <a:gd name="connsiteY0" fmla="*/ 3108 h 10000"/>
                <a:gd name="connsiteX1" fmla="*/ 4051 w 9524"/>
                <a:gd name="connsiteY1" fmla="*/ 2871 h 10000"/>
                <a:gd name="connsiteX2" fmla="*/ 3936 w 9524"/>
                <a:gd name="connsiteY2" fmla="*/ 4982 h 10000"/>
                <a:gd name="connsiteX3" fmla="*/ 0 w 9524"/>
                <a:gd name="connsiteY3" fmla="*/ 6345 h 10000"/>
                <a:gd name="connsiteX4" fmla="*/ 721 w 9524"/>
                <a:gd name="connsiteY4" fmla="*/ 8226 h 10000"/>
                <a:gd name="connsiteX5" fmla="*/ 3353 w 9524"/>
                <a:gd name="connsiteY5" fmla="*/ 6858 h 10000"/>
                <a:gd name="connsiteX6" fmla="*/ 3707 w 9524"/>
                <a:gd name="connsiteY6" fmla="*/ 7361 h 10000"/>
                <a:gd name="connsiteX7" fmla="*/ 4296 w 9524"/>
                <a:gd name="connsiteY7" fmla="*/ 7372 h 10000"/>
                <a:gd name="connsiteX8" fmla="*/ 4286 w 9524"/>
                <a:gd name="connsiteY8" fmla="*/ 7815 h 10000"/>
                <a:gd name="connsiteX9" fmla="*/ 3809 w 9524"/>
                <a:gd name="connsiteY9" fmla="*/ 8551 h 10000"/>
                <a:gd name="connsiteX10" fmla="*/ 6818 w 9524"/>
                <a:gd name="connsiteY10" fmla="*/ 6631 h 10000"/>
                <a:gd name="connsiteX11" fmla="*/ 6101 w 9524"/>
                <a:gd name="connsiteY11" fmla="*/ 9122 h 10000"/>
                <a:gd name="connsiteX12" fmla="*/ 7587 w 9524"/>
                <a:gd name="connsiteY12" fmla="*/ 10000 h 10000"/>
                <a:gd name="connsiteX13" fmla="*/ 8095 w 9524"/>
                <a:gd name="connsiteY13" fmla="*/ 9287 h 10000"/>
                <a:gd name="connsiteX14" fmla="*/ 9047 w 9524"/>
                <a:gd name="connsiteY14" fmla="*/ 7081 h 10000"/>
                <a:gd name="connsiteX15" fmla="*/ 9524 w 9524"/>
                <a:gd name="connsiteY15" fmla="*/ 7081 h 10000"/>
                <a:gd name="connsiteX16" fmla="*/ 9041 w 9524"/>
                <a:gd name="connsiteY16" fmla="*/ 2999 h 10000"/>
                <a:gd name="connsiteX17" fmla="*/ 8006 w 9524"/>
                <a:gd name="connsiteY17" fmla="*/ 858 h 10000"/>
                <a:gd name="connsiteX18" fmla="*/ 6558 w 9524"/>
                <a:gd name="connsiteY18" fmla="*/ 1946 h 10000"/>
                <a:gd name="connsiteX19" fmla="*/ 5099 w 9524"/>
                <a:gd name="connsiteY19" fmla="*/ 0 h 10000"/>
                <a:gd name="connsiteX20" fmla="*/ 5650 w 9524"/>
                <a:gd name="connsiteY20" fmla="*/ 3108 h 10000"/>
                <a:gd name="connsiteX0" fmla="*/ 5175 w 9243"/>
                <a:gd name="connsiteY0" fmla="*/ 3108 h 10000"/>
                <a:gd name="connsiteX1" fmla="*/ 3496 w 9243"/>
                <a:gd name="connsiteY1" fmla="*/ 2871 h 10000"/>
                <a:gd name="connsiteX2" fmla="*/ 3376 w 9243"/>
                <a:gd name="connsiteY2" fmla="*/ 4982 h 10000"/>
                <a:gd name="connsiteX3" fmla="*/ 0 w 9243"/>
                <a:gd name="connsiteY3" fmla="*/ 8226 h 10000"/>
                <a:gd name="connsiteX4" fmla="*/ 2764 w 9243"/>
                <a:gd name="connsiteY4" fmla="*/ 6858 h 10000"/>
                <a:gd name="connsiteX5" fmla="*/ 3135 w 9243"/>
                <a:gd name="connsiteY5" fmla="*/ 7361 h 10000"/>
                <a:gd name="connsiteX6" fmla="*/ 3754 w 9243"/>
                <a:gd name="connsiteY6" fmla="*/ 7372 h 10000"/>
                <a:gd name="connsiteX7" fmla="*/ 3743 w 9243"/>
                <a:gd name="connsiteY7" fmla="*/ 7815 h 10000"/>
                <a:gd name="connsiteX8" fmla="*/ 3242 w 9243"/>
                <a:gd name="connsiteY8" fmla="*/ 8551 h 10000"/>
                <a:gd name="connsiteX9" fmla="*/ 6402 w 9243"/>
                <a:gd name="connsiteY9" fmla="*/ 6631 h 10000"/>
                <a:gd name="connsiteX10" fmla="*/ 5649 w 9243"/>
                <a:gd name="connsiteY10" fmla="*/ 9122 h 10000"/>
                <a:gd name="connsiteX11" fmla="*/ 7209 w 9243"/>
                <a:gd name="connsiteY11" fmla="*/ 10000 h 10000"/>
                <a:gd name="connsiteX12" fmla="*/ 7743 w 9243"/>
                <a:gd name="connsiteY12" fmla="*/ 9287 h 10000"/>
                <a:gd name="connsiteX13" fmla="*/ 8742 w 9243"/>
                <a:gd name="connsiteY13" fmla="*/ 7081 h 10000"/>
                <a:gd name="connsiteX14" fmla="*/ 9243 w 9243"/>
                <a:gd name="connsiteY14" fmla="*/ 7081 h 10000"/>
                <a:gd name="connsiteX15" fmla="*/ 8736 w 9243"/>
                <a:gd name="connsiteY15" fmla="*/ 2999 h 10000"/>
                <a:gd name="connsiteX16" fmla="*/ 7649 w 9243"/>
                <a:gd name="connsiteY16" fmla="*/ 858 h 10000"/>
                <a:gd name="connsiteX17" fmla="*/ 6129 w 9243"/>
                <a:gd name="connsiteY17" fmla="*/ 1946 h 10000"/>
                <a:gd name="connsiteX18" fmla="*/ 4597 w 9243"/>
                <a:gd name="connsiteY18" fmla="*/ 0 h 10000"/>
                <a:gd name="connsiteX19" fmla="*/ 5175 w 9243"/>
                <a:gd name="connsiteY19" fmla="*/ 3108 h 10000"/>
                <a:gd name="connsiteX0" fmla="*/ 2609 w 7010"/>
                <a:gd name="connsiteY0" fmla="*/ 3108 h 10000"/>
                <a:gd name="connsiteX1" fmla="*/ 792 w 7010"/>
                <a:gd name="connsiteY1" fmla="*/ 2871 h 10000"/>
                <a:gd name="connsiteX2" fmla="*/ 662 w 7010"/>
                <a:gd name="connsiteY2" fmla="*/ 4982 h 10000"/>
                <a:gd name="connsiteX3" fmla="*/ 0 w 7010"/>
                <a:gd name="connsiteY3" fmla="*/ 6858 h 10000"/>
                <a:gd name="connsiteX4" fmla="*/ 402 w 7010"/>
                <a:gd name="connsiteY4" fmla="*/ 7361 h 10000"/>
                <a:gd name="connsiteX5" fmla="*/ 1071 w 7010"/>
                <a:gd name="connsiteY5" fmla="*/ 7372 h 10000"/>
                <a:gd name="connsiteX6" fmla="*/ 1060 w 7010"/>
                <a:gd name="connsiteY6" fmla="*/ 7815 h 10000"/>
                <a:gd name="connsiteX7" fmla="*/ 518 w 7010"/>
                <a:gd name="connsiteY7" fmla="*/ 8551 h 10000"/>
                <a:gd name="connsiteX8" fmla="*/ 3936 w 7010"/>
                <a:gd name="connsiteY8" fmla="*/ 6631 h 10000"/>
                <a:gd name="connsiteX9" fmla="*/ 3122 w 7010"/>
                <a:gd name="connsiteY9" fmla="*/ 9122 h 10000"/>
                <a:gd name="connsiteX10" fmla="*/ 4809 w 7010"/>
                <a:gd name="connsiteY10" fmla="*/ 10000 h 10000"/>
                <a:gd name="connsiteX11" fmla="*/ 5387 w 7010"/>
                <a:gd name="connsiteY11" fmla="*/ 9287 h 10000"/>
                <a:gd name="connsiteX12" fmla="*/ 6468 w 7010"/>
                <a:gd name="connsiteY12" fmla="*/ 7081 h 10000"/>
                <a:gd name="connsiteX13" fmla="*/ 7010 w 7010"/>
                <a:gd name="connsiteY13" fmla="*/ 7081 h 10000"/>
                <a:gd name="connsiteX14" fmla="*/ 6461 w 7010"/>
                <a:gd name="connsiteY14" fmla="*/ 2999 h 10000"/>
                <a:gd name="connsiteX15" fmla="*/ 5285 w 7010"/>
                <a:gd name="connsiteY15" fmla="*/ 858 h 10000"/>
                <a:gd name="connsiteX16" fmla="*/ 3641 w 7010"/>
                <a:gd name="connsiteY16" fmla="*/ 1946 h 10000"/>
                <a:gd name="connsiteX17" fmla="*/ 1983 w 7010"/>
                <a:gd name="connsiteY17" fmla="*/ 0 h 10000"/>
                <a:gd name="connsiteX18" fmla="*/ 2609 w 7010"/>
                <a:gd name="connsiteY18" fmla="*/ 3108 h 10000"/>
                <a:gd name="connsiteX0" fmla="*/ 3722 w 10000"/>
                <a:gd name="connsiteY0" fmla="*/ 3108 h 11186"/>
                <a:gd name="connsiteX1" fmla="*/ 1130 w 10000"/>
                <a:gd name="connsiteY1" fmla="*/ 2871 h 11186"/>
                <a:gd name="connsiteX2" fmla="*/ 944 w 10000"/>
                <a:gd name="connsiteY2" fmla="*/ 4982 h 11186"/>
                <a:gd name="connsiteX3" fmla="*/ 0 w 10000"/>
                <a:gd name="connsiteY3" fmla="*/ 6858 h 11186"/>
                <a:gd name="connsiteX4" fmla="*/ 573 w 10000"/>
                <a:gd name="connsiteY4" fmla="*/ 7361 h 11186"/>
                <a:gd name="connsiteX5" fmla="*/ 1528 w 10000"/>
                <a:gd name="connsiteY5" fmla="*/ 7372 h 11186"/>
                <a:gd name="connsiteX6" fmla="*/ 1512 w 10000"/>
                <a:gd name="connsiteY6" fmla="*/ 7815 h 11186"/>
                <a:gd name="connsiteX7" fmla="*/ 739 w 10000"/>
                <a:gd name="connsiteY7" fmla="*/ 8551 h 11186"/>
                <a:gd name="connsiteX8" fmla="*/ 5615 w 10000"/>
                <a:gd name="connsiteY8" fmla="*/ 6631 h 11186"/>
                <a:gd name="connsiteX9" fmla="*/ 4454 w 10000"/>
                <a:gd name="connsiteY9" fmla="*/ 9122 h 11186"/>
                <a:gd name="connsiteX10" fmla="*/ 6860 w 10000"/>
                <a:gd name="connsiteY10" fmla="*/ 11186 h 11186"/>
                <a:gd name="connsiteX11" fmla="*/ 7685 w 10000"/>
                <a:gd name="connsiteY11" fmla="*/ 9287 h 11186"/>
                <a:gd name="connsiteX12" fmla="*/ 9227 w 10000"/>
                <a:gd name="connsiteY12" fmla="*/ 7081 h 11186"/>
                <a:gd name="connsiteX13" fmla="*/ 10000 w 10000"/>
                <a:gd name="connsiteY13" fmla="*/ 7081 h 11186"/>
                <a:gd name="connsiteX14" fmla="*/ 9217 w 10000"/>
                <a:gd name="connsiteY14" fmla="*/ 2999 h 11186"/>
                <a:gd name="connsiteX15" fmla="*/ 7539 w 10000"/>
                <a:gd name="connsiteY15" fmla="*/ 858 h 11186"/>
                <a:gd name="connsiteX16" fmla="*/ 5194 w 10000"/>
                <a:gd name="connsiteY16" fmla="*/ 1946 h 11186"/>
                <a:gd name="connsiteX17" fmla="*/ 2829 w 10000"/>
                <a:gd name="connsiteY17" fmla="*/ 0 h 11186"/>
                <a:gd name="connsiteX18" fmla="*/ 3722 w 10000"/>
                <a:gd name="connsiteY18" fmla="*/ 3108 h 11186"/>
                <a:gd name="connsiteX0" fmla="*/ 3722 w 10000"/>
                <a:gd name="connsiteY0" fmla="*/ 3108 h 11186"/>
                <a:gd name="connsiteX1" fmla="*/ 1130 w 10000"/>
                <a:gd name="connsiteY1" fmla="*/ 2871 h 11186"/>
                <a:gd name="connsiteX2" fmla="*/ 944 w 10000"/>
                <a:gd name="connsiteY2" fmla="*/ 4982 h 11186"/>
                <a:gd name="connsiteX3" fmla="*/ 0 w 10000"/>
                <a:gd name="connsiteY3" fmla="*/ 6858 h 11186"/>
                <a:gd name="connsiteX4" fmla="*/ 573 w 10000"/>
                <a:gd name="connsiteY4" fmla="*/ 7361 h 11186"/>
                <a:gd name="connsiteX5" fmla="*/ 1528 w 10000"/>
                <a:gd name="connsiteY5" fmla="*/ 7372 h 11186"/>
                <a:gd name="connsiteX6" fmla="*/ 1512 w 10000"/>
                <a:gd name="connsiteY6" fmla="*/ 7815 h 11186"/>
                <a:gd name="connsiteX7" fmla="*/ 739 w 10000"/>
                <a:gd name="connsiteY7" fmla="*/ 8551 h 11186"/>
                <a:gd name="connsiteX8" fmla="*/ 5615 w 10000"/>
                <a:gd name="connsiteY8" fmla="*/ 6631 h 11186"/>
                <a:gd name="connsiteX9" fmla="*/ 5133 w 10000"/>
                <a:gd name="connsiteY9" fmla="*/ 9359 h 11186"/>
                <a:gd name="connsiteX10" fmla="*/ 6860 w 10000"/>
                <a:gd name="connsiteY10" fmla="*/ 11186 h 11186"/>
                <a:gd name="connsiteX11" fmla="*/ 7685 w 10000"/>
                <a:gd name="connsiteY11" fmla="*/ 9287 h 11186"/>
                <a:gd name="connsiteX12" fmla="*/ 9227 w 10000"/>
                <a:gd name="connsiteY12" fmla="*/ 7081 h 11186"/>
                <a:gd name="connsiteX13" fmla="*/ 10000 w 10000"/>
                <a:gd name="connsiteY13" fmla="*/ 7081 h 11186"/>
                <a:gd name="connsiteX14" fmla="*/ 9217 w 10000"/>
                <a:gd name="connsiteY14" fmla="*/ 2999 h 11186"/>
                <a:gd name="connsiteX15" fmla="*/ 7539 w 10000"/>
                <a:gd name="connsiteY15" fmla="*/ 858 h 11186"/>
                <a:gd name="connsiteX16" fmla="*/ 5194 w 10000"/>
                <a:gd name="connsiteY16" fmla="*/ 1946 h 11186"/>
                <a:gd name="connsiteX17" fmla="*/ 2829 w 10000"/>
                <a:gd name="connsiteY17" fmla="*/ 0 h 11186"/>
                <a:gd name="connsiteX18" fmla="*/ 3722 w 10000"/>
                <a:gd name="connsiteY18" fmla="*/ 3108 h 11186"/>
                <a:gd name="connsiteX0" fmla="*/ 3722 w 10000"/>
                <a:gd name="connsiteY0" fmla="*/ 3108 h 11186"/>
                <a:gd name="connsiteX1" fmla="*/ 1130 w 10000"/>
                <a:gd name="connsiteY1" fmla="*/ 2871 h 11186"/>
                <a:gd name="connsiteX2" fmla="*/ 944 w 10000"/>
                <a:gd name="connsiteY2" fmla="*/ 4982 h 11186"/>
                <a:gd name="connsiteX3" fmla="*/ 0 w 10000"/>
                <a:gd name="connsiteY3" fmla="*/ 6858 h 11186"/>
                <a:gd name="connsiteX4" fmla="*/ 573 w 10000"/>
                <a:gd name="connsiteY4" fmla="*/ 7361 h 11186"/>
                <a:gd name="connsiteX5" fmla="*/ 1528 w 10000"/>
                <a:gd name="connsiteY5" fmla="*/ 7372 h 11186"/>
                <a:gd name="connsiteX6" fmla="*/ 1512 w 10000"/>
                <a:gd name="connsiteY6" fmla="*/ 7815 h 11186"/>
                <a:gd name="connsiteX7" fmla="*/ 739 w 10000"/>
                <a:gd name="connsiteY7" fmla="*/ 8551 h 11186"/>
                <a:gd name="connsiteX8" fmla="*/ 6747 w 10000"/>
                <a:gd name="connsiteY8" fmla="*/ 6868 h 11186"/>
                <a:gd name="connsiteX9" fmla="*/ 5133 w 10000"/>
                <a:gd name="connsiteY9" fmla="*/ 9359 h 11186"/>
                <a:gd name="connsiteX10" fmla="*/ 6860 w 10000"/>
                <a:gd name="connsiteY10" fmla="*/ 11186 h 11186"/>
                <a:gd name="connsiteX11" fmla="*/ 7685 w 10000"/>
                <a:gd name="connsiteY11" fmla="*/ 9287 h 11186"/>
                <a:gd name="connsiteX12" fmla="*/ 9227 w 10000"/>
                <a:gd name="connsiteY12" fmla="*/ 7081 h 11186"/>
                <a:gd name="connsiteX13" fmla="*/ 10000 w 10000"/>
                <a:gd name="connsiteY13" fmla="*/ 7081 h 11186"/>
                <a:gd name="connsiteX14" fmla="*/ 9217 w 10000"/>
                <a:gd name="connsiteY14" fmla="*/ 2999 h 11186"/>
                <a:gd name="connsiteX15" fmla="*/ 7539 w 10000"/>
                <a:gd name="connsiteY15" fmla="*/ 858 h 11186"/>
                <a:gd name="connsiteX16" fmla="*/ 5194 w 10000"/>
                <a:gd name="connsiteY16" fmla="*/ 1946 h 11186"/>
                <a:gd name="connsiteX17" fmla="*/ 2829 w 10000"/>
                <a:gd name="connsiteY17" fmla="*/ 0 h 11186"/>
                <a:gd name="connsiteX18" fmla="*/ 3722 w 10000"/>
                <a:gd name="connsiteY18" fmla="*/ 3108 h 11186"/>
                <a:gd name="connsiteX0" fmla="*/ 3722 w 10000"/>
                <a:gd name="connsiteY0" fmla="*/ 3108 h 11186"/>
                <a:gd name="connsiteX1" fmla="*/ 1130 w 10000"/>
                <a:gd name="connsiteY1" fmla="*/ 2871 h 11186"/>
                <a:gd name="connsiteX2" fmla="*/ 944 w 10000"/>
                <a:gd name="connsiteY2" fmla="*/ 4982 h 11186"/>
                <a:gd name="connsiteX3" fmla="*/ 0 w 10000"/>
                <a:gd name="connsiteY3" fmla="*/ 6858 h 11186"/>
                <a:gd name="connsiteX4" fmla="*/ 573 w 10000"/>
                <a:gd name="connsiteY4" fmla="*/ 7361 h 11186"/>
                <a:gd name="connsiteX5" fmla="*/ 1528 w 10000"/>
                <a:gd name="connsiteY5" fmla="*/ 7372 h 11186"/>
                <a:gd name="connsiteX6" fmla="*/ 1512 w 10000"/>
                <a:gd name="connsiteY6" fmla="*/ 7815 h 11186"/>
                <a:gd name="connsiteX7" fmla="*/ 3908 w 10000"/>
                <a:gd name="connsiteY7" fmla="*/ 6891 h 11186"/>
                <a:gd name="connsiteX8" fmla="*/ 6747 w 10000"/>
                <a:gd name="connsiteY8" fmla="*/ 6868 h 11186"/>
                <a:gd name="connsiteX9" fmla="*/ 5133 w 10000"/>
                <a:gd name="connsiteY9" fmla="*/ 9359 h 11186"/>
                <a:gd name="connsiteX10" fmla="*/ 6860 w 10000"/>
                <a:gd name="connsiteY10" fmla="*/ 11186 h 11186"/>
                <a:gd name="connsiteX11" fmla="*/ 7685 w 10000"/>
                <a:gd name="connsiteY11" fmla="*/ 9287 h 11186"/>
                <a:gd name="connsiteX12" fmla="*/ 9227 w 10000"/>
                <a:gd name="connsiteY12" fmla="*/ 7081 h 11186"/>
                <a:gd name="connsiteX13" fmla="*/ 10000 w 10000"/>
                <a:gd name="connsiteY13" fmla="*/ 7081 h 11186"/>
                <a:gd name="connsiteX14" fmla="*/ 9217 w 10000"/>
                <a:gd name="connsiteY14" fmla="*/ 2999 h 11186"/>
                <a:gd name="connsiteX15" fmla="*/ 7539 w 10000"/>
                <a:gd name="connsiteY15" fmla="*/ 858 h 11186"/>
                <a:gd name="connsiteX16" fmla="*/ 5194 w 10000"/>
                <a:gd name="connsiteY16" fmla="*/ 1946 h 11186"/>
                <a:gd name="connsiteX17" fmla="*/ 2829 w 10000"/>
                <a:gd name="connsiteY17" fmla="*/ 0 h 11186"/>
                <a:gd name="connsiteX18" fmla="*/ 3722 w 10000"/>
                <a:gd name="connsiteY18" fmla="*/ 3108 h 11186"/>
                <a:gd name="connsiteX0" fmla="*/ 3722 w 10000"/>
                <a:gd name="connsiteY0" fmla="*/ 3108 h 11186"/>
                <a:gd name="connsiteX1" fmla="*/ 1130 w 10000"/>
                <a:gd name="connsiteY1" fmla="*/ 2871 h 11186"/>
                <a:gd name="connsiteX2" fmla="*/ 944 w 10000"/>
                <a:gd name="connsiteY2" fmla="*/ 4982 h 11186"/>
                <a:gd name="connsiteX3" fmla="*/ 0 w 10000"/>
                <a:gd name="connsiteY3" fmla="*/ 6858 h 11186"/>
                <a:gd name="connsiteX4" fmla="*/ 573 w 10000"/>
                <a:gd name="connsiteY4" fmla="*/ 7361 h 11186"/>
                <a:gd name="connsiteX5" fmla="*/ 1528 w 10000"/>
                <a:gd name="connsiteY5" fmla="*/ 7372 h 11186"/>
                <a:gd name="connsiteX6" fmla="*/ 1965 w 10000"/>
                <a:gd name="connsiteY6" fmla="*/ 10661 h 11186"/>
                <a:gd name="connsiteX7" fmla="*/ 3908 w 10000"/>
                <a:gd name="connsiteY7" fmla="*/ 6891 h 11186"/>
                <a:gd name="connsiteX8" fmla="*/ 6747 w 10000"/>
                <a:gd name="connsiteY8" fmla="*/ 6868 h 11186"/>
                <a:gd name="connsiteX9" fmla="*/ 5133 w 10000"/>
                <a:gd name="connsiteY9" fmla="*/ 9359 h 11186"/>
                <a:gd name="connsiteX10" fmla="*/ 6860 w 10000"/>
                <a:gd name="connsiteY10" fmla="*/ 11186 h 11186"/>
                <a:gd name="connsiteX11" fmla="*/ 7685 w 10000"/>
                <a:gd name="connsiteY11" fmla="*/ 9287 h 11186"/>
                <a:gd name="connsiteX12" fmla="*/ 9227 w 10000"/>
                <a:gd name="connsiteY12" fmla="*/ 7081 h 11186"/>
                <a:gd name="connsiteX13" fmla="*/ 10000 w 10000"/>
                <a:gd name="connsiteY13" fmla="*/ 7081 h 11186"/>
                <a:gd name="connsiteX14" fmla="*/ 9217 w 10000"/>
                <a:gd name="connsiteY14" fmla="*/ 2999 h 11186"/>
                <a:gd name="connsiteX15" fmla="*/ 7539 w 10000"/>
                <a:gd name="connsiteY15" fmla="*/ 858 h 11186"/>
                <a:gd name="connsiteX16" fmla="*/ 5194 w 10000"/>
                <a:gd name="connsiteY16" fmla="*/ 1946 h 11186"/>
                <a:gd name="connsiteX17" fmla="*/ 2829 w 10000"/>
                <a:gd name="connsiteY17" fmla="*/ 0 h 11186"/>
                <a:gd name="connsiteX18" fmla="*/ 3722 w 10000"/>
                <a:gd name="connsiteY18" fmla="*/ 3108 h 11186"/>
                <a:gd name="connsiteX0" fmla="*/ 3722 w 10000"/>
                <a:gd name="connsiteY0" fmla="*/ 3108 h 11186"/>
                <a:gd name="connsiteX1" fmla="*/ 1130 w 10000"/>
                <a:gd name="connsiteY1" fmla="*/ 2871 h 11186"/>
                <a:gd name="connsiteX2" fmla="*/ 944 w 10000"/>
                <a:gd name="connsiteY2" fmla="*/ 4982 h 11186"/>
                <a:gd name="connsiteX3" fmla="*/ 0 w 10000"/>
                <a:gd name="connsiteY3" fmla="*/ 6858 h 11186"/>
                <a:gd name="connsiteX4" fmla="*/ 573 w 10000"/>
                <a:gd name="connsiteY4" fmla="*/ 7361 h 11186"/>
                <a:gd name="connsiteX5" fmla="*/ 1528 w 10000"/>
                <a:gd name="connsiteY5" fmla="*/ 7372 h 11186"/>
                <a:gd name="connsiteX6" fmla="*/ 1965 w 10000"/>
                <a:gd name="connsiteY6" fmla="*/ 10661 h 11186"/>
                <a:gd name="connsiteX7" fmla="*/ 3908 w 10000"/>
                <a:gd name="connsiteY7" fmla="*/ 6891 h 11186"/>
                <a:gd name="connsiteX8" fmla="*/ 6747 w 10000"/>
                <a:gd name="connsiteY8" fmla="*/ 6868 h 11186"/>
                <a:gd name="connsiteX9" fmla="*/ 6038 w 10000"/>
                <a:gd name="connsiteY9" fmla="*/ 9359 h 11186"/>
                <a:gd name="connsiteX10" fmla="*/ 6860 w 10000"/>
                <a:gd name="connsiteY10" fmla="*/ 11186 h 11186"/>
                <a:gd name="connsiteX11" fmla="*/ 7685 w 10000"/>
                <a:gd name="connsiteY11" fmla="*/ 9287 h 11186"/>
                <a:gd name="connsiteX12" fmla="*/ 9227 w 10000"/>
                <a:gd name="connsiteY12" fmla="*/ 7081 h 11186"/>
                <a:gd name="connsiteX13" fmla="*/ 10000 w 10000"/>
                <a:gd name="connsiteY13" fmla="*/ 7081 h 11186"/>
                <a:gd name="connsiteX14" fmla="*/ 9217 w 10000"/>
                <a:gd name="connsiteY14" fmla="*/ 2999 h 11186"/>
                <a:gd name="connsiteX15" fmla="*/ 7539 w 10000"/>
                <a:gd name="connsiteY15" fmla="*/ 858 h 11186"/>
                <a:gd name="connsiteX16" fmla="*/ 5194 w 10000"/>
                <a:gd name="connsiteY16" fmla="*/ 1946 h 11186"/>
                <a:gd name="connsiteX17" fmla="*/ 2829 w 10000"/>
                <a:gd name="connsiteY17" fmla="*/ 0 h 11186"/>
                <a:gd name="connsiteX18" fmla="*/ 3722 w 10000"/>
                <a:gd name="connsiteY18" fmla="*/ 3108 h 11186"/>
                <a:gd name="connsiteX0" fmla="*/ 3722 w 10000"/>
                <a:gd name="connsiteY0" fmla="*/ 3108 h 11186"/>
                <a:gd name="connsiteX1" fmla="*/ 1130 w 10000"/>
                <a:gd name="connsiteY1" fmla="*/ 2871 h 11186"/>
                <a:gd name="connsiteX2" fmla="*/ 944 w 10000"/>
                <a:gd name="connsiteY2" fmla="*/ 4982 h 11186"/>
                <a:gd name="connsiteX3" fmla="*/ 0 w 10000"/>
                <a:gd name="connsiteY3" fmla="*/ 6858 h 11186"/>
                <a:gd name="connsiteX4" fmla="*/ 573 w 10000"/>
                <a:gd name="connsiteY4" fmla="*/ 7361 h 11186"/>
                <a:gd name="connsiteX5" fmla="*/ 1528 w 10000"/>
                <a:gd name="connsiteY5" fmla="*/ 7372 h 11186"/>
                <a:gd name="connsiteX6" fmla="*/ 1965 w 10000"/>
                <a:gd name="connsiteY6" fmla="*/ 10661 h 11186"/>
                <a:gd name="connsiteX7" fmla="*/ 3908 w 10000"/>
                <a:gd name="connsiteY7" fmla="*/ 6891 h 11186"/>
                <a:gd name="connsiteX8" fmla="*/ 5842 w 10000"/>
                <a:gd name="connsiteY8" fmla="*/ 8054 h 11186"/>
                <a:gd name="connsiteX9" fmla="*/ 6038 w 10000"/>
                <a:gd name="connsiteY9" fmla="*/ 9359 h 11186"/>
                <a:gd name="connsiteX10" fmla="*/ 6860 w 10000"/>
                <a:gd name="connsiteY10" fmla="*/ 11186 h 11186"/>
                <a:gd name="connsiteX11" fmla="*/ 7685 w 10000"/>
                <a:gd name="connsiteY11" fmla="*/ 9287 h 11186"/>
                <a:gd name="connsiteX12" fmla="*/ 9227 w 10000"/>
                <a:gd name="connsiteY12" fmla="*/ 7081 h 11186"/>
                <a:gd name="connsiteX13" fmla="*/ 10000 w 10000"/>
                <a:gd name="connsiteY13" fmla="*/ 7081 h 11186"/>
                <a:gd name="connsiteX14" fmla="*/ 9217 w 10000"/>
                <a:gd name="connsiteY14" fmla="*/ 2999 h 11186"/>
                <a:gd name="connsiteX15" fmla="*/ 7539 w 10000"/>
                <a:gd name="connsiteY15" fmla="*/ 858 h 11186"/>
                <a:gd name="connsiteX16" fmla="*/ 5194 w 10000"/>
                <a:gd name="connsiteY16" fmla="*/ 1946 h 11186"/>
                <a:gd name="connsiteX17" fmla="*/ 2829 w 10000"/>
                <a:gd name="connsiteY17" fmla="*/ 0 h 11186"/>
                <a:gd name="connsiteX18" fmla="*/ 3722 w 10000"/>
                <a:gd name="connsiteY18" fmla="*/ 3108 h 11186"/>
                <a:gd name="connsiteX0" fmla="*/ 3722 w 10000"/>
                <a:gd name="connsiteY0" fmla="*/ 3108 h 11186"/>
                <a:gd name="connsiteX1" fmla="*/ 1130 w 10000"/>
                <a:gd name="connsiteY1" fmla="*/ 2871 h 11186"/>
                <a:gd name="connsiteX2" fmla="*/ 944 w 10000"/>
                <a:gd name="connsiteY2" fmla="*/ 4982 h 11186"/>
                <a:gd name="connsiteX3" fmla="*/ 0 w 10000"/>
                <a:gd name="connsiteY3" fmla="*/ 6858 h 11186"/>
                <a:gd name="connsiteX4" fmla="*/ 573 w 10000"/>
                <a:gd name="connsiteY4" fmla="*/ 7361 h 11186"/>
                <a:gd name="connsiteX5" fmla="*/ 1528 w 10000"/>
                <a:gd name="connsiteY5" fmla="*/ 7372 h 11186"/>
                <a:gd name="connsiteX6" fmla="*/ 1965 w 10000"/>
                <a:gd name="connsiteY6" fmla="*/ 10661 h 11186"/>
                <a:gd name="connsiteX7" fmla="*/ 4134 w 10000"/>
                <a:gd name="connsiteY7" fmla="*/ 9026 h 11186"/>
                <a:gd name="connsiteX8" fmla="*/ 5842 w 10000"/>
                <a:gd name="connsiteY8" fmla="*/ 8054 h 11186"/>
                <a:gd name="connsiteX9" fmla="*/ 6038 w 10000"/>
                <a:gd name="connsiteY9" fmla="*/ 9359 h 11186"/>
                <a:gd name="connsiteX10" fmla="*/ 6860 w 10000"/>
                <a:gd name="connsiteY10" fmla="*/ 11186 h 11186"/>
                <a:gd name="connsiteX11" fmla="*/ 7685 w 10000"/>
                <a:gd name="connsiteY11" fmla="*/ 9287 h 11186"/>
                <a:gd name="connsiteX12" fmla="*/ 9227 w 10000"/>
                <a:gd name="connsiteY12" fmla="*/ 7081 h 11186"/>
                <a:gd name="connsiteX13" fmla="*/ 10000 w 10000"/>
                <a:gd name="connsiteY13" fmla="*/ 7081 h 11186"/>
                <a:gd name="connsiteX14" fmla="*/ 9217 w 10000"/>
                <a:gd name="connsiteY14" fmla="*/ 2999 h 11186"/>
                <a:gd name="connsiteX15" fmla="*/ 7539 w 10000"/>
                <a:gd name="connsiteY15" fmla="*/ 858 h 11186"/>
                <a:gd name="connsiteX16" fmla="*/ 5194 w 10000"/>
                <a:gd name="connsiteY16" fmla="*/ 1946 h 11186"/>
                <a:gd name="connsiteX17" fmla="*/ 2829 w 10000"/>
                <a:gd name="connsiteY17" fmla="*/ 0 h 11186"/>
                <a:gd name="connsiteX18" fmla="*/ 3722 w 10000"/>
                <a:gd name="connsiteY18" fmla="*/ 3108 h 11186"/>
                <a:gd name="connsiteX0" fmla="*/ 3722 w 10000"/>
                <a:gd name="connsiteY0" fmla="*/ 3108 h 11847"/>
                <a:gd name="connsiteX1" fmla="*/ 1130 w 10000"/>
                <a:gd name="connsiteY1" fmla="*/ 2871 h 11847"/>
                <a:gd name="connsiteX2" fmla="*/ 944 w 10000"/>
                <a:gd name="connsiteY2" fmla="*/ 4982 h 11847"/>
                <a:gd name="connsiteX3" fmla="*/ 0 w 10000"/>
                <a:gd name="connsiteY3" fmla="*/ 6858 h 11847"/>
                <a:gd name="connsiteX4" fmla="*/ 573 w 10000"/>
                <a:gd name="connsiteY4" fmla="*/ 7361 h 11847"/>
                <a:gd name="connsiteX5" fmla="*/ 1528 w 10000"/>
                <a:gd name="connsiteY5" fmla="*/ 7372 h 11847"/>
                <a:gd name="connsiteX6" fmla="*/ 2191 w 10000"/>
                <a:gd name="connsiteY6" fmla="*/ 11847 h 11847"/>
                <a:gd name="connsiteX7" fmla="*/ 4134 w 10000"/>
                <a:gd name="connsiteY7" fmla="*/ 9026 h 11847"/>
                <a:gd name="connsiteX8" fmla="*/ 5842 w 10000"/>
                <a:gd name="connsiteY8" fmla="*/ 8054 h 11847"/>
                <a:gd name="connsiteX9" fmla="*/ 6038 w 10000"/>
                <a:gd name="connsiteY9" fmla="*/ 9359 h 11847"/>
                <a:gd name="connsiteX10" fmla="*/ 6860 w 10000"/>
                <a:gd name="connsiteY10" fmla="*/ 11186 h 11847"/>
                <a:gd name="connsiteX11" fmla="*/ 7685 w 10000"/>
                <a:gd name="connsiteY11" fmla="*/ 9287 h 11847"/>
                <a:gd name="connsiteX12" fmla="*/ 9227 w 10000"/>
                <a:gd name="connsiteY12" fmla="*/ 7081 h 11847"/>
                <a:gd name="connsiteX13" fmla="*/ 10000 w 10000"/>
                <a:gd name="connsiteY13" fmla="*/ 7081 h 11847"/>
                <a:gd name="connsiteX14" fmla="*/ 9217 w 10000"/>
                <a:gd name="connsiteY14" fmla="*/ 2999 h 11847"/>
                <a:gd name="connsiteX15" fmla="*/ 7539 w 10000"/>
                <a:gd name="connsiteY15" fmla="*/ 858 h 11847"/>
                <a:gd name="connsiteX16" fmla="*/ 5194 w 10000"/>
                <a:gd name="connsiteY16" fmla="*/ 1946 h 11847"/>
                <a:gd name="connsiteX17" fmla="*/ 2829 w 10000"/>
                <a:gd name="connsiteY17" fmla="*/ 0 h 11847"/>
                <a:gd name="connsiteX18" fmla="*/ 3722 w 10000"/>
                <a:gd name="connsiteY18" fmla="*/ 3108 h 11847"/>
                <a:gd name="connsiteX0" fmla="*/ 3722 w 10000"/>
                <a:gd name="connsiteY0" fmla="*/ 3108 h 11847"/>
                <a:gd name="connsiteX1" fmla="*/ 1130 w 10000"/>
                <a:gd name="connsiteY1" fmla="*/ 2871 h 11847"/>
                <a:gd name="connsiteX2" fmla="*/ 944 w 10000"/>
                <a:gd name="connsiteY2" fmla="*/ 4982 h 11847"/>
                <a:gd name="connsiteX3" fmla="*/ 0 w 10000"/>
                <a:gd name="connsiteY3" fmla="*/ 6858 h 11847"/>
                <a:gd name="connsiteX4" fmla="*/ 573 w 10000"/>
                <a:gd name="connsiteY4" fmla="*/ 7361 h 11847"/>
                <a:gd name="connsiteX5" fmla="*/ 849 w 10000"/>
                <a:gd name="connsiteY5" fmla="*/ 9032 h 11847"/>
                <a:gd name="connsiteX6" fmla="*/ 2191 w 10000"/>
                <a:gd name="connsiteY6" fmla="*/ 11847 h 11847"/>
                <a:gd name="connsiteX7" fmla="*/ 4134 w 10000"/>
                <a:gd name="connsiteY7" fmla="*/ 9026 h 11847"/>
                <a:gd name="connsiteX8" fmla="*/ 5842 w 10000"/>
                <a:gd name="connsiteY8" fmla="*/ 8054 h 11847"/>
                <a:gd name="connsiteX9" fmla="*/ 6038 w 10000"/>
                <a:gd name="connsiteY9" fmla="*/ 9359 h 11847"/>
                <a:gd name="connsiteX10" fmla="*/ 6860 w 10000"/>
                <a:gd name="connsiteY10" fmla="*/ 11186 h 11847"/>
                <a:gd name="connsiteX11" fmla="*/ 7685 w 10000"/>
                <a:gd name="connsiteY11" fmla="*/ 9287 h 11847"/>
                <a:gd name="connsiteX12" fmla="*/ 9227 w 10000"/>
                <a:gd name="connsiteY12" fmla="*/ 7081 h 11847"/>
                <a:gd name="connsiteX13" fmla="*/ 10000 w 10000"/>
                <a:gd name="connsiteY13" fmla="*/ 7081 h 11847"/>
                <a:gd name="connsiteX14" fmla="*/ 9217 w 10000"/>
                <a:gd name="connsiteY14" fmla="*/ 2999 h 11847"/>
                <a:gd name="connsiteX15" fmla="*/ 7539 w 10000"/>
                <a:gd name="connsiteY15" fmla="*/ 858 h 11847"/>
                <a:gd name="connsiteX16" fmla="*/ 5194 w 10000"/>
                <a:gd name="connsiteY16" fmla="*/ 1946 h 11847"/>
                <a:gd name="connsiteX17" fmla="*/ 2829 w 10000"/>
                <a:gd name="connsiteY17" fmla="*/ 0 h 11847"/>
                <a:gd name="connsiteX18" fmla="*/ 3722 w 10000"/>
                <a:gd name="connsiteY18" fmla="*/ 3108 h 11847"/>
                <a:gd name="connsiteX0" fmla="*/ 3722 w 10000"/>
                <a:gd name="connsiteY0" fmla="*/ 3108 h 11186"/>
                <a:gd name="connsiteX1" fmla="*/ 1130 w 10000"/>
                <a:gd name="connsiteY1" fmla="*/ 2871 h 11186"/>
                <a:gd name="connsiteX2" fmla="*/ 944 w 10000"/>
                <a:gd name="connsiteY2" fmla="*/ 4982 h 11186"/>
                <a:gd name="connsiteX3" fmla="*/ 0 w 10000"/>
                <a:gd name="connsiteY3" fmla="*/ 6858 h 11186"/>
                <a:gd name="connsiteX4" fmla="*/ 573 w 10000"/>
                <a:gd name="connsiteY4" fmla="*/ 7361 h 11186"/>
                <a:gd name="connsiteX5" fmla="*/ 849 w 10000"/>
                <a:gd name="connsiteY5" fmla="*/ 9032 h 11186"/>
                <a:gd name="connsiteX6" fmla="*/ 2870 w 10000"/>
                <a:gd name="connsiteY6" fmla="*/ 10898 h 11186"/>
                <a:gd name="connsiteX7" fmla="*/ 4134 w 10000"/>
                <a:gd name="connsiteY7" fmla="*/ 9026 h 11186"/>
                <a:gd name="connsiteX8" fmla="*/ 5842 w 10000"/>
                <a:gd name="connsiteY8" fmla="*/ 8054 h 11186"/>
                <a:gd name="connsiteX9" fmla="*/ 6038 w 10000"/>
                <a:gd name="connsiteY9" fmla="*/ 9359 h 11186"/>
                <a:gd name="connsiteX10" fmla="*/ 6860 w 10000"/>
                <a:gd name="connsiteY10" fmla="*/ 11186 h 11186"/>
                <a:gd name="connsiteX11" fmla="*/ 7685 w 10000"/>
                <a:gd name="connsiteY11" fmla="*/ 9287 h 11186"/>
                <a:gd name="connsiteX12" fmla="*/ 9227 w 10000"/>
                <a:gd name="connsiteY12" fmla="*/ 7081 h 11186"/>
                <a:gd name="connsiteX13" fmla="*/ 10000 w 10000"/>
                <a:gd name="connsiteY13" fmla="*/ 7081 h 11186"/>
                <a:gd name="connsiteX14" fmla="*/ 9217 w 10000"/>
                <a:gd name="connsiteY14" fmla="*/ 2999 h 11186"/>
                <a:gd name="connsiteX15" fmla="*/ 7539 w 10000"/>
                <a:gd name="connsiteY15" fmla="*/ 858 h 11186"/>
                <a:gd name="connsiteX16" fmla="*/ 5194 w 10000"/>
                <a:gd name="connsiteY16" fmla="*/ 1946 h 11186"/>
                <a:gd name="connsiteX17" fmla="*/ 2829 w 10000"/>
                <a:gd name="connsiteY17" fmla="*/ 0 h 11186"/>
                <a:gd name="connsiteX18" fmla="*/ 3722 w 10000"/>
                <a:gd name="connsiteY18" fmla="*/ 3108 h 11186"/>
                <a:gd name="connsiteX0" fmla="*/ 3722 w 10000"/>
                <a:gd name="connsiteY0" fmla="*/ 3108 h 11186"/>
                <a:gd name="connsiteX1" fmla="*/ 1130 w 10000"/>
                <a:gd name="connsiteY1" fmla="*/ 2871 h 11186"/>
                <a:gd name="connsiteX2" fmla="*/ 944 w 10000"/>
                <a:gd name="connsiteY2" fmla="*/ 4982 h 11186"/>
                <a:gd name="connsiteX3" fmla="*/ 0 w 10000"/>
                <a:gd name="connsiteY3" fmla="*/ 6858 h 11186"/>
                <a:gd name="connsiteX4" fmla="*/ 573 w 10000"/>
                <a:gd name="connsiteY4" fmla="*/ 7361 h 11186"/>
                <a:gd name="connsiteX5" fmla="*/ 2870 w 10000"/>
                <a:gd name="connsiteY5" fmla="*/ 10898 h 11186"/>
                <a:gd name="connsiteX6" fmla="*/ 4134 w 10000"/>
                <a:gd name="connsiteY6" fmla="*/ 9026 h 11186"/>
                <a:gd name="connsiteX7" fmla="*/ 5842 w 10000"/>
                <a:gd name="connsiteY7" fmla="*/ 8054 h 11186"/>
                <a:gd name="connsiteX8" fmla="*/ 6038 w 10000"/>
                <a:gd name="connsiteY8" fmla="*/ 9359 h 11186"/>
                <a:gd name="connsiteX9" fmla="*/ 6860 w 10000"/>
                <a:gd name="connsiteY9" fmla="*/ 11186 h 11186"/>
                <a:gd name="connsiteX10" fmla="*/ 7685 w 10000"/>
                <a:gd name="connsiteY10" fmla="*/ 9287 h 11186"/>
                <a:gd name="connsiteX11" fmla="*/ 9227 w 10000"/>
                <a:gd name="connsiteY11" fmla="*/ 7081 h 11186"/>
                <a:gd name="connsiteX12" fmla="*/ 10000 w 10000"/>
                <a:gd name="connsiteY12" fmla="*/ 7081 h 11186"/>
                <a:gd name="connsiteX13" fmla="*/ 9217 w 10000"/>
                <a:gd name="connsiteY13" fmla="*/ 2999 h 11186"/>
                <a:gd name="connsiteX14" fmla="*/ 7539 w 10000"/>
                <a:gd name="connsiteY14" fmla="*/ 858 h 11186"/>
                <a:gd name="connsiteX15" fmla="*/ 5194 w 10000"/>
                <a:gd name="connsiteY15" fmla="*/ 1946 h 11186"/>
                <a:gd name="connsiteX16" fmla="*/ 2829 w 10000"/>
                <a:gd name="connsiteY16" fmla="*/ 0 h 11186"/>
                <a:gd name="connsiteX17" fmla="*/ 3722 w 10000"/>
                <a:gd name="connsiteY17" fmla="*/ 3108 h 11186"/>
                <a:gd name="connsiteX0" fmla="*/ 3722 w 10000"/>
                <a:gd name="connsiteY0" fmla="*/ 3108 h 11186"/>
                <a:gd name="connsiteX1" fmla="*/ 1130 w 10000"/>
                <a:gd name="connsiteY1" fmla="*/ 2871 h 11186"/>
                <a:gd name="connsiteX2" fmla="*/ 944 w 10000"/>
                <a:gd name="connsiteY2" fmla="*/ 4982 h 11186"/>
                <a:gd name="connsiteX3" fmla="*/ 0 w 10000"/>
                <a:gd name="connsiteY3" fmla="*/ 6858 h 11186"/>
                <a:gd name="connsiteX4" fmla="*/ 2870 w 10000"/>
                <a:gd name="connsiteY4" fmla="*/ 10898 h 11186"/>
                <a:gd name="connsiteX5" fmla="*/ 4134 w 10000"/>
                <a:gd name="connsiteY5" fmla="*/ 9026 h 11186"/>
                <a:gd name="connsiteX6" fmla="*/ 5842 w 10000"/>
                <a:gd name="connsiteY6" fmla="*/ 8054 h 11186"/>
                <a:gd name="connsiteX7" fmla="*/ 6038 w 10000"/>
                <a:gd name="connsiteY7" fmla="*/ 9359 h 11186"/>
                <a:gd name="connsiteX8" fmla="*/ 6860 w 10000"/>
                <a:gd name="connsiteY8" fmla="*/ 11186 h 11186"/>
                <a:gd name="connsiteX9" fmla="*/ 7685 w 10000"/>
                <a:gd name="connsiteY9" fmla="*/ 9287 h 11186"/>
                <a:gd name="connsiteX10" fmla="*/ 9227 w 10000"/>
                <a:gd name="connsiteY10" fmla="*/ 7081 h 11186"/>
                <a:gd name="connsiteX11" fmla="*/ 10000 w 10000"/>
                <a:gd name="connsiteY11" fmla="*/ 7081 h 11186"/>
                <a:gd name="connsiteX12" fmla="*/ 9217 w 10000"/>
                <a:gd name="connsiteY12" fmla="*/ 2999 h 11186"/>
                <a:gd name="connsiteX13" fmla="*/ 7539 w 10000"/>
                <a:gd name="connsiteY13" fmla="*/ 858 h 11186"/>
                <a:gd name="connsiteX14" fmla="*/ 5194 w 10000"/>
                <a:gd name="connsiteY14" fmla="*/ 1946 h 11186"/>
                <a:gd name="connsiteX15" fmla="*/ 2829 w 10000"/>
                <a:gd name="connsiteY15" fmla="*/ 0 h 11186"/>
                <a:gd name="connsiteX16" fmla="*/ 3722 w 10000"/>
                <a:gd name="connsiteY16" fmla="*/ 3108 h 11186"/>
                <a:gd name="connsiteX0" fmla="*/ 3722 w 10000"/>
                <a:gd name="connsiteY0" fmla="*/ 3108 h 11186"/>
                <a:gd name="connsiteX1" fmla="*/ 1130 w 10000"/>
                <a:gd name="connsiteY1" fmla="*/ 2871 h 11186"/>
                <a:gd name="connsiteX2" fmla="*/ 0 w 10000"/>
                <a:gd name="connsiteY2" fmla="*/ 6858 h 11186"/>
                <a:gd name="connsiteX3" fmla="*/ 2870 w 10000"/>
                <a:gd name="connsiteY3" fmla="*/ 10898 h 11186"/>
                <a:gd name="connsiteX4" fmla="*/ 4134 w 10000"/>
                <a:gd name="connsiteY4" fmla="*/ 9026 h 11186"/>
                <a:gd name="connsiteX5" fmla="*/ 5842 w 10000"/>
                <a:gd name="connsiteY5" fmla="*/ 8054 h 11186"/>
                <a:gd name="connsiteX6" fmla="*/ 6038 w 10000"/>
                <a:gd name="connsiteY6" fmla="*/ 9359 h 11186"/>
                <a:gd name="connsiteX7" fmla="*/ 6860 w 10000"/>
                <a:gd name="connsiteY7" fmla="*/ 11186 h 11186"/>
                <a:gd name="connsiteX8" fmla="*/ 7685 w 10000"/>
                <a:gd name="connsiteY8" fmla="*/ 9287 h 11186"/>
                <a:gd name="connsiteX9" fmla="*/ 9227 w 10000"/>
                <a:gd name="connsiteY9" fmla="*/ 7081 h 11186"/>
                <a:gd name="connsiteX10" fmla="*/ 10000 w 10000"/>
                <a:gd name="connsiteY10" fmla="*/ 7081 h 11186"/>
                <a:gd name="connsiteX11" fmla="*/ 9217 w 10000"/>
                <a:gd name="connsiteY11" fmla="*/ 2999 h 11186"/>
                <a:gd name="connsiteX12" fmla="*/ 7539 w 10000"/>
                <a:gd name="connsiteY12" fmla="*/ 858 h 11186"/>
                <a:gd name="connsiteX13" fmla="*/ 5194 w 10000"/>
                <a:gd name="connsiteY13" fmla="*/ 1946 h 11186"/>
                <a:gd name="connsiteX14" fmla="*/ 2829 w 10000"/>
                <a:gd name="connsiteY14" fmla="*/ 0 h 11186"/>
                <a:gd name="connsiteX15" fmla="*/ 3722 w 10000"/>
                <a:gd name="connsiteY15" fmla="*/ 3108 h 11186"/>
                <a:gd name="connsiteX0" fmla="*/ 2592 w 8870"/>
                <a:gd name="connsiteY0" fmla="*/ 3108 h 11186"/>
                <a:gd name="connsiteX1" fmla="*/ 0 w 8870"/>
                <a:gd name="connsiteY1" fmla="*/ 2871 h 11186"/>
                <a:gd name="connsiteX2" fmla="*/ 228 w 8870"/>
                <a:gd name="connsiteY2" fmla="*/ 6858 h 11186"/>
                <a:gd name="connsiteX3" fmla="*/ 1740 w 8870"/>
                <a:gd name="connsiteY3" fmla="*/ 10898 h 11186"/>
                <a:gd name="connsiteX4" fmla="*/ 3004 w 8870"/>
                <a:gd name="connsiteY4" fmla="*/ 9026 h 11186"/>
                <a:gd name="connsiteX5" fmla="*/ 4712 w 8870"/>
                <a:gd name="connsiteY5" fmla="*/ 8054 h 11186"/>
                <a:gd name="connsiteX6" fmla="*/ 4908 w 8870"/>
                <a:gd name="connsiteY6" fmla="*/ 9359 h 11186"/>
                <a:gd name="connsiteX7" fmla="*/ 5730 w 8870"/>
                <a:gd name="connsiteY7" fmla="*/ 11186 h 11186"/>
                <a:gd name="connsiteX8" fmla="*/ 6555 w 8870"/>
                <a:gd name="connsiteY8" fmla="*/ 9287 h 11186"/>
                <a:gd name="connsiteX9" fmla="*/ 8097 w 8870"/>
                <a:gd name="connsiteY9" fmla="*/ 7081 h 11186"/>
                <a:gd name="connsiteX10" fmla="*/ 8870 w 8870"/>
                <a:gd name="connsiteY10" fmla="*/ 7081 h 11186"/>
                <a:gd name="connsiteX11" fmla="*/ 8087 w 8870"/>
                <a:gd name="connsiteY11" fmla="*/ 2999 h 11186"/>
                <a:gd name="connsiteX12" fmla="*/ 6409 w 8870"/>
                <a:gd name="connsiteY12" fmla="*/ 858 h 11186"/>
                <a:gd name="connsiteX13" fmla="*/ 4064 w 8870"/>
                <a:gd name="connsiteY13" fmla="*/ 1946 h 11186"/>
                <a:gd name="connsiteX14" fmla="*/ 1699 w 8870"/>
                <a:gd name="connsiteY14" fmla="*/ 0 h 11186"/>
                <a:gd name="connsiteX15" fmla="*/ 2592 w 8870"/>
                <a:gd name="connsiteY15" fmla="*/ 3108 h 11186"/>
                <a:gd name="connsiteX0" fmla="*/ 2922 w 10000"/>
                <a:gd name="connsiteY0" fmla="*/ 2778 h 10000"/>
                <a:gd name="connsiteX1" fmla="*/ 0 w 10000"/>
                <a:gd name="connsiteY1" fmla="*/ 2567 h 10000"/>
                <a:gd name="connsiteX2" fmla="*/ 257 w 10000"/>
                <a:gd name="connsiteY2" fmla="*/ 6979 h 10000"/>
                <a:gd name="connsiteX3" fmla="*/ 1962 w 10000"/>
                <a:gd name="connsiteY3" fmla="*/ 9743 h 10000"/>
                <a:gd name="connsiteX4" fmla="*/ 3387 w 10000"/>
                <a:gd name="connsiteY4" fmla="*/ 8069 h 10000"/>
                <a:gd name="connsiteX5" fmla="*/ 5312 w 10000"/>
                <a:gd name="connsiteY5" fmla="*/ 7200 h 10000"/>
                <a:gd name="connsiteX6" fmla="*/ 5533 w 10000"/>
                <a:gd name="connsiteY6" fmla="*/ 8367 h 10000"/>
                <a:gd name="connsiteX7" fmla="*/ 6460 w 10000"/>
                <a:gd name="connsiteY7" fmla="*/ 10000 h 10000"/>
                <a:gd name="connsiteX8" fmla="*/ 7390 w 10000"/>
                <a:gd name="connsiteY8" fmla="*/ 8302 h 10000"/>
                <a:gd name="connsiteX9" fmla="*/ 9129 w 10000"/>
                <a:gd name="connsiteY9" fmla="*/ 6330 h 10000"/>
                <a:gd name="connsiteX10" fmla="*/ 10000 w 10000"/>
                <a:gd name="connsiteY10" fmla="*/ 6330 h 10000"/>
                <a:gd name="connsiteX11" fmla="*/ 9117 w 10000"/>
                <a:gd name="connsiteY11" fmla="*/ 2681 h 10000"/>
                <a:gd name="connsiteX12" fmla="*/ 7225 w 10000"/>
                <a:gd name="connsiteY12" fmla="*/ 767 h 10000"/>
                <a:gd name="connsiteX13" fmla="*/ 4582 w 10000"/>
                <a:gd name="connsiteY13" fmla="*/ 1740 h 10000"/>
                <a:gd name="connsiteX14" fmla="*/ 1915 w 10000"/>
                <a:gd name="connsiteY14" fmla="*/ 0 h 10000"/>
                <a:gd name="connsiteX15" fmla="*/ 2922 w 10000"/>
                <a:gd name="connsiteY15" fmla="*/ 2778 h 10000"/>
                <a:gd name="connsiteX0" fmla="*/ 2922 w 10000"/>
                <a:gd name="connsiteY0" fmla="*/ 2778 h 10000"/>
                <a:gd name="connsiteX1" fmla="*/ 0 w 10000"/>
                <a:gd name="connsiteY1" fmla="*/ 2567 h 10000"/>
                <a:gd name="connsiteX2" fmla="*/ 257 w 10000"/>
                <a:gd name="connsiteY2" fmla="*/ 6979 h 10000"/>
                <a:gd name="connsiteX3" fmla="*/ 1962 w 10000"/>
                <a:gd name="connsiteY3" fmla="*/ 9743 h 10000"/>
                <a:gd name="connsiteX4" fmla="*/ 3387 w 10000"/>
                <a:gd name="connsiteY4" fmla="*/ 8069 h 10000"/>
                <a:gd name="connsiteX5" fmla="*/ 5312 w 10000"/>
                <a:gd name="connsiteY5" fmla="*/ 7200 h 10000"/>
                <a:gd name="connsiteX6" fmla="*/ 5533 w 10000"/>
                <a:gd name="connsiteY6" fmla="*/ 8367 h 10000"/>
                <a:gd name="connsiteX7" fmla="*/ 6460 w 10000"/>
                <a:gd name="connsiteY7" fmla="*/ 10000 h 10000"/>
                <a:gd name="connsiteX8" fmla="*/ 7390 w 10000"/>
                <a:gd name="connsiteY8" fmla="*/ 8302 h 10000"/>
                <a:gd name="connsiteX9" fmla="*/ 10000 w 10000"/>
                <a:gd name="connsiteY9" fmla="*/ 6330 h 10000"/>
                <a:gd name="connsiteX10" fmla="*/ 9117 w 10000"/>
                <a:gd name="connsiteY10" fmla="*/ 2681 h 10000"/>
                <a:gd name="connsiteX11" fmla="*/ 7225 w 10000"/>
                <a:gd name="connsiteY11" fmla="*/ 767 h 10000"/>
                <a:gd name="connsiteX12" fmla="*/ 4582 w 10000"/>
                <a:gd name="connsiteY12" fmla="*/ 1740 h 10000"/>
                <a:gd name="connsiteX13" fmla="*/ 1915 w 10000"/>
                <a:gd name="connsiteY13" fmla="*/ 0 h 10000"/>
                <a:gd name="connsiteX14" fmla="*/ 2922 w 10000"/>
                <a:gd name="connsiteY14" fmla="*/ 2778 h 10000"/>
                <a:gd name="connsiteX0" fmla="*/ 2922 w 10000"/>
                <a:gd name="connsiteY0" fmla="*/ 2778 h 10000"/>
                <a:gd name="connsiteX1" fmla="*/ 0 w 10000"/>
                <a:gd name="connsiteY1" fmla="*/ 2567 h 10000"/>
                <a:gd name="connsiteX2" fmla="*/ 257 w 10000"/>
                <a:gd name="connsiteY2" fmla="*/ 6979 h 10000"/>
                <a:gd name="connsiteX3" fmla="*/ 1962 w 10000"/>
                <a:gd name="connsiteY3" fmla="*/ 9743 h 10000"/>
                <a:gd name="connsiteX4" fmla="*/ 3387 w 10000"/>
                <a:gd name="connsiteY4" fmla="*/ 8069 h 10000"/>
                <a:gd name="connsiteX5" fmla="*/ 5312 w 10000"/>
                <a:gd name="connsiteY5" fmla="*/ 7200 h 10000"/>
                <a:gd name="connsiteX6" fmla="*/ 5533 w 10000"/>
                <a:gd name="connsiteY6" fmla="*/ 8367 h 10000"/>
                <a:gd name="connsiteX7" fmla="*/ 6460 w 10000"/>
                <a:gd name="connsiteY7" fmla="*/ 10000 h 10000"/>
                <a:gd name="connsiteX8" fmla="*/ 10000 w 10000"/>
                <a:gd name="connsiteY8" fmla="*/ 6330 h 10000"/>
                <a:gd name="connsiteX9" fmla="*/ 9117 w 10000"/>
                <a:gd name="connsiteY9" fmla="*/ 2681 h 10000"/>
                <a:gd name="connsiteX10" fmla="*/ 7225 w 10000"/>
                <a:gd name="connsiteY10" fmla="*/ 767 h 10000"/>
                <a:gd name="connsiteX11" fmla="*/ 4582 w 10000"/>
                <a:gd name="connsiteY11" fmla="*/ 1740 h 10000"/>
                <a:gd name="connsiteX12" fmla="*/ 1915 w 10000"/>
                <a:gd name="connsiteY12" fmla="*/ 0 h 10000"/>
                <a:gd name="connsiteX13" fmla="*/ 2922 w 10000"/>
                <a:gd name="connsiteY13" fmla="*/ 2778 h 10000"/>
                <a:gd name="connsiteX0" fmla="*/ 2922 w 10000"/>
                <a:gd name="connsiteY0" fmla="*/ 2778 h 10005"/>
                <a:gd name="connsiteX1" fmla="*/ 0 w 10000"/>
                <a:gd name="connsiteY1" fmla="*/ 2567 h 10005"/>
                <a:gd name="connsiteX2" fmla="*/ 257 w 10000"/>
                <a:gd name="connsiteY2" fmla="*/ 6979 h 10005"/>
                <a:gd name="connsiteX3" fmla="*/ 1962 w 10000"/>
                <a:gd name="connsiteY3" fmla="*/ 9743 h 10005"/>
                <a:gd name="connsiteX4" fmla="*/ 3387 w 10000"/>
                <a:gd name="connsiteY4" fmla="*/ 8069 h 10005"/>
                <a:gd name="connsiteX5" fmla="*/ 5312 w 10000"/>
                <a:gd name="connsiteY5" fmla="*/ 7200 h 10005"/>
                <a:gd name="connsiteX6" fmla="*/ 6460 w 10000"/>
                <a:gd name="connsiteY6" fmla="*/ 10000 h 10005"/>
                <a:gd name="connsiteX7" fmla="*/ 10000 w 10000"/>
                <a:gd name="connsiteY7" fmla="*/ 6330 h 10005"/>
                <a:gd name="connsiteX8" fmla="*/ 9117 w 10000"/>
                <a:gd name="connsiteY8" fmla="*/ 2681 h 10005"/>
                <a:gd name="connsiteX9" fmla="*/ 7225 w 10000"/>
                <a:gd name="connsiteY9" fmla="*/ 767 h 10005"/>
                <a:gd name="connsiteX10" fmla="*/ 4582 w 10000"/>
                <a:gd name="connsiteY10" fmla="*/ 1740 h 10005"/>
                <a:gd name="connsiteX11" fmla="*/ 1915 w 10000"/>
                <a:gd name="connsiteY11" fmla="*/ 0 h 10005"/>
                <a:gd name="connsiteX12" fmla="*/ 2922 w 10000"/>
                <a:gd name="connsiteY12" fmla="*/ 2778 h 10005"/>
                <a:gd name="connsiteX0" fmla="*/ 2922 w 10000"/>
                <a:gd name="connsiteY0" fmla="*/ 2778 h 10007"/>
                <a:gd name="connsiteX1" fmla="*/ 0 w 10000"/>
                <a:gd name="connsiteY1" fmla="*/ 2567 h 10007"/>
                <a:gd name="connsiteX2" fmla="*/ 257 w 10000"/>
                <a:gd name="connsiteY2" fmla="*/ 6979 h 10007"/>
                <a:gd name="connsiteX3" fmla="*/ 1962 w 10000"/>
                <a:gd name="connsiteY3" fmla="*/ 9743 h 10007"/>
                <a:gd name="connsiteX4" fmla="*/ 3387 w 10000"/>
                <a:gd name="connsiteY4" fmla="*/ 8069 h 10007"/>
                <a:gd name="connsiteX5" fmla="*/ 5312 w 10000"/>
                <a:gd name="connsiteY5" fmla="*/ 7836 h 10007"/>
                <a:gd name="connsiteX6" fmla="*/ 6460 w 10000"/>
                <a:gd name="connsiteY6" fmla="*/ 10000 h 10007"/>
                <a:gd name="connsiteX7" fmla="*/ 10000 w 10000"/>
                <a:gd name="connsiteY7" fmla="*/ 6330 h 10007"/>
                <a:gd name="connsiteX8" fmla="*/ 9117 w 10000"/>
                <a:gd name="connsiteY8" fmla="*/ 2681 h 10007"/>
                <a:gd name="connsiteX9" fmla="*/ 7225 w 10000"/>
                <a:gd name="connsiteY9" fmla="*/ 767 h 10007"/>
                <a:gd name="connsiteX10" fmla="*/ 4582 w 10000"/>
                <a:gd name="connsiteY10" fmla="*/ 1740 h 10007"/>
                <a:gd name="connsiteX11" fmla="*/ 1915 w 10000"/>
                <a:gd name="connsiteY11" fmla="*/ 0 h 10007"/>
                <a:gd name="connsiteX12" fmla="*/ 2922 w 10000"/>
                <a:gd name="connsiteY12" fmla="*/ 2778 h 10007"/>
                <a:gd name="connsiteX0" fmla="*/ 2922 w 10000"/>
                <a:gd name="connsiteY0" fmla="*/ 2778 h 10007"/>
                <a:gd name="connsiteX1" fmla="*/ 0 w 10000"/>
                <a:gd name="connsiteY1" fmla="*/ 2567 h 10007"/>
                <a:gd name="connsiteX2" fmla="*/ 257 w 10000"/>
                <a:gd name="connsiteY2" fmla="*/ 6979 h 10007"/>
                <a:gd name="connsiteX3" fmla="*/ 1962 w 10000"/>
                <a:gd name="connsiteY3" fmla="*/ 9743 h 10007"/>
                <a:gd name="connsiteX4" fmla="*/ 3897 w 10000"/>
                <a:gd name="connsiteY4" fmla="*/ 8917 h 10007"/>
                <a:gd name="connsiteX5" fmla="*/ 5312 w 10000"/>
                <a:gd name="connsiteY5" fmla="*/ 7836 h 10007"/>
                <a:gd name="connsiteX6" fmla="*/ 6460 w 10000"/>
                <a:gd name="connsiteY6" fmla="*/ 10000 h 10007"/>
                <a:gd name="connsiteX7" fmla="*/ 10000 w 10000"/>
                <a:gd name="connsiteY7" fmla="*/ 6330 h 10007"/>
                <a:gd name="connsiteX8" fmla="*/ 9117 w 10000"/>
                <a:gd name="connsiteY8" fmla="*/ 2681 h 10007"/>
                <a:gd name="connsiteX9" fmla="*/ 7225 w 10000"/>
                <a:gd name="connsiteY9" fmla="*/ 767 h 10007"/>
                <a:gd name="connsiteX10" fmla="*/ 4582 w 10000"/>
                <a:gd name="connsiteY10" fmla="*/ 1740 h 10007"/>
                <a:gd name="connsiteX11" fmla="*/ 1915 w 10000"/>
                <a:gd name="connsiteY11" fmla="*/ 0 h 10007"/>
                <a:gd name="connsiteX12" fmla="*/ 2922 w 10000"/>
                <a:gd name="connsiteY12" fmla="*/ 2778 h 10007"/>
                <a:gd name="connsiteX0" fmla="*/ 2922 w 10000"/>
                <a:gd name="connsiteY0" fmla="*/ 2778 h 10007"/>
                <a:gd name="connsiteX1" fmla="*/ 0 w 10000"/>
                <a:gd name="connsiteY1" fmla="*/ 2567 h 10007"/>
                <a:gd name="connsiteX2" fmla="*/ 257 w 10000"/>
                <a:gd name="connsiteY2" fmla="*/ 6979 h 10007"/>
                <a:gd name="connsiteX3" fmla="*/ 1962 w 10000"/>
                <a:gd name="connsiteY3" fmla="*/ 9743 h 10007"/>
                <a:gd name="connsiteX4" fmla="*/ 3642 w 10000"/>
                <a:gd name="connsiteY4" fmla="*/ 7857 h 10007"/>
                <a:gd name="connsiteX5" fmla="*/ 5312 w 10000"/>
                <a:gd name="connsiteY5" fmla="*/ 7836 h 10007"/>
                <a:gd name="connsiteX6" fmla="*/ 6460 w 10000"/>
                <a:gd name="connsiteY6" fmla="*/ 10000 h 10007"/>
                <a:gd name="connsiteX7" fmla="*/ 10000 w 10000"/>
                <a:gd name="connsiteY7" fmla="*/ 6330 h 10007"/>
                <a:gd name="connsiteX8" fmla="*/ 9117 w 10000"/>
                <a:gd name="connsiteY8" fmla="*/ 2681 h 10007"/>
                <a:gd name="connsiteX9" fmla="*/ 7225 w 10000"/>
                <a:gd name="connsiteY9" fmla="*/ 767 h 10007"/>
                <a:gd name="connsiteX10" fmla="*/ 4582 w 10000"/>
                <a:gd name="connsiteY10" fmla="*/ 1740 h 10007"/>
                <a:gd name="connsiteX11" fmla="*/ 1915 w 10000"/>
                <a:gd name="connsiteY11" fmla="*/ 0 h 10007"/>
                <a:gd name="connsiteX12" fmla="*/ 2922 w 10000"/>
                <a:gd name="connsiteY12" fmla="*/ 2778 h 10007"/>
                <a:gd name="connsiteX0" fmla="*/ 2922 w 10000"/>
                <a:gd name="connsiteY0" fmla="*/ 2778 h 10007"/>
                <a:gd name="connsiteX1" fmla="*/ 0 w 10000"/>
                <a:gd name="connsiteY1" fmla="*/ 2567 h 10007"/>
                <a:gd name="connsiteX2" fmla="*/ 1023 w 10000"/>
                <a:gd name="connsiteY2" fmla="*/ 6979 h 10007"/>
                <a:gd name="connsiteX3" fmla="*/ 1962 w 10000"/>
                <a:gd name="connsiteY3" fmla="*/ 9743 h 10007"/>
                <a:gd name="connsiteX4" fmla="*/ 3642 w 10000"/>
                <a:gd name="connsiteY4" fmla="*/ 7857 h 10007"/>
                <a:gd name="connsiteX5" fmla="*/ 5312 w 10000"/>
                <a:gd name="connsiteY5" fmla="*/ 7836 h 10007"/>
                <a:gd name="connsiteX6" fmla="*/ 6460 w 10000"/>
                <a:gd name="connsiteY6" fmla="*/ 10000 h 10007"/>
                <a:gd name="connsiteX7" fmla="*/ 10000 w 10000"/>
                <a:gd name="connsiteY7" fmla="*/ 6330 h 10007"/>
                <a:gd name="connsiteX8" fmla="*/ 9117 w 10000"/>
                <a:gd name="connsiteY8" fmla="*/ 2681 h 10007"/>
                <a:gd name="connsiteX9" fmla="*/ 7225 w 10000"/>
                <a:gd name="connsiteY9" fmla="*/ 767 h 10007"/>
                <a:gd name="connsiteX10" fmla="*/ 4582 w 10000"/>
                <a:gd name="connsiteY10" fmla="*/ 1740 h 10007"/>
                <a:gd name="connsiteX11" fmla="*/ 1915 w 10000"/>
                <a:gd name="connsiteY11" fmla="*/ 0 h 10007"/>
                <a:gd name="connsiteX12" fmla="*/ 2922 w 10000"/>
                <a:gd name="connsiteY12" fmla="*/ 2778 h 10007"/>
                <a:gd name="connsiteX0" fmla="*/ 1925 w 9003"/>
                <a:gd name="connsiteY0" fmla="*/ 2778 h 10007"/>
                <a:gd name="connsiteX1" fmla="*/ 24 w 9003"/>
                <a:gd name="connsiteY1" fmla="*/ 3415 h 10007"/>
                <a:gd name="connsiteX2" fmla="*/ 26 w 9003"/>
                <a:gd name="connsiteY2" fmla="*/ 6979 h 10007"/>
                <a:gd name="connsiteX3" fmla="*/ 965 w 9003"/>
                <a:gd name="connsiteY3" fmla="*/ 9743 h 10007"/>
                <a:gd name="connsiteX4" fmla="*/ 2645 w 9003"/>
                <a:gd name="connsiteY4" fmla="*/ 7857 h 10007"/>
                <a:gd name="connsiteX5" fmla="*/ 4315 w 9003"/>
                <a:gd name="connsiteY5" fmla="*/ 7836 h 10007"/>
                <a:gd name="connsiteX6" fmla="*/ 5463 w 9003"/>
                <a:gd name="connsiteY6" fmla="*/ 10000 h 10007"/>
                <a:gd name="connsiteX7" fmla="*/ 9003 w 9003"/>
                <a:gd name="connsiteY7" fmla="*/ 6330 h 10007"/>
                <a:gd name="connsiteX8" fmla="*/ 8120 w 9003"/>
                <a:gd name="connsiteY8" fmla="*/ 2681 h 10007"/>
                <a:gd name="connsiteX9" fmla="*/ 6228 w 9003"/>
                <a:gd name="connsiteY9" fmla="*/ 767 h 10007"/>
                <a:gd name="connsiteX10" fmla="*/ 3585 w 9003"/>
                <a:gd name="connsiteY10" fmla="*/ 1740 h 10007"/>
                <a:gd name="connsiteX11" fmla="*/ 918 w 9003"/>
                <a:gd name="connsiteY11" fmla="*/ 0 h 10007"/>
                <a:gd name="connsiteX12" fmla="*/ 1925 w 9003"/>
                <a:gd name="connsiteY12" fmla="*/ 2778 h 10007"/>
                <a:gd name="connsiteX0" fmla="*/ 2421 w 10000"/>
                <a:gd name="connsiteY0" fmla="*/ 4047 h 10000"/>
                <a:gd name="connsiteX1" fmla="*/ 27 w 10000"/>
                <a:gd name="connsiteY1" fmla="*/ 3413 h 10000"/>
                <a:gd name="connsiteX2" fmla="*/ 29 w 10000"/>
                <a:gd name="connsiteY2" fmla="*/ 6974 h 10000"/>
                <a:gd name="connsiteX3" fmla="*/ 1072 w 10000"/>
                <a:gd name="connsiteY3" fmla="*/ 9736 h 10000"/>
                <a:gd name="connsiteX4" fmla="*/ 2938 w 10000"/>
                <a:gd name="connsiteY4" fmla="*/ 7852 h 10000"/>
                <a:gd name="connsiteX5" fmla="*/ 4793 w 10000"/>
                <a:gd name="connsiteY5" fmla="*/ 7831 h 10000"/>
                <a:gd name="connsiteX6" fmla="*/ 6068 w 10000"/>
                <a:gd name="connsiteY6" fmla="*/ 9993 h 10000"/>
                <a:gd name="connsiteX7" fmla="*/ 10000 w 10000"/>
                <a:gd name="connsiteY7" fmla="*/ 6326 h 10000"/>
                <a:gd name="connsiteX8" fmla="*/ 9019 w 10000"/>
                <a:gd name="connsiteY8" fmla="*/ 2679 h 10000"/>
                <a:gd name="connsiteX9" fmla="*/ 6918 w 10000"/>
                <a:gd name="connsiteY9" fmla="*/ 766 h 10000"/>
                <a:gd name="connsiteX10" fmla="*/ 3982 w 10000"/>
                <a:gd name="connsiteY10" fmla="*/ 1739 h 10000"/>
                <a:gd name="connsiteX11" fmla="*/ 1020 w 10000"/>
                <a:gd name="connsiteY11" fmla="*/ 0 h 10000"/>
                <a:gd name="connsiteX12" fmla="*/ 2421 w 10000"/>
                <a:gd name="connsiteY12" fmla="*/ 4047 h 10000"/>
                <a:gd name="connsiteX0" fmla="*/ 2421 w 10000"/>
                <a:gd name="connsiteY0" fmla="*/ 3386 h 9339"/>
                <a:gd name="connsiteX1" fmla="*/ 27 w 10000"/>
                <a:gd name="connsiteY1" fmla="*/ 2752 h 9339"/>
                <a:gd name="connsiteX2" fmla="*/ 29 w 10000"/>
                <a:gd name="connsiteY2" fmla="*/ 6313 h 9339"/>
                <a:gd name="connsiteX3" fmla="*/ 1072 w 10000"/>
                <a:gd name="connsiteY3" fmla="*/ 9075 h 9339"/>
                <a:gd name="connsiteX4" fmla="*/ 2938 w 10000"/>
                <a:gd name="connsiteY4" fmla="*/ 7191 h 9339"/>
                <a:gd name="connsiteX5" fmla="*/ 4793 w 10000"/>
                <a:gd name="connsiteY5" fmla="*/ 7170 h 9339"/>
                <a:gd name="connsiteX6" fmla="*/ 6068 w 10000"/>
                <a:gd name="connsiteY6" fmla="*/ 9332 h 9339"/>
                <a:gd name="connsiteX7" fmla="*/ 10000 w 10000"/>
                <a:gd name="connsiteY7" fmla="*/ 5665 h 9339"/>
                <a:gd name="connsiteX8" fmla="*/ 9019 w 10000"/>
                <a:gd name="connsiteY8" fmla="*/ 2018 h 9339"/>
                <a:gd name="connsiteX9" fmla="*/ 6918 w 10000"/>
                <a:gd name="connsiteY9" fmla="*/ 105 h 9339"/>
                <a:gd name="connsiteX10" fmla="*/ 3982 w 10000"/>
                <a:gd name="connsiteY10" fmla="*/ 1078 h 9339"/>
                <a:gd name="connsiteX11" fmla="*/ 2154 w 10000"/>
                <a:gd name="connsiteY11" fmla="*/ 822 h 9339"/>
                <a:gd name="connsiteX12" fmla="*/ 2421 w 10000"/>
                <a:gd name="connsiteY12" fmla="*/ 3386 h 9339"/>
                <a:gd name="connsiteX0" fmla="*/ 2421 w 10000"/>
                <a:gd name="connsiteY0" fmla="*/ 3593 h 9968"/>
                <a:gd name="connsiteX1" fmla="*/ 27 w 10000"/>
                <a:gd name="connsiteY1" fmla="*/ 2914 h 9968"/>
                <a:gd name="connsiteX2" fmla="*/ 29 w 10000"/>
                <a:gd name="connsiteY2" fmla="*/ 6727 h 9968"/>
                <a:gd name="connsiteX3" fmla="*/ 1072 w 10000"/>
                <a:gd name="connsiteY3" fmla="*/ 9684 h 9968"/>
                <a:gd name="connsiteX4" fmla="*/ 2938 w 10000"/>
                <a:gd name="connsiteY4" fmla="*/ 7667 h 9968"/>
                <a:gd name="connsiteX5" fmla="*/ 4793 w 10000"/>
                <a:gd name="connsiteY5" fmla="*/ 7644 h 9968"/>
                <a:gd name="connsiteX6" fmla="*/ 6068 w 10000"/>
                <a:gd name="connsiteY6" fmla="*/ 9960 h 9968"/>
                <a:gd name="connsiteX7" fmla="*/ 10000 w 10000"/>
                <a:gd name="connsiteY7" fmla="*/ 6033 h 9968"/>
                <a:gd name="connsiteX8" fmla="*/ 9019 w 10000"/>
                <a:gd name="connsiteY8" fmla="*/ 2128 h 9968"/>
                <a:gd name="connsiteX9" fmla="*/ 6918 w 10000"/>
                <a:gd name="connsiteY9" fmla="*/ 79 h 9968"/>
                <a:gd name="connsiteX10" fmla="*/ 4832 w 10000"/>
                <a:gd name="connsiteY10" fmla="*/ 2255 h 9968"/>
                <a:gd name="connsiteX11" fmla="*/ 2154 w 10000"/>
                <a:gd name="connsiteY11" fmla="*/ 847 h 9968"/>
                <a:gd name="connsiteX12" fmla="*/ 2421 w 10000"/>
                <a:gd name="connsiteY12" fmla="*/ 3593 h 9968"/>
                <a:gd name="connsiteX0" fmla="*/ 2421 w 10000"/>
                <a:gd name="connsiteY0" fmla="*/ 2755 h 9150"/>
                <a:gd name="connsiteX1" fmla="*/ 27 w 10000"/>
                <a:gd name="connsiteY1" fmla="*/ 2073 h 9150"/>
                <a:gd name="connsiteX2" fmla="*/ 29 w 10000"/>
                <a:gd name="connsiteY2" fmla="*/ 5899 h 9150"/>
                <a:gd name="connsiteX3" fmla="*/ 1072 w 10000"/>
                <a:gd name="connsiteY3" fmla="*/ 8865 h 9150"/>
                <a:gd name="connsiteX4" fmla="*/ 2938 w 10000"/>
                <a:gd name="connsiteY4" fmla="*/ 6842 h 9150"/>
                <a:gd name="connsiteX5" fmla="*/ 4793 w 10000"/>
                <a:gd name="connsiteY5" fmla="*/ 6819 h 9150"/>
                <a:gd name="connsiteX6" fmla="*/ 6068 w 10000"/>
                <a:gd name="connsiteY6" fmla="*/ 9142 h 9150"/>
                <a:gd name="connsiteX7" fmla="*/ 10000 w 10000"/>
                <a:gd name="connsiteY7" fmla="*/ 5202 h 9150"/>
                <a:gd name="connsiteX8" fmla="*/ 9019 w 10000"/>
                <a:gd name="connsiteY8" fmla="*/ 1285 h 9150"/>
                <a:gd name="connsiteX9" fmla="*/ 7202 w 10000"/>
                <a:gd name="connsiteY9" fmla="*/ 139 h 9150"/>
                <a:gd name="connsiteX10" fmla="*/ 4832 w 10000"/>
                <a:gd name="connsiteY10" fmla="*/ 1412 h 9150"/>
                <a:gd name="connsiteX11" fmla="*/ 2154 w 10000"/>
                <a:gd name="connsiteY11" fmla="*/ 0 h 9150"/>
                <a:gd name="connsiteX12" fmla="*/ 2421 w 10000"/>
                <a:gd name="connsiteY12" fmla="*/ 2755 h 9150"/>
                <a:gd name="connsiteX0" fmla="*/ 2421 w 18786"/>
                <a:gd name="connsiteY0" fmla="*/ 3011 h 9999"/>
                <a:gd name="connsiteX1" fmla="*/ 27 w 18786"/>
                <a:gd name="connsiteY1" fmla="*/ 2266 h 9999"/>
                <a:gd name="connsiteX2" fmla="*/ 29 w 18786"/>
                <a:gd name="connsiteY2" fmla="*/ 6447 h 9999"/>
                <a:gd name="connsiteX3" fmla="*/ 1072 w 18786"/>
                <a:gd name="connsiteY3" fmla="*/ 9689 h 9999"/>
                <a:gd name="connsiteX4" fmla="*/ 2938 w 18786"/>
                <a:gd name="connsiteY4" fmla="*/ 7478 h 9999"/>
                <a:gd name="connsiteX5" fmla="*/ 4793 w 18786"/>
                <a:gd name="connsiteY5" fmla="*/ 7452 h 9999"/>
                <a:gd name="connsiteX6" fmla="*/ 6068 w 18786"/>
                <a:gd name="connsiteY6" fmla="*/ 9991 h 9999"/>
                <a:gd name="connsiteX7" fmla="*/ 18786 w 18786"/>
                <a:gd name="connsiteY7" fmla="*/ 7675 h 9999"/>
                <a:gd name="connsiteX8" fmla="*/ 9019 w 18786"/>
                <a:gd name="connsiteY8" fmla="*/ 1404 h 9999"/>
                <a:gd name="connsiteX9" fmla="*/ 7202 w 18786"/>
                <a:gd name="connsiteY9" fmla="*/ 152 h 9999"/>
                <a:gd name="connsiteX10" fmla="*/ 4832 w 18786"/>
                <a:gd name="connsiteY10" fmla="*/ 1543 h 9999"/>
                <a:gd name="connsiteX11" fmla="*/ 2154 w 18786"/>
                <a:gd name="connsiteY11" fmla="*/ 0 h 9999"/>
                <a:gd name="connsiteX12" fmla="*/ 2421 w 18786"/>
                <a:gd name="connsiteY12" fmla="*/ 3011 h 9999"/>
                <a:gd name="connsiteX0" fmla="*/ 1289 w 10000"/>
                <a:gd name="connsiteY0" fmla="*/ 3011 h 10000"/>
                <a:gd name="connsiteX1" fmla="*/ 14 w 10000"/>
                <a:gd name="connsiteY1" fmla="*/ 2266 h 10000"/>
                <a:gd name="connsiteX2" fmla="*/ 15 w 10000"/>
                <a:gd name="connsiteY2" fmla="*/ 6448 h 10000"/>
                <a:gd name="connsiteX3" fmla="*/ 571 w 10000"/>
                <a:gd name="connsiteY3" fmla="*/ 9690 h 10000"/>
                <a:gd name="connsiteX4" fmla="*/ 1564 w 10000"/>
                <a:gd name="connsiteY4" fmla="*/ 7479 h 10000"/>
                <a:gd name="connsiteX5" fmla="*/ 2551 w 10000"/>
                <a:gd name="connsiteY5" fmla="*/ 7453 h 10000"/>
                <a:gd name="connsiteX6" fmla="*/ 3230 w 10000"/>
                <a:gd name="connsiteY6" fmla="*/ 9992 h 10000"/>
                <a:gd name="connsiteX7" fmla="*/ 10000 w 10000"/>
                <a:gd name="connsiteY7" fmla="*/ 7676 h 10000"/>
                <a:gd name="connsiteX8" fmla="*/ 7517 w 10000"/>
                <a:gd name="connsiteY8" fmla="*/ 3892 h 10000"/>
                <a:gd name="connsiteX9" fmla="*/ 3834 w 10000"/>
                <a:gd name="connsiteY9" fmla="*/ 152 h 10000"/>
                <a:gd name="connsiteX10" fmla="*/ 2572 w 10000"/>
                <a:gd name="connsiteY10" fmla="*/ 1543 h 10000"/>
                <a:gd name="connsiteX11" fmla="*/ 1147 w 10000"/>
                <a:gd name="connsiteY11" fmla="*/ 0 h 10000"/>
                <a:gd name="connsiteX12" fmla="*/ 1289 w 10000"/>
                <a:gd name="connsiteY12" fmla="*/ 3011 h 10000"/>
                <a:gd name="connsiteX0" fmla="*/ 1289 w 10000"/>
                <a:gd name="connsiteY0" fmla="*/ 3011 h 10000"/>
                <a:gd name="connsiteX1" fmla="*/ 14 w 10000"/>
                <a:gd name="connsiteY1" fmla="*/ 2266 h 10000"/>
                <a:gd name="connsiteX2" fmla="*/ 15 w 10000"/>
                <a:gd name="connsiteY2" fmla="*/ 6448 h 10000"/>
                <a:gd name="connsiteX3" fmla="*/ 571 w 10000"/>
                <a:gd name="connsiteY3" fmla="*/ 9690 h 10000"/>
                <a:gd name="connsiteX4" fmla="*/ 1564 w 10000"/>
                <a:gd name="connsiteY4" fmla="*/ 7479 h 10000"/>
                <a:gd name="connsiteX5" fmla="*/ 2551 w 10000"/>
                <a:gd name="connsiteY5" fmla="*/ 7453 h 10000"/>
                <a:gd name="connsiteX6" fmla="*/ 3230 w 10000"/>
                <a:gd name="connsiteY6" fmla="*/ 9992 h 10000"/>
                <a:gd name="connsiteX7" fmla="*/ 10000 w 10000"/>
                <a:gd name="connsiteY7" fmla="*/ 7676 h 10000"/>
                <a:gd name="connsiteX8" fmla="*/ 7517 w 10000"/>
                <a:gd name="connsiteY8" fmla="*/ 3892 h 10000"/>
                <a:gd name="connsiteX9" fmla="*/ 4588 w 10000"/>
                <a:gd name="connsiteY9" fmla="*/ 2640 h 10000"/>
                <a:gd name="connsiteX10" fmla="*/ 2572 w 10000"/>
                <a:gd name="connsiteY10" fmla="*/ 1543 h 10000"/>
                <a:gd name="connsiteX11" fmla="*/ 1147 w 10000"/>
                <a:gd name="connsiteY11" fmla="*/ 0 h 10000"/>
                <a:gd name="connsiteX12" fmla="*/ 1289 w 10000"/>
                <a:gd name="connsiteY12" fmla="*/ 3011 h 10000"/>
                <a:gd name="connsiteX0" fmla="*/ 0 w 11125"/>
                <a:gd name="connsiteY0" fmla="*/ 372 h 10098"/>
                <a:gd name="connsiteX1" fmla="*/ 1139 w 11125"/>
                <a:gd name="connsiteY1" fmla="*/ 2364 h 10098"/>
                <a:gd name="connsiteX2" fmla="*/ 1140 w 11125"/>
                <a:gd name="connsiteY2" fmla="*/ 6546 h 10098"/>
                <a:gd name="connsiteX3" fmla="*/ 1696 w 11125"/>
                <a:gd name="connsiteY3" fmla="*/ 9788 h 10098"/>
                <a:gd name="connsiteX4" fmla="*/ 2689 w 11125"/>
                <a:gd name="connsiteY4" fmla="*/ 7577 h 10098"/>
                <a:gd name="connsiteX5" fmla="*/ 3676 w 11125"/>
                <a:gd name="connsiteY5" fmla="*/ 7551 h 10098"/>
                <a:gd name="connsiteX6" fmla="*/ 4355 w 11125"/>
                <a:gd name="connsiteY6" fmla="*/ 10090 h 10098"/>
                <a:gd name="connsiteX7" fmla="*/ 11125 w 11125"/>
                <a:gd name="connsiteY7" fmla="*/ 7774 h 10098"/>
                <a:gd name="connsiteX8" fmla="*/ 8642 w 11125"/>
                <a:gd name="connsiteY8" fmla="*/ 3990 h 10098"/>
                <a:gd name="connsiteX9" fmla="*/ 5713 w 11125"/>
                <a:gd name="connsiteY9" fmla="*/ 2738 h 10098"/>
                <a:gd name="connsiteX10" fmla="*/ 3697 w 11125"/>
                <a:gd name="connsiteY10" fmla="*/ 1641 h 10098"/>
                <a:gd name="connsiteX11" fmla="*/ 2272 w 11125"/>
                <a:gd name="connsiteY11" fmla="*/ 98 h 10098"/>
                <a:gd name="connsiteX12" fmla="*/ 0 w 11125"/>
                <a:gd name="connsiteY12" fmla="*/ 372 h 10098"/>
                <a:gd name="connsiteX0" fmla="*/ 0 w 11125"/>
                <a:gd name="connsiteY0" fmla="*/ 372 h 10098"/>
                <a:gd name="connsiteX1" fmla="*/ 1743 w 11125"/>
                <a:gd name="connsiteY1" fmla="*/ 3857 h 10098"/>
                <a:gd name="connsiteX2" fmla="*/ 1140 w 11125"/>
                <a:gd name="connsiteY2" fmla="*/ 6546 h 10098"/>
                <a:gd name="connsiteX3" fmla="*/ 1696 w 11125"/>
                <a:gd name="connsiteY3" fmla="*/ 9788 h 10098"/>
                <a:gd name="connsiteX4" fmla="*/ 2689 w 11125"/>
                <a:gd name="connsiteY4" fmla="*/ 7577 h 10098"/>
                <a:gd name="connsiteX5" fmla="*/ 3676 w 11125"/>
                <a:gd name="connsiteY5" fmla="*/ 7551 h 10098"/>
                <a:gd name="connsiteX6" fmla="*/ 4355 w 11125"/>
                <a:gd name="connsiteY6" fmla="*/ 10090 h 10098"/>
                <a:gd name="connsiteX7" fmla="*/ 11125 w 11125"/>
                <a:gd name="connsiteY7" fmla="*/ 7774 h 10098"/>
                <a:gd name="connsiteX8" fmla="*/ 8642 w 11125"/>
                <a:gd name="connsiteY8" fmla="*/ 3990 h 10098"/>
                <a:gd name="connsiteX9" fmla="*/ 5713 w 11125"/>
                <a:gd name="connsiteY9" fmla="*/ 2738 h 10098"/>
                <a:gd name="connsiteX10" fmla="*/ 3697 w 11125"/>
                <a:gd name="connsiteY10" fmla="*/ 1641 h 10098"/>
                <a:gd name="connsiteX11" fmla="*/ 2272 w 11125"/>
                <a:gd name="connsiteY11" fmla="*/ 98 h 10098"/>
                <a:gd name="connsiteX12" fmla="*/ 0 w 11125"/>
                <a:gd name="connsiteY12" fmla="*/ 372 h 10098"/>
                <a:gd name="connsiteX0" fmla="*/ 0 w 11125"/>
                <a:gd name="connsiteY0" fmla="*/ 271 h 9997"/>
                <a:gd name="connsiteX1" fmla="*/ 1743 w 11125"/>
                <a:gd name="connsiteY1" fmla="*/ 3756 h 9997"/>
                <a:gd name="connsiteX2" fmla="*/ 1140 w 11125"/>
                <a:gd name="connsiteY2" fmla="*/ 6445 h 9997"/>
                <a:gd name="connsiteX3" fmla="*/ 1696 w 11125"/>
                <a:gd name="connsiteY3" fmla="*/ 9687 h 9997"/>
                <a:gd name="connsiteX4" fmla="*/ 2689 w 11125"/>
                <a:gd name="connsiteY4" fmla="*/ 7476 h 9997"/>
                <a:gd name="connsiteX5" fmla="*/ 3676 w 11125"/>
                <a:gd name="connsiteY5" fmla="*/ 7450 h 9997"/>
                <a:gd name="connsiteX6" fmla="*/ 4355 w 11125"/>
                <a:gd name="connsiteY6" fmla="*/ 9989 h 9997"/>
                <a:gd name="connsiteX7" fmla="*/ 11125 w 11125"/>
                <a:gd name="connsiteY7" fmla="*/ 7673 h 9997"/>
                <a:gd name="connsiteX8" fmla="*/ 8642 w 11125"/>
                <a:gd name="connsiteY8" fmla="*/ 3889 h 9997"/>
                <a:gd name="connsiteX9" fmla="*/ 5713 w 11125"/>
                <a:gd name="connsiteY9" fmla="*/ 2637 h 9997"/>
                <a:gd name="connsiteX10" fmla="*/ 3697 w 11125"/>
                <a:gd name="connsiteY10" fmla="*/ 1540 h 9997"/>
                <a:gd name="connsiteX11" fmla="*/ 2272 w 11125"/>
                <a:gd name="connsiteY11" fmla="*/ 992 h 9997"/>
                <a:gd name="connsiteX12" fmla="*/ 0 w 11125"/>
                <a:gd name="connsiteY12" fmla="*/ 271 h 9997"/>
                <a:gd name="connsiteX0" fmla="*/ 0 w 10000"/>
                <a:gd name="connsiteY0" fmla="*/ 271 h 10000"/>
                <a:gd name="connsiteX1" fmla="*/ 1567 w 10000"/>
                <a:gd name="connsiteY1" fmla="*/ 3757 h 10000"/>
                <a:gd name="connsiteX2" fmla="*/ 1025 w 10000"/>
                <a:gd name="connsiteY2" fmla="*/ 6447 h 10000"/>
                <a:gd name="connsiteX3" fmla="*/ 1524 w 10000"/>
                <a:gd name="connsiteY3" fmla="*/ 9690 h 10000"/>
                <a:gd name="connsiteX4" fmla="*/ 2417 w 10000"/>
                <a:gd name="connsiteY4" fmla="*/ 7478 h 10000"/>
                <a:gd name="connsiteX5" fmla="*/ 3304 w 10000"/>
                <a:gd name="connsiteY5" fmla="*/ 7452 h 10000"/>
                <a:gd name="connsiteX6" fmla="*/ 3915 w 10000"/>
                <a:gd name="connsiteY6" fmla="*/ 9992 h 10000"/>
                <a:gd name="connsiteX7" fmla="*/ 10000 w 10000"/>
                <a:gd name="connsiteY7" fmla="*/ 7675 h 10000"/>
                <a:gd name="connsiteX8" fmla="*/ 7768 w 10000"/>
                <a:gd name="connsiteY8" fmla="*/ 3890 h 10000"/>
                <a:gd name="connsiteX9" fmla="*/ 5135 w 10000"/>
                <a:gd name="connsiteY9" fmla="*/ 2638 h 10000"/>
                <a:gd name="connsiteX10" fmla="*/ 3594 w 10000"/>
                <a:gd name="connsiteY10" fmla="*/ 2784 h 10000"/>
                <a:gd name="connsiteX11" fmla="*/ 2042 w 10000"/>
                <a:gd name="connsiteY11" fmla="*/ 992 h 10000"/>
                <a:gd name="connsiteX12" fmla="*/ 0 w 10000"/>
                <a:gd name="connsiteY12" fmla="*/ 271 h 10000"/>
                <a:gd name="connsiteX0" fmla="*/ 0 w 10000"/>
                <a:gd name="connsiteY0" fmla="*/ 271 h 10000"/>
                <a:gd name="connsiteX1" fmla="*/ 1567 w 10000"/>
                <a:gd name="connsiteY1" fmla="*/ 3757 h 10000"/>
                <a:gd name="connsiteX2" fmla="*/ 1025 w 10000"/>
                <a:gd name="connsiteY2" fmla="*/ 6447 h 10000"/>
                <a:gd name="connsiteX3" fmla="*/ 1524 w 10000"/>
                <a:gd name="connsiteY3" fmla="*/ 9690 h 10000"/>
                <a:gd name="connsiteX4" fmla="*/ 2417 w 10000"/>
                <a:gd name="connsiteY4" fmla="*/ 7478 h 10000"/>
                <a:gd name="connsiteX5" fmla="*/ 3304 w 10000"/>
                <a:gd name="connsiteY5" fmla="*/ 7452 h 10000"/>
                <a:gd name="connsiteX6" fmla="*/ 3915 w 10000"/>
                <a:gd name="connsiteY6" fmla="*/ 9992 h 10000"/>
                <a:gd name="connsiteX7" fmla="*/ 10000 w 10000"/>
                <a:gd name="connsiteY7" fmla="*/ 7675 h 10000"/>
                <a:gd name="connsiteX8" fmla="*/ 7768 w 10000"/>
                <a:gd name="connsiteY8" fmla="*/ 3890 h 10000"/>
                <a:gd name="connsiteX9" fmla="*/ 5949 w 10000"/>
                <a:gd name="connsiteY9" fmla="*/ 3385 h 10000"/>
                <a:gd name="connsiteX10" fmla="*/ 3594 w 10000"/>
                <a:gd name="connsiteY10" fmla="*/ 2784 h 10000"/>
                <a:gd name="connsiteX11" fmla="*/ 2042 w 10000"/>
                <a:gd name="connsiteY11" fmla="*/ 992 h 10000"/>
                <a:gd name="connsiteX12" fmla="*/ 0 w 10000"/>
                <a:gd name="connsiteY12" fmla="*/ 271 h 10000"/>
                <a:gd name="connsiteX0" fmla="*/ 0 w 10000"/>
                <a:gd name="connsiteY0" fmla="*/ 271 h 10000"/>
                <a:gd name="connsiteX1" fmla="*/ 889 w 10000"/>
                <a:gd name="connsiteY1" fmla="*/ 3757 h 10000"/>
                <a:gd name="connsiteX2" fmla="*/ 1025 w 10000"/>
                <a:gd name="connsiteY2" fmla="*/ 6447 h 10000"/>
                <a:gd name="connsiteX3" fmla="*/ 1524 w 10000"/>
                <a:gd name="connsiteY3" fmla="*/ 9690 h 10000"/>
                <a:gd name="connsiteX4" fmla="*/ 2417 w 10000"/>
                <a:gd name="connsiteY4" fmla="*/ 7478 h 10000"/>
                <a:gd name="connsiteX5" fmla="*/ 3304 w 10000"/>
                <a:gd name="connsiteY5" fmla="*/ 7452 h 10000"/>
                <a:gd name="connsiteX6" fmla="*/ 3915 w 10000"/>
                <a:gd name="connsiteY6" fmla="*/ 9992 h 10000"/>
                <a:gd name="connsiteX7" fmla="*/ 10000 w 10000"/>
                <a:gd name="connsiteY7" fmla="*/ 7675 h 10000"/>
                <a:gd name="connsiteX8" fmla="*/ 7768 w 10000"/>
                <a:gd name="connsiteY8" fmla="*/ 3890 h 10000"/>
                <a:gd name="connsiteX9" fmla="*/ 5949 w 10000"/>
                <a:gd name="connsiteY9" fmla="*/ 3385 h 10000"/>
                <a:gd name="connsiteX10" fmla="*/ 3594 w 10000"/>
                <a:gd name="connsiteY10" fmla="*/ 2784 h 10000"/>
                <a:gd name="connsiteX11" fmla="*/ 2042 w 10000"/>
                <a:gd name="connsiteY11" fmla="*/ 992 h 10000"/>
                <a:gd name="connsiteX12" fmla="*/ 0 w 10000"/>
                <a:gd name="connsiteY12" fmla="*/ 271 h 10000"/>
                <a:gd name="connsiteX0" fmla="*/ 0 w 10000"/>
                <a:gd name="connsiteY0" fmla="*/ 271 h 10000"/>
                <a:gd name="connsiteX1" fmla="*/ 889 w 10000"/>
                <a:gd name="connsiteY1" fmla="*/ 3757 h 10000"/>
                <a:gd name="connsiteX2" fmla="*/ 1974 w 10000"/>
                <a:gd name="connsiteY2" fmla="*/ 6198 h 10000"/>
                <a:gd name="connsiteX3" fmla="*/ 1524 w 10000"/>
                <a:gd name="connsiteY3" fmla="*/ 9690 h 10000"/>
                <a:gd name="connsiteX4" fmla="*/ 2417 w 10000"/>
                <a:gd name="connsiteY4" fmla="*/ 7478 h 10000"/>
                <a:gd name="connsiteX5" fmla="*/ 3304 w 10000"/>
                <a:gd name="connsiteY5" fmla="*/ 7452 h 10000"/>
                <a:gd name="connsiteX6" fmla="*/ 3915 w 10000"/>
                <a:gd name="connsiteY6" fmla="*/ 9992 h 10000"/>
                <a:gd name="connsiteX7" fmla="*/ 10000 w 10000"/>
                <a:gd name="connsiteY7" fmla="*/ 7675 h 10000"/>
                <a:gd name="connsiteX8" fmla="*/ 7768 w 10000"/>
                <a:gd name="connsiteY8" fmla="*/ 3890 h 10000"/>
                <a:gd name="connsiteX9" fmla="*/ 5949 w 10000"/>
                <a:gd name="connsiteY9" fmla="*/ 3385 h 10000"/>
                <a:gd name="connsiteX10" fmla="*/ 3594 w 10000"/>
                <a:gd name="connsiteY10" fmla="*/ 2784 h 10000"/>
                <a:gd name="connsiteX11" fmla="*/ 2042 w 10000"/>
                <a:gd name="connsiteY11" fmla="*/ 992 h 10000"/>
                <a:gd name="connsiteX12" fmla="*/ 0 w 10000"/>
                <a:gd name="connsiteY12" fmla="*/ 271 h 10000"/>
                <a:gd name="connsiteX0" fmla="*/ 0 w 10000"/>
                <a:gd name="connsiteY0" fmla="*/ 271 h 10000"/>
                <a:gd name="connsiteX1" fmla="*/ 889 w 10000"/>
                <a:gd name="connsiteY1" fmla="*/ 3757 h 10000"/>
                <a:gd name="connsiteX2" fmla="*/ 1974 w 10000"/>
                <a:gd name="connsiteY2" fmla="*/ 6198 h 10000"/>
                <a:gd name="connsiteX3" fmla="*/ 2417 w 10000"/>
                <a:gd name="connsiteY3" fmla="*/ 7478 h 10000"/>
                <a:gd name="connsiteX4" fmla="*/ 3304 w 10000"/>
                <a:gd name="connsiteY4" fmla="*/ 7452 h 10000"/>
                <a:gd name="connsiteX5" fmla="*/ 3915 w 10000"/>
                <a:gd name="connsiteY5" fmla="*/ 9992 h 10000"/>
                <a:gd name="connsiteX6" fmla="*/ 10000 w 10000"/>
                <a:gd name="connsiteY6" fmla="*/ 7675 h 10000"/>
                <a:gd name="connsiteX7" fmla="*/ 7768 w 10000"/>
                <a:gd name="connsiteY7" fmla="*/ 3890 h 10000"/>
                <a:gd name="connsiteX8" fmla="*/ 5949 w 10000"/>
                <a:gd name="connsiteY8" fmla="*/ 3385 h 10000"/>
                <a:gd name="connsiteX9" fmla="*/ 3594 w 10000"/>
                <a:gd name="connsiteY9" fmla="*/ 2784 h 10000"/>
                <a:gd name="connsiteX10" fmla="*/ 2042 w 10000"/>
                <a:gd name="connsiteY10" fmla="*/ 992 h 10000"/>
                <a:gd name="connsiteX11" fmla="*/ 0 w 10000"/>
                <a:gd name="connsiteY11" fmla="*/ 271 h 10000"/>
                <a:gd name="connsiteX0" fmla="*/ 0 w 10000"/>
                <a:gd name="connsiteY0" fmla="*/ 271 h 9992"/>
                <a:gd name="connsiteX1" fmla="*/ 889 w 10000"/>
                <a:gd name="connsiteY1" fmla="*/ 3757 h 9992"/>
                <a:gd name="connsiteX2" fmla="*/ 1974 w 10000"/>
                <a:gd name="connsiteY2" fmla="*/ 6198 h 9992"/>
                <a:gd name="connsiteX3" fmla="*/ 2417 w 10000"/>
                <a:gd name="connsiteY3" fmla="*/ 7478 h 9992"/>
                <a:gd name="connsiteX4" fmla="*/ 3915 w 10000"/>
                <a:gd name="connsiteY4" fmla="*/ 9992 h 9992"/>
                <a:gd name="connsiteX5" fmla="*/ 10000 w 10000"/>
                <a:gd name="connsiteY5" fmla="*/ 7675 h 9992"/>
                <a:gd name="connsiteX6" fmla="*/ 7768 w 10000"/>
                <a:gd name="connsiteY6" fmla="*/ 3890 h 9992"/>
                <a:gd name="connsiteX7" fmla="*/ 5949 w 10000"/>
                <a:gd name="connsiteY7" fmla="*/ 3385 h 9992"/>
                <a:gd name="connsiteX8" fmla="*/ 3594 w 10000"/>
                <a:gd name="connsiteY8" fmla="*/ 2784 h 9992"/>
                <a:gd name="connsiteX9" fmla="*/ 2042 w 10000"/>
                <a:gd name="connsiteY9" fmla="*/ 992 h 9992"/>
                <a:gd name="connsiteX10" fmla="*/ 0 w 10000"/>
                <a:gd name="connsiteY10" fmla="*/ 271 h 9992"/>
                <a:gd name="connsiteX0" fmla="*/ 0 w 10000"/>
                <a:gd name="connsiteY0" fmla="*/ 271 h 10000"/>
                <a:gd name="connsiteX1" fmla="*/ 889 w 10000"/>
                <a:gd name="connsiteY1" fmla="*/ 3760 h 10000"/>
                <a:gd name="connsiteX2" fmla="*/ 1974 w 10000"/>
                <a:gd name="connsiteY2" fmla="*/ 6203 h 10000"/>
                <a:gd name="connsiteX3" fmla="*/ 2417 w 10000"/>
                <a:gd name="connsiteY3" fmla="*/ 8729 h 10000"/>
                <a:gd name="connsiteX4" fmla="*/ 3915 w 10000"/>
                <a:gd name="connsiteY4" fmla="*/ 10000 h 10000"/>
                <a:gd name="connsiteX5" fmla="*/ 10000 w 10000"/>
                <a:gd name="connsiteY5" fmla="*/ 7681 h 10000"/>
                <a:gd name="connsiteX6" fmla="*/ 7768 w 10000"/>
                <a:gd name="connsiteY6" fmla="*/ 3893 h 10000"/>
                <a:gd name="connsiteX7" fmla="*/ 5949 w 10000"/>
                <a:gd name="connsiteY7" fmla="*/ 3388 h 10000"/>
                <a:gd name="connsiteX8" fmla="*/ 3594 w 10000"/>
                <a:gd name="connsiteY8" fmla="*/ 2786 h 10000"/>
                <a:gd name="connsiteX9" fmla="*/ 2042 w 10000"/>
                <a:gd name="connsiteY9" fmla="*/ 993 h 10000"/>
                <a:gd name="connsiteX10" fmla="*/ 0 w 10000"/>
                <a:gd name="connsiteY10" fmla="*/ 271 h 10000"/>
                <a:gd name="connsiteX0" fmla="*/ 0 w 9864"/>
                <a:gd name="connsiteY0" fmla="*/ 373 h 9106"/>
                <a:gd name="connsiteX1" fmla="*/ 753 w 9864"/>
                <a:gd name="connsiteY1" fmla="*/ 2866 h 9106"/>
                <a:gd name="connsiteX2" fmla="*/ 1838 w 9864"/>
                <a:gd name="connsiteY2" fmla="*/ 5309 h 9106"/>
                <a:gd name="connsiteX3" fmla="*/ 2281 w 9864"/>
                <a:gd name="connsiteY3" fmla="*/ 7835 h 9106"/>
                <a:gd name="connsiteX4" fmla="*/ 3779 w 9864"/>
                <a:gd name="connsiteY4" fmla="*/ 9106 h 9106"/>
                <a:gd name="connsiteX5" fmla="*/ 9864 w 9864"/>
                <a:gd name="connsiteY5" fmla="*/ 6787 h 9106"/>
                <a:gd name="connsiteX6" fmla="*/ 7632 w 9864"/>
                <a:gd name="connsiteY6" fmla="*/ 2999 h 9106"/>
                <a:gd name="connsiteX7" fmla="*/ 5813 w 9864"/>
                <a:gd name="connsiteY7" fmla="*/ 2494 h 9106"/>
                <a:gd name="connsiteX8" fmla="*/ 3458 w 9864"/>
                <a:gd name="connsiteY8" fmla="*/ 1892 h 9106"/>
                <a:gd name="connsiteX9" fmla="*/ 1906 w 9864"/>
                <a:gd name="connsiteY9" fmla="*/ 99 h 9106"/>
                <a:gd name="connsiteX10" fmla="*/ 0 w 9864"/>
                <a:gd name="connsiteY10" fmla="*/ 373 h 9106"/>
                <a:gd name="connsiteX0" fmla="*/ 0 w 10000"/>
                <a:gd name="connsiteY0" fmla="*/ 409 h 9002"/>
                <a:gd name="connsiteX1" fmla="*/ 763 w 10000"/>
                <a:gd name="connsiteY1" fmla="*/ 3146 h 9002"/>
                <a:gd name="connsiteX2" fmla="*/ 1863 w 10000"/>
                <a:gd name="connsiteY2" fmla="*/ 5829 h 9002"/>
                <a:gd name="connsiteX3" fmla="*/ 2312 w 10000"/>
                <a:gd name="connsiteY3" fmla="*/ 8603 h 9002"/>
                <a:gd name="connsiteX4" fmla="*/ 3968 w 10000"/>
                <a:gd name="connsiteY4" fmla="*/ 8905 h 9002"/>
                <a:gd name="connsiteX5" fmla="*/ 10000 w 10000"/>
                <a:gd name="connsiteY5" fmla="*/ 7452 h 9002"/>
                <a:gd name="connsiteX6" fmla="*/ 7737 w 10000"/>
                <a:gd name="connsiteY6" fmla="*/ 3292 h 9002"/>
                <a:gd name="connsiteX7" fmla="*/ 5893 w 10000"/>
                <a:gd name="connsiteY7" fmla="*/ 2738 h 9002"/>
                <a:gd name="connsiteX8" fmla="*/ 3506 w 10000"/>
                <a:gd name="connsiteY8" fmla="*/ 2077 h 9002"/>
                <a:gd name="connsiteX9" fmla="*/ 1932 w 10000"/>
                <a:gd name="connsiteY9" fmla="*/ 108 h 9002"/>
                <a:gd name="connsiteX10" fmla="*/ 0 w 10000"/>
                <a:gd name="connsiteY10" fmla="*/ 409 h 9002"/>
                <a:gd name="connsiteX0" fmla="*/ 0 w 10000"/>
                <a:gd name="connsiteY0" fmla="*/ 454 h 9892"/>
                <a:gd name="connsiteX1" fmla="*/ 763 w 10000"/>
                <a:gd name="connsiteY1" fmla="*/ 3495 h 9892"/>
                <a:gd name="connsiteX2" fmla="*/ 1863 w 10000"/>
                <a:gd name="connsiteY2" fmla="*/ 6475 h 9892"/>
                <a:gd name="connsiteX3" fmla="*/ 2862 w 10000"/>
                <a:gd name="connsiteY3" fmla="*/ 8038 h 9892"/>
                <a:gd name="connsiteX4" fmla="*/ 3968 w 10000"/>
                <a:gd name="connsiteY4" fmla="*/ 9892 h 9892"/>
                <a:gd name="connsiteX5" fmla="*/ 10000 w 10000"/>
                <a:gd name="connsiteY5" fmla="*/ 8278 h 9892"/>
                <a:gd name="connsiteX6" fmla="*/ 7737 w 10000"/>
                <a:gd name="connsiteY6" fmla="*/ 3657 h 9892"/>
                <a:gd name="connsiteX7" fmla="*/ 5893 w 10000"/>
                <a:gd name="connsiteY7" fmla="*/ 3042 h 9892"/>
                <a:gd name="connsiteX8" fmla="*/ 3506 w 10000"/>
                <a:gd name="connsiteY8" fmla="*/ 2307 h 9892"/>
                <a:gd name="connsiteX9" fmla="*/ 1932 w 10000"/>
                <a:gd name="connsiteY9" fmla="*/ 120 h 9892"/>
                <a:gd name="connsiteX10" fmla="*/ 0 w 10000"/>
                <a:gd name="connsiteY10" fmla="*/ 454 h 9892"/>
                <a:gd name="connsiteX0" fmla="*/ 0 w 10000"/>
                <a:gd name="connsiteY0" fmla="*/ 459 h 10000"/>
                <a:gd name="connsiteX1" fmla="*/ 763 w 10000"/>
                <a:gd name="connsiteY1" fmla="*/ 3533 h 10000"/>
                <a:gd name="connsiteX2" fmla="*/ 2275 w 10000"/>
                <a:gd name="connsiteY2" fmla="*/ 6546 h 10000"/>
                <a:gd name="connsiteX3" fmla="*/ 2862 w 10000"/>
                <a:gd name="connsiteY3" fmla="*/ 8126 h 10000"/>
                <a:gd name="connsiteX4" fmla="*/ 3968 w 10000"/>
                <a:gd name="connsiteY4" fmla="*/ 10000 h 10000"/>
                <a:gd name="connsiteX5" fmla="*/ 10000 w 10000"/>
                <a:gd name="connsiteY5" fmla="*/ 8368 h 10000"/>
                <a:gd name="connsiteX6" fmla="*/ 7737 w 10000"/>
                <a:gd name="connsiteY6" fmla="*/ 3697 h 10000"/>
                <a:gd name="connsiteX7" fmla="*/ 5893 w 10000"/>
                <a:gd name="connsiteY7" fmla="*/ 3075 h 10000"/>
                <a:gd name="connsiteX8" fmla="*/ 3506 w 10000"/>
                <a:gd name="connsiteY8" fmla="*/ 2332 h 10000"/>
                <a:gd name="connsiteX9" fmla="*/ 1932 w 10000"/>
                <a:gd name="connsiteY9" fmla="*/ 121 h 10000"/>
                <a:gd name="connsiteX10" fmla="*/ 0 w 10000"/>
                <a:gd name="connsiteY10" fmla="*/ 459 h 10000"/>
                <a:gd name="connsiteX0" fmla="*/ 0 w 10000"/>
                <a:gd name="connsiteY0" fmla="*/ 459 h 10000"/>
                <a:gd name="connsiteX1" fmla="*/ 763 w 10000"/>
                <a:gd name="connsiteY1" fmla="*/ 3533 h 10000"/>
                <a:gd name="connsiteX2" fmla="*/ 2825 w 10000"/>
                <a:gd name="connsiteY2" fmla="*/ 6546 h 10000"/>
                <a:gd name="connsiteX3" fmla="*/ 2862 w 10000"/>
                <a:gd name="connsiteY3" fmla="*/ 8126 h 10000"/>
                <a:gd name="connsiteX4" fmla="*/ 3968 w 10000"/>
                <a:gd name="connsiteY4" fmla="*/ 10000 h 10000"/>
                <a:gd name="connsiteX5" fmla="*/ 10000 w 10000"/>
                <a:gd name="connsiteY5" fmla="*/ 8368 h 10000"/>
                <a:gd name="connsiteX6" fmla="*/ 7737 w 10000"/>
                <a:gd name="connsiteY6" fmla="*/ 3697 h 10000"/>
                <a:gd name="connsiteX7" fmla="*/ 5893 w 10000"/>
                <a:gd name="connsiteY7" fmla="*/ 3075 h 10000"/>
                <a:gd name="connsiteX8" fmla="*/ 3506 w 10000"/>
                <a:gd name="connsiteY8" fmla="*/ 2332 h 10000"/>
                <a:gd name="connsiteX9" fmla="*/ 1932 w 10000"/>
                <a:gd name="connsiteY9" fmla="*/ 121 h 10000"/>
                <a:gd name="connsiteX10" fmla="*/ 0 w 10000"/>
                <a:gd name="connsiteY10" fmla="*/ 459 h 10000"/>
                <a:gd name="connsiteX0" fmla="*/ 0 w 10000"/>
                <a:gd name="connsiteY0" fmla="*/ 459 h 10000"/>
                <a:gd name="connsiteX1" fmla="*/ 1450 w 10000"/>
                <a:gd name="connsiteY1" fmla="*/ 2919 h 10000"/>
                <a:gd name="connsiteX2" fmla="*/ 2825 w 10000"/>
                <a:gd name="connsiteY2" fmla="*/ 6546 h 10000"/>
                <a:gd name="connsiteX3" fmla="*/ 2862 w 10000"/>
                <a:gd name="connsiteY3" fmla="*/ 8126 h 10000"/>
                <a:gd name="connsiteX4" fmla="*/ 3968 w 10000"/>
                <a:gd name="connsiteY4" fmla="*/ 10000 h 10000"/>
                <a:gd name="connsiteX5" fmla="*/ 10000 w 10000"/>
                <a:gd name="connsiteY5" fmla="*/ 8368 h 10000"/>
                <a:gd name="connsiteX6" fmla="*/ 7737 w 10000"/>
                <a:gd name="connsiteY6" fmla="*/ 3697 h 10000"/>
                <a:gd name="connsiteX7" fmla="*/ 5893 w 10000"/>
                <a:gd name="connsiteY7" fmla="*/ 3075 h 10000"/>
                <a:gd name="connsiteX8" fmla="*/ 3506 w 10000"/>
                <a:gd name="connsiteY8" fmla="*/ 2332 h 10000"/>
                <a:gd name="connsiteX9" fmla="*/ 1932 w 10000"/>
                <a:gd name="connsiteY9" fmla="*/ 121 h 10000"/>
                <a:gd name="connsiteX10" fmla="*/ 0 w 10000"/>
                <a:gd name="connsiteY10" fmla="*/ 459 h 10000"/>
                <a:gd name="connsiteX0" fmla="*/ 0 w 10000"/>
                <a:gd name="connsiteY0" fmla="*/ 459 h 10000"/>
                <a:gd name="connsiteX1" fmla="*/ 762 w 10000"/>
                <a:gd name="connsiteY1" fmla="*/ 3840 h 10000"/>
                <a:gd name="connsiteX2" fmla="*/ 2825 w 10000"/>
                <a:gd name="connsiteY2" fmla="*/ 6546 h 10000"/>
                <a:gd name="connsiteX3" fmla="*/ 2862 w 10000"/>
                <a:gd name="connsiteY3" fmla="*/ 8126 h 10000"/>
                <a:gd name="connsiteX4" fmla="*/ 3968 w 10000"/>
                <a:gd name="connsiteY4" fmla="*/ 10000 h 10000"/>
                <a:gd name="connsiteX5" fmla="*/ 10000 w 10000"/>
                <a:gd name="connsiteY5" fmla="*/ 8368 h 10000"/>
                <a:gd name="connsiteX6" fmla="*/ 7737 w 10000"/>
                <a:gd name="connsiteY6" fmla="*/ 3697 h 10000"/>
                <a:gd name="connsiteX7" fmla="*/ 5893 w 10000"/>
                <a:gd name="connsiteY7" fmla="*/ 3075 h 10000"/>
                <a:gd name="connsiteX8" fmla="*/ 3506 w 10000"/>
                <a:gd name="connsiteY8" fmla="*/ 2332 h 10000"/>
                <a:gd name="connsiteX9" fmla="*/ 1932 w 10000"/>
                <a:gd name="connsiteY9" fmla="*/ 121 h 10000"/>
                <a:gd name="connsiteX10" fmla="*/ 0 w 10000"/>
                <a:gd name="connsiteY10" fmla="*/ 459 h 10000"/>
                <a:gd name="connsiteX0" fmla="*/ 0 w 10000"/>
                <a:gd name="connsiteY0" fmla="*/ 459 h 10000"/>
                <a:gd name="connsiteX1" fmla="*/ 1174 w 10000"/>
                <a:gd name="connsiteY1" fmla="*/ 3533 h 10000"/>
                <a:gd name="connsiteX2" fmla="*/ 2825 w 10000"/>
                <a:gd name="connsiteY2" fmla="*/ 6546 h 10000"/>
                <a:gd name="connsiteX3" fmla="*/ 2862 w 10000"/>
                <a:gd name="connsiteY3" fmla="*/ 8126 h 10000"/>
                <a:gd name="connsiteX4" fmla="*/ 3968 w 10000"/>
                <a:gd name="connsiteY4" fmla="*/ 10000 h 10000"/>
                <a:gd name="connsiteX5" fmla="*/ 10000 w 10000"/>
                <a:gd name="connsiteY5" fmla="*/ 8368 h 10000"/>
                <a:gd name="connsiteX6" fmla="*/ 7737 w 10000"/>
                <a:gd name="connsiteY6" fmla="*/ 3697 h 10000"/>
                <a:gd name="connsiteX7" fmla="*/ 5893 w 10000"/>
                <a:gd name="connsiteY7" fmla="*/ 3075 h 10000"/>
                <a:gd name="connsiteX8" fmla="*/ 3506 w 10000"/>
                <a:gd name="connsiteY8" fmla="*/ 2332 h 10000"/>
                <a:gd name="connsiteX9" fmla="*/ 1932 w 10000"/>
                <a:gd name="connsiteY9" fmla="*/ 121 h 10000"/>
                <a:gd name="connsiteX10" fmla="*/ 0 w 10000"/>
                <a:gd name="connsiteY10" fmla="*/ 459 h 10000"/>
                <a:gd name="connsiteX0" fmla="*/ 0 w 10000"/>
                <a:gd name="connsiteY0" fmla="*/ 459 h 10000"/>
                <a:gd name="connsiteX1" fmla="*/ 1174 w 10000"/>
                <a:gd name="connsiteY1" fmla="*/ 3533 h 10000"/>
                <a:gd name="connsiteX2" fmla="*/ 2862 w 10000"/>
                <a:gd name="connsiteY2" fmla="*/ 8126 h 10000"/>
                <a:gd name="connsiteX3" fmla="*/ 3968 w 10000"/>
                <a:gd name="connsiteY3" fmla="*/ 10000 h 10000"/>
                <a:gd name="connsiteX4" fmla="*/ 10000 w 10000"/>
                <a:gd name="connsiteY4" fmla="*/ 8368 h 10000"/>
                <a:gd name="connsiteX5" fmla="*/ 7737 w 10000"/>
                <a:gd name="connsiteY5" fmla="*/ 3697 h 10000"/>
                <a:gd name="connsiteX6" fmla="*/ 5893 w 10000"/>
                <a:gd name="connsiteY6" fmla="*/ 3075 h 10000"/>
                <a:gd name="connsiteX7" fmla="*/ 3506 w 10000"/>
                <a:gd name="connsiteY7" fmla="*/ 2332 h 10000"/>
                <a:gd name="connsiteX8" fmla="*/ 1932 w 10000"/>
                <a:gd name="connsiteY8" fmla="*/ 121 h 10000"/>
                <a:gd name="connsiteX9" fmla="*/ 0 w 10000"/>
                <a:gd name="connsiteY9" fmla="*/ 459 h 10000"/>
                <a:gd name="connsiteX0" fmla="*/ 0 w 10000"/>
                <a:gd name="connsiteY0" fmla="*/ 459 h 11229"/>
                <a:gd name="connsiteX1" fmla="*/ 1174 w 10000"/>
                <a:gd name="connsiteY1" fmla="*/ 3533 h 11229"/>
                <a:gd name="connsiteX2" fmla="*/ 2862 w 10000"/>
                <a:gd name="connsiteY2" fmla="*/ 8126 h 11229"/>
                <a:gd name="connsiteX3" fmla="*/ 9605 w 10000"/>
                <a:gd name="connsiteY3" fmla="*/ 11229 h 11229"/>
                <a:gd name="connsiteX4" fmla="*/ 10000 w 10000"/>
                <a:gd name="connsiteY4" fmla="*/ 8368 h 11229"/>
                <a:gd name="connsiteX5" fmla="*/ 7737 w 10000"/>
                <a:gd name="connsiteY5" fmla="*/ 3697 h 11229"/>
                <a:gd name="connsiteX6" fmla="*/ 5893 w 10000"/>
                <a:gd name="connsiteY6" fmla="*/ 3075 h 11229"/>
                <a:gd name="connsiteX7" fmla="*/ 3506 w 10000"/>
                <a:gd name="connsiteY7" fmla="*/ 2332 h 11229"/>
                <a:gd name="connsiteX8" fmla="*/ 1932 w 10000"/>
                <a:gd name="connsiteY8" fmla="*/ 121 h 11229"/>
                <a:gd name="connsiteX9" fmla="*/ 0 w 10000"/>
                <a:gd name="connsiteY9" fmla="*/ 459 h 11229"/>
                <a:gd name="connsiteX0" fmla="*/ 0 w 10000"/>
                <a:gd name="connsiteY0" fmla="*/ 459 h 11229"/>
                <a:gd name="connsiteX1" fmla="*/ 1174 w 10000"/>
                <a:gd name="connsiteY1" fmla="*/ 3533 h 11229"/>
                <a:gd name="connsiteX2" fmla="*/ 8087 w 10000"/>
                <a:gd name="connsiteY2" fmla="*/ 9355 h 11229"/>
                <a:gd name="connsiteX3" fmla="*/ 9605 w 10000"/>
                <a:gd name="connsiteY3" fmla="*/ 11229 h 11229"/>
                <a:gd name="connsiteX4" fmla="*/ 10000 w 10000"/>
                <a:gd name="connsiteY4" fmla="*/ 8368 h 11229"/>
                <a:gd name="connsiteX5" fmla="*/ 7737 w 10000"/>
                <a:gd name="connsiteY5" fmla="*/ 3697 h 11229"/>
                <a:gd name="connsiteX6" fmla="*/ 5893 w 10000"/>
                <a:gd name="connsiteY6" fmla="*/ 3075 h 11229"/>
                <a:gd name="connsiteX7" fmla="*/ 3506 w 10000"/>
                <a:gd name="connsiteY7" fmla="*/ 2332 h 11229"/>
                <a:gd name="connsiteX8" fmla="*/ 1932 w 10000"/>
                <a:gd name="connsiteY8" fmla="*/ 121 h 11229"/>
                <a:gd name="connsiteX9" fmla="*/ 0 w 10000"/>
                <a:gd name="connsiteY9" fmla="*/ 459 h 11229"/>
                <a:gd name="connsiteX0" fmla="*/ 0 w 10000"/>
                <a:gd name="connsiteY0" fmla="*/ 459 h 11229"/>
                <a:gd name="connsiteX1" fmla="*/ 1174 w 10000"/>
                <a:gd name="connsiteY1" fmla="*/ 3533 h 11229"/>
                <a:gd name="connsiteX2" fmla="*/ 3900 w 10000"/>
                <a:gd name="connsiteY2" fmla="*/ 5636 h 11229"/>
                <a:gd name="connsiteX3" fmla="*/ 8087 w 10000"/>
                <a:gd name="connsiteY3" fmla="*/ 9355 h 11229"/>
                <a:gd name="connsiteX4" fmla="*/ 9605 w 10000"/>
                <a:gd name="connsiteY4" fmla="*/ 11229 h 11229"/>
                <a:gd name="connsiteX5" fmla="*/ 10000 w 10000"/>
                <a:gd name="connsiteY5" fmla="*/ 8368 h 11229"/>
                <a:gd name="connsiteX6" fmla="*/ 7737 w 10000"/>
                <a:gd name="connsiteY6" fmla="*/ 3697 h 11229"/>
                <a:gd name="connsiteX7" fmla="*/ 5893 w 10000"/>
                <a:gd name="connsiteY7" fmla="*/ 3075 h 11229"/>
                <a:gd name="connsiteX8" fmla="*/ 3506 w 10000"/>
                <a:gd name="connsiteY8" fmla="*/ 2332 h 11229"/>
                <a:gd name="connsiteX9" fmla="*/ 1932 w 10000"/>
                <a:gd name="connsiteY9" fmla="*/ 121 h 11229"/>
                <a:gd name="connsiteX10" fmla="*/ 0 w 10000"/>
                <a:gd name="connsiteY10" fmla="*/ 459 h 11229"/>
                <a:gd name="connsiteX0" fmla="*/ 0 w 10000"/>
                <a:gd name="connsiteY0" fmla="*/ 459 h 11229"/>
                <a:gd name="connsiteX1" fmla="*/ 1174 w 10000"/>
                <a:gd name="connsiteY1" fmla="*/ 3533 h 11229"/>
                <a:gd name="connsiteX2" fmla="*/ 3900 w 10000"/>
                <a:gd name="connsiteY2" fmla="*/ 5636 h 11229"/>
                <a:gd name="connsiteX3" fmla="*/ 4862 w 10000"/>
                <a:gd name="connsiteY3" fmla="*/ 10243 h 11229"/>
                <a:gd name="connsiteX4" fmla="*/ 8087 w 10000"/>
                <a:gd name="connsiteY4" fmla="*/ 9355 h 11229"/>
                <a:gd name="connsiteX5" fmla="*/ 9605 w 10000"/>
                <a:gd name="connsiteY5" fmla="*/ 11229 h 11229"/>
                <a:gd name="connsiteX6" fmla="*/ 10000 w 10000"/>
                <a:gd name="connsiteY6" fmla="*/ 8368 h 11229"/>
                <a:gd name="connsiteX7" fmla="*/ 7737 w 10000"/>
                <a:gd name="connsiteY7" fmla="*/ 3697 h 11229"/>
                <a:gd name="connsiteX8" fmla="*/ 5893 w 10000"/>
                <a:gd name="connsiteY8" fmla="*/ 3075 h 11229"/>
                <a:gd name="connsiteX9" fmla="*/ 3506 w 10000"/>
                <a:gd name="connsiteY9" fmla="*/ 2332 h 11229"/>
                <a:gd name="connsiteX10" fmla="*/ 1932 w 10000"/>
                <a:gd name="connsiteY10" fmla="*/ 121 h 11229"/>
                <a:gd name="connsiteX11" fmla="*/ 0 w 10000"/>
                <a:gd name="connsiteY11" fmla="*/ 459 h 11229"/>
                <a:gd name="connsiteX0" fmla="*/ 0 w 10000"/>
                <a:gd name="connsiteY0" fmla="*/ 459 h 11229"/>
                <a:gd name="connsiteX1" fmla="*/ 1174 w 10000"/>
                <a:gd name="connsiteY1" fmla="*/ 3533 h 11229"/>
                <a:gd name="connsiteX2" fmla="*/ 3900 w 10000"/>
                <a:gd name="connsiteY2" fmla="*/ 5636 h 11229"/>
                <a:gd name="connsiteX3" fmla="*/ 4862 w 10000"/>
                <a:gd name="connsiteY3" fmla="*/ 10243 h 11229"/>
                <a:gd name="connsiteX4" fmla="*/ 8087 w 10000"/>
                <a:gd name="connsiteY4" fmla="*/ 9355 h 11229"/>
                <a:gd name="connsiteX5" fmla="*/ 9605 w 10000"/>
                <a:gd name="connsiteY5" fmla="*/ 11229 h 11229"/>
                <a:gd name="connsiteX6" fmla="*/ 10000 w 10000"/>
                <a:gd name="connsiteY6" fmla="*/ 8368 h 11229"/>
                <a:gd name="connsiteX7" fmla="*/ 7737 w 10000"/>
                <a:gd name="connsiteY7" fmla="*/ 3697 h 11229"/>
                <a:gd name="connsiteX8" fmla="*/ 5893 w 10000"/>
                <a:gd name="connsiteY8" fmla="*/ 3075 h 11229"/>
                <a:gd name="connsiteX9" fmla="*/ 3506 w 10000"/>
                <a:gd name="connsiteY9" fmla="*/ 2332 h 11229"/>
                <a:gd name="connsiteX10" fmla="*/ 1932 w 10000"/>
                <a:gd name="connsiteY10" fmla="*/ 121 h 11229"/>
                <a:gd name="connsiteX11" fmla="*/ 0 w 10000"/>
                <a:gd name="connsiteY11" fmla="*/ 459 h 11229"/>
                <a:gd name="connsiteX0" fmla="*/ 0 w 10000"/>
                <a:gd name="connsiteY0" fmla="*/ 459 h 11229"/>
                <a:gd name="connsiteX1" fmla="*/ 1174 w 10000"/>
                <a:gd name="connsiteY1" fmla="*/ 3533 h 11229"/>
                <a:gd name="connsiteX2" fmla="*/ 3900 w 10000"/>
                <a:gd name="connsiteY2" fmla="*/ 5636 h 11229"/>
                <a:gd name="connsiteX3" fmla="*/ 4862 w 10000"/>
                <a:gd name="connsiteY3" fmla="*/ 10243 h 11229"/>
                <a:gd name="connsiteX4" fmla="*/ 8087 w 10000"/>
                <a:gd name="connsiteY4" fmla="*/ 9355 h 11229"/>
                <a:gd name="connsiteX5" fmla="*/ 9605 w 10000"/>
                <a:gd name="connsiteY5" fmla="*/ 11229 h 11229"/>
                <a:gd name="connsiteX6" fmla="*/ 10000 w 10000"/>
                <a:gd name="connsiteY6" fmla="*/ 8368 h 11229"/>
                <a:gd name="connsiteX7" fmla="*/ 7737 w 10000"/>
                <a:gd name="connsiteY7" fmla="*/ 3697 h 11229"/>
                <a:gd name="connsiteX8" fmla="*/ 5893 w 10000"/>
                <a:gd name="connsiteY8" fmla="*/ 3075 h 11229"/>
                <a:gd name="connsiteX9" fmla="*/ 3506 w 10000"/>
                <a:gd name="connsiteY9" fmla="*/ 2332 h 11229"/>
                <a:gd name="connsiteX10" fmla="*/ 1932 w 10000"/>
                <a:gd name="connsiteY10" fmla="*/ 121 h 11229"/>
                <a:gd name="connsiteX11" fmla="*/ 0 w 10000"/>
                <a:gd name="connsiteY11" fmla="*/ 459 h 11229"/>
                <a:gd name="connsiteX0" fmla="*/ 0 w 10000"/>
                <a:gd name="connsiteY0" fmla="*/ 459 h 11229"/>
                <a:gd name="connsiteX1" fmla="*/ 1174 w 10000"/>
                <a:gd name="connsiteY1" fmla="*/ 3533 h 11229"/>
                <a:gd name="connsiteX2" fmla="*/ 3900 w 10000"/>
                <a:gd name="connsiteY2" fmla="*/ 5636 h 11229"/>
                <a:gd name="connsiteX3" fmla="*/ 4862 w 10000"/>
                <a:gd name="connsiteY3" fmla="*/ 10243 h 11229"/>
                <a:gd name="connsiteX4" fmla="*/ 8087 w 10000"/>
                <a:gd name="connsiteY4" fmla="*/ 9355 h 11229"/>
                <a:gd name="connsiteX5" fmla="*/ 9605 w 10000"/>
                <a:gd name="connsiteY5" fmla="*/ 11229 h 11229"/>
                <a:gd name="connsiteX6" fmla="*/ 10000 w 10000"/>
                <a:gd name="connsiteY6" fmla="*/ 8368 h 11229"/>
                <a:gd name="connsiteX7" fmla="*/ 7737 w 10000"/>
                <a:gd name="connsiteY7" fmla="*/ 3697 h 11229"/>
                <a:gd name="connsiteX8" fmla="*/ 5893 w 10000"/>
                <a:gd name="connsiteY8" fmla="*/ 3075 h 11229"/>
                <a:gd name="connsiteX9" fmla="*/ 3506 w 10000"/>
                <a:gd name="connsiteY9" fmla="*/ 2332 h 11229"/>
                <a:gd name="connsiteX10" fmla="*/ 1932 w 10000"/>
                <a:gd name="connsiteY10" fmla="*/ 121 h 11229"/>
                <a:gd name="connsiteX11" fmla="*/ 0 w 10000"/>
                <a:gd name="connsiteY11" fmla="*/ 459 h 11229"/>
                <a:gd name="connsiteX0" fmla="*/ 0 w 10000"/>
                <a:gd name="connsiteY0" fmla="*/ 338 h 11108"/>
                <a:gd name="connsiteX1" fmla="*/ 1174 w 10000"/>
                <a:gd name="connsiteY1" fmla="*/ 3412 h 11108"/>
                <a:gd name="connsiteX2" fmla="*/ 3900 w 10000"/>
                <a:gd name="connsiteY2" fmla="*/ 5515 h 11108"/>
                <a:gd name="connsiteX3" fmla="*/ 4862 w 10000"/>
                <a:gd name="connsiteY3" fmla="*/ 10122 h 11108"/>
                <a:gd name="connsiteX4" fmla="*/ 8087 w 10000"/>
                <a:gd name="connsiteY4" fmla="*/ 9234 h 11108"/>
                <a:gd name="connsiteX5" fmla="*/ 9605 w 10000"/>
                <a:gd name="connsiteY5" fmla="*/ 11108 h 11108"/>
                <a:gd name="connsiteX6" fmla="*/ 10000 w 10000"/>
                <a:gd name="connsiteY6" fmla="*/ 8247 h 11108"/>
                <a:gd name="connsiteX7" fmla="*/ 7737 w 10000"/>
                <a:gd name="connsiteY7" fmla="*/ 3576 h 11108"/>
                <a:gd name="connsiteX8" fmla="*/ 5893 w 10000"/>
                <a:gd name="connsiteY8" fmla="*/ 2954 h 11108"/>
                <a:gd name="connsiteX9" fmla="*/ 3506 w 10000"/>
                <a:gd name="connsiteY9" fmla="*/ 2211 h 11108"/>
                <a:gd name="connsiteX10" fmla="*/ 1932 w 10000"/>
                <a:gd name="connsiteY10" fmla="*/ 0 h 11108"/>
                <a:gd name="connsiteX11" fmla="*/ 0 w 10000"/>
                <a:gd name="connsiteY11" fmla="*/ 338 h 11108"/>
                <a:gd name="connsiteX0" fmla="*/ 0 w 10000"/>
                <a:gd name="connsiteY0" fmla="*/ 338 h 11108"/>
                <a:gd name="connsiteX1" fmla="*/ 1312 w 10000"/>
                <a:gd name="connsiteY1" fmla="*/ 4641 h 11108"/>
                <a:gd name="connsiteX2" fmla="*/ 3900 w 10000"/>
                <a:gd name="connsiteY2" fmla="*/ 5515 h 11108"/>
                <a:gd name="connsiteX3" fmla="*/ 4862 w 10000"/>
                <a:gd name="connsiteY3" fmla="*/ 10122 h 11108"/>
                <a:gd name="connsiteX4" fmla="*/ 8087 w 10000"/>
                <a:gd name="connsiteY4" fmla="*/ 9234 h 11108"/>
                <a:gd name="connsiteX5" fmla="*/ 9605 w 10000"/>
                <a:gd name="connsiteY5" fmla="*/ 11108 h 11108"/>
                <a:gd name="connsiteX6" fmla="*/ 10000 w 10000"/>
                <a:gd name="connsiteY6" fmla="*/ 8247 h 11108"/>
                <a:gd name="connsiteX7" fmla="*/ 7737 w 10000"/>
                <a:gd name="connsiteY7" fmla="*/ 3576 h 11108"/>
                <a:gd name="connsiteX8" fmla="*/ 5893 w 10000"/>
                <a:gd name="connsiteY8" fmla="*/ 2954 h 11108"/>
                <a:gd name="connsiteX9" fmla="*/ 3506 w 10000"/>
                <a:gd name="connsiteY9" fmla="*/ 2211 h 11108"/>
                <a:gd name="connsiteX10" fmla="*/ 1932 w 10000"/>
                <a:gd name="connsiteY10" fmla="*/ 0 h 11108"/>
                <a:gd name="connsiteX11" fmla="*/ 0 w 10000"/>
                <a:gd name="connsiteY11" fmla="*/ 338 h 11108"/>
                <a:gd name="connsiteX0" fmla="*/ 0 w 11375"/>
                <a:gd name="connsiteY0" fmla="*/ 2795 h 11108"/>
                <a:gd name="connsiteX1" fmla="*/ 2687 w 11375"/>
                <a:gd name="connsiteY1" fmla="*/ 4641 h 11108"/>
                <a:gd name="connsiteX2" fmla="*/ 5275 w 11375"/>
                <a:gd name="connsiteY2" fmla="*/ 5515 h 11108"/>
                <a:gd name="connsiteX3" fmla="*/ 6237 w 11375"/>
                <a:gd name="connsiteY3" fmla="*/ 10122 h 11108"/>
                <a:gd name="connsiteX4" fmla="*/ 9462 w 11375"/>
                <a:gd name="connsiteY4" fmla="*/ 9234 h 11108"/>
                <a:gd name="connsiteX5" fmla="*/ 10980 w 11375"/>
                <a:gd name="connsiteY5" fmla="*/ 11108 h 11108"/>
                <a:gd name="connsiteX6" fmla="*/ 11375 w 11375"/>
                <a:gd name="connsiteY6" fmla="*/ 8247 h 11108"/>
                <a:gd name="connsiteX7" fmla="*/ 9112 w 11375"/>
                <a:gd name="connsiteY7" fmla="*/ 3576 h 11108"/>
                <a:gd name="connsiteX8" fmla="*/ 7268 w 11375"/>
                <a:gd name="connsiteY8" fmla="*/ 2954 h 11108"/>
                <a:gd name="connsiteX9" fmla="*/ 4881 w 11375"/>
                <a:gd name="connsiteY9" fmla="*/ 2211 h 11108"/>
                <a:gd name="connsiteX10" fmla="*/ 3307 w 11375"/>
                <a:gd name="connsiteY10" fmla="*/ 0 h 11108"/>
                <a:gd name="connsiteX11" fmla="*/ 0 w 11375"/>
                <a:gd name="connsiteY11" fmla="*/ 2795 h 11108"/>
                <a:gd name="connsiteX0" fmla="*/ 0 w 11375"/>
                <a:gd name="connsiteY0" fmla="*/ 2795 h 11108"/>
                <a:gd name="connsiteX1" fmla="*/ 1037 w 11375"/>
                <a:gd name="connsiteY1" fmla="*/ 7098 h 11108"/>
                <a:gd name="connsiteX2" fmla="*/ 5275 w 11375"/>
                <a:gd name="connsiteY2" fmla="*/ 5515 h 11108"/>
                <a:gd name="connsiteX3" fmla="*/ 6237 w 11375"/>
                <a:gd name="connsiteY3" fmla="*/ 10122 h 11108"/>
                <a:gd name="connsiteX4" fmla="*/ 9462 w 11375"/>
                <a:gd name="connsiteY4" fmla="*/ 9234 h 11108"/>
                <a:gd name="connsiteX5" fmla="*/ 10980 w 11375"/>
                <a:gd name="connsiteY5" fmla="*/ 11108 h 11108"/>
                <a:gd name="connsiteX6" fmla="*/ 11375 w 11375"/>
                <a:gd name="connsiteY6" fmla="*/ 8247 h 11108"/>
                <a:gd name="connsiteX7" fmla="*/ 9112 w 11375"/>
                <a:gd name="connsiteY7" fmla="*/ 3576 h 11108"/>
                <a:gd name="connsiteX8" fmla="*/ 7268 w 11375"/>
                <a:gd name="connsiteY8" fmla="*/ 2954 h 11108"/>
                <a:gd name="connsiteX9" fmla="*/ 4881 w 11375"/>
                <a:gd name="connsiteY9" fmla="*/ 2211 h 11108"/>
                <a:gd name="connsiteX10" fmla="*/ 3307 w 11375"/>
                <a:gd name="connsiteY10" fmla="*/ 0 h 11108"/>
                <a:gd name="connsiteX11" fmla="*/ 0 w 11375"/>
                <a:gd name="connsiteY11" fmla="*/ 2795 h 11108"/>
                <a:gd name="connsiteX0" fmla="*/ 0 w 11375"/>
                <a:gd name="connsiteY0" fmla="*/ 2795 h 12272"/>
                <a:gd name="connsiteX1" fmla="*/ 1037 w 11375"/>
                <a:gd name="connsiteY1" fmla="*/ 7098 h 12272"/>
                <a:gd name="connsiteX2" fmla="*/ 600 w 11375"/>
                <a:gd name="connsiteY2" fmla="*/ 12272 h 12272"/>
                <a:gd name="connsiteX3" fmla="*/ 6237 w 11375"/>
                <a:gd name="connsiteY3" fmla="*/ 10122 h 12272"/>
                <a:gd name="connsiteX4" fmla="*/ 9462 w 11375"/>
                <a:gd name="connsiteY4" fmla="*/ 9234 h 12272"/>
                <a:gd name="connsiteX5" fmla="*/ 10980 w 11375"/>
                <a:gd name="connsiteY5" fmla="*/ 11108 h 12272"/>
                <a:gd name="connsiteX6" fmla="*/ 11375 w 11375"/>
                <a:gd name="connsiteY6" fmla="*/ 8247 h 12272"/>
                <a:gd name="connsiteX7" fmla="*/ 9112 w 11375"/>
                <a:gd name="connsiteY7" fmla="*/ 3576 h 12272"/>
                <a:gd name="connsiteX8" fmla="*/ 7268 w 11375"/>
                <a:gd name="connsiteY8" fmla="*/ 2954 h 12272"/>
                <a:gd name="connsiteX9" fmla="*/ 4881 w 11375"/>
                <a:gd name="connsiteY9" fmla="*/ 2211 h 12272"/>
                <a:gd name="connsiteX10" fmla="*/ 3307 w 11375"/>
                <a:gd name="connsiteY10" fmla="*/ 0 h 12272"/>
                <a:gd name="connsiteX11" fmla="*/ 0 w 11375"/>
                <a:gd name="connsiteY11" fmla="*/ 2795 h 12272"/>
                <a:gd name="connsiteX0" fmla="*/ 0 w 11375"/>
                <a:gd name="connsiteY0" fmla="*/ 2795 h 12579"/>
                <a:gd name="connsiteX1" fmla="*/ 1037 w 11375"/>
                <a:gd name="connsiteY1" fmla="*/ 7098 h 12579"/>
                <a:gd name="connsiteX2" fmla="*/ 600 w 11375"/>
                <a:gd name="connsiteY2" fmla="*/ 12272 h 12579"/>
                <a:gd name="connsiteX3" fmla="*/ 2662 w 11375"/>
                <a:gd name="connsiteY3" fmla="*/ 12579 h 12579"/>
                <a:gd name="connsiteX4" fmla="*/ 9462 w 11375"/>
                <a:gd name="connsiteY4" fmla="*/ 9234 h 12579"/>
                <a:gd name="connsiteX5" fmla="*/ 10980 w 11375"/>
                <a:gd name="connsiteY5" fmla="*/ 11108 h 12579"/>
                <a:gd name="connsiteX6" fmla="*/ 11375 w 11375"/>
                <a:gd name="connsiteY6" fmla="*/ 8247 h 12579"/>
                <a:gd name="connsiteX7" fmla="*/ 9112 w 11375"/>
                <a:gd name="connsiteY7" fmla="*/ 3576 h 12579"/>
                <a:gd name="connsiteX8" fmla="*/ 7268 w 11375"/>
                <a:gd name="connsiteY8" fmla="*/ 2954 h 12579"/>
                <a:gd name="connsiteX9" fmla="*/ 4881 w 11375"/>
                <a:gd name="connsiteY9" fmla="*/ 2211 h 12579"/>
                <a:gd name="connsiteX10" fmla="*/ 3307 w 11375"/>
                <a:gd name="connsiteY10" fmla="*/ 0 h 12579"/>
                <a:gd name="connsiteX11" fmla="*/ 0 w 11375"/>
                <a:gd name="connsiteY11" fmla="*/ 2795 h 12579"/>
                <a:gd name="connsiteX0" fmla="*/ 0 w 11375"/>
                <a:gd name="connsiteY0" fmla="*/ 2795 h 12579"/>
                <a:gd name="connsiteX1" fmla="*/ 1037 w 11375"/>
                <a:gd name="connsiteY1" fmla="*/ 7098 h 12579"/>
                <a:gd name="connsiteX2" fmla="*/ 600 w 11375"/>
                <a:gd name="connsiteY2" fmla="*/ 12272 h 12579"/>
                <a:gd name="connsiteX3" fmla="*/ 2662 w 11375"/>
                <a:gd name="connsiteY3" fmla="*/ 12579 h 12579"/>
                <a:gd name="connsiteX4" fmla="*/ 4100 w 11375"/>
                <a:gd name="connsiteY4" fmla="*/ 7698 h 12579"/>
                <a:gd name="connsiteX5" fmla="*/ 10980 w 11375"/>
                <a:gd name="connsiteY5" fmla="*/ 11108 h 12579"/>
                <a:gd name="connsiteX6" fmla="*/ 11375 w 11375"/>
                <a:gd name="connsiteY6" fmla="*/ 8247 h 12579"/>
                <a:gd name="connsiteX7" fmla="*/ 9112 w 11375"/>
                <a:gd name="connsiteY7" fmla="*/ 3576 h 12579"/>
                <a:gd name="connsiteX8" fmla="*/ 7268 w 11375"/>
                <a:gd name="connsiteY8" fmla="*/ 2954 h 12579"/>
                <a:gd name="connsiteX9" fmla="*/ 4881 w 11375"/>
                <a:gd name="connsiteY9" fmla="*/ 2211 h 12579"/>
                <a:gd name="connsiteX10" fmla="*/ 3307 w 11375"/>
                <a:gd name="connsiteY10" fmla="*/ 0 h 12579"/>
                <a:gd name="connsiteX11" fmla="*/ 0 w 11375"/>
                <a:gd name="connsiteY11" fmla="*/ 2795 h 12579"/>
                <a:gd name="connsiteX0" fmla="*/ 0 w 11375"/>
                <a:gd name="connsiteY0" fmla="*/ 2795 h 12579"/>
                <a:gd name="connsiteX1" fmla="*/ 1037 w 11375"/>
                <a:gd name="connsiteY1" fmla="*/ 7098 h 12579"/>
                <a:gd name="connsiteX2" fmla="*/ 600 w 11375"/>
                <a:gd name="connsiteY2" fmla="*/ 12272 h 12579"/>
                <a:gd name="connsiteX3" fmla="*/ 2662 w 11375"/>
                <a:gd name="connsiteY3" fmla="*/ 12579 h 12579"/>
                <a:gd name="connsiteX4" fmla="*/ 4100 w 11375"/>
                <a:gd name="connsiteY4" fmla="*/ 5241 h 12579"/>
                <a:gd name="connsiteX5" fmla="*/ 10980 w 11375"/>
                <a:gd name="connsiteY5" fmla="*/ 11108 h 12579"/>
                <a:gd name="connsiteX6" fmla="*/ 11375 w 11375"/>
                <a:gd name="connsiteY6" fmla="*/ 8247 h 12579"/>
                <a:gd name="connsiteX7" fmla="*/ 9112 w 11375"/>
                <a:gd name="connsiteY7" fmla="*/ 3576 h 12579"/>
                <a:gd name="connsiteX8" fmla="*/ 7268 w 11375"/>
                <a:gd name="connsiteY8" fmla="*/ 2954 h 12579"/>
                <a:gd name="connsiteX9" fmla="*/ 4881 w 11375"/>
                <a:gd name="connsiteY9" fmla="*/ 2211 h 12579"/>
                <a:gd name="connsiteX10" fmla="*/ 3307 w 11375"/>
                <a:gd name="connsiteY10" fmla="*/ 0 h 12579"/>
                <a:gd name="connsiteX11" fmla="*/ 0 w 11375"/>
                <a:gd name="connsiteY11" fmla="*/ 2795 h 12579"/>
                <a:gd name="connsiteX0" fmla="*/ 0 w 11375"/>
                <a:gd name="connsiteY0" fmla="*/ 2795 h 12579"/>
                <a:gd name="connsiteX1" fmla="*/ 1037 w 11375"/>
                <a:gd name="connsiteY1" fmla="*/ 7098 h 12579"/>
                <a:gd name="connsiteX2" fmla="*/ 600 w 11375"/>
                <a:gd name="connsiteY2" fmla="*/ 12272 h 12579"/>
                <a:gd name="connsiteX3" fmla="*/ 2662 w 11375"/>
                <a:gd name="connsiteY3" fmla="*/ 12579 h 12579"/>
                <a:gd name="connsiteX4" fmla="*/ 4650 w 11375"/>
                <a:gd name="connsiteY4" fmla="*/ 6777 h 12579"/>
                <a:gd name="connsiteX5" fmla="*/ 10980 w 11375"/>
                <a:gd name="connsiteY5" fmla="*/ 11108 h 12579"/>
                <a:gd name="connsiteX6" fmla="*/ 11375 w 11375"/>
                <a:gd name="connsiteY6" fmla="*/ 8247 h 12579"/>
                <a:gd name="connsiteX7" fmla="*/ 9112 w 11375"/>
                <a:gd name="connsiteY7" fmla="*/ 3576 h 12579"/>
                <a:gd name="connsiteX8" fmla="*/ 7268 w 11375"/>
                <a:gd name="connsiteY8" fmla="*/ 2954 h 12579"/>
                <a:gd name="connsiteX9" fmla="*/ 4881 w 11375"/>
                <a:gd name="connsiteY9" fmla="*/ 2211 h 12579"/>
                <a:gd name="connsiteX10" fmla="*/ 3307 w 11375"/>
                <a:gd name="connsiteY10" fmla="*/ 0 h 12579"/>
                <a:gd name="connsiteX11" fmla="*/ 0 w 11375"/>
                <a:gd name="connsiteY11" fmla="*/ 2795 h 12579"/>
                <a:gd name="connsiteX0" fmla="*/ 0 w 11375"/>
                <a:gd name="connsiteY0" fmla="*/ 2795 h 12579"/>
                <a:gd name="connsiteX1" fmla="*/ 1037 w 11375"/>
                <a:gd name="connsiteY1" fmla="*/ 7098 h 12579"/>
                <a:gd name="connsiteX2" fmla="*/ 600 w 11375"/>
                <a:gd name="connsiteY2" fmla="*/ 12272 h 12579"/>
                <a:gd name="connsiteX3" fmla="*/ 2662 w 11375"/>
                <a:gd name="connsiteY3" fmla="*/ 12579 h 12579"/>
                <a:gd name="connsiteX4" fmla="*/ 4650 w 11375"/>
                <a:gd name="connsiteY4" fmla="*/ 6777 h 12579"/>
                <a:gd name="connsiteX5" fmla="*/ 5480 w 11375"/>
                <a:gd name="connsiteY5" fmla="*/ 11722 h 12579"/>
                <a:gd name="connsiteX6" fmla="*/ 11375 w 11375"/>
                <a:gd name="connsiteY6" fmla="*/ 8247 h 12579"/>
                <a:gd name="connsiteX7" fmla="*/ 9112 w 11375"/>
                <a:gd name="connsiteY7" fmla="*/ 3576 h 12579"/>
                <a:gd name="connsiteX8" fmla="*/ 7268 w 11375"/>
                <a:gd name="connsiteY8" fmla="*/ 2954 h 12579"/>
                <a:gd name="connsiteX9" fmla="*/ 4881 w 11375"/>
                <a:gd name="connsiteY9" fmla="*/ 2211 h 12579"/>
                <a:gd name="connsiteX10" fmla="*/ 3307 w 11375"/>
                <a:gd name="connsiteY10" fmla="*/ 0 h 12579"/>
                <a:gd name="connsiteX11" fmla="*/ 0 w 11375"/>
                <a:gd name="connsiteY11" fmla="*/ 2795 h 12579"/>
                <a:gd name="connsiteX0" fmla="*/ 0 w 9112"/>
                <a:gd name="connsiteY0" fmla="*/ 2795 h 12579"/>
                <a:gd name="connsiteX1" fmla="*/ 1037 w 9112"/>
                <a:gd name="connsiteY1" fmla="*/ 7098 h 12579"/>
                <a:gd name="connsiteX2" fmla="*/ 600 w 9112"/>
                <a:gd name="connsiteY2" fmla="*/ 12272 h 12579"/>
                <a:gd name="connsiteX3" fmla="*/ 2662 w 9112"/>
                <a:gd name="connsiteY3" fmla="*/ 12579 h 12579"/>
                <a:gd name="connsiteX4" fmla="*/ 4650 w 9112"/>
                <a:gd name="connsiteY4" fmla="*/ 6777 h 12579"/>
                <a:gd name="connsiteX5" fmla="*/ 5480 w 9112"/>
                <a:gd name="connsiteY5" fmla="*/ 11722 h 12579"/>
                <a:gd name="connsiteX6" fmla="*/ 8075 w 9112"/>
                <a:gd name="connsiteY6" fmla="*/ 10397 h 12579"/>
                <a:gd name="connsiteX7" fmla="*/ 9112 w 9112"/>
                <a:gd name="connsiteY7" fmla="*/ 3576 h 12579"/>
                <a:gd name="connsiteX8" fmla="*/ 7268 w 9112"/>
                <a:gd name="connsiteY8" fmla="*/ 2954 h 12579"/>
                <a:gd name="connsiteX9" fmla="*/ 4881 w 9112"/>
                <a:gd name="connsiteY9" fmla="*/ 2211 h 12579"/>
                <a:gd name="connsiteX10" fmla="*/ 3307 w 9112"/>
                <a:gd name="connsiteY10" fmla="*/ 0 h 12579"/>
                <a:gd name="connsiteX11" fmla="*/ 0 w 9112"/>
                <a:gd name="connsiteY11" fmla="*/ 2795 h 12579"/>
                <a:gd name="connsiteX0" fmla="*/ 0 w 11509"/>
                <a:gd name="connsiteY0" fmla="*/ 2222 h 10000"/>
                <a:gd name="connsiteX1" fmla="*/ 1138 w 11509"/>
                <a:gd name="connsiteY1" fmla="*/ 5643 h 10000"/>
                <a:gd name="connsiteX2" fmla="*/ 658 w 11509"/>
                <a:gd name="connsiteY2" fmla="*/ 9756 h 10000"/>
                <a:gd name="connsiteX3" fmla="*/ 2921 w 11509"/>
                <a:gd name="connsiteY3" fmla="*/ 10000 h 10000"/>
                <a:gd name="connsiteX4" fmla="*/ 5103 w 11509"/>
                <a:gd name="connsiteY4" fmla="*/ 5388 h 10000"/>
                <a:gd name="connsiteX5" fmla="*/ 6014 w 11509"/>
                <a:gd name="connsiteY5" fmla="*/ 9319 h 10000"/>
                <a:gd name="connsiteX6" fmla="*/ 8862 w 11509"/>
                <a:gd name="connsiteY6" fmla="*/ 8265 h 10000"/>
                <a:gd name="connsiteX7" fmla="*/ 11509 w 11509"/>
                <a:gd name="connsiteY7" fmla="*/ 9924 h 10000"/>
                <a:gd name="connsiteX8" fmla="*/ 7976 w 11509"/>
                <a:gd name="connsiteY8" fmla="*/ 2348 h 10000"/>
                <a:gd name="connsiteX9" fmla="*/ 5357 w 11509"/>
                <a:gd name="connsiteY9" fmla="*/ 1758 h 10000"/>
                <a:gd name="connsiteX10" fmla="*/ 3629 w 11509"/>
                <a:gd name="connsiteY10" fmla="*/ 0 h 10000"/>
                <a:gd name="connsiteX11" fmla="*/ 0 w 11509"/>
                <a:gd name="connsiteY11" fmla="*/ 2222 h 10000"/>
                <a:gd name="connsiteX0" fmla="*/ 0 w 11509"/>
                <a:gd name="connsiteY0" fmla="*/ 2222 h 10000"/>
                <a:gd name="connsiteX1" fmla="*/ 1138 w 11509"/>
                <a:gd name="connsiteY1" fmla="*/ 5643 h 10000"/>
                <a:gd name="connsiteX2" fmla="*/ 658 w 11509"/>
                <a:gd name="connsiteY2" fmla="*/ 9756 h 10000"/>
                <a:gd name="connsiteX3" fmla="*/ 2921 w 11509"/>
                <a:gd name="connsiteY3" fmla="*/ 10000 h 10000"/>
                <a:gd name="connsiteX4" fmla="*/ 5103 w 11509"/>
                <a:gd name="connsiteY4" fmla="*/ 5388 h 10000"/>
                <a:gd name="connsiteX5" fmla="*/ 6014 w 11509"/>
                <a:gd name="connsiteY5" fmla="*/ 9319 h 10000"/>
                <a:gd name="connsiteX6" fmla="*/ 8862 w 11509"/>
                <a:gd name="connsiteY6" fmla="*/ 8265 h 10000"/>
                <a:gd name="connsiteX7" fmla="*/ 11509 w 11509"/>
                <a:gd name="connsiteY7" fmla="*/ 9924 h 10000"/>
                <a:gd name="connsiteX8" fmla="*/ 11446 w 11509"/>
                <a:gd name="connsiteY8" fmla="*/ 5522 h 10000"/>
                <a:gd name="connsiteX9" fmla="*/ 5357 w 11509"/>
                <a:gd name="connsiteY9" fmla="*/ 1758 h 10000"/>
                <a:gd name="connsiteX10" fmla="*/ 3629 w 11509"/>
                <a:gd name="connsiteY10" fmla="*/ 0 h 10000"/>
                <a:gd name="connsiteX11" fmla="*/ 0 w 11509"/>
                <a:gd name="connsiteY11" fmla="*/ 2222 h 10000"/>
                <a:gd name="connsiteX0" fmla="*/ 0 w 11509"/>
                <a:gd name="connsiteY0" fmla="*/ 2222 h 10000"/>
                <a:gd name="connsiteX1" fmla="*/ 1138 w 11509"/>
                <a:gd name="connsiteY1" fmla="*/ 5643 h 10000"/>
                <a:gd name="connsiteX2" fmla="*/ 658 w 11509"/>
                <a:gd name="connsiteY2" fmla="*/ 9756 h 10000"/>
                <a:gd name="connsiteX3" fmla="*/ 2921 w 11509"/>
                <a:gd name="connsiteY3" fmla="*/ 10000 h 10000"/>
                <a:gd name="connsiteX4" fmla="*/ 5103 w 11509"/>
                <a:gd name="connsiteY4" fmla="*/ 5388 h 10000"/>
                <a:gd name="connsiteX5" fmla="*/ 6014 w 11509"/>
                <a:gd name="connsiteY5" fmla="*/ 9319 h 10000"/>
                <a:gd name="connsiteX6" fmla="*/ 8862 w 11509"/>
                <a:gd name="connsiteY6" fmla="*/ 8265 h 10000"/>
                <a:gd name="connsiteX7" fmla="*/ 11509 w 11509"/>
                <a:gd name="connsiteY7" fmla="*/ 9924 h 10000"/>
                <a:gd name="connsiteX8" fmla="*/ 11446 w 11509"/>
                <a:gd name="connsiteY8" fmla="*/ 5522 h 10000"/>
                <a:gd name="connsiteX9" fmla="*/ 9733 w 11509"/>
                <a:gd name="connsiteY9" fmla="*/ 2735 h 10000"/>
                <a:gd name="connsiteX10" fmla="*/ 3629 w 11509"/>
                <a:gd name="connsiteY10" fmla="*/ 0 h 10000"/>
                <a:gd name="connsiteX11" fmla="*/ 0 w 11509"/>
                <a:gd name="connsiteY11" fmla="*/ 2222 h 10000"/>
                <a:gd name="connsiteX0" fmla="*/ 0 w 11509"/>
                <a:gd name="connsiteY0" fmla="*/ 24 h 7802"/>
                <a:gd name="connsiteX1" fmla="*/ 1138 w 11509"/>
                <a:gd name="connsiteY1" fmla="*/ 3445 h 7802"/>
                <a:gd name="connsiteX2" fmla="*/ 658 w 11509"/>
                <a:gd name="connsiteY2" fmla="*/ 7558 h 7802"/>
                <a:gd name="connsiteX3" fmla="*/ 2921 w 11509"/>
                <a:gd name="connsiteY3" fmla="*/ 7802 h 7802"/>
                <a:gd name="connsiteX4" fmla="*/ 5103 w 11509"/>
                <a:gd name="connsiteY4" fmla="*/ 3190 h 7802"/>
                <a:gd name="connsiteX5" fmla="*/ 6014 w 11509"/>
                <a:gd name="connsiteY5" fmla="*/ 7121 h 7802"/>
                <a:gd name="connsiteX6" fmla="*/ 8862 w 11509"/>
                <a:gd name="connsiteY6" fmla="*/ 6067 h 7802"/>
                <a:gd name="connsiteX7" fmla="*/ 11509 w 11509"/>
                <a:gd name="connsiteY7" fmla="*/ 7726 h 7802"/>
                <a:gd name="connsiteX8" fmla="*/ 11446 w 11509"/>
                <a:gd name="connsiteY8" fmla="*/ 3324 h 7802"/>
                <a:gd name="connsiteX9" fmla="*/ 9733 w 11509"/>
                <a:gd name="connsiteY9" fmla="*/ 537 h 7802"/>
                <a:gd name="connsiteX10" fmla="*/ 5289 w 11509"/>
                <a:gd name="connsiteY10" fmla="*/ 0 h 7802"/>
                <a:gd name="connsiteX11" fmla="*/ 0 w 11509"/>
                <a:gd name="connsiteY11" fmla="*/ 24 h 7802"/>
                <a:gd name="connsiteX0" fmla="*/ 0 w 10000"/>
                <a:gd name="connsiteY0" fmla="*/ 1411 h 11380"/>
                <a:gd name="connsiteX1" fmla="*/ 989 w 10000"/>
                <a:gd name="connsiteY1" fmla="*/ 5796 h 11380"/>
                <a:gd name="connsiteX2" fmla="*/ 572 w 10000"/>
                <a:gd name="connsiteY2" fmla="*/ 11067 h 11380"/>
                <a:gd name="connsiteX3" fmla="*/ 2538 w 10000"/>
                <a:gd name="connsiteY3" fmla="*/ 11380 h 11380"/>
                <a:gd name="connsiteX4" fmla="*/ 4434 w 10000"/>
                <a:gd name="connsiteY4" fmla="*/ 5469 h 11380"/>
                <a:gd name="connsiteX5" fmla="*/ 5225 w 10000"/>
                <a:gd name="connsiteY5" fmla="*/ 10507 h 11380"/>
                <a:gd name="connsiteX6" fmla="*/ 7700 w 10000"/>
                <a:gd name="connsiteY6" fmla="*/ 9156 h 11380"/>
                <a:gd name="connsiteX7" fmla="*/ 10000 w 10000"/>
                <a:gd name="connsiteY7" fmla="*/ 11283 h 11380"/>
                <a:gd name="connsiteX8" fmla="*/ 9945 w 10000"/>
                <a:gd name="connsiteY8" fmla="*/ 5640 h 11380"/>
                <a:gd name="connsiteX9" fmla="*/ 8457 w 10000"/>
                <a:gd name="connsiteY9" fmla="*/ 2068 h 11380"/>
                <a:gd name="connsiteX10" fmla="*/ 4596 w 10000"/>
                <a:gd name="connsiteY10" fmla="*/ 1380 h 11380"/>
                <a:gd name="connsiteX11" fmla="*/ 0 w 10000"/>
                <a:gd name="connsiteY11" fmla="*/ 1411 h 11380"/>
                <a:gd name="connsiteX0" fmla="*/ 0 w 10000"/>
                <a:gd name="connsiteY0" fmla="*/ 3175 h 13144"/>
                <a:gd name="connsiteX1" fmla="*/ 989 w 10000"/>
                <a:gd name="connsiteY1" fmla="*/ 7560 h 13144"/>
                <a:gd name="connsiteX2" fmla="*/ 572 w 10000"/>
                <a:gd name="connsiteY2" fmla="*/ 12831 h 13144"/>
                <a:gd name="connsiteX3" fmla="*/ 2538 w 10000"/>
                <a:gd name="connsiteY3" fmla="*/ 13144 h 13144"/>
                <a:gd name="connsiteX4" fmla="*/ 4434 w 10000"/>
                <a:gd name="connsiteY4" fmla="*/ 7233 h 13144"/>
                <a:gd name="connsiteX5" fmla="*/ 5225 w 10000"/>
                <a:gd name="connsiteY5" fmla="*/ 12271 h 13144"/>
                <a:gd name="connsiteX6" fmla="*/ 7700 w 10000"/>
                <a:gd name="connsiteY6" fmla="*/ 10920 h 13144"/>
                <a:gd name="connsiteX7" fmla="*/ 10000 w 10000"/>
                <a:gd name="connsiteY7" fmla="*/ 13047 h 13144"/>
                <a:gd name="connsiteX8" fmla="*/ 9945 w 10000"/>
                <a:gd name="connsiteY8" fmla="*/ 7404 h 13144"/>
                <a:gd name="connsiteX9" fmla="*/ 8457 w 10000"/>
                <a:gd name="connsiteY9" fmla="*/ 3832 h 13144"/>
                <a:gd name="connsiteX10" fmla="*/ 4596 w 10000"/>
                <a:gd name="connsiteY10" fmla="*/ 3144 h 13144"/>
                <a:gd name="connsiteX11" fmla="*/ 3588 w 10000"/>
                <a:gd name="connsiteY11" fmla="*/ 0 h 13144"/>
                <a:gd name="connsiteX12" fmla="*/ 0 w 10000"/>
                <a:gd name="connsiteY12" fmla="*/ 3175 h 13144"/>
                <a:gd name="connsiteX0" fmla="*/ 0 w 10000"/>
                <a:gd name="connsiteY0" fmla="*/ 4835 h 14804"/>
                <a:gd name="connsiteX1" fmla="*/ 989 w 10000"/>
                <a:gd name="connsiteY1" fmla="*/ 9220 h 14804"/>
                <a:gd name="connsiteX2" fmla="*/ 572 w 10000"/>
                <a:gd name="connsiteY2" fmla="*/ 14491 h 14804"/>
                <a:gd name="connsiteX3" fmla="*/ 2538 w 10000"/>
                <a:gd name="connsiteY3" fmla="*/ 14804 h 14804"/>
                <a:gd name="connsiteX4" fmla="*/ 4434 w 10000"/>
                <a:gd name="connsiteY4" fmla="*/ 8893 h 14804"/>
                <a:gd name="connsiteX5" fmla="*/ 5225 w 10000"/>
                <a:gd name="connsiteY5" fmla="*/ 13931 h 14804"/>
                <a:gd name="connsiteX6" fmla="*/ 7700 w 10000"/>
                <a:gd name="connsiteY6" fmla="*/ 12580 h 14804"/>
                <a:gd name="connsiteX7" fmla="*/ 10000 w 10000"/>
                <a:gd name="connsiteY7" fmla="*/ 14707 h 14804"/>
                <a:gd name="connsiteX8" fmla="*/ 9945 w 10000"/>
                <a:gd name="connsiteY8" fmla="*/ 9064 h 14804"/>
                <a:gd name="connsiteX9" fmla="*/ 8457 w 10000"/>
                <a:gd name="connsiteY9" fmla="*/ 5492 h 14804"/>
                <a:gd name="connsiteX10" fmla="*/ 4596 w 10000"/>
                <a:gd name="connsiteY10" fmla="*/ 4804 h 14804"/>
                <a:gd name="connsiteX11" fmla="*/ 3588 w 10000"/>
                <a:gd name="connsiteY11" fmla="*/ 1660 h 14804"/>
                <a:gd name="connsiteX12" fmla="*/ 1752 w 10000"/>
                <a:gd name="connsiteY12" fmla="*/ 95 h 14804"/>
                <a:gd name="connsiteX13" fmla="*/ 0 w 10000"/>
                <a:gd name="connsiteY13" fmla="*/ 4835 h 14804"/>
                <a:gd name="connsiteX0" fmla="*/ 0 w 10000"/>
                <a:gd name="connsiteY0" fmla="*/ 3219 h 13188"/>
                <a:gd name="connsiteX1" fmla="*/ 989 w 10000"/>
                <a:gd name="connsiteY1" fmla="*/ 7604 h 13188"/>
                <a:gd name="connsiteX2" fmla="*/ 572 w 10000"/>
                <a:gd name="connsiteY2" fmla="*/ 12875 h 13188"/>
                <a:gd name="connsiteX3" fmla="*/ 2538 w 10000"/>
                <a:gd name="connsiteY3" fmla="*/ 13188 h 13188"/>
                <a:gd name="connsiteX4" fmla="*/ 4434 w 10000"/>
                <a:gd name="connsiteY4" fmla="*/ 7277 h 13188"/>
                <a:gd name="connsiteX5" fmla="*/ 5225 w 10000"/>
                <a:gd name="connsiteY5" fmla="*/ 12315 h 13188"/>
                <a:gd name="connsiteX6" fmla="*/ 7700 w 10000"/>
                <a:gd name="connsiteY6" fmla="*/ 10964 h 13188"/>
                <a:gd name="connsiteX7" fmla="*/ 10000 w 10000"/>
                <a:gd name="connsiteY7" fmla="*/ 13091 h 13188"/>
                <a:gd name="connsiteX8" fmla="*/ 9945 w 10000"/>
                <a:gd name="connsiteY8" fmla="*/ 7448 h 13188"/>
                <a:gd name="connsiteX9" fmla="*/ 8457 w 10000"/>
                <a:gd name="connsiteY9" fmla="*/ 3876 h 13188"/>
                <a:gd name="connsiteX10" fmla="*/ 4596 w 10000"/>
                <a:gd name="connsiteY10" fmla="*/ 3188 h 13188"/>
                <a:gd name="connsiteX11" fmla="*/ 3588 w 10000"/>
                <a:gd name="connsiteY11" fmla="*/ 44 h 13188"/>
                <a:gd name="connsiteX12" fmla="*/ 1621 w 10000"/>
                <a:gd name="connsiteY12" fmla="*/ 1296 h 13188"/>
                <a:gd name="connsiteX13" fmla="*/ 0 w 10000"/>
                <a:gd name="connsiteY13" fmla="*/ 3219 h 13188"/>
                <a:gd name="connsiteX0" fmla="*/ 0 w 10000"/>
                <a:gd name="connsiteY0" fmla="*/ 3219 h 13188"/>
                <a:gd name="connsiteX1" fmla="*/ 989 w 10000"/>
                <a:gd name="connsiteY1" fmla="*/ 7604 h 13188"/>
                <a:gd name="connsiteX2" fmla="*/ 572 w 10000"/>
                <a:gd name="connsiteY2" fmla="*/ 12875 h 13188"/>
                <a:gd name="connsiteX3" fmla="*/ 2538 w 10000"/>
                <a:gd name="connsiteY3" fmla="*/ 13188 h 13188"/>
                <a:gd name="connsiteX4" fmla="*/ 4434 w 10000"/>
                <a:gd name="connsiteY4" fmla="*/ 7277 h 13188"/>
                <a:gd name="connsiteX5" fmla="*/ 5225 w 10000"/>
                <a:gd name="connsiteY5" fmla="*/ 12315 h 13188"/>
                <a:gd name="connsiteX6" fmla="*/ 7700 w 10000"/>
                <a:gd name="connsiteY6" fmla="*/ 10964 h 13188"/>
                <a:gd name="connsiteX7" fmla="*/ 10000 w 10000"/>
                <a:gd name="connsiteY7" fmla="*/ 13091 h 13188"/>
                <a:gd name="connsiteX8" fmla="*/ 9945 w 10000"/>
                <a:gd name="connsiteY8" fmla="*/ 7448 h 13188"/>
                <a:gd name="connsiteX9" fmla="*/ 8457 w 10000"/>
                <a:gd name="connsiteY9" fmla="*/ 3876 h 13188"/>
                <a:gd name="connsiteX10" fmla="*/ 4596 w 10000"/>
                <a:gd name="connsiteY10" fmla="*/ 3188 h 13188"/>
                <a:gd name="connsiteX11" fmla="*/ 3588 w 10000"/>
                <a:gd name="connsiteY11" fmla="*/ 44 h 13188"/>
                <a:gd name="connsiteX12" fmla="*/ 1621 w 10000"/>
                <a:gd name="connsiteY12" fmla="*/ 1296 h 13188"/>
                <a:gd name="connsiteX13" fmla="*/ 0 w 10000"/>
                <a:gd name="connsiteY13" fmla="*/ 3219 h 13188"/>
                <a:gd name="connsiteX0" fmla="*/ 0 w 10000"/>
                <a:gd name="connsiteY0" fmla="*/ 3219 h 13188"/>
                <a:gd name="connsiteX1" fmla="*/ 989 w 10000"/>
                <a:gd name="connsiteY1" fmla="*/ 7604 h 13188"/>
                <a:gd name="connsiteX2" fmla="*/ 572 w 10000"/>
                <a:gd name="connsiteY2" fmla="*/ 12875 h 13188"/>
                <a:gd name="connsiteX3" fmla="*/ 2538 w 10000"/>
                <a:gd name="connsiteY3" fmla="*/ 13188 h 13188"/>
                <a:gd name="connsiteX4" fmla="*/ 4434 w 10000"/>
                <a:gd name="connsiteY4" fmla="*/ 7277 h 13188"/>
                <a:gd name="connsiteX5" fmla="*/ 5225 w 10000"/>
                <a:gd name="connsiteY5" fmla="*/ 12315 h 13188"/>
                <a:gd name="connsiteX6" fmla="*/ 7700 w 10000"/>
                <a:gd name="connsiteY6" fmla="*/ 10964 h 13188"/>
                <a:gd name="connsiteX7" fmla="*/ 10000 w 10000"/>
                <a:gd name="connsiteY7" fmla="*/ 13091 h 13188"/>
                <a:gd name="connsiteX8" fmla="*/ 9945 w 10000"/>
                <a:gd name="connsiteY8" fmla="*/ 7448 h 13188"/>
                <a:gd name="connsiteX9" fmla="*/ 8457 w 10000"/>
                <a:gd name="connsiteY9" fmla="*/ 3876 h 13188"/>
                <a:gd name="connsiteX10" fmla="*/ 4596 w 10000"/>
                <a:gd name="connsiteY10" fmla="*/ 3188 h 13188"/>
                <a:gd name="connsiteX11" fmla="*/ 3588 w 10000"/>
                <a:gd name="connsiteY11" fmla="*/ 44 h 13188"/>
                <a:gd name="connsiteX12" fmla="*/ 1621 w 10000"/>
                <a:gd name="connsiteY12" fmla="*/ 1296 h 13188"/>
                <a:gd name="connsiteX13" fmla="*/ 0 w 10000"/>
                <a:gd name="connsiteY13" fmla="*/ 3219 h 13188"/>
                <a:gd name="connsiteX0" fmla="*/ 0 w 10000"/>
                <a:gd name="connsiteY0" fmla="*/ 3219 h 13188"/>
                <a:gd name="connsiteX1" fmla="*/ 989 w 10000"/>
                <a:gd name="connsiteY1" fmla="*/ 7604 h 13188"/>
                <a:gd name="connsiteX2" fmla="*/ 572 w 10000"/>
                <a:gd name="connsiteY2" fmla="*/ 12875 h 13188"/>
                <a:gd name="connsiteX3" fmla="*/ 2538 w 10000"/>
                <a:gd name="connsiteY3" fmla="*/ 13188 h 13188"/>
                <a:gd name="connsiteX4" fmla="*/ 4434 w 10000"/>
                <a:gd name="connsiteY4" fmla="*/ 7277 h 13188"/>
                <a:gd name="connsiteX5" fmla="*/ 5225 w 10000"/>
                <a:gd name="connsiteY5" fmla="*/ 12315 h 13188"/>
                <a:gd name="connsiteX6" fmla="*/ 7700 w 10000"/>
                <a:gd name="connsiteY6" fmla="*/ 10964 h 13188"/>
                <a:gd name="connsiteX7" fmla="*/ 10000 w 10000"/>
                <a:gd name="connsiteY7" fmla="*/ 13091 h 13188"/>
                <a:gd name="connsiteX8" fmla="*/ 9945 w 10000"/>
                <a:gd name="connsiteY8" fmla="*/ 7448 h 13188"/>
                <a:gd name="connsiteX9" fmla="*/ 8457 w 10000"/>
                <a:gd name="connsiteY9" fmla="*/ 3876 h 13188"/>
                <a:gd name="connsiteX10" fmla="*/ 4596 w 10000"/>
                <a:gd name="connsiteY10" fmla="*/ 3188 h 13188"/>
                <a:gd name="connsiteX11" fmla="*/ 3588 w 10000"/>
                <a:gd name="connsiteY11" fmla="*/ 44 h 13188"/>
                <a:gd name="connsiteX12" fmla="*/ 1621 w 10000"/>
                <a:gd name="connsiteY12" fmla="*/ 1296 h 13188"/>
                <a:gd name="connsiteX13" fmla="*/ 0 w 10000"/>
                <a:gd name="connsiteY13" fmla="*/ 3219 h 13188"/>
                <a:gd name="connsiteX0" fmla="*/ 0 w 10000"/>
                <a:gd name="connsiteY0" fmla="*/ 3219 h 13188"/>
                <a:gd name="connsiteX1" fmla="*/ 989 w 10000"/>
                <a:gd name="connsiteY1" fmla="*/ 7604 h 13188"/>
                <a:gd name="connsiteX2" fmla="*/ 572 w 10000"/>
                <a:gd name="connsiteY2" fmla="*/ 12875 h 13188"/>
                <a:gd name="connsiteX3" fmla="*/ 2538 w 10000"/>
                <a:gd name="connsiteY3" fmla="*/ 13188 h 13188"/>
                <a:gd name="connsiteX4" fmla="*/ 4434 w 10000"/>
                <a:gd name="connsiteY4" fmla="*/ 7277 h 13188"/>
                <a:gd name="connsiteX5" fmla="*/ 5225 w 10000"/>
                <a:gd name="connsiteY5" fmla="*/ 12315 h 13188"/>
                <a:gd name="connsiteX6" fmla="*/ 7700 w 10000"/>
                <a:gd name="connsiteY6" fmla="*/ 10964 h 13188"/>
                <a:gd name="connsiteX7" fmla="*/ 10000 w 10000"/>
                <a:gd name="connsiteY7" fmla="*/ 13091 h 13188"/>
                <a:gd name="connsiteX8" fmla="*/ 9945 w 10000"/>
                <a:gd name="connsiteY8" fmla="*/ 7448 h 13188"/>
                <a:gd name="connsiteX9" fmla="*/ 8457 w 10000"/>
                <a:gd name="connsiteY9" fmla="*/ 3876 h 13188"/>
                <a:gd name="connsiteX10" fmla="*/ 4596 w 10000"/>
                <a:gd name="connsiteY10" fmla="*/ 3188 h 13188"/>
                <a:gd name="connsiteX11" fmla="*/ 3588 w 10000"/>
                <a:gd name="connsiteY11" fmla="*/ 44 h 13188"/>
                <a:gd name="connsiteX12" fmla="*/ 1621 w 10000"/>
                <a:gd name="connsiteY12" fmla="*/ 1296 h 13188"/>
                <a:gd name="connsiteX13" fmla="*/ 0 w 10000"/>
                <a:gd name="connsiteY13" fmla="*/ 3219 h 13188"/>
                <a:gd name="connsiteX0" fmla="*/ 0 w 10000"/>
                <a:gd name="connsiteY0" fmla="*/ 3219 h 13188"/>
                <a:gd name="connsiteX1" fmla="*/ 989 w 10000"/>
                <a:gd name="connsiteY1" fmla="*/ 7604 h 13188"/>
                <a:gd name="connsiteX2" fmla="*/ 572 w 10000"/>
                <a:gd name="connsiteY2" fmla="*/ 12875 h 13188"/>
                <a:gd name="connsiteX3" fmla="*/ 2538 w 10000"/>
                <a:gd name="connsiteY3" fmla="*/ 13188 h 13188"/>
                <a:gd name="connsiteX4" fmla="*/ 4434 w 10000"/>
                <a:gd name="connsiteY4" fmla="*/ 7277 h 13188"/>
                <a:gd name="connsiteX5" fmla="*/ 5225 w 10000"/>
                <a:gd name="connsiteY5" fmla="*/ 12315 h 13188"/>
                <a:gd name="connsiteX6" fmla="*/ 7700 w 10000"/>
                <a:gd name="connsiteY6" fmla="*/ 10964 h 13188"/>
                <a:gd name="connsiteX7" fmla="*/ 10000 w 10000"/>
                <a:gd name="connsiteY7" fmla="*/ 13091 h 13188"/>
                <a:gd name="connsiteX8" fmla="*/ 9945 w 10000"/>
                <a:gd name="connsiteY8" fmla="*/ 7448 h 13188"/>
                <a:gd name="connsiteX9" fmla="*/ 8457 w 10000"/>
                <a:gd name="connsiteY9" fmla="*/ 3876 h 13188"/>
                <a:gd name="connsiteX10" fmla="*/ 4596 w 10000"/>
                <a:gd name="connsiteY10" fmla="*/ 3188 h 13188"/>
                <a:gd name="connsiteX11" fmla="*/ 3588 w 10000"/>
                <a:gd name="connsiteY11" fmla="*/ 44 h 13188"/>
                <a:gd name="connsiteX12" fmla="*/ 1621 w 10000"/>
                <a:gd name="connsiteY12" fmla="*/ 1296 h 13188"/>
                <a:gd name="connsiteX13" fmla="*/ 0 w 10000"/>
                <a:gd name="connsiteY13" fmla="*/ 3219 h 13188"/>
                <a:gd name="connsiteX0" fmla="*/ 0 w 10000"/>
                <a:gd name="connsiteY0" fmla="*/ 5692 h 15661"/>
                <a:gd name="connsiteX1" fmla="*/ 989 w 10000"/>
                <a:gd name="connsiteY1" fmla="*/ 10077 h 15661"/>
                <a:gd name="connsiteX2" fmla="*/ 572 w 10000"/>
                <a:gd name="connsiteY2" fmla="*/ 15348 h 15661"/>
                <a:gd name="connsiteX3" fmla="*/ 2538 w 10000"/>
                <a:gd name="connsiteY3" fmla="*/ 15661 h 15661"/>
                <a:gd name="connsiteX4" fmla="*/ 4434 w 10000"/>
                <a:gd name="connsiteY4" fmla="*/ 9750 h 15661"/>
                <a:gd name="connsiteX5" fmla="*/ 5225 w 10000"/>
                <a:gd name="connsiteY5" fmla="*/ 14788 h 15661"/>
                <a:gd name="connsiteX6" fmla="*/ 7700 w 10000"/>
                <a:gd name="connsiteY6" fmla="*/ 13437 h 15661"/>
                <a:gd name="connsiteX7" fmla="*/ 10000 w 10000"/>
                <a:gd name="connsiteY7" fmla="*/ 15564 h 15661"/>
                <a:gd name="connsiteX8" fmla="*/ 9945 w 10000"/>
                <a:gd name="connsiteY8" fmla="*/ 9921 h 15661"/>
                <a:gd name="connsiteX9" fmla="*/ 8457 w 10000"/>
                <a:gd name="connsiteY9" fmla="*/ 6349 h 15661"/>
                <a:gd name="connsiteX10" fmla="*/ 4596 w 10000"/>
                <a:gd name="connsiteY10" fmla="*/ 5661 h 15661"/>
                <a:gd name="connsiteX11" fmla="*/ 3588 w 10000"/>
                <a:gd name="connsiteY11" fmla="*/ 2517 h 15661"/>
                <a:gd name="connsiteX12" fmla="*/ 2670 w 10000"/>
                <a:gd name="connsiteY12" fmla="*/ 13 h 15661"/>
                <a:gd name="connsiteX13" fmla="*/ 1621 w 10000"/>
                <a:gd name="connsiteY13" fmla="*/ 3769 h 15661"/>
                <a:gd name="connsiteX14" fmla="*/ 0 w 10000"/>
                <a:gd name="connsiteY14" fmla="*/ 5692 h 15661"/>
                <a:gd name="connsiteX0" fmla="*/ 0 w 10000"/>
                <a:gd name="connsiteY0" fmla="*/ 5784 h 15753"/>
                <a:gd name="connsiteX1" fmla="*/ 989 w 10000"/>
                <a:gd name="connsiteY1" fmla="*/ 10169 h 15753"/>
                <a:gd name="connsiteX2" fmla="*/ 572 w 10000"/>
                <a:gd name="connsiteY2" fmla="*/ 15440 h 15753"/>
                <a:gd name="connsiteX3" fmla="*/ 2538 w 10000"/>
                <a:gd name="connsiteY3" fmla="*/ 15753 h 15753"/>
                <a:gd name="connsiteX4" fmla="*/ 4434 w 10000"/>
                <a:gd name="connsiteY4" fmla="*/ 9842 h 15753"/>
                <a:gd name="connsiteX5" fmla="*/ 5225 w 10000"/>
                <a:gd name="connsiteY5" fmla="*/ 14880 h 15753"/>
                <a:gd name="connsiteX6" fmla="*/ 7700 w 10000"/>
                <a:gd name="connsiteY6" fmla="*/ 13529 h 15753"/>
                <a:gd name="connsiteX7" fmla="*/ 10000 w 10000"/>
                <a:gd name="connsiteY7" fmla="*/ 15656 h 15753"/>
                <a:gd name="connsiteX8" fmla="*/ 9945 w 10000"/>
                <a:gd name="connsiteY8" fmla="*/ 10013 h 15753"/>
                <a:gd name="connsiteX9" fmla="*/ 8457 w 10000"/>
                <a:gd name="connsiteY9" fmla="*/ 6441 h 15753"/>
                <a:gd name="connsiteX10" fmla="*/ 4596 w 10000"/>
                <a:gd name="connsiteY10" fmla="*/ 5753 h 15753"/>
                <a:gd name="connsiteX11" fmla="*/ 4243 w 10000"/>
                <a:gd name="connsiteY11" fmla="*/ 418 h 15753"/>
                <a:gd name="connsiteX12" fmla="*/ 2670 w 10000"/>
                <a:gd name="connsiteY12" fmla="*/ 105 h 15753"/>
                <a:gd name="connsiteX13" fmla="*/ 1621 w 10000"/>
                <a:gd name="connsiteY13" fmla="*/ 3861 h 15753"/>
                <a:gd name="connsiteX14" fmla="*/ 0 w 10000"/>
                <a:gd name="connsiteY14" fmla="*/ 5784 h 15753"/>
                <a:gd name="connsiteX0" fmla="*/ 0 w 10000"/>
                <a:gd name="connsiteY0" fmla="*/ 5784 h 15753"/>
                <a:gd name="connsiteX1" fmla="*/ 989 w 10000"/>
                <a:gd name="connsiteY1" fmla="*/ 10169 h 15753"/>
                <a:gd name="connsiteX2" fmla="*/ 572 w 10000"/>
                <a:gd name="connsiteY2" fmla="*/ 15440 h 15753"/>
                <a:gd name="connsiteX3" fmla="*/ 2538 w 10000"/>
                <a:gd name="connsiteY3" fmla="*/ 15753 h 15753"/>
                <a:gd name="connsiteX4" fmla="*/ 4434 w 10000"/>
                <a:gd name="connsiteY4" fmla="*/ 9842 h 15753"/>
                <a:gd name="connsiteX5" fmla="*/ 5225 w 10000"/>
                <a:gd name="connsiteY5" fmla="*/ 14880 h 15753"/>
                <a:gd name="connsiteX6" fmla="*/ 7700 w 10000"/>
                <a:gd name="connsiteY6" fmla="*/ 13529 h 15753"/>
                <a:gd name="connsiteX7" fmla="*/ 10000 w 10000"/>
                <a:gd name="connsiteY7" fmla="*/ 15656 h 15753"/>
                <a:gd name="connsiteX8" fmla="*/ 9945 w 10000"/>
                <a:gd name="connsiteY8" fmla="*/ 10013 h 15753"/>
                <a:gd name="connsiteX9" fmla="*/ 8457 w 10000"/>
                <a:gd name="connsiteY9" fmla="*/ 6441 h 15753"/>
                <a:gd name="connsiteX10" fmla="*/ 2367 w 10000"/>
                <a:gd name="connsiteY10" fmla="*/ 5753 h 15753"/>
                <a:gd name="connsiteX11" fmla="*/ 4243 w 10000"/>
                <a:gd name="connsiteY11" fmla="*/ 418 h 15753"/>
                <a:gd name="connsiteX12" fmla="*/ 2670 w 10000"/>
                <a:gd name="connsiteY12" fmla="*/ 105 h 15753"/>
                <a:gd name="connsiteX13" fmla="*/ 1621 w 10000"/>
                <a:gd name="connsiteY13" fmla="*/ 3861 h 15753"/>
                <a:gd name="connsiteX14" fmla="*/ 0 w 10000"/>
                <a:gd name="connsiteY14" fmla="*/ 5784 h 15753"/>
                <a:gd name="connsiteX0" fmla="*/ 0 w 10000"/>
                <a:gd name="connsiteY0" fmla="*/ 5784 h 15753"/>
                <a:gd name="connsiteX1" fmla="*/ 989 w 10000"/>
                <a:gd name="connsiteY1" fmla="*/ 10169 h 15753"/>
                <a:gd name="connsiteX2" fmla="*/ 572 w 10000"/>
                <a:gd name="connsiteY2" fmla="*/ 15440 h 15753"/>
                <a:gd name="connsiteX3" fmla="*/ 2538 w 10000"/>
                <a:gd name="connsiteY3" fmla="*/ 15753 h 15753"/>
                <a:gd name="connsiteX4" fmla="*/ 4434 w 10000"/>
                <a:gd name="connsiteY4" fmla="*/ 9842 h 15753"/>
                <a:gd name="connsiteX5" fmla="*/ 5225 w 10000"/>
                <a:gd name="connsiteY5" fmla="*/ 14880 h 15753"/>
                <a:gd name="connsiteX6" fmla="*/ 7700 w 10000"/>
                <a:gd name="connsiteY6" fmla="*/ 13529 h 15753"/>
                <a:gd name="connsiteX7" fmla="*/ 10000 w 10000"/>
                <a:gd name="connsiteY7" fmla="*/ 15656 h 15753"/>
                <a:gd name="connsiteX8" fmla="*/ 9945 w 10000"/>
                <a:gd name="connsiteY8" fmla="*/ 10013 h 15753"/>
                <a:gd name="connsiteX9" fmla="*/ 8457 w 10000"/>
                <a:gd name="connsiteY9" fmla="*/ 6441 h 15753"/>
                <a:gd name="connsiteX10" fmla="*/ 2760 w 10000"/>
                <a:gd name="connsiteY10" fmla="*/ 5753 h 15753"/>
                <a:gd name="connsiteX11" fmla="*/ 4243 w 10000"/>
                <a:gd name="connsiteY11" fmla="*/ 418 h 15753"/>
                <a:gd name="connsiteX12" fmla="*/ 2670 w 10000"/>
                <a:gd name="connsiteY12" fmla="*/ 105 h 15753"/>
                <a:gd name="connsiteX13" fmla="*/ 1621 w 10000"/>
                <a:gd name="connsiteY13" fmla="*/ 3861 h 15753"/>
                <a:gd name="connsiteX14" fmla="*/ 0 w 10000"/>
                <a:gd name="connsiteY14" fmla="*/ 5784 h 15753"/>
                <a:gd name="connsiteX0" fmla="*/ 0 w 10000"/>
                <a:gd name="connsiteY0" fmla="*/ 5784 h 15753"/>
                <a:gd name="connsiteX1" fmla="*/ 989 w 10000"/>
                <a:gd name="connsiteY1" fmla="*/ 10169 h 15753"/>
                <a:gd name="connsiteX2" fmla="*/ 572 w 10000"/>
                <a:gd name="connsiteY2" fmla="*/ 15440 h 15753"/>
                <a:gd name="connsiteX3" fmla="*/ 2538 w 10000"/>
                <a:gd name="connsiteY3" fmla="*/ 15753 h 15753"/>
                <a:gd name="connsiteX4" fmla="*/ 4434 w 10000"/>
                <a:gd name="connsiteY4" fmla="*/ 9842 h 15753"/>
                <a:gd name="connsiteX5" fmla="*/ 5225 w 10000"/>
                <a:gd name="connsiteY5" fmla="*/ 14880 h 15753"/>
                <a:gd name="connsiteX6" fmla="*/ 7700 w 10000"/>
                <a:gd name="connsiteY6" fmla="*/ 13529 h 15753"/>
                <a:gd name="connsiteX7" fmla="*/ 10000 w 10000"/>
                <a:gd name="connsiteY7" fmla="*/ 15656 h 15753"/>
                <a:gd name="connsiteX8" fmla="*/ 9945 w 10000"/>
                <a:gd name="connsiteY8" fmla="*/ 10013 h 15753"/>
                <a:gd name="connsiteX9" fmla="*/ 8457 w 10000"/>
                <a:gd name="connsiteY9" fmla="*/ 6441 h 15753"/>
                <a:gd name="connsiteX10" fmla="*/ 2760 w 10000"/>
                <a:gd name="connsiteY10" fmla="*/ 5753 h 15753"/>
                <a:gd name="connsiteX11" fmla="*/ 4243 w 10000"/>
                <a:gd name="connsiteY11" fmla="*/ 418 h 15753"/>
                <a:gd name="connsiteX12" fmla="*/ 2670 w 10000"/>
                <a:gd name="connsiteY12" fmla="*/ 105 h 15753"/>
                <a:gd name="connsiteX13" fmla="*/ 1621 w 10000"/>
                <a:gd name="connsiteY13" fmla="*/ 3861 h 15753"/>
                <a:gd name="connsiteX14" fmla="*/ 0 w 10000"/>
                <a:gd name="connsiteY14" fmla="*/ 5784 h 15753"/>
                <a:gd name="connsiteX0" fmla="*/ 0 w 10000"/>
                <a:gd name="connsiteY0" fmla="*/ 5784 h 15753"/>
                <a:gd name="connsiteX1" fmla="*/ 989 w 10000"/>
                <a:gd name="connsiteY1" fmla="*/ 10169 h 15753"/>
                <a:gd name="connsiteX2" fmla="*/ 572 w 10000"/>
                <a:gd name="connsiteY2" fmla="*/ 15440 h 15753"/>
                <a:gd name="connsiteX3" fmla="*/ 2538 w 10000"/>
                <a:gd name="connsiteY3" fmla="*/ 15753 h 15753"/>
                <a:gd name="connsiteX4" fmla="*/ 4434 w 10000"/>
                <a:gd name="connsiteY4" fmla="*/ 9842 h 15753"/>
                <a:gd name="connsiteX5" fmla="*/ 5225 w 10000"/>
                <a:gd name="connsiteY5" fmla="*/ 14880 h 15753"/>
                <a:gd name="connsiteX6" fmla="*/ 7700 w 10000"/>
                <a:gd name="connsiteY6" fmla="*/ 13529 h 15753"/>
                <a:gd name="connsiteX7" fmla="*/ 10000 w 10000"/>
                <a:gd name="connsiteY7" fmla="*/ 15656 h 15753"/>
                <a:gd name="connsiteX8" fmla="*/ 9945 w 10000"/>
                <a:gd name="connsiteY8" fmla="*/ 10013 h 15753"/>
                <a:gd name="connsiteX9" fmla="*/ 8457 w 10000"/>
                <a:gd name="connsiteY9" fmla="*/ 6441 h 15753"/>
                <a:gd name="connsiteX10" fmla="*/ 2760 w 10000"/>
                <a:gd name="connsiteY10" fmla="*/ 5753 h 15753"/>
                <a:gd name="connsiteX11" fmla="*/ 4243 w 10000"/>
                <a:gd name="connsiteY11" fmla="*/ 418 h 15753"/>
                <a:gd name="connsiteX12" fmla="*/ 2670 w 10000"/>
                <a:gd name="connsiteY12" fmla="*/ 105 h 15753"/>
                <a:gd name="connsiteX13" fmla="*/ 1621 w 10000"/>
                <a:gd name="connsiteY13" fmla="*/ 3861 h 15753"/>
                <a:gd name="connsiteX14" fmla="*/ 0 w 10000"/>
                <a:gd name="connsiteY14" fmla="*/ 5784 h 15753"/>
                <a:gd name="connsiteX0" fmla="*/ 0 w 10000"/>
                <a:gd name="connsiteY0" fmla="*/ 5784 h 15753"/>
                <a:gd name="connsiteX1" fmla="*/ 989 w 10000"/>
                <a:gd name="connsiteY1" fmla="*/ 10169 h 15753"/>
                <a:gd name="connsiteX2" fmla="*/ 572 w 10000"/>
                <a:gd name="connsiteY2" fmla="*/ 15440 h 15753"/>
                <a:gd name="connsiteX3" fmla="*/ 2538 w 10000"/>
                <a:gd name="connsiteY3" fmla="*/ 15753 h 15753"/>
                <a:gd name="connsiteX4" fmla="*/ 4434 w 10000"/>
                <a:gd name="connsiteY4" fmla="*/ 9842 h 15753"/>
                <a:gd name="connsiteX5" fmla="*/ 5225 w 10000"/>
                <a:gd name="connsiteY5" fmla="*/ 14880 h 15753"/>
                <a:gd name="connsiteX6" fmla="*/ 7700 w 10000"/>
                <a:gd name="connsiteY6" fmla="*/ 13529 h 15753"/>
                <a:gd name="connsiteX7" fmla="*/ 10000 w 10000"/>
                <a:gd name="connsiteY7" fmla="*/ 15656 h 15753"/>
                <a:gd name="connsiteX8" fmla="*/ 9945 w 10000"/>
                <a:gd name="connsiteY8" fmla="*/ 10013 h 15753"/>
                <a:gd name="connsiteX9" fmla="*/ 8457 w 10000"/>
                <a:gd name="connsiteY9" fmla="*/ 6441 h 15753"/>
                <a:gd name="connsiteX10" fmla="*/ 2760 w 10000"/>
                <a:gd name="connsiteY10" fmla="*/ 5753 h 15753"/>
                <a:gd name="connsiteX11" fmla="*/ 4243 w 10000"/>
                <a:gd name="connsiteY11" fmla="*/ 418 h 15753"/>
                <a:gd name="connsiteX12" fmla="*/ 2670 w 10000"/>
                <a:gd name="connsiteY12" fmla="*/ 105 h 15753"/>
                <a:gd name="connsiteX13" fmla="*/ 1621 w 10000"/>
                <a:gd name="connsiteY13" fmla="*/ 3861 h 15753"/>
                <a:gd name="connsiteX14" fmla="*/ 0 w 10000"/>
                <a:gd name="connsiteY14" fmla="*/ 5784 h 15753"/>
                <a:gd name="connsiteX0" fmla="*/ 0 w 10000"/>
                <a:gd name="connsiteY0" fmla="*/ 5784 h 15753"/>
                <a:gd name="connsiteX1" fmla="*/ 989 w 10000"/>
                <a:gd name="connsiteY1" fmla="*/ 10169 h 15753"/>
                <a:gd name="connsiteX2" fmla="*/ 572 w 10000"/>
                <a:gd name="connsiteY2" fmla="*/ 15440 h 15753"/>
                <a:gd name="connsiteX3" fmla="*/ 2538 w 10000"/>
                <a:gd name="connsiteY3" fmla="*/ 15753 h 15753"/>
                <a:gd name="connsiteX4" fmla="*/ 4434 w 10000"/>
                <a:gd name="connsiteY4" fmla="*/ 9842 h 15753"/>
                <a:gd name="connsiteX5" fmla="*/ 5225 w 10000"/>
                <a:gd name="connsiteY5" fmla="*/ 14880 h 15753"/>
                <a:gd name="connsiteX6" fmla="*/ 7700 w 10000"/>
                <a:gd name="connsiteY6" fmla="*/ 13529 h 15753"/>
                <a:gd name="connsiteX7" fmla="*/ 10000 w 10000"/>
                <a:gd name="connsiteY7" fmla="*/ 15656 h 15753"/>
                <a:gd name="connsiteX8" fmla="*/ 9945 w 10000"/>
                <a:gd name="connsiteY8" fmla="*/ 10013 h 15753"/>
                <a:gd name="connsiteX9" fmla="*/ 8457 w 10000"/>
                <a:gd name="connsiteY9" fmla="*/ 6441 h 15753"/>
                <a:gd name="connsiteX10" fmla="*/ 2760 w 10000"/>
                <a:gd name="connsiteY10" fmla="*/ 5753 h 15753"/>
                <a:gd name="connsiteX11" fmla="*/ 4243 w 10000"/>
                <a:gd name="connsiteY11" fmla="*/ 418 h 15753"/>
                <a:gd name="connsiteX12" fmla="*/ 2670 w 10000"/>
                <a:gd name="connsiteY12" fmla="*/ 105 h 15753"/>
                <a:gd name="connsiteX13" fmla="*/ 1621 w 10000"/>
                <a:gd name="connsiteY13" fmla="*/ 3861 h 15753"/>
                <a:gd name="connsiteX14" fmla="*/ 0 w 10000"/>
                <a:gd name="connsiteY14" fmla="*/ 5784 h 15753"/>
                <a:gd name="connsiteX0" fmla="*/ 0 w 10000"/>
                <a:gd name="connsiteY0" fmla="*/ 5784 h 15753"/>
                <a:gd name="connsiteX1" fmla="*/ 989 w 10000"/>
                <a:gd name="connsiteY1" fmla="*/ 10169 h 15753"/>
                <a:gd name="connsiteX2" fmla="*/ 572 w 10000"/>
                <a:gd name="connsiteY2" fmla="*/ 15440 h 15753"/>
                <a:gd name="connsiteX3" fmla="*/ 2538 w 10000"/>
                <a:gd name="connsiteY3" fmla="*/ 15753 h 15753"/>
                <a:gd name="connsiteX4" fmla="*/ 4434 w 10000"/>
                <a:gd name="connsiteY4" fmla="*/ 9842 h 15753"/>
                <a:gd name="connsiteX5" fmla="*/ 5225 w 10000"/>
                <a:gd name="connsiteY5" fmla="*/ 14880 h 15753"/>
                <a:gd name="connsiteX6" fmla="*/ 7700 w 10000"/>
                <a:gd name="connsiteY6" fmla="*/ 13529 h 15753"/>
                <a:gd name="connsiteX7" fmla="*/ 10000 w 10000"/>
                <a:gd name="connsiteY7" fmla="*/ 15656 h 15753"/>
                <a:gd name="connsiteX8" fmla="*/ 9945 w 10000"/>
                <a:gd name="connsiteY8" fmla="*/ 10013 h 15753"/>
                <a:gd name="connsiteX9" fmla="*/ 8981 w 10000"/>
                <a:gd name="connsiteY9" fmla="*/ 5502 h 15753"/>
                <a:gd name="connsiteX10" fmla="*/ 2760 w 10000"/>
                <a:gd name="connsiteY10" fmla="*/ 5753 h 15753"/>
                <a:gd name="connsiteX11" fmla="*/ 4243 w 10000"/>
                <a:gd name="connsiteY11" fmla="*/ 418 h 15753"/>
                <a:gd name="connsiteX12" fmla="*/ 2670 w 10000"/>
                <a:gd name="connsiteY12" fmla="*/ 105 h 15753"/>
                <a:gd name="connsiteX13" fmla="*/ 1621 w 10000"/>
                <a:gd name="connsiteY13" fmla="*/ 3861 h 15753"/>
                <a:gd name="connsiteX14" fmla="*/ 0 w 10000"/>
                <a:gd name="connsiteY14" fmla="*/ 5784 h 15753"/>
                <a:gd name="connsiteX0" fmla="*/ 0 w 10524"/>
                <a:gd name="connsiteY0" fmla="*/ 5784 h 15753"/>
                <a:gd name="connsiteX1" fmla="*/ 989 w 10524"/>
                <a:gd name="connsiteY1" fmla="*/ 10169 h 15753"/>
                <a:gd name="connsiteX2" fmla="*/ 572 w 10524"/>
                <a:gd name="connsiteY2" fmla="*/ 15440 h 15753"/>
                <a:gd name="connsiteX3" fmla="*/ 2538 w 10524"/>
                <a:gd name="connsiteY3" fmla="*/ 15753 h 15753"/>
                <a:gd name="connsiteX4" fmla="*/ 4434 w 10524"/>
                <a:gd name="connsiteY4" fmla="*/ 9842 h 15753"/>
                <a:gd name="connsiteX5" fmla="*/ 5225 w 10524"/>
                <a:gd name="connsiteY5" fmla="*/ 14880 h 15753"/>
                <a:gd name="connsiteX6" fmla="*/ 7700 w 10524"/>
                <a:gd name="connsiteY6" fmla="*/ 13529 h 15753"/>
                <a:gd name="connsiteX7" fmla="*/ 10524 w 10524"/>
                <a:gd name="connsiteY7" fmla="*/ 14717 h 15753"/>
                <a:gd name="connsiteX8" fmla="*/ 9945 w 10524"/>
                <a:gd name="connsiteY8" fmla="*/ 10013 h 15753"/>
                <a:gd name="connsiteX9" fmla="*/ 8981 w 10524"/>
                <a:gd name="connsiteY9" fmla="*/ 5502 h 15753"/>
                <a:gd name="connsiteX10" fmla="*/ 2760 w 10524"/>
                <a:gd name="connsiteY10" fmla="*/ 5753 h 15753"/>
                <a:gd name="connsiteX11" fmla="*/ 4243 w 10524"/>
                <a:gd name="connsiteY11" fmla="*/ 418 h 15753"/>
                <a:gd name="connsiteX12" fmla="*/ 2670 w 10524"/>
                <a:gd name="connsiteY12" fmla="*/ 105 h 15753"/>
                <a:gd name="connsiteX13" fmla="*/ 1621 w 10524"/>
                <a:gd name="connsiteY13" fmla="*/ 3861 h 15753"/>
                <a:gd name="connsiteX14" fmla="*/ 0 w 10524"/>
                <a:gd name="connsiteY14" fmla="*/ 5784 h 15753"/>
                <a:gd name="connsiteX0" fmla="*/ 0 w 10524"/>
                <a:gd name="connsiteY0" fmla="*/ 5784 h 15753"/>
                <a:gd name="connsiteX1" fmla="*/ 989 w 10524"/>
                <a:gd name="connsiteY1" fmla="*/ 10169 h 15753"/>
                <a:gd name="connsiteX2" fmla="*/ 572 w 10524"/>
                <a:gd name="connsiteY2" fmla="*/ 15440 h 15753"/>
                <a:gd name="connsiteX3" fmla="*/ 2538 w 10524"/>
                <a:gd name="connsiteY3" fmla="*/ 15753 h 15753"/>
                <a:gd name="connsiteX4" fmla="*/ 4434 w 10524"/>
                <a:gd name="connsiteY4" fmla="*/ 9842 h 15753"/>
                <a:gd name="connsiteX5" fmla="*/ 5618 w 10524"/>
                <a:gd name="connsiteY5" fmla="*/ 13941 h 15753"/>
                <a:gd name="connsiteX6" fmla="*/ 7700 w 10524"/>
                <a:gd name="connsiteY6" fmla="*/ 13529 h 15753"/>
                <a:gd name="connsiteX7" fmla="*/ 10524 w 10524"/>
                <a:gd name="connsiteY7" fmla="*/ 14717 h 15753"/>
                <a:gd name="connsiteX8" fmla="*/ 9945 w 10524"/>
                <a:gd name="connsiteY8" fmla="*/ 10013 h 15753"/>
                <a:gd name="connsiteX9" fmla="*/ 8981 w 10524"/>
                <a:gd name="connsiteY9" fmla="*/ 5502 h 15753"/>
                <a:gd name="connsiteX10" fmla="*/ 2760 w 10524"/>
                <a:gd name="connsiteY10" fmla="*/ 5753 h 15753"/>
                <a:gd name="connsiteX11" fmla="*/ 4243 w 10524"/>
                <a:gd name="connsiteY11" fmla="*/ 418 h 15753"/>
                <a:gd name="connsiteX12" fmla="*/ 2670 w 10524"/>
                <a:gd name="connsiteY12" fmla="*/ 105 h 15753"/>
                <a:gd name="connsiteX13" fmla="*/ 1621 w 10524"/>
                <a:gd name="connsiteY13" fmla="*/ 3861 h 15753"/>
                <a:gd name="connsiteX14" fmla="*/ 0 w 10524"/>
                <a:gd name="connsiteY14" fmla="*/ 5784 h 15753"/>
                <a:gd name="connsiteX0" fmla="*/ 0 w 10524"/>
                <a:gd name="connsiteY0" fmla="*/ 5784 h 15753"/>
                <a:gd name="connsiteX1" fmla="*/ 989 w 10524"/>
                <a:gd name="connsiteY1" fmla="*/ 10169 h 15753"/>
                <a:gd name="connsiteX2" fmla="*/ 572 w 10524"/>
                <a:gd name="connsiteY2" fmla="*/ 15440 h 15753"/>
                <a:gd name="connsiteX3" fmla="*/ 2538 w 10524"/>
                <a:gd name="connsiteY3" fmla="*/ 15753 h 15753"/>
                <a:gd name="connsiteX4" fmla="*/ 4434 w 10524"/>
                <a:gd name="connsiteY4" fmla="*/ 9842 h 15753"/>
                <a:gd name="connsiteX5" fmla="*/ 5618 w 10524"/>
                <a:gd name="connsiteY5" fmla="*/ 13941 h 15753"/>
                <a:gd name="connsiteX6" fmla="*/ 7700 w 10524"/>
                <a:gd name="connsiteY6" fmla="*/ 14468 h 15753"/>
                <a:gd name="connsiteX7" fmla="*/ 10524 w 10524"/>
                <a:gd name="connsiteY7" fmla="*/ 14717 h 15753"/>
                <a:gd name="connsiteX8" fmla="*/ 9945 w 10524"/>
                <a:gd name="connsiteY8" fmla="*/ 10013 h 15753"/>
                <a:gd name="connsiteX9" fmla="*/ 8981 w 10524"/>
                <a:gd name="connsiteY9" fmla="*/ 5502 h 15753"/>
                <a:gd name="connsiteX10" fmla="*/ 2760 w 10524"/>
                <a:gd name="connsiteY10" fmla="*/ 5753 h 15753"/>
                <a:gd name="connsiteX11" fmla="*/ 4243 w 10524"/>
                <a:gd name="connsiteY11" fmla="*/ 418 h 15753"/>
                <a:gd name="connsiteX12" fmla="*/ 2670 w 10524"/>
                <a:gd name="connsiteY12" fmla="*/ 105 h 15753"/>
                <a:gd name="connsiteX13" fmla="*/ 1621 w 10524"/>
                <a:gd name="connsiteY13" fmla="*/ 3861 h 15753"/>
                <a:gd name="connsiteX14" fmla="*/ 0 w 10524"/>
                <a:gd name="connsiteY14" fmla="*/ 5784 h 15753"/>
                <a:gd name="connsiteX0" fmla="*/ 0 w 10524"/>
                <a:gd name="connsiteY0" fmla="*/ 5784 h 15753"/>
                <a:gd name="connsiteX1" fmla="*/ 989 w 10524"/>
                <a:gd name="connsiteY1" fmla="*/ 10169 h 15753"/>
                <a:gd name="connsiteX2" fmla="*/ 572 w 10524"/>
                <a:gd name="connsiteY2" fmla="*/ 15440 h 15753"/>
                <a:gd name="connsiteX3" fmla="*/ 2538 w 10524"/>
                <a:gd name="connsiteY3" fmla="*/ 15753 h 15753"/>
                <a:gd name="connsiteX4" fmla="*/ 5352 w 10524"/>
                <a:gd name="connsiteY4" fmla="*/ 9842 h 15753"/>
                <a:gd name="connsiteX5" fmla="*/ 5618 w 10524"/>
                <a:gd name="connsiteY5" fmla="*/ 13941 h 15753"/>
                <a:gd name="connsiteX6" fmla="*/ 7700 w 10524"/>
                <a:gd name="connsiteY6" fmla="*/ 14468 h 15753"/>
                <a:gd name="connsiteX7" fmla="*/ 10524 w 10524"/>
                <a:gd name="connsiteY7" fmla="*/ 14717 h 15753"/>
                <a:gd name="connsiteX8" fmla="*/ 9945 w 10524"/>
                <a:gd name="connsiteY8" fmla="*/ 10013 h 15753"/>
                <a:gd name="connsiteX9" fmla="*/ 8981 w 10524"/>
                <a:gd name="connsiteY9" fmla="*/ 5502 h 15753"/>
                <a:gd name="connsiteX10" fmla="*/ 2760 w 10524"/>
                <a:gd name="connsiteY10" fmla="*/ 5753 h 15753"/>
                <a:gd name="connsiteX11" fmla="*/ 4243 w 10524"/>
                <a:gd name="connsiteY11" fmla="*/ 418 h 15753"/>
                <a:gd name="connsiteX12" fmla="*/ 2670 w 10524"/>
                <a:gd name="connsiteY12" fmla="*/ 105 h 15753"/>
                <a:gd name="connsiteX13" fmla="*/ 1621 w 10524"/>
                <a:gd name="connsiteY13" fmla="*/ 3861 h 15753"/>
                <a:gd name="connsiteX14" fmla="*/ 0 w 10524"/>
                <a:gd name="connsiteY14" fmla="*/ 5784 h 15753"/>
                <a:gd name="connsiteX0" fmla="*/ 0 w 10524"/>
                <a:gd name="connsiteY0" fmla="*/ 5784 h 15753"/>
                <a:gd name="connsiteX1" fmla="*/ 989 w 10524"/>
                <a:gd name="connsiteY1" fmla="*/ 10169 h 15753"/>
                <a:gd name="connsiteX2" fmla="*/ 572 w 10524"/>
                <a:gd name="connsiteY2" fmla="*/ 15440 h 15753"/>
                <a:gd name="connsiteX3" fmla="*/ 2538 w 10524"/>
                <a:gd name="connsiteY3" fmla="*/ 15753 h 15753"/>
                <a:gd name="connsiteX4" fmla="*/ 3588 w 10524"/>
                <a:gd name="connsiteY4" fmla="*/ 11059 h 15753"/>
                <a:gd name="connsiteX5" fmla="*/ 5352 w 10524"/>
                <a:gd name="connsiteY5" fmla="*/ 9842 h 15753"/>
                <a:gd name="connsiteX6" fmla="*/ 5618 w 10524"/>
                <a:gd name="connsiteY6" fmla="*/ 13941 h 15753"/>
                <a:gd name="connsiteX7" fmla="*/ 7700 w 10524"/>
                <a:gd name="connsiteY7" fmla="*/ 14468 h 15753"/>
                <a:gd name="connsiteX8" fmla="*/ 10524 w 10524"/>
                <a:gd name="connsiteY8" fmla="*/ 14717 h 15753"/>
                <a:gd name="connsiteX9" fmla="*/ 9945 w 10524"/>
                <a:gd name="connsiteY9" fmla="*/ 10013 h 15753"/>
                <a:gd name="connsiteX10" fmla="*/ 8981 w 10524"/>
                <a:gd name="connsiteY10" fmla="*/ 5502 h 15753"/>
                <a:gd name="connsiteX11" fmla="*/ 2760 w 10524"/>
                <a:gd name="connsiteY11" fmla="*/ 5753 h 15753"/>
                <a:gd name="connsiteX12" fmla="*/ 4243 w 10524"/>
                <a:gd name="connsiteY12" fmla="*/ 418 h 15753"/>
                <a:gd name="connsiteX13" fmla="*/ 2670 w 10524"/>
                <a:gd name="connsiteY13" fmla="*/ 105 h 15753"/>
                <a:gd name="connsiteX14" fmla="*/ 1621 w 10524"/>
                <a:gd name="connsiteY14" fmla="*/ 3861 h 15753"/>
                <a:gd name="connsiteX15" fmla="*/ 0 w 10524"/>
                <a:gd name="connsiteY15" fmla="*/ 5784 h 15753"/>
                <a:gd name="connsiteX0" fmla="*/ 0 w 10524"/>
                <a:gd name="connsiteY0" fmla="*/ 5784 h 15753"/>
                <a:gd name="connsiteX1" fmla="*/ 989 w 10524"/>
                <a:gd name="connsiteY1" fmla="*/ 10169 h 15753"/>
                <a:gd name="connsiteX2" fmla="*/ 572 w 10524"/>
                <a:gd name="connsiteY2" fmla="*/ 15440 h 15753"/>
                <a:gd name="connsiteX3" fmla="*/ 2538 w 10524"/>
                <a:gd name="connsiteY3" fmla="*/ 15753 h 15753"/>
                <a:gd name="connsiteX4" fmla="*/ 3588 w 10524"/>
                <a:gd name="connsiteY4" fmla="*/ 11059 h 15753"/>
                <a:gd name="connsiteX5" fmla="*/ 5090 w 10524"/>
                <a:gd name="connsiteY5" fmla="*/ 11094 h 15753"/>
                <a:gd name="connsiteX6" fmla="*/ 5618 w 10524"/>
                <a:gd name="connsiteY6" fmla="*/ 13941 h 15753"/>
                <a:gd name="connsiteX7" fmla="*/ 7700 w 10524"/>
                <a:gd name="connsiteY7" fmla="*/ 14468 h 15753"/>
                <a:gd name="connsiteX8" fmla="*/ 10524 w 10524"/>
                <a:gd name="connsiteY8" fmla="*/ 14717 h 15753"/>
                <a:gd name="connsiteX9" fmla="*/ 9945 w 10524"/>
                <a:gd name="connsiteY9" fmla="*/ 10013 h 15753"/>
                <a:gd name="connsiteX10" fmla="*/ 8981 w 10524"/>
                <a:gd name="connsiteY10" fmla="*/ 5502 h 15753"/>
                <a:gd name="connsiteX11" fmla="*/ 2760 w 10524"/>
                <a:gd name="connsiteY11" fmla="*/ 5753 h 15753"/>
                <a:gd name="connsiteX12" fmla="*/ 4243 w 10524"/>
                <a:gd name="connsiteY12" fmla="*/ 418 h 15753"/>
                <a:gd name="connsiteX13" fmla="*/ 2670 w 10524"/>
                <a:gd name="connsiteY13" fmla="*/ 105 h 15753"/>
                <a:gd name="connsiteX14" fmla="*/ 1621 w 10524"/>
                <a:gd name="connsiteY14" fmla="*/ 3861 h 15753"/>
                <a:gd name="connsiteX15" fmla="*/ 0 w 10524"/>
                <a:gd name="connsiteY15" fmla="*/ 5784 h 15753"/>
                <a:gd name="connsiteX0" fmla="*/ 0 w 10524"/>
                <a:gd name="connsiteY0" fmla="*/ 5784 h 15753"/>
                <a:gd name="connsiteX1" fmla="*/ 989 w 10524"/>
                <a:gd name="connsiteY1" fmla="*/ 10169 h 15753"/>
                <a:gd name="connsiteX2" fmla="*/ 572 w 10524"/>
                <a:gd name="connsiteY2" fmla="*/ 15440 h 15753"/>
                <a:gd name="connsiteX3" fmla="*/ 2538 w 10524"/>
                <a:gd name="connsiteY3" fmla="*/ 15753 h 15753"/>
                <a:gd name="connsiteX4" fmla="*/ 3850 w 10524"/>
                <a:gd name="connsiteY4" fmla="*/ 11685 h 15753"/>
                <a:gd name="connsiteX5" fmla="*/ 5090 w 10524"/>
                <a:gd name="connsiteY5" fmla="*/ 11094 h 15753"/>
                <a:gd name="connsiteX6" fmla="*/ 5618 w 10524"/>
                <a:gd name="connsiteY6" fmla="*/ 13941 h 15753"/>
                <a:gd name="connsiteX7" fmla="*/ 7700 w 10524"/>
                <a:gd name="connsiteY7" fmla="*/ 14468 h 15753"/>
                <a:gd name="connsiteX8" fmla="*/ 10524 w 10524"/>
                <a:gd name="connsiteY8" fmla="*/ 14717 h 15753"/>
                <a:gd name="connsiteX9" fmla="*/ 9945 w 10524"/>
                <a:gd name="connsiteY9" fmla="*/ 10013 h 15753"/>
                <a:gd name="connsiteX10" fmla="*/ 8981 w 10524"/>
                <a:gd name="connsiteY10" fmla="*/ 5502 h 15753"/>
                <a:gd name="connsiteX11" fmla="*/ 2760 w 10524"/>
                <a:gd name="connsiteY11" fmla="*/ 5753 h 15753"/>
                <a:gd name="connsiteX12" fmla="*/ 4243 w 10524"/>
                <a:gd name="connsiteY12" fmla="*/ 418 h 15753"/>
                <a:gd name="connsiteX13" fmla="*/ 2670 w 10524"/>
                <a:gd name="connsiteY13" fmla="*/ 105 h 15753"/>
                <a:gd name="connsiteX14" fmla="*/ 1621 w 10524"/>
                <a:gd name="connsiteY14" fmla="*/ 3861 h 15753"/>
                <a:gd name="connsiteX15" fmla="*/ 0 w 10524"/>
                <a:gd name="connsiteY15" fmla="*/ 5784 h 15753"/>
                <a:gd name="connsiteX0" fmla="*/ 0 w 10524"/>
                <a:gd name="connsiteY0" fmla="*/ 5784 h 23857"/>
                <a:gd name="connsiteX1" fmla="*/ 989 w 10524"/>
                <a:gd name="connsiteY1" fmla="*/ 10169 h 23857"/>
                <a:gd name="connsiteX2" fmla="*/ 572 w 10524"/>
                <a:gd name="connsiteY2" fmla="*/ 15440 h 23857"/>
                <a:gd name="connsiteX3" fmla="*/ 2538 w 10524"/>
                <a:gd name="connsiteY3" fmla="*/ 15753 h 23857"/>
                <a:gd name="connsiteX4" fmla="*/ 3850 w 10524"/>
                <a:gd name="connsiteY4" fmla="*/ 11685 h 23857"/>
                <a:gd name="connsiteX5" fmla="*/ 5090 w 10524"/>
                <a:gd name="connsiteY5" fmla="*/ 11094 h 23857"/>
                <a:gd name="connsiteX6" fmla="*/ 5618 w 10524"/>
                <a:gd name="connsiteY6" fmla="*/ 13941 h 23857"/>
                <a:gd name="connsiteX7" fmla="*/ 7044 w 10524"/>
                <a:gd name="connsiteY7" fmla="*/ 23857 h 23857"/>
                <a:gd name="connsiteX8" fmla="*/ 10524 w 10524"/>
                <a:gd name="connsiteY8" fmla="*/ 14717 h 23857"/>
                <a:gd name="connsiteX9" fmla="*/ 9945 w 10524"/>
                <a:gd name="connsiteY9" fmla="*/ 10013 h 23857"/>
                <a:gd name="connsiteX10" fmla="*/ 8981 w 10524"/>
                <a:gd name="connsiteY10" fmla="*/ 5502 h 23857"/>
                <a:gd name="connsiteX11" fmla="*/ 2760 w 10524"/>
                <a:gd name="connsiteY11" fmla="*/ 5753 h 23857"/>
                <a:gd name="connsiteX12" fmla="*/ 4243 w 10524"/>
                <a:gd name="connsiteY12" fmla="*/ 418 h 23857"/>
                <a:gd name="connsiteX13" fmla="*/ 2670 w 10524"/>
                <a:gd name="connsiteY13" fmla="*/ 105 h 23857"/>
                <a:gd name="connsiteX14" fmla="*/ 1621 w 10524"/>
                <a:gd name="connsiteY14" fmla="*/ 3861 h 23857"/>
                <a:gd name="connsiteX15" fmla="*/ 0 w 10524"/>
                <a:gd name="connsiteY15" fmla="*/ 5784 h 23857"/>
                <a:gd name="connsiteX0" fmla="*/ 0 w 10524"/>
                <a:gd name="connsiteY0" fmla="*/ 5784 h 23231"/>
                <a:gd name="connsiteX1" fmla="*/ 989 w 10524"/>
                <a:gd name="connsiteY1" fmla="*/ 10169 h 23231"/>
                <a:gd name="connsiteX2" fmla="*/ 572 w 10524"/>
                <a:gd name="connsiteY2" fmla="*/ 15440 h 23231"/>
                <a:gd name="connsiteX3" fmla="*/ 2538 w 10524"/>
                <a:gd name="connsiteY3" fmla="*/ 15753 h 23231"/>
                <a:gd name="connsiteX4" fmla="*/ 3850 w 10524"/>
                <a:gd name="connsiteY4" fmla="*/ 11685 h 23231"/>
                <a:gd name="connsiteX5" fmla="*/ 5090 w 10524"/>
                <a:gd name="connsiteY5" fmla="*/ 11094 h 23231"/>
                <a:gd name="connsiteX6" fmla="*/ 5618 w 10524"/>
                <a:gd name="connsiteY6" fmla="*/ 13941 h 23231"/>
                <a:gd name="connsiteX7" fmla="*/ 6913 w 10524"/>
                <a:gd name="connsiteY7" fmla="*/ 23231 h 23231"/>
                <a:gd name="connsiteX8" fmla="*/ 10524 w 10524"/>
                <a:gd name="connsiteY8" fmla="*/ 14717 h 23231"/>
                <a:gd name="connsiteX9" fmla="*/ 9945 w 10524"/>
                <a:gd name="connsiteY9" fmla="*/ 10013 h 23231"/>
                <a:gd name="connsiteX10" fmla="*/ 8981 w 10524"/>
                <a:gd name="connsiteY10" fmla="*/ 5502 h 23231"/>
                <a:gd name="connsiteX11" fmla="*/ 2760 w 10524"/>
                <a:gd name="connsiteY11" fmla="*/ 5753 h 23231"/>
                <a:gd name="connsiteX12" fmla="*/ 4243 w 10524"/>
                <a:gd name="connsiteY12" fmla="*/ 418 h 23231"/>
                <a:gd name="connsiteX13" fmla="*/ 2670 w 10524"/>
                <a:gd name="connsiteY13" fmla="*/ 105 h 23231"/>
                <a:gd name="connsiteX14" fmla="*/ 1621 w 10524"/>
                <a:gd name="connsiteY14" fmla="*/ 3861 h 23231"/>
                <a:gd name="connsiteX15" fmla="*/ 0 w 10524"/>
                <a:gd name="connsiteY15" fmla="*/ 5784 h 23231"/>
                <a:gd name="connsiteX0" fmla="*/ 0 w 10524"/>
                <a:gd name="connsiteY0" fmla="*/ 5784 h 24895"/>
                <a:gd name="connsiteX1" fmla="*/ 989 w 10524"/>
                <a:gd name="connsiteY1" fmla="*/ 10169 h 24895"/>
                <a:gd name="connsiteX2" fmla="*/ 572 w 10524"/>
                <a:gd name="connsiteY2" fmla="*/ 15440 h 24895"/>
                <a:gd name="connsiteX3" fmla="*/ 2538 w 10524"/>
                <a:gd name="connsiteY3" fmla="*/ 15753 h 24895"/>
                <a:gd name="connsiteX4" fmla="*/ 3850 w 10524"/>
                <a:gd name="connsiteY4" fmla="*/ 11685 h 24895"/>
                <a:gd name="connsiteX5" fmla="*/ 5090 w 10524"/>
                <a:gd name="connsiteY5" fmla="*/ 11094 h 24895"/>
                <a:gd name="connsiteX6" fmla="*/ 2865 w 10524"/>
                <a:gd name="connsiteY6" fmla="*/ 24895 h 24895"/>
                <a:gd name="connsiteX7" fmla="*/ 6913 w 10524"/>
                <a:gd name="connsiteY7" fmla="*/ 23231 h 24895"/>
                <a:gd name="connsiteX8" fmla="*/ 10524 w 10524"/>
                <a:gd name="connsiteY8" fmla="*/ 14717 h 24895"/>
                <a:gd name="connsiteX9" fmla="*/ 9945 w 10524"/>
                <a:gd name="connsiteY9" fmla="*/ 10013 h 24895"/>
                <a:gd name="connsiteX10" fmla="*/ 8981 w 10524"/>
                <a:gd name="connsiteY10" fmla="*/ 5502 h 24895"/>
                <a:gd name="connsiteX11" fmla="*/ 2760 w 10524"/>
                <a:gd name="connsiteY11" fmla="*/ 5753 h 24895"/>
                <a:gd name="connsiteX12" fmla="*/ 4243 w 10524"/>
                <a:gd name="connsiteY12" fmla="*/ 418 h 24895"/>
                <a:gd name="connsiteX13" fmla="*/ 2670 w 10524"/>
                <a:gd name="connsiteY13" fmla="*/ 105 h 24895"/>
                <a:gd name="connsiteX14" fmla="*/ 1621 w 10524"/>
                <a:gd name="connsiteY14" fmla="*/ 3861 h 24895"/>
                <a:gd name="connsiteX15" fmla="*/ 0 w 10524"/>
                <a:gd name="connsiteY15" fmla="*/ 5784 h 24895"/>
                <a:gd name="connsiteX0" fmla="*/ 2907 w 13431"/>
                <a:gd name="connsiteY0" fmla="*/ 5784 h 25542"/>
                <a:gd name="connsiteX1" fmla="*/ 3896 w 13431"/>
                <a:gd name="connsiteY1" fmla="*/ 10169 h 25542"/>
                <a:gd name="connsiteX2" fmla="*/ 3479 w 13431"/>
                <a:gd name="connsiteY2" fmla="*/ 15440 h 25542"/>
                <a:gd name="connsiteX3" fmla="*/ 5445 w 13431"/>
                <a:gd name="connsiteY3" fmla="*/ 15753 h 25542"/>
                <a:gd name="connsiteX4" fmla="*/ 6757 w 13431"/>
                <a:gd name="connsiteY4" fmla="*/ 11685 h 25542"/>
                <a:gd name="connsiteX5" fmla="*/ 0 w 13431"/>
                <a:gd name="connsiteY5" fmla="*/ 25178 h 25542"/>
                <a:gd name="connsiteX6" fmla="*/ 5772 w 13431"/>
                <a:gd name="connsiteY6" fmla="*/ 24895 h 25542"/>
                <a:gd name="connsiteX7" fmla="*/ 9820 w 13431"/>
                <a:gd name="connsiteY7" fmla="*/ 23231 h 25542"/>
                <a:gd name="connsiteX8" fmla="*/ 13431 w 13431"/>
                <a:gd name="connsiteY8" fmla="*/ 14717 h 25542"/>
                <a:gd name="connsiteX9" fmla="*/ 12852 w 13431"/>
                <a:gd name="connsiteY9" fmla="*/ 10013 h 25542"/>
                <a:gd name="connsiteX10" fmla="*/ 11888 w 13431"/>
                <a:gd name="connsiteY10" fmla="*/ 5502 h 25542"/>
                <a:gd name="connsiteX11" fmla="*/ 5667 w 13431"/>
                <a:gd name="connsiteY11" fmla="*/ 5753 h 25542"/>
                <a:gd name="connsiteX12" fmla="*/ 7150 w 13431"/>
                <a:gd name="connsiteY12" fmla="*/ 418 h 25542"/>
                <a:gd name="connsiteX13" fmla="*/ 5577 w 13431"/>
                <a:gd name="connsiteY13" fmla="*/ 105 h 25542"/>
                <a:gd name="connsiteX14" fmla="*/ 4528 w 13431"/>
                <a:gd name="connsiteY14" fmla="*/ 3861 h 25542"/>
                <a:gd name="connsiteX15" fmla="*/ 2907 w 13431"/>
                <a:gd name="connsiteY15" fmla="*/ 5784 h 25542"/>
                <a:gd name="connsiteX0" fmla="*/ 2907 w 13431"/>
                <a:gd name="connsiteY0" fmla="*/ 5784 h 25542"/>
                <a:gd name="connsiteX1" fmla="*/ 3896 w 13431"/>
                <a:gd name="connsiteY1" fmla="*/ 10169 h 25542"/>
                <a:gd name="connsiteX2" fmla="*/ 3479 w 13431"/>
                <a:gd name="connsiteY2" fmla="*/ 15440 h 25542"/>
                <a:gd name="connsiteX3" fmla="*/ 5445 w 13431"/>
                <a:gd name="connsiteY3" fmla="*/ 15753 h 25542"/>
                <a:gd name="connsiteX4" fmla="*/ 988 w 13431"/>
                <a:gd name="connsiteY4" fmla="*/ 20761 h 25542"/>
                <a:gd name="connsiteX5" fmla="*/ 0 w 13431"/>
                <a:gd name="connsiteY5" fmla="*/ 25178 h 25542"/>
                <a:gd name="connsiteX6" fmla="*/ 5772 w 13431"/>
                <a:gd name="connsiteY6" fmla="*/ 24895 h 25542"/>
                <a:gd name="connsiteX7" fmla="*/ 9820 w 13431"/>
                <a:gd name="connsiteY7" fmla="*/ 23231 h 25542"/>
                <a:gd name="connsiteX8" fmla="*/ 13431 w 13431"/>
                <a:gd name="connsiteY8" fmla="*/ 14717 h 25542"/>
                <a:gd name="connsiteX9" fmla="*/ 12852 w 13431"/>
                <a:gd name="connsiteY9" fmla="*/ 10013 h 25542"/>
                <a:gd name="connsiteX10" fmla="*/ 11888 w 13431"/>
                <a:gd name="connsiteY10" fmla="*/ 5502 h 25542"/>
                <a:gd name="connsiteX11" fmla="*/ 5667 w 13431"/>
                <a:gd name="connsiteY11" fmla="*/ 5753 h 25542"/>
                <a:gd name="connsiteX12" fmla="*/ 7150 w 13431"/>
                <a:gd name="connsiteY12" fmla="*/ 418 h 25542"/>
                <a:gd name="connsiteX13" fmla="*/ 5577 w 13431"/>
                <a:gd name="connsiteY13" fmla="*/ 105 h 25542"/>
                <a:gd name="connsiteX14" fmla="*/ 4528 w 13431"/>
                <a:gd name="connsiteY14" fmla="*/ 3861 h 25542"/>
                <a:gd name="connsiteX15" fmla="*/ 2907 w 13431"/>
                <a:gd name="connsiteY15" fmla="*/ 5784 h 25542"/>
                <a:gd name="connsiteX0" fmla="*/ 2907 w 13431"/>
                <a:gd name="connsiteY0" fmla="*/ 5784 h 25542"/>
                <a:gd name="connsiteX1" fmla="*/ 3896 w 13431"/>
                <a:gd name="connsiteY1" fmla="*/ 10169 h 25542"/>
                <a:gd name="connsiteX2" fmla="*/ 3479 w 13431"/>
                <a:gd name="connsiteY2" fmla="*/ 15440 h 25542"/>
                <a:gd name="connsiteX3" fmla="*/ 2430 w 13431"/>
                <a:gd name="connsiteY3" fmla="*/ 20135 h 25542"/>
                <a:gd name="connsiteX4" fmla="*/ 988 w 13431"/>
                <a:gd name="connsiteY4" fmla="*/ 20761 h 25542"/>
                <a:gd name="connsiteX5" fmla="*/ 0 w 13431"/>
                <a:gd name="connsiteY5" fmla="*/ 25178 h 25542"/>
                <a:gd name="connsiteX6" fmla="*/ 5772 w 13431"/>
                <a:gd name="connsiteY6" fmla="*/ 24895 h 25542"/>
                <a:gd name="connsiteX7" fmla="*/ 9820 w 13431"/>
                <a:gd name="connsiteY7" fmla="*/ 23231 h 25542"/>
                <a:gd name="connsiteX8" fmla="*/ 13431 w 13431"/>
                <a:gd name="connsiteY8" fmla="*/ 14717 h 25542"/>
                <a:gd name="connsiteX9" fmla="*/ 12852 w 13431"/>
                <a:gd name="connsiteY9" fmla="*/ 10013 h 25542"/>
                <a:gd name="connsiteX10" fmla="*/ 11888 w 13431"/>
                <a:gd name="connsiteY10" fmla="*/ 5502 h 25542"/>
                <a:gd name="connsiteX11" fmla="*/ 5667 w 13431"/>
                <a:gd name="connsiteY11" fmla="*/ 5753 h 25542"/>
                <a:gd name="connsiteX12" fmla="*/ 7150 w 13431"/>
                <a:gd name="connsiteY12" fmla="*/ 418 h 25542"/>
                <a:gd name="connsiteX13" fmla="*/ 5577 w 13431"/>
                <a:gd name="connsiteY13" fmla="*/ 105 h 25542"/>
                <a:gd name="connsiteX14" fmla="*/ 4528 w 13431"/>
                <a:gd name="connsiteY14" fmla="*/ 3861 h 25542"/>
                <a:gd name="connsiteX15" fmla="*/ 2907 w 13431"/>
                <a:gd name="connsiteY15" fmla="*/ 5784 h 25542"/>
                <a:gd name="connsiteX0" fmla="*/ 2907 w 13431"/>
                <a:gd name="connsiteY0" fmla="*/ 5784 h 25542"/>
                <a:gd name="connsiteX1" fmla="*/ 3896 w 13431"/>
                <a:gd name="connsiteY1" fmla="*/ 10169 h 25542"/>
                <a:gd name="connsiteX2" fmla="*/ 2168 w 13431"/>
                <a:gd name="connsiteY2" fmla="*/ 15127 h 25542"/>
                <a:gd name="connsiteX3" fmla="*/ 2430 w 13431"/>
                <a:gd name="connsiteY3" fmla="*/ 20135 h 25542"/>
                <a:gd name="connsiteX4" fmla="*/ 988 w 13431"/>
                <a:gd name="connsiteY4" fmla="*/ 20761 h 25542"/>
                <a:gd name="connsiteX5" fmla="*/ 0 w 13431"/>
                <a:gd name="connsiteY5" fmla="*/ 25178 h 25542"/>
                <a:gd name="connsiteX6" fmla="*/ 5772 w 13431"/>
                <a:gd name="connsiteY6" fmla="*/ 24895 h 25542"/>
                <a:gd name="connsiteX7" fmla="*/ 9820 w 13431"/>
                <a:gd name="connsiteY7" fmla="*/ 23231 h 25542"/>
                <a:gd name="connsiteX8" fmla="*/ 13431 w 13431"/>
                <a:gd name="connsiteY8" fmla="*/ 14717 h 25542"/>
                <a:gd name="connsiteX9" fmla="*/ 12852 w 13431"/>
                <a:gd name="connsiteY9" fmla="*/ 10013 h 25542"/>
                <a:gd name="connsiteX10" fmla="*/ 11888 w 13431"/>
                <a:gd name="connsiteY10" fmla="*/ 5502 h 25542"/>
                <a:gd name="connsiteX11" fmla="*/ 5667 w 13431"/>
                <a:gd name="connsiteY11" fmla="*/ 5753 h 25542"/>
                <a:gd name="connsiteX12" fmla="*/ 7150 w 13431"/>
                <a:gd name="connsiteY12" fmla="*/ 418 h 25542"/>
                <a:gd name="connsiteX13" fmla="*/ 5577 w 13431"/>
                <a:gd name="connsiteY13" fmla="*/ 105 h 25542"/>
                <a:gd name="connsiteX14" fmla="*/ 4528 w 13431"/>
                <a:gd name="connsiteY14" fmla="*/ 3861 h 25542"/>
                <a:gd name="connsiteX15" fmla="*/ 2907 w 13431"/>
                <a:gd name="connsiteY15" fmla="*/ 5784 h 25542"/>
                <a:gd name="connsiteX0" fmla="*/ 2907 w 13431"/>
                <a:gd name="connsiteY0" fmla="*/ 5784 h 25542"/>
                <a:gd name="connsiteX1" fmla="*/ 3503 w 13431"/>
                <a:gd name="connsiteY1" fmla="*/ 11108 h 25542"/>
                <a:gd name="connsiteX2" fmla="*/ 2168 w 13431"/>
                <a:gd name="connsiteY2" fmla="*/ 15127 h 25542"/>
                <a:gd name="connsiteX3" fmla="*/ 2430 w 13431"/>
                <a:gd name="connsiteY3" fmla="*/ 20135 h 25542"/>
                <a:gd name="connsiteX4" fmla="*/ 988 w 13431"/>
                <a:gd name="connsiteY4" fmla="*/ 20761 h 25542"/>
                <a:gd name="connsiteX5" fmla="*/ 0 w 13431"/>
                <a:gd name="connsiteY5" fmla="*/ 25178 h 25542"/>
                <a:gd name="connsiteX6" fmla="*/ 5772 w 13431"/>
                <a:gd name="connsiteY6" fmla="*/ 24895 h 25542"/>
                <a:gd name="connsiteX7" fmla="*/ 9820 w 13431"/>
                <a:gd name="connsiteY7" fmla="*/ 23231 h 25542"/>
                <a:gd name="connsiteX8" fmla="*/ 13431 w 13431"/>
                <a:gd name="connsiteY8" fmla="*/ 14717 h 25542"/>
                <a:gd name="connsiteX9" fmla="*/ 12852 w 13431"/>
                <a:gd name="connsiteY9" fmla="*/ 10013 h 25542"/>
                <a:gd name="connsiteX10" fmla="*/ 11888 w 13431"/>
                <a:gd name="connsiteY10" fmla="*/ 5502 h 25542"/>
                <a:gd name="connsiteX11" fmla="*/ 5667 w 13431"/>
                <a:gd name="connsiteY11" fmla="*/ 5753 h 25542"/>
                <a:gd name="connsiteX12" fmla="*/ 7150 w 13431"/>
                <a:gd name="connsiteY12" fmla="*/ 418 h 25542"/>
                <a:gd name="connsiteX13" fmla="*/ 5577 w 13431"/>
                <a:gd name="connsiteY13" fmla="*/ 105 h 25542"/>
                <a:gd name="connsiteX14" fmla="*/ 4528 w 13431"/>
                <a:gd name="connsiteY14" fmla="*/ 3861 h 25542"/>
                <a:gd name="connsiteX15" fmla="*/ 2907 w 13431"/>
                <a:gd name="connsiteY15" fmla="*/ 5784 h 25542"/>
                <a:gd name="connsiteX0" fmla="*/ 2907 w 13431"/>
                <a:gd name="connsiteY0" fmla="*/ 5784 h 25542"/>
                <a:gd name="connsiteX1" fmla="*/ 3503 w 13431"/>
                <a:gd name="connsiteY1" fmla="*/ 11108 h 25542"/>
                <a:gd name="connsiteX2" fmla="*/ 2168 w 13431"/>
                <a:gd name="connsiteY2" fmla="*/ 15127 h 25542"/>
                <a:gd name="connsiteX3" fmla="*/ 2430 w 13431"/>
                <a:gd name="connsiteY3" fmla="*/ 20135 h 25542"/>
                <a:gd name="connsiteX4" fmla="*/ 988 w 13431"/>
                <a:gd name="connsiteY4" fmla="*/ 20761 h 25542"/>
                <a:gd name="connsiteX5" fmla="*/ 0 w 13431"/>
                <a:gd name="connsiteY5" fmla="*/ 25178 h 25542"/>
                <a:gd name="connsiteX6" fmla="*/ 5772 w 13431"/>
                <a:gd name="connsiteY6" fmla="*/ 24895 h 25542"/>
                <a:gd name="connsiteX7" fmla="*/ 9820 w 13431"/>
                <a:gd name="connsiteY7" fmla="*/ 23231 h 25542"/>
                <a:gd name="connsiteX8" fmla="*/ 13431 w 13431"/>
                <a:gd name="connsiteY8" fmla="*/ 14717 h 25542"/>
                <a:gd name="connsiteX9" fmla="*/ 10099 w 13431"/>
                <a:gd name="connsiteY9" fmla="*/ 12204 h 25542"/>
                <a:gd name="connsiteX10" fmla="*/ 11888 w 13431"/>
                <a:gd name="connsiteY10" fmla="*/ 5502 h 25542"/>
                <a:gd name="connsiteX11" fmla="*/ 5667 w 13431"/>
                <a:gd name="connsiteY11" fmla="*/ 5753 h 25542"/>
                <a:gd name="connsiteX12" fmla="*/ 7150 w 13431"/>
                <a:gd name="connsiteY12" fmla="*/ 418 h 25542"/>
                <a:gd name="connsiteX13" fmla="*/ 5577 w 13431"/>
                <a:gd name="connsiteY13" fmla="*/ 105 h 25542"/>
                <a:gd name="connsiteX14" fmla="*/ 4528 w 13431"/>
                <a:gd name="connsiteY14" fmla="*/ 3861 h 25542"/>
                <a:gd name="connsiteX15" fmla="*/ 2907 w 13431"/>
                <a:gd name="connsiteY15" fmla="*/ 5784 h 25542"/>
                <a:gd name="connsiteX0" fmla="*/ 2907 w 13431"/>
                <a:gd name="connsiteY0" fmla="*/ 5784 h 25542"/>
                <a:gd name="connsiteX1" fmla="*/ 3503 w 13431"/>
                <a:gd name="connsiteY1" fmla="*/ 11108 h 25542"/>
                <a:gd name="connsiteX2" fmla="*/ 2168 w 13431"/>
                <a:gd name="connsiteY2" fmla="*/ 15127 h 25542"/>
                <a:gd name="connsiteX3" fmla="*/ 2430 w 13431"/>
                <a:gd name="connsiteY3" fmla="*/ 20135 h 25542"/>
                <a:gd name="connsiteX4" fmla="*/ 988 w 13431"/>
                <a:gd name="connsiteY4" fmla="*/ 20761 h 25542"/>
                <a:gd name="connsiteX5" fmla="*/ 0 w 13431"/>
                <a:gd name="connsiteY5" fmla="*/ 25178 h 25542"/>
                <a:gd name="connsiteX6" fmla="*/ 5772 w 13431"/>
                <a:gd name="connsiteY6" fmla="*/ 24895 h 25542"/>
                <a:gd name="connsiteX7" fmla="*/ 9820 w 13431"/>
                <a:gd name="connsiteY7" fmla="*/ 23231 h 25542"/>
                <a:gd name="connsiteX8" fmla="*/ 13431 w 13431"/>
                <a:gd name="connsiteY8" fmla="*/ 14717 h 25542"/>
                <a:gd name="connsiteX9" fmla="*/ 10099 w 13431"/>
                <a:gd name="connsiteY9" fmla="*/ 12204 h 25542"/>
                <a:gd name="connsiteX10" fmla="*/ 7824 w 13431"/>
                <a:gd name="connsiteY10" fmla="*/ 11135 h 25542"/>
                <a:gd name="connsiteX11" fmla="*/ 5667 w 13431"/>
                <a:gd name="connsiteY11" fmla="*/ 5753 h 25542"/>
                <a:gd name="connsiteX12" fmla="*/ 7150 w 13431"/>
                <a:gd name="connsiteY12" fmla="*/ 418 h 25542"/>
                <a:gd name="connsiteX13" fmla="*/ 5577 w 13431"/>
                <a:gd name="connsiteY13" fmla="*/ 105 h 25542"/>
                <a:gd name="connsiteX14" fmla="*/ 4528 w 13431"/>
                <a:gd name="connsiteY14" fmla="*/ 3861 h 25542"/>
                <a:gd name="connsiteX15" fmla="*/ 2907 w 13431"/>
                <a:gd name="connsiteY15" fmla="*/ 5784 h 25542"/>
                <a:gd name="connsiteX0" fmla="*/ 2907 w 13431"/>
                <a:gd name="connsiteY0" fmla="*/ 5784 h 25542"/>
                <a:gd name="connsiteX1" fmla="*/ 3503 w 13431"/>
                <a:gd name="connsiteY1" fmla="*/ 11108 h 25542"/>
                <a:gd name="connsiteX2" fmla="*/ 2168 w 13431"/>
                <a:gd name="connsiteY2" fmla="*/ 15127 h 25542"/>
                <a:gd name="connsiteX3" fmla="*/ 2430 w 13431"/>
                <a:gd name="connsiteY3" fmla="*/ 20135 h 25542"/>
                <a:gd name="connsiteX4" fmla="*/ 988 w 13431"/>
                <a:gd name="connsiteY4" fmla="*/ 20761 h 25542"/>
                <a:gd name="connsiteX5" fmla="*/ 0 w 13431"/>
                <a:gd name="connsiteY5" fmla="*/ 25178 h 25542"/>
                <a:gd name="connsiteX6" fmla="*/ 5772 w 13431"/>
                <a:gd name="connsiteY6" fmla="*/ 24895 h 25542"/>
                <a:gd name="connsiteX7" fmla="*/ 9820 w 13431"/>
                <a:gd name="connsiteY7" fmla="*/ 23231 h 25542"/>
                <a:gd name="connsiteX8" fmla="*/ 13431 w 13431"/>
                <a:gd name="connsiteY8" fmla="*/ 14717 h 25542"/>
                <a:gd name="connsiteX9" fmla="*/ 10099 w 13431"/>
                <a:gd name="connsiteY9" fmla="*/ 12204 h 25542"/>
                <a:gd name="connsiteX10" fmla="*/ 7824 w 13431"/>
                <a:gd name="connsiteY10" fmla="*/ 11135 h 25542"/>
                <a:gd name="connsiteX11" fmla="*/ 5274 w 13431"/>
                <a:gd name="connsiteY11" fmla="*/ 12325 h 25542"/>
                <a:gd name="connsiteX12" fmla="*/ 7150 w 13431"/>
                <a:gd name="connsiteY12" fmla="*/ 418 h 25542"/>
                <a:gd name="connsiteX13" fmla="*/ 5577 w 13431"/>
                <a:gd name="connsiteY13" fmla="*/ 105 h 25542"/>
                <a:gd name="connsiteX14" fmla="*/ 4528 w 13431"/>
                <a:gd name="connsiteY14" fmla="*/ 3861 h 25542"/>
                <a:gd name="connsiteX15" fmla="*/ 2907 w 13431"/>
                <a:gd name="connsiteY15" fmla="*/ 5784 h 25542"/>
                <a:gd name="connsiteX0" fmla="*/ 2907 w 13431"/>
                <a:gd name="connsiteY0" fmla="*/ 5784 h 26147"/>
                <a:gd name="connsiteX1" fmla="*/ 3503 w 13431"/>
                <a:gd name="connsiteY1" fmla="*/ 11108 h 26147"/>
                <a:gd name="connsiteX2" fmla="*/ 2168 w 13431"/>
                <a:gd name="connsiteY2" fmla="*/ 15127 h 26147"/>
                <a:gd name="connsiteX3" fmla="*/ 2430 w 13431"/>
                <a:gd name="connsiteY3" fmla="*/ 20135 h 26147"/>
                <a:gd name="connsiteX4" fmla="*/ 988 w 13431"/>
                <a:gd name="connsiteY4" fmla="*/ 20761 h 26147"/>
                <a:gd name="connsiteX5" fmla="*/ 0 w 13431"/>
                <a:gd name="connsiteY5" fmla="*/ 25178 h 26147"/>
                <a:gd name="connsiteX6" fmla="*/ 5379 w 13431"/>
                <a:gd name="connsiteY6" fmla="*/ 26147 h 26147"/>
                <a:gd name="connsiteX7" fmla="*/ 9820 w 13431"/>
                <a:gd name="connsiteY7" fmla="*/ 23231 h 26147"/>
                <a:gd name="connsiteX8" fmla="*/ 13431 w 13431"/>
                <a:gd name="connsiteY8" fmla="*/ 14717 h 26147"/>
                <a:gd name="connsiteX9" fmla="*/ 10099 w 13431"/>
                <a:gd name="connsiteY9" fmla="*/ 12204 h 26147"/>
                <a:gd name="connsiteX10" fmla="*/ 7824 w 13431"/>
                <a:gd name="connsiteY10" fmla="*/ 11135 h 26147"/>
                <a:gd name="connsiteX11" fmla="*/ 5274 w 13431"/>
                <a:gd name="connsiteY11" fmla="*/ 12325 h 26147"/>
                <a:gd name="connsiteX12" fmla="*/ 7150 w 13431"/>
                <a:gd name="connsiteY12" fmla="*/ 418 h 26147"/>
                <a:gd name="connsiteX13" fmla="*/ 5577 w 13431"/>
                <a:gd name="connsiteY13" fmla="*/ 105 h 26147"/>
                <a:gd name="connsiteX14" fmla="*/ 4528 w 13431"/>
                <a:gd name="connsiteY14" fmla="*/ 3861 h 26147"/>
                <a:gd name="connsiteX15" fmla="*/ 2907 w 13431"/>
                <a:gd name="connsiteY15" fmla="*/ 5784 h 26147"/>
                <a:gd name="connsiteX0" fmla="*/ 2907 w 13431"/>
                <a:gd name="connsiteY0" fmla="*/ 5667 h 26030"/>
                <a:gd name="connsiteX1" fmla="*/ 3503 w 13431"/>
                <a:gd name="connsiteY1" fmla="*/ 10991 h 26030"/>
                <a:gd name="connsiteX2" fmla="*/ 2168 w 13431"/>
                <a:gd name="connsiteY2" fmla="*/ 15010 h 26030"/>
                <a:gd name="connsiteX3" fmla="*/ 2430 w 13431"/>
                <a:gd name="connsiteY3" fmla="*/ 20018 h 26030"/>
                <a:gd name="connsiteX4" fmla="*/ 988 w 13431"/>
                <a:gd name="connsiteY4" fmla="*/ 20644 h 26030"/>
                <a:gd name="connsiteX5" fmla="*/ 0 w 13431"/>
                <a:gd name="connsiteY5" fmla="*/ 25061 h 26030"/>
                <a:gd name="connsiteX6" fmla="*/ 5379 w 13431"/>
                <a:gd name="connsiteY6" fmla="*/ 26030 h 26030"/>
                <a:gd name="connsiteX7" fmla="*/ 9820 w 13431"/>
                <a:gd name="connsiteY7" fmla="*/ 23114 h 26030"/>
                <a:gd name="connsiteX8" fmla="*/ 13431 w 13431"/>
                <a:gd name="connsiteY8" fmla="*/ 14600 h 26030"/>
                <a:gd name="connsiteX9" fmla="*/ 10099 w 13431"/>
                <a:gd name="connsiteY9" fmla="*/ 12087 h 26030"/>
                <a:gd name="connsiteX10" fmla="*/ 7824 w 13431"/>
                <a:gd name="connsiteY10" fmla="*/ 11018 h 26030"/>
                <a:gd name="connsiteX11" fmla="*/ 5274 w 13431"/>
                <a:gd name="connsiteY11" fmla="*/ 12208 h 26030"/>
                <a:gd name="connsiteX12" fmla="*/ 7150 w 13431"/>
                <a:gd name="connsiteY12" fmla="*/ 301 h 26030"/>
                <a:gd name="connsiteX13" fmla="*/ 4528 w 13431"/>
                <a:gd name="connsiteY13" fmla="*/ 3744 h 26030"/>
                <a:gd name="connsiteX14" fmla="*/ 2907 w 13431"/>
                <a:gd name="connsiteY14" fmla="*/ 5667 h 26030"/>
                <a:gd name="connsiteX0" fmla="*/ 2907 w 13431"/>
                <a:gd name="connsiteY0" fmla="*/ 2238 h 22601"/>
                <a:gd name="connsiteX1" fmla="*/ 3503 w 13431"/>
                <a:gd name="connsiteY1" fmla="*/ 7562 h 22601"/>
                <a:gd name="connsiteX2" fmla="*/ 2168 w 13431"/>
                <a:gd name="connsiteY2" fmla="*/ 11581 h 22601"/>
                <a:gd name="connsiteX3" fmla="*/ 2430 w 13431"/>
                <a:gd name="connsiteY3" fmla="*/ 16589 h 22601"/>
                <a:gd name="connsiteX4" fmla="*/ 988 w 13431"/>
                <a:gd name="connsiteY4" fmla="*/ 17215 h 22601"/>
                <a:gd name="connsiteX5" fmla="*/ 0 w 13431"/>
                <a:gd name="connsiteY5" fmla="*/ 21632 h 22601"/>
                <a:gd name="connsiteX6" fmla="*/ 5379 w 13431"/>
                <a:gd name="connsiteY6" fmla="*/ 22601 h 22601"/>
                <a:gd name="connsiteX7" fmla="*/ 9820 w 13431"/>
                <a:gd name="connsiteY7" fmla="*/ 19685 h 22601"/>
                <a:gd name="connsiteX8" fmla="*/ 13431 w 13431"/>
                <a:gd name="connsiteY8" fmla="*/ 11171 h 22601"/>
                <a:gd name="connsiteX9" fmla="*/ 10099 w 13431"/>
                <a:gd name="connsiteY9" fmla="*/ 8658 h 22601"/>
                <a:gd name="connsiteX10" fmla="*/ 7824 w 13431"/>
                <a:gd name="connsiteY10" fmla="*/ 7589 h 22601"/>
                <a:gd name="connsiteX11" fmla="*/ 5274 w 13431"/>
                <a:gd name="connsiteY11" fmla="*/ 8779 h 22601"/>
                <a:gd name="connsiteX12" fmla="*/ 4528 w 13431"/>
                <a:gd name="connsiteY12" fmla="*/ 315 h 22601"/>
                <a:gd name="connsiteX13" fmla="*/ 2907 w 13431"/>
                <a:gd name="connsiteY13" fmla="*/ 2238 h 22601"/>
                <a:gd name="connsiteX0" fmla="*/ 2907 w 13431"/>
                <a:gd name="connsiteY0" fmla="*/ 0 h 20363"/>
                <a:gd name="connsiteX1" fmla="*/ 3503 w 13431"/>
                <a:gd name="connsiteY1" fmla="*/ 5324 h 20363"/>
                <a:gd name="connsiteX2" fmla="*/ 2168 w 13431"/>
                <a:gd name="connsiteY2" fmla="*/ 9343 h 20363"/>
                <a:gd name="connsiteX3" fmla="*/ 2430 w 13431"/>
                <a:gd name="connsiteY3" fmla="*/ 14351 h 20363"/>
                <a:gd name="connsiteX4" fmla="*/ 988 w 13431"/>
                <a:gd name="connsiteY4" fmla="*/ 14977 h 20363"/>
                <a:gd name="connsiteX5" fmla="*/ 0 w 13431"/>
                <a:gd name="connsiteY5" fmla="*/ 19394 h 20363"/>
                <a:gd name="connsiteX6" fmla="*/ 5379 w 13431"/>
                <a:gd name="connsiteY6" fmla="*/ 20363 h 20363"/>
                <a:gd name="connsiteX7" fmla="*/ 9820 w 13431"/>
                <a:gd name="connsiteY7" fmla="*/ 17447 h 20363"/>
                <a:gd name="connsiteX8" fmla="*/ 13431 w 13431"/>
                <a:gd name="connsiteY8" fmla="*/ 8933 h 20363"/>
                <a:gd name="connsiteX9" fmla="*/ 10099 w 13431"/>
                <a:gd name="connsiteY9" fmla="*/ 6420 h 20363"/>
                <a:gd name="connsiteX10" fmla="*/ 7824 w 13431"/>
                <a:gd name="connsiteY10" fmla="*/ 5351 h 20363"/>
                <a:gd name="connsiteX11" fmla="*/ 5274 w 13431"/>
                <a:gd name="connsiteY11" fmla="*/ 6541 h 20363"/>
                <a:gd name="connsiteX12" fmla="*/ 2907 w 13431"/>
                <a:gd name="connsiteY12" fmla="*/ 0 h 20363"/>
                <a:gd name="connsiteX0" fmla="*/ 5274 w 13431"/>
                <a:gd name="connsiteY0" fmla="*/ 1299 h 15121"/>
                <a:gd name="connsiteX1" fmla="*/ 3503 w 13431"/>
                <a:gd name="connsiteY1" fmla="*/ 82 h 15121"/>
                <a:gd name="connsiteX2" fmla="*/ 2168 w 13431"/>
                <a:gd name="connsiteY2" fmla="*/ 4101 h 15121"/>
                <a:gd name="connsiteX3" fmla="*/ 2430 w 13431"/>
                <a:gd name="connsiteY3" fmla="*/ 9109 h 15121"/>
                <a:gd name="connsiteX4" fmla="*/ 988 w 13431"/>
                <a:gd name="connsiteY4" fmla="*/ 9735 h 15121"/>
                <a:gd name="connsiteX5" fmla="*/ 0 w 13431"/>
                <a:gd name="connsiteY5" fmla="*/ 14152 h 15121"/>
                <a:gd name="connsiteX6" fmla="*/ 5379 w 13431"/>
                <a:gd name="connsiteY6" fmla="*/ 15121 h 15121"/>
                <a:gd name="connsiteX7" fmla="*/ 9820 w 13431"/>
                <a:gd name="connsiteY7" fmla="*/ 12205 h 15121"/>
                <a:gd name="connsiteX8" fmla="*/ 13431 w 13431"/>
                <a:gd name="connsiteY8" fmla="*/ 3691 h 15121"/>
                <a:gd name="connsiteX9" fmla="*/ 10099 w 13431"/>
                <a:gd name="connsiteY9" fmla="*/ 1178 h 15121"/>
                <a:gd name="connsiteX10" fmla="*/ 7824 w 13431"/>
                <a:gd name="connsiteY10" fmla="*/ 109 h 15121"/>
                <a:gd name="connsiteX11" fmla="*/ 5274 w 13431"/>
                <a:gd name="connsiteY11" fmla="*/ 1299 h 15121"/>
                <a:gd name="connsiteX0" fmla="*/ 5274 w 13431"/>
                <a:gd name="connsiteY0" fmla="*/ 1190 h 15012"/>
                <a:gd name="connsiteX1" fmla="*/ 3765 w 13431"/>
                <a:gd name="connsiteY1" fmla="*/ 3416 h 15012"/>
                <a:gd name="connsiteX2" fmla="*/ 2168 w 13431"/>
                <a:gd name="connsiteY2" fmla="*/ 3992 h 15012"/>
                <a:gd name="connsiteX3" fmla="*/ 2430 w 13431"/>
                <a:gd name="connsiteY3" fmla="*/ 9000 h 15012"/>
                <a:gd name="connsiteX4" fmla="*/ 988 w 13431"/>
                <a:gd name="connsiteY4" fmla="*/ 9626 h 15012"/>
                <a:gd name="connsiteX5" fmla="*/ 0 w 13431"/>
                <a:gd name="connsiteY5" fmla="*/ 14043 h 15012"/>
                <a:gd name="connsiteX6" fmla="*/ 5379 w 13431"/>
                <a:gd name="connsiteY6" fmla="*/ 15012 h 15012"/>
                <a:gd name="connsiteX7" fmla="*/ 9820 w 13431"/>
                <a:gd name="connsiteY7" fmla="*/ 12096 h 15012"/>
                <a:gd name="connsiteX8" fmla="*/ 13431 w 13431"/>
                <a:gd name="connsiteY8" fmla="*/ 3582 h 15012"/>
                <a:gd name="connsiteX9" fmla="*/ 10099 w 13431"/>
                <a:gd name="connsiteY9" fmla="*/ 1069 h 15012"/>
                <a:gd name="connsiteX10" fmla="*/ 7824 w 13431"/>
                <a:gd name="connsiteY10" fmla="*/ 0 h 15012"/>
                <a:gd name="connsiteX11" fmla="*/ 5274 w 13431"/>
                <a:gd name="connsiteY11" fmla="*/ 1190 h 15012"/>
                <a:gd name="connsiteX0" fmla="*/ 6061 w 13431"/>
                <a:gd name="connsiteY0" fmla="*/ 1190 h 15012"/>
                <a:gd name="connsiteX1" fmla="*/ 3765 w 13431"/>
                <a:gd name="connsiteY1" fmla="*/ 3416 h 15012"/>
                <a:gd name="connsiteX2" fmla="*/ 2168 w 13431"/>
                <a:gd name="connsiteY2" fmla="*/ 3992 h 15012"/>
                <a:gd name="connsiteX3" fmla="*/ 2430 w 13431"/>
                <a:gd name="connsiteY3" fmla="*/ 9000 h 15012"/>
                <a:gd name="connsiteX4" fmla="*/ 988 w 13431"/>
                <a:gd name="connsiteY4" fmla="*/ 9626 h 15012"/>
                <a:gd name="connsiteX5" fmla="*/ 0 w 13431"/>
                <a:gd name="connsiteY5" fmla="*/ 14043 h 15012"/>
                <a:gd name="connsiteX6" fmla="*/ 5379 w 13431"/>
                <a:gd name="connsiteY6" fmla="*/ 15012 h 15012"/>
                <a:gd name="connsiteX7" fmla="*/ 9820 w 13431"/>
                <a:gd name="connsiteY7" fmla="*/ 12096 h 15012"/>
                <a:gd name="connsiteX8" fmla="*/ 13431 w 13431"/>
                <a:gd name="connsiteY8" fmla="*/ 3582 h 15012"/>
                <a:gd name="connsiteX9" fmla="*/ 10099 w 13431"/>
                <a:gd name="connsiteY9" fmla="*/ 1069 h 15012"/>
                <a:gd name="connsiteX10" fmla="*/ 7824 w 13431"/>
                <a:gd name="connsiteY10" fmla="*/ 0 h 15012"/>
                <a:gd name="connsiteX11" fmla="*/ 6061 w 13431"/>
                <a:gd name="connsiteY11" fmla="*/ 1190 h 15012"/>
                <a:gd name="connsiteX0" fmla="*/ 6061 w 13431"/>
                <a:gd name="connsiteY0" fmla="*/ 1190 h 15012"/>
                <a:gd name="connsiteX1" fmla="*/ 3765 w 13431"/>
                <a:gd name="connsiteY1" fmla="*/ 3416 h 15012"/>
                <a:gd name="connsiteX2" fmla="*/ 2168 w 13431"/>
                <a:gd name="connsiteY2" fmla="*/ 3992 h 15012"/>
                <a:gd name="connsiteX3" fmla="*/ 3610 w 13431"/>
                <a:gd name="connsiteY3" fmla="*/ 9000 h 15012"/>
                <a:gd name="connsiteX4" fmla="*/ 988 w 13431"/>
                <a:gd name="connsiteY4" fmla="*/ 9626 h 15012"/>
                <a:gd name="connsiteX5" fmla="*/ 0 w 13431"/>
                <a:gd name="connsiteY5" fmla="*/ 14043 h 15012"/>
                <a:gd name="connsiteX6" fmla="*/ 5379 w 13431"/>
                <a:gd name="connsiteY6" fmla="*/ 15012 h 15012"/>
                <a:gd name="connsiteX7" fmla="*/ 9820 w 13431"/>
                <a:gd name="connsiteY7" fmla="*/ 12096 h 15012"/>
                <a:gd name="connsiteX8" fmla="*/ 13431 w 13431"/>
                <a:gd name="connsiteY8" fmla="*/ 3582 h 15012"/>
                <a:gd name="connsiteX9" fmla="*/ 10099 w 13431"/>
                <a:gd name="connsiteY9" fmla="*/ 1069 h 15012"/>
                <a:gd name="connsiteX10" fmla="*/ 7824 w 13431"/>
                <a:gd name="connsiteY10" fmla="*/ 0 h 15012"/>
                <a:gd name="connsiteX11" fmla="*/ 6061 w 13431"/>
                <a:gd name="connsiteY11" fmla="*/ 1190 h 15012"/>
                <a:gd name="connsiteX0" fmla="*/ 6061 w 13431"/>
                <a:gd name="connsiteY0" fmla="*/ 1190 h 15012"/>
                <a:gd name="connsiteX1" fmla="*/ 3765 w 13431"/>
                <a:gd name="connsiteY1" fmla="*/ 3416 h 15012"/>
                <a:gd name="connsiteX2" fmla="*/ 2168 w 13431"/>
                <a:gd name="connsiteY2" fmla="*/ 3992 h 15012"/>
                <a:gd name="connsiteX3" fmla="*/ 2561 w 13431"/>
                <a:gd name="connsiteY3" fmla="*/ 9313 h 15012"/>
                <a:gd name="connsiteX4" fmla="*/ 988 w 13431"/>
                <a:gd name="connsiteY4" fmla="*/ 9626 h 15012"/>
                <a:gd name="connsiteX5" fmla="*/ 0 w 13431"/>
                <a:gd name="connsiteY5" fmla="*/ 14043 h 15012"/>
                <a:gd name="connsiteX6" fmla="*/ 5379 w 13431"/>
                <a:gd name="connsiteY6" fmla="*/ 15012 h 15012"/>
                <a:gd name="connsiteX7" fmla="*/ 9820 w 13431"/>
                <a:gd name="connsiteY7" fmla="*/ 12096 h 15012"/>
                <a:gd name="connsiteX8" fmla="*/ 13431 w 13431"/>
                <a:gd name="connsiteY8" fmla="*/ 3582 h 15012"/>
                <a:gd name="connsiteX9" fmla="*/ 10099 w 13431"/>
                <a:gd name="connsiteY9" fmla="*/ 1069 h 15012"/>
                <a:gd name="connsiteX10" fmla="*/ 7824 w 13431"/>
                <a:gd name="connsiteY10" fmla="*/ 0 h 15012"/>
                <a:gd name="connsiteX11" fmla="*/ 6061 w 13431"/>
                <a:gd name="connsiteY11" fmla="*/ 1190 h 15012"/>
                <a:gd name="connsiteX0" fmla="*/ 6848 w 14218"/>
                <a:gd name="connsiteY0" fmla="*/ 1190 h 15012"/>
                <a:gd name="connsiteX1" fmla="*/ 4552 w 14218"/>
                <a:gd name="connsiteY1" fmla="*/ 3416 h 15012"/>
                <a:gd name="connsiteX2" fmla="*/ 2955 w 14218"/>
                <a:gd name="connsiteY2" fmla="*/ 3992 h 15012"/>
                <a:gd name="connsiteX3" fmla="*/ 3348 w 14218"/>
                <a:gd name="connsiteY3" fmla="*/ 9313 h 15012"/>
                <a:gd name="connsiteX4" fmla="*/ 1775 w 14218"/>
                <a:gd name="connsiteY4" fmla="*/ 9626 h 15012"/>
                <a:gd name="connsiteX5" fmla="*/ 0 w 14218"/>
                <a:gd name="connsiteY5" fmla="*/ 13730 h 15012"/>
                <a:gd name="connsiteX6" fmla="*/ 6166 w 14218"/>
                <a:gd name="connsiteY6" fmla="*/ 15012 h 15012"/>
                <a:gd name="connsiteX7" fmla="*/ 10607 w 14218"/>
                <a:gd name="connsiteY7" fmla="*/ 12096 h 15012"/>
                <a:gd name="connsiteX8" fmla="*/ 14218 w 14218"/>
                <a:gd name="connsiteY8" fmla="*/ 3582 h 15012"/>
                <a:gd name="connsiteX9" fmla="*/ 10886 w 14218"/>
                <a:gd name="connsiteY9" fmla="*/ 1069 h 15012"/>
                <a:gd name="connsiteX10" fmla="*/ 8611 w 14218"/>
                <a:gd name="connsiteY10" fmla="*/ 0 h 15012"/>
                <a:gd name="connsiteX11" fmla="*/ 6848 w 14218"/>
                <a:gd name="connsiteY11" fmla="*/ 1190 h 15012"/>
                <a:gd name="connsiteX0" fmla="*/ 6848 w 14218"/>
                <a:gd name="connsiteY0" fmla="*/ 1190 h 15012"/>
                <a:gd name="connsiteX1" fmla="*/ 4552 w 14218"/>
                <a:gd name="connsiteY1" fmla="*/ 3416 h 15012"/>
                <a:gd name="connsiteX2" fmla="*/ 2955 w 14218"/>
                <a:gd name="connsiteY2" fmla="*/ 3992 h 15012"/>
                <a:gd name="connsiteX3" fmla="*/ 4135 w 14218"/>
                <a:gd name="connsiteY3" fmla="*/ 10565 h 15012"/>
                <a:gd name="connsiteX4" fmla="*/ 1775 w 14218"/>
                <a:gd name="connsiteY4" fmla="*/ 9626 h 15012"/>
                <a:gd name="connsiteX5" fmla="*/ 0 w 14218"/>
                <a:gd name="connsiteY5" fmla="*/ 13730 h 15012"/>
                <a:gd name="connsiteX6" fmla="*/ 6166 w 14218"/>
                <a:gd name="connsiteY6" fmla="*/ 15012 h 15012"/>
                <a:gd name="connsiteX7" fmla="*/ 10607 w 14218"/>
                <a:gd name="connsiteY7" fmla="*/ 12096 h 15012"/>
                <a:gd name="connsiteX8" fmla="*/ 14218 w 14218"/>
                <a:gd name="connsiteY8" fmla="*/ 3582 h 15012"/>
                <a:gd name="connsiteX9" fmla="*/ 10886 w 14218"/>
                <a:gd name="connsiteY9" fmla="*/ 1069 h 15012"/>
                <a:gd name="connsiteX10" fmla="*/ 8611 w 14218"/>
                <a:gd name="connsiteY10" fmla="*/ 0 h 15012"/>
                <a:gd name="connsiteX11" fmla="*/ 6848 w 14218"/>
                <a:gd name="connsiteY11" fmla="*/ 1190 h 15012"/>
                <a:gd name="connsiteX0" fmla="*/ 6848 w 14218"/>
                <a:gd name="connsiteY0" fmla="*/ 1190 h 15012"/>
                <a:gd name="connsiteX1" fmla="*/ 4552 w 14218"/>
                <a:gd name="connsiteY1" fmla="*/ 3416 h 15012"/>
                <a:gd name="connsiteX2" fmla="*/ 2955 w 14218"/>
                <a:gd name="connsiteY2" fmla="*/ 3992 h 15012"/>
                <a:gd name="connsiteX3" fmla="*/ 4397 w 14218"/>
                <a:gd name="connsiteY3" fmla="*/ 10878 h 15012"/>
                <a:gd name="connsiteX4" fmla="*/ 1775 w 14218"/>
                <a:gd name="connsiteY4" fmla="*/ 9626 h 15012"/>
                <a:gd name="connsiteX5" fmla="*/ 0 w 14218"/>
                <a:gd name="connsiteY5" fmla="*/ 13730 h 15012"/>
                <a:gd name="connsiteX6" fmla="*/ 6166 w 14218"/>
                <a:gd name="connsiteY6" fmla="*/ 15012 h 15012"/>
                <a:gd name="connsiteX7" fmla="*/ 10607 w 14218"/>
                <a:gd name="connsiteY7" fmla="*/ 12096 h 15012"/>
                <a:gd name="connsiteX8" fmla="*/ 14218 w 14218"/>
                <a:gd name="connsiteY8" fmla="*/ 3582 h 15012"/>
                <a:gd name="connsiteX9" fmla="*/ 10886 w 14218"/>
                <a:gd name="connsiteY9" fmla="*/ 1069 h 15012"/>
                <a:gd name="connsiteX10" fmla="*/ 8611 w 14218"/>
                <a:gd name="connsiteY10" fmla="*/ 0 h 15012"/>
                <a:gd name="connsiteX11" fmla="*/ 6848 w 14218"/>
                <a:gd name="connsiteY11" fmla="*/ 1190 h 15012"/>
                <a:gd name="connsiteX0" fmla="*/ 6848 w 14218"/>
                <a:gd name="connsiteY0" fmla="*/ 1190 h 15012"/>
                <a:gd name="connsiteX1" fmla="*/ 4552 w 14218"/>
                <a:gd name="connsiteY1" fmla="*/ 3416 h 15012"/>
                <a:gd name="connsiteX2" fmla="*/ 2955 w 14218"/>
                <a:gd name="connsiteY2" fmla="*/ 3992 h 15012"/>
                <a:gd name="connsiteX3" fmla="*/ 4649 w 14218"/>
                <a:gd name="connsiteY3" fmla="*/ 8075 h 15012"/>
                <a:gd name="connsiteX4" fmla="*/ 4397 w 14218"/>
                <a:gd name="connsiteY4" fmla="*/ 10878 h 15012"/>
                <a:gd name="connsiteX5" fmla="*/ 1775 w 14218"/>
                <a:gd name="connsiteY5" fmla="*/ 9626 h 15012"/>
                <a:gd name="connsiteX6" fmla="*/ 0 w 14218"/>
                <a:gd name="connsiteY6" fmla="*/ 13730 h 15012"/>
                <a:gd name="connsiteX7" fmla="*/ 6166 w 14218"/>
                <a:gd name="connsiteY7" fmla="*/ 15012 h 15012"/>
                <a:gd name="connsiteX8" fmla="*/ 10607 w 14218"/>
                <a:gd name="connsiteY8" fmla="*/ 12096 h 15012"/>
                <a:gd name="connsiteX9" fmla="*/ 14218 w 14218"/>
                <a:gd name="connsiteY9" fmla="*/ 3582 h 15012"/>
                <a:gd name="connsiteX10" fmla="*/ 10886 w 14218"/>
                <a:gd name="connsiteY10" fmla="*/ 1069 h 15012"/>
                <a:gd name="connsiteX11" fmla="*/ 8611 w 14218"/>
                <a:gd name="connsiteY11" fmla="*/ 0 h 15012"/>
                <a:gd name="connsiteX12" fmla="*/ 6848 w 14218"/>
                <a:gd name="connsiteY12" fmla="*/ 1190 h 15012"/>
                <a:gd name="connsiteX0" fmla="*/ 6848 w 14218"/>
                <a:gd name="connsiteY0" fmla="*/ 1190 h 15012"/>
                <a:gd name="connsiteX1" fmla="*/ 4552 w 14218"/>
                <a:gd name="connsiteY1" fmla="*/ 3416 h 15012"/>
                <a:gd name="connsiteX2" fmla="*/ 1906 w 14218"/>
                <a:gd name="connsiteY2" fmla="*/ 7122 h 15012"/>
                <a:gd name="connsiteX3" fmla="*/ 4649 w 14218"/>
                <a:gd name="connsiteY3" fmla="*/ 8075 h 15012"/>
                <a:gd name="connsiteX4" fmla="*/ 4397 w 14218"/>
                <a:gd name="connsiteY4" fmla="*/ 10878 h 15012"/>
                <a:gd name="connsiteX5" fmla="*/ 1775 w 14218"/>
                <a:gd name="connsiteY5" fmla="*/ 9626 h 15012"/>
                <a:gd name="connsiteX6" fmla="*/ 0 w 14218"/>
                <a:gd name="connsiteY6" fmla="*/ 13730 h 15012"/>
                <a:gd name="connsiteX7" fmla="*/ 6166 w 14218"/>
                <a:gd name="connsiteY7" fmla="*/ 15012 h 15012"/>
                <a:gd name="connsiteX8" fmla="*/ 10607 w 14218"/>
                <a:gd name="connsiteY8" fmla="*/ 12096 h 15012"/>
                <a:gd name="connsiteX9" fmla="*/ 14218 w 14218"/>
                <a:gd name="connsiteY9" fmla="*/ 3582 h 15012"/>
                <a:gd name="connsiteX10" fmla="*/ 10886 w 14218"/>
                <a:gd name="connsiteY10" fmla="*/ 1069 h 15012"/>
                <a:gd name="connsiteX11" fmla="*/ 8611 w 14218"/>
                <a:gd name="connsiteY11" fmla="*/ 0 h 15012"/>
                <a:gd name="connsiteX12" fmla="*/ 6848 w 14218"/>
                <a:gd name="connsiteY12" fmla="*/ 1190 h 15012"/>
                <a:gd name="connsiteX0" fmla="*/ 6848 w 14218"/>
                <a:gd name="connsiteY0" fmla="*/ 1190 h 15012"/>
                <a:gd name="connsiteX1" fmla="*/ 2848 w 14218"/>
                <a:gd name="connsiteY1" fmla="*/ 3729 h 15012"/>
                <a:gd name="connsiteX2" fmla="*/ 1906 w 14218"/>
                <a:gd name="connsiteY2" fmla="*/ 7122 h 15012"/>
                <a:gd name="connsiteX3" fmla="*/ 4649 w 14218"/>
                <a:gd name="connsiteY3" fmla="*/ 8075 h 15012"/>
                <a:gd name="connsiteX4" fmla="*/ 4397 w 14218"/>
                <a:gd name="connsiteY4" fmla="*/ 10878 h 15012"/>
                <a:gd name="connsiteX5" fmla="*/ 1775 w 14218"/>
                <a:gd name="connsiteY5" fmla="*/ 9626 h 15012"/>
                <a:gd name="connsiteX6" fmla="*/ 0 w 14218"/>
                <a:gd name="connsiteY6" fmla="*/ 13730 h 15012"/>
                <a:gd name="connsiteX7" fmla="*/ 6166 w 14218"/>
                <a:gd name="connsiteY7" fmla="*/ 15012 h 15012"/>
                <a:gd name="connsiteX8" fmla="*/ 10607 w 14218"/>
                <a:gd name="connsiteY8" fmla="*/ 12096 h 15012"/>
                <a:gd name="connsiteX9" fmla="*/ 14218 w 14218"/>
                <a:gd name="connsiteY9" fmla="*/ 3582 h 15012"/>
                <a:gd name="connsiteX10" fmla="*/ 10886 w 14218"/>
                <a:gd name="connsiteY10" fmla="*/ 1069 h 15012"/>
                <a:gd name="connsiteX11" fmla="*/ 8611 w 14218"/>
                <a:gd name="connsiteY11" fmla="*/ 0 h 15012"/>
                <a:gd name="connsiteX12" fmla="*/ 6848 w 14218"/>
                <a:gd name="connsiteY12" fmla="*/ 1190 h 15012"/>
                <a:gd name="connsiteX0" fmla="*/ 6848 w 14218"/>
                <a:gd name="connsiteY0" fmla="*/ 1190 h 15012"/>
                <a:gd name="connsiteX1" fmla="*/ 2848 w 14218"/>
                <a:gd name="connsiteY1" fmla="*/ 3729 h 15012"/>
                <a:gd name="connsiteX2" fmla="*/ 1906 w 14218"/>
                <a:gd name="connsiteY2" fmla="*/ 7122 h 15012"/>
                <a:gd name="connsiteX3" fmla="*/ 4649 w 14218"/>
                <a:gd name="connsiteY3" fmla="*/ 8075 h 15012"/>
                <a:gd name="connsiteX4" fmla="*/ 5184 w 14218"/>
                <a:gd name="connsiteY4" fmla="*/ 10565 h 15012"/>
                <a:gd name="connsiteX5" fmla="*/ 1775 w 14218"/>
                <a:gd name="connsiteY5" fmla="*/ 9626 h 15012"/>
                <a:gd name="connsiteX6" fmla="*/ 0 w 14218"/>
                <a:gd name="connsiteY6" fmla="*/ 13730 h 15012"/>
                <a:gd name="connsiteX7" fmla="*/ 6166 w 14218"/>
                <a:gd name="connsiteY7" fmla="*/ 15012 h 15012"/>
                <a:gd name="connsiteX8" fmla="*/ 10607 w 14218"/>
                <a:gd name="connsiteY8" fmla="*/ 12096 h 15012"/>
                <a:gd name="connsiteX9" fmla="*/ 14218 w 14218"/>
                <a:gd name="connsiteY9" fmla="*/ 3582 h 15012"/>
                <a:gd name="connsiteX10" fmla="*/ 10886 w 14218"/>
                <a:gd name="connsiteY10" fmla="*/ 1069 h 15012"/>
                <a:gd name="connsiteX11" fmla="*/ 8611 w 14218"/>
                <a:gd name="connsiteY11" fmla="*/ 0 h 15012"/>
                <a:gd name="connsiteX12" fmla="*/ 6848 w 14218"/>
                <a:gd name="connsiteY12" fmla="*/ 1190 h 15012"/>
                <a:gd name="connsiteX0" fmla="*/ 6848 w 14218"/>
                <a:gd name="connsiteY0" fmla="*/ 1190 h 15012"/>
                <a:gd name="connsiteX1" fmla="*/ 2848 w 14218"/>
                <a:gd name="connsiteY1" fmla="*/ 3729 h 15012"/>
                <a:gd name="connsiteX2" fmla="*/ 1906 w 14218"/>
                <a:gd name="connsiteY2" fmla="*/ 7122 h 15012"/>
                <a:gd name="connsiteX3" fmla="*/ 4649 w 14218"/>
                <a:gd name="connsiteY3" fmla="*/ 8075 h 15012"/>
                <a:gd name="connsiteX4" fmla="*/ 5184 w 14218"/>
                <a:gd name="connsiteY4" fmla="*/ 10565 h 15012"/>
                <a:gd name="connsiteX5" fmla="*/ 1775 w 14218"/>
                <a:gd name="connsiteY5" fmla="*/ 9626 h 15012"/>
                <a:gd name="connsiteX6" fmla="*/ 0 w 14218"/>
                <a:gd name="connsiteY6" fmla="*/ 13730 h 15012"/>
                <a:gd name="connsiteX7" fmla="*/ 6166 w 14218"/>
                <a:gd name="connsiteY7" fmla="*/ 15012 h 15012"/>
                <a:gd name="connsiteX8" fmla="*/ 10607 w 14218"/>
                <a:gd name="connsiteY8" fmla="*/ 12096 h 15012"/>
                <a:gd name="connsiteX9" fmla="*/ 14218 w 14218"/>
                <a:gd name="connsiteY9" fmla="*/ 3582 h 15012"/>
                <a:gd name="connsiteX10" fmla="*/ 10886 w 14218"/>
                <a:gd name="connsiteY10" fmla="*/ 1069 h 15012"/>
                <a:gd name="connsiteX11" fmla="*/ 8611 w 14218"/>
                <a:gd name="connsiteY11" fmla="*/ 0 h 15012"/>
                <a:gd name="connsiteX12" fmla="*/ 6848 w 14218"/>
                <a:gd name="connsiteY12" fmla="*/ 1190 h 15012"/>
                <a:gd name="connsiteX0" fmla="*/ 6848 w 14218"/>
                <a:gd name="connsiteY0" fmla="*/ 1190 h 15012"/>
                <a:gd name="connsiteX1" fmla="*/ 2848 w 14218"/>
                <a:gd name="connsiteY1" fmla="*/ 3729 h 15012"/>
                <a:gd name="connsiteX2" fmla="*/ 1906 w 14218"/>
                <a:gd name="connsiteY2" fmla="*/ 7122 h 15012"/>
                <a:gd name="connsiteX3" fmla="*/ 4649 w 14218"/>
                <a:gd name="connsiteY3" fmla="*/ 8075 h 15012"/>
                <a:gd name="connsiteX4" fmla="*/ 5184 w 14218"/>
                <a:gd name="connsiteY4" fmla="*/ 10565 h 15012"/>
                <a:gd name="connsiteX5" fmla="*/ 1775 w 14218"/>
                <a:gd name="connsiteY5" fmla="*/ 9626 h 15012"/>
                <a:gd name="connsiteX6" fmla="*/ 0 w 14218"/>
                <a:gd name="connsiteY6" fmla="*/ 13730 h 15012"/>
                <a:gd name="connsiteX7" fmla="*/ 6166 w 14218"/>
                <a:gd name="connsiteY7" fmla="*/ 15012 h 15012"/>
                <a:gd name="connsiteX8" fmla="*/ 10607 w 14218"/>
                <a:gd name="connsiteY8" fmla="*/ 12096 h 15012"/>
                <a:gd name="connsiteX9" fmla="*/ 14218 w 14218"/>
                <a:gd name="connsiteY9" fmla="*/ 3582 h 15012"/>
                <a:gd name="connsiteX10" fmla="*/ 10886 w 14218"/>
                <a:gd name="connsiteY10" fmla="*/ 1069 h 15012"/>
                <a:gd name="connsiteX11" fmla="*/ 8611 w 14218"/>
                <a:gd name="connsiteY11" fmla="*/ 0 h 15012"/>
                <a:gd name="connsiteX12" fmla="*/ 6848 w 14218"/>
                <a:gd name="connsiteY12" fmla="*/ 1190 h 15012"/>
                <a:gd name="connsiteX0" fmla="*/ 6848 w 14218"/>
                <a:gd name="connsiteY0" fmla="*/ 1190 h 15012"/>
                <a:gd name="connsiteX1" fmla="*/ 2848 w 14218"/>
                <a:gd name="connsiteY1" fmla="*/ 3729 h 15012"/>
                <a:gd name="connsiteX2" fmla="*/ 1906 w 14218"/>
                <a:gd name="connsiteY2" fmla="*/ 7122 h 15012"/>
                <a:gd name="connsiteX3" fmla="*/ 4649 w 14218"/>
                <a:gd name="connsiteY3" fmla="*/ 8075 h 15012"/>
                <a:gd name="connsiteX4" fmla="*/ 5184 w 14218"/>
                <a:gd name="connsiteY4" fmla="*/ 10565 h 15012"/>
                <a:gd name="connsiteX5" fmla="*/ 1775 w 14218"/>
                <a:gd name="connsiteY5" fmla="*/ 9626 h 15012"/>
                <a:gd name="connsiteX6" fmla="*/ 0 w 14218"/>
                <a:gd name="connsiteY6" fmla="*/ 13730 h 15012"/>
                <a:gd name="connsiteX7" fmla="*/ 6166 w 14218"/>
                <a:gd name="connsiteY7" fmla="*/ 15012 h 15012"/>
                <a:gd name="connsiteX8" fmla="*/ 10607 w 14218"/>
                <a:gd name="connsiteY8" fmla="*/ 12096 h 15012"/>
                <a:gd name="connsiteX9" fmla="*/ 14218 w 14218"/>
                <a:gd name="connsiteY9" fmla="*/ 3582 h 15012"/>
                <a:gd name="connsiteX10" fmla="*/ 10886 w 14218"/>
                <a:gd name="connsiteY10" fmla="*/ 1069 h 15012"/>
                <a:gd name="connsiteX11" fmla="*/ 8611 w 14218"/>
                <a:gd name="connsiteY11" fmla="*/ 0 h 15012"/>
                <a:gd name="connsiteX12" fmla="*/ 6848 w 14218"/>
                <a:gd name="connsiteY12" fmla="*/ 1190 h 15012"/>
                <a:gd name="connsiteX0" fmla="*/ 6848 w 14218"/>
                <a:gd name="connsiteY0" fmla="*/ 1190 h 15012"/>
                <a:gd name="connsiteX1" fmla="*/ 2848 w 14218"/>
                <a:gd name="connsiteY1" fmla="*/ 3729 h 15012"/>
                <a:gd name="connsiteX2" fmla="*/ 1906 w 14218"/>
                <a:gd name="connsiteY2" fmla="*/ 7122 h 15012"/>
                <a:gd name="connsiteX3" fmla="*/ 4649 w 14218"/>
                <a:gd name="connsiteY3" fmla="*/ 8075 h 15012"/>
                <a:gd name="connsiteX4" fmla="*/ 5184 w 14218"/>
                <a:gd name="connsiteY4" fmla="*/ 10565 h 15012"/>
                <a:gd name="connsiteX5" fmla="*/ 1775 w 14218"/>
                <a:gd name="connsiteY5" fmla="*/ 9626 h 15012"/>
                <a:gd name="connsiteX6" fmla="*/ 0 w 14218"/>
                <a:gd name="connsiteY6" fmla="*/ 13730 h 15012"/>
                <a:gd name="connsiteX7" fmla="*/ 6166 w 14218"/>
                <a:gd name="connsiteY7" fmla="*/ 15012 h 15012"/>
                <a:gd name="connsiteX8" fmla="*/ 10607 w 14218"/>
                <a:gd name="connsiteY8" fmla="*/ 12096 h 15012"/>
                <a:gd name="connsiteX9" fmla="*/ 14218 w 14218"/>
                <a:gd name="connsiteY9" fmla="*/ 3582 h 15012"/>
                <a:gd name="connsiteX10" fmla="*/ 10886 w 14218"/>
                <a:gd name="connsiteY10" fmla="*/ 1069 h 15012"/>
                <a:gd name="connsiteX11" fmla="*/ 8611 w 14218"/>
                <a:gd name="connsiteY11" fmla="*/ 0 h 15012"/>
                <a:gd name="connsiteX12" fmla="*/ 6848 w 14218"/>
                <a:gd name="connsiteY12" fmla="*/ 1190 h 15012"/>
                <a:gd name="connsiteX0" fmla="*/ 6848 w 14218"/>
                <a:gd name="connsiteY0" fmla="*/ 1190 h 15012"/>
                <a:gd name="connsiteX1" fmla="*/ 2848 w 14218"/>
                <a:gd name="connsiteY1" fmla="*/ 3729 h 15012"/>
                <a:gd name="connsiteX2" fmla="*/ 1906 w 14218"/>
                <a:gd name="connsiteY2" fmla="*/ 7122 h 15012"/>
                <a:gd name="connsiteX3" fmla="*/ 4649 w 14218"/>
                <a:gd name="connsiteY3" fmla="*/ 8075 h 15012"/>
                <a:gd name="connsiteX4" fmla="*/ 4266 w 14218"/>
                <a:gd name="connsiteY4" fmla="*/ 9939 h 15012"/>
                <a:gd name="connsiteX5" fmla="*/ 1775 w 14218"/>
                <a:gd name="connsiteY5" fmla="*/ 9626 h 15012"/>
                <a:gd name="connsiteX6" fmla="*/ 0 w 14218"/>
                <a:gd name="connsiteY6" fmla="*/ 13730 h 15012"/>
                <a:gd name="connsiteX7" fmla="*/ 6166 w 14218"/>
                <a:gd name="connsiteY7" fmla="*/ 15012 h 15012"/>
                <a:gd name="connsiteX8" fmla="*/ 10607 w 14218"/>
                <a:gd name="connsiteY8" fmla="*/ 12096 h 15012"/>
                <a:gd name="connsiteX9" fmla="*/ 14218 w 14218"/>
                <a:gd name="connsiteY9" fmla="*/ 3582 h 15012"/>
                <a:gd name="connsiteX10" fmla="*/ 10886 w 14218"/>
                <a:gd name="connsiteY10" fmla="*/ 1069 h 15012"/>
                <a:gd name="connsiteX11" fmla="*/ 8611 w 14218"/>
                <a:gd name="connsiteY11" fmla="*/ 0 h 15012"/>
                <a:gd name="connsiteX12" fmla="*/ 6848 w 14218"/>
                <a:gd name="connsiteY12" fmla="*/ 1190 h 15012"/>
                <a:gd name="connsiteX0" fmla="*/ 6848 w 14218"/>
                <a:gd name="connsiteY0" fmla="*/ 1190 h 15012"/>
                <a:gd name="connsiteX1" fmla="*/ 2848 w 14218"/>
                <a:gd name="connsiteY1" fmla="*/ 3729 h 15012"/>
                <a:gd name="connsiteX2" fmla="*/ 1906 w 14218"/>
                <a:gd name="connsiteY2" fmla="*/ 7122 h 15012"/>
                <a:gd name="connsiteX3" fmla="*/ 4649 w 14218"/>
                <a:gd name="connsiteY3" fmla="*/ 8075 h 15012"/>
                <a:gd name="connsiteX4" fmla="*/ 4266 w 14218"/>
                <a:gd name="connsiteY4" fmla="*/ 9939 h 15012"/>
                <a:gd name="connsiteX5" fmla="*/ 1775 w 14218"/>
                <a:gd name="connsiteY5" fmla="*/ 9626 h 15012"/>
                <a:gd name="connsiteX6" fmla="*/ 0 w 14218"/>
                <a:gd name="connsiteY6" fmla="*/ 13730 h 15012"/>
                <a:gd name="connsiteX7" fmla="*/ 6166 w 14218"/>
                <a:gd name="connsiteY7" fmla="*/ 15012 h 15012"/>
                <a:gd name="connsiteX8" fmla="*/ 9820 w 14218"/>
                <a:gd name="connsiteY8" fmla="*/ 10531 h 15012"/>
                <a:gd name="connsiteX9" fmla="*/ 14218 w 14218"/>
                <a:gd name="connsiteY9" fmla="*/ 3582 h 15012"/>
                <a:gd name="connsiteX10" fmla="*/ 10886 w 14218"/>
                <a:gd name="connsiteY10" fmla="*/ 1069 h 15012"/>
                <a:gd name="connsiteX11" fmla="*/ 8611 w 14218"/>
                <a:gd name="connsiteY11" fmla="*/ 0 h 15012"/>
                <a:gd name="connsiteX12" fmla="*/ 6848 w 14218"/>
                <a:gd name="connsiteY12" fmla="*/ 1190 h 15012"/>
                <a:gd name="connsiteX0" fmla="*/ 6848 w 14218"/>
                <a:gd name="connsiteY0" fmla="*/ 1190 h 15012"/>
                <a:gd name="connsiteX1" fmla="*/ 2848 w 14218"/>
                <a:gd name="connsiteY1" fmla="*/ 3729 h 15012"/>
                <a:gd name="connsiteX2" fmla="*/ 1906 w 14218"/>
                <a:gd name="connsiteY2" fmla="*/ 7122 h 15012"/>
                <a:gd name="connsiteX3" fmla="*/ 4649 w 14218"/>
                <a:gd name="connsiteY3" fmla="*/ 8075 h 15012"/>
                <a:gd name="connsiteX4" fmla="*/ 4266 w 14218"/>
                <a:gd name="connsiteY4" fmla="*/ 9939 h 15012"/>
                <a:gd name="connsiteX5" fmla="*/ 1775 w 14218"/>
                <a:gd name="connsiteY5" fmla="*/ 9626 h 15012"/>
                <a:gd name="connsiteX6" fmla="*/ 0 w 14218"/>
                <a:gd name="connsiteY6" fmla="*/ 13730 h 15012"/>
                <a:gd name="connsiteX7" fmla="*/ 6166 w 14218"/>
                <a:gd name="connsiteY7" fmla="*/ 15012 h 15012"/>
                <a:gd name="connsiteX8" fmla="*/ 9689 w 14218"/>
                <a:gd name="connsiteY8" fmla="*/ 12096 h 15012"/>
                <a:gd name="connsiteX9" fmla="*/ 14218 w 14218"/>
                <a:gd name="connsiteY9" fmla="*/ 3582 h 15012"/>
                <a:gd name="connsiteX10" fmla="*/ 10886 w 14218"/>
                <a:gd name="connsiteY10" fmla="*/ 1069 h 15012"/>
                <a:gd name="connsiteX11" fmla="*/ 8611 w 14218"/>
                <a:gd name="connsiteY11" fmla="*/ 0 h 15012"/>
                <a:gd name="connsiteX12" fmla="*/ 6848 w 14218"/>
                <a:gd name="connsiteY12" fmla="*/ 1190 h 15012"/>
                <a:gd name="connsiteX0" fmla="*/ 6848 w 14218"/>
                <a:gd name="connsiteY0" fmla="*/ 1190 h 15012"/>
                <a:gd name="connsiteX1" fmla="*/ 2848 w 14218"/>
                <a:gd name="connsiteY1" fmla="*/ 3729 h 15012"/>
                <a:gd name="connsiteX2" fmla="*/ 1906 w 14218"/>
                <a:gd name="connsiteY2" fmla="*/ 7122 h 15012"/>
                <a:gd name="connsiteX3" fmla="*/ 4649 w 14218"/>
                <a:gd name="connsiteY3" fmla="*/ 8075 h 15012"/>
                <a:gd name="connsiteX4" fmla="*/ 4266 w 14218"/>
                <a:gd name="connsiteY4" fmla="*/ 9939 h 15012"/>
                <a:gd name="connsiteX5" fmla="*/ 1775 w 14218"/>
                <a:gd name="connsiteY5" fmla="*/ 9626 h 15012"/>
                <a:gd name="connsiteX6" fmla="*/ 0 w 14218"/>
                <a:gd name="connsiteY6" fmla="*/ 13730 h 15012"/>
                <a:gd name="connsiteX7" fmla="*/ 6166 w 14218"/>
                <a:gd name="connsiteY7" fmla="*/ 15012 h 15012"/>
                <a:gd name="connsiteX8" fmla="*/ 9689 w 14218"/>
                <a:gd name="connsiteY8" fmla="*/ 12096 h 15012"/>
                <a:gd name="connsiteX9" fmla="*/ 14218 w 14218"/>
                <a:gd name="connsiteY9" fmla="*/ 3582 h 15012"/>
                <a:gd name="connsiteX10" fmla="*/ 12459 w 14218"/>
                <a:gd name="connsiteY10" fmla="*/ 443 h 15012"/>
                <a:gd name="connsiteX11" fmla="*/ 8611 w 14218"/>
                <a:gd name="connsiteY11" fmla="*/ 0 h 15012"/>
                <a:gd name="connsiteX12" fmla="*/ 6848 w 14218"/>
                <a:gd name="connsiteY12" fmla="*/ 1190 h 15012"/>
                <a:gd name="connsiteX0" fmla="*/ 6848 w 14218"/>
                <a:gd name="connsiteY0" fmla="*/ 1190 h 15012"/>
                <a:gd name="connsiteX1" fmla="*/ 2848 w 14218"/>
                <a:gd name="connsiteY1" fmla="*/ 3729 h 15012"/>
                <a:gd name="connsiteX2" fmla="*/ 1906 w 14218"/>
                <a:gd name="connsiteY2" fmla="*/ 7122 h 15012"/>
                <a:gd name="connsiteX3" fmla="*/ 4649 w 14218"/>
                <a:gd name="connsiteY3" fmla="*/ 8075 h 15012"/>
                <a:gd name="connsiteX4" fmla="*/ 4266 w 14218"/>
                <a:gd name="connsiteY4" fmla="*/ 9939 h 15012"/>
                <a:gd name="connsiteX5" fmla="*/ 1775 w 14218"/>
                <a:gd name="connsiteY5" fmla="*/ 9626 h 15012"/>
                <a:gd name="connsiteX6" fmla="*/ 0 w 14218"/>
                <a:gd name="connsiteY6" fmla="*/ 13730 h 15012"/>
                <a:gd name="connsiteX7" fmla="*/ 6166 w 14218"/>
                <a:gd name="connsiteY7" fmla="*/ 15012 h 15012"/>
                <a:gd name="connsiteX8" fmla="*/ 9689 w 14218"/>
                <a:gd name="connsiteY8" fmla="*/ 12096 h 15012"/>
                <a:gd name="connsiteX9" fmla="*/ 14218 w 14218"/>
                <a:gd name="connsiteY9" fmla="*/ 3582 h 15012"/>
                <a:gd name="connsiteX10" fmla="*/ 12459 w 14218"/>
                <a:gd name="connsiteY10" fmla="*/ 443 h 15012"/>
                <a:gd name="connsiteX11" fmla="*/ 8611 w 14218"/>
                <a:gd name="connsiteY11" fmla="*/ 0 h 15012"/>
                <a:gd name="connsiteX12" fmla="*/ 6848 w 14218"/>
                <a:gd name="connsiteY12" fmla="*/ 1190 h 15012"/>
                <a:gd name="connsiteX0" fmla="*/ 6848 w 14218"/>
                <a:gd name="connsiteY0" fmla="*/ 747 h 14569"/>
                <a:gd name="connsiteX1" fmla="*/ 2848 w 14218"/>
                <a:gd name="connsiteY1" fmla="*/ 3286 h 14569"/>
                <a:gd name="connsiteX2" fmla="*/ 1906 w 14218"/>
                <a:gd name="connsiteY2" fmla="*/ 6679 h 14569"/>
                <a:gd name="connsiteX3" fmla="*/ 4649 w 14218"/>
                <a:gd name="connsiteY3" fmla="*/ 7632 h 14569"/>
                <a:gd name="connsiteX4" fmla="*/ 4266 w 14218"/>
                <a:gd name="connsiteY4" fmla="*/ 9496 h 14569"/>
                <a:gd name="connsiteX5" fmla="*/ 1775 w 14218"/>
                <a:gd name="connsiteY5" fmla="*/ 9183 h 14569"/>
                <a:gd name="connsiteX6" fmla="*/ 0 w 14218"/>
                <a:gd name="connsiteY6" fmla="*/ 13287 h 14569"/>
                <a:gd name="connsiteX7" fmla="*/ 6166 w 14218"/>
                <a:gd name="connsiteY7" fmla="*/ 14569 h 14569"/>
                <a:gd name="connsiteX8" fmla="*/ 9689 w 14218"/>
                <a:gd name="connsiteY8" fmla="*/ 11653 h 14569"/>
                <a:gd name="connsiteX9" fmla="*/ 14218 w 14218"/>
                <a:gd name="connsiteY9" fmla="*/ 3139 h 14569"/>
                <a:gd name="connsiteX10" fmla="*/ 12459 w 14218"/>
                <a:gd name="connsiteY10" fmla="*/ 0 h 14569"/>
                <a:gd name="connsiteX11" fmla="*/ 8611 w 14218"/>
                <a:gd name="connsiteY11" fmla="*/ 1748 h 14569"/>
                <a:gd name="connsiteX12" fmla="*/ 6848 w 14218"/>
                <a:gd name="connsiteY12" fmla="*/ 747 h 14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18" h="14569">
                  <a:moveTo>
                    <a:pt x="6848" y="747"/>
                  </a:moveTo>
                  <a:cubicBezTo>
                    <a:pt x="6128" y="743"/>
                    <a:pt x="3366" y="2819"/>
                    <a:pt x="2848" y="3286"/>
                  </a:cubicBezTo>
                  <a:lnTo>
                    <a:pt x="1906" y="6679"/>
                  </a:lnTo>
                  <a:lnTo>
                    <a:pt x="4649" y="7632"/>
                  </a:lnTo>
                  <a:cubicBezTo>
                    <a:pt x="4521" y="8253"/>
                    <a:pt x="4394" y="8875"/>
                    <a:pt x="4266" y="9496"/>
                  </a:cubicBezTo>
                  <a:lnTo>
                    <a:pt x="1775" y="9183"/>
                  </a:lnTo>
                  <a:lnTo>
                    <a:pt x="0" y="13287"/>
                  </a:lnTo>
                  <a:cubicBezTo>
                    <a:pt x="89" y="14653"/>
                    <a:pt x="6077" y="13203"/>
                    <a:pt x="6166" y="14569"/>
                  </a:cubicBezTo>
                  <a:lnTo>
                    <a:pt x="9689" y="11653"/>
                  </a:lnTo>
                  <a:lnTo>
                    <a:pt x="14218" y="3139"/>
                  </a:lnTo>
                  <a:lnTo>
                    <a:pt x="12459" y="0"/>
                  </a:lnTo>
                  <a:lnTo>
                    <a:pt x="8611" y="1748"/>
                  </a:lnTo>
                  <a:lnTo>
                    <a:pt x="6848" y="747"/>
                  </a:ln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273" name="LB"/>
            <p:cNvSpPr>
              <a:spLocks/>
            </p:cNvSpPr>
            <p:nvPr/>
          </p:nvSpPr>
          <p:spPr bwMode="auto">
            <a:xfrm>
              <a:off x="5138657" y="3504720"/>
              <a:ext cx="47678" cy="60418"/>
            </a:xfrm>
            <a:custGeom>
              <a:avLst/>
              <a:gdLst>
                <a:gd name="T0" fmla="*/ 0 w 46"/>
                <a:gd name="T1" fmla="*/ 2147483647 h 28"/>
                <a:gd name="T2" fmla="*/ 2147483647 w 46"/>
                <a:gd name="T3" fmla="*/ 2147483647 h 28"/>
                <a:gd name="T4" fmla="*/ 2147483647 w 46"/>
                <a:gd name="T5" fmla="*/ 2147483647 h 28"/>
                <a:gd name="T6" fmla="*/ 2147483647 w 46"/>
                <a:gd name="T7" fmla="*/ 2147483647 h 28"/>
                <a:gd name="T8" fmla="*/ 2147483647 w 46"/>
                <a:gd name="T9" fmla="*/ 2147483647 h 28"/>
                <a:gd name="T10" fmla="*/ 2147483647 w 46"/>
                <a:gd name="T11" fmla="*/ 0 h 28"/>
                <a:gd name="T12" fmla="*/ 2147483647 w 46"/>
                <a:gd name="T13" fmla="*/ 2147483647 h 28"/>
                <a:gd name="T14" fmla="*/ 2147483647 w 46"/>
                <a:gd name="T15" fmla="*/ 2147483647 h 28"/>
                <a:gd name="T16" fmla="*/ 2147483647 w 46"/>
                <a:gd name="T17" fmla="*/ 2147483647 h 28"/>
                <a:gd name="T18" fmla="*/ 2147483647 w 46"/>
                <a:gd name="T19" fmla="*/ 2147483647 h 28"/>
                <a:gd name="T20" fmla="*/ 2147483647 w 46"/>
                <a:gd name="T21" fmla="*/ 2147483647 h 28"/>
                <a:gd name="T22" fmla="*/ 2147483647 w 46"/>
                <a:gd name="T23" fmla="*/ 2147483647 h 28"/>
                <a:gd name="T24" fmla="*/ 2147483647 w 46"/>
                <a:gd name="T25" fmla="*/ 2147483647 h 28"/>
                <a:gd name="T26" fmla="*/ 2147483647 w 46"/>
                <a:gd name="T27" fmla="*/ 2147483647 h 28"/>
                <a:gd name="T28" fmla="*/ 0 w 46"/>
                <a:gd name="T29" fmla="*/ 2147483647 h 2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connsiteX0" fmla="*/ 0 w 10000"/>
                <a:gd name="connsiteY0" fmla="*/ 5357 h 10000"/>
                <a:gd name="connsiteX1" fmla="*/ 652 w 10000"/>
                <a:gd name="connsiteY1" fmla="*/ 6071 h 10000"/>
                <a:gd name="connsiteX2" fmla="*/ 979 w 10000"/>
                <a:gd name="connsiteY2" fmla="*/ 179 h 10000"/>
                <a:gd name="connsiteX3" fmla="*/ 2826 w 10000"/>
                <a:gd name="connsiteY3" fmla="*/ 2857 h 10000"/>
                <a:gd name="connsiteX4" fmla="*/ 5870 w 10000"/>
                <a:gd name="connsiteY4" fmla="*/ 3214 h 10000"/>
                <a:gd name="connsiteX5" fmla="*/ 10000 w 10000"/>
                <a:gd name="connsiteY5" fmla="*/ 0 h 10000"/>
                <a:gd name="connsiteX6" fmla="*/ 10000 w 10000"/>
                <a:gd name="connsiteY6" fmla="*/ 357 h 10000"/>
                <a:gd name="connsiteX7" fmla="*/ 7174 w 10000"/>
                <a:gd name="connsiteY7" fmla="*/ 3929 h 10000"/>
                <a:gd name="connsiteX8" fmla="*/ 7826 w 10000"/>
                <a:gd name="connsiteY8" fmla="*/ 6429 h 10000"/>
                <a:gd name="connsiteX9" fmla="*/ 5870 w 10000"/>
                <a:gd name="connsiteY9" fmla="*/ 7500 h 10000"/>
                <a:gd name="connsiteX10" fmla="*/ 3261 w 10000"/>
                <a:gd name="connsiteY10" fmla="*/ 10000 h 10000"/>
                <a:gd name="connsiteX11" fmla="*/ 2826 w 10000"/>
                <a:gd name="connsiteY11" fmla="*/ 10000 h 10000"/>
                <a:gd name="connsiteX12" fmla="*/ 1739 w 10000"/>
                <a:gd name="connsiteY12" fmla="*/ 9286 h 10000"/>
                <a:gd name="connsiteX13" fmla="*/ 435 w 10000"/>
                <a:gd name="connsiteY13" fmla="*/ 8214 h 10000"/>
                <a:gd name="connsiteX14" fmla="*/ 0 w 10000"/>
                <a:gd name="connsiteY14" fmla="*/ 5357 h 10000"/>
                <a:gd name="connsiteX0" fmla="*/ 0 w 10000"/>
                <a:gd name="connsiteY0" fmla="*/ 11607 h 16250"/>
                <a:gd name="connsiteX1" fmla="*/ 652 w 10000"/>
                <a:gd name="connsiteY1" fmla="*/ 12321 h 16250"/>
                <a:gd name="connsiteX2" fmla="*/ 979 w 10000"/>
                <a:gd name="connsiteY2" fmla="*/ 6429 h 16250"/>
                <a:gd name="connsiteX3" fmla="*/ 2500 w 10000"/>
                <a:gd name="connsiteY3" fmla="*/ 0 h 16250"/>
                <a:gd name="connsiteX4" fmla="*/ 5870 w 10000"/>
                <a:gd name="connsiteY4" fmla="*/ 9464 h 16250"/>
                <a:gd name="connsiteX5" fmla="*/ 10000 w 10000"/>
                <a:gd name="connsiteY5" fmla="*/ 6250 h 16250"/>
                <a:gd name="connsiteX6" fmla="*/ 10000 w 10000"/>
                <a:gd name="connsiteY6" fmla="*/ 6607 h 16250"/>
                <a:gd name="connsiteX7" fmla="*/ 7174 w 10000"/>
                <a:gd name="connsiteY7" fmla="*/ 10179 h 16250"/>
                <a:gd name="connsiteX8" fmla="*/ 7826 w 10000"/>
                <a:gd name="connsiteY8" fmla="*/ 12679 h 16250"/>
                <a:gd name="connsiteX9" fmla="*/ 5870 w 10000"/>
                <a:gd name="connsiteY9" fmla="*/ 13750 h 16250"/>
                <a:gd name="connsiteX10" fmla="*/ 3261 w 10000"/>
                <a:gd name="connsiteY10" fmla="*/ 16250 h 16250"/>
                <a:gd name="connsiteX11" fmla="*/ 2826 w 10000"/>
                <a:gd name="connsiteY11" fmla="*/ 16250 h 16250"/>
                <a:gd name="connsiteX12" fmla="*/ 1739 w 10000"/>
                <a:gd name="connsiteY12" fmla="*/ 15536 h 16250"/>
                <a:gd name="connsiteX13" fmla="*/ 435 w 10000"/>
                <a:gd name="connsiteY13" fmla="*/ 14464 h 16250"/>
                <a:gd name="connsiteX14" fmla="*/ 0 w 10000"/>
                <a:gd name="connsiteY14" fmla="*/ 11607 h 16250"/>
                <a:gd name="connsiteX0" fmla="*/ 0 w 10000"/>
                <a:gd name="connsiteY0" fmla="*/ 11607 h 16250"/>
                <a:gd name="connsiteX1" fmla="*/ 652 w 10000"/>
                <a:gd name="connsiteY1" fmla="*/ 12321 h 16250"/>
                <a:gd name="connsiteX2" fmla="*/ 979 w 10000"/>
                <a:gd name="connsiteY2" fmla="*/ 6429 h 16250"/>
                <a:gd name="connsiteX3" fmla="*/ 2500 w 10000"/>
                <a:gd name="connsiteY3" fmla="*/ 0 h 16250"/>
                <a:gd name="connsiteX4" fmla="*/ 5544 w 10000"/>
                <a:gd name="connsiteY4" fmla="*/ 357 h 16250"/>
                <a:gd name="connsiteX5" fmla="*/ 10000 w 10000"/>
                <a:gd name="connsiteY5" fmla="*/ 6250 h 16250"/>
                <a:gd name="connsiteX6" fmla="*/ 10000 w 10000"/>
                <a:gd name="connsiteY6" fmla="*/ 6607 h 16250"/>
                <a:gd name="connsiteX7" fmla="*/ 7174 w 10000"/>
                <a:gd name="connsiteY7" fmla="*/ 10179 h 16250"/>
                <a:gd name="connsiteX8" fmla="*/ 7826 w 10000"/>
                <a:gd name="connsiteY8" fmla="*/ 12679 h 16250"/>
                <a:gd name="connsiteX9" fmla="*/ 5870 w 10000"/>
                <a:gd name="connsiteY9" fmla="*/ 13750 h 16250"/>
                <a:gd name="connsiteX10" fmla="*/ 3261 w 10000"/>
                <a:gd name="connsiteY10" fmla="*/ 16250 h 16250"/>
                <a:gd name="connsiteX11" fmla="*/ 2826 w 10000"/>
                <a:gd name="connsiteY11" fmla="*/ 16250 h 16250"/>
                <a:gd name="connsiteX12" fmla="*/ 1739 w 10000"/>
                <a:gd name="connsiteY12" fmla="*/ 15536 h 16250"/>
                <a:gd name="connsiteX13" fmla="*/ 435 w 10000"/>
                <a:gd name="connsiteY13" fmla="*/ 14464 h 16250"/>
                <a:gd name="connsiteX14" fmla="*/ 0 w 10000"/>
                <a:gd name="connsiteY14" fmla="*/ 11607 h 16250"/>
                <a:gd name="connsiteX0" fmla="*/ 0 w 10000"/>
                <a:gd name="connsiteY0" fmla="*/ 11607 h 16250"/>
                <a:gd name="connsiteX1" fmla="*/ 652 w 10000"/>
                <a:gd name="connsiteY1" fmla="*/ 12321 h 16250"/>
                <a:gd name="connsiteX2" fmla="*/ 979 w 10000"/>
                <a:gd name="connsiteY2" fmla="*/ 6429 h 16250"/>
                <a:gd name="connsiteX3" fmla="*/ 2500 w 10000"/>
                <a:gd name="connsiteY3" fmla="*/ 0 h 16250"/>
                <a:gd name="connsiteX4" fmla="*/ 5544 w 10000"/>
                <a:gd name="connsiteY4" fmla="*/ 357 h 16250"/>
                <a:gd name="connsiteX5" fmla="*/ 10000 w 10000"/>
                <a:gd name="connsiteY5" fmla="*/ 6250 h 16250"/>
                <a:gd name="connsiteX6" fmla="*/ 7174 w 10000"/>
                <a:gd name="connsiteY6" fmla="*/ 10179 h 16250"/>
                <a:gd name="connsiteX7" fmla="*/ 7826 w 10000"/>
                <a:gd name="connsiteY7" fmla="*/ 12679 h 16250"/>
                <a:gd name="connsiteX8" fmla="*/ 5870 w 10000"/>
                <a:gd name="connsiteY8" fmla="*/ 13750 h 16250"/>
                <a:gd name="connsiteX9" fmla="*/ 3261 w 10000"/>
                <a:gd name="connsiteY9" fmla="*/ 16250 h 16250"/>
                <a:gd name="connsiteX10" fmla="*/ 2826 w 10000"/>
                <a:gd name="connsiteY10" fmla="*/ 16250 h 16250"/>
                <a:gd name="connsiteX11" fmla="*/ 1739 w 10000"/>
                <a:gd name="connsiteY11" fmla="*/ 15536 h 16250"/>
                <a:gd name="connsiteX12" fmla="*/ 435 w 10000"/>
                <a:gd name="connsiteY12" fmla="*/ 14464 h 16250"/>
                <a:gd name="connsiteX13" fmla="*/ 0 w 10000"/>
                <a:gd name="connsiteY13" fmla="*/ 11607 h 16250"/>
                <a:gd name="connsiteX0" fmla="*/ 0 w 10000"/>
                <a:gd name="connsiteY0" fmla="*/ 11607 h 16250"/>
                <a:gd name="connsiteX1" fmla="*/ 652 w 10000"/>
                <a:gd name="connsiteY1" fmla="*/ 12321 h 16250"/>
                <a:gd name="connsiteX2" fmla="*/ 979 w 10000"/>
                <a:gd name="connsiteY2" fmla="*/ 6429 h 16250"/>
                <a:gd name="connsiteX3" fmla="*/ 2500 w 10000"/>
                <a:gd name="connsiteY3" fmla="*/ 0 h 16250"/>
                <a:gd name="connsiteX4" fmla="*/ 5544 w 10000"/>
                <a:gd name="connsiteY4" fmla="*/ 357 h 16250"/>
                <a:gd name="connsiteX5" fmla="*/ 10000 w 10000"/>
                <a:gd name="connsiteY5" fmla="*/ 6250 h 16250"/>
                <a:gd name="connsiteX6" fmla="*/ 7826 w 10000"/>
                <a:gd name="connsiteY6" fmla="*/ 12679 h 16250"/>
                <a:gd name="connsiteX7" fmla="*/ 5870 w 10000"/>
                <a:gd name="connsiteY7" fmla="*/ 13750 h 16250"/>
                <a:gd name="connsiteX8" fmla="*/ 3261 w 10000"/>
                <a:gd name="connsiteY8" fmla="*/ 16250 h 16250"/>
                <a:gd name="connsiteX9" fmla="*/ 2826 w 10000"/>
                <a:gd name="connsiteY9" fmla="*/ 16250 h 16250"/>
                <a:gd name="connsiteX10" fmla="*/ 1739 w 10000"/>
                <a:gd name="connsiteY10" fmla="*/ 15536 h 16250"/>
                <a:gd name="connsiteX11" fmla="*/ 435 w 10000"/>
                <a:gd name="connsiteY11" fmla="*/ 14464 h 16250"/>
                <a:gd name="connsiteX12" fmla="*/ 0 w 10000"/>
                <a:gd name="connsiteY12" fmla="*/ 11607 h 16250"/>
                <a:gd name="connsiteX0" fmla="*/ 0 w 7826"/>
                <a:gd name="connsiteY0" fmla="*/ 11607 h 16250"/>
                <a:gd name="connsiteX1" fmla="*/ 652 w 7826"/>
                <a:gd name="connsiteY1" fmla="*/ 12321 h 16250"/>
                <a:gd name="connsiteX2" fmla="*/ 979 w 7826"/>
                <a:gd name="connsiteY2" fmla="*/ 6429 h 16250"/>
                <a:gd name="connsiteX3" fmla="*/ 2500 w 7826"/>
                <a:gd name="connsiteY3" fmla="*/ 0 h 16250"/>
                <a:gd name="connsiteX4" fmla="*/ 5544 w 7826"/>
                <a:gd name="connsiteY4" fmla="*/ 357 h 16250"/>
                <a:gd name="connsiteX5" fmla="*/ 7826 w 7826"/>
                <a:gd name="connsiteY5" fmla="*/ 12679 h 16250"/>
                <a:gd name="connsiteX6" fmla="*/ 5870 w 7826"/>
                <a:gd name="connsiteY6" fmla="*/ 13750 h 16250"/>
                <a:gd name="connsiteX7" fmla="*/ 3261 w 7826"/>
                <a:gd name="connsiteY7" fmla="*/ 16250 h 16250"/>
                <a:gd name="connsiteX8" fmla="*/ 2826 w 7826"/>
                <a:gd name="connsiteY8" fmla="*/ 16250 h 16250"/>
                <a:gd name="connsiteX9" fmla="*/ 1739 w 7826"/>
                <a:gd name="connsiteY9" fmla="*/ 15536 h 16250"/>
                <a:gd name="connsiteX10" fmla="*/ 435 w 7826"/>
                <a:gd name="connsiteY10" fmla="*/ 14464 h 16250"/>
                <a:gd name="connsiteX11" fmla="*/ 0 w 7826"/>
                <a:gd name="connsiteY11" fmla="*/ 11607 h 16250"/>
                <a:gd name="connsiteX0" fmla="*/ 0 w 7501"/>
                <a:gd name="connsiteY0" fmla="*/ 7143 h 10000"/>
                <a:gd name="connsiteX1" fmla="*/ 833 w 7501"/>
                <a:gd name="connsiteY1" fmla="*/ 7582 h 10000"/>
                <a:gd name="connsiteX2" fmla="*/ 1251 w 7501"/>
                <a:gd name="connsiteY2" fmla="*/ 3956 h 10000"/>
                <a:gd name="connsiteX3" fmla="*/ 3194 w 7501"/>
                <a:gd name="connsiteY3" fmla="*/ 0 h 10000"/>
                <a:gd name="connsiteX4" fmla="*/ 7084 w 7501"/>
                <a:gd name="connsiteY4" fmla="*/ 220 h 10000"/>
                <a:gd name="connsiteX5" fmla="*/ 7501 w 7501"/>
                <a:gd name="connsiteY5" fmla="*/ 8462 h 10000"/>
                <a:gd name="connsiteX6" fmla="*/ 4167 w 7501"/>
                <a:gd name="connsiteY6" fmla="*/ 10000 h 10000"/>
                <a:gd name="connsiteX7" fmla="*/ 3611 w 7501"/>
                <a:gd name="connsiteY7" fmla="*/ 10000 h 10000"/>
                <a:gd name="connsiteX8" fmla="*/ 2222 w 7501"/>
                <a:gd name="connsiteY8" fmla="*/ 9561 h 10000"/>
                <a:gd name="connsiteX9" fmla="*/ 556 w 7501"/>
                <a:gd name="connsiteY9" fmla="*/ 8901 h 10000"/>
                <a:gd name="connsiteX10" fmla="*/ 0 w 7501"/>
                <a:gd name="connsiteY10" fmla="*/ 7143 h 10000"/>
                <a:gd name="connsiteX0" fmla="*/ 0 w 10000"/>
                <a:gd name="connsiteY0" fmla="*/ 7143 h 10000"/>
                <a:gd name="connsiteX1" fmla="*/ 1111 w 10000"/>
                <a:gd name="connsiteY1" fmla="*/ 7582 h 10000"/>
                <a:gd name="connsiteX2" fmla="*/ 1668 w 10000"/>
                <a:gd name="connsiteY2" fmla="*/ 3956 h 10000"/>
                <a:gd name="connsiteX3" fmla="*/ 4258 w 10000"/>
                <a:gd name="connsiteY3" fmla="*/ 0 h 10000"/>
                <a:gd name="connsiteX4" fmla="*/ 9444 w 10000"/>
                <a:gd name="connsiteY4" fmla="*/ 220 h 10000"/>
                <a:gd name="connsiteX5" fmla="*/ 10000 w 10000"/>
                <a:gd name="connsiteY5" fmla="*/ 8462 h 10000"/>
                <a:gd name="connsiteX6" fmla="*/ 5555 w 10000"/>
                <a:gd name="connsiteY6" fmla="*/ 10000 h 10000"/>
                <a:gd name="connsiteX7" fmla="*/ 4814 w 10000"/>
                <a:gd name="connsiteY7" fmla="*/ 10000 h 10000"/>
                <a:gd name="connsiteX8" fmla="*/ 741 w 10000"/>
                <a:gd name="connsiteY8" fmla="*/ 8901 h 10000"/>
                <a:gd name="connsiteX9" fmla="*/ 0 w 10000"/>
                <a:gd name="connsiteY9" fmla="*/ 7143 h 10000"/>
                <a:gd name="connsiteX0" fmla="*/ 0 w 10000"/>
                <a:gd name="connsiteY0" fmla="*/ 7143 h 10000"/>
                <a:gd name="connsiteX1" fmla="*/ 1111 w 10000"/>
                <a:gd name="connsiteY1" fmla="*/ 7582 h 10000"/>
                <a:gd name="connsiteX2" fmla="*/ 1668 w 10000"/>
                <a:gd name="connsiteY2" fmla="*/ 3956 h 10000"/>
                <a:gd name="connsiteX3" fmla="*/ 4258 w 10000"/>
                <a:gd name="connsiteY3" fmla="*/ 0 h 10000"/>
                <a:gd name="connsiteX4" fmla="*/ 9444 w 10000"/>
                <a:gd name="connsiteY4" fmla="*/ 220 h 10000"/>
                <a:gd name="connsiteX5" fmla="*/ 10000 w 10000"/>
                <a:gd name="connsiteY5" fmla="*/ 8462 h 10000"/>
                <a:gd name="connsiteX6" fmla="*/ 5555 w 10000"/>
                <a:gd name="connsiteY6" fmla="*/ 10000 h 10000"/>
                <a:gd name="connsiteX7" fmla="*/ 4814 w 10000"/>
                <a:gd name="connsiteY7" fmla="*/ 10000 h 10000"/>
                <a:gd name="connsiteX8" fmla="*/ 0 w 10000"/>
                <a:gd name="connsiteY8" fmla="*/ 7143 h 10000"/>
                <a:gd name="connsiteX0" fmla="*/ 0 w 10000"/>
                <a:gd name="connsiteY0" fmla="*/ 7143 h 10000"/>
                <a:gd name="connsiteX1" fmla="*/ 1111 w 10000"/>
                <a:gd name="connsiteY1" fmla="*/ 7582 h 10000"/>
                <a:gd name="connsiteX2" fmla="*/ 1668 w 10000"/>
                <a:gd name="connsiteY2" fmla="*/ 3956 h 10000"/>
                <a:gd name="connsiteX3" fmla="*/ 4258 w 10000"/>
                <a:gd name="connsiteY3" fmla="*/ 0 h 10000"/>
                <a:gd name="connsiteX4" fmla="*/ 9444 w 10000"/>
                <a:gd name="connsiteY4" fmla="*/ 220 h 10000"/>
                <a:gd name="connsiteX5" fmla="*/ 10000 w 10000"/>
                <a:gd name="connsiteY5" fmla="*/ 8462 h 10000"/>
                <a:gd name="connsiteX6" fmla="*/ 5555 w 10000"/>
                <a:gd name="connsiteY6" fmla="*/ 10000 h 10000"/>
                <a:gd name="connsiteX7" fmla="*/ 0 w 10000"/>
                <a:gd name="connsiteY7" fmla="*/ 7143 h 10000"/>
                <a:gd name="connsiteX0" fmla="*/ 4444 w 8889"/>
                <a:gd name="connsiteY0" fmla="*/ 10000 h 10000"/>
                <a:gd name="connsiteX1" fmla="*/ 0 w 8889"/>
                <a:gd name="connsiteY1" fmla="*/ 7582 h 10000"/>
                <a:gd name="connsiteX2" fmla="*/ 557 w 8889"/>
                <a:gd name="connsiteY2" fmla="*/ 3956 h 10000"/>
                <a:gd name="connsiteX3" fmla="*/ 3147 w 8889"/>
                <a:gd name="connsiteY3" fmla="*/ 0 h 10000"/>
                <a:gd name="connsiteX4" fmla="*/ 8333 w 8889"/>
                <a:gd name="connsiteY4" fmla="*/ 220 h 10000"/>
                <a:gd name="connsiteX5" fmla="*/ 8889 w 8889"/>
                <a:gd name="connsiteY5" fmla="*/ 8462 h 10000"/>
                <a:gd name="connsiteX6" fmla="*/ 4444 w 8889"/>
                <a:gd name="connsiteY6" fmla="*/ 10000 h 10000"/>
                <a:gd name="connsiteX0" fmla="*/ 8124 w 13125"/>
                <a:gd name="connsiteY0" fmla="*/ 10000 h 10000"/>
                <a:gd name="connsiteX1" fmla="*/ 0 w 13125"/>
                <a:gd name="connsiteY1" fmla="*/ 7582 h 10000"/>
                <a:gd name="connsiteX2" fmla="*/ 3752 w 13125"/>
                <a:gd name="connsiteY2" fmla="*/ 3956 h 10000"/>
                <a:gd name="connsiteX3" fmla="*/ 6665 w 13125"/>
                <a:gd name="connsiteY3" fmla="*/ 0 h 10000"/>
                <a:gd name="connsiteX4" fmla="*/ 12500 w 13125"/>
                <a:gd name="connsiteY4" fmla="*/ 220 h 10000"/>
                <a:gd name="connsiteX5" fmla="*/ 13125 w 13125"/>
                <a:gd name="connsiteY5" fmla="*/ 8462 h 10000"/>
                <a:gd name="connsiteX6" fmla="*/ 8124 w 13125"/>
                <a:gd name="connsiteY6" fmla="*/ 10000 h 10000"/>
                <a:gd name="connsiteX0" fmla="*/ 4999 w 13125"/>
                <a:gd name="connsiteY0" fmla="*/ 10000 h 10000"/>
                <a:gd name="connsiteX1" fmla="*/ 0 w 13125"/>
                <a:gd name="connsiteY1" fmla="*/ 7582 h 10000"/>
                <a:gd name="connsiteX2" fmla="*/ 3752 w 13125"/>
                <a:gd name="connsiteY2" fmla="*/ 3956 h 10000"/>
                <a:gd name="connsiteX3" fmla="*/ 6665 w 13125"/>
                <a:gd name="connsiteY3" fmla="*/ 0 h 10000"/>
                <a:gd name="connsiteX4" fmla="*/ 12500 w 13125"/>
                <a:gd name="connsiteY4" fmla="*/ 220 h 10000"/>
                <a:gd name="connsiteX5" fmla="*/ 13125 w 13125"/>
                <a:gd name="connsiteY5" fmla="*/ 8462 h 10000"/>
                <a:gd name="connsiteX6" fmla="*/ 4999 w 13125"/>
                <a:gd name="connsiteY6" fmla="*/ 10000 h 10000"/>
                <a:gd name="connsiteX0" fmla="*/ 3749 w 11875"/>
                <a:gd name="connsiteY0" fmla="*/ 10000 h 10000"/>
                <a:gd name="connsiteX1" fmla="*/ 0 w 11875"/>
                <a:gd name="connsiteY1" fmla="*/ 6263 h 10000"/>
                <a:gd name="connsiteX2" fmla="*/ 2502 w 11875"/>
                <a:gd name="connsiteY2" fmla="*/ 3956 h 10000"/>
                <a:gd name="connsiteX3" fmla="*/ 5415 w 11875"/>
                <a:gd name="connsiteY3" fmla="*/ 0 h 10000"/>
                <a:gd name="connsiteX4" fmla="*/ 11250 w 11875"/>
                <a:gd name="connsiteY4" fmla="*/ 220 h 10000"/>
                <a:gd name="connsiteX5" fmla="*/ 11875 w 11875"/>
                <a:gd name="connsiteY5" fmla="*/ 8462 h 10000"/>
                <a:gd name="connsiteX6" fmla="*/ 3749 w 11875"/>
                <a:gd name="connsiteY6" fmla="*/ 10000 h 10000"/>
                <a:gd name="connsiteX0" fmla="*/ 2499 w 11875"/>
                <a:gd name="connsiteY0" fmla="*/ 8022 h 8462"/>
                <a:gd name="connsiteX1" fmla="*/ 0 w 11875"/>
                <a:gd name="connsiteY1" fmla="*/ 6263 h 8462"/>
                <a:gd name="connsiteX2" fmla="*/ 2502 w 11875"/>
                <a:gd name="connsiteY2" fmla="*/ 3956 h 8462"/>
                <a:gd name="connsiteX3" fmla="*/ 5415 w 11875"/>
                <a:gd name="connsiteY3" fmla="*/ 0 h 8462"/>
                <a:gd name="connsiteX4" fmla="*/ 11250 w 11875"/>
                <a:gd name="connsiteY4" fmla="*/ 220 h 8462"/>
                <a:gd name="connsiteX5" fmla="*/ 11875 w 11875"/>
                <a:gd name="connsiteY5" fmla="*/ 8462 h 8462"/>
                <a:gd name="connsiteX6" fmla="*/ 2499 w 11875"/>
                <a:gd name="connsiteY6" fmla="*/ 8022 h 8462"/>
                <a:gd name="connsiteX0" fmla="*/ 2104 w 9497"/>
                <a:gd name="connsiteY0" fmla="*/ 9480 h 9480"/>
                <a:gd name="connsiteX1" fmla="*/ 0 w 9497"/>
                <a:gd name="connsiteY1" fmla="*/ 7401 h 9480"/>
                <a:gd name="connsiteX2" fmla="*/ 2107 w 9497"/>
                <a:gd name="connsiteY2" fmla="*/ 4675 h 9480"/>
                <a:gd name="connsiteX3" fmla="*/ 4560 w 9497"/>
                <a:gd name="connsiteY3" fmla="*/ 0 h 9480"/>
                <a:gd name="connsiteX4" fmla="*/ 9474 w 9497"/>
                <a:gd name="connsiteY4" fmla="*/ 260 h 9480"/>
                <a:gd name="connsiteX5" fmla="*/ 8948 w 9497"/>
                <a:gd name="connsiteY5" fmla="*/ 4546 h 9480"/>
                <a:gd name="connsiteX6" fmla="*/ 2104 w 9497"/>
                <a:gd name="connsiteY6" fmla="*/ 9480 h 9480"/>
                <a:gd name="connsiteX0" fmla="*/ 2215 w 10000"/>
                <a:gd name="connsiteY0" fmla="*/ 12603 h 12603"/>
                <a:gd name="connsiteX1" fmla="*/ 0 w 10000"/>
                <a:gd name="connsiteY1" fmla="*/ 10410 h 12603"/>
                <a:gd name="connsiteX2" fmla="*/ 2219 w 10000"/>
                <a:gd name="connsiteY2" fmla="*/ 7534 h 12603"/>
                <a:gd name="connsiteX3" fmla="*/ 4802 w 10000"/>
                <a:gd name="connsiteY3" fmla="*/ 2603 h 12603"/>
                <a:gd name="connsiteX4" fmla="*/ 9976 w 10000"/>
                <a:gd name="connsiteY4" fmla="*/ 0 h 12603"/>
                <a:gd name="connsiteX5" fmla="*/ 9422 w 10000"/>
                <a:gd name="connsiteY5" fmla="*/ 7398 h 12603"/>
                <a:gd name="connsiteX6" fmla="*/ 2215 w 10000"/>
                <a:gd name="connsiteY6" fmla="*/ 12603 h 12603"/>
                <a:gd name="connsiteX0" fmla="*/ 2215 w 11095"/>
                <a:gd name="connsiteY0" fmla="*/ 10137 h 10137"/>
                <a:gd name="connsiteX1" fmla="*/ 0 w 11095"/>
                <a:gd name="connsiteY1" fmla="*/ 7944 h 10137"/>
                <a:gd name="connsiteX2" fmla="*/ 2219 w 11095"/>
                <a:gd name="connsiteY2" fmla="*/ 5068 h 10137"/>
                <a:gd name="connsiteX3" fmla="*/ 4802 w 11095"/>
                <a:gd name="connsiteY3" fmla="*/ 137 h 10137"/>
                <a:gd name="connsiteX4" fmla="*/ 11084 w 11095"/>
                <a:gd name="connsiteY4" fmla="*/ 0 h 10137"/>
                <a:gd name="connsiteX5" fmla="*/ 9422 w 11095"/>
                <a:gd name="connsiteY5" fmla="*/ 4932 h 10137"/>
                <a:gd name="connsiteX6" fmla="*/ 2215 w 11095"/>
                <a:gd name="connsiteY6" fmla="*/ 10137 h 10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095" h="10137">
                  <a:moveTo>
                    <a:pt x="2215" y="10137"/>
                  </a:moveTo>
                  <a:lnTo>
                    <a:pt x="0" y="7944"/>
                  </a:lnTo>
                  <a:cubicBezTo>
                    <a:pt x="184" y="6438"/>
                    <a:pt x="2032" y="6576"/>
                    <a:pt x="2219" y="5068"/>
                  </a:cubicBezTo>
                  <a:lnTo>
                    <a:pt x="4802" y="137"/>
                  </a:lnTo>
                  <a:lnTo>
                    <a:pt x="11084" y="0"/>
                  </a:lnTo>
                  <a:cubicBezTo>
                    <a:pt x="11268" y="3424"/>
                    <a:pt x="9238" y="1508"/>
                    <a:pt x="9422" y="4932"/>
                  </a:cubicBezTo>
                  <a:lnTo>
                    <a:pt x="2215" y="10137"/>
                  </a:lnTo>
                  <a:close/>
                </a:path>
              </a:pathLst>
            </a:custGeom>
            <a:solidFill>
              <a:srgbClr val="00B9E4"/>
            </a:solidFill>
            <a:ln w="9525" cap="flat" cmpd="sng">
              <a:solidFill>
                <a:schemeClr val="bg1"/>
              </a:solidFill>
              <a:prstDash val="solid"/>
              <a:round/>
              <a:headEnd type="none" w="med" len="med"/>
              <a:tailEnd type="none" w="med" len="med"/>
            </a:ln>
            <a:effectLst/>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274" name="IL"/>
            <p:cNvSpPr>
              <a:spLocks/>
            </p:cNvSpPr>
            <p:nvPr/>
          </p:nvSpPr>
          <p:spPr bwMode="auto">
            <a:xfrm>
              <a:off x="5110067" y="3556405"/>
              <a:ext cx="41357" cy="118269"/>
            </a:xfrm>
            <a:custGeom>
              <a:avLst/>
              <a:gdLst>
                <a:gd name="T0" fmla="*/ 0 w 46"/>
                <a:gd name="T1" fmla="*/ 2147483647 h 28"/>
                <a:gd name="T2" fmla="*/ 2147483647 w 46"/>
                <a:gd name="T3" fmla="*/ 2147483647 h 28"/>
                <a:gd name="T4" fmla="*/ 2147483647 w 46"/>
                <a:gd name="T5" fmla="*/ 2147483647 h 28"/>
                <a:gd name="T6" fmla="*/ 2147483647 w 46"/>
                <a:gd name="T7" fmla="*/ 2147483647 h 28"/>
                <a:gd name="T8" fmla="*/ 2147483647 w 46"/>
                <a:gd name="T9" fmla="*/ 2147483647 h 28"/>
                <a:gd name="T10" fmla="*/ 2147483647 w 46"/>
                <a:gd name="T11" fmla="*/ 0 h 28"/>
                <a:gd name="T12" fmla="*/ 2147483647 w 46"/>
                <a:gd name="T13" fmla="*/ 2147483647 h 28"/>
                <a:gd name="T14" fmla="*/ 2147483647 w 46"/>
                <a:gd name="T15" fmla="*/ 2147483647 h 28"/>
                <a:gd name="T16" fmla="*/ 2147483647 w 46"/>
                <a:gd name="T17" fmla="*/ 2147483647 h 28"/>
                <a:gd name="T18" fmla="*/ 2147483647 w 46"/>
                <a:gd name="T19" fmla="*/ 2147483647 h 28"/>
                <a:gd name="T20" fmla="*/ 2147483647 w 46"/>
                <a:gd name="T21" fmla="*/ 2147483647 h 28"/>
                <a:gd name="T22" fmla="*/ 2147483647 w 46"/>
                <a:gd name="T23" fmla="*/ 2147483647 h 28"/>
                <a:gd name="T24" fmla="*/ 2147483647 w 46"/>
                <a:gd name="T25" fmla="*/ 2147483647 h 28"/>
                <a:gd name="T26" fmla="*/ 2147483647 w 46"/>
                <a:gd name="T27" fmla="*/ 2147483647 h 28"/>
                <a:gd name="T28" fmla="*/ 0 w 46"/>
                <a:gd name="T29" fmla="*/ 2147483647 h 2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connsiteX0" fmla="*/ 0 w 10000"/>
                <a:gd name="connsiteY0" fmla="*/ 5357 h 10000"/>
                <a:gd name="connsiteX1" fmla="*/ 652 w 10000"/>
                <a:gd name="connsiteY1" fmla="*/ 6071 h 10000"/>
                <a:gd name="connsiteX2" fmla="*/ 979 w 10000"/>
                <a:gd name="connsiteY2" fmla="*/ 179 h 10000"/>
                <a:gd name="connsiteX3" fmla="*/ 2826 w 10000"/>
                <a:gd name="connsiteY3" fmla="*/ 2857 h 10000"/>
                <a:gd name="connsiteX4" fmla="*/ 5870 w 10000"/>
                <a:gd name="connsiteY4" fmla="*/ 3214 h 10000"/>
                <a:gd name="connsiteX5" fmla="*/ 10000 w 10000"/>
                <a:gd name="connsiteY5" fmla="*/ 0 h 10000"/>
                <a:gd name="connsiteX6" fmla="*/ 10000 w 10000"/>
                <a:gd name="connsiteY6" fmla="*/ 357 h 10000"/>
                <a:gd name="connsiteX7" fmla="*/ 7174 w 10000"/>
                <a:gd name="connsiteY7" fmla="*/ 3929 h 10000"/>
                <a:gd name="connsiteX8" fmla="*/ 7826 w 10000"/>
                <a:gd name="connsiteY8" fmla="*/ 6429 h 10000"/>
                <a:gd name="connsiteX9" fmla="*/ 5870 w 10000"/>
                <a:gd name="connsiteY9" fmla="*/ 7500 h 10000"/>
                <a:gd name="connsiteX10" fmla="*/ 3261 w 10000"/>
                <a:gd name="connsiteY10" fmla="*/ 10000 h 10000"/>
                <a:gd name="connsiteX11" fmla="*/ 2826 w 10000"/>
                <a:gd name="connsiteY11" fmla="*/ 10000 h 10000"/>
                <a:gd name="connsiteX12" fmla="*/ 1739 w 10000"/>
                <a:gd name="connsiteY12" fmla="*/ 9286 h 10000"/>
                <a:gd name="connsiteX13" fmla="*/ 435 w 10000"/>
                <a:gd name="connsiteY13" fmla="*/ 8214 h 10000"/>
                <a:gd name="connsiteX14" fmla="*/ 0 w 10000"/>
                <a:gd name="connsiteY14" fmla="*/ 5357 h 10000"/>
                <a:gd name="connsiteX0" fmla="*/ 0 w 10000"/>
                <a:gd name="connsiteY0" fmla="*/ 11607 h 16250"/>
                <a:gd name="connsiteX1" fmla="*/ 652 w 10000"/>
                <a:gd name="connsiteY1" fmla="*/ 12321 h 16250"/>
                <a:gd name="connsiteX2" fmla="*/ 979 w 10000"/>
                <a:gd name="connsiteY2" fmla="*/ 6429 h 16250"/>
                <a:gd name="connsiteX3" fmla="*/ 2500 w 10000"/>
                <a:gd name="connsiteY3" fmla="*/ 0 h 16250"/>
                <a:gd name="connsiteX4" fmla="*/ 5870 w 10000"/>
                <a:gd name="connsiteY4" fmla="*/ 9464 h 16250"/>
                <a:gd name="connsiteX5" fmla="*/ 10000 w 10000"/>
                <a:gd name="connsiteY5" fmla="*/ 6250 h 16250"/>
                <a:gd name="connsiteX6" fmla="*/ 10000 w 10000"/>
                <a:gd name="connsiteY6" fmla="*/ 6607 h 16250"/>
                <a:gd name="connsiteX7" fmla="*/ 7174 w 10000"/>
                <a:gd name="connsiteY7" fmla="*/ 10179 h 16250"/>
                <a:gd name="connsiteX8" fmla="*/ 7826 w 10000"/>
                <a:gd name="connsiteY8" fmla="*/ 12679 h 16250"/>
                <a:gd name="connsiteX9" fmla="*/ 5870 w 10000"/>
                <a:gd name="connsiteY9" fmla="*/ 13750 h 16250"/>
                <a:gd name="connsiteX10" fmla="*/ 3261 w 10000"/>
                <a:gd name="connsiteY10" fmla="*/ 16250 h 16250"/>
                <a:gd name="connsiteX11" fmla="*/ 2826 w 10000"/>
                <a:gd name="connsiteY11" fmla="*/ 16250 h 16250"/>
                <a:gd name="connsiteX12" fmla="*/ 1739 w 10000"/>
                <a:gd name="connsiteY12" fmla="*/ 15536 h 16250"/>
                <a:gd name="connsiteX13" fmla="*/ 435 w 10000"/>
                <a:gd name="connsiteY13" fmla="*/ 14464 h 16250"/>
                <a:gd name="connsiteX14" fmla="*/ 0 w 10000"/>
                <a:gd name="connsiteY14" fmla="*/ 11607 h 16250"/>
                <a:gd name="connsiteX0" fmla="*/ 0 w 10000"/>
                <a:gd name="connsiteY0" fmla="*/ 11607 h 16250"/>
                <a:gd name="connsiteX1" fmla="*/ 652 w 10000"/>
                <a:gd name="connsiteY1" fmla="*/ 12321 h 16250"/>
                <a:gd name="connsiteX2" fmla="*/ 979 w 10000"/>
                <a:gd name="connsiteY2" fmla="*/ 6429 h 16250"/>
                <a:gd name="connsiteX3" fmla="*/ 2500 w 10000"/>
                <a:gd name="connsiteY3" fmla="*/ 0 h 16250"/>
                <a:gd name="connsiteX4" fmla="*/ 5544 w 10000"/>
                <a:gd name="connsiteY4" fmla="*/ 357 h 16250"/>
                <a:gd name="connsiteX5" fmla="*/ 10000 w 10000"/>
                <a:gd name="connsiteY5" fmla="*/ 6250 h 16250"/>
                <a:gd name="connsiteX6" fmla="*/ 10000 w 10000"/>
                <a:gd name="connsiteY6" fmla="*/ 6607 h 16250"/>
                <a:gd name="connsiteX7" fmla="*/ 7174 w 10000"/>
                <a:gd name="connsiteY7" fmla="*/ 10179 h 16250"/>
                <a:gd name="connsiteX8" fmla="*/ 7826 w 10000"/>
                <a:gd name="connsiteY8" fmla="*/ 12679 h 16250"/>
                <a:gd name="connsiteX9" fmla="*/ 5870 w 10000"/>
                <a:gd name="connsiteY9" fmla="*/ 13750 h 16250"/>
                <a:gd name="connsiteX10" fmla="*/ 3261 w 10000"/>
                <a:gd name="connsiteY10" fmla="*/ 16250 h 16250"/>
                <a:gd name="connsiteX11" fmla="*/ 2826 w 10000"/>
                <a:gd name="connsiteY11" fmla="*/ 16250 h 16250"/>
                <a:gd name="connsiteX12" fmla="*/ 1739 w 10000"/>
                <a:gd name="connsiteY12" fmla="*/ 15536 h 16250"/>
                <a:gd name="connsiteX13" fmla="*/ 435 w 10000"/>
                <a:gd name="connsiteY13" fmla="*/ 14464 h 16250"/>
                <a:gd name="connsiteX14" fmla="*/ 0 w 10000"/>
                <a:gd name="connsiteY14" fmla="*/ 11607 h 16250"/>
                <a:gd name="connsiteX0" fmla="*/ 0 w 10000"/>
                <a:gd name="connsiteY0" fmla="*/ 11607 h 16250"/>
                <a:gd name="connsiteX1" fmla="*/ 652 w 10000"/>
                <a:gd name="connsiteY1" fmla="*/ 12321 h 16250"/>
                <a:gd name="connsiteX2" fmla="*/ 979 w 10000"/>
                <a:gd name="connsiteY2" fmla="*/ 6429 h 16250"/>
                <a:gd name="connsiteX3" fmla="*/ 2500 w 10000"/>
                <a:gd name="connsiteY3" fmla="*/ 0 h 16250"/>
                <a:gd name="connsiteX4" fmla="*/ 5544 w 10000"/>
                <a:gd name="connsiteY4" fmla="*/ 357 h 16250"/>
                <a:gd name="connsiteX5" fmla="*/ 10000 w 10000"/>
                <a:gd name="connsiteY5" fmla="*/ 6250 h 16250"/>
                <a:gd name="connsiteX6" fmla="*/ 7174 w 10000"/>
                <a:gd name="connsiteY6" fmla="*/ 10179 h 16250"/>
                <a:gd name="connsiteX7" fmla="*/ 7826 w 10000"/>
                <a:gd name="connsiteY7" fmla="*/ 12679 h 16250"/>
                <a:gd name="connsiteX8" fmla="*/ 5870 w 10000"/>
                <a:gd name="connsiteY8" fmla="*/ 13750 h 16250"/>
                <a:gd name="connsiteX9" fmla="*/ 3261 w 10000"/>
                <a:gd name="connsiteY9" fmla="*/ 16250 h 16250"/>
                <a:gd name="connsiteX10" fmla="*/ 2826 w 10000"/>
                <a:gd name="connsiteY10" fmla="*/ 16250 h 16250"/>
                <a:gd name="connsiteX11" fmla="*/ 1739 w 10000"/>
                <a:gd name="connsiteY11" fmla="*/ 15536 h 16250"/>
                <a:gd name="connsiteX12" fmla="*/ 435 w 10000"/>
                <a:gd name="connsiteY12" fmla="*/ 14464 h 16250"/>
                <a:gd name="connsiteX13" fmla="*/ 0 w 10000"/>
                <a:gd name="connsiteY13" fmla="*/ 11607 h 16250"/>
                <a:gd name="connsiteX0" fmla="*/ 0 w 10000"/>
                <a:gd name="connsiteY0" fmla="*/ 11607 h 16250"/>
                <a:gd name="connsiteX1" fmla="*/ 652 w 10000"/>
                <a:gd name="connsiteY1" fmla="*/ 12321 h 16250"/>
                <a:gd name="connsiteX2" fmla="*/ 979 w 10000"/>
                <a:gd name="connsiteY2" fmla="*/ 6429 h 16250"/>
                <a:gd name="connsiteX3" fmla="*/ 2500 w 10000"/>
                <a:gd name="connsiteY3" fmla="*/ 0 h 16250"/>
                <a:gd name="connsiteX4" fmla="*/ 5544 w 10000"/>
                <a:gd name="connsiteY4" fmla="*/ 357 h 16250"/>
                <a:gd name="connsiteX5" fmla="*/ 10000 w 10000"/>
                <a:gd name="connsiteY5" fmla="*/ 6250 h 16250"/>
                <a:gd name="connsiteX6" fmla="*/ 7826 w 10000"/>
                <a:gd name="connsiteY6" fmla="*/ 12679 h 16250"/>
                <a:gd name="connsiteX7" fmla="*/ 5870 w 10000"/>
                <a:gd name="connsiteY7" fmla="*/ 13750 h 16250"/>
                <a:gd name="connsiteX8" fmla="*/ 3261 w 10000"/>
                <a:gd name="connsiteY8" fmla="*/ 16250 h 16250"/>
                <a:gd name="connsiteX9" fmla="*/ 2826 w 10000"/>
                <a:gd name="connsiteY9" fmla="*/ 16250 h 16250"/>
                <a:gd name="connsiteX10" fmla="*/ 1739 w 10000"/>
                <a:gd name="connsiteY10" fmla="*/ 15536 h 16250"/>
                <a:gd name="connsiteX11" fmla="*/ 435 w 10000"/>
                <a:gd name="connsiteY11" fmla="*/ 14464 h 16250"/>
                <a:gd name="connsiteX12" fmla="*/ 0 w 10000"/>
                <a:gd name="connsiteY12" fmla="*/ 11607 h 16250"/>
                <a:gd name="connsiteX0" fmla="*/ 0 w 7826"/>
                <a:gd name="connsiteY0" fmla="*/ 11607 h 16250"/>
                <a:gd name="connsiteX1" fmla="*/ 652 w 7826"/>
                <a:gd name="connsiteY1" fmla="*/ 12321 h 16250"/>
                <a:gd name="connsiteX2" fmla="*/ 979 w 7826"/>
                <a:gd name="connsiteY2" fmla="*/ 6429 h 16250"/>
                <a:gd name="connsiteX3" fmla="*/ 2500 w 7826"/>
                <a:gd name="connsiteY3" fmla="*/ 0 h 16250"/>
                <a:gd name="connsiteX4" fmla="*/ 5544 w 7826"/>
                <a:gd name="connsiteY4" fmla="*/ 357 h 16250"/>
                <a:gd name="connsiteX5" fmla="*/ 7826 w 7826"/>
                <a:gd name="connsiteY5" fmla="*/ 12679 h 16250"/>
                <a:gd name="connsiteX6" fmla="*/ 5870 w 7826"/>
                <a:gd name="connsiteY6" fmla="*/ 13750 h 16250"/>
                <a:gd name="connsiteX7" fmla="*/ 3261 w 7826"/>
                <a:gd name="connsiteY7" fmla="*/ 16250 h 16250"/>
                <a:gd name="connsiteX8" fmla="*/ 2826 w 7826"/>
                <a:gd name="connsiteY8" fmla="*/ 16250 h 16250"/>
                <a:gd name="connsiteX9" fmla="*/ 1739 w 7826"/>
                <a:gd name="connsiteY9" fmla="*/ 15536 h 16250"/>
                <a:gd name="connsiteX10" fmla="*/ 435 w 7826"/>
                <a:gd name="connsiteY10" fmla="*/ 14464 h 16250"/>
                <a:gd name="connsiteX11" fmla="*/ 0 w 7826"/>
                <a:gd name="connsiteY11" fmla="*/ 11607 h 16250"/>
                <a:gd name="connsiteX0" fmla="*/ 0 w 7501"/>
                <a:gd name="connsiteY0" fmla="*/ 7143 h 10000"/>
                <a:gd name="connsiteX1" fmla="*/ 833 w 7501"/>
                <a:gd name="connsiteY1" fmla="*/ 7582 h 10000"/>
                <a:gd name="connsiteX2" fmla="*/ 1251 w 7501"/>
                <a:gd name="connsiteY2" fmla="*/ 3956 h 10000"/>
                <a:gd name="connsiteX3" fmla="*/ 3194 w 7501"/>
                <a:gd name="connsiteY3" fmla="*/ 0 h 10000"/>
                <a:gd name="connsiteX4" fmla="*/ 7084 w 7501"/>
                <a:gd name="connsiteY4" fmla="*/ 220 h 10000"/>
                <a:gd name="connsiteX5" fmla="*/ 7501 w 7501"/>
                <a:gd name="connsiteY5" fmla="*/ 8462 h 10000"/>
                <a:gd name="connsiteX6" fmla="*/ 4167 w 7501"/>
                <a:gd name="connsiteY6" fmla="*/ 10000 h 10000"/>
                <a:gd name="connsiteX7" fmla="*/ 3611 w 7501"/>
                <a:gd name="connsiteY7" fmla="*/ 10000 h 10000"/>
                <a:gd name="connsiteX8" fmla="*/ 2222 w 7501"/>
                <a:gd name="connsiteY8" fmla="*/ 9561 h 10000"/>
                <a:gd name="connsiteX9" fmla="*/ 556 w 7501"/>
                <a:gd name="connsiteY9" fmla="*/ 8901 h 10000"/>
                <a:gd name="connsiteX10" fmla="*/ 0 w 7501"/>
                <a:gd name="connsiteY10" fmla="*/ 7143 h 10000"/>
                <a:gd name="connsiteX0" fmla="*/ 0 w 10000"/>
                <a:gd name="connsiteY0" fmla="*/ 7143 h 10000"/>
                <a:gd name="connsiteX1" fmla="*/ 1111 w 10000"/>
                <a:gd name="connsiteY1" fmla="*/ 7582 h 10000"/>
                <a:gd name="connsiteX2" fmla="*/ 1668 w 10000"/>
                <a:gd name="connsiteY2" fmla="*/ 3956 h 10000"/>
                <a:gd name="connsiteX3" fmla="*/ 4258 w 10000"/>
                <a:gd name="connsiteY3" fmla="*/ 0 h 10000"/>
                <a:gd name="connsiteX4" fmla="*/ 9444 w 10000"/>
                <a:gd name="connsiteY4" fmla="*/ 220 h 10000"/>
                <a:gd name="connsiteX5" fmla="*/ 10000 w 10000"/>
                <a:gd name="connsiteY5" fmla="*/ 8462 h 10000"/>
                <a:gd name="connsiteX6" fmla="*/ 5555 w 10000"/>
                <a:gd name="connsiteY6" fmla="*/ 10000 h 10000"/>
                <a:gd name="connsiteX7" fmla="*/ 4814 w 10000"/>
                <a:gd name="connsiteY7" fmla="*/ 10000 h 10000"/>
                <a:gd name="connsiteX8" fmla="*/ 741 w 10000"/>
                <a:gd name="connsiteY8" fmla="*/ 8901 h 10000"/>
                <a:gd name="connsiteX9" fmla="*/ 0 w 10000"/>
                <a:gd name="connsiteY9" fmla="*/ 7143 h 10000"/>
                <a:gd name="connsiteX0" fmla="*/ 0 w 10000"/>
                <a:gd name="connsiteY0" fmla="*/ 7143 h 10000"/>
                <a:gd name="connsiteX1" fmla="*/ 1111 w 10000"/>
                <a:gd name="connsiteY1" fmla="*/ 7582 h 10000"/>
                <a:gd name="connsiteX2" fmla="*/ 1668 w 10000"/>
                <a:gd name="connsiteY2" fmla="*/ 3956 h 10000"/>
                <a:gd name="connsiteX3" fmla="*/ 4258 w 10000"/>
                <a:gd name="connsiteY3" fmla="*/ 0 h 10000"/>
                <a:gd name="connsiteX4" fmla="*/ 9444 w 10000"/>
                <a:gd name="connsiteY4" fmla="*/ 220 h 10000"/>
                <a:gd name="connsiteX5" fmla="*/ 10000 w 10000"/>
                <a:gd name="connsiteY5" fmla="*/ 8462 h 10000"/>
                <a:gd name="connsiteX6" fmla="*/ 5555 w 10000"/>
                <a:gd name="connsiteY6" fmla="*/ 10000 h 10000"/>
                <a:gd name="connsiteX7" fmla="*/ 4814 w 10000"/>
                <a:gd name="connsiteY7" fmla="*/ 10000 h 10000"/>
                <a:gd name="connsiteX8" fmla="*/ 0 w 10000"/>
                <a:gd name="connsiteY8" fmla="*/ 7143 h 10000"/>
                <a:gd name="connsiteX0" fmla="*/ 0 w 10000"/>
                <a:gd name="connsiteY0" fmla="*/ 7143 h 10000"/>
                <a:gd name="connsiteX1" fmla="*/ 1111 w 10000"/>
                <a:gd name="connsiteY1" fmla="*/ 7582 h 10000"/>
                <a:gd name="connsiteX2" fmla="*/ 1668 w 10000"/>
                <a:gd name="connsiteY2" fmla="*/ 3956 h 10000"/>
                <a:gd name="connsiteX3" fmla="*/ 4258 w 10000"/>
                <a:gd name="connsiteY3" fmla="*/ 0 h 10000"/>
                <a:gd name="connsiteX4" fmla="*/ 9444 w 10000"/>
                <a:gd name="connsiteY4" fmla="*/ 220 h 10000"/>
                <a:gd name="connsiteX5" fmla="*/ 10000 w 10000"/>
                <a:gd name="connsiteY5" fmla="*/ 8462 h 10000"/>
                <a:gd name="connsiteX6" fmla="*/ 5555 w 10000"/>
                <a:gd name="connsiteY6" fmla="*/ 10000 h 10000"/>
                <a:gd name="connsiteX7" fmla="*/ 0 w 10000"/>
                <a:gd name="connsiteY7" fmla="*/ 7143 h 10000"/>
                <a:gd name="connsiteX0" fmla="*/ 4444 w 8889"/>
                <a:gd name="connsiteY0" fmla="*/ 10000 h 10000"/>
                <a:gd name="connsiteX1" fmla="*/ 0 w 8889"/>
                <a:gd name="connsiteY1" fmla="*/ 7582 h 10000"/>
                <a:gd name="connsiteX2" fmla="*/ 557 w 8889"/>
                <a:gd name="connsiteY2" fmla="*/ 3956 h 10000"/>
                <a:gd name="connsiteX3" fmla="*/ 3147 w 8889"/>
                <a:gd name="connsiteY3" fmla="*/ 0 h 10000"/>
                <a:gd name="connsiteX4" fmla="*/ 8333 w 8889"/>
                <a:gd name="connsiteY4" fmla="*/ 220 h 10000"/>
                <a:gd name="connsiteX5" fmla="*/ 8889 w 8889"/>
                <a:gd name="connsiteY5" fmla="*/ 8462 h 10000"/>
                <a:gd name="connsiteX6" fmla="*/ 4444 w 8889"/>
                <a:gd name="connsiteY6" fmla="*/ 10000 h 10000"/>
                <a:gd name="connsiteX0" fmla="*/ 8124 w 13125"/>
                <a:gd name="connsiteY0" fmla="*/ 10000 h 10000"/>
                <a:gd name="connsiteX1" fmla="*/ 0 w 13125"/>
                <a:gd name="connsiteY1" fmla="*/ 7582 h 10000"/>
                <a:gd name="connsiteX2" fmla="*/ 3752 w 13125"/>
                <a:gd name="connsiteY2" fmla="*/ 3956 h 10000"/>
                <a:gd name="connsiteX3" fmla="*/ 6665 w 13125"/>
                <a:gd name="connsiteY3" fmla="*/ 0 h 10000"/>
                <a:gd name="connsiteX4" fmla="*/ 12500 w 13125"/>
                <a:gd name="connsiteY4" fmla="*/ 220 h 10000"/>
                <a:gd name="connsiteX5" fmla="*/ 13125 w 13125"/>
                <a:gd name="connsiteY5" fmla="*/ 8462 h 10000"/>
                <a:gd name="connsiteX6" fmla="*/ 8124 w 13125"/>
                <a:gd name="connsiteY6" fmla="*/ 10000 h 10000"/>
                <a:gd name="connsiteX0" fmla="*/ 4999 w 13125"/>
                <a:gd name="connsiteY0" fmla="*/ 10000 h 10000"/>
                <a:gd name="connsiteX1" fmla="*/ 0 w 13125"/>
                <a:gd name="connsiteY1" fmla="*/ 7582 h 10000"/>
                <a:gd name="connsiteX2" fmla="*/ 3752 w 13125"/>
                <a:gd name="connsiteY2" fmla="*/ 3956 h 10000"/>
                <a:gd name="connsiteX3" fmla="*/ 6665 w 13125"/>
                <a:gd name="connsiteY3" fmla="*/ 0 h 10000"/>
                <a:gd name="connsiteX4" fmla="*/ 12500 w 13125"/>
                <a:gd name="connsiteY4" fmla="*/ 220 h 10000"/>
                <a:gd name="connsiteX5" fmla="*/ 13125 w 13125"/>
                <a:gd name="connsiteY5" fmla="*/ 8462 h 10000"/>
                <a:gd name="connsiteX6" fmla="*/ 4999 w 13125"/>
                <a:gd name="connsiteY6" fmla="*/ 10000 h 10000"/>
                <a:gd name="connsiteX0" fmla="*/ 3749 w 11875"/>
                <a:gd name="connsiteY0" fmla="*/ 10000 h 10000"/>
                <a:gd name="connsiteX1" fmla="*/ 0 w 11875"/>
                <a:gd name="connsiteY1" fmla="*/ 6263 h 10000"/>
                <a:gd name="connsiteX2" fmla="*/ 2502 w 11875"/>
                <a:gd name="connsiteY2" fmla="*/ 3956 h 10000"/>
                <a:gd name="connsiteX3" fmla="*/ 5415 w 11875"/>
                <a:gd name="connsiteY3" fmla="*/ 0 h 10000"/>
                <a:gd name="connsiteX4" fmla="*/ 11250 w 11875"/>
                <a:gd name="connsiteY4" fmla="*/ 220 h 10000"/>
                <a:gd name="connsiteX5" fmla="*/ 11875 w 11875"/>
                <a:gd name="connsiteY5" fmla="*/ 8462 h 10000"/>
                <a:gd name="connsiteX6" fmla="*/ 3749 w 11875"/>
                <a:gd name="connsiteY6" fmla="*/ 10000 h 10000"/>
                <a:gd name="connsiteX0" fmla="*/ 2499 w 11875"/>
                <a:gd name="connsiteY0" fmla="*/ 8022 h 8462"/>
                <a:gd name="connsiteX1" fmla="*/ 0 w 11875"/>
                <a:gd name="connsiteY1" fmla="*/ 6263 h 8462"/>
                <a:gd name="connsiteX2" fmla="*/ 2502 w 11875"/>
                <a:gd name="connsiteY2" fmla="*/ 3956 h 8462"/>
                <a:gd name="connsiteX3" fmla="*/ 5415 w 11875"/>
                <a:gd name="connsiteY3" fmla="*/ 0 h 8462"/>
                <a:gd name="connsiteX4" fmla="*/ 11250 w 11875"/>
                <a:gd name="connsiteY4" fmla="*/ 220 h 8462"/>
                <a:gd name="connsiteX5" fmla="*/ 11875 w 11875"/>
                <a:gd name="connsiteY5" fmla="*/ 8462 h 8462"/>
                <a:gd name="connsiteX6" fmla="*/ 2499 w 11875"/>
                <a:gd name="connsiteY6" fmla="*/ 8022 h 8462"/>
                <a:gd name="connsiteX0" fmla="*/ 2104 w 9497"/>
                <a:gd name="connsiteY0" fmla="*/ 9480 h 9480"/>
                <a:gd name="connsiteX1" fmla="*/ 0 w 9497"/>
                <a:gd name="connsiteY1" fmla="*/ 7401 h 9480"/>
                <a:gd name="connsiteX2" fmla="*/ 2107 w 9497"/>
                <a:gd name="connsiteY2" fmla="*/ 4675 h 9480"/>
                <a:gd name="connsiteX3" fmla="*/ 4560 w 9497"/>
                <a:gd name="connsiteY3" fmla="*/ 0 h 9480"/>
                <a:gd name="connsiteX4" fmla="*/ 9474 w 9497"/>
                <a:gd name="connsiteY4" fmla="*/ 260 h 9480"/>
                <a:gd name="connsiteX5" fmla="*/ 8948 w 9497"/>
                <a:gd name="connsiteY5" fmla="*/ 4546 h 9480"/>
                <a:gd name="connsiteX6" fmla="*/ 2104 w 9497"/>
                <a:gd name="connsiteY6" fmla="*/ 9480 h 9480"/>
                <a:gd name="connsiteX0" fmla="*/ 2215 w 10000"/>
                <a:gd name="connsiteY0" fmla="*/ 12603 h 12603"/>
                <a:gd name="connsiteX1" fmla="*/ 0 w 10000"/>
                <a:gd name="connsiteY1" fmla="*/ 10410 h 12603"/>
                <a:gd name="connsiteX2" fmla="*/ 2219 w 10000"/>
                <a:gd name="connsiteY2" fmla="*/ 7534 h 12603"/>
                <a:gd name="connsiteX3" fmla="*/ 4802 w 10000"/>
                <a:gd name="connsiteY3" fmla="*/ 2603 h 12603"/>
                <a:gd name="connsiteX4" fmla="*/ 9976 w 10000"/>
                <a:gd name="connsiteY4" fmla="*/ 0 h 12603"/>
                <a:gd name="connsiteX5" fmla="*/ 9422 w 10000"/>
                <a:gd name="connsiteY5" fmla="*/ 7398 h 12603"/>
                <a:gd name="connsiteX6" fmla="*/ 2215 w 10000"/>
                <a:gd name="connsiteY6" fmla="*/ 12603 h 12603"/>
                <a:gd name="connsiteX0" fmla="*/ 2215 w 11095"/>
                <a:gd name="connsiteY0" fmla="*/ 10137 h 10137"/>
                <a:gd name="connsiteX1" fmla="*/ 0 w 11095"/>
                <a:gd name="connsiteY1" fmla="*/ 7944 h 10137"/>
                <a:gd name="connsiteX2" fmla="*/ 2219 w 11095"/>
                <a:gd name="connsiteY2" fmla="*/ 5068 h 10137"/>
                <a:gd name="connsiteX3" fmla="*/ 4802 w 11095"/>
                <a:gd name="connsiteY3" fmla="*/ 137 h 10137"/>
                <a:gd name="connsiteX4" fmla="*/ 11084 w 11095"/>
                <a:gd name="connsiteY4" fmla="*/ 0 h 10137"/>
                <a:gd name="connsiteX5" fmla="*/ 9422 w 11095"/>
                <a:gd name="connsiteY5" fmla="*/ 4932 h 10137"/>
                <a:gd name="connsiteX6" fmla="*/ 2215 w 11095"/>
                <a:gd name="connsiteY6" fmla="*/ 10137 h 10137"/>
                <a:gd name="connsiteX0" fmla="*/ 6097 w 14977"/>
                <a:gd name="connsiteY0" fmla="*/ 10822 h 10822"/>
                <a:gd name="connsiteX1" fmla="*/ 3882 w 14977"/>
                <a:gd name="connsiteY1" fmla="*/ 8629 h 10822"/>
                <a:gd name="connsiteX2" fmla="*/ 6 w 14977"/>
                <a:gd name="connsiteY2" fmla="*/ 0 h 10822"/>
                <a:gd name="connsiteX3" fmla="*/ 8684 w 14977"/>
                <a:gd name="connsiteY3" fmla="*/ 822 h 10822"/>
                <a:gd name="connsiteX4" fmla="*/ 14966 w 14977"/>
                <a:gd name="connsiteY4" fmla="*/ 685 h 10822"/>
                <a:gd name="connsiteX5" fmla="*/ 13304 w 14977"/>
                <a:gd name="connsiteY5" fmla="*/ 5617 h 10822"/>
                <a:gd name="connsiteX6" fmla="*/ 6097 w 14977"/>
                <a:gd name="connsiteY6" fmla="*/ 10822 h 10822"/>
                <a:gd name="connsiteX0" fmla="*/ 6097 w 14977"/>
                <a:gd name="connsiteY0" fmla="*/ 19452 h 19452"/>
                <a:gd name="connsiteX1" fmla="*/ 3882 w 14977"/>
                <a:gd name="connsiteY1" fmla="*/ 17259 h 19452"/>
                <a:gd name="connsiteX2" fmla="*/ 6 w 14977"/>
                <a:gd name="connsiteY2" fmla="*/ 8630 h 19452"/>
                <a:gd name="connsiteX3" fmla="*/ 6468 w 14977"/>
                <a:gd name="connsiteY3" fmla="*/ 0 h 19452"/>
                <a:gd name="connsiteX4" fmla="*/ 14966 w 14977"/>
                <a:gd name="connsiteY4" fmla="*/ 9315 h 19452"/>
                <a:gd name="connsiteX5" fmla="*/ 13304 w 14977"/>
                <a:gd name="connsiteY5" fmla="*/ 14247 h 19452"/>
                <a:gd name="connsiteX6" fmla="*/ 6097 w 14977"/>
                <a:gd name="connsiteY6" fmla="*/ 19452 h 19452"/>
                <a:gd name="connsiteX0" fmla="*/ 6097 w 13304"/>
                <a:gd name="connsiteY0" fmla="*/ 20411 h 20411"/>
                <a:gd name="connsiteX1" fmla="*/ 3882 w 13304"/>
                <a:gd name="connsiteY1" fmla="*/ 18218 h 20411"/>
                <a:gd name="connsiteX2" fmla="*/ 6 w 13304"/>
                <a:gd name="connsiteY2" fmla="*/ 9589 h 20411"/>
                <a:gd name="connsiteX3" fmla="*/ 6468 w 13304"/>
                <a:gd name="connsiteY3" fmla="*/ 959 h 20411"/>
                <a:gd name="connsiteX4" fmla="*/ 9425 w 13304"/>
                <a:gd name="connsiteY4" fmla="*/ 0 h 20411"/>
                <a:gd name="connsiteX5" fmla="*/ 13304 w 13304"/>
                <a:gd name="connsiteY5" fmla="*/ 15206 h 20411"/>
                <a:gd name="connsiteX6" fmla="*/ 6097 w 13304"/>
                <a:gd name="connsiteY6" fmla="*/ 20411 h 20411"/>
                <a:gd name="connsiteX0" fmla="*/ 6097 w 13428"/>
                <a:gd name="connsiteY0" fmla="*/ 20411 h 20411"/>
                <a:gd name="connsiteX1" fmla="*/ 3882 w 13428"/>
                <a:gd name="connsiteY1" fmla="*/ 18218 h 20411"/>
                <a:gd name="connsiteX2" fmla="*/ 6 w 13428"/>
                <a:gd name="connsiteY2" fmla="*/ 9589 h 20411"/>
                <a:gd name="connsiteX3" fmla="*/ 6468 w 13428"/>
                <a:gd name="connsiteY3" fmla="*/ 959 h 20411"/>
                <a:gd name="connsiteX4" fmla="*/ 9425 w 13428"/>
                <a:gd name="connsiteY4" fmla="*/ 0 h 20411"/>
                <a:gd name="connsiteX5" fmla="*/ 8262 w 13428"/>
                <a:gd name="connsiteY5" fmla="*/ 8200 h 20411"/>
                <a:gd name="connsiteX6" fmla="*/ 13304 w 13428"/>
                <a:gd name="connsiteY6" fmla="*/ 15206 h 20411"/>
                <a:gd name="connsiteX7" fmla="*/ 6097 w 13428"/>
                <a:gd name="connsiteY7" fmla="*/ 20411 h 20411"/>
                <a:gd name="connsiteX0" fmla="*/ 6097 w 9624"/>
                <a:gd name="connsiteY0" fmla="*/ 20411 h 20411"/>
                <a:gd name="connsiteX1" fmla="*/ 3882 w 9624"/>
                <a:gd name="connsiteY1" fmla="*/ 18218 h 20411"/>
                <a:gd name="connsiteX2" fmla="*/ 6 w 9624"/>
                <a:gd name="connsiteY2" fmla="*/ 9589 h 20411"/>
                <a:gd name="connsiteX3" fmla="*/ 6468 w 9624"/>
                <a:gd name="connsiteY3" fmla="*/ 959 h 20411"/>
                <a:gd name="connsiteX4" fmla="*/ 9425 w 9624"/>
                <a:gd name="connsiteY4" fmla="*/ 0 h 20411"/>
                <a:gd name="connsiteX5" fmla="*/ 8262 w 9624"/>
                <a:gd name="connsiteY5" fmla="*/ 8200 h 20411"/>
                <a:gd name="connsiteX6" fmla="*/ 6100 w 9624"/>
                <a:gd name="connsiteY6" fmla="*/ 13973 h 20411"/>
                <a:gd name="connsiteX7" fmla="*/ 6097 w 9624"/>
                <a:gd name="connsiteY7" fmla="*/ 20411 h 20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624" h="20411">
                  <a:moveTo>
                    <a:pt x="6097" y="20411"/>
                  </a:moveTo>
                  <a:lnTo>
                    <a:pt x="3882" y="18218"/>
                  </a:lnTo>
                  <a:cubicBezTo>
                    <a:pt x="4066" y="16712"/>
                    <a:pt x="-181" y="11097"/>
                    <a:pt x="6" y="9589"/>
                  </a:cubicBezTo>
                  <a:lnTo>
                    <a:pt x="6468" y="959"/>
                  </a:lnTo>
                  <a:lnTo>
                    <a:pt x="9425" y="0"/>
                  </a:lnTo>
                  <a:cubicBezTo>
                    <a:pt x="10371" y="2097"/>
                    <a:pt x="7616" y="5666"/>
                    <a:pt x="8262" y="8200"/>
                  </a:cubicBezTo>
                  <a:cubicBezTo>
                    <a:pt x="8908" y="10734"/>
                    <a:pt x="7107" y="12828"/>
                    <a:pt x="6100" y="13973"/>
                  </a:cubicBezTo>
                  <a:lnTo>
                    <a:pt x="6097" y="20411"/>
                  </a:lnTo>
                  <a:close/>
                </a:path>
              </a:pathLst>
            </a:custGeom>
            <a:solidFill>
              <a:srgbClr val="00B9E4"/>
            </a:solidFill>
            <a:ln w="9525" cap="flat" cmpd="sng">
              <a:solidFill>
                <a:schemeClr val="bg1"/>
              </a:solidFill>
              <a:prstDash val="solid"/>
              <a:round/>
              <a:headEnd type="none" w="med" len="med"/>
              <a:tailEnd type="none" w="med" len="med"/>
            </a:ln>
            <a:effectLst/>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275" name="KW"/>
            <p:cNvSpPr>
              <a:spLocks/>
            </p:cNvSpPr>
            <p:nvPr/>
          </p:nvSpPr>
          <p:spPr bwMode="auto">
            <a:xfrm>
              <a:off x="5417030" y="3650067"/>
              <a:ext cx="50243" cy="50800"/>
            </a:xfrm>
            <a:custGeom>
              <a:avLst/>
              <a:gdLst>
                <a:gd name="T0" fmla="*/ 0 w 46"/>
                <a:gd name="T1" fmla="*/ 2147483647 h 28"/>
                <a:gd name="T2" fmla="*/ 2147483647 w 46"/>
                <a:gd name="T3" fmla="*/ 2147483647 h 28"/>
                <a:gd name="T4" fmla="*/ 2147483647 w 46"/>
                <a:gd name="T5" fmla="*/ 2147483647 h 28"/>
                <a:gd name="T6" fmla="*/ 2147483647 w 46"/>
                <a:gd name="T7" fmla="*/ 2147483647 h 28"/>
                <a:gd name="T8" fmla="*/ 2147483647 w 46"/>
                <a:gd name="T9" fmla="*/ 2147483647 h 28"/>
                <a:gd name="T10" fmla="*/ 2147483647 w 46"/>
                <a:gd name="T11" fmla="*/ 0 h 28"/>
                <a:gd name="T12" fmla="*/ 2147483647 w 46"/>
                <a:gd name="T13" fmla="*/ 2147483647 h 28"/>
                <a:gd name="T14" fmla="*/ 2147483647 w 46"/>
                <a:gd name="T15" fmla="*/ 2147483647 h 28"/>
                <a:gd name="T16" fmla="*/ 2147483647 w 46"/>
                <a:gd name="T17" fmla="*/ 2147483647 h 28"/>
                <a:gd name="T18" fmla="*/ 2147483647 w 46"/>
                <a:gd name="T19" fmla="*/ 2147483647 h 28"/>
                <a:gd name="T20" fmla="*/ 2147483647 w 46"/>
                <a:gd name="T21" fmla="*/ 2147483647 h 28"/>
                <a:gd name="T22" fmla="*/ 2147483647 w 46"/>
                <a:gd name="T23" fmla="*/ 2147483647 h 28"/>
                <a:gd name="T24" fmla="*/ 2147483647 w 46"/>
                <a:gd name="T25" fmla="*/ 2147483647 h 28"/>
                <a:gd name="T26" fmla="*/ 2147483647 w 46"/>
                <a:gd name="T27" fmla="*/ 2147483647 h 28"/>
                <a:gd name="T28" fmla="*/ 0 w 46"/>
                <a:gd name="T29" fmla="*/ 2147483647 h 2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connsiteX0" fmla="*/ 0 w 10000"/>
                <a:gd name="connsiteY0" fmla="*/ 5357 h 10000"/>
                <a:gd name="connsiteX1" fmla="*/ 652 w 10000"/>
                <a:gd name="connsiteY1" fmla="*/ 6071 h 10000"/>
                <a:gd name="connsiteX2" fmla="*/ 979 w 10000"/>
                <a:gd name="connsiteY2" fmla="*/ 179 h 10000"/>
                <a:gd name="connsiteX3" fmla="*/ 2826 w 10000"/>
                <a:gd name="connsiteY3" fmla="*/ 2857 h 10000"/>
                <a:gd name="connsiteX4" fmla="*/ 5870 w 10000"/>
                <a:gd name="connsiteY4" fmla="*/ 3214 h 10000"/>
                <a:gd name="connsiteX5" fmla="*/ 10000 w 10000"/>
                <a:gd name="connsiteY5" fmla="*/ 0 h 10000"/>
                <a:gd name="connsiteX6" fmla="*/ 10000 w 10000"/>
                <a:gd name="connsiteY6" fmla="*/ 357 h 10000"/>
                <a:gd name="connsiteX7" fmla="*/ 7174 w 10000"/>
                <a:gd name="connsiteY7" fmla="*/ 3929 h 10000"/>
                <a:gd name="connsiteX8" fmla="*/ 7826 w 10000"/>
                <a:gd name="connsiteY8" fmla="*/ 6429 h 10000"/>
                <a:gd name="connsiteX9" fmla="*/ 5870 w 10000"/>
                <a:gd name="connsiteY9" fmla="*/ 7500 h 10000"/>
                <a:gd name="connsiteX10" fmla="*/ 3261 w 10000"/>
                <a:gd name="connsiteY10" fmla="*/ 10000 h 10000"/>
                <a:gd name="connsiteX11" fmla="*/ 2826 w 10000"/>
                <a:gd name="connsiteY11" fmla="*/ 10000 h 10000"/>
                <a:gd name="connsiteX12" fmla="*/ 1739 w 10000"/>
                <a:gd name="connsiteY12" fmla="*/ 9286 h 10000"/>
                <a:gd name="connsiteX13" fmla="*/ 435 w 10000"/>
                <a:gd name="connsiteY13" fmla="*/ 8214 h 10000"/>
                <a:gd name="connsiteX14" fmla="*/ 0 w 10000"/>
                <a:gd name="connsiteY14" fmla="*/ 5357 h 10000"/>
                <a:gd name="connsiteX0" fmla="*/ 0 w 10000"/>
                <a:gd name="connsiteY0" fmla="*/ 11607 h 16250"/>
                <a:gd name="connsiteX1" fmla="*/ 652 w 10000"/>
                <a:gd name="connsiteY1" fmla="*/ 12321 h 16250"/>
                <a:gd name="connsiteX2" fmla="*/ 979 w 10000"/>
                <a:gd name="connsiteY2" fmla="*/ 6429 h 16250"/>
                <a:gd name="connsiteX3" fmla="*/ 2500 w 10000"/>
                <a:gd name="connsiteY3" fmla="*/ 0 h 16250"/>
                <a:gd name="connsiteX4" fmla="*/ 5870 w 10000"/>
                <a:gd name="connsiteY4" fmla="*/ 9464 h 16250"/>
                <a:gd name="connsiteX5" fmla="*/ 10000 w 10000"/>
                <a:gd name="connsiteY5" fmla="*/ 6250 h 16250"/>
                <a:gd name="connsiteX6" fmla="*/ 10000 w 10000"/>
                <a:gd name="connsiteY6" fmla="*/ 6607 h 16250"/>
                <a:gd name="connsiteX7" fmla="*/ 7174 w 10000"/>
                <a:gd name="connsiteY7" fmla="*/ 10179 h 16250"/>
                <a:gd name="connsiteX8" fmla="*/ 7826 w 10000"/>
                <a:gd name="connsiteY8" fmla="*/ 12679 h 16250"/>
                <a:gd name="connsiteX9" fmla="*/ 5870 w 10000"/>
                <a:gd name="connsiteY9" fmla="*/ 13750 h 16250"/>
                <a:gd name="connsiteX10" fmla="*/ 3261 w 10000"/>
                <a:gd name="connsiteY10" fmla="*/ 16250 h 16250"/>
                <a:gd name="connsiteX11" fmla="*/ 2826 w 10000"/>
                <a:gd name="connsiteY11" fmla="*/ 16250 h 16250"/>
                <a:gd name="connsiteX12" fmla="*/ 1739 w 10000"/>
                <a:gd name="connsiteY12" fmla="*/ 15536 h 16250"/>
                <a:gd name="connsiteX13" fmla="*/ 435 w 10000"/>
                <a:gd name="connsiteY13" fmla="*/ 14464 h 16250"/>
                <a:gd name="connsiteX14" fmla="*/ 0 w 10000"/>
                <a:gd name="connsiteY14" fmla="*/ 11607 h 16250"/>
                <a:gd name="connsiteX0" fmla="*/ 0 w 10000"/>
                <a:gd name="connsiteY0" fmla="*/ 11607 h 16250"/>
                <a:gd name="connsiteX1" fmla="*/ 652 w 10000"/>
                <a:gd name="connsiteY1" fmla="*/ 12321 h 16250"/>
                <a:gd name="connsiteX2" fmla="*/ 979 w 10000"/>
                <a:gd name="connsiteY2" fmla="*/ 6429 h 16250"/>
                <a:gd name="connsiteX3" fmla="*/ 2500 w 10000"/>
                <a:gd name="connsiteY3" fmla="*/ 0 h 16250"/>
                <a:gd name="connsiteX4" fmla="*/ 5544 w 10000"/>
                <a:gd name="connsiteY4" fmla="*/ 357 h 16250"/>
                <a:gd name="connsiteX5" fmla="*/ 10000 w 10000"/>
                <a:gd name="connsiteY5" fmla="*/ 6250 h 16250"/>
                <a:gd name="connsiteX6" fmla="*/ 10000 w 10000"/>
                <a:gd name="connsiteY6" fmla="*/ 6607 h 16250"/>
                <a:gd name="connsiteX7" fmla="*/ 7174 w 10000"/>
                <a:gd name="connsiteY7" fmla="*/ 10179 h 16250"/>
                <a:gd name="connsiteX8" fmla="*/ 7826 w 10000"/>
                <a:gd name="connsiteY8" fmla="*/ 12679 h 16250"/>
                <a:gd name="connsiteX9" fmla="*/ 5870 w 10000"/>
                <a:gd name="connsiteY9" fmla="*/ 13750 h 16250"/>
                <a:gd name="connsiteX10" fmla="*/ 3261 w 10000"/>
                <a:gd name="connsiteY10" fmla="*/ 16250 h 16250"/>
                <a:gd name="connsiteX11" fmla="*/ 2826 w 10000"/>
                <a:gd name="connsiteY11" fmla="*/ 16250 h 16250"/>
                <a:gd name="connsiteX12" fmla="*/ 1739 w 10000"/>
                <a:gd name="connsiteY12" fmla="*/ 15536 h 16250"/>
                <a:gd name="connsiteX13" fmla="*/ 435 w 10000"/>
                <a:gd name="connsiteY13" fmla="*/ 14464 h 16250"/>
                <a:gd name="connsiteX14" fmla="*/ 0 w 10000"/>
                <a:gd name="connsiteY14" fmla="*/ 11607 h 16250"/>
                <a:gd name="connsiteX0" fmla="*/ 0 w 10000"/>
                <a:gd name="connsiteY0" fmla="*/ 11607 h 16250"/>
                <a:gd name="connsiteX1" fmla="*/ 652 w 10000"/>
                <a:gd name="connsiteY1" fmla="*/ 12321 h 16250"/>
                <a:gd name="connsiteX2" fmla="*/ 979 w 10000"/>
                <a:gd name="connsiteY2" fmla="*/ 6429 h 16250"/>
                <a:gd name="connsiteX3" fmla="*/ 2500 w 10000"/>
                <a:gd name="connsiteY3" fmla="*/ 0 h 16250"/>
                <a:gd name="connsiteX4" fmla="*/ 5544 w 10000"/>
                <a:gd name="connsiteY4" fmla="*/ 357 h 16250"/>
                <a:gd name="connsiteX5" fmla="*/ 10000 w 10000"/>
                <a:gd name="connsiteY5" fmla="*/ 6250 h 16250"/>
                <a:gd name="connsiteX6" fmla="*/ 7174 w 10000"/>
                <a:gd name="connsiteY6" fmla="*/ 10179 h 16250"/>
                <a:gd name="connsiteX7" fmla="*/ 7826 w 10000"/>
                <a:gd name="connsiteY7" fmla="*/ 12679 h 16250"/>
                <a:gd name="connsiteX8" fmla="*/ 5870 w 10000"/>
                <a:gd name="connsiteY8" fmla="*/ 13750 h 16250"/>
                <a:gd name="connsiteX9" fmla="*/ 3261 w 10000"/>
                <a:gd name="connsiteY9" fmla="*/ 16250 h 16250"/>
                <a:gd name="connsiteX10" fmla="*/ 2826 w 10000"/>
                <a:gd name="connsiteY10" fmla="*/ 16250 h 16250"/>
                <a:gd name="connsiteX11" fmla="*/ 1739 w 10000"/>
                <a:gd name="connsiteY11" fmla="*/ 15536 h 16250"/>
                <a:gd name="connsiteX12" fmla="*/ 435 w 10000"/>
                <a:gd name="connsiteY12" fmla="*/ 14464 h 16250"/>
                <a:gd name="connsiteX13" fmla="*/ 0 w 10000"/>
                <a:gd name="connsiteY13" fmla="*/ 11607 h 16250"/>
                <a:gd name="connsiteX0" fmla="*/ 0 w 10000"/>
                <a:gd name="connsiteY0" fmla="*/ 11607 h 16250"/>
                <a:gd name="connsiteX1" fmla="*/ 652 w 10000"/>
                <a:gd name="connsiteY1" fmla="*/ 12321 h 16250"/>
                <a:gd name="connsiteX2" fmla="*/ 979 w 10000"/>
                <a:gd name="connsiteY2" fmla="*/ 6429 h 16250"/>
                <a:gd name="connsiteX3" fmla="*/ 2500 w 10000"/>
                <a:gd name="connsiteY3" fmla="*/ 0 h 16250"/>
                <a:gd name="connsiteX4" fmla="*/ 5544 w 10000"/>
                <a:gd name="connsiteY4" fmla="*/ 357 h 16250"/>
                <a:gd name="connsiteX5" fmla="*/ 10000 w 10000"/>
                <a:gd name="connsiteY5" fmla="*/ 6250 h 16250"/>
                <a:gd name="connsiteX6" fmla="*/ 7826 w 10000"/>
                <a:gd name="connsiteY6" fmla="*/ 12679 h 16250"/>
                <a:gd name="connsiteX7" fmla="*/ 5870 w 10000"/>
                <a:gd name="connsiteY7" fmla="*/ 13750 h 16250"/>
                <a:gd name="connsiteX8" fmla="*/ 3261 w 10000"/>
                <a:gd name="connsiteY8" fmla="*/ 16250 h 16250"/>
                <a:gd name="connsiteX9" fmla="*/ 2826 w 10000"/>
                <a:gd name="connsiteY9" fmla="*/ 16250 h 16250"/>
                <a:gd name="connsiteX10" fmla="*/ 1739 w 10000"/>
                <a:gd name="connsiteY10" fmla="*/ 15536 h 16250"/>
                <a:gd name="connsiteX11" fmla="*/ 435 w 10000"/>
                <a:gd name="connsiteY11" fmla="*/ 14464 h 16250"/>
                <a:gd name="connsiteX12" fmla="*/ 0 w 10000"/>
                <a:gd name="connsiteY12" fmla="*/ 11607 h 16250"/>
                <a:gd name="connsiteX0" fmla="*/ 0 w 7826"/>
                <a:gd name="connsiteY0" fmla="*/ 11607 h 16250"/>
                <a:gd name="connsiteX1" fmla="*/ 652 w 7826"/>
                <a:gd name="connsiteY1" fmla="*/ 12321 h 16250"/>
                <a:gd name="connsiteX2" fmla="*/ 979 w 7826"/>
                <a:gd name="connsiteY2" fmla="*/ 6429 h 16250"/>
                <a:gd name="connsiteX3" fmla="*/ 2500 w 7826"/>
                <a:gd name="connsiteY3" fmla="*/ 0 h 16250"/>
                <a:gd name="connsiteX4" fmla="*/ 5544 w 7826"/>
                <a:gd name="connsiteY4" fmla="*/ 357 h 16250"/>
                <a:gd name="connsiteX5" fmla="*/ 7826 w 7826"/>
                <a:gd name="connsiteY5" fmla="*/ 12679 h 16250"/>
                <a:gd name="connsiteX6" fmla="*/ 5870 w 7826"/>
                <a:gd name="connsiteY6" fmla="*/ 13750 h 16250"/>
                <a:gd name="connsiteX7" fmla="*/ 3261 w 7826"/>
                <a:gd name="connsiteY7" fmla="*/ 16250 h 16250"/>
                <a:gd name="connsiteX8" fmla="*/ 2826 w 7826"/>
                <a:gd name="connsiteY8" fmla="*/ 16250 h 16250"/>
                <a:gd name="connsiteX9" fmla="*/ 1739 w 7826"/>
                <a:gd name="connsiteY9" fmla="*/ 15536 h 16250"/>
                <a:gd name="connsiteX10" fmla="*/ 435 w 7826"/>
                <a:gd name="connsiteY10" fmla="*/ 14464 h 16250"/>
                <a:gd name="connsiteX11" fmla="*/ 0 w 7826"/>
                <a:gd name="connsiteY11" fmla="*/ 11607 h 16250"/>
                <a:gd name="connsiteX0" fmla="*/ 0 w 7501"/>
                <a:gd name="connsiteY0" fmla="*/ 7143 h 10000"/>
                <a:gd name="connsiteX1" fmla="*/ 833 w 7501"/>
                <a:gd name="connsiteY1" fmla="*/ 7582 h 10000"/>
                <a:gd name="connsiteX2" fmla="*/ 1251 w 7501"/>
                <a:gd name="connsiteY2" fmla="*/ 3956 h 10000"/>
                <a:gd name="connsiteX3" fmla="*/ 3194 w 7501"/>
                <a:gd name="connsiteY3" fmla="*/ 0 h 10000"/>
                <a:gd name="connsiteX4" fmla="*/ 7084 w 7501"/>
                <a:gd name="connsiteY4" fmla="*/ 220 h 10000"/>
                <a:gd name="connsiteX5" fmla="*/ 7501 w 7501"/>
                <a:gd name="connsiteY5" fmla="*/ 8462 h 10000"/>
                <a:gd name="connsiteX6" fmla="*/ 4167 w 7501"/>
                <a:gd name="connsiteY6" fmla="*/ 10000 h 10000"/>
                <a:gd name="connsiteX7" fmla="*/ 3611 w 7501"/>
                <a:gd name="connsiteY7" fmla="*/ 10000 h 10000"/>
                <a:gd name="connsiteX8" fmla="*/ 2222 w 7501"/>
                <a:gd name="connsiteY8" fmla="*/ 9561 h 10000"/>
                <a:gd name="connsiteX9" fmla="*/ 556 w 7501"/>
                <a:gd name="connsiteY9" fmla="*/ 8901 h 10000"/>
                <a:gd name="connsiteX10" fmla="*/ 0 w 7501"/>
                <a:gd name="connsiteY10" fmla="*/ 7143 h 10000"/>
                <a:gd name="connsiteX0" fmla="*/ 0 w 10000"/>
                <a:gd name="connsiteY0" fmla="*/ 7143 h 10000"/>
                <a:gd name="connsiteX1" fmla="*/ 1111 w 10000"/>
                <a:gd name="connsiteY1" fmla="*/ 7582 h 10000"/>
                <a:gd name="connsiteX2" fmla="*/ 1668 w 10000"/>
                <a:gd name="connsiteY2" fmla="*/ 3956 h 10000"/>
                <a:gd name="connsiteX3" fmla="*/ 4258 w 10000"/>
                <a:gd name="connsiteY3" fmla="*/ 0 h 10000"/>
                <a:gd name="connsiteX4" fmla="*/ 9444 w 10000"/>
                <a:gd name="connsiteY4" fmla="*/ 220 h 10000"/>
                <a:gd name="connsiteX5" fmla="*/ 10000 w 10000"/>
                <a:gd name="connsiteY5" fmla="*/ 8462 h 10000"/>
                <a:gd name="connsiteX6" fmla="*/ 5555 w 10000"/>
                <a:gd name="connsiteY6" fmla="*/ 10000 h 10000"/>
                <a:gd name="connsiteX7" fmla="*/ 4814 w 10000"/>
                <a:gd name="connsiteY7" fmla="*/ 10000 h 10000"/>
                <a:gd name="connsiteX8" fmla="*/ 741 w 10000"/>
                <a:gd name="connsiteY8" fmla="*/ 8901 h 10000"/>
                <a:gd name="connsiteX9" fmla="*/ 0 w 10000"/>
                <a:gd name="connsiteY9" fmla="*/ 7143 h 10000"/>
                <a:gd name="connsiteX0" fmla="*/ 0 w 10000"/>
                <a:gd name="connsiteY0" fmla="*/ 7143 h 10000"/>
                <a:gd name="connsiteX1" fmla="*/ 1111 w 10000"/>
                <a:gd name="connsiteY1" fmla="*/ 7582 h 10000"/>
                <a:gd name="connsiteX2" fmla="*/ 1668 w 10000"/>
                <a:gd name="connsiteY2" fmla="*/ 3956 h 10000"/>
                <a:gd name="connsiteX3" fmla="*/ 4258 w 10000"/>
                <a:gd name="connsiteY3" fmla="*/ 0 h 10000"/>
                <a:gd name="connsiteX4" fmla="*/ 9444 w 10000"/>
                <a:gd name="connsiteY4" fmla="*/ 220 h 10000"/>
                <a:gd name="connsiteX5" fmla="*/ 10000 w 10000"/>
                <a:gd name="connsiteY5" fmla="*/ 8462 h 10000"/>
                <a:gd name="connsiteX6" fmla="*/ 5555 w 10000"/>
                <a:gd name="connsiteY6" fmla="*/ 10000 h 10000"/>
                <a:gd name="connsiteX7" fmla="*/ 4814 w 10000"/>
                <a:gd name="connsiteY7" fmla="*/ 10000 h 10000"/>
                <a:gd name="connsiteX8" fmla="*/ 0 w 10000"/>
                <a:gd name="connsiteY8" fmla="*/ 7143 h 10000"/>
                <a:gd name="connsiteX0" fmla="*/ 0 w 10000"/>
                <a:gd name="connsiteY0" fmla="*/ 7143 h 10000"/>
                <a:gd name="connsiteX1" fmla="*/ 1111 w 10000"/>
                <a:gd name="connsiteY1" fmla="*/ 7582 h 10000"/>
                <a:gd name="connsiteX2" fmla="*/ 1668 w 10000"/>
                <a:gd name="connsiteY2" fmla="*/ 3956 h 10000"/>
                <a:gd name="connsiteX3" fmla="*/ 4258 w 10000"/>
                <a:gd name="connsiteY3" fmla="*/ 0 h 10000"/>
                <a:gd name="connsiteX4" fmla="*/ 9444 w 10000"/>
                <a:gd name="connsiteY4" fmla="*/ 220 h 10000"/>
                <a:gd name="connsiteX5" fmla="*/ 10000 w 10000"/>
                <a:gd name="connsiteY5" fmla="*/ 8462 h 10000"/>
                <a:gd name="connsiteX6" fmla="*/ 5555 w 10000"/>
                <a:gd name="connsiteY6" fmla="*/ 10000 h 10000"/>
                <a:gd name="connsiteX7" fmla="*/ 0 w 10000"/>
                <a:gd name="connsiteY7" fmla="*/ 7143 h 10000"/>
                <a:gd name="connsiteX0" fmla="*/ 4444 w 8889"/>
                <a:gd name="connsiteY0" fmla="*/ 10000 h 10000"/>
                <a:gd name="connsiteX1" fmla="*/ 0 w 8889"/>
                <a:gd name="connsiteY1" fmla="*/ 7582 h 10000"/>
                <a:gd name="connsiteX2" fmla="*/ 557 w 8889"/>
                <a:gd name="connsiteY2" fmla="*/ 3956 h 10000"/>
                <a:gd name="connsiteX3" fmla="*/ 3147 w 8889"/>
                <a:gd name="connsiteY3" fmla="*/ 0 h 10000"/>
                <a:gd name="connsiteX4" fmla="*/ 8333 w 8889"/>
                <a:gd name="connsiteY4" fmla="*/ 220 h 10000"/>
                <a:gd name="connsiteX5" fmla="*/ 8889 w 8889"/>
                <a:gd name="connsiteY5" fmla="*/ 8462 h 10000"/>
                <a:gd name="connsiteX6" fmla="*/ 4444 w 8889"/>
                <a:gd name="connsiteY6" fmla="*/ 10000 h 10000"/>
                <a:gd name="connsiteX0" fmla="*/ 8124 w 13125"/>
                <a:gd name="connsiteY0" fmla="*/ 10000 h 10000"/>
                <a:gd name="connsiteX1" fmla="*/ 0 w 13125"/>
                <a:gd name="connsiteY1" fmla="*/ 7582 h 10000"/>
                <a:gd name="connsiteX2" fmla="*/ 3752 w 13125"/>
                <a:gd name="connsiteY2" fmla="*/ 3956 h 10000"/>
                <a:gd name="connsiteX3" fmla="*/ 6665 w 13125"/>
                <a:gd name="connsiteY3" fmla="*/ 0 h 10000"/>
                <a:gd name="connsiteX4" fmla="*/ 12500 w 13125"/>
                <a:gd name="connsiteY4" fmla="*/ 220 h 10000"/>
                <a:gd name="connsiteX5" fmla="*/ 13125 w 13125"/>
                <a:gd name="connsiteY5" fmla="*/ 8462 h 10000"/>
                <a:gd name="connsiteX6" fmla="*/ 8124 w 13125"/>
                <a:gd name="connsiteY6" fmla="*/ 10000 h 10000"/>
                <a:gd name="connsiteX0" fmla="*/ 4999 w 13125"/>
                <a:gd name="connsiteY0" fmla="*/ 10000 h 10000"/>
                <a:gd name="connsiteX1" fmla="*/ 0 w 13125"/>
                <a:gd name="connsiteY1" fmla="*/ 7582 h 10000"/>
                <a:gd name="connsiteX2" fmla="*/ 3752 w 13125"/>
                <a:gd name="connsiteY2" fmla="*/ 3956 h 10000"/>
                <a:gd name="connsiteX3" fmla="*/ 6665 w 13125"/>
                <a:gd name="connsiteY3" fmla="*/ 0 h 10000"/>
                <a:gd name="connsiteX4" fmla="*/ 12500 w 13125"/>
                <a:gd name="connsiteY4" fmla="*/ 220 h 10000"/>
                <a:gd name="connsiteX5" fmla="*/ 13125 w 13125"/>
                <a:gd name="connsiteY5" fmla="*/ 8462 h 10000"/>
                <a:gd name="connsiteX6" fmla="*/ 4999 w 13125"/>
                <a:gd name="connsiteY6" fmla="*/ 10000 h 10000"/>
                <a:gd name="connsiteX0" fmla="*/ 3749 w 11875"/>
                <a:gd name="connsiteY0" fmla="*/ 10000 h 10000"/>
                <a:gd name="connsiteX1" fmla="*/ 0 w 11875"/>
                <a:gd name="connsiteY1" fmla="*/ 6263 h 10000"/>
                <a:gd name="connsiteX2" fmla="*/ 2502 w 11875"/>
                <a:gd name="connsiteY2" fmla="*/ 3956 h 10000"/>
                <a:gd name="connsiteX3" fmla="*/ 5415 w 11875"/>
                <a:gd name="connsiteY3" fmla="*/ 0 h 10000"/>
                <a:gd name="connsiteX4" fmla="*/ 11250 w 11875"/>
                <a:gd name="connsiteY4" fmla="*/ 220 h 10000"/>
                <a:gd name="connsiteX5" fmla="*/ 11875 w 11875"/>
                <a:gd name="connsiteY5" fmla="*/ 8462 h 10000"/>
                <a:gd name="connsiteX6" fmla="*/ 3749 w 11875"/>
                <a:gd name="connsiteY6" fmla="*/ 10000 h 10000"/>
                <a:gd name="connsiteX0" fmla="*/ 2499 w 11875"/>
                <a:gd name="connsiteY0" fmla="*/ 8022 h 8462"/>
                <a:gd name="connsiteX1" fmla="*/ 0 w 11875"/>
                <a:gd name="connsiteY1" fmla="*/ 6263 h 8462"/>
                <a:gd name="connsiteX2" fmla="*/ 2502 w 11875"/>
                <a:gd name="connsiteY2" fmla="*/ 3956 h 8462"/>
                <a:gd name="connsiteX3" fmla="*/ 5415 w 11875"/>
                <a:gd name="connsiteY3" fmla="*/ 0 h 8462"/>
                <a:gd name="connsiteX4" fmla="*/ 11250 w 11875"/>
                <a:gd name="connsiteY4" fmla="*/ 220 h 8462"/>
                <a:gd name="connsiteX5" fmla="*/ 11875 w 11875"/>
                <a:gd name="connsiteY5" fmla="*/ 8462 h 8462"/>
                <a:gd name="connsiteX6" fmla="*/ 2499 w 11875"/>
                <a:gd name="connsiteY6" fmla="*/ 8022 h 8462"/>
                <a:gd name="connsiteX0" fmla="*/ 2104 w 9497"/>
                <a:gd name="connsiteY0" fmla="*/ 9480 h 9480"/>
                <a:gd name="connsiteX1" fmla="*/ 0 w 9497"/>
                <a:gd name="connsiteY1" fmla="*/ 7401 h 9480"/>
                <a:gd name="connsiteX2" fmla="*/ 2107 w 9497"/>
                <a:gd name="connsiteY2" fmla="*/ 4675 h 9480"/>
                <a:gd name="connsiteX3" fmla="*/ 4560 w 9497"/>
                <a:gd name="connsiteY3" fmla="*/ 0 h 9480"/>
                <a:gd name="connsiteX4" fmla="*/ 9474 w 9497"/>
                <a:gd name="connsiteY4" fmla="*/ 260 h 9480"/>
                <a:gd name="connsiteX5" fmla="*/ 8948 w 9497"/>
                <a:gd name="connsiteY5" fmla="*/ 4546 h 9480"/>
                <a:gd name="connsiteX6" fmla="*/ 2104 w 9497"/>
                <a:gd name="connsiteY6" fmla="*/ 9480 h 9480"/>
                <a:gd name="connsiteX0" fmla="*/ 2215 w 10000"/>
                <a:gd name="connsiteY0" fmla="*/ 12603 h 12603"/>
                <a:gd name="connsiteX1" fmla="*/ 0 w 10000"/>
                <a:gd name="connsiteY1" fmla="*/ 10410 h 12603"/>
                <a:gd name="connsiteX2" fmla="*/ 2219 w 10000"/>
                <a:gd name="connsiteY2" fmla="*/ 7534 h 12603"/>
                <a:gd name="connsiteX3" fmla="*/ 4802 w 10000"/>
                <a:gd name="connsiteY3" fmla="*/ 2603 h 12603"/>
                <a:gd name="connsiteX4" fmla="*/ 9976 w 10000"/>
                <a:gd name="connsiteY4" fmla="*/ 0 h 12603"/>
                <a:gd name="connsiteX5" fmla="*/ 9422 w 10000"/>
                <a:gd name="connsiteY5" fmla="*/ 7398 h 12603"/>
                <a:gd name="connsiteX6" fmla="*/ 2215 w 10000"/>
                <a:gd name="connsiteY6" fmla="*/ 12603 h 12603"/>
                <a:gd name="connsiteX0" fmla="*/ 2215 w 11095"/>
                <a:gd name="connsiteY0" fmla="*/ 10137 h 10137"/>
                <a:gd name="connsiteX1" fmla="*/ 0 w 11095"/>
                <a:gd name="connsiteY1" fmla="*/ 7944 h 10137"/>
                <a:gd name="connsiteX2" fmla="*/ 2219 w 11095"/>
                <a:gd name="connsiteY2" fmla="*/ 5068 h 10137"/>
                <a:gd name="connsiteX3" fmla="*/ 4802 w 11095"/>
                <a:gd name="connsiteY3" fmla="*/ 137 h 10137"/>
                <a:gd name="connsiteX4" fmla="*/ 11084 w 11095"/>
                <a:gd name="connsiteY4" fmla="*/ 0 h 10137"/>
                <a:gd name="connsiteX5" fmla="*/ 9422 w 11095"/>
                <a:gd name="connsiteY5" fmla="*/ 4932 h 10137"/>
                <a:gd name="connsiteX6" fmla="*/ 2215 w 11095"/>
                <a:gd name="connsiteY6" fmla="*/ 10137 h 10137"/>
                <a:gd name="connsiteX0" fmla="*/ 2215 w 11095"/>
                <a:gd name="connsiteY0" fmla="*/ 10137 h 10137"/>
                <a:gd name="connsiteX1" fmla="*/ 0 w 11095"/>
                <a:gd name="connsiteY1" fmla="*/ 7944 h 10137"/>
                <a:gd name="connsiteX2" fmla="*/ 2219 w 11095"/>
                <a:gd name="connsiteY2" fmla="*/ 5068 h 10137"/>
                <a:gd name="connsiteX3" fmla="*/ 1609 w 11095"/>
                <a:gd name="connsiteY3" fmla="*/ 4912 h 10137"/>
                <a:gd name="connsiteX4" fmla="*/ 4802 w 11095"/>
                <a:gd name="connsiteY4" fmla="*/ 137 h 10137"/>
                <a:gd name="connsiteX5" fmla="*/ 11084 w 11095"/>
                <a:gd name="connsiteY5" fmla="*/ 0 h 10137"/>
                <a:gd name="connsiteX6" fmla="*/ 9422 w 11095"/>
                <a:gd name="connsiteY6" fmla="*/ 4932 h 10137"/>
                <a:gd name="connsiteX7" fmla="*/ 2215 w 11095"/>
                <a:gd name="connsiteY7" fmla="*/ 10137 h 10137"/>
                <a:gd name="connsiteX0" fmla="*/ 2215 w 11095"/>
                <a:gd name="connsiteY0" fmla="*/ 13288 h 13288"/>
                <a:gd name="connsiteX1" fmla="*/ 0 w 11095"/>
                <a:gd name="connsiteY1" fmla="*/ 11095 h 13288"/>
                <a:gd name="connsiteX2" fmla="*/ 2219 w 11095"/>
                <a:gd name="connsiteY2" fmla="*/ 8219 h 13288"/>
                <a:gd name="connsiteX3" fmla="*/ 1609 w 11095"/>
                <a:gd name="connsiteY3" fmla="*/ 8063 h 13288"/>
                <a:gd name="connsiteX4" fmla="*/ 4802 w 11095"/>
                <a:gd name="connsiteY4" fmla="*/ 0 h 13288"/>
                <a:gd name="connsiteX5" fmla="*/ 11084 w 11095"/>
                <a:gd name="connsiteY5" fmla="*/ 3151 h 13288"/>
                <a:gd name="connsiteX6" fmla="*/ 9422 w 11095"/>
                <a:gd name="connsiteY6" fmla="*/ 8083 h 13288"/>
                <a:gd name="connsiteX7" fmla="*/ 2215 w 11095"/>
                <a:gd name="connsiteY7" fmla="*/ 13288 h 13288"/>
                <a:gd name="connsiteX0" fmla="*/ 2215 w 11090"/>
                <a:gd name="connsiteY0" fmla="*/ 13288 h 13288"/>
                <a:gd name="connsiteX1" fmla="*/ 0 w 11090"/>
                <a:gd name="connsiteY1" fmla="*/ 11095 h 13288"/>
                <a:gd name="connsiteX2" fmla="*/ 2219 w 11090"/>
                <a:gd name="connsiteY2" fmla="*/ 8219 h 13288"/>
                <a:gd name="connsiteX3" fmla="*/ 1609 w 11090"/>
                <a:gd name="connsiteY3" fmla="*/ 8063 h 13288"/>
                <a:gd name="connsiteX4" fmla="*/ 4802 w 11090"/>
                <a:gd name="connsiteY4" fmla="*/ 0 h 13288"/>
                <a:gd name="connsiteX5" fmla="*/ 11084 w 11090"/>
                <a:gd name="connsiteY5" fmla="*/ 3151 h 13288"/>
                <a:gd name="connsiteX6" fmla="*/ 7760 w 11090"/>
                <a:gd name="connsiteY6" fmla="*/ 5617 h 13288"/>
                <a:gd name="connsiteX7" fmla="*/ 2215 w 11090"/>
                <a:gd name="connsiteY7" fmla="*/ 13288 h 13288"/>
                <a:gd name="connsiteX0" fmla="*/ 2215 w 11147"/>
                <a:gd name="connsiteY0" fmla="*/ 13288 h 13288"/>
                <a:gd name="connsiteX1" fmla="*/ 0 w 11147"/>
                <a:gd name="connsiteY1" fmla="*/ 11095 h 13288"/>
                <a:gd name="connsiteX2" fmla="*/ 2219 w 11147"/>
                <a:gd name="connsiteY2" fmla="*/ 8219 h 13288"/>
                <a:gd name="connsiteX3" fmla="*/ 1609 w 11147"/>
                <a:gd name="connsiteY3" fmla="*/ 8063 h 13288"/>
                <a:gd name="connsiteX4" fmla="*/ 4802 w 11147"/>
                <a:gd name="connsiteY4" fmla="*/ 0 h 13288"/>
                <a:gd name="connsiteX5" fmla="*/ 11084 w 11147"/>
                <a:gd name="connsiteY5" fmla="*/ 3151 h 13288"/>
                <a:gd name="connsiteX6" fmla="*/ 7760 w 11147"/>
                <a:gd name="connsiteY6" fmla="*/ 5617 h 13288"/>
                <a:gd name="connsiteX7" fmla="*/ 2215 w 11147"/>
                <a:gd name="connsiteY7" fmla="*/ 13288 h 13288"/>
                <a:gd name="connsiteX0" fmla="*/ 4432 w 11143"/>
                <a:gd name="connsiteY0" fmla="*/ 4247 h 11095"/>
                <a:gd name="connsiteX1" fmla="*/ 0 w 11143"/>
                <a:gd name="connsiteY1" fmla="*/ 11095 h 11095"/>
                <a:gd name="connsiteX2" fmla="*/ 2219 w 11143"/>
                <a:gd name="connsiteY2" fmla="*/ 8219 h 11095"/>
                <a:gd name="connsiteX3" fmla="*/ 1609 w 11143"/>
                <a:gd name="connsiteY3" fmla="*/ 8063 h 11095"/>
                <a:gd name="connsiteX4" fmla="*/ 4802 w 11143"/>
                <a:gd name="connsiteY4" fmla="*/ 0 h 11095"/>
                <a:gd name="connsiteX5" fmla="*/ 11084 w 11143"/>
                <a:gd name="connsiteY5" fmla="*/ 3151 h 11095"/>
                <a:gd name="connsiteX6" fmla="*/ 7760 w 11143"/>
                <a:gd name="connsiteY6" fmla="*/ 5617 h 11095"/>
                <a:gd name="connsiteX7" fmla="*/ 4432 w 11143"/>
                <a:gd name="connsiteY7" fmla="*/ 4247 h 11095"/>
                <a:gd name="connsiteX0" fmla="*/ 5121 w 11832"/>
                <a:gd name="connsiteY0" fmla="*/ 4247 h 11095"/>
                <a:gd name="connsiteX1" fmla="*/ 689 w 11832"/>
                <a:gd name="connsiteY1" fmla="*/ 11095 h 11095"/>
                <a:gd name="connsiteX2" fmla="*/ 2908 w 11832"/>
                <a:gd name="connsiteY2" fmla="*/ 8219 h 11095"/>
                <a:gd name="connsiteX3" fmla="*/ 82 w 11832"/>
                <a:gd name="connsiteY3" fmla="*/ 3953 h 11095"/>
                <a:gd name="connsiteX4" fmla="*/ 5491 w 11832"/>
                <a:gd name="connsiteY4" fmla="*/ 0 h 11095"/>
                <a:gd name="connsiteX5" fmla="*/ 11773 w 11832"/>
                <a:gd name="connsiteY5" fmla="*/ 3151 h 11095"/>
                <a:gd name="connsiteX6" fmla="*/ 8449 w 11832"/>
                <a:gd name="connsiteY6" fmla="*/ 5617 h 11095"/>
                <a:gd name="connsiteX7" fmla="*/ 5121 w 11832"/>
                <a:gd name="connsiteY7" fmla="*/ 4247 h 11095"/>
                <a:gd name="connsiteX0" fmla="*/ 5121 w 11832"/>
                <a:gd name="connsiteY0" fmla="*/ 4247 h 8219"/>
                <a:gd name="connsiteX1" fmla="*/ 2908 w 11832"/>
                <a:gd name="connsiteY1" fmla="*/ 8219 h 8219"/>
                <a:gd name="connsiteX2" fmla="*/ 82 w 11832"/>
                <a:gd name="connsiteY2" fmla="*/ 3953 h 8219"/>
                <a:gd name="connsiteX3" fmla="*/ 5491 w 11832"/>
                <a:gd name="connsiteY3" fmla="*/ 0 h 8219"/>
                <a:gd name="connsiteX4" fmla="*/ 11773 w 11832"/>
                <a:gd name="connsiteY4" fmla="*/ 3151 h 8219"/>
                <a:gd name="connsiteX5" fmla="*/ 8449 w 11832"/>
                <a:gd name="connsiteY5" fmla="*/ 5617 h 8219"/>
                <a:gd name="connsiteX6" fmla="*/ 5121 w 11832"/>
                <a:gd name="connsiteY6" fmla="*/ 4247 h 8219"/>
                <a:gd name="connsiteX0" fmla="*/ 4259 w 9931"/>
                <a:gd name="connsiteY0" fmla="*/ 5167 h 6858"/>
                <a:gd name="connsiteX1" fmla="*/ 0 w 9931"/>
                <a:gd name="connsiteY1" fmla="*/ 4810 h 6858"/>
                <a:gd name="connsiteX2" fmla="*/ 4572 w 9931"/>
                <a:gd name="connsiteY2" fmla="*/ 0 h 6858"/>
                <a:gd name="connsiteX3" fmla="*/ 9881 w 9931"/>
                <a:gd name="connsiteY3" fmla="*/ 3834 h 6858"/>
                <a:gd name="connsiteX4" fmla="*/ 7072 w 9931"/>
                <a:gd name="connsiteY4" fmla="*/ 6834 h 6858"/>
                <a:gd name="connsiteX5" fmla="*/ 4259 w 9931"/>
                <a:gd name="connsiteY5" fmla="*/ 5167 h 6858"/>
                <a:gd name="connsiteX0" fmla="*/ 4289 w 10000"/>
                <a:gd name="connsiteY0" fmla="*/ 9721 h 12188"/>
                <a:gd name="connsiteX1" fmla="*/ 0 w 10000"/>
                <a:gd name="connsiteY1" fmla="*/ 9201 h 12188"/>
                <a:gd name="connsiteX2" fmla="*/ 1774 w 10000"/>
                <a:gd name="connsiteY2" fmla="*/ 0 h 12188"/>
                <a:gd name="connsiteX3" fmla="*/ 9950 w 10000"/>
                <a:gd name="connsiteY3" fmla="*/ 7778 h 12188"/>
                <a:gd name="connsiteX4" fmla="*/ 7121 w 10000"/>
                <a:gd name="connsiteY4" fmla="*/ 12152 h 12188"/>
                <a:gd name="connsiteX5" fmla="*/ 4289 w 10000"/>
                <a:gd name="connsiteY5" fmla="*/ 9721 h 12188"/>
                <a:gd name="connsiteX0" fmla="*/ 1931 w 10009"/>
                <a:gd name="connsiteY0" fmla="*/ 11908 h 12600"/>
                <a:gd name="connsiteX1" fmla="*/ 0 w 10009"/>
                <a:gd name="connsiteY1" fmla="*/ 9201 h 12600"/>
                <a:gd name="connsiteX2" fmla="*/ 1774 w 10009"/>
                <a:gd name="connsiteY2" fmla="*/ 0 h 12600"/>
                <a:gd name="connsiteX3" fmla="*/ 9950 w 10009"/>
                <a:gd name="connsiteY3" fmla="*/ 7778 h 12600"/>
                <a:gd name="connsiteX4" fmla="*/ 7121 w 10009"/>
                <a:gd name="connsiteY4" fmla="*/ 12152 h 12600"/>
                <a:gd name="connsiteX5" fmla="*/ 1931 w 10009"/>
                <a:gd name="connsiteY5" fmla="*/ 11908 h 12600"/>
                <a:gd name="connsiteX0" fmla="*/ 1931 w 9549"/>
                <a:gd name="connsiteY0" fmla="*/ 11908 h 12502"/>
                <a:gd name="connsiteX1" fmla="*/ 0 w 9549"/>
                <a:gd name="connsiteY1" fmla="*/ 9201 h 12502"/>
                <a:gd name="connsiteX2" fmla="*/ 1774 w 9549"/>
                <a:gd name="connsiteY2" fmla="*/ 0 h 12502"/>
                <a:gd name="connsiteX3" fmla="*/ 9478 w 9549"/>
                <a:gd name="connsiteY3" fmla="*/ 9236 h 12502"/>
                <a:gd name="connsiteX4" fmla="*/ 7121 w 9549"/>
                <a:gd name="connsiteY4" fmla="*/ 12152 h 12502"/>
                <a:gd name="connsiteX5" fmla="*/ 1931 w 9549"/>
                <a:gd name="connsiteY5" fmla="*/ 11908 h 12502"/>
                <a:gd name="connsiteX0" fmla="*/ 2022 w 10977"/>
                <a:gd name="connsiteY0" fmla="*/ 9525 h 13824"/>
                <a:gd name="connsiteX1" fmla="*/ 0 w 10977"/>
                <a:gd name="connsiteY1" fmla="*/ 7360 h 13824"/>
                <a:gd name="connsiteX2" fmla="*/ 1858 w 10977"/>
                <a:gd name="connsiteY2" fmla="*/ 0 h 13824"/>
                <a:gd name="connsiteX3" fmla="*/ 9926 w 10977"/>
                <a:gd name="connsiteY3" fmla="*/ 7388 h 13824"/>
                <a:gd name="connsiteX4" fmla="*/ 10420 w 10977"/>
                <a:gd name="connsiteY4" fmla="*/ 13802 h 13824"/>
                <a:gd name="connsiteX5" fmla="*/ 2022 w 10977"/>
                <a:gd name="connsiteY5" fmla="*/ 9525 h 13824"/>
                <a:gd name="connsiteX0" fmla="*/ 5479 w 10723"/>
                <a:gd name="connsiteY0" fmla="*/ 15357 h 15575"/>
                <a:gd name="connsiteX1" fmla="*/ 0 w 10723"/>
                <a:gd name="connsiteY1" fmla="*/ 7360 h 15575"/>
                <a:gd name="connsiteX2" fmla="*/ 1858 w 10723"/>
                <a:gd name="connsiteY2" fmla="*/ 0 h 15575"/>
                <a:gd name="connsiteX3" fmla="*/ 9926 w 10723"/>
                <a:gd name="connsiteY3" fmla="*/ 7388 h 15575"/>
                <a:gd name="connsiteX4" fmla="*/ 10420 w 10723"/>
                <a:gd name="connsiteY4" fmla="*/ 13802 h 15575"/>
                <a:gd name="connsiteX5" fmla="*/ 5479 w 10723"/>
                <a:gd name="connsiteY5" fmla="*/ 15357 h 15575"/>
                <a:gd name="connsiteX0" fmla="*/ 5479 w 10723"/>
                <a:gd name="connsiteY0" fmla="*/ 15357 h 15575"/>
                <a:gd name="connsiteX1" fmla="*/ 4445 w 10723"/>
                <a:gd name="connsiteY1" fmla="*/ 9692 h 15575"/>
                <a:gd name="connsiteX2" fmla="*/ 0 w 10723"/>
                <a:gd name="connsiteY2" fmla="*/ 7360 h 15575"/>
                <a:gd name="connsiteX3" fmla="*/ 1858 w 10723"/>
                <a:gd name="connsiteY3" fmla="*/ 0 h 15575"/>
                <a:gd name="connsiteX4" fmla="*/ 9926 w 10723"/>
                <a:gd name="connsiteY4" fmla="*/ 7388 h 15575"/>
                <a:gd name="connsiteX5" fmla="*/ 10420 w 10723"/>
                <a:gd name="connsiteY5" fmla="*/ 13802 h 15575"/>
                <a:gd name="connsiteX6" fmla="*/ 5479 w 10723"/>
                <a:gd name="connsiteY6" fmla="*/ 15357 h 15575"/>
                <a:gd name="connsiteX0" fmla="*/ 5479 w 10723"/>
                <a:gd name="connsiteY0" fmla="*/ 12441 h 12659"/>
                <a:gd name="connsiteX1" fmla="*/ 4445 w 10723"/>
                <a:gd name="connsiteY1" fmla="*/ 6776 h 12659"/>
                <a:gd name="connsiteX2" fmla="*/ 0 w 10723"/>
                <a:gd name="connsiteY2" fmla="*/ 4444 h 12659"/>
                <a:gd name="connsiteX3" fmla="*/ 4327 w 10723"/>
                <a:gd name="connsiteY3" fmla="*/ 0 h 12659"/>
                <a:gd name="connsiteX4" fmla="*/ 9926 w 10723"/>
                <a:gd name="connsiteY4" fmla="*/ 4472 h 12659"/>
                <a:gd name="connsiteX5" fmla="*/ 10420 w 10723"/>
                <a:gd name="connsiteY5" fmla="*/ 10886 h 12659"/>
                <a:gd name="connsiteX6" fmla="*/ 5479 w 10723"/>
                <a:gd name="connsiteY6" fmla="*/ 12441 h 12659"/>
                <a:gd name="connsiteX0" fmla="*/ 5479 w 10612"/>
                <a:gd name="connsiteY0" fmla="*/ 12441 h 12700"/>
                <a:gd name="connsiteX1" fmla="*/ 4445 w 10612"/>
                <a:gd name="connsiteY1" fmla="*/ 6776 h 12700"/>
                <a:gd name="connsiteX2" fmla="*/ 0 w 10612"/>
                <a:gd name="connsiteY2" fmla="*/ 4444 h 12700"/>
                <a:gd name="connsiteX3" fmla="*/ 4327 w 10612"/>
                <a:gd name="connsiteY3" fmla="*/ 0 h 12700"/>
                <a:gd name="connsiteX4" fmla="*/ 9432 w 10612"/>
                <a:gd name="connsiteY4" fmla="*/ 2723 h 12700"/>
                <a:gd name="connsiteX5" fmla="*/ 10420 w 10612"/>
                <a:gd name="connsiteY5" fmla="*/ 10886 h 12700"/>
                <a:gd name="connsiteX6" fmla="*/ 5479 w 10612"/>
                <a:gd name="connsiteY6" fmla="*/ 12441 h 12700"/>
                <a:gd name="connsiteX0" fmla="*/ 5479 w 10420"/>
                <a:gd name="connsiteY0" fmla="*/ 12441 h 12700"/>
                <a:gd name="connsiteX1" fmla="*/ 4445 w 10420"/>
                <a:gd name="connsiteY1" fmla="*/ 6776 h 12700"/>
                <a:gd name="connsiteX2" fmla="*/ 0 w 10420"/>
                <a:gd name="connsiteY2" fmla="*/ 4444 h 12700"/>
                <a:gd name="connsiteX3" fmla="*/ 4327 w 10420"/>
                <a:gd name="connsiteY3" fmla="*/ 0 h 12700"/>
                <a:gd name="connsiteX4" fmla="*/ 9432 w 10420"/>
                <a:gd name="connsiteY4" fmla="*/ 2723 h 12700"/>
                <a:gd name="connsiteX5" fmla="*/ 10420 w 10420"/>
                <a:gd name="connsiteY5" fmla="*/ 10886 h 12700"/>
                <a:gd name="connsiteX6" fmla="*/ 5479 w 10420"/>
                <a:gd name="connsiteY6" fmla="*/ 12441 h 12700"/>
                <a:gd name="connsiteX0" fmla="*/ 5479 w 10420"/>
                <a:gd name="connsiteY0" fmla="*/ 12441 h 12441"/>
                <a:gd name="connsiteX1" fmla="*/ 4445 w 10420"/>
                <a:gd name="connsiteY1" fmla="*/ 6776 h 12441"/>
                <a:gd name="connsiteX2" fmla="*/ 0 w 10420"/>
                <a:gd name="connsiteY2" fmla="*/ 4444 h 12441"/>
                <a:gd name="connsiteX3" fmla="*/ 4327 w 10420"/>
                <a:gd name="connsiteY3" fmla="*/ 0 h 12441"/>
                <a:gd name="connsiteX4" fmla="*/ 9432 w 10420"/>
                <a:gd name="connsiteY4" fmla="*/ 2723 h 12441"/>
                <a:gd name="connsiteX5" fmla="*/ 10420 w 10420"/>
                <a:gd name="connsiteY5" fmla="*/ 10886 h 12441"/>
                <a:gd name="connsiteX6" fmla="*/ 5479 w 10420"/>
                <a:gd name="connsiteY6" fmla="*/ 12441 h 12441"/>
                <a:gd name="connsiteX0" fmla="*/ 5479 w 10420"/>
                <a:gd name="connsiteY0" fmla="*/ 12441 h 12441"/>
                <a:gd name="connsiteX1" fmla="*/ 4445 w 10420"/>
                <a:gd name="connsiteY1" fmla="*/ 6776 h 12441"/>
                <a:gd name="connsiteX2" fmla="*/ 0 w 10420"/>
                <a:gd name="connsiteY2" fmla="*/ 4444 h 12441"/>
                <a:gd name="connsiteX3" fmla="*/ 4327 w 10420"/>
                <a:gd name="connsiteY3" fmla="*/ 0 h 12441"/>
                <a:gd name="connsiteX4" fmla="*/ 9432 w 10420"/>
                <a:gd name="connsiteY4" fmla="*/ 2723 h 12441"/>
                <a:gd name="connsiteX5" fmla="*/ 10420 w 10420"/>
                <a:gd name="connsiteY5" fmla="*/ 10886 h 12441"/>
                <a:gd name="connsiteX6" fmla="*/ 5479 w 10420"/>
                <a:gd name="connsiteY6" fmla="*/ 12441 h 12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20" h="12441">
                  <a:moveTo>
                    <a:pt x="5479" y="12441"/>
                  </a:moveTo>
                  <a:lnTo>
                    <a:pt x="4445" y="6776"/>
                  </a:lnTo>
                  <a:lnTo>
                    <a:pt x="0" y="4444"/>
                  </a:lnTo>
                  <a:lnTo>
                    <a:pt x="4327" y="0"/>
                  </a:lnTo>
                  <a:lnTo>
                    <a:pt x="9432" y="2723"/>
                  </a:lnTo>
                  <a:lnTo>
                    <a:pt x="10420" y="10886"/>
                  </a:lnTo>
                  <a:lnTo>
                    <a:pt x="5479" y="12441"/>
                  </a:lnTo>
                  <a:close/>
                </a:path>
              </a:pathLst>
            </a:custGeom>
            <a:solidFill>
              <a:srgbClr val="00B9E4"/>
            </a:solidFill>
            <a:ln w="9525" cap="flat" cmpd="sng">
              <a:solidFill>
                <a:schemeClr val="bg1"/>
              </a:solidFill>
              <a:prstDash val="solid"/>
              <a:round/>
              <a:headEnd type="none" w="med" len="med"/>
              <a:tailEnd type="none" w="med" len="med"/>
            </a:ln>
            <a:effectLst/>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276" name="QA"/>
            <p:cNvSpPr>
              <a:spLocks/>
            </p:cNvSpPr>
            <p:nvPr/>
          </p:nvSpPr>
          <p:spPr bwMode="auto">
            <a:xfrm>
              <a:off x="5521802" y="3735006"/>
              <a:ext cx="22133" cy="49186"/>
            </a:xfrm>
            <a:custGeom>
              <a:avLst/>
              <a:gdLst>
                <a:gd name="T0" fmla="*/ 0 w 46"/>
                <a:gd name="T1" fmla="*/ 2147483647 h 28"/>
                <a:gd name="T2" fmla="*/ 2147483647 w 46"/>
                <a:gd name="T3" fmla="*/ 2147483647 h 28"/>
                <a:gd name="T4" fmla="*/ 2147483647 w 46"/>
                <a:gd name="T5" fmla="*/ 2147483647 h 28"/>
                <a:gd name="T6" fmla="*/ 2147483647 w 46"/>
                <a:gd name="T7" fmla="*/ 2147483647 h 28"/>
                <a:gd name="T8" fmla="*/ 2147483647 w 46"/>
                <a:gd name="T9" fmla="*/ 2147483647 h 28"/>
                <a:gd name="T10" fmla="*/ 2147483647 w 46"/>
                <a:gd name="T11" fmla="*/ 0 h 28"/>
                <a:gd name="T12" fmla="*/ 2147483647 w 46"/>
                <a:gd name="T13" fmla="*/ 2147483647 h 28"/>
                <a:gd name="T14" fmla="*/ 2147483647 w 46"/>
                <a:gd name="T15" fmla="*/ 2147483647 h 28"/>
                <a:gd name="T16" fmla="*/ 2147483647 w 46"/>
                <a:gd name="T17" fmla="*/ 2147483647 h 28"/>
                <a:gd name="T18" fmla="*/ 2147483647 w 46"/>
                <a:gd name="T19" fmla="*/ 2147483647 h 28"/>
                <a:gd name="T20" fmla="*/ 2147483647 w 46"/>
                <a:gd name="T21" fmla="*/ 2147483647 h 28"/>
                <a:gd name="T22" fmla="*/ 2147483647 w 46"/>
                <a:gd name="T23" fmla="*/ 2147483647 h 28"/>
                <a:gd name="T24" fmla="*/ 2147483647 w 46"/>
                <a:gd name="T25" fmla="*/ 2147483647 h 28"/>
                <a:gd name="T26" fmla="*/ 2147483647 w 46"/>
                <a:gd name="T27" fmla="*/ 2147483647 h 28"/>
                <a:gd name="T28" fmla="*/ 0 w 46"/>
                <a:gd name="T29" fmla="*/ 2147483647 h 2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connsiteX0" fmla="*/ 0 w 10000"/>
                <a:gd name="connsiteY0" fmla="*/ 5357 h 10000"/>
                <a:gd name="connsiteX1" fmla="*/ 652 w 10000"/>
                <a:gd name="connsiteY1" fmla="*/ 6071 h 10000"/>
                <a:gd name="connsiteX2" fmla="*/ 979 w 10000"/>
                <a:gd name="connsiteY2" fmla="*/ 179 h 10000"/>
                <a:gd name="connsiteX3" fmla="*/ 2826 w 10000"/>
                <a:gd name="connsiteY3" fmla="*/ 2857 h 10000"/>
                <a:gd name="connsiteX4" fmla="*/ 5870 w 10000"/>
                <a:gd name="connsiteY4" fmla="*/ 3214 h 10000"/>
                <a:gd name="connsiteX5" fmla="*/ 10000 w 10000"/>
                <a:gd name="connsiteY5" fmla="*/ 0 h 10000"/>
                <a:gd name="connsiteX6" fmla="*/ 10000 w 10000"/>
                <a:gd name="connsiteY6" fmla="*/ 357 h 10000"/>
                <a:gd name="connsiteX7" fmla="*/ 7174 w 10000"/>
                <a:gd name="connsiteY7" fmla="*/ 3929 h 10000"/>
                <a:gd name="connsiteX8" fmla="*/ 7826 w 10000"/>
                <a:gd name="connsiteY8" fmla="*/ 6429 h 10000"/>
                <a:gd name="connsiteX9" fmla="*/ 5870 w 10000"/>
                <a:gd name="connsiteY9" fmla="*/ 7500 h 10000"/>
                <a:gd name="connsiteX10" fmla="*/ 3261 w 10000"/>
                <a:gd name="connsiteY10" fmla="*/ 10000 h 10000"/>
                <a:gd name="connsiteX11" fmla="*/ 2826 w 10000"/>
                <a:gd name="connsiteY11" fmla="*/ 10000 h 10000"/>
                <a:gd name="connsiteX12" fmla="*/ 1739 w 10000"/>
                <a:gd name="connsiteY12" fmla="*/ 9286 h 10000"/>
                <a:gd name="connsiteX13" fmla="*/ 435 w 10000"/>
                <a:gd name="connsiteY13" fmla="*/ 8214 h 10000"/>
                <a:gd name="connsiteX14" fmla="*/ 0 w 10000"/>
                <a:gd name="connsiteY14" fmla="*/ 5357 h 10000"/>
                <a:gd name="connsiteX0" fmla="*/ 0 w 10000"/>
                <a:gd name="connsiteY0" fmla="*/ 11607 h 16250"/>
                <a:gd name="connsiteX1" fmla="*/ 652 w 10000"/>
                <a:gd name="connsiteY1" fmla="*/ 12321 h 16250"/>
                <a:gd name="connsiteX2" fmla="*/ 979 w 10000"/>
                <a:gd name="connsiteY2" fmla="*/ 6429 h 16250"/>
                <a:gd name="connsiteX3" fmla="*/ 2500 w 10000"/>
                <a:gd name="connsiteY3" fmla="*/ 0 h 16250"/>
                <a:gd name="connsiteX4" fmla="*/ 5870 w 10000"/>
                <a:gd name="connsiteY4" fmla="*/ 9464 h 16250"/>
                <a:gd name="connsiteX5" fmla="*/ 10000 w 10000"/>
                <a:gd name="connsiteY5" fmla="*/ 6250 h 16250"/>
                <a:gd name="connsiteX6" fmla="*/ 10000 w 10000"/>
                <a:gd name="connsiteY6" fmla="*/ 6607 h 16250"/>
                <a:gd name="connsiteX7" fmla="*/ 7174 w 10000"/>
                <a:gd name="connsiteY7" fmla="*/ 10179 h 16250"/>
                <a:gd name="connsiteX8" fmla="*/ 7826 w 10000"/>
                <a:gd name="connsiteY8" fmla="*/ 12679 h 16250"/>
                <a:gd name="connsiteX9" fmla="*/ 5870 w 10000"/>
                <a:gd name="connsiteY9" fmla="*/ 13750 h 16250"/>
                <a:gd name="connsiteX10" fmla="*/ 3261 w 10000"/>
                <a:gd name="connsiteY10" fmla="*/ 16250 h 16250"/>
                <a:gd name="connsiteX11" fmla="*/ 2826 w 10000"/>
                <a:gd name="connsiteY11" fmla="*/ 16250 h 16250"/>
                <a:gd name="connsiteX12" fmla="*/ 1739 w 10000"/>
                <a:gd name="connsiteY12" fmla="*/ 15536 h 16250"/>
                <a:gd name="connsiteX13" fmla="*/ 435 w 10000"/>
                <a:gd name="connsiteY13" fmla="*/ 14464 h 16250"/>
                <a:gd name="connsiteX14" fmla="*/ 0 w 10000"/>
                <a:gd name="connsiteY14" fmla="*/ 11607 h 16250"/>
                <a:gd name="connsiteX0" fmla="*/ 0 w 10000"/>
                <a:gd name="connsiteY0" fmla="*/ 11607 h 16250"/>
                <a:gd name="connsiteX1" fmla="*/ 652 w 10000"/>
                <a:gd name="connsiteY1" fmla="*/ 12321 h 16250"/>
                <a:gd name="connsiteX2" fmla="*/ 979 w 10000"/>
                <a:gd name="connsiteY2" fmla="*/ 6429 h 16250"/>
                <a:gd name="connsiteX3" fmla="*/ 2500 w 10000"/>
                <a:gd name="connsiteY3" fmla="*/ 0 h 16250"/>
                <a:gd name="connsiteX4" fmla="*/ 5544 w 10000"/>
                <a:gd name="connsiteY4" fmla="*/ 357 h 16250"/>
                <a:gd name="connsiteX5" fmla="*/ 10000 w 10000"/>
                <a:gd name="connsiteY5" fmla="*/ 6250 h 16250"/>
                <a:gd name="connsiteX6" fmla="*/ 10000 w 10000"/>
                <a:gd name="connsiteY6" fmla="*/ 6607 h 16250"/>
                <a:gd name="connsiteX7" fmla="*/ 7174 w 10000"/>
                <a:gd name="connsiteY7" fmla="*/ 10179 h 16250"/>
                <a:gd name="connsiteX8" fmla="*/ 7826 w 10000"/>
                <a:gd name="connsiteY8" fmla="*/ 12679 h 16250"/>
                <a:gd name="connsiteX9" fmla="*/ 5870 w 10000"/>
                <a:gd name="connsiteY9" fmla="*/ 13750 h 16250"/>
                <a:gd name="connsiteX10" fmla="*/ 3261 w 10000"/>
                <a:gd name="connsiteY10" fmla="*/ 16250 h 16250"/>
                <a:gd name="connsiteX11" fmla="*/ 2826 w 10000"/>
                <a:gd name="connsiteY11" fmla="*/ 16250 h 16250"/>
                <a:gd name="connsiteX12" fmla="*/ 1739 w 10000"/>
                <a:gd name="connsiteY12" fmla="*/ 15536 h 16250"/>
                <a:gd name="connsiteX13" fmla="*/ 435 w 10000"/>
                <a:gd name="connsiteY13" fmla="*/ 14464 h 16250"/>
                <a:gd name="connsiteX14" fmla="*/ 0 w 10000"/>
                <a:gd name="connsiteY14" fmla="*/ 11607 h 16250"/>
                <a:gd name="connsiteX0" fmla="*/ 0 w 10000"/>
                <a:gd name="connsiteY0" fmla="*/ 11607 h 16250"/>
                <a:gd name="connsiteX1" fmla="*/ 652 w 10000"/>
                <a:gd name="connsiteY1" fmla="*/ 12321 h 16250"/>
                <a:gd name="connsiteX2" fmla="*/ 979 w 10000"/>
                <a:gd name="connsiteY2" fmla="*/ 6429 h 16250"/>
                <a:gd name="connsiteX3" fmla="*/ 2500 w 10000"/>
                <a:gd name="connsiteY3" fmla="*/ 0 h 16250"/>
                <a:gd name="connsiteX4" fmla="*/ 5544 w 10000"/>
                <a:gd name="connsiteY4" fmla="*/ 357 h 16250"/>
                <a:gd name="connsiteX5" fmla="*/ 10000 w 10000"/>
                <a:gd name="connsiteY5" fmla="*/ 6250 h 16250"/>
                <a:gd name="connsiteX6" fmla="*/ 7174 w 10000"/>
                <a:gd name="connsiteY6" fmla="*/ 10179 h 16250"/>
                <a:gd name="connsiteX7" fmla="*/ 7826 w 10000"/>
                <a:gd name="connsiteY7" fmla="*/ 12679 h 16250"/>
                <a:gd name="connsiteX8" fmla="*/ 5870 w 10000"/>
                <a:gd name="connsiteY8" fmla="*/ 13750 h 16250"/>
                <a:gd name="connsiteX9" fmla="*/ 3261 w 10000"/>
                <a:gd name="connsiteY9" fmla="*/ 16250 h 16250"/>
                <a:gd name="connsiteX10" fmla="*/ 2826 w 10000"/>
                <a:gd name="connsiteY10" fmla="*/ 16250 h 16250"/>
                <a:gd name="connsiteX11" fmla="*/ 1739 w 10000"/>
                <a:gd name="connsiteY11" fmla="*/ 15536 h 16250"/>
                <a:gd name="connsiteX12" fmla="*/ 435 w 10000"/>
                <a:gd name="connsiteY12" fmla="*/ 14464 h 16250"/>
                <a:gd name="connsiteX13" fmla="*/ 0 w 10000"/>
                <a:gd name="connsiteY13" fmla="*/ 11607 h 16250"/>
                <a:gd name="connsiteX0" fmla="*/ 0 w 10000"/>
                <a:gd name="connsiteY0" fmla="*/ 11607 h 16250"/>
                <a:gd name="connsiteX1" fmla="*/ 652 w 10000"/>
                <a:gd name="connsiteY1" fmla="*/ 12321 h 16250"/>
                <a:gd name="connsiteX2" fmla="*/ 979 w 10000"/>
                <a:gd name="connsiteY2" fmla="*/ 6429 h 16250"/>
                <a:gd name="connsiteX3" fmla="*/ 2500 w 10000"/>
                <a:gd name="connsiteY3" fmla="*/ 0 h 16250"/>
                <a:gd name="connsiteX4" fmla="*/ 5544 w 10000"/>
                <a:gd name="connsiteY4" fmla="*/ 357 h 16250"/>
                <a:gd name="connsiteX5" fmla="*/ 10000 w 10000"/>
                <a:gd name="connsiteY5" fmla="*/ 6250 h 16250"/>
                <a:gd name="connsiteX6" fmla="*/ 7826 w 10000"/>
                <a:gd name="connsiteY6" fmla="*/ 12679 h 16250"/>
                <a:gd name="connsiteX7" fmla="*/ 5870 w 10000"/>
                <a:gd name="connsiteY7" fmla="*/ 13750 h 16250"/>
                <a:gd name="connsiteX8" fmla="*/ 3261 w 10000"/>
                <a:gd name="connsiteY8" fmla="*/ 16250 h 16250"/>
                <a:gd name="connsiteX9" fmla="*/ 2826 w 10000"/>
                <a:gd name="connsiteY9" fmla="*/ 16250 h 16250"/>
                <a:gd name="connsiteX10" fmla="*/ 1739 w 10000"/>
                <a:gd name="connsiteY10" fmla="*/ 15536 h 16250"/>
                <a:gd name="connsiteX11" fmla="*/ 435 w 10000"/>
                <a:gd name="connsiteY11" fmla="*/ 14464 h 16250"/>
                <a:gd name="connsiteX12" fmla="*/ 0 w 10000"/>
                <a:gd name="connsiteY12" fmla="*/ 11607 h 16250"/>
                <a:gd name="connsiteX0" fmla="*/ 0 w 7826"/>
                <a:gd name="connsiteY0" fmla="*/ 11607 h 16250"/>
                <a:gd name="connsiteX1" fmla="*/ 652 w 7826"/>
                <a:gd name="connsiteY1" fmla="*/ 12321 h 16250"/>
                <a:gd name="connsiteX2" fmla="*/ 979 w 7826"/>
                <a:gd name="connsiteY2" fmla="*/ 6429 h 16250"/>
                <a:gd name="connsiteX3" fmla="*/ 2500 w 7826"/>
                <a:gd name="connsiteY3" fmla="*/ 0 h 16250"/>
                <a:gd name="connsiteX4" fmla="*/ 5544 w 7826"/>
                <a:gd name="connsiteY4" fmla="*/ 357 h 16250"/>
                <a:gd name="connsiteX5" fmla="*/ 7826 w 7826"/>
                <a:gd name="connsiteY5" fmla="*/ 12679 h 16250"/>
                <a:gd name="connsiteX6" fmla="*/ 5870 w 7826"/>
                <a:gd name="connsiteY6" fmla="*/ 13750 h 16250"/>
                <a:gd name="connsiteX7" fmla="*/ 3261 w 7826"/>
                <a:gd name="connsiteY7" fmla="*/ 16250 h 16250"/>
                <a:gd name="connsiteX8" fmla="*/ 2826 w 7826"/>
                <a:gd name="connsiteY8" fmla="*/ 16250 h 16250"/>
                <a:gd name="connsiteX9" fmla="*/ 1739 w 7826"/>
                <a:gd name="connsiteY9" fmla="*/ 15536 h 16250"/>
                <a:gd name="connsiteX10" fmla="*/ 435 w 7826"/>
                <a:gd name="connsiteY10" fmla="*/ 14464 h 16250"/>
                <a:gd name="connsiteX11" fmla="*/ 0 w 7826"/>
                <a:gd name="connsiteY11" fmla="*/ 11607 h 16250"/>
                <a:gd name="connsiteX0" fmla="*/ 0 w 7501"/>
                <a:gd name="connsiteY0" fmla="*/ 7143 h 10000"/>
                <a:gd name="connsiteX1" fmla="*/ 833 w 7501"/>
                <a:gd name="connsiteY1" fmla="*/ 7582 h 10000"/>
                <a:gd name="connsiteX2" fmla="*/ 1251 w 7501"/>
                <a:gd name="connsiteY2" fmla="*/ 3956 h 10000"/>
                <a:gd name="connsiteX3" fmla="*/ 3194 w 7501"/>
                <a:gd name="connsiteY3" fmla="*/ 0 h 10000"/>
                <a:gd name="connsiteX4" fmla="*/ 7084 w 7501"/>
                <a:gd name="connsiteY4" fmla="*/ 220 h 10000"/>
                <a:gd name="connsiteX5" fmla="*/ 7501 w 7501"/>
                <a:gd name="connsiteY5" fmla="*/ 8462 h 10000"/>
                <a:gd name="connsiteX6" fmla="*/ 4167 w 7501"/>
                <a:gd name="connsiteY6" fmla="*/ 10000 h 10000"/>
                <a:gd name="connsiteX7" fmla="*/ 3611 w 7501"/>
                <a:gd name="connsiteY7" fmla="*/ 10000 h 10000"/>
                <a:gd name="connsiteX8" fmla="*/ 2222 w 7501"/>
                <a:gd name="connsiteY8" fmla="*/ 9561 h 10000"/>
                <a:gd name="connsiteX9" fmla="*/ 556 w 7501"/>
                <a:gd name="connsiteY9" fmla="*/ 8901 h 10000"/>
                <a:gd name="connsiteX10" fmla="*/ 0 w 7501"/>
                <a:gd name="connsiteY10" fmla="*/ 7143 h 10000"/>
                <a:gd name="connsiteX0" fmla="*/ 0 w 10000"/>
                <a:gd name="connsiteY0" fmla="*/ 7143 h 10000"/>
                <a:gd name="connsiteX1" fmla="*/ 1111 w 10000"/>
                <a:gd name="connsiteY1" fmla="*/ 7582 h 10000"/>
                <a:gd name="connsiteX2" fmla="*/ 1668 w 10000"/>
                <a:gd name="connsiteY2" fmla="*/ 3956 h 10000"/>
                <a:gd name="connsiteX3" fmla="*/ 4258 w 10000"/>
                <a:gd name="connsiteY3" fmla="*/ 0 h 10000"/>
                <a:gd name="connsiteX4" fmla="*/ 9444 w 10000"/>
                <a:gd name="connsiteY4" fmla="*/ 220 h 10000"/>
                <a:gd name="connsiteX5" fmla="*/ 10000 w 10000"/>
                <a:gd name="connsiteY5" fmla="*/ 8462 h 10000"/>
                <a:gd name="connsiteX6" fmla="*/ 5555 w 10000"/>
                <a:gd name="connsiteY6" fmla="*/ 10000 h 10000"/>
                <a:gd name="connsiteX7" fmla="*/ 4814 w 10000"/>
                <a:gd name="connsiteY7" fmla="*/ 10000 h 10000"/>
                <a:gd name="connsiteX8" fmla="*/ 741 w 10000"/>
                <a:gd name="connsiteY8" fmla="*/ 8901 h 10000"/>
                <a:gd name="connsiteX9" fmla="*/ 0 w 10000"/>
                <a:gd name="connsiteY9" fmla="*/ 7143 h 10000"/>
                <a:gd name="connsiteX0" fmla="*/ 0 w 10000"/>
                <a:gd name="connsiteY0" fmla="*/ 7143 h 10000"/>
                <a:gd name="connsiteX1" fmla="*/ 1111 w 10000"/>
                <a:gd name="connsiteY1" fmla="*/ 7582 h 10000"/>
                <a:gd name="connsiteX2" fmla="*/ 1668 w 10000"/>
                <a:gd name="connsiteY2" fmla="*/ 3956 h 10000"/>
                <a:gd name="connsiteX3" fmla="*/ 4258 w 10000"/>
                <a:gd name="connsiteY3" fmla="*/ 0 h 10000"/>
                <a:gd name="connsiteX4" fmla="*/ 9444 w 10000"/>
                <a:gd name="connsiteY4" fmla="*/ 220 h 10000"/>
                <a:gd name="connsiteX5" fmla="*/ 10000 w 10000"/>
                <a:gd name="connsiteY5" fmla="*/ 8462 h 10000"/>
                <a:gd name="connsiteX6" fmla="*/ 5555 w 10000"/>
                <a:gd name="connsiteY6" fmla="*/ 10000 h 10000"/>
                <a:gd name="connsiteX7" fmla="*/ 4814 w 10000"/>
                <a:gd name="connsiteY7" fmla="*/ 10000 h 10000"/>
                <a:gd name="connsiteX8" fmla="*/ 0 w 10000"/>
                <a:gd name="connsiteY8" fmla="*/ 7143 h 10000"/>
                <a:gd name="connsiteX0" fmla="*/ 0 w 10000"/>
                <a:gd name="connsiteY0" fmla="*/ 7143 h 10000"/>
                <a:gd name="connsiteX1" fmla="*/ 1111 w 10000"/>
                <a:gd name="connsiteY1" fmla="*/ 7582 h 10000"/>
                <a:gd name="connsiteX2" fmla="*/ 1668 w 10000"/>
                <a:gd name="connsiteY2" fmla="*/ 3956 h 10000"/>
                <a:gd name="connsiteX3" fmla="*/ 4258 w 10000"/>
                <a:gd name="connsiteY3" fmla="*/ 0 h 10000"/>
                <a:gd name="connsiteX4" fmla="*/ 9444 w 10000"/>
                <a:gd name="connsiteY4" fmla="*/ 220 h 10000"/>
                <a:gd name="connsiteX5" fmla="*/ 10000 w 10000"/>
                <a:gd name="connsiteY5" fmla="*/ 8462 h 10000"/>
                <a:gd name="connsiteX6" fmla="*/ 5555 w 10000"/>
                <a:gd name="connsiteY6" fmla="*/ 10000 h 10000"/>
                <a:gd name="connsiteX7" fmla="*/ 0 w 10000"/>
                <a:gd name="connsiteY7" fmla="*/ 7143 h 10000"/>
                <a:gd name="connsiteX0" fmla="*/ 4444 w 8889"/>
                <a:gd name="connsiteY0" fmla="*/ 10000 h 10000"/>
                <a:gd name="connsiteX1" fmla="*/ 0 w 8889"/>
                <a:gd name="connsiteY1" fmla="*/ 7582 h 10000"/>
                <a:gd name="connsiteX2" fmla="*/ 557 w 8889"/>
                <a:gd name="connsiteY2" fmla="*/ 3956 h 10000"/>
                <a:gd name="connsiteX3" fmla="*/ 3147 w 8889"/>
                <a:gd name="connsiteY3" fmla="*/ 0 h 10000"/>
                <a:gd name="connsiteX4" fmla="*/ 8333 w 8889"/>
                <a:gd name="connsiteY4" fmla="*/ 220 h 10000"/>
                <a:gd name="connsiteX5" fmla="*/ 8889 w 8889"/>
                <a:gd name="connsiteY5" fmla="*/ 8462 h 10000"/>
                <a:gd name="connsiteX6" fmla="*/ 4444 w 8889"/>
                <a:gd name="connsiteY6" fmla="*/ 10000 h 10000"/>
                <a:gd name="connsiteX0" fmla="*/ 8124 w 13125"/>
                <a:gd name="connsiteY0" fmla="*/ 10000 h 10000"/>
                <a:gd name="connsiteX1" fmla="*/ 0 w 13125"/>
                <a:gd name="connsiteY1" fmla="*/ 7582 h 10000"/>
                <a:gd name="connsiteX2" fmla="*/ 3752 w 13125"/>
                <a:gd name="connsiteY2" fmla="*/ 3956 h 10000"/>
                <a:gd name="connsiteX3" fmla="*/ 6665 w 13125"/>
                <a:gd name="connsiteY3" fmla="*/ 0 h 10000"/>
                <a:gd name="connsiteX4" fmla="*/ 12500 w 13125"/>
                <a:gd name="connsiteY4" fmla="*/ 220 h 10000"/>
                <a:gd name="connsiteX5" fmla="*/ 13125 w 13125"/>
                <a:gd name="connsiteY5" fmla="*/ 8462 h 10000"/>
                <a:gd name="connsiteX6" fmla="*/ 8124 w 13125"/>
                <a:gd name="connsiteY6" fmla="*/ 10000 h 10000"/>
                <a:gd name="connsiteX0" fmla="*/ 4999 w 13125"/>
                <a:gd name="connsiteY0" fmla="*/ 10000 h 10000"/>
                <a:gd name="connsiteX1" fmla="*/ 0 w 13125"/>
                <a:gd name="connsiteY1" fmla="*/ 7582 h 10000"/>
                <a:gd name="connsiteX2" fmla="*/ 3752 w 13125"/>
                <a:gd name="connsiteY2" fmla="*/ 3956 h 10000"/>
                <a:gd name="connsiteX3" fmla="*/ 6665 w 13125"/>
                <a:gd name="connsiteY3" fmla="*/ 0 h 10000"/>
                <a:gd name="connsiteX4" fmla="*/ 12500 w 13125"/>
                <a:gd name="connsiteY4" fmla="*/ 220 h 10000"/>
                <a:gd name="connsiteX5" fmla="*/ 13125 w 13125"/>
                <a:gd name="connsiteY5" fmla="*/ 8462 h 10000"/>
                <a:gd name="connsiteX6" fmla="*/ 4999 w 13125"/>
                <a:gd name="connsiteY6" fmla="*/ 10000 h 10000"/>
                <a:gd name="connsiteX0" fmla="*/ 3749 w 11875"/>
                <a:gd name="connsiteY0" fmla="*/ 10000 h 10000"/>
                <a:gd name="connsiteX1" fmla="*/ 0 w 11875"/>
                <a:gd name="connsiteY1" fmla="*/ 6263 h 10000"/>
                <a:gd name="connsiteX2" fmla="*/ 2502 w 11875"/>
                <a:gd name="connsiteY2" fmla="*/ 3956 h 10000"/>
                <a:gd name="connsiteX3" fmla="*/ 5415 w 11875"/>
                <a:gd name="connsiteY3" fmla="*/ 0 h 10000"/>
                <a:gd name="connsiteX4" fmla="*/ 11250 w 11875"/>
                <a:gd name="connsiteY4" fmla="*/ 220 h 10000"/>
                <a:gd name="connsiteX5" fmla="*/ 11875 w 11875"/>
                <a:gd name="connsiteY5" fmla="*/ 8462 h 10000"/>
                <a:gd name="connsiteX6" fmla="*/ 3749 w 11875"/>
                <a:gd name="connsiteY6" fmla="*/ 10000 h 10000"/>
                <a:gd name="connsiteX0" fmla="*/ 2499 w 11875"/>
                <a:gd name="connsiteY0" fmla="*/ 8022 h 8462"/>
                <a:gd name="connsiteX1" fmla="*/ 0 w 11875"/>
                <a:gd name="connsiteY1" fmla="*/ 6263 h 8462"/>
                <a:gd name="connsiteX2" fmla="*/ 2502 w 11875"/>
                <a:gd name="connsiteY2" fmla="*/ 3956 h 8462"/>
                <a:gd name="connsiteX3" fmla="*/ 5415 w 11875"/>
                <a:gd name="connsiteY3" fmla="*/ 0 h 8462"/>
                <a:gd name="connsiteX4" fmla="*/ 11250 w 11875"/>
                <a:gd name="connsiteY4" fmla="*/ 220 h 8462"/>
                <a:gd name="connsiteX5" fmla="*/ 11875 w 11875"/>
                <a:gd name="connsiteY5" fmla="*/ 8462 h 8462"/>
                <a:gd name="connsiteX6" fmla="*/ 2499 w 11875"/>
                <a:gd name="connsiteY6" fmla="*/ 8022 h 8462"/>
                <a:gd name="connsiteX0" fmla="*/ 2104 w 9497"/>
                <a:gd name="connsiteY0" fmla="*/ 9480 h 9480"/>
                <a:gd name="connsiteX1" fmla="*/ 0 w 9497"/>
                <a:gd name="connsiteY1" fmla="*/ 7401 h 9480"/>
                <a:gd name="connsiteX2" fmla="*/ 2107 w 9497"/>
                <a:gd name="connsiteY2" fmla="*/ 4675 h 9480"/>
                <a:gd name="connsiteX3" fmla="*/ 4560 w 9497"/>
                <a:gd name="connsiteY3" fmla="*/ 0 h 9480"/>
                <a:gd name="connsiteX4" fmla="*/ 9474 w 9497"/>
                <a:gd name="connsiteY4" fmla="*/ 260 h 9480"/>
                <a:gd name="connsiteX5" fmla="*/ 8948 w 9497"/>
                <a:gd name="connsiteY5" fmla="*/ 4546 h 9480"/>
                <a:gd name="connsiteX6" fmla="*/ 2104 w 9497"/>
                <a:gd name="connsiteY6" fmla="*/ 9480 h 9480"/>
                <a:gd name="connsiteX0" fmla="*/ 2215 w 10000"/>
                <a:gd name="connsiteY0" fmla="*/ 12603 h 12603"/>
                <a:gd name="connsiteX1" fmla="*/ 0 w 10000"/>
                <a:gd name="connsiteY1" fmla="*/ 10410 h 12603"/>
                <a:gd name="connsiteX2" fmla="*/ 2219 w 10000"/>
                <a:gd name="connsiteY2" fmla="*/ 7534 h 12603"/>
                <a:gd name="connsiteX3" fmla="*/ 4802 w 10000"/>
                <a:gd name="connsiteY3" fmla="*/ 2603 h 12603"/>
                <a:gd name="connsiteX4" fmla="*/ 9976 w 10000"/>
                <a:gd name="connsiteY4" fmla="*/ 0 h 12603"/>
                <a:gd name="connsiteX5" fmla="*/ 9422 w 10000"/>
                <a:gd name="connsiteY5" fmla="*/ 7398 h 12603"/>
                <a:gd name="connsiteX6" fmla="*/ 2215 w 10000"/>
                <a:gd name="connsiteY6" fmla="*/ 12603 h 12603"/>
                <a:gd name="connsiteX0" fmla="*/ 2215 w 11095"/>
                <a:gd name="connsiteY0" fmla="*/ 10137 h 10137"/>
                <a:gd name="connsiteX1" fmla="*/ 0 w 11095"/>
                <a:gd name="connsiteY1" fmla="*/ 7944 h 10137"/>
                <a:gd name="connsiteX2" fmla="*/ 2219 w 11095"/>
                <a:gd name="connsiteY2" fmla="*/ 5068 h 10137"/>
                <a:gd name="connsiteX3" fmla="*/ 4802 w 11095"/>
                <a:gd name="connsiteY3" fmla="*/ 137 h 10137"/>
                <a:gd name="connsiteX4" fmla="*/ 11084 w 11095"/>
                <a:gd name="connsiteY4" fmla="*/ 0 h 10137"/>
                <a:gd name="connsiteX5" fmla="*/ 9422 w 11095"/>
                <a:gd name="connsiteY5" fmla="*/ 4932 h 10137"/>
                <a:gd name="connsiteX6" fmla="*/ 2215 w 11095"/>
                <a:gd name="connsiteY6" fmla="*/ 10137 h 10137"/>
                <a:gd name="connsiteX0" fmla="*/ 2215 w 11095"/>
                <a:gd name="connsiteY0" fmla="*/ 10137 h 10137"/>
                <a:gd name="connsiteX1" fmla="*/ 0 w 11095"/>
                <a:gd name="connsiteY1" fmla="*/ 7944 h 10137"/>
                <a:gd name="connsiteX2" fmla="*/ 2219 w 11095"/>
                <a:gd name="connsiteY2" fmla="*/ 5068 h 10137"/>
                <a:gd name="connsiteX3" fmla="*/ 1609 w 11095"/>
                <a:gd name="connsiteY3" fmla="*/ 4912 h 10137"/>
                <a:gd name="connsiteX4" fmla="*/ 4802 w 11095"/>
                <a:gd name="connsiteY4" fmla="*/ 137 h 10137"/>
                <a:gd name="connsiteX5" fmla="*/ 11084 w 11095"/>
                <a:gd name="connsiteY5" fmla="*/ 0 h 10137"/>
                <a:gd name="connsiteX6" fmla="*/ 9422 w 11095"/>
                <a:gd name="connsiteY6" fmla="*/ 4932 h 10137"/>
                <a:gd name="connsiteX7" fmla="*/ 2215 w 11095"/>
                <a:gd name="connsiteY7" fmla="*/ 10137 h 10137"/>
                <a:gd name="connsiteX0" fmla="*/ 2215 w 11095"/>
                <a:gd name="connsiteY0" fmla="*/ 13288 h 13288"/>
                <a:gd name="connsiteX1" fmla="*/ 0 w 11095"/>
                <a:gd name="connsiteY1" fmla="*/ 11095 h 13288"/>
                <a:gd name="connsiteX2" fmla="*/ 2219 w 11095"/>
                <a:gd name="connsiteY2" fmla="*/ 8219 h 13288"/>
                <a:gd name="connsiteX3" fmla="*/ 1609 w 11095"/>
                <a:gd name="connsiteY3" fmla="*/ 8063 h 13288"/>
                <a:gd name="connsiteX4" fmla="*/ 4802 w 11095"/>
                <a:gd name="connsiteY4" fmla="*/ 0 h 13288"/>
                <a:gd name="connsiteX5" fmla="*/ 11084 w 11095"/>
                <a:gd name="connsiteY5" fmla="*/ 3151 h 13288"/>
                <a:gd name="connsiteX6" fmla="*/ 9422 w 11095"/>
                <a:gd name="connsiteY6" fmla="*/ 8083 h 13288"/>
                <a:gd name="connsiteX7" fmla="*/ 2215 w 11095"/>
                <a:gd name="connsiteY7" fmla="*/ 13288 h 13288"/>
                <a:gd name="connsiteX0" fmla="*/ 2215 w 11090"/>
                <a:gd name="connsiteY0" fmla="*/ 13288 h 13288"/>
                <a:gd name="connsiteX1" fmla="*/ 0 w 11090"/>
                <a:gd name="connsiteY1" fmla="*/ 11095 h 13288"/>
                <a:gd name="connsiteX2" fmla="*/ 2219 w 11090"/>
                <a:gd name="connsiteY2" fmla="*/ 8219 h 13288"/>
                <a:gd name="connsiteX3" fmla="*/ 1609 w 11090"/>
                <a:gd name="connsiteY3" fmla="*/ 8063 h 13288"/>
                <a:gd name="connsiteX4" fmla="*/ 4802 w 11090"/>
                <a:gd name="connsiteY4" fmla="*/ 0 h 13288"/>
                <a:gd name="connsiteX5" fmla="*/ 11084 w 11090"/>
                <a:gd name="connsiteY5" fmla="*/ 3151 h 13288"/>
                <a:gd name="connsiteX6" fmla="*/ 7760 w 11090"/>
                <a:gd name="connsiteY6" fmla="*/ 5617 h 13288"/>
                <a:gd name="connsiteX7" fmla="*/ 2215 w 11090"/>
                <a:gd name="connsiteY7" fmla="*/ 13288 h 13288"/>
                <a:gd name="connsiteX0" fmla="*/ 2215 w 11147"/>
                <a:gd name="connsiteY0" fmla="*/ 13288 h 13288"/>
                <a:gd name="connsiteX1" fmla="*/ 0 w 11147"/>
                <a:gd name="connsiteY1" fmla="*/ 11095 h 13288"/>
                <a:gd name="connsiteX2" fmla="*/ 2219 w 11147"/>
                <a:gd name="connsiteY2" fmla="*/ 8219 h 13288"/>
                <a:gd name="connsiteX3" fmla="*/ 1609 w 11147"/>
                <a:gd name="connsiteY3" fmla="*/ 8063 h 13288"/>
                <a:gd name="connsiteX4" fmla="*/ 4802 w 11147"/>
                <a:gd name="connsiteY4" fmla="*/ 0 h 13288"/>
                <a:gd name="connsiteX5" fmla="*/ 11084 w 11147"/>
                <a:gd name="connsiteY5" fmla="*/ 3151 h 13288"/>
                <a:gd name="connsiteX6" fmla="*/ 7760 w 11147"/>
                <a:gd name="connsiteY6" fmla="*/ 5617 h 13288"/>
                <a:gd name="connsiteX7" fmla="*/ 2215 w 11147"/>
                <a:gd name="connsiteY7" fmla="*/ 13288 h 13288"/>
                <a:gd name="connsiteX0" fmla="*/ 4432 w 11143"/>
                <a:gd name="connsiteY0" fmla="*/ 4247 h 11095"/>
                <a:gd name="connsiteX1" fmla="*/ 0 w 11143"/>
                <a:gd name="connsiteY1" fmla="*/ 11095 h 11095"/>
                <a:gd name="connsiteX2" fmla="*/ 2219 w 11143"/>
                <a:gd name="connsiteY2" fmla="*/ 8219 h 11095"/>
                <a:gd name="connsiteX3" fmla="*/ 1609 w 11143"/>
                <a:gd name="connsiteY3" fmla="*/ 8063 h 11095"/>
                <a:gd name="connsiteX4" fmla="*/ 4802 w 11143"/>
                <a:gd name="connsiteY4" fmla="*/ 0 h 11095"/>
                <a:gd name="connsiteX5" fmla="*/ 11084 w 11143"/>
                <a:gd name="connsiteY5" fmla="*/ 3151 h 11095"/>
                <a:gd name="connsiteX6" fmla="*/ 7760 w 11143"/>
                <a:gd name="connsiteY6" fmla="*/ 5617 h 11095"/>
                <a:gd name="connsiteX7" fmla="*/ 4432 w 11143"/>
                <a:gd name="connsiteY7" fmla="*/ 4247 h 11095"/>
                <a:gd name="connsiteX0" fmla="*/ 5121 w 11832"/>
                <a:gd name="connsiteY0" fmla="*/ 4247 h 11095"/>
                <a:gd name="connsiteX1" fmla="*/ 689 w 11832"/>
                <a:gd name="connsiteY1" fmla="*/ 11095 h 11095"/>
                <a:gd name="connsiteX2" fmla="*/ 2908 w 11832"/>
                <a:gd name="connsiteY2" fmla="*/ 8219 h 11095"/>
                <a:gd name="connsiteX3" fmla="*/ 82 w 11832"/>
                <a:gd name="connsiteY3" fmla="*/ 3953 h 11095"/>
                <a:gd name="connsiteX4" fmla="*/ 5491 w 11832"/>
                <a:gd name="connsiteY4" fmla="*/ 0 h 11095"/>
                <a:gd name="connsiteX5" fmla="*/ 11773 w 11832"/>
                <a:gd name="connsiteY5" fmla="*/ 3151 h 11095"/>
                <a:gd name="connsiteX6" fmla="*/ 8449 w 11832"/>
                <a:gd name="connsiteY6" fmla="*/ 5617 h 11095"/>
                <a:gd name="connsiteX7" fmla="*/ 5121 w 11832"/>
                <a:gd name="connsiteY7" fmla="*/ 4247 h 11095"/>
                <a:gd name="connsiteX0" fmla="*/ 5121 w 11832"/>
                <a:gd name="connsiteY0" fmla="*/ 4247 h 8219"/>
                <a:gd name="connsiteX1" fmla="*/ 2908 w 11832"/>
                <a:gd name="connsiteY1" fmla="*/ 8219 h 8219"/>
                <a:gd name="connsiteX2" fmla="*/ 82 w 11832"/>
                <a:gd name="connsiteY2" fmla="*/ 3953 h 8219"/>
                <a:gd name="connsiteX3" fmla="*/ 5491 w 11832"/>
                <a:gd name="connsiteY3" fmla="*/ 0 h 8219"/>
                <a:gd name="connsiteX4" fmla="*/ 11773 w 11832"/>
                <a:gd name="connsiteY4" fmla="*/ 3151 h 8219"/>
                <a:gd name="connsiteX5" fmla="*/ 8449 w 11832"/>
                <a:gd name="connsiteY5" fmla="*/ 5617 h 8219"/>
                <a:gd name="connsiteX6" fmla="*/ 5121 w 11832"/>
                <a:gd name="connsiteY6" fmla="*/ 4247 h 8219"/>
                <a:gd name="connsiteX0" fmla="*/ 4259 w 9931"/>
                <a:gd name="connsiteY0" fmla="*/ 5167 h 6858"/>
                <a:gd name="connsiteX1" fmla="*/ 0 w 9931"/>
                <a:gd name="connsiteY1" fmla="*/ 4810 h 6858"/>
                <a:gd name="connsiteX2" fmla="*/ 4572 w 9931"/>
                <a:gd name="connsiteY2" fmla="*/ 0 h 6858"/>
                <a:gd name="connsiteX3" fmla="*/ 9881 w 9931"/>
                <a:gd name="connsiteY3" fmla="*/ 3834 h 6858"/>
                <a:gd name="connsiteX4" fmla="*/ 7072 w 9931"/>
                <a:gd name="connsiteY4" fmla="*/ 6834 h 6858"/>
                <a:gd name="connsiteX5" fmla="*/ 4259 w 9931"/>
                <a:gd name="connsiteY5" fmla="*/ 5167 h 6858"/>
                <a:gd name="connsiteX0" fmla="*/ 4289 w 10000"/>
                <a:gd name="connsiteY0" fmla="*/ 9721 h 12188"/>
                <a:gd name="connsiteX1" fmla="*/ 0 w 10000"/>
                <a:gd name="connsiteY1" fmla="*/ 9201 h 12188"/>
                <a:gd name="connsiteX2" fmla="*/ 1774 w 10000"/>
                <a:gd name="connsiteY2" fmla="*/ 0 h 12188"/>
                <a:gd name="connsiteX3" fmla="*/ 9950 w 10000"/>
                <a:gd name="connsiteY3" fmla="*/ 7778 h 12188"/>
                <a:gd name="connsiteX4" fmla="*/ 7121 w 10000"/>
                <a:gd name="connsiteY4" fmla="*/ 12152 h 12188"/>
                <a:gd name="connsiteX5" fmla="*/ 4289 w 10000"/>
                <a:gd name="connsiteY5" fmla="*/ 9721 h 12188"/>
                <a:gd name="connsiteX0" fmla="*/ 1931 w 10009"/>
                <a:gd name="connsiteY0" fmla="*/ 11908 h 12600"/>
                <a:gd name="connsiteX1" fmla="*/ 0 w 10009"/>
                <a:gd name="connsiteY1" fmla="*/ 9201 h 12600"/>
                <a:gd name="connsiteX2" fmla="*/ 1774 w 10009"/>
                <a:gd name="connsiteY2" fmla="*/ 0 h 12600"/>
                <a:gd name="connsiteX3" fmla="*/ 9950 w 10009"/>
                <a:gd name="connsiteY3" fmla="*/ 7778 h 12600"/>
                <a:gd name="connsiteX4" fmla="*/ 7121 w 10009"/>
                <a:gd name="connsiteY4" fmla="*/ 12152 h 12600"/>
                <a:gd name="connsiteX5" fmla="*/ 1931 w 10009"/>
                <a:gd name="connsiteY5" fmla="*/ 11908 h 12600"/>
                <a:gd name="connsiteX0" fmla="*/ 1931 w 9549"/>
                <a:gd name="connsiteY0" fmla="*/ 11908 h 12502"/>
                <a:gd name="connsiteX1" fmla="*/ 0 w 9549"/>
                <a:gd name="connsiteY1" fmla="*/ 9201 h 12502"/>
                <a:gd name="connsiteX2" fmla="*/ 1774 w 9549"/>
                <a:gd name="connsiteY2" fmla="*/ 0 h 12502"/>
                <a:gd name="connsiteX3" fmla="*/ 9478 w 9549"/>
                <a:gd name="connsiteY3" fmla="*/ 9236 h 12502"/>
                <a:gd name="connsiteX4" fmla="*/ 7121 w 9549"/>
                <a:gd name="connsiteY4" fmla="*/ 12152 h 12502"/>
                <a:gd name="connsiteX5" fmla="*/ 1931 w 9549"/>
                <a:gd name="connsiteY5" fmla="*/ 11908 h 12502"/>
                <a:gd name="connsiteX0" fmla="*/ 2022 w 10977"/>
                <a:gd name="connsiteY0" fmla="*/ 9525 h 13824"/>
                <a:gd name="connsiteX1" fmla="*/ 0 w 10977"/>
                <a:gd name="connsiteY1" fmla="*/ 7360 h 13824"/>
                <a:gd name="connsiteX2" fmla="*/ 1858 w 10977"/>
                <a:gd name="connsiteY2" fmla="*/ 0 h 13824"/>
                <a:gd name="connsiteX3" fmla="*/ 9926 w 10977"/>
                <a:gd name="connsiteY3" fmla="*/ 7388 h 13824"/>
                <a:gd name="connsiteX4" fmla="*/ 10420 w 10977"/>
                <a:gd name="connsiteY4" fmla="*/ 13802 h 13824"/>
                <a:gd name="connsiteX5" fmla="*/ 2022 w 10977"/>
                <a:gd name="connsiteY5" fmla="*/ 9525 h 13824"/>
                <a:gd name="connsiteX0" fmla="*/ 5479 w 10723"/>
                <a:gd name="connsiteY0" fmla="*/ 15357 h 15575"/>
                <a:gd name="connsiteX1" fmla="*/ 0 w 10723"/>
                <a:gd name="connsiteY1" fmla="*/ 7360 h 15575"/>
                <a:gd name="connsiteX2" fmla="*/ 1858 w 10723"/>
                <a:gd name="connsiteY2" fmla="*/ 0 h 15575"/>
                <a:gd name="connsiteX3" fmla="*/ 9926 w 10723"/>
                <a:gd name="connsiteY3" fmla="*/ 7388 h 15575"/>
                <a:gd name="connsiteX4" fmla="*/ 10420 w 10723"/>
                <a:gd name="connsiteY4" fmla="*/ 13802 h 15575"/>
                <a:gd name="connsiteX5" fmla="*/ 5479 w 10723"/>
                <a:gd name="connsiteY5" fmla="*/ 15357 h 15575"/>
                <a:gd name="connsiteX0" fmla="*/ 5479 w 10723"/>
                <a:gd name="connsiteY0" fmla="*/ 15357 h 15575"/>
                <a:gd name="connsiteX1" fmla="*/ 4445 w 10723"/>
                <a:gd name="connsiteY1" fmla="*/ 9692 h 15575"/>
                <a:gd name="connsiteX2" fmla="*/ 0 w 10723"/>
                <a:gd name="connsiteY2" fmla="*/ 7360 h 15575"/>
                <a:gd name="connsiteX3" fmla="*/ 1858 w 10723"/>
                <a:gd name="connsiteY3" fmla="*/ 0 h 15575"/>
                <a:gd name="connsiteX4" fmla="*/ 9926 w 10723"/>
                <a:gd name="connsiteY4" fmla="*/ 7388 h 15575"/>
                <a:gd name="connsiteX5" fmla="*/ 10420 w 10723"/>
                <a:gd name="connsiteY5" fmla="*/ 13802 h 15575"/>
                <a:gd name="connsiteX6" fmla="*/ 5479 w 10723"/>
                <a:gd name="connsiteY6" fmla="*/ 15357 h 15575"/>
                <a:gd name="connsiteX0" fmla="*/ 5479 w 10723"/>
                <a:gd name="connsiteY0" fmla="*/ 12441 h 12659"/>
                <a:gd name="connsiteX1" fmla="*/ 4445 w 10723"/>
                <a:gd name="connsiteY1" fmla="*/ 6776 h 12659"/>
                <a:gd name="connsiteX2" fmla="*/ 0 w 10723"/>
                <a:gd name="connsiteY2" fmla="*/ 4444 h 12659"/>
                <a:gd name="connsiteX3" fmla="*/ 4327 w 10723"/>
                <a:gd name="connsiteY3" fmla="*/ 0 h 12659"/>
                <a:gd name="connsiteX4" fmla="*/ 9926 w 10723"/>
                <a:gd name="connsiteY4" fmla="*/ 4472 h 12659"/>
                <a:gd name="connsiteX5" fmla="*/ 10420 w 10723"/>
                <a:gd name="connsiteY5" fmla="*/ 10886 h 12659"/>
                <a:gd name="connsiteX6" fmla="*/ 5479 w 10723"/>
                <a:gd name="connsiteY6" fmla="*/ 12441 h 12659"/>
                <a:gd name="connsiteX0" fmla="*/ 5479 w 10612"/>
                <a:gd name="connsiteY0" fmla="*/ 12441 h 12700"/>
                <a:gd name="connsiteX1" fmla="*/ 4445 w 10612"/>
                <a:gd name="connsiteY1" fmla="*/ 6776 h 12700"/>
                <a:gd name="connsiteX2" fmla="*/ 0 w 10612"/>
                <a:gd name="connsiteY2" fmla="*/ 4444 h 12700"/>
                <a:gd name="connsiteX3" fmla="*/ 4327 w 10612"/>
                <a:gd name="connsiteY3" fmla="*/ 0 h 12700"/>
                <a:gd name="connsiteX4" fmla="*/ 9432 w 10612"/>
                <a:gd name="connsiteY4" fmla="*/ 2723 h 12700"/>
                <a:gd name="connsiteX5" fmla="*/ 10420 w 10612"/>
                <a:gd name="connsiteY5" fmla="*/ 10886 h 12700"/>
                <a:gd name="connsiteX6" fmla="*/ 5479 w 10612"/>
                <a:gd name="connsiteY6" fmla="*/ 12441 h 12700"/>
                <a:gd name="connsiteX0" fmla="*/ 5479 w 10420"/>
                <a:gd name="connsiteY0" fmla="*/ 12441 h 12700"/>
                <a:gd name="connsiteX1" fmla="*/ 4445 w 10420"/>
                <a:gd name="connsiteY1" fmla="*/ 6776 h 12700"/>
                <a:gd name="connsiteX2" fmla="*/ 0 w 10420"/>
                <a:gd name="connsiteY2" fmla="*/ 4444 h 12700"/>
                <a:gd name="connsiteX3" fmla="*/ 4327 w 10420"/>
                <a:gd name="connsiteY3" fmla="*/ 0 h 12700"/>
                <a:gd name="connsiteX4" fmla="*/ 9432 w 10420"/>
                <a:gd name="connsiteY4" fmla="*/ 2723 h 12700"/>
                <a:gd name="connsiteX5" fmla="*/ 10420 w 10420"/>
                <a:gd name="connsiteY5" fmla="*/ 10886 h 12700"/>
                <a:gd name="connsiteX6" fmla="*/ 5479 w 10420"/>
                <a:gd name="connsiteY6" fmla="*/ 12441 h 12700"/>
                <a:gd name="connsiteX0" fmla="*/ 5479 w 10420"/>
                <a:gd name="connsiteY0" fmla="*/ 12441 h 12441"/>
                <a:gd name="connsiteX1" fmla="*/ 4445 w 10420"/>
                <a:gd name="connsiteY1" fmla="*/ 6776 h 12441"/>
                <a:gd name="connsiteX2" fmla="*/ 0 w 10420"/>
                <a:gd name="connsiteY2" fmla="*/ 4444 h 12441"/>
                <a:gd name="connsiteX3" fmla="*/ 4327 w 10420"/>
                <a:gd name="connsiteY3" fmla="*/ 0 h 12441"/>
                <a:gd name="connsiteX4" fmla="*/ 9432 w 10420"/>
                <a:gd name="connsiteY4" fmla="*/ 2723 h 12441"/>
                <a:gd name="connsiteX5" fmla="*/ 10420 w 10420"/>
                <a:gd name="connsiteY5" fmla="*/ 10886 h 12441"/>
                <a:gd name="connsiteX6" fmla="*/ 5479 w 10420"/>
                <a:gd name="connsiteY6" fmla="*/ 12441 h 12441"/>
                <a:gd name="connsiteX0" fmla="*/ 5479 w 10420"/>
                <a:gd name="connsiteY0" fmla="*/ 12441 h 12441"/>
                <a:gd name="connsiteX1" fmla="*/ 4445 w 10420"/>
                <a:gd name="connsiteY1" fmla="*/ 6776 h 12441"/>
                <a:gd name="connsiteX2" fmla="*/ 0 w 10420"/>
                <a:gd name="connsiteY2" fmla="*/ 4444 h 12441"/>
                <a:gd name="connsiteX3" fmla="*/ 4327 w 10420"/>
                <a:gd name="connsiteY3" fmla="*/ 0 h 12441"/>
                <a:gd name="connsiteX4" fmla="*/ 9432 w 10420"/>
                <a:gd name="connsiteY4" fmla="*/ 2723 h 12441"/>
                <a:gd name="connsiteX5" fmla="*/ 10420 w 10420"/>
                <a:gd name="connsiteY5" fmla="*/ 10886 h 12441"/>
                <a:gd name="connsiteX6" fmla="*/ 5479 w 10420"/>
                <a:gd name="connsiteY6" fmla="*/ 12441 h 12441"/>
                <a:gd name="connsiteX0" fmla="*/ 1152 w 6093"/>
                <a:gd name="connsiteY0" fmla="*/ 12441 h 12441"/>
                <a:gd name="connsiteX1" fmla="*/ 118 w 6093"/>
                <a:gd name="connsiteY1" fmla="*/ 6776 h 12441"/>
                <a:gd name="connsiteX2" fmla="*/ 118 w 6093"/>
                <a:gd name="connsiteY2" fmla="*/ 4444 h 12441"/>
                <a:gd name="connsiteX3" fmla="*/ 0 w 6093"/>
                <a:gd name="connsiteY3" fmla="*/ 0 h 12441"/>
                <a:gd name="connsiteX4" fmla="*/ 5105 w 6093"/>
                <a:gd name="connsiteY4" fmla="*/ 2723 h 12441"/>
                <a:gd name="connsiteX5" fmla="*/ 6093 w 6093"/>
                <a:gd name="connsiteY5" fmla="*/ 10886 h 12441"/>
                <a:gd name="connsiteX6" fmla="*/ 1152 w 6093"/>
                <a:gd name="connsiteY6" fmla="*/ 12441 h 12441"/>
                <a:gd name="connsiteX0" fmla="*/ 1891 w 10000"/>
                <a:gd name="connsiteY0" fmla="*/ 10000 h 10000"/>
                <a:gd name="connsiteX1" fmla="*/ 194 w 10000"/>
                <a:gd name="connsiteY1" fmla="*/ 5447 h 10000"/>
                <a:gd name="connsiteX2" fmla="*/ 0 w 10000"/>
                <a:gd name="connsiteY2" fmla="*/ 0 h 10000"/>
                <a:gd name="connsiteX3" fmla="*/ 8378 w 10000"/>
                <a:gd name="connsiteY3" fmla="*/ 2189 h 10000"/>
                <a:gd name="connsiteX4" fmla="*/ 10000 w 10000"/>
                <a:gd name="connsiteY4" fmla="*/ 8750 h 10000"/>
                <a:gd name="connsiteX5" fmla="*/ 1891 w 10000"/>
                <a:gd name="connsiteY5" fmla="*/ 10000 h 10000"/>
                <a:gd name="connsiteX0" fmla="*/ 1702 w 9811"/>
                <a:gd name="connsiteY0" fmla="*/ 7811 h 7811"/>
                <a:gd name="connsiteX1" fmla="*/ 5 w 9811"/>
                <a:gd name="connsiteY1" fmla="*/ 3258 h 7811"/>
                <a:gd name="connsiteX2" fmla="*/ 622 w 9811"/>
                <a:gd name="connsiteY2" fmla="*/ 2499 h 7811"/>
                <a:gd name="connsiteX3" fmla="*/ 8189 w 9811"/>
                <a:gd name="connsiteY3" fmla="*/ 0 h 7811"/>
                <a:gd name="connsiteX4" fmla="*/ 9811 w 9811"/>
                <a:gd name="connsiteY4" fmla="*/ 6561 h 7811"/>
                <a:gd name="connsiteX5" fmla="*/ 1702 w 9811"/>
                <a:gd name="connsiteY5" fmla="*/ 7811 h 7811"/>
                <a:gd name="connsiteX0" fmla="*/ 1731 w 9996"/>
                <a:gd name="connsiteY0" fmla="*/ 10000 h 10000"/>
                <a:gd name="connsiteX1" fmla="*/ 1 w 9996"/>
                <a:gd name="connsiteY1" fmla="*/ 4171 h 10000"/>
                <a:gd name="connsiteX2" fmla="*/ 3108 w 9996"/>
                <a:gd name="connsiteY2" fmla="*/ 1999 h 10000"/>
                <a:gd name="connsiteX3" fmla="*/ 8343 w 9996"/>
                <a:gd name="connsiteY3" fmla="*/ 0 h 10000"/>
                <a:gd name="connsiteX4" fmla="*/ 9996 w 9996"/>
                <a:gd name="connsiteY4" fmla="*/ 8400 h 10000"/>
                <a:gd name="connsiteX5" fmla="*/ 1731 w 9996"/>
                <a:gd name="connsiteY5" fmla="*/ 10000 h 10000"/>
                <a:gd name="connsiteX0" fmla="*/ 1732 w 10141"/>
                <a:gd name="connsiteY0" fmla="*/ 11800 h 11800"/>
                <a:gd name="connsiteX1" fmla="*/ 1 w 10141"/>
                <a:gd name="connsiteY1" fmla="*/ 5971 h 11800"/>
                <a:gd name="connsiteX2" fmla="*/ 3109 w 10141"/>
                <a:gd name="connsiteY2" fmla="*/ 3799 h 11800"/>
                <a:gd name="connsiteX3" fmla="*/ 6693 w 10141"/>
                <a:gd name="connsiteY3" fmla="*/ 0 h 11800"/>
                <a:gd name="connsiteX4" fmla="*/ 10000 w 10141"/>
                <a:gd name="connsiteY4" fmla="*/ 10200 h 11800"/>
                <a:gd name="connsiteX5" fmla="*/ 1732 w 10141"/>
                <a:gd name="connsiteY5" fmla="*/ 11800 h 11800"/>
                <a:gd name="connsiteX0" fmla="*/ 1732 w 7157"/>
                <a:gd name="connsiteY0" fmla="*/ 11800 h 11800"/>
                <a:gd name="connsiteX1" fmla="*/ 1 w 7157"/>
                <a:gd name="connsiteY1" fmla="*/ 5971 h 11800"/>
                <a:gd name="connsiteX2" fmla="*/ 3109 w 7157"/>
                <a:gd name="connsiteY2" fmla="*/ 3799 h 11800"/>
                <a:gd name="connsiteX3" fmla="*/ 6693 w 7157"/>
                <a:gd name="connsiteY3" fmla="*/ 0 h 11800"/>
                <a:gd name="connsiteX4" fmla="*/ 5868 w 7157"/>
                <a:gd name="connsiteY4" fmla="*/ 6599 h 11800"/>
                <a:gd name="connsiteX5" fmla="*/ 1732 w 7157"/>
                <a:gd name="connsiteY5" fmla="*/ 11800 h 11800"/>
                <a:gd name="connsiteX0" fmla="*/ 2420 w 13071"/>
                <a:gd name="connsiteY0" fmla="*/ 10000 h 10000"/>
                <a:gd name="connsiteX1" fmla="*/ 1 w 13071"/>
                <a:gd name="connsiteY1" fmla="*/ 5060 h 10000"/>
                <a:gd name="connsiteX2" fmla="*/ 4344 w 13071"/>
                <a:gd name="connsiteY2" fmla="*/ 3219 h 10000"/>
                <a:gd name="connsiteX3" fmla="*/ 9352 w 13071"/>
                <a:gd name="connsiteY3" fmla="*/ 0 h 10000"/>
                <a:gd name="connsiteX4" fmla="*/ 12818 w 13071"/>
                <a:gd name="connsiteY4" fmla="*/ 7118 h 10000"/>
                <a:gd name="connsiteX5" fmla="*/ 2420 w 13071"/>
                <a:gd name="connsiteY5" fmla="*/ 10000 h 10000"/>
                <a:gd name="connsiteX0" fmla="*/ 2420 w 13071"/>
                <a:gd name="connsiteY0" fmla="*/ 10000 h 10000"/>
                <a:gd name="connsiteX1" fmla="*/ 1 w 13071"/>
                <a:gd name="connsiteY1" fmla="*/ 5060 h 10000"/>
                <a:gd name="connsiteX2" fmla="*/ 4344 w 13071"/>
                <a:gd name="connsiteY2" fmla="*/ 3219 h 10000"/>
                <a:gd name="connsiteX3" fmla="*/ 9352 w 13071"/>
                <a:gd name="connsiteY3" fmla="*/ 0 h 10000"/>
                <a:gd name="connsiteX4" fmla="*/ 12818 w 13071"/>
                <a:gd name="connsiteY4" fmla="*/ 5592 h 10000"/>
                <a:gd name="connsiteX5" fmla="*/ 2420 w 13071"/>
                <a:gd name="connsiteY5" fmla="*/ 10000 h 10000"/>
                <a:gd name="connsiteX0" fmla="*/ 8194 w 12830"/>
                <a:gd name="connsiteY0" fmla="*/ 10000 h 10000"/>
                <a:gd name="connsiteX1" fmla="*/ 1 w 12830"/>
                <a:gd name="connsiteY1" fmla="*/ 5060 h 10000"/>
                <a:gd name="connsiteX2" fmla="*/ 4344 w 12830"/>
                <a:gd name="connsiteY2" fmla="*/ 3219 h 10000"/>
                <a:gd name="connsiteX3" fmla="*/ 9352 w 12830"/>
                <a:gd name="connsiteY3" fmla="*/ 0 h 10000"/>
                <a:gd name="connsiteX4" fmla="*/ 12818 w 12830"/>
                <a:gd name="connsiteY4" fmla="*/ 5592 h 10000"/>
                <a:gd name="connsiteX5" fmla="*/ 8194 w 12830"/>
                <a:gd name="connsiteY5" fmla="*/ 10000 h 10000"/>
                <a:gd name="connsiteX0" fmla="*/ 8194 w 12830"/>
                <a:gd name="connsiteY0" fmla="*/ 10000 h 10146"/>
                <a:gd name="connsiteX1" fmla="*/ 1 w 12830"/>
                <a:gd name="connsiteY1" fmla="*/ 10146 h 10146"/>
                <a:gd name="connsiteX2" fmla="*/ 4344 w 12830"/>
                <a:gd name="connsiteY2" fmla="*/ 3219 h 10146"/>
                <a:gd name="connsiteX3" fmla="*/ 9352 w 12830"/>
                <a:gd name="connsiteY3" fmla="*/ 0 h 10146"/>
                <a:gd name="connsiteX4" fmla="*/ 12818 w 12830"/>
                <a:gd name="connsiteY4" fmla="*/ 5592 h 10146"/>
                <a:gd name="connsiteX5" fmla="*/ 8194 w 12830"/>
                <a:gd name="connsiteY5" fmla="*/ 10000 h 10146"/>
                <a:gd name="connsiteX0" fmla="*/ 8195 w 12831"/>
                <a:gd name="connsiteY0" fmla="*/ 10000 h 10146"/>
                <a:gd name="connsiteX1" fmla="*/ 2 w 12831"/>
                <a:gd name="connsiteY1" fmla="*/ 10146 h 10146"/>
                <a:gd name="connsiteX2" fmla="*/ 2035 w 12831"/>
                <a:gd name="connsiteY2" fmla="*/ 3219 h 10146"/>
                <a:gd name="connsiteX3" fmla="*/ 9353 w 12831"/>
                <a:gd name="connsiteY3" fmla="*/ 0 h 10146"/>
                <a:gd name="connsiteX4" fmla="*/ 12819 w 12831"/>
                <a:gd name="connsiteY4" fmla="*/ 5592 h 10146"/>
                <a:gd name="connsiteX5" fmla="*/ 8195 w 12831"/>
                <a:gd name="connsiteY5" fmla="*/ 10000 h 10146"/>
                <a:gd name="connsiteX0" fmla="*/ 8195 w 10733"/>
                <a:gd name="connsiteY0" fmla="*/ 10000 h 10146"/>
                <a:gd name="connsiteX1" fmla="*/ 2 w 10733"/>
                <a:gd name="connsiteY1" fmla="*/ 10146 h 10146"/>
                <a:gd name="connsiteX2" fmla="*/ 2035 w 10733"/>
                <a:gd name="connsiteY2" fmla="*/ 3219 h 10146"/>
                <a:gd name="connsiteX3" fmla="*/ 9353 w 10733"/>
                <a:gd name="connsiteY3" fmla="*/ 0 h 10146"/>
                <a:gd name="connsiteX4" fmla="*/ 10509 w 10733"/>
                <a:gd name="connsiteY4" fmla="*/ 4066 h 10146"/>
                <a:gd name="connsiteX5" fmla="*/ 8195 w 10733"/>
                <a:gd name="connsiteY5" fmla="*/ 10000 h 10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733" h="10146">
                  <a:moveTo>
                    <a:pt x="8195" y="10000"/>
                  </a:moveTo>
                  <a:lnTo>
                    <a:pt x="2" y="10146"/>
                  </a:lnTo>
                  <a:cubicBezTo>
                    <a:pt x="-90" y="8176"/>
                    <a:pt x="2127" y="5190"/>
                    <a:pt x="2035" y="3219"/>
                  </a:cubicBezTo>
                  <a:lnTo>
                    <a:pt x="9353" y="0"/>
                  </a:lnTo>
                  <a:cubicBezTo>
                    <a:pt x="10892" y="2881"/>
                    <a:pt x="10702" y="2400"/>
                    <a:pt x="10509" y="4066"/>
                  </a:cubicBezTo>
                  <a:cubicBezTo>
                    <a:pt x="10316" y="5732"/>
                    <a:pt x="12046" y="9548"/>
                    <a:pt x="8195" y="10000"/>
                  </a:cubicBezTo>
                  <a:close/>
                </a:path>
              </a:pathLst>
            </a:custGeom>
            <a:solidFill>
              <a:srgbClr val="00B9E4"/>
            </a:solidFill>
            <a:ln w="9525" cap="flat" cmpd="sng">
              <a:solidFill>
                <a:schemeClr val="bg1"/>
              </a:solidFill>
              <a:prstDash val="solid"/>
              <a:round/>
              <a:headEnd type="none" w="med" len="med"/>
              <a:tailEnd type="none" w="med" len="med"/>
            </a:ln>
            <a:effectLst/>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277" name="SV"/>
            <p:cNvSpPr>
              <a:spLocks/>
            </p:cNvSpPr>
            <p:nvPr/>
          </p:nvSpPr>
          <p:spPr bwMode="auto">
            <a:xfrm>
              <a:off x="1983436" y="4054270"/>
              <a:ext cx="36450" cy="47624"/>
            </a:xfrm>
            <a:custGeom>
              <a:avLst/>
              <a:gdLst>
                <a:gd name="T0" fmla="*/ 2147483647 w 23"/>
                <a:gd name="T1" fmla="*/ 0 h 18"/>
                <a:gd name="T2" fmla="*/ 2147483647 w 23"/>
                <a:gd name="T3" fmla="*/ 2147483647 h 18"/>
                <a:gd name="T4" fmla="*/ 2147483647 w 23"/>
                <a:gd name="T5" fmla="*/ 2147483647 h 18"/>
                <a:gd name="T6" fmla="*/ 0 w 23"/>
                <a:gd name="T7" fmla="*/ 2147483647 h 18"/>
                <a:gd name="T8" fmla="*/ 2147483647 w 23"/>
                <a:gd name="T9" fmla="*/ 0 h 18"/>
                <a:gd name="T10" fmla="*/ 0 60000 65536"/>
                <a:gd name="T11" fmla="*/ 0 60000 65536"/>
                <a:gd name="T12" fmla="*/ 0 60000 65536"/>
                <a:gd name="T13" fmla="*/ 0 60000 65536"/>
                <a:gd name="T14" fmla="*/ 0 60000 65536"/>
                <a:gd name="connsiteX0" fmla="*/ 870 w 10000"/>
                <a:gd name="connsiteY0" fmla="*/ 0 h 18750"/>
                <a:gd name="connsiteX1" fmla="*/ 10000 w 10000"/>
                <a:gd name="connsiteY1" fmla="*/ 556 h 18750"/>
                <a:gd name="connsiteX2" fmla="*/ 9835 w 10000"/>
                <a:gd name="connsiteY2" fmla="*/ 18750 h 18750"/>
                <a:gd name="connsiteX3" fmla="*/ 0 w 10000"/>
                <a:gd name="connsiteY3" fmla="*/ 7222 h 18750"/>
                <a:gd name="connsiteX4" fmla="*/ 870 w 10000"/>
                <a:gd name="connsiteY4" fmla="*/ 0 h 18750"/>
                <a:gd name="connsiteX0" fmla="*/ 870 w 12114"/>
                <a:gd name="connsiteY0" fmla="*/ 0 h 18750"/>
                <a:gd name="connsiteX1" fmla="*/ 12114 w 12114"/>
                <a:gd name="connsiteY1" fmla="*/ 5556 h 18750"/>
                <a:gd name="connsiteX2" fmla="*/ 9835 w 12114"/>
                <a:gd name="connsiteY2" fmla="*/ 18750 h 18750"/>
                <a:gd name="connsiteX3" fmla="*/ 0 w 12114"/>
                <a:gd name="connsiteY3" fmla="*/ 7222 h 18750"/>
                <a:gd name="connsiteX4" fmla="*/ 870 w 12114"/>
                <a:gd name="connsiteY4" fmla="*/ 0 h 18750"/>
                <a:gd name="connsiteX0" fmla="*/ 870 w 12114"/>
                <a:gd name="connsiteY0" fmla="*/ 0 h 25000"/>
                <a:gd name="connsiteX1" fmla="*/ 12114 w 12114"/>
                <a:gd name="connsiteY1" fmla="*/ 11806 h 25000"/>
                <a:gd name="connsiteX2" fmla="*/ 9835 w 12114"/>
                <a:gd name="connsiteY2" fmla="*/ 25000 h 25000"/>
                <a:gd name="connsiteX3" fmla="*/ 0 w 12114"/>
                <a:gd name="connsiteY3" fmla="*/ 13472 h 25000"/>
                <a:gd name="connsiteX4" fmla="*/ 870 w 12114"/>
                <a:gd name="connsiteY4" fmla="*/ 0 h 25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14" h="25000">
                  <a:moveTo>
                    <a:pt x="870" y="0"/>
                  </a:moveTo>
                  <a:lnTo>
                    <a:pt x="12114" y="11806"/>
                  </a:lnTo>
                  <a:lnTo>
                    <a:pt x="9835" y="25000"/>
                  </a:lnTo>
                  <a:lnTo>
                    <a:pt x="0" y="13472"/>
                  </a:lnTo>
                  <a:lnTo>
                    <a:pt x="870" y="0"/>
                  </a:lnTo>
                  <a:close/>
                </a:path>
              </a:pathLst>
            </a:custGeom>
            <a:solidFill>
              <a:srgbClr val="00B9E4"/>
            </a:solidFill>
            <a:ln w="6350" cap="flat" cmpd="sng">
              <a:solidFill>
                <a:schemeClr val="bg1"/>
              </a:solidFill>
              <a:prstDash val="solid"/>
              <a:round/>
              <a:headEnd type="none" w="med" len="med"/>
              <a:tailEnd type="none" w="med" len="med"/>
            </a:ln>
            <a:effectLst/>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278" name="LU"/>
            <p:cNvSpPr>
              <a:spLocks/>
            </p:cNvSpPr>
            <p:nvPr/>
          </p:nvSpPr>
          <p:spPr bwMode="auto">
            <a:xfrm>
              <a:off x="4457343" y="2997425"/>
              <a:ext cx="19555" cy="23019"/>
            </a:xfrm>
            <a:custGeom>
              <a:avLst/>
              <a:gdLst>
                <a:gd name="T0" fmla="*/ 22 w 1097536"/>
                <a:gd name="T1" fmla="*/ 0 h 1184223"/>
                <a:gd name="T2" fmla="*/ 0 w 1097536"/>
                <a:gd name="T3" fmla="*/ 30 h 1184223"/>
                <a:gd name="T4" fmla="*/ 21 w 1097536"/>
                <a:gd name="T5" fmla="*/ 86 h 1184223"/>
                <a:gd name="T6" fmla="*/ 50 w 1097536"/>
                <a:gd name="T7" fmla="*/ 60 h 1184223"/>
                <a:gd name="T8" fmla="*/ 51 w 1097536"/>
                <a:gd name="T9" fmla="*/ 37 h 1184223"/>
                <a:gd name="T10" fmla="*/ 22 w 1097536"/>
                <a:gd name="T11" fmla="*/ 0 h 1184223"/>
                <a:gd name="T12" fmla="*/ 0 60000 65536"/>
                <a:gd name="T13" fmla="*/ 0 60000 65536"/>
                <a:gd name="T14" fmla="*/ 0 60000 65536"/>
                <a:gd name="T15" fmla="*/ 0 60000 65536"/>
                <a:gd name="T16" fmla="*/ 0 60000 65536"/>
                <a:gd name="T17" fmla="*/ 0 60000 65536"/>
                <a:gd name="connsiteX0" fmla="*/ 482939 w 1067559"/>
                <a:gd name="connsiteY0" fmla="*/ 0 h 1184223"/>
                <a:gd name="connsiteX1" fmla="*/ 0 w 1067559"/>
                <a:gd name="connsiteY1" fmla="*/ 416160 h 1184223"/>
                <a:gd name="connsiteX2" fmla="*/ 452959 w 1067559"/>
                <a:gd name="connsiteY2" fmla="*/ 1184223 h 1184223"/>
                <a:gd name="connsiteX3" fmla="*/ 1067555 w 1067559"/>
                <a:gd name="connsiteY3" fmla="*/ 824459 h 1184223"/>
                <a:gd name="connsiteX4" fmla="*/ 482939 w 1067559"/>
                <a:gd name="connsiteY4" fmla="*/ 0 h 1184223"/>
                <a:gd name="connsiteX0" fmla="*/ 812201 w 1067559"/>
                <a:gd name="connsiteY0" fmla="*/ 0 h 1126927"/>
                <a:gd name="connsiteX1" fmla="*/ 0 w 1067559"/>
                <a:gd name="connsiteY1" fmla="*/ 358864 h 1126927"/>
                <a:gd name="connsiteX2" fmla="*/ 452959 w 1067559"/>
                <a:gd name="connsiteY2" fmla="*/ 1126927 h 1126927"/>
                <a:gd name="connsiteX3" fmla="*/ 1067555 w 1067559"/>
                <a:gd name="connsiteY3" fmla="*/ 767163 h 1126927"/>
                <a:gd name="connsiteX4" fmla="*/ 812201 w 1067559"/>
                <a:gd name="connsiteY4" fmla="*/ 0 h 1126927"/>
                <a:gd name="connsiteX0" fmla="*/ 417107 w 672465"/>
                <a:gd name="connsiteY0" fmla="*/ 0 h 1126927"/>
                <a:gd name="connsiteX1" fmla="*/ 0 w 672465"/>
                <a:gd name="connsiteY1" fmla="*/ 301566 h 1126927"/>
                <a:gd name="connsiteX2" fmla="*/ 57865 w 672465"/>
                <a:gd name="connsiteY2" fmla="*/ 1126927 h 1126927"/>
                <a:gd name="connsiteX3" fmla="*/ 672461 w 672465"/>
                <a:gd name="connsiteY3" fmla="*/ 767163 h 1126927"/>
                <a:gd name="connsiteX4" fmla="*/ 417107 w 672465"/>
                <a:gd name="connsiteY4" fmla="*/ 0 h 1126927"/>
                <a:gd name="connsiteX0" fmla="*/ 417107 w 672465"/>
                <a:gd name="connsiteY0" fmla="*/ 0 h 767175"/>
                <a:gd name="connsiteX1" fmla="*/ 0 w 672465"/>
                <a:gd name="connsiteY1" fmla="*/ 301566 h 767175"/>
                <a:gd name="connsiteX2" fmla="*/ 255413 w 672465"/>
                <a:gd name="connsiteY2" fmla="*/ 553922 h 767175"/>
                <a:gd name="connsiteX3" fmla="*/ 672461 w 672465"/>
                <a:gd name="connsiteY3" fmla="*/ 767163 h 767175"/>
                <a:gd name="connsiteX4" fmla="*/ 417107 w 672465"/>
                <a:gd name="connsiteY4" fmla="*/ 0 h 767175"/>
                <a:gd name="connsiteX0" fmla="*/ 417107 w 540776"/>
                <a:gd name="connsiteY0" fmla="*/ 0 h 553922"/>
                <a:gd name="connsiteX1" fmla="*/ 0 w 540776"/>
                <a:gd name="connsiteY1" fmla="*/ 301566 h 553922"/>
                <a:gd name="connsiteX2" fmla="*/ 255413 w 540776"/>
                <a:gd name="connsiteY2" fmla="*/ 553922 h 553922"/>
                <a:gd name="connsiteX3" fmla="*/ 540776 w 540776"/>
                <a:gd name="connsiteY3" fmla="*/ 480673 h 553922"/>
                <a:gd name="connsiteX4" fmla="*/ 417107 w 540776"/>
                <a:gd name="connsiteY4" fmla="*/ 0 h 553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776" h="553922">
                  <a:moveTo>
                    <a:pt x="417107" y="0"/>
                  </a:moveTo>
                  <a:lnTo>
                    <a:pt x="0" y="301566"/>
                  </a:lnTo>
                  <a:lnTo>
                    <a:pt x="255413" y="553922"/>
                  </a:lnTo>
                  <a:lnTo>
                    <a:pt x="540776" y="480673"/>
                  </a:lnTo>
                  <a:lnTo>
                    <a:pt x="417107" y="0"/>
                  </a:ln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279" name="GQ"/>
            <p:cNvSpPr>
              <a:spLocks/>
            </p:cNvSpPr>
            <p:nvPr/>
          </p:nvSpPr>
          <p:spPr bwMode="auto">
            <a:xfrm>
              <a:off x="4505324" y="4374592"/>
              <a:ext cx="28224" cy="27281"/>
            </a:xfrm>
            <a:custGeom>
              <a:avLst/>
              <a:gdLst>
                <a:gd name="T0" fmla="*/ 2147483647 w 43"/>
                <a:gd name="T1" fmla="*/ 2147483647 h 70"/>
                <a:gd name="T2" fmla="*/ 2147483647 w 43"/>
                <a:gd name="T3" fmla="*/ 2147483647 h 70"/>
                <a:gd name="T4" fmla="*/ 2147483647 w 43"/>
                <a:gd name="T5" fmla="*/ 2147483647 h 70"/>
                <a:gd name="T6" fmla="*/ 2147483647 w 43"/>
                <a:gd name="T7" fmla="*/ 2147483647 h 70"/>
                <a:gd name="T8" fmla="*/ 2147483647 w 43"/>
                <a:gd name="T9" fmla="*/ 2147483647 h 70"/>
                <a:gd name="T10" fmla="*/ 2147483647 w 43"/>
                <a:gd name="T11" fmla="*/ 2147483647 h 70"/>
                <a:gd name="T12" fmla="*/ 2147483647 w 43"/>
                <a:gd name="T13" fmla="*/ 2147483647 h 70"/>
                <a:gd name="T14" fmla="*/ 2147483647 w 43"/>
                <a:gd name="T15" fmla="*/ 2147483647 h 70"/>
                <a:gd name="T16" fmla="*/ 2147483647 w 43"/>
                <a:gd name="T17" fmla="*/ 2147483647 h 70"/>
                <a:gd name="T18" fmla="*/ 2147483647 w 43"/>
                <a:gd name="T19" fmla="*/ 2147483647 h 70"/>
                <a:gd name="T20" fmla="*/ 2147483647 w 43"/>
                <a:gd name="T21" fmla="*/ 2147483647 h 70"/>
                <a:gd name="T22" fmla="*/ 2147483647 w 43"/>
                <a:gd name="T23" fmla="*/ 2147483647 h 70"/>
                <a:gd name="T24" fmla="*/ 2147483647 w 43"/>
                <a:gd name="T25" fmla="*/ 2147483647 h 70"/>
                <a:gd name="T26" fmla="*/ 2147483647 w 43"/>
                <a:gd name="T27" fmla="*/ 2147483647 h 70"/>
                <a:gd name="T28" fmla="*/ 2147483647 w 43"/>
                <a:gd name="T29" fmla="*/ 2147483647 h 70"/>
                <a:gd name="T30" fmla="*/ 0 w 43"/>
                <a:gd name="T31" fmla="*/ 2147483647 h 70"/>
                <a:gd name="T32" fmla="*/ 0 w 43"/>
                <a:gd name="T33" fmla="*/ 2147483647 h 70"/>
                <a:gd name="T34" fmla="*/ 2147483647 w 43"/>
                <a:gd name="T35" fmla="*/ 2147483647 h 70"/>
                <a:gd name="T36" fmla="*/ 2147483647 w 43"/>
                <a:gd name="T37" fmla="*/ 2147483647 h 70"/>
                <a:gd name="T38" fmla="*/ 2147483647 w 43"/>
                <a:gd name="T39" fmla="*/ 2147483647 h 70"/>
                <a:gd name="T40" fmla="*/ 2147483647 w 43"/>
                <a:gd name="T41" fmla="*/ 2147483647 h 70"/>
                <a:gd name="T42" fmla="*/ 2147483647 w 43"/>
                <a:gd name="T43" fmla="*/ 2147483647 h 70"/>
                <a:gd name="T44" fmla="*/ 2147483647 w 43"/>
                <a:gd name="T45" fmla="*/ 2147483647 h 70"/>
                <a:gd name="T46" fmla="*/ 2147483647 w 43"/>
                <a:gd name="T47" fmla="*/ 2147483647 h 70"/>
                <a:gd name="T48" fmla="*/ 2147483647 w 43"/>
                <a:gd name="T49" fmla="*/ 2147483647 h 70"/>
                <a:gd name="T50" fmla="*/ 2147483647 w 43"/>
                <a:gd name="T51" fmla="*/ 2147483647 h 70"/>
                <a:gd name="T52" fmla="*/ 2147483647 w 43"/>
                <a:gd name="T53" fmla="*/ 2147483647 h 70"/>
                <a:gd name="T54" fmla="*/ 2147483647 w 43"/>
                <a:gd name="T55" fmla="*/ 2147483647 h 70"/>
                <a:gd name="T56" fmla="*/ 2147483647 w 43"/>
                <a:gd name="T57" fmla="*/ 2147483647 h 70"/>
                <a:gd name="T58" fmla="*/ 2147483647 w 43"/>
                <a:gd name="T59" fmla="*/ 2147483647 h 70"/>
                <a:gd name="T60" fmla="*/ 2147483647 w 43"/>
                <a:gd name="T61" fmla="*/ 2147483647 h 70"/>
                <a:gd name="T62" fmla="*/ 2147483647 w 43"/>
                <a:gd name="T63" fmla="*/ 2147483647 h 70"/>
                <a:gd name="T64" fmla="*/ 2147483647 w 43"/>
                <a:gd name="T65" fmla="*/ 2147483647 h 70"/>
                <a:gd name="T66" fmla="*/ 2147483647 w 43"/>
                <a:gd name="T67" fmla="*/ 2147483647 h 70"/>
                <a:gd name="T68" fmla="*/ 2147483647 w 43"/>
                <a:gd name="T69" fmla="*/ 2147483647 h 70"/>
                <a:gd name="T70" fmla="*/ 2147483647 w 43"/>
                <a:gd name="T71" fmla="*/ 2147483647 h 70"/>
                <a:gd name="T72" fmla="*/ 2147483647 w 43"/>
                <a:gd name="T73" fmla="*/ 2147483647 h 70"/>
                <a:gd name="T74" fmla="*/ 2147483647 w 43"/>
                <a:gd name="T75" fmla="*/ 2147483647 h 70"/>
                <a:gd name="T76" fmla="*/ 2147483647 w 43"/>
                <a:gd name="T77" fmla="*/ 2147483647 h 70"/>
                <a:gd name="T78" fmla="*/ 2147483647 w 43"/>
                <a:gd name="T79" fmla="*/ 2147483647 h 70"/>
                <a:gd name="T80" fmla="*/ 2147483647 w 43"/>
                <a:gd name="T81" fmla="*/ 2147483647 h 70"/>
                <a:gd name="T82" fmla="*/ 2147483647 w 43"/>
                <a:gd name="T83" fmla="*/ 2147483647 h 70"/>
                <a:gd name="T84" fmla="*/ 2147483647 w 43"/>
                <a:gd name="T85" fmla="*/ 2147483647 h 70"/>
                <a:gd name="T86" fmla="*/ 2147483647 w 43"/>
                <a:gd name="T87" fmla="*/ 2147483647 h 70"/>
                <a:gd name="T88" fmla="*/ 2147483647 w 43"/>
                <a:gd name="T89" fmla="*/ 2147483647 h 70"/>
                <a:gd name="T90" fmla="*/ 2147483647 w 43"/>
                <a:gd name="T91" fmla="*/ 2147483647 h 70"/>
                <a:gd name="T92" fmla="*/ 2147483647 w 43"/>
                <a:gd name="T93" fmla="*/ 2147483647 h 70"/>
                <a:gd name="T94" fmla="*/ 2147483647 w 43"/>
                <a:gd name="T95" fmla="*/ 2147483647 h 70"/>
                <a:gd name="T96" fmla="*/ 2147483647 w 43"/>
                <a:gd name="T97" fmla="*/ 2147483647 h 70"/>
                <a:gd name="T98" fmla="*/ 2147483647 w 43"/>
                <a:gd name="T99" fmla="*/ 2147483647 h 70"/>
                <a:gd name="T100" fmla="*/ 2147483647 w 43"/>
                <a:gd name="T101" fmla="*/ 2147483647 h 70"/>
                <a:gd name="T102" fmla="*/ 2147483647 w 43"/>
                <a:gd name="T103" fmla="*/ 2147483647 h 70"/>
                <a:gd name="T104" fmla="*/ 2147483647 w 43"/>
                <a:gd name="T105" fmla="*/ 2147483647 h 70"/>
                <a:gd name="T106" fmla="*/ 2147483647 w 43"/>
                <a:gd name="T107" fmla="*/ 2147483647 h 70"/>
                <a:gd name="T108" fmla="*/ 2147483647 w 43"/>
                <a:gd name="T109" fmla="*/ 2147483647 h 70"/>
                <a:gd name="T110" fmla="*/ 2147483647 w 43"/>
                <a:gd name="T111" fmla="*/ 0 h 70"/>
                <a:gd name="T112" fmla="*/ 2147483647 w 43"/>
                <a:gd name="T113" fmla="*/ 0 h 70"/>
                <a:gd name="T114" fmla="*/ 2147483647 w 43"/>
                <a:gd name="T115" fmla="*/ 2147483647 h 70"/>
                <a:gd name="T116" fmla="*/ 2147483647 w 43"/>
                <a:gd name="T117" fmla="*/ 0 h 70"/>
                <a:gd name="T118" fmla="*/ 2147483647 w 43"/>
                <a:gd name="T119" fmla="*/ 2147483647 h 70"/>
                <a:gd name="T120" fmla="*/ 2147483647 w 43"/>
                <a:gd name="T121" fmla="*/ 2147483647 h 7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connsiteX0" fmla="*/ 6279 w 10000"/>
                <a:gd name="connsiteY0" fmla="*/ 857 h 10000"/>
                <a:gd name="connsiteX1" fmla="*/ 5349 w 10000"/>
                <a:gd name="connsiteY1" fmla="*/ 1857 h 10000"/>
                <a:gd name="connsiteX2" fmla="*/ 4884 w 10000"/>
                <a:gd name="connsiteY2" fmla="*/ 2857 h 10000"/>
                <a:gd name="connsiteX3" fmla="*/ 5116 w 10000"/>
                <a:gd name="connsiteY3" fmla="*/ 3714 h 10000"/>
                <a:gd name="connsiteX4" fmla="*/ 5814 w 10000"/>
                <a:gd name="connsiteY4" fmla="*/ 5429 h 10000"/>
                <a:gd name="connsiteX5" fmla="*/ 5116 w 10000"/>
                <a:gd name="connsiteY5" fmla="*/ 5571 h 10000"/>
                <a:gd name="connsiteX6" fmla="*/ 4884 w 10000"/>
                <a:gd name="connsiteY6" fmla="*/ 6429 h 10000"/>
                <a:gd name="connsiteX7" fmla="*/ 4651 w 10000"/>
                <a:gd name="connsiteY7" fmla="*/ 6857 h 10000"/>
                <a:gd name="connsiteX8" fmla="*/ 5349 w 10000"/>
                <a:gd name="connsiteY8" fmla="*/ 7429 h 10000"/>
                <a:gd name="connsiteX9" fmla="*/ 5349 w 10000"/>
                <a:gd name="connsiteY9" fmla="*/ 7714 h 10000"/>
                <a:gd name="connsiteX10" fmla="*/ 3953 w 10000"/>
                <a:gd name="connsiteY10" fmla="*/ 7286 h 10000"/>
                <a:gd name="connsiteX11" fmla="*/ 2558 w 10000"/>
                <a:gd name="connsiteY11" fmla="*/ 6857 h 10000"/>
                <a:gd name="connsiteX12" fmla="*/ 1395 w 10000"/>
                <a:gd name="connsiteY12" fmla="*/ 6857 h 10000"/>
                <a:gd name="connsiteX13" fmla="*/ 1395 w 10000"/>
                <a:gd name="connsiteY13" fmla="*/ 7429 h 10000"/>
                <a:gd name="connsiteX14" fmla="*/ 0 w 10000"/>
                <a:gd name="connsiteY14" fmla="*/ 7571 h 10000"/>
                <a:gd name="connsiteX15" fmla="*/ 0 w 10000"/>
                <a:gd name="connsiteY15" fmla="*/ 9143 h 10000"/>
                <a:gd name="connsiteX16" fmla="*/ 465 w 10000"/>
                <a:gd name="connsiteY16" fmla="*/ 9714 h 10000"/>
                <a:gd name="connsiteX17" fmla="*/ 1395 w 10000"/>
                <a:gd name="connsiteY17" fmla="*/ 9714 h 10000"/>
                <a:gd name="connsiteX18" fmla="*/ 1860 w 10000"/>
                <a:gd name="connsiteY18" fmla="*/ 9857 h 10000"/>
                <a:gd name="connsiteX19" fmla="*/ 1628 w 10000"/>
                <a:gd name="connsiteY19" fmla="*/ 9857 h 10000"/>
                <a:gd name="connsiteX20" fmla="*/ 2093 w 10000"/>
                <a:gd name="connsiteY20" fmla="*/ 10000 h 10000"/>
                <a:gd name="connsiteX21" fmla="*/ 2558 w 10000"/>
                <a:gd name="connsiteY21" fmla="*/ 9857 h 10000"/>
                <a:gd name="connsiteX22" fmla="*/ 3488 w 10000"/>
                <a:gd name="connsiteY22" fmla="*/ 10000 h 10000"/>
                <a:gd name="connsiteX23" fmla="*/ 4186 w 10000"/>
                <a:gd name="connsiteY23" fmla="*/ 9571 h 10000"/>
                <a:gd name="connsiteX24" fmla="*/ 5116 w 10000"/>
                <a:gd name="connsiteY24" fmla="*/ 9000 h 10000"/>
                <a:gd name="connsiteX25" fmla="*/ 5814 w 10000"/>
                <a:gd name="connsiteY25" fmla="*/ 8857 h 10000"/>
                <a:gd name="connsiteX26" fmla="*/ 5581 w 10000"/>
                <a:gd name="connsiteY26" fmla="*/ 8857 h 10000"/>
                <a:gd name="connsiteX27" fmla="*/ 5581 w 10000"/>
                <a:gd name="connsiteY27" fmla="*/ 8714 h 10000"/>
                <a:gd name="connsiteX28" fmla="*/ 7674 w 10000"/>
                <a:gd name="connsiteY28" fmla="*/ 8143 h 10000"/>
                <a:gd name="connsiteX29" fmla="*/ 8605 w 10000"/>
                <a:gd name="connsiteY29" fmla="*/ 8429 h 10000"/>
                <a:gd name="connsiteX30" fmla="*/ 9070 w 10000"/>
                <a:gd name="connsiteY30" fmla="*/ 8857 h 10000"/>
                <a:gd name="connsiteX31" fmla="*/ 9302 w 10000"/>
                <a:gd name="connsiteY31" fmla="*/ 9143 h 10000"/>
                <a:gd name="connsiteX32" fmla="*/ 10000 w 10000"/>
                <a:gd name="connsiteY32" fmla="*/ 8857 h 10000"/>
                <a:gd name="connsiteX33" fmla="*/ 10000 w 10000"/>
                <a:gd name="connsiteY33" fmla="*/ 8429 h 10000"/>
                <a:gd name="connsiteX34" fmla="*/ 9302 w 10000"/>
                <a:gd name="connsiteY34" fmla="*/ 7714 h 10000"/>
                <a:gd name="connsiteX35" fmla="*/ 9302 w 10000"/>
                <a:gd name="connsiteY35" fmla="*/ 7000 h 10000"/>
                <a:gd name="connsiteX36" fmla="*/ 9535 w 10000"/>
                <a:gd name="connsiteY36" fmla="*/ 7000 h 10000"/>
                <a:gd name="connsiteX37" fmla="*/ 9070 w 10000"/>
                <a:gd name="connsiteY37" fmla="*/ 6286 h 10000"/>
                <a:gd name="connsiteX38" fmla="*/ 8837 w 10000"/>
                <a:gd name="connsiteY38" fmla="*/ 6000 h 10000"/>
                <a:gd name="connsiteX39" fmla="*/ 7674 w 10000"/>
                <a:gd name="connsiteY39" fmla="*/ 5857 h 10000"/>
                <a:gd name="connsiteX40" fmla="*/ 6512 w 10000"/>
                <a:gd name="connsiteY40" fmla="*/ 5571 h 10000"/>
                <a:gd name="connsiteX41" fmla="*/ 6047 w 10000"/>
                <a:gd name="connsiteY41" fmla="*/ 4857 h 10000"/>
                <a:gd name="connsiteX42" fmla="*/ 5581 w 10000"/>
                <a:gd name="connsiteY42" fmla="*/ 3714 h 10000"/>
                <a:gd name="connsiteX43" fmla="*/ 6047 w 10000"/>
                <a:gd name="connsiteY43" fmla="*/ 3286 h 10000"/>
                <a:gd name="connsiteX44" fmla="*/ 5814 w 10000"/>
                <a:gd name="connsiteY44" fmla="*/ 2286 h 10000"/>
                <a:gd name="connsiteX45" fmla="*/ 6977 w 10000"/>
                <a:gd name="connsiteY45" fmla="*/ 2286 h 10000"/>
                <a:gd name="connsiteX46" fmla="*/ 7442 w 10000"/>
                <a:gd name="connsiteY46" fmla="*/ 2857 h 10000"/>
                <a:gd name="connsiteX47" fmla="*/ 8372 w 10000"/>
                <a:gd name="connsiteY47" fmla="*/ 2857 h 10000"/>
                <a:gd name="connsiteX48" fmla="*/ 8372 w 10000"/>
                <a:gd name="connsiteY48" fmla="*/ 2429 h 10000"/>
                <a:gd name="connsiteX49" fmla="*/ 8605 w 10000"/>
                <a:gd name="connsiteY49" fmla="*/ 2143 h 10000"/>
                <a:gd name="connsiteX50" fmla="*/ 8837 w 10000"/>
                <a:gd name="connsiteY50" fmla="*/ 2286 h 10000"/>
                <a:gd name="connsiteX51" fmla="*/ 8605 w 10000"/>
                <a:gd name="connsiteY51" fmla="*/ 1429 h 10000"/>
                <a:gd name="connsiteX52" fmla="*/ 9070 w 10000"/>
                <a:gd name="connsiteY52" fmla="*/ 857 h 10000"/>
                <a:gd name="connsiteX53" fmla="*/ 9070 w 10000"/>
                <a:gd name="connsiteY53" fmla="*/ 286 h 10000"/>
                <a:gd name="connsiteX54" fmla="*/ 8605 w 10000"/>
                <a:gd name="connsiteY54" fmla="*/ 0 h 10000"/>
                <a:gd name="connsiteX55" fmla="*/ 8140 w 10000"/>
                <a:gd name="connsiteY55" fmla="*/ 0 h 10000"/>
                <a:gd name="connsiteX56" fmla="*/ 6512 w 10000"/>
                <a:gd name="connsiteY56" fmla="*/ 143 h 10000"/>
                <a:gd name="connsiteX57" fmla="*/ 6279 w 10000"/>
                <a:gd name="connsiteY57" fmla="*/ 0 h 10000"/>
                <a:gd name="connsiteX58" fmla="*/ 6279 w 10000"/>
                <a:gd name="connsiteY58" fmla="*/ 714 h 10000"/>
                <a:gd name="connsiteX59" fmla="*/ 6279 w 10000"/>
                <a:gd name="connsiteY59" fmla="*/ 857 h 10000"/>
                <a:gd name="connsiteX0" fmla="*/ 6279 w 10000"/>
                <a:gd name="connsiteY0" fmla="*/ 857 h 10000"/>
                <a:gd name="connsiteX1" fmla="*/ 5349 w 10000"/>
                <a:gd name="connsiteY1" fmla="*/ 1857 h 10000"/>
                <a:gd name="connsiteX2" fmla="*/ 4884 w 10000"/>
                <a:gd name="connsiteY2" fmla="*/ 2857 h 10000"/>
                <a:gd name="connsiteX3" fmla="*/ 5116 w 10000"/>
                <a:gd name="connsiteY3" fmla="*/ 3714 h 10000"/>
                <a:gd name="connsiteX4" fmla="*/ 5116 w 10000"/>
                <a:gd name="connsiteY4" fmla="*/ 5571 h 10000"/>
                <a:gd name="connsiteX5" fmla="*/ 4884 w 10000"/>
                <a:gd name="connsiteY5" fmla="*/ 6429 h 10000"/>
                <a:gd name="connsiteX6" fmla="*/ 4651 w 10000"/>
                <a:gd name="connsiteY6" fmla="*/ 6857 h 10000"/>
                <a:gd name="connsiteX7" fmla="*/ 5349 w 10000"/>
                <a:gd name="connsiteY7" fmla="*/ 7429 h 10000"/>
                <a:gd name="connsiteX8" fmla="*/ 5349 w 10000"/>
                <a:gd name="connsiteY8" fmla="*/ 7714 h 10000"/>
                <a:gd name="connsiteX9" fmla="*/ 3953 w 10000"/>
                <a:gd name="connsiteY9" fmla="*/ 7286 h 10000"/>
                <a:gd name="connsiteX10" fmla="*/ 2558 w 10000"/>
                <a:gd name="connsiteY10" fmla="*/ 6857 h 10000"/>
                <a:gd name="connsiteX11" fmla="*/ 1395 w 10000"/>
                <a:gd name="connsiteY11" fmla="*/ 6857 h 10000"/>
                <a:gd name="connsiteX12" fmla="*/ 1395 w 10000"/>
                <a:gd name="connsiteY12" fmla="*/ 7429 h 10000"/>
                <a:gd name="connsiteX13" fmla="*/ 0 w 10000"/>
                <a:gd name="connsiteY13" fmla="*/ 7571 h 10000"/>
                <a:gd name="connsiteX14" fmla="*/ 0 w 10000"/>
                <a:gd name="connsiteY14" fmla="*/ 9143 h 10000"/>
                <a:gd name="connsiteX15" fmla="*/ 465 w 10000"/>
                <a:gd name="connsiteY15" fmla="*/ 9714 h 10000"/>
                <a:gd name="connsiteX16" fmla="*/ 1395 w 10000"/>
                <a:gd name="connsiteY16" fmla="*/ 9714 h 10000"/>
                <a:gd name="connsiteX17" fmla="*/ 1860 w 10000"/>
                <a:gd name="connsiteY17" fmla="*/ 9857 h 10000"/>
                <a:gd name="connsiteX18" fmla="*/ 1628 w 10000"/>
                <a:gd name="connsiteY18" fmla="*/ 9857 h 10000"/>
                <a:gd name="connsiteX19" fmla="*/ 2093 w 10000"/>
                <a:gd name="connsiteY19" fmla="*/ 10000 h 10000"/>
                <a:gd name="connsiteX20" fmla="*/ 2558 w 10000"/>
                <a:gd name="connsiteY20" fmla="*/ 9857 h 10000"/>
                <a:gd name="connsiteX21" fmla="*/ 3488 w 10000"/>
                <a:gd name="connsiteY21" fmla="*/ 10000 h 10000"/>
                <a:gd name="connsiteX22" fmla="*/ 4186 w 10000"/>
                <a:gd name="connsiteY22" fmla="*/ 9571 h 10000"/>
                <a:gd name="connsiteX23" fmla="*/ 5116 w 10000"/>
                <a:gd name="connsiteY23" fmla="*/ 9000 h 10000"/>
                <a:gd name="connsiteX24" fmla="*/ 5814 w 10000"/>
                <a:gd name="connsiteY24" fmla="*/ 8857 h 10000"/>
                <a:gd name="connsiteX25" fmla="*/ 5581 w 10000"/>
                <a:gd name="connsiteY25" fmla="*/ 8857 h 10000"/>
                <a:gd name="connsiteX26" fmla="*/ 5581 w 10000"/>
                <a:gd name="connsiteY26" fmla="*/ 8714 h 10000"/>
                <a:gd name="connsiteX27" fmla="*/ 7674 w 10000"/>
                <a:gd name="connsiteY27" fmla="*/ 8143 h 10000"/>
                <a:gd name="connsiteX28" fmla="*/ 8605 w 10000"/>
                <a:gd name="connsiteY28" fmla="*/ 8429 h 10000"/>
                <a:gd name="connsiteX29" fmla="*/ 9070 w 10000"/>
                <a:gd name="connsiteY29" fmla="*/ 8857 h 10000"/>
                <a:gd name="connsiteX30" fmla="*/ 9302 w 10000"/>
                <a:gd name="connsiteY30" fmla="*/ 9143 h 10000"/>
                <a:gd name="connsiteX31" fmla="*/ 10000 w 10000"/>
                <a:gd name="connsiteY31" fmla="*/ 8857 h 10000"/>
                <a:gd name="connsiteX32" fmla="*/ 10000 w 10000"/>
                <a:gd name="connsiteY32" fmla="*/ 8429 h 10000"/>
                <a:gd name="connsiteX33" fmla="*/ 9302 w 10000"/>
                <a:gd name="connsiteY33" fmla="*/ 7714 h 10000"/>
                <a:gd name="connsiteX34" fmla="*/ 9302 w 10000"/>
                <a:gd name="connsiteY34" fmla="*/ 7000 h 10000"/>
                <a:gd name="connsiteX35" fmla="*/ 9535 w 10000"/>
                <a:gd name="connsiteY35" fmla="*/ 7000 h 10000"/>
                <a:gd name="connsiteX36" fmla="*/ 9070 w 10000"/>
                <a:gd name="connsiteY36" fmla="*/ 6286 h 10000"/>
                <a:gd name="connsiteX37" fmla="*/ 8837 w 10000"/>
                <a:gd name="connsiteY37" fmla="*/ 6000 h 10000"/>
                <a:gd name="connsiteX38" fmla="*/ 7674 w 10000"/>
                <a:gd name="connsiteY38" fmla="*/ 5857 h 10000"/>
                <a:gd name="connsiteX39" fmla="*/ 6512 w 10000"/>
                <a:gd name="connsiteY39" fmla="*/ 5571 h 10000"/>
                <a:gd name="connsiteX40" fmla="*/ 6047 w 10000"/>
                <a:gd name="connsiteY40" fmla="*/ 4857 h 10000"/>
                <a:gd name="connsiteX41" fmla="*/ 5581 w 10000"/>
                <a:gd name="connsiteY41" fmla="*/ 3714 h 10000"/>
                <a:gd name="connsiteX42" fmla="*/ 6047 w 10000"/>
                <a:gd name="connsiteY42" fmla="*/ 3286 h 10000"/>
                <a:gd name="connsiteX43" fmla="*/ 5814 w 10000"/>
                <a:gd name="connsiteY43" fmla="*/ 2286 h 10000"/>
                <a:gd name="connsiteX44" fmla="*/ 6977 w 10000"/>
                <a:gd name="connsiteY44" fmla="*/ 2286 h 10000"/>
                <a:gd name="connsiteX45" fmla="*/ 7442 w 10000"/>
                <a:gd name="connsiteY45" fmla="*/ 2857 h 10000"/>
                <a:gd name="connsiteX46" fmla="*/ 8372 w 10000"/>
                <a:gd name="connsiteY46" fmla="*/ 2857 h 10000"/>
                <a:gd name="connsiteX47" fmla="*/ 8372 w 10000"/>
                <a:gd name="connsiteY47" fmla="*/ 2429 h 10000"/>
                <a:gd name="connsiteX48" fmla="*/ 8605 w 10000"/>
                <a:gd name="connsiteY48" fmla="*/ 2143 h 10000"/>
                <a:gd name="connsiteX49" fmla="*/ 8837 w 10000"/>
                <a:gd name="connsiteY49" fmla="*/ 2286 h 10000"/>
                <a:gd name="connsiteX50" fmla="*/ 8605 w 10000"/>
                <a:gd name="connsiteY50" fmla="*/ 1429 h 10000"/>
                <a:gd name="connsiteX51" fmla="*/ 9070 w 10000"/>
                <a:gd name="connsiteY51" fmla="*/ 857 h 10000"/>
                <a:gd name="connsiteX52" fmla="*/ 9070 w 10000"/>
                <a:gd name="connsiteY52" fmla="*/ 286 h 10000"/>
                <a:gd name="connsiteX53" fmla="*/ 8605 w 10000"/>
                <a:gd name="connsiteY53" fmla="*/ 0 h 10000"/>
                <a:gd name="connsiteX54" fmla="*/ 8140 w 10000"/>
                <a:gd name="connsiteY54" fmla="*/ 0 h 10000"/>
                <a:gd name="connsiteX55" fmla="*/ 6512 w 10000"/>
                <a:gd name="connsiteY55" fmla="*/ 143 h 10000"/>
                <a:gd name="connsiteX56" fmla="*/ 6279 w 10000"/>
                <a:gd name="connsiteY56" fmla="*/ 0 h 10000"/>
                <a:gd name="connsiteX57" fmla="*/ 6279 w 10000"/>
                <a:gd name="connsiteY57" fmla="*/ 714 h 10000"/>
                <a:gd name="connsiteX58" fmla="*/ 6279 w 10000"/>
                <a:gd name="connsiteY58" fmla="*/ 857 h 10000"/>
                <a:gd name="connsiteX0" fmla="*/ 6279 w 10000"/>
                <a:gd name="connsiteY0" fmla="*/ 857 h 10000"/>
                <a:gd name="connsiteX1" fmla="*/ 5349 w 10000"/>
                <a:gd name="connsiteY1" fmla="*/ 1857 h 10000"/>
                <a:gd name="connsiteX2" fmla="*/ 4884 w 10000"/>
                <a:gd name="connsiteY2" fmla="*/ 2857 h 10000"/>
                <a:gd name="connsiteX3" fmla="*/ 5116 w 10000"/>
                <a:gd name="connsiteY3" fmla="*/ 3714 h 10000"/>
                <a:gd name="connsiteX4" fmla="*/ 4884 w 10000"/>
                <a:gd name="connsiteY4" fmla="*/ 6429 h 10000"/>
                <a:gd name="connsiteX5" fmla="*/ 4651 w 10000"/>
                <a:gd name="connsiteY5" fmla="*/ 6857 h 10000"/>
                <a:gd name="connsiteX6" fmla="*/ 5349 w 10000"/>
                <a:gd name="connsiteY6" fmla="*/ 7429 h 10000"/>
                <a:gd name="connsiteX7" fmla="*/ 5349 w 10000"/>
                <a:gd name="connsiteY7" fmla="*/ 7714 h 10000"/>
                <a:gd name="connsiteX8" fmla="*/ 3953 w 10000"/>
                <a:gd name="connsiteY8" fmla="*/ 7286 h 10000"/>
                <a:gd name="connsiteX9" fmla="*/ 2558 w 10000"/>
                <a:gd name="connsiteY9" fmla="*/ 6857 h 10000"/>
                <a:gd name="connsiteX10" fmla="*/ 1395 w 10000"/>
                <a:gd name="connsiteY10" fmla="*/ 6857 h 10000"/>
                <a:gd name="connsiteX11" fmla="*/ 1395 w 10000"/>
                <a:gd name="connsiteY11" fmla="*/ 7429 h 10000"/>
                <a:gd name="connsiteX12" fmla="*/ 0 w 10000"/>
                <a:gd name="connsiteY12" fmla="*/ 7571 h 10000"/>
                <a:gd name="connsiteX13" fmla="*/ 0 w 10000"/>
                <a:gd name="connsiteY13" fmla="*/ 9143 h 10000"/>
                <a:gd name="connsiteX14" fmla="*/ 465 w 10000"/>
                <a:gd name="connsiteY14" fmla="*/ 9714 h 10000"/>
                <a:gd name="connsiteX15" fmla="*/ 1395 w 10000"/>
                <a:gd name="connsiteY15" fmla="*/ 9714 h 10000"/>
                <a:gd name="connsiteX16" fmla="*/ 1860 w 10000"/>
                <a:gd name="connsiteY16" fmla="*/ 9857 h 10000"/>
                <a:gd name="connsiteX17" fmla="*/ 1628 w 10000"/>
                <a:gd name="connsiteY17" fmla="*/ 9857 h 10000"/>
                <a:gd name="connsiteX18" fmla="*/ 2093 w 10000"/>
                <a:gd name="connsiteY18" fmla="*/ 10000 h 10000"/>
                <a:gd name="connsiteX19" fmla="*/ 2558 w 10000"/>
                <a:gd name="connsiteY19" fmla="*/ 9857 h 10000"/>
                <a:gd name="connsiteX20" fmla="*/ 3488 w 10000"/>
                <a:gd name="connsiteY20" fmla="*/ 10000 h 10000"/>
                <a:gd name="connsiteX21" fmla="*/ 4186 w 10000"/>
                <a:gd name="connsiteY21" fmla="*/ 9571 h 10000"/>
                <a:gd name="connsiteX22" fmla="*/ 5116 w 10000"/>
                <a:gd name="connsiteY22" fmla="*/ 9000 h 10000"/>
                <a:gd name="connsiteX23" fmla="*/ 5814 w 10000"/>
                <a:gd name="connsiteY23" fmla="*/ 8857 h 10000"/>
                <a:gd name="connsiteX24" fmla="*/ 5581 w 10000"/>
                <a:gd name="connsiteY24" fmla="*/ 8857 h 10000"/>
                <a:gd name="connsiteX25" fmla="*/ 5581 w 10000"/>
                <a:gd name="connsiteY25" fmla="*/ 8714 h 10000"/>
                <a:gd name="connsiteX26" fmla="*/ 7674 w 10000"/>
                <a:gd name="connsiteY26" fmla="*/ 8143 h 10000"/>
                <a:gd name="connsiteX27" fmla="*/ 8605 w 10000"/>
                <a:gd name="connsiteY27" fmla="*/ 8429 h 10000"/>
                <a:gd name="connsiteX28" fmla="*/ 9070 w 10000"/>
                <a:gd name="connsiteY28" fmla="*/ 8857 h 10000"/>
                <a:gd name="connsiteX29" fmla="*/ 9302 w 10000"/>
                <a:gd name="connsiteY29" fmla="*/ 9143 h 10000"/>
                <a:gd name="connsiteX30" fmla="*/ 10000 w 10000"/>
                <a:gd name="connsiteY30" fmla="*/ 8857 h 10000"/>
                <a:gd name="connsiteX31" fmla="*/ 10000 w 10000"/>
                <a:gd name="connsiteY31" fmla="*/ 8429 h 10000"/>
                <a:gd name="connsiteX32" fmla="*/ 9302 w 10000"/>
                <a:gd name="connsiteY32" fmla="*/ 7714 h 10000"/>
                <a:gd name="connsiteX33" fmla="*/ 9302 w 10000"/>
                <a:gd name="connsiteY33" fmla="*/ 7000 h 10000"/>
                <a:gd name="connsiteX34" fmla="*/ 9535 w 10000"/>
                <a:gd name="connsiteY34" fmla="*/ 7000 h 10000"/>
                <a:gd name="connsiteX35" fmla="*/ 9070 w 10000"/>
                <a:gd name="connsiteY35" fmla="*/ 6286 h 10000"/>
                <a:gd name="connsiteX36" fmla="*/ 8837 w 10000"/>
                <a:gd name="connsiteY36" fmla="*/ 6000 h 10000"/>
                <a:gd name="connsiteX37" fmla="*/ 7674 w 10000"/>
                <a:gd name="connsiteY37" fmla="*/ 5857 h 10000"/>
                <a:gd name="connsiteX38" fmla="*/ 6512 w 10000"/>
                <a:gd name="connsiteY38" fmla="*/ 5571 h 10000"/>
                <a:gd name="connsiteX39" fmla="*/ 6047 w 10000"/>
                <a:gd name="connsiteY39" fmla="*/ 4857 h 10000"/>
                <a:gd name="connsiteX40" fmla="*/ 5581 w 10000"/>
                <a:gd name="connsiteY40" fmla="*/ 3714 h 10000"/>
                <a:gd name="connsiteX41" fmla="*/ 6047 w 10000"/>
                <a:gd name="connsiteY41" fmla="*/ 3286 h 10000"/>
                <a:gd name="connsiteX42" fmla="*/ 5814 w 10000"/>
                <a:gd name="connsiteY42" fmla="*/ 2286 h 10000"/>
                <a:gd name="connsiteX43" fmla="*/ 6977 w 10000"/>
                <a:gd name="connsiteY43" fmla="*/ 2286 h 10000"/>
                <a:gd name="connsiteX44" fmla="*/ 7442 w 10000"/>
                <a:gd name="connsiteY44" fmla="*/ 2857 h 10000"/>
                <a:gd name="connsiteX45" fmla="*/ 8372 w 10000"/>
                <a:gd name="connsiteY45" fmla="*/ 2857 h 10000"/>
                <a:gd name="connsiteX46" fmla="*/ 8372 w 10000"/>
                <a:gd name="connsiteY46" fmla="*/ 2429 h 10000"/>
                <a:gd name="connsiteX47" fmla="*/ 8605 w 10000"/>
                <a:gd name="connsiteY47" fmla="*/ 2143 h 10000"/>
                <a:gd name="connsiteX48" fmla="*/ 8837 w 10000"/>
                <a:gd name="connsiteY48" fmla="*/ 2286 h 10000"/>
                <a:gd name="connsiteX49" fmla="*/ 8605 w 10000"/>
                <a:gd name="connsiteY49" fmla="*/ 1429 h 10000"/>
                <a:gd name="connsiteX50" fmla="*/ 9070 w 10000"/>
                <a:gd name="connsiteY50" fmla="*/ 857 h 10000"/>
                <a:gd name="connsiteX51" fmla="*/ 9070 w 10000"/>
                <a:gd name="connsiteY51" fmla="*/ 286 h 10000"/>
                <a:gd name="connsiteX52" fmla="*/ 8605 w 10000"/>
                <a:gd name="connsiteY52" fmla="*/ 0 h 10000"/>
                <a:gd name="connsiteX53" fmla="*/ 8140 w 10000"/>
                <a:gd name="connsiteY53" fmla="*/ 0 h 10000"/>
                <a:gd name="connsiteX54" fmla="*/ 6512 w 10000"/>
                <a:gd name="connsiteY54" fmla="*/ 143 h 10000"/>
                <a:gd name="connsiteX55" fmla="*/ 6279 w 10000"/>
                <a:gd name="connsiteY55" fmla="*/ 0 h 10000"/>
                <a:gd name="connsiteX56" fmla="*/ 6279 w 10000"/>
                <a:gd name="connsiteY56" fmla="*/ 714 h 10000"/>
                <a:gd name="connsiteX57" fmla="*/ 6279 w 10000"/>
                <a:gd name="connsiteY57" fmla="*/ 857 h 10000"/>
                <a:gd name="connsiteX0" fmla="*/ 6279 w 10000"/>
                <a:gd name="connsiteY0" fmla="*/ 857 h 10000"/>
                <a:gd name="connsiteX1" fmla="*/ 5349 w 10000"/>
                <a:gd name="connsiteY1" fmla="*/ 1857 h 10000"/>
                <a:gd name="connsiteX2" fmla="*/ 4884 w 10000"/>
                <a:gd name="connsiteY2" fmla="*/ 2857 h 10000"/>
                <a:gd name="connsiteX3" fmla="*/ 5116 w 10000"/>
                <a:gd name="connsiteY3" fmla="*/ 3714 h 10000"/>
                <a:gd name="connsiteX4" fmla="*/ 4651 w 10000"/>
                <a:gd name="connsiteY4" fmla="*/ 6857 h 10000"/>
                <a:gd name="connsiteX5" fmla="*/ 5349 w 10000"/>
                <a:gd name="connsiteY5" fmla="*/ 7429 h 10000"/>
                <a:gd name="connsiteX6" fmla="*/ 5349 w 10000"/>
                <a:gd name="connsiteY6" fmla="*/ 7714 h 10000"/>
                <a:gd name="connsiteX7" fmla="*/ 3953 w 10000"/>
                <a:gd name="connsiteY7" fmla="*/ 7286 h 10000"/>
                <a:gd name="connsiteX8" fmla="*/ 2558 w 10000"/>
                <a:gd name="connsiteY8" fmla="*/ 6857 h 10000"/>
                <a:gd name="connsiteX9" fmla="*/ 1395 w 10000"/>
                <a:gd name="connsiteY9" fmla="*/ 6857 h 10000"/>
                <a:gd name="connsiteX10" fmla="*/ 1395 w 10000"/>
                <a:gd name="connsiteY10" fmla="*/ 7429 h 10000"/>
                <a:gd name="connsiteX11" fmla="*/ 0 w 10000"/>
                <a:gd name="connsiteY11" fmla="*/ 7571 h 10000"/>
                <a:gd name="connsiteX12" fmla="*/ 0 w 10000"/>
                <a:gd name="connsiteY12" fmla="*/ 9143 h 10000"/>
                <a:gd name="connsiteX13" fmla="*/ 465 w 10000"/>
                <a:gd name="connsiteY13" fmla="*/ 9714 h 10000"/>
                <a:gd name="connsiteX14" fmla="*/ 1395 w 10000"/>
                <a:gd name="connsiteY14" fmla="*/ 9714 h 10000"/>
                <a:gd name="connsiteX15" fmla="*/ 1860 w 10000"/>
                <a:gd name="connsiteY15" fmla="*/ 9857 h 10000"/>
                <a:gd name="connsiteX16" fmla="*/ 1628 w 10000"/>
                <a:gd name="connsiteY16" fmla="*/ 9857 h 10000"/>
                <a:gd name="connsiteX17" fmla="*/ 2093 w 10000"/>
                <a:gd name="connsiteY17" fmla="*/ 10000 h 10000"/>
                <a:gd name="connsiteX18" fmla="*/ 2558 w 10000"/>
                <a:gd name="connsiteY18" fmla="*/ 9857 h 10000"/>
                <a:gd name="connsiteX19" fmla="*/ 3488 w 10000"/>
                <a:gd name="connsiteY19" fmla="*/ 10000 h 10000"/>
                <a:gd name="connsiteX20" fmla="*/ 4186 w 10000"/>
                <a:gd name="connsiteY20" fmla="*/ 9571 h 10000"/>
                <a:gd name="connsiteX21" fmla="*/ 5116 w 10000"/>
                <a:gd name="connsiteY21" fmla="*/ 9000 h 10000"/>
                <a:gd name="connsiteX22" fmla="*/ 5814 w 10000"/>
                <a:gd name="connsiteY22" fmla="*/ 8857 h 10000"/>
                <a:gd name="connsiteX23" fmla="*/ 5581 w 10000"/>
                <a:gd name="connsiteY23" fmla="*/ 8857 h 10000"/>
                <a:gd name="connsiteX24" fmla="*/ 5581 w 10000"/>
                <a:gd name="connsiteY24" fmla="*/ 8714 h 10000"/>
                <a:gd name="connsiteX25" fmla="*/ 7674 w 10000"/>
                <a:gd name="connsiteY25" fmla="*/ 8143 h 10000"/>
                <a:gd name="connsiteX26" fmla="*/ 8605 w 10000"/>
                <a:gd name="connsiteY26" fmla="*/ 8429 h 10000"/>
                <a:gd name="connsiteX27" fmla="*/ 9070 w 10000"/>
                <a:gd name="connsiteY27" fmla="*/ 8857 h 10000"/>
                <a:gd name="connsiteX28" fmla="*/ 9302 w 10000"/>
                <a:gd name="connsiteY28" fmla="*/ 9143 h 10000"/>
                <a:gd name="connsiteX29" fmla="*/ 10000 w 10000"/>
                <a:gd name="connsiteY29" fmla="*/ 8857 h 10000"/>
                <a:gd name="connsiteX30" fmla="*/ 10000 w 10000"/>
                <a:gd name="connsiteY30" fmla="*/ 8429 h 10000"/>
                <a:gd name="connsiteX31" fmla="*/ 9302 w 10000"/>
                <a:gd name="connsiteY31" fmla="*/ 7714 h 10000"/>
                <a:gd name="connsiteX32" fmla="*/ 9302 w 10000"/>
                <a:gd name="connsiteY32" fmla="*/ 7000 h 10000"/>
                <a:gd name="connsiteX33" fmla="*/ 9535 w 10000"/>
                <a:gd name="connsiteY33" fmla="*/ 7000 h 10000"/>
                <a:gd name="connsiteX34" fmla="*/ 9070 w 10000"/>
                <a:gd name="connsiteY34" fmla="*/ 6286 h 10000"/>
                <a:gd name="connsiteX35" fmla="*/ 8837 w 10000"/>
                <a:gd name="connsiteY35" fmla="*/ 6000 h 10000"/>
                <a:gd name="connsiteX36" fmla="*/ 7674 w 10000"/>
                <a:gd name="connsiteY36" fmla="*/ 5857 h 10000"/>
                <a:gd name="connsiteX37" fmla="*/ 6512 w 10000"/>
                <a:gd name="connsiteY37" fmla="*/ 5571 h 10000"/>
                <a:gd name="connsiteX38" fmla="*/ 6047 w 10000"/>
                <a:gd name="connsiteY38" fmla="*/ 4857 h 10000"/>
                <a:gd name="connsiteX39" fmla="*/ 5581 w 10000"/>
                <a:gd name="connsiteY39" fmla="*/ 3714 h 10000"/>
                <a:gd name="connsiteX40" fmla="*/ 6047 w 10000"/>
                <a:gd name="connsiteY40" fmla="*/ 3286 h 10000"/>
                <a:gd name="connsiteX41" fmla="*/ 5814 w 10000"/>
                <a:gd name="connsiteY41" fmla="*/ 2286 h 10000"/>
                <a:gd name="connsiteX42" fmla="*/ 6977 w 10000"/>
                <a:gd name="connsiteY42" fmla="*/ 2286 h 10000"/>
                <a:gd name="connsiteX43" fmla="*/ 7442 w 10000"/>
                <a:gd name="connsiteY43" fmla="*/ 2857 h 10000"/>
                <a:gd name="connsiteX44" fmla="*/ 8372 w 10000"/>
                <a:gd name="connsiteY44" fmla="*/ 2857 h 10000"/>
                <a:gd name="connsiteX45" fmla="*/ 8372 w 10000"/>
                <a:gd name="connsiteY45" fmla="*/ 2429 h 10000"/>
                <a:gd name="connsiteX46" fmla="*/ 8605 w 10000"/>
                <a:gd name="connsiteY46" fmla="*/ 2143 h 10000"/>
                <a:gd name="connsiteX47" fmla="*/ 8837 w 10000"/>
                <a:gd name="connsiteY47" fmla="*/ 2286 h 10000"/>
                <a:gd name="connsiteX48" fmla="*/ 8605 w 10000"/>
                <a:gd name="connsiteY48" fmla="*/ 1429 h 10000"/>
                <a:gd name="connsiteX49" fmla="*/ 9070 w 10000"/>
                <a:gd name="connsiteY49" fmla="*/ 857 h 10000"/>
                <a:gd name="connsiteX50" fmla="*/ 9070 w 10000"/>
                <a:gd name="connsiteY50" fmla="*/ 286 h 10000"/>
                <a:gd name="connsiteX51" fmla="*/ 8605 w 10000"/>
                <a:gd name="connsiteY51" fmla="*/ 0 h 10000"/>
                <a:gd name="connsiteX52" fmla="*/ 8140 w 10000"/>
                <a:gd name="connsiteY52" fmla="*/ 0 h 10000"/>
                <a:gd name="connsiteX53" fmla="*/ 6512 w 10000"/>
                <a:gd name="connsiteY53" fmla="*/ 143 h 10000"/>
                <a:gd name="connsiteX54" fmla="*/ 6279 w 10000"/>
                <a:gd name="connsiteY54" fmla="*/ 0 h 10000"/>
                <a:gd name="connsiteX55" fmla="*/ 6279 w 10000"/>
                <a:gd name="connsiteY55" fmla="*/ 714 h 10000"/>
                <a:gd name="connsiteX56" fmla="*/ 6279 w 10000"/>
                <a:gd name="connsiteY56" fmla="*/ 857 h 10000"/>
                <a:gd name="connsiteX0" fmla="*/ 6279 w 10000"/>
                <a:gd name="connsiteY0" fmla="*/ 857 h 10000"/>
                <a:gd name="connsiteX1" fmla="*/ 5349 w 10000"/>
                <a:gd name="connsiteY1" fmla="*/ 1857 h 10000"/>
                <a:gd name="connsiteX2" fmla="*/ 4884 w 10000"/>
                <a:gd name="connsiteY2" fmla="*/ 2857 h 10000"/>
                <a:gd name="connsiteX3" fmla="*/ 5116 w 10000"/>
                <a:gd name="connsiteY3" fmla="*/ 3714 h 10000"/>
                <a:gd name="connsiteX4" fmla="*/ 5349 w 10000"/>
                <a:gd name="connsiteY4" fmla="*/ 7429 h 10000"/>
                <a:gd name="connsiteX5" fmla="*/ 5349 w 10000"/>
                <a:gd name="connsiteY5" fmla="*/ 7714 h 10000"/>
                <a:gd name="connsiteX6" fmla="*/ 3953 w 10000"/>
                <a:gd name="connsiteY6" fmla="*/ 7286 h 10000"/>
                <a:gd name="connsiteX7" fmla="*/ 2558 w 10000"/>
                <a:gd name="connsiteY7" fmla="*/ 6857 h 10000"/>
                <a:gd name="connsiteX8" fmla="*/ 1395 w 10000"/>
                <a:gd name="connsiteY8" fmla="*/ 6857 h 10000"/>
                <a:gd name="connsiteX9" fmla="*/ 1395 w 10000"/>
                <a:gd name="connsiteY9" fmla="*/ 7429 h 10000"/>
                <a:gd name="connsiteX10" fmla="*/ 0 w 10000"/>
                <a:gd name="connsiteY10" fmla="*/ 7571 h 10000"/>
                <a:gd name="connsiteX11" fmla="*/ 0 w 10000"/>
                <a:gd name="connsiteY11" fmla="*/ 9143 h 10000"/>
                <a:gd name="connsiteX12" fmla="*/ 465 w 10000"/>
                <a:gd name="connsiteY12" fmla="*/ 9714 h 10000"/>
                <a:gd name="connsiteX13" fmla="*/ 1395 w 10000"/>
                <a:gd name="connsiteY13" fmla="*/ 9714 h 10000"/>
                <a:gd name="connsiteX14" fmla="*/ 1860 w 10000"/>
                <a:gd name="connsiteY14" fmla="*/ 9857 h 10000"/>
                <a:gd name="connsiteX15" fmla="*/ 1628 w 10000"/>
                <a:gd name="connsiteY15" fmla="*/ 9857 h 10000"/>
                <a:gd name="connsiteX16" fmla="*/ 2093 w 10000"/>
                <a:gd name="connsiteY16" fmla="*/ 10000 h 10000"/>
                <a:gd name="connsiteX17" fmla="*/ 2558 w 10000"/>
                <a:gd name="connsiteY17" fmla="*/ 9857 h 10000"/>
                <a:gd name="connsiteX18" fmla="*/ 3488 w 10000"/>
                <a:gd name="connsiteY18" fmla="*/ 10000 h 10000"/>
                <a:gd name="connsiteX19" fmla="*/ 4186 w 10000"/>
                <a:gd name="connsiteY19" fmla="*/ 9571 h 10000"/>
                <a:gd name="connsiteX20" fmla="*/ 5116 w 10000"/>
                <a:gd name="connsiteY20" fmla="*/ 9000 h 10000"/>
                <a:gd name="connsiteX21" fmla="*/ 5814 w 10000"/>
                <a:gd name="connsiteY21" fmla="*/ 8857 h 10000"/>
                <a:gd name="connsiteX22" fmla="*/ 5581 w 10000"/>
                <a:gd name="connsiteY22" fmla="*/ 8857 h 10000"/>
                <a:gd name="connsiteX23" fmla="*/ 5581 w 10000"/>
                <a:gd name="connsiteY23" fmla="*/ 8714 h 10000"/>
                <a:gd name="connsiteX24" fmla="*/ 7674 w 10000"/>
                <a:gd name="connsiteY24" fmla="*/ 8143 h 10000"/>
                <a:gd name="connsiteX25" fmla="*/ 8605 w 10000"/>
                <a:gd name="connsiteY25" fmla="*/ 8429 h 10000"/>
                <a:gd name="connsiteX26" fmla="*/ 9070 w 10000"/>
                <a:gd name="connsiteY26" fmla="*/ 8857 h 10000"/>
                <a:gd name="connsiteX27" fmla="*/ 9302 w 10000"/>
                <a:gd name="connsiteY27" fmla="*/ 9143 h 10000"/>
                <a:gd name="connsiteX28" fmla="*/ 10000 w 10000"/>
                <a:gd name="connsiteY28" fmla="*/ 8857 h 10000"/>
                <a:gd name="connsiteX29" fmla="*/ 10000 w 10000"/>
                <a:gd name="connsiteY29" fmla="*/ 8429 h 10000"/>
                <a:gd name="connsiteX30" fmla="*/ 9302 w 10000"/>
                <a:gd name="connsiteY30" fmla="*/ 7714 h 10000"/>
                <a:gd name="connsiteX31" fmla="*/ 9302 w 10000"/>
                <a:gd name="connsiteY31" fmla="*/ 7000 h 10000"/>
                <a:gd name="connsiteX32" fmla="*/ 9535 w 10000"/>
                <a:gd name="connsiteY32" fmla="*/ 7000 h 10000"/>
                <a:gd name="connsiteX33" fmla="*/ 9070 w 10000"/>
                <a:gd name="connsiteY33" fmla="*/ 6286 h 10000"/>
                <a:gd name="connsiteX34" fmla="*/ 8837 w 10000"/>
                <a:gd name="connsiteY34" fmla="*/ 6000 h 10000"/>
                <a:gd name="connsiteX35" fmla="*/ 7674 w 10000"/>
                <a:gd name="connsiteY35" fmla="*/ 5857 h 10000"/>
                <a:gd name="connsiteX36" fmla="*/ 6512 w 10000"/>
                <a:gd name="connsiteY36" fmla="*/ 5571 h 10000"/>
                <a:gd name="connsiteX37" fmla="*/ 6047 w 10000"/>
                <a:gd name="connsiteY37" fmla="*/ 4857 h 10000"/>
                <a:gd name="connsiteX38" fmla="*/ 5581 w 10000"/>
                <a:gd name="connsiteY38" fmla="*/ 3714 h 10000"/>
                <a:gd name="connsiteX39" fmla="*/ 6047 w 10000"/>
                <a:gd name="connsiteY39" fmla="*/ 3286 h 10000"/>
                <a:gd name="connsiteX40" fmla="*/ 5814 w 10000"/>
                <a:gd name="connsiteY40" fmla="*/ 2286 h 10000"/>
                <a:gd name="connsiteX41" fmla="*/ 6977 w 10000"/>
                <a:gd name="connsiteY41" fmla="*/ 2286 h 10000"/>
                <a:gd name="connsiteX42" fmla="*/ 7442 w 10000"/>
                <a:gd name="connsiteY42" fmla="*/ 2857 h 10000"/>
                <a:gd name="connsiteX43" fmla="*/ 8372 w 10000"/>
                <a:gd name="connsiteY43" fmla="*/ 2857 h 10000"/>
                <a:gd name="connsiteX44" fmla="*/ 8372 w 10000"/>
                <a:gd name="connsiteY44" fmla="*/ 2429 h 10000"/>
                <a:gd name="connsiteX45" fmla="*/ 8605 w 10000"/>
                <a:gd name="connsiteY45" fmla="*/ 2143 h 10000"/>
                <a:gd name="connsiteX46" fmla="*/ 8837 w 10000"/>
                <a:gd name="connsiteY46" fmla="*/ 2286 h 10000"/>
                <a:gd name="connsiteX47" fmla="*/ 8605 w 10000"/>
                <a:gd name="connsiteY47" fmla="*/ 1429 h 10000"/>
                <a:gd name="connsiteX48" fmla="*/ 9070 w 10000"/>
                <a:gd name="connsiteY48" fmla="*/ 857 h 10000"/>
                <a:gd name="connsiteX49" fmla="*/ 9070 w 10000"/>
                <a:gd name="connsiteY49" fmla="*/ 286 h 10000"/>
                <a:gd name="connsiteX50" fmla="*/ 8605 w 10000"/>
                <a:gd name="connsiteY50" fmla="*/ 0 h 10000"/>
                <a:gd name="connsiteX51" fmla="*/ 8140 w 10000"/>
                <a:gd name="connsiteY51" fmla="*/ 0 h 10000"/>
                <a:gd name="connsiteX52" fmla="*/ 6512 w 10000"/>
                <a:gd name="connsiteY52" fmla="*/ 143 h 10000"/>
                <a:gd name="connsiteX53" fmla="*/ 6279 w 10000"/>
                <a:gd name="connsiteY53" fmla="*/ 0 h 10000"/>
                <a:gd name="connsiteX54" fmla="*/ 6279 w 10000"/>
                <a:gd name="connsiteY54" fmla="*/ 714 h 10000"/>
                <a:gd name="connsiteX55" fmla="*/ 6279 w 10000"/>
                <a:gd name="connsiteY55" fmla="*/ 857 h 10000"/>
                <a:gd name="connsiteX0" fmla="*/ 6279 w 10000"/>
                <a:gd name="connsiteY0" fmla="*/ 857 h 10000"/>
                <a:gd name="connsiteX1" fmla="*/ 5349 w 10000"/>
                <a:gd name="connsiteY1" fmla="*/ 1857 h 10000"/>
                <a:gd name="connsiteX2" fmla="*/ 4884 w 10000"/>
                <a:gd name="connsiteY2" fmla="*/ 2857 h 10000"/>
                <a:gd name="connsiteX3" fmla="*/ 5116 w 10000"/>
                <a:gd name="connsiteY3" fmla="*/ 3714 h 10000"/>
                <a:gd name="connsiteX4" fmla="*/ 5349 w 10000"/>
                <a:gd name="connsiteY4" fmla="*/ 7714 h 10000"/>
                <a:gd name="connsiteX5" fmla="*/ 3953 w 10000"/>
                <a:gd name="connsiteY5" fmla="*/ 7286 h 10000"/>
                <a:gd name="connsiteX6" fmla="*/ 2558 w 10000"/>
                <a:gd name="connsiteY6" fmla="*/ 6857 h 10000"/>
                <a:gd name="connsiteX7" fmla="*/ 1395 w 10000"/>
                <a:gd name="connsiteY7" fmla="*/ 6857 h 10000"/>
                <a:gd name="connsiteX8" fmla="*/ 1395 w 10000"/>
                <a:gd name="connsiteY8" fmla="*/ 7429 h 10000"/>
                <a:gd name="connsiteX9" fmla="*/ 0 w 10000"/>
                <a:gd name="connsiteY9" fmla="*/ 7571 h 10000"/>
                <a:gd name="connsiteX10" fmla="*/ 0 w 10000"/>
                <a:gd name="connsiteY10" fmla="*/ 9143 h 10000"/>
                <a:gd name="connsiteX11" fmla="*/ 465 w 10000"/>
                <a:gd name="connsiteY11" fmla="*/ 9714 h 10000"/>
                <a:gd name="connsiteX12" fmla="*/ 1395 w 10000"/>
                <a:gd name="connsiteY12" fmla="*/ 9714 h 10000"/>
                <a:gd name="connsiteX13" fmla="*/ 1860 w 10000"/>
                <a:gd name="connsiteY13" fmla="*/ 9857 h 10000"/>
                <a:gd name="connsiteX14" fmla="*/ 1628 w 10000"/>
                <a:gd name="connsiteY14" fmla="*/ 9857 h 10000"/>
                <a:gd name="connsiteX15" fmla="*/ 2093 w 10000"/>
                <a:gd name="connsiteY15" fmla="*/ 10000 h 10000"/>
                <a:gd name="connsiteX16" fmla="*/ 2558 w 10000"/>
                <a:gd name="connsiteY16" fmla="*/ 9857 h 10000"/>
                <a:gd name="connsiteX17" fmla="*/ 3488 w 10000"/>
                <a:gd name="connsiteY17" fmla="*/ 10000 h 10000"/>
                <a:gd name="connsiteX18" fmla="*/ 4186 w 10000"/>
                <a:gd name="connsiteY18" fmla="*/ 9571 h 10000"/>
                <a:gd name="connsiteX19" fmla="*/ 5116 w 10000"/>
                <a:gd name="connsiteY19" fmla="*/ 9000 h 10000"/>
                <a:gd name="connsiteX20" fmla="*/ 5814 w 10000"/>
                <a:gd name="connsiteY20" fmla="*/ 8857 h 10000"/>
                <a:gd name="connsiteX21" fmla="*/ 5581 w 10000"/>
                <a:gd name="connsiteY21" fmla="*/ 8857 h 10000"/>
                <a:gd name="connsiteX22" fmla="*/ 5581 w 10000"/>
                <a:gd name="connsiteY22" fmla="*/ 8714 h 10000"/>
                <a:gd name="connsiteX23" fmla="*/ 7674 w 10000"/>
                <a:gd name="connsiteY23" fmla="*/ 8143 h 10000"/>
                <a:gd name="connsiteX24" fmla="*/ 8605 w 10000"/>
                <a:gd name="connsiteY24" fmla="*/ 8429 h 10000"/>
                <a:gd name="connsiteX25" fmla="*/ 9070 w 10000"/>
                <a:gd name="connsiteY25" fmla="*/ 8857 h 10000"/>
                <a:gd name="connsiteX26" fmla="*/ 9302 w 10000"/>
                <a:gd name="connsiteY26" fmla="*/ 9143 h 10000"/>
                <a:gd name="connsiteX27" fmla="*/ 10000 w 10000"/>
                <a:gd name="connsiteY27" fmla="*/ 8857 h 10000"/>
                <a:gd name="connsiteX28" fmla="*/ 10000 w 10000"/>
                <a:gd name="connsiteY28" fmla="*/ 8429 h 10000"/>
                <a:gd name="connsiteX29" fmla="*/ 9302 w 10000"/>
                <a:gd name="connsiteY29" fmla="*/ 7714 h 10000"/>
                <a:gd name="connsiteX30" fmla="*/ 9302 w 10000"/>
                <a:gd name="connsiteY30" fmla="*/ 7000 h 10000"/>
                <a:gd name="connsiteX31" fmla="*/ 9535 w 10000"/>
                <a:gd name="connsiteY31" fmla="*/ 7000 h 10000"/>
                <a:gd name="connsiteX32" fmla="*/ 9070 w 10000"/>
                <a:gd name="connsiteY32" fmla="*/ 6286 h 10000"/>
                <a:gd name="connsiteX33" fmla="*/ 8837 w 10000"/>
                <a:gd name="connsiteY33" fmla="*/ 6000 h 10000"/>
                <a:gd name="connsiteX34" fmla="*/ 7674 w 10000"/>
                <a:gd name="connsiteY34" fmla="*/ 5857 h 10000"/>
                <a:gd name="connsiteX35" fmla="*/ 6512 w 10000"/>
                <a:gd name="connsiteY35" fmla="*/ 5571 h 10000"/>
                <a:gd name="connsiteX36" fmla="*/ 6047 w 10000"/>
                <a:gd name="connsiteY36" fmla="*/ 4857 h 10000"/>
                <a:gd name="connsiteX37" fmla="*/ 5581 w 10000"/>
                <a:gd name="connsiteY37" fmla="*/ 3714 h 10000"/>
                <a:gd name="connsiteX38" fmla="*/ 6047 w 10000"/>
                <a:gd name="connsiteY38" fmla="*/ 3286 h 10000"/>
                <a:gd name="connsiteX39" fmla="*/ 5814 w 10000"/>
                <a:gd name="connsiteY39" fmla="*/ 2286 h 10000"/>
                <a:gd name="connsiteX40" fmla="*/ 6977 w 10000"/>
                <a:gd name="connsiteY40" fmla="*/ 2286 h 10000"/>
                <a:gd name="connsiteX41" fmla="*/ 7442 w 10000"/>
                <a:gd name="connsiteY41" fmla="*/ 2857 h 10000"/>
                <a:gd name="connsiteX42" fmla="*/ 8372 w 10000"/>
                <a:gd name="connsiteY42" fmla="*/ 2857 h 10000"/>
                <a:gd name="connsiteX43" fmla="*/ 8372 w 10000"/>
                <a:gd name="connsiteY43" fmla="*/ 2429 h 10000"/>
                <a:gd name="connsiteX44" fmla="*/ 8605 w 10000"/>
                <a:gd name="connsiteY44" fmla="*/ 2143 h 10000"/>
                <a:gd name="connsiteX45" fmla="*/ 8837 w 10000"/>
                <a:gd name="connsiteY45" fmla="*/ 2286 h 10000"/>
                <a:gd name="connsiteX46" fmla="*/ 8605 w 10000"/>
                <a:gd name="connsiteY46" fmla="*/ 1429 h 10000"/>
                <a:gd name="connsiteX47" fmla="*/ 9070 w 10000"/>
                <a:gd name="connsiteY47" fmla="*/ 857 h 10000"/>
                <a:gd name="connsiteX48" fmla="*/ 9070 w 10000"/>
                <a:gd name="connsiteY48" fmla="*/ 286 h 10000"/>
                <a:gd name="connsiteX49" fmla="*/ 8605 w 10000"/>
                <a:gd name="connsiteY49" fmla="*/ 0 h 10000"/>
                <a:gd name="connsiteX50" fmla="*/ 8140 w 10000"/>
                <a:gd name="connsiteY50" fmla="*/ 0 h 10000"/>
                <a:gd name="connsiteX51" fmla="*/ 6512 w 10000"/>
                <a:gd name="connsiteY51" fmla="*/ 143 h 10000"/>
                <a:gd name="connsiteX52" fmla="*/ 6279 w 10000"/>
                <a:gd name="connsiteY52" fmla="*/ 0 h 10000"/>
                <a:gd name="connsiteX53" fmla="*/ 6279 w 10000"/>
                <a:gd name="connsiteY53" fmla="*/ 714 h 10000"/>
                <a:gd name="connsiteX54" fmla="*/ 6279 w 10000"/>
                <a:gd name="connsiteY54" fmla="*/ 857 h 10000"/>
                <a:gd name="connsiteX0" fmla="*/ 6279 w 10000"/>
                <a:gd name="connsiteY0" fmla="*/ 857 h 10000"/>
                <a:gd name="connsiteX1" fmla="*/ 5349 w 10000"/>
                <a:gd name="connsiteY1" fmla="*/ 1857 h 10000"/>
                <a:gd name="connsiteX2" fmla="*/ 4884 w 10000"/>
                <a:gd name="connsiteY2" fmla="*/ 2857 h 10000"/>
                <a:gd name="connsiteX3" fmla="*/ 5116 w 10000"/>
                <a:gd name="connsiteY3" fmla="*/ 3714 h 10000"/>
                <a:gd name="connsiteX4" fmla="*/ 3953 w 10000"/>
                <a:gd name="connsiteY4" fmla="*/ 7286 h 10000"/>
                <a:gd name="connsiteX5" fmla="*/ 2558 w 10000"/>
                <a:gd name="connsiteY5" fmla="*/ 6857 h 10000"/>
                <a:gd name="connsiteX6" fmla="*/ 1395 w 10000"/>
                <a:gd name="connsiteY6" fmla="*/ 6857 h 10000"/>
                <a:gd name="connsiteX7" fmla="*/ 1395 w 10000"/>
                <a:gd name="connsiteY7" fmla="*/ 7429 h 10000"/>
                <a:gd name="connsiteX8" fmla="*/ 0 w 10000"/>
                <a:gd name="connsiteY8" fmla="*/ 7571 h 10000"/>
                <a:gd name="connsiteX9" fmla="*/ 0 w 10000"/>
                <a:gd name="connsiteY9" fmla="*/ 9143 h 10000"/>
                <a:gd name="connsiteX10" fmla="*/ 465 w 10000"/>
                <a:gd name="connsiteY10" fmla="*/ 9714 h 10000"/>
                <a:gd name="connsiteX11" fmla="*/ 1395 w 10000"/>
                <a:gd name="connsiteY11" fmla="*/ 9714 h 10000"/>
                <a:gd name="connsiteX12" fmla="*/ 1860 w 10000"/>
                <a:gd name="connsiteY12" fmla="*/ 9857 h 10000"/>
                <a:gd name="connsiteX13" fmla="*/ 1628 w 10000"/>
                <a:gd name="connsiteY13" fmla="*/ 9857 h 10000"/>
                <a:gd name="connsiteX14" fmla="*/ 2093 w 10000"/>
                <a:gd name="connsiteY14" fmla="*/ 10000 h 10000"/>
                <a:gd name="connsiteX15" fmla="*/ 2558 w 10000"/>
                <a:gd name="connsiteY15" fmla="*/ 9857 h 10000"/>
                <a:gd name="connsiteX16" fmla="*/ 3488 w 10000"/>
                <a:gd name="connsiteY16" fmla="*/ 10000 h 10000"/>
                <a:gd name="connsiteX17" fmla="*/ 4186 w 10000"/>
                <a:gd name="connsiteY17" fmla="*/ 9571 h 10000"/>
                <a:gd name="connsiteX18" fmla="*/ 5116 w 10000"/>
                <a:gd name="connsiteY18" fmla="*/ 9000 h 10000"/>
                <a:gd name="connsiteX19" fmla="*/ 5814 w 10000"/>
                <a:gd name="connsiteY19" fmla="*/ 8857 h 10000"/>
                <a:gd name="connsiteX20" fmla="*/ 5581 w 10000"/>
                <a:gd name="connsiteY20" fmla="*/ 8857 h 10000"/>
                <a:gd name="connsiteX21" fmla="*/ 5581 w 10000"/>
                <a:gd name="connsiteY21" fmla="*/ 8714 h 10000"/>
                <a:gd name="connsiteX22" fmla="*/ 7674 w 10000"/>
                <a:gd name="connsiteY22" fmla="*/ 8143 h 10000"/>
                <a:gd name="connsiteX23" fmla="*/ 8605 w 10000"/>
                <a:gd name="connsiteY23" fmla="*/ 8429 h 10000"/>
                <a:gd name="connsiteX24" fmla="*/ 9070 w 10000"/>
                <a:gd name="connsiteY24" fmla="*/ 8857 h 10000"/>
                <a:gd name="connsiteX25" fmla="*/ 9302 w 10000"/>
                <a:gd name="connsiteY25" fmla="*/ 9143 h 10000"/>
                <a:gd name="connsiteX26" fmla="*/ 10000 w 10000"/>
                <a:gd name="connsiteY26" fmla="*/ 8857 h 10000"/>
                <a:gd name="connsiteX27" fmla="*/ 10000 w 10000"/>
                <a:gd name="connsiteY27" fmla="*/ 8429 h 10000"/>
                <a:gd name="connsiteX28" fmla="*/ 9302 w 10000"/>
                <a:gd name="connsiteY28" fmla="*/ 7714 h 10000"/>
                <a:gd name="connsiteX29" fmla="*/ 9302 w 10000"/>
                <a:gd name="connsiteY29" fmla="*/ 7000 h 10000"/>
                <a:gd name="connsiteX30" fmla="*/ 9535 w 10000"/>
                <a:gd name="connsiteY30" fmla="*/ 7000 h 10000"/>
                <a:gd name="connsiteX31" fmla="*/ 9070 w 10000"/>
                <a:gd name="connsiteY31" fmla="*/ 6286 h 10000"/>
                <a:gd name="connsiteX32" fmla="*/ 8837 w 10000"/>
                <a:gd name="connsiteY32" fmla="*/ 6000 h 10000"/>
                <a:gd name="connsiteX33" fmla="*/ 7674 w 10000"/>
                <a:gd name="connsiteY33" fmla="*/ 5857 h 10000"/>
                <a:gd name="connsiteX34" fmla="*/ 6512 w 10000"/>
                <a:gd name="connsiteY34" fmla="*/ 5571 h 10000"/>
                <a:gd name="connsiteX35" fmla="*/ 6047 w 10000"/>
                <a:gd name="connsiteY35" fmla="*/ 4857 h 10000"/>
                <a:gd name="connsiteX36" fmla="*/ 5581 w 10000"/>
                <a:gd name="connsiteY36" fmla="*/ 3714 h 10000"/>
                <a:gd name="connsiteX37" fmla="*/ 6047 w 10000"/>
                <a:gd name="connsiteY37" fmla="*/ 3286 h 10000"/>
                <a:gd name="connsiteX38" fmla="*/ 5814 w 10000"/>
                <a:gd name="connsiteY38" fmla="*/ 2286 h 10000"/>
                <a:gd name="connsiteX39" fmla="*/ 6977 w 10000"/>
                <a:gd name="connsiteY39" fmla="*/ 2286 h 10000"/>
                <a:gd name="connsiteX40" fmla="*/ 7442 w 10000"/>
                <a:gd name="connsiteY40" fmla="*/ 2857 h 10000"/>
                <a:gd name="connsiteX41" fmla="*/ 8372 w 10000"/>
                <a:gd name="connsiteY41" fmla="*/ 2857 h 10000"/>
                <a:gd name="connsiteX42" fmla="*/ 8372 w 10000"/>
                <a:gd name="connsiteY42" fmla="*/ 2429 h 10000"/>
                <a:gd name="connsiteX43" fmla="*/ 8605 w 10000"/>
                <a:gd name="connsiteY43" fmla="*/ 2143 h 10000"/>
                <a:gd name="connsiteX44" fmla="*/ 8837 w 10000"/>
                <a:gd name="connsiteY44" fmla="*/ 2286 h 10000"/>
                <a:gd name="connsiteX45" fmla="*/ 8605 w 10000"/>
                <a:gd name="connsiteY45" fmla="*/ 1429 h 10000"/>
                <a:gd name="connsiteX46" fmla="*/ 9070 w 10000"/>
                <a:gd name="connsiteY46" fmla="*/ 857 h 10000"/>
                <a:gd name="connsiteX47" fmla="*/ 9070 w 10000"/>
                <a:gd name="connsiteY47" fmla="*/ 286 h 10000"/>
                <a:gd name="connsiteX48" fmla="*/ 8605 w 10000"/>
                <a:gd name="connsiteY48" fmla="*/ 0 h 10000"/>
                <a:gd name="connsiteX49" fmla="*/ 8140 w 10000"/>
                <a:gd name="connsiteY49" fmla="*/ 0 h 10000"/>
                <a:gd name="connsiteX50" fmla="*/ 6512 w 10000"/>
                <a:gd name="connsiteY50" fmla="*/ 143 h 10000"/>
                <a:gd name="connsiteX51" fmla="*/ 6279 w 10000"/>
                <a:gd name="connsiteY51" fmla="*/ 0 h 10000"/>
                <a:gd name="connsiteX52" fmla="*/ 6279 w 10000"/>
                <a:gd name="connsiteY52" fmla="*/ 714 h 10000"/>
                <a:gd name="connsiteX53" fmla="*/ 6279 w 10000"/>
                <a:gd name="connsiteY53" fmla="*/ 857 h 10000"/>
                <a:gd name="connsiteX0" fmla="*/ 6279 w 10000"/>
                <a:gd name="connsiteY0" fmla="*/ 857 h 10000"/>
                <a:gd name="connsiteX1" fmla="*/ 5349 w 10000"/>
                <a:gd name="connsiteY1" fmla="*/ 1857 h 10000"/>
                <a:gd name="connsiteX2" fmla="*/ 4884 w 10000"/>
                <a:gd name="connsiteY2" fmla="*/ 2857 h 10000"/>
                <a:gd name="connsiteX3" fmla="*/ 5116 w 10000"/>
                <a:gd name="connsiteY3" fmla="*/ 3714 h 10000"/>
                <a:gd name="connsiteX4" fmla="*/ 2558 w 10000"/>
                <a:gd name="connsiteY4" fmla="*/ 6857 h 10000"/>
                <a:gd name="connsiteX5" fmla="*/ 1395 w 10000"/>
                <a:gd name="connsiteY5" fmla="*/ 6857 h 10000"/>
                <a:gd name="connsiteX6" fmla="*/ 1395 w 10000"/>
                <a:gd name="connsiteY6" fmla="*/ 7429 h 10000"/>
                <a:gd name="connsiteX7" fmla="*/ 0 w 10000"/>
                <a:gd name="connsiteY7" fmla="*/ 7571 h 10000"/>
                <a:gd name="connsiteX8" fmla="*/ 0 w 10000"/>
                <a:gd name="connsiteY8" fmla="*/ 9143 h 10000"/>
                <a:gd name="connsiteX9" fmla="*/ 465 w 10000"/>
                <a:gd name="connsiteY9" fmla="*/ 9714 h 10000"/>
                <a:gd name="connsiteX10" fmla="*/ 1395 w 10000"/>
                <a:gd name="connsiteY10" fmla="*/ 9714 h 10000"/>
                <a:gd name="connsiteX11" fmla="*/ 1860 w 10000"/>
                <a:gd name="connsiteY11" fmla="*/ 9857 h 10000"/>
                <a:gd name="connsiteX12" fmla="*/ 1628 w 10000"/>
                <a:gd name="connsiteY12" fmla="*/ 9857 h 10000"/>
                <a:gd name="connsiteX13" fmla="*/ 2093 w 10000"/>
                <a:gd name="connsiteY13" fmla="*/ 10000 h 10000"/>
                <a:gd name="connsiteX14" fmla="*/ 2558 w 10000"/>
                <a:gd name="connsiteY14" fmla="*/ 9857 h 10000"/>
                <a:gd name="connsiteX15" fmla="*/ 3488 w 10000"/>
                <a:gd name="connsiteY15" fmla="*/ 10000 h 10000"/>
                <a:gd name="connsiteX16" fmla="*/ 4186 w 10000"/>
                <a:gd name="connsiteY16" fmla="*/ 9571 h 10000"/>
                <a:gd name="connsiteX17" fmla="*/ 5116 w 10000"/>
                <a:gd name="connsiteY17" fmla="*/ 9000 h 10000"/>
                <a:gd name="connsiteX18" fmla="*/ 5814 w 10000"/>
                <a:gd name="connsiteY18" fmla="*/ 8857 h 10000"/>
                <a:gd name="connsiteX19" fmla="*/ 5581 w 10000"/>
                <a:gd name="connsiteY19" fmla="*/ 8857 h 10000"/>
                <a:gd name="connsiteX20" fmla="*/ 5581 w 10000"/>
                <a:gd name="connsiteY20" fmla="*/ 8714 h 10000"/>
                <a:gd name="connsiteX21" fmla="*/ 7674 w 10000"/>
                <a:gd name="connsiteY21" fmla="*/ 8143 h 10000"/>
                <a:gd name="connsiteX22" fmla="*/ 8605 w 10000"/>
                <a:gd name="connsiteY22" fmla="*/ 8429 h 10000"/>
                <a:gd name="connsiteX23" fmla="*/ 9070 w 10000"/>
                <a:gd name="connsiteY23" fmla="*/ 8857 h 10000"/>
                <a:gd name="connsiteX24" fmla="*/ 9302 w 10000"/>
                <a:gd name="connsiteY24" fmla="*/ 9143 h 10000"/>
                <a:gd name="connsiteX25" fmla="*/ 10000 w 10000"/>
                <a:gd name="connsiteY25" fmla="*/ 8857 h 10000"/>
                <a:gd name="connsiteX26" fmla="*/ 10000 w 10000"/>
                <a:gd name="connsiteY26" fmla="*/ 8429 h 10000"/>
                <a:gd name="connsiteX27" fmla="*/ 9302 w 10000"/>
                <a:gd name="connsiteY27" fmla="*/ 7714 h 10000"/>
                <a:gd name="connsiteX28" fmla="*/ 9302 w 10000"/>
                <a:gd name="connsiteY28" fmla="*/ 7000 h 10000"/>
                <a:gd name="connsiteX29" fmla="*/ 9535 w 10000"/>
                <a:gd name="connsiteY29" fmla="*/ 7000 h 10000"/>
                <a:gd name="connsiteX30" fmla="*/ 9070 w 10000"/>
                <a:gd name="connsiteY30" fmla="*/ 6286 h 10000"/>
                <a:gd name="connsiteX31" fmla="*/ 8837 w 10000"/>
                <a:gd name="connsiteY31" fmla="*/ 6000 h 10000"/>
                <a:gd name="connsiteX32" fmla="*/ 7674 w 10000"/>
                <a:gd name="connsiteY32" fmla="*/ 5857 h 10000"/>
                <a:gd name="connsiteX33" fmla="*/ 6512 w 10000"/>
                <a:gd name="connsiteY33" fmla="*/ 5571 h 10000"/>
                <a:gd name="connsiteX34" fmla="*/ 6047 w 10000"/>
                <a:gd name="connsiteY34" fmla="*/ 4857 h 10000"/>
                <a:gd name="connsiteX35" fmla="*/ 5581 w 10000"/>
                <a:gd name="connsiteY35" fmla="*/ 3714 h 10000"/>
                <a:gd name="connsiteX36" fmla="*/ 6047 w 10000"/>
                <a:gd name="connsiteY36" fmla="*/ 3286 h 10000"/>
                <a:gd name="connsiteX37" fmla="*/ 5814 w 10000"/>
                <a:gd name="connsiteY37" fmla="*/ 2286 h 10000"/>
                <a:gd name="connsiteX38" fmla="*/ 6977 w 10000"/>
                <a:gd name="connsiteY38" fmla="*/ 2286 h 10000"/>
                <a:gd name="connsiteX39" fmla="*/ 7442 w 10000"/>
                <a:gd name="connsiteY39" fmla="*/ 2857 h 10000"/>
                <a:gd name="connsiteX40" fmla="*/ 8372 w 10000"/>
                <a:gd name="connsiteY40" fmla="*/ 2857 h 10000"/>
                <a:gd name="connsiteX41" fmla="*/ 8372 w 10000"/>
                <a:gd name="connsiteY41" fmla="*/ 2429 h 10000"/>
                <a:gd name="connsiteX42" fmla="*/ 8605 w 10000"/>
                <a:gd name="connsiteY42" fmla="*/ 2143 h 10000"/>
                <a:gd name="connsiteX43" fmla="*/ 8837 w 10000"/>
                <a:gd name="connsiteY43" fmla="*/ 2286 h 10000"/>
                <a:gd name="connsiteX44" fmla="*/ 8605 w 10000"/>
                <a:gd name="connsiteY44" fmla="*/ 1429 h 10000"/>
                <a:gd name="connsiteX45" fmla="*/ 9070 w 10000"/>
                <a:gd name="connsiteY45" fmla="*/ 857 h 10000"/>
                <a:gd name="connsiteX46" fmla="*/ 9070 w 10000"/>
                <a:gd name="connsiteY46" fmla="*/ 286 h 10000"/>
                <a:gd name="connsiteX47" fmla="*/ 8605 w 10000"/>
                <a:gd name="connsiteY47" fmla="*/ 0 h 10000"/>
                <a:gd name="connsiteX48" fmla="*/ 8140 w 10000"/>
                <a:gd name="connsiteY48" fmla="*/ 0 h 10000"/>
                <a:gd name="connsiteX49" fmla="*/ 6512 w 10000"/>
                <a:gd name="connsiteY49" fmla="*/ 143 h 10000"/>
                <a:gd name="connsiteX50" fmla="*/ 6279 w 10000"/>
                <a:gd name="connsiteY50" fmla="*/ 0 h 10000"/>
                <a:gd name="connsiteX51" fmla="*/ 6279 w 10000"/>
                <a:gd name="connsiteY51" fmla="*/ 714 h 10000"/>
                <a:gd name="connsiteX52" fmla="*/ 6279 w 10000"/>
                <a:gd name="connsiteY52" fmla="*/ 857 h 10000"/>
                <a:gd name="connsiteX0" fmla="*/ 6279 w 10000"/>
                <a:gd name="connsiteY0" fmla="*/ 857 h 10000"/>
                <a:gd name="connsiteX1" fmla="*/ 5349 w 10000"/>
                <a:gd name="connsiteY1" fmla="*/ 1857 h 10000"/>
                <a:gd name="connsiteX2" fmla="*/ 4884 w 10000"/>
                <a:gd name="connsiteY2" fmla="*/ 2857 h 10000"/>
                <a:gd name="connsiteX3" fmla="*/ 5116 w 10000"/>
                <a:gd name="connsiteY3" fmla="*/ 3714 h 10000"/>
                <a:gd name="connsiteX4" fmla="*/ 1395 w 10000"/>
                <a:gd name="connsiteY4" fmla="*/ 6857 h 10000"/>
                <a:gd name="connsiteX5" fmla="*/ 1395 w 10000"/>
                <a:gd name="connsiteY5" fmla="*/ 7429 h 10000"/>
                <a:gd name="connsiteX6" fmla="*/ 0 w 10000"/>
                <a:gd name="connsiteY6" fmla="*/ 7571 h 10000"/>
                <a:gd name="connsiteX7" fmla="*/ 0 w 10000"/>
                <a:gd name="connsiteY7" fmla="*/ 9143 h 10000"/>
                <a:gd name="connsiteX8" fmla="*/ 465 w 10000"/>
                <a:gd name="connsiteY8" fmla="*/ 9714 h 10000"/>
                <a:gd name="connsiteX9" fmla="*/ 1395 w 10000"/>
                <a:gd name="connsiteY9" fmla="*/ 9714 h 10000"/>
                <a:gd name="connsiteX10" fmla="*/ 1860 w 10000"/>
                <a:gd name="connsiteY10" fmla="*/ 9857 h 10000"/>
                <a:gd name="connsiteX11" fmla="*/ 1628 w 10000"/>
                <a:gd name="connsiteY11" fmla="*/ 9857 h 10000"/>
                <a:gd name="connsiteX12" fmla="*/ 2093 w 10000"/>
                <a:gd name="connsiteY12" fmla="*/ 10000 h 10000"/>
                <a:gd name="connsiteX13" fmla="*/ 2558 w 10000"/>
                <a:gd name="connsiteY13" fmla="*/ 9857 h 10000"/>
                <a:gd name="connsiteX14" fmla="*/ 3488 w 10000"/>
                <a:gd name="connsiteY14" fmla="*/ 10000 h 10000"/>
                <a:gd name="connsiteX15" fmla="*/ 4186 w 10000"/>
                <a:gd name="connsiteY15" fmla="*/ 9571 h 10000"/>
                <a:gd name="connsiteX16" fmla="*/ 5116 w 10000"/>
                <a:gd name="connsiteY16" fmla="*/ 9000 h 10000"/>
                <a:gd name="connsiteX17" fmla="*/ 5814 w 10000"/>
                <a:gd name="connsiteY17" fmla="*/ 8857 h 10000"/>
                <a:gd name="connsiteX18" fmla="*/ 5581 w 10000"/>
                <a:gd name="connsiteY18" fmla="*/ 8857 h 10000"/>
                <a:gd name="connsiteX19" fmla="*/ 5581 w 10000"/>
                <a:gd name="connsiteY19" fmla="*/ 8714 h 10000"/>
                <a:gd name="connsiteX20" fmla="*/ 7674 w 10000"/>
                <a:gd name="connsiteY20" fmla="*/ 8143 h 10000"/>
                <a:gd name="connsiteX21" fmla="*/ 8605 w 10000"/>
                <a:gd name="connsiteY21" fmla="*/ 8429 h 10000"/>
                <a:gd name="connsiteX22" fmla="*/ 9070 w 10000"/>
                <a:gd name="connsiteY22" fmla="*/ 8857 h 10000"/>
                <a:gd name="connsiteX23" fmla="*/ 9302 w 10000"/>
                <a:gd name="connsiteY23" fmla="*/ 9143 h 10000"/>
                <a:gd name="connsiteX24" fmla="*/ 10000 w 10000"/>
                <a:gd name="connsiteY24" fmla="*/ 8857 h 10000"/>
                <a:gd name="connsiteX25" fmla="*/ 10000 w 10000"/>
                <a:gd name="connsiteY25" fmla="*/ 8429 h 10000"/>
                <a:gd name="connsiteX26" fmla="*/ 9302 w 10000"/>
                <a:gd name="connsiteY26" fmla="*/ 7714 h 10000"/>
                <a:gd name="connsiteX27" fmla="*/ 9302 w 10000"/>
                <a:gd name="connsiteY27" fmla="*/ 7000 h 10000"/>
                <a:gd name="connsiteX28" fmla="*/ 9535 w 10000"/>
                <a:gd name="connsiteY28" fmla="*/ 7000 h 10000"/>
                <a:gd name="connsiteX29" fmla="*/ 9070 w 10000"/>
                <a:gd name="connsiteY29" fmla="*/ 6286 h 10000"/>
                <a:gd name="connsiteX30" fmla="*/ 8837 w 10000"/>
                <a:gd name="connsiteY30" fmla="*/ 6000 h 10000"/>
                <a:gd name="connsiteX31" fmla="*/ 7674 w 10000"/>
                <a:gd name="connsiteY31" fmla="*/ 5857 h 10000"/>
                <a:gd name="connsiteX32" fmla="*/ 6512 w 10000"/>
                <a:gd name="connsiteY32" fmla="*/ 5571 h 10000"/>
                <a:gd name="connsiteX33" fmla="*/ 6047 w 10000"/>
                <a:gd name="connsiteY33" fmla="*/ 4857 h 10000"/>
                <a:gd name="connsiteX34" fmla="*/ 5581 w 10000"/>
                <a:gd name="connsiteY34" fmla="*/ 3714 h 10000"/>
                <a:gd name="connsiteX35" fmla="*/ 6047 w 10000"/>
                <a:gd name="connsiteY35" fmla="*/ 3286 h 10000"/>
                <a:gd name="connsiteX36" fmla="*/ 5814 w 10000"/>
                <a:gd name="connsiteY36" fmla="*/ 2286 h 10000"/>
                <a:gd name="connsiteX37" fmla="*/ 6977 w 10000"/>
                <a:gd name="connsiteY37" fmla="*/ 2286 h 10000"/>
                <a:gd name="connsiteX38" fmla="*/ 7442 w 10000"/>
                <a:gd name="connsiteY38" fmla="*/ 2857 h 10000"/>
                <a:gd name="connsiteX39" fmla="*/ 8372 w 10000"/>
                <a:gd name="connsiteY39" fmla="*/ 2857 h 10000"/>
                <a:gd name="connsiteX40" fmla="*/ 8372 w 10000"/>
                <a:gd name="connsiteY40" fmla="*/ 2429 h 10000"/>
                <a:gd name="connsiteX41" fmla="*/ 8605 w 10000"/>
                <a:gd name="connsiteY41" fmla="*/ 2143 h 10000"/>
                <a:gd name="connsiteX42" fmla="*/ 8837 w 10000"/>
                <a:gd name="connsiteY42" fmla="*/ 2286 h 10000"/>
                <a:gd name="connsiteX43" fmla="*/ 8605 w 10000"/>
                <a:gd name="connsiteY43" fmla="*/ 1429 h 10000"/>
                <a:gd name="connsiteX44" fmla="*/ 9070 w 10000"/>
                <a:gd name="connsiteY44" fmla="*/ 857 h 10000"/>
                <a:gd name="connsiteX45" fmla="*/ 9070 w 10000"/>
                <a:gd name="connsiteY45" fmla="*/ 286 h 10000"/>
                <a:gd name="connsiteX46" fmla="*/ 8605 w 10000"/>
                <a:gd name="connsiteY46" fmla="*/ 0 h 10000"/>
                <a:gd name="connsiteX47" fmla="*/ 8140 w 10000"/>
                <a:gd name="connsiteY47" fmla="*/ 0 h 10000"/>
                <a:gd name="connsiteX48" fmla="*/ 6512 w 10000"/>
                <a:gd name="connsiteY48" fmla="*/ 143 h 10000"/>
                <a:gd name="connsiteX49" fmla="*/ 6279 w 10000"/>
                <a:gd name="connsiteY49" fmla="*/ 0 h 10000"/>
                <a:gd name="connsiteX50" fmla="*/ 6279 w 10000"/>
                <a:gd name="connsiteY50" fmla="*/ 714 h 10000"/>
                <a:gd name="connsiteX51" fmla="*/ 6279 w 10000"/>
                <a:gd name="connsiteY51" fmla="*/ 857 h 10000"/>
                <a:gd name="connsiteX0" fmla="*/ 6279 w 10000"/>
                <a:gd name="connsiteY0" fmla="*/ 857 h 10000"/>
                <a:gd name="connsiteX1" fmla="*/ 5349 w 10000"/>
                <a:gd name="connsiteY1" fmla="*/ 1857 h 10000"/>
                <a:gd name="connsiteX2" fmla="*/ 4884 w 10000"/>
                <a:gd name="connsiteY2" fmla="*/ 2857 h 10000"/>
                <a:gd name="connsiteX3" fmla="*/ 5116 w 10000"/>
                <a:gd name="connsiteY3" fmla="*/ 3714 h 10000"/>
                <a:gd name="connsiteX4" fmla="*/ 1395 w 10000"/>
                <a:gd name="connsiteY4" fmla="*/ 7429 h 10000"/>
                <a:gd name="connsiteX5" fmla="*/ 0 w 10000"/>
                <a:gd name="connsiteY5" fmla="*/ 7571 h 10000"/>
                <a:gd name="connsiteX6" fmla="*/ 0 w 10000"/>
                <a:gd name="connsiteY6" fmla="*/ 9143 h 10000"/>
                <a:gd name="connsiteX7" fmla="*/ 465 w 10000"/>
                <a:gd name="connsiteY7" fmla="*/ 9714 h 10000"/>
                <a:gd name="connsiteX8" fmla="*/ 1395 w 10000"/>
                <a:gd name="connsiteY8" fmla="*/ 9714 h 10000"/>
                <a:gd name="connsiteX9" fmla="*/ 1860 w 10000"/>
                <a:gd name="connsiteY9" fmla="*/ 9857 h 10000"/>
                <a:gd name="connsiteX10" fmla="*/ 1628 w 10000"/>
                <a:gd name="connsiteY10" fmla="*/ 9857 h 10000"/>
                <a:gd name="connsiteX11" fmla="*/ 2093 w 10000"/>
                <a:gd name="connsiteY11" fmla="*/ 10000 h 10000"/>
                <a:gd name="connsiteX12" fmla="*/ 2558 w 10000"/>
                <a:gd name="connsiteY12" fmla="*/ 9857 h 10000"/>
                <a:gd name="connsiteX13" fmla="*/ 3488 w 10000"/>
                <a:gd name="connsiteY13" fmla="*/ 10000 h 10000"/>
                <a:gd name="connsiteX14" fmla="*/ 4186 w 10000"/>
                <a:gd name="connsiteY14" fmla="*/ 9571 h 10000"/>
                <a:gd name="connsiteX15" fmla="*/ 5116 w 10000"/>
                <a:gd name="connsiteY15" fmla="*/ 9000 h 10000"/>
                <a:gd name="connsiteX16" fmla="*/ 5814 w 10000"/>
                <a:gd name="connsiteY16" fmla="*/ 8857 h 10000"/>
                <a:gd name="connsiteX17" fmla="*/ 5581 w 10000"/>
                <a:gd name="connsiteY17" fmla="*/ 8857 h 10000"/>
                <a:gd name="connsiteX18" fmla="*/ 5581 w 10000"/>
                <a:gd name="connsiteY18" fmla="*/ 8714 h 10000"/>
                <a:gd name="connsiteX19" fmla="*/ 7674 w 10000"/>
                <a:gd name="connsiteY19" fmla="*/ 8143 h 10000"/>
                <a:gd name="connsiteX20" fmla="*/ 8605 w 10000"/>
                <a:gd name="connsiteY20" fmla="*/ 8429 h 10000"/>
                <a:gd name="connsiteX21" fmla="*/ 9070 w 10000"/>
                <a:gd name="connsiteY21" fmla="*/ 8857 h 10000"/>
                <a:gd name="connsiteX22" fmla="*/ 9302 w 10000"/>
                <a:gd name="connsiteY22" fmla="*/ 9143 h 10000"/>
                <a:gd name="connsiteX23" fmla="*/ 10000 w 10000"/>
                <a:gd name="connsiteY23" fmla="*/ 8857 h 10000"/>
                <a:gd name="connsiteX24" fmla="*/ 10000 w 10000"/>
                <a:gd name="connsiteY24" fmla="*/ 8429 h 10000"/>
                <a:gd name="connsiteX25" fmla="*/ 9302 w 10000"/>
                <a:gd name="connsiteY25" fmla="*/ 7714 h 10000"/>
                <a:gd name="connsiteX26" fmla="*/ 9302 w 10000"/>
                <a:gd name="connsiteY26" fmla="*/ 7000 h 10000"/>
                <a:gd name="connsiteX27" fmla="*/ 9535 w 10000"/>
                <a:gd name="connsiteY27" fmla="*/ 7000 h 10000"/>
                <a:gd name="connsiteX28" fmla="*/ 9070 w 10000"/>
                <a:gd name="connsiteY28" fmla="*/ 6286 h 10000"/>
                <a:gd name="connsiteX29" fmla="*/ 8837 w 10000"/>
                <a:gd name="connsiteY29" fmla="*/ 6000 h 10000"/>
                <a:gd name="connsiteX30" fmla="*/ 7674 w 10000"/>
                <a:gd name="connsiteY30" fmla="*/ 5857 h 10000"/>
                <a:gd name="connsiteX31" fmla="*/ 6512 w 10000"/>
                <a:gd name="connsiteY31" fmla="*/ 5571 h 10000"/>
                <a:gd name="connsiteX32" fmla="*/ 6047 w 10000"/>
                <a:gd name="connsiteY32" fmla="*/ 4857 h 10000"/>
                <a:gd name="connsiteX33" fmla="*/ 5581 w 10000"/>
                <a:gd name="connsiteY33" fmla="*/ 3714 h 10000"/>
                <a:gd name="connsiteX34" fmla="*/ 6047 w 10000"/>
                <a:gd name="connsiteY34" fmla="*/ 3286 h 10000"/>
                <a:gd name="connsiteX35" fmla="*/ 5814 w 10000"/>
                <a:gd name="connsiteY35" fmla="*/ 2286 h 10000"/>
                <a:gd name="connsiteX36" fmla="*/ 6977 w 10000"/>
                <a:gd name="connsiteY36" fmla="*/ 2286 h 10000"/>
                <a:gd name="connsiteX37" fmla="*/ 7442 w 10000"/>
                <a:gd name="connsiteY37" fmla="*/ 2857 h 10000"/>
                <a:gd name="connsiteX38" fmla="*/ 8372 w 10000"/>
                <a:gd name="connsiteY38" fmla="*/ 2857 h 10000"/>
                <a:gd name="connsiteX39" fmla="*/ 8372 w 10000"/>
                <a:gd name="connsiteY39" fmla="*/ 2429 h 10000"/>
                <a:gd name="connsiteX40" fmla="*/ 8605 w 10000"/>
                <a:gd name="connsiteY40" fmla="*/ 2143 h 10000"/>
                <a:gd name="connsiteX41" fmla="*/ 8837 w 10000"/>
                <a:gd name="connsiteY41" fmla="*/ 2286 h 10000"/>
                <a:gd name="connsiteX42" fmla="*/ 8605 w 10000"/>
                <a:gd name="connsiteY42" fmla="*/ 1429 h 10000"/>
                <a:gd name="connsiteX43" fmla="*/ 9070 w 10000"/>
                <a:gd name="connsiteY43" fmla="*/ 857 h 10000"/>
                <a:gd name="connsiteX44" fmla="*/ 9070 w 10000"/>
                <a:gd name="connsiteY44" fmla="*/ 286 h 10000"/>
                <a:gd name="connsiteX45" fmla="*/ 8605 w 10000"/>
                <a:gd name="connsiteY45" fmla="*/ 0 h 10000"/>
                <a:gd name="connsiteX46" fmla="*/ 8140 w 10000"/>
                <a:gd name="connsiteY46" fmla="*/ 0 h 10000"/>
                <a:gd name="connsiteX47" fmla="*/ 6512 w 10000"/>
                <a:gd name="connsiteY47" fmla="*/ 143 h 10000"/>
                <a:gd name="connsiteX48" fmla="*/ 6279 w 10000"/>
                <a:gd name="connsiteY48" fmla="*/ 0 h 10000"/>
                <a:gd name="connsiteX49" fmla="*/ 6279 w 10000"/>
                <a:gd name="connsiteY49" fmla="*/ 714 h 10000"/>
                <a:gd name="connsiteX50" fmla="*/ 6279 w 10000"/>
                <a:gd name="connsiteY50" fmla="*/ 857 h 10000"/>
                <a:gd name="connsiteX0" fmla="*/ 6658 w 10379"/>
                <a:gd name="connsiteY0" fmla="*/ 857 h 10000"/>
                <a:gd name="connsiteX1" fmla="*/ 5728 w 10379"/>
                <a:gd name="connsiteY1" fmla="*/ 1857 h 10000"/>
                <a:gd name="connsiteX2" fmla="*/ 5263 w 10379"/>
                <a:gd name="connsiteY2" fmla="*/ 2857 h 10000"/>
                <a:gd name="connsiteX3" fmla="*/ 5495 w 10379"/>
                <a:gd name="connsiteY3" fmla="*/ 3714 h 10000"/>
                <a:gd name="connsiteX4" fmla="*/ 379 w 10379"/>
                <a:gd name="connsiteY4" fmla="*/ 7571 h 10000"/>
                <a:gd name="connsiteX5" fmla="*/ 379 w 10379"/>
                <a:gd name="connsiteY5" fmla="*/ 9143 h 10000"/>
                <a:gd name="connsiteX6" fmla="*/ 844 w 10379"/>
                <a:gd name="connsiteY6" fmla="*/ 9714 h 10000"/>
                <a:gd name="connsiteX7" fmla="*/ 1774 w 10379"/>
                <a:gd name="connsiteY7" fmla="*/ 9714 h 10000"/>
                <a:gd name="connsiteX8" fmla="*/ 2239 w 10379"/>
                <a:gd name="connsiteY8" fmla="*/ 9857 h 10000"/>
                <a:gd name="connsiteX9" fmla="*/ 2007 w 10379"/>
                <a:gd name="connsiteY9" fmla="*/ 9857 h 10000"/>
                <a:gd name="connsiteX10" fmla="*/ 2472 w 10379"/>
                <a:gd name="connsiteY10" fmla="*/ 10000 h 10000"/>
                <a:gd name="connsiteX11" fmla="*/ 2937 w 10379"/>
                <a:gd name="connsiteY11" fmla="*/ 9857 h 10000"/>
                <a:gd name="connsiteX12" fmla="*/ 3867 w 10379"/>
                <a:gd name="connsiteY12" fmla="*/ 10000 h 10000"/>
                <a:gd name="connsiteX13" fmla="*/ 4565 w 10379"/>
                <a:gd name="connsiteY13" fmla="*/ 9571 h 10000"/>
                <a:gd name="connsiteX14" fmla="*/ 5495 w 10379"/>
                <a:gd name="connsiteY14" fmla="*/ 9000 h 10000"/>
                <a:gd name="connsiteX15" fmla="*/ 6193 w 10379"/>
                <a:gd name="connsiteY15" fmla="*/ 8857 h 10000"/>
                <a:gd name="connsiteX16" fmla="*/ 5960 w 10379"/>
                <a:gd name="connsiteY16" fmla="*/ 8857 h 10000"/>
                <a:gd name="connsiteX17" fmla="*/ 5960 w 10379"/>
                <a:gd name="connsiteY17" fmla="*/ 8714 h 10000"/>
                <a:gd name="connsiteX18" fmla="*/ 8053 w 10379"/>
                <a:gd name="connsiteY18" fmla="*/ 8143 h 10000"/>
                <a:gd name="connsiteX19" fmla="*/ 8984 w 10379"/>
                <a:gd name="connsiteY19" fmla="*/ 8429 h 10000"/>
                <a:gd name="connsiteX20" fmla="*/ 9449 w 10379"/>
                <a:gd name="connsiteY20" fmla="*/ 8857 h 10000"/>
                <a:gd name="connsiteX21" fmla="*/ 9681 w 10379"/>
                <a:gd name="connsiteY21" fmla="*/ 9143 h 10000"/>
                <a:gd name="connsiteX22" fmla="*/ 10379 w 10379"/>
                <a:gd name="connsiteY22" fmla="*/ 8857 h 10000"/>
                <a:gd name="connsiteX23" fmla="*/ 10379 w 10379"/>
                <a:gd name="connsiteY23" fmla="*/ 8429 h 10000"/>
                <a:gd name="connsiteX24" fmla="*/ 9681 w 10379"/>
                <a:gd name="connsiteY24" fmla="*/ 7714 h 10000"/>
                <a:gd name="connsiteX25" fmla="*/ 9681 w 10379"/>
                <a:gd name="connsiteY25" fmla="*/ 7000 h 10000"/>
                <a:gd name="connsiteX26" fmla="*/ 9914 w 10379"/>
                <a:gd name="connsiteY26" fmla="*/ 7000 h 10000"/>
                <a:gd name="connsiteX27" fmla="*/ 9449 w 10379"/>
                <a:gd name="connsiteY27" fmla="*/ 6286 h 10000"/>
                <a:gd name="connsiteX28" fmla="*/ 9216 w 10379"/>
                <a:gd name="connsiteY28" fmla="*/ 6000 h 10000"/>
                <a:gd name="connsiteX29" fmla="*/ 8053 w 10379"/>
                <a:gd name="connsiteY29" fmla="*/ 5857 h 10000"/>
                <a:gd name="connsiteX30" fmla="*/ 6891 w 10379"/>
                <a:gd name="connsiteY30" fmla="*/ 5571 h 10000"/>
                <a:gd name="connsiteX31" fmla="*/ 6426 w 10379"/>
                <a:gd name="connsiteY31" fmla="*/ 4857 h 10000"/>
                <a:gd name="connsiteX32" fmla="*/ 5960 w 10379"/>
                <a:gd name="connsiteY32" fmla="*/ 3714 h 10000"/>
                <a:gd name="connsiteX33" fmla="*/ 6426 w 10379"/>
                <a:gd name="connsiteY33" fmla="*/ 3286 h 10000"/>
                <a:gd name="connsiteX34" fmla="*/ 6193 w 10379"/>
                <a:gd name="connsiteY34" fmla="*/ 2286 h 10000"/>
                <a:gd name="connsiteX35" fmla="*/ 7356 w 10379"/>
                <a:gd name="connsiteY35" fmla="*/ 2286 h 10000"/>
                <a:gd name="connsiteX36" fmla="*/ 7821 w 10379"/>
                <a:gd name="connsiteY36" fmla="*/ 2857 h 10000"/>
                <a:gd name="connsiteX37" fmla="*/ 8751 w 10379"/>
                <a:gd name="connsiteY37" fmla="*/ 2857 h 10000"/>
                <a:gd name="connsiteX38" fmla="*/ 8751 w 10379"/>
                <a:gd name="connsiteY38" fmla="*/ 2429 h 10000"/>
                <a:gd name="connsiteX39" fmla="*/ 8984 w 10379"/>
                <a:gd name="connsiteY39" fmla="*/ 2143 h 10000"/>
                <a:gd name="connsiteX40" fmla="*/ 9216 w 10379"/>
                <a:gd name="connsiteY40" fmla="*/ 2286 h 10000"/>
                <a:gd name="connsiteX41" fmla="*/ 8984 w 10379"/>
                <a:gd name="connsiteY41" fmla="*/ 1429 h 10000"/>
                <a:gd name="connsiteX42" fmla="*/ 9449 w 10379"/>
                <a:gd name="connsiteY42" fmla="*/ 857 h 10000"/>
                <a:gd name="connsiteX43" fmla="*/ 9449 w 10379"/>
                <a:gd name="connsiteY43" fmla="*/ 286 h 10000"/>
                <a:gd name="connsiteX44" fmla="*/ 8984 w 10379"/>
                <a:gd name="connsiteY44" fmla="*/ 0 h 10000"/>
                <a:gd name="connsiteX45" fmla="*/ 8519 w 10379"/>
                <a:gd name="connsiteY45" fmla="*/ 0 h 10000"/>
                <a:gd name="connsiteX46" fmla="*/ 6891 w 10379"/>
                <a:gd name="connsiteY46" fmla="*/ 143 h 10000"/>
                <a:gd name="connsiteX47" fmla="*/ 6658 w 10379"/>
                <a:gd name="connsiteY47" fmla="*/ 0 h 10000"/>
                <a:gd name="connsiteX48" fmla="*/ 6658 w 10379"/>
                <a:gd name="connsiteY48" fmla="*/ 714 h 10000"/>
                <a:gd name="connsiteX49" fmla="*/ 6658 w 10379"/>
                <a:gd name="connsiteY49" fmla="*/ 857 h 10000"/>
                <a:gd name="connsiteX0" fmla="*/ 6556 w 10277"/>
                <a:gd name="connsiteY0" fmla="*/ 857 h 10000"/>
                <a:gd name="connsiteX1" fmla="*/ 5626 w 10277"/>
                <a:gd name="connsiteY1" fmla="*/ 1857 h 10000"/>
                <a:gd name="connsiteX2" fmla="*/ 5161 w 10277"/>
                <a:gd name="connsiteY2" fmla="*/ 2857 h 10000"/>
                <a:gd name="connsiteX3" fmla="*/ 5393 w 10277"/>
                <a:gd name="connsiteY3" fmla="*/ 3714 h 10000"/>
                <a:gd name="connsiteX4" fmla="*/ 277 w 10277"/>
                <a:gd name="connsiteY4" fmla="*/ 9143 h 10000"/>
                <a:gd name="connsiteX5" fmla="*/ 742 w 10277"/>
                <a:gd name="connsiteY5" fmla="*/ 9714 h 10000"/>
                <a:gd name="connsiteX6" fmla="*/ 1672 w 10277"/>
                <a:gd name="connsiteY6" fmla="*/ 9714 h 10000"/>
                <a:gd name="connsiteX7" fmla="*/ 2137 w 10277"/>
                <a:gd name="connsiteY7" fmla="*/ 9857 h 10000"/>
                <a:gd name="connsiteX8" fmla="*/ 1905 w 10277"/>
                <a:gd name="connsiteY8" fmla="*/ 9857 h 10000"/>
                <a:gd name="connsiteX9" fmla="*/ 2370 w 10277"/>
                <a:gd name="connsiteY9" fmla="*/ 10000 h 10000"/>
                <a:gd name="connsiteX10" fmla="*/ 2835 w 10277"/>
                <a:gd name="connsiteY10" fmla="*/ 9857 h 10000"/>
                <a:gd name="connsiteX11" fmla="*/ 3765 w 10277"/>
                <a:gd name="connsiteY11" fmla="*/ 10000 h 10000"/>
                <a:gd name="connsiteX12" fmla="*/ 4463 w 10277"/>
                <a:gd name="connsiteY12" fmla="*/ 9571 h 10000"/>
                <a:gd name="connsiteX13" fmla="*/ 5393 w 10277"/>
                <a:gd name="connsiteY13" fmla="*/ 9000 h 10000"/>
                <a:gd name="connsiteX14" fmla="*/ 6091 w 10277"/>
                <a:gd name="connsiteY14" fmla="*/ 8857 h 10000"/>
                <a:gd name="connsiteX15" fmla="*/ 5858 w 10277"/>
                <a:gd name="connsiteY15" fmla="*/ 8857 h 10000"/>
                <a:gd name="connsiteX16" fmla="*/ 5858 w 10277"/>
                <a:gd name="connsiteY16" fmla="*/ 8714 h 10000"/>
                <a:gd name="connsiteX17" fmla="*/ 7951 w 10277"/>
                <a:gd name="connsiteY17" fmla="*/ 8143 h 10000"/>
                <a:gd name="connsiteX18" fmla="*/ 8882 w 10277"/>
                <a:gd name="connsiteY18" fmla="*/ 8429 h 10000"/>
                <a:gd name="connsiteX19" fmla="*/ 9347 w 10277"/>
                <a:gd name="connsiteY19" fmla="*/ 8857 h 10000"/>
                <a:gd name="connsiteX20" fmla="*/ 9579 w 10277"/>
                <a:gd name="connsiteY20" fmla="*/ 9143 h 10000"/>
                <a:gd name="connsiteX21" fmla="*/ 10277 w 10277"/>
                <a:gd name="connsiteY21" fmla="*/ 8857 h 10000"/>
                <a:gd name="connsiteX22" fmla="*/ 10277 w 10277"/>
                <a:gd name="connsiteY22" fmla="*/ 8429 h 10000"/>
                <a:gd name="connsiteX23" fmla="*/ 9579 w 10277"/>
                <a:gd name="connsiteY23" fmla="*/ 7714 h 10000"/>
                <a:gd name="connsiteX24" fmla="*/ 9579 w 10277"/>
                <a:gd name="connsiteY24" fmla="*/ 7000 h 10000"/>
                <a:gd name="connsiteX25" fmla="*/ 9812 w 10277"/>
                <a:gd name="connsiteY25" fmla="*/ 7000 h 10000"/>
                <a:gd name="connsiteX26" fmla="*/ 9347 w 10277"/>
                <a:gd name="connsiteY26" fmla="*/ 6286 h 10000"/>
                <a:gd name="connsiteX27" fmla="*/ 9114 w 10277"/>
                <a:gd name="connsiteY27" fmla="*/ 6000 h 10000"/>
                <a:gd name="connsiteX28" fmla="*/ 7951 w 10277"/>
                <a:gd name="connsiteY28" fmla="*/ 5857 h 10000"/>
                <a:gd name="connsiteX29" fmla="*/ 6789 w 10277"/>
                <a:gd name="connsiteY29" fmla="*/ 5571 h 10000"/>
                <a:gd name="connsiteX30" fmla="*/ 6324 w 10277"/>
                <a:gd name="connsiteY30" fmla="*/ 4857 h 10000"/>
                <a:gd name="connsiteX31" fmla="*/ 5858 w 10277"/>
                <a:gd name="connsiteY31" fmla="*/ 3714 h 10000"/>
                <a:gd name="connsiteX32" fmla="*/ 6324 w 10277"/>
                <a:gd name="connsiteY32" fmla="*/ 3286 h 10000"/>
                <a:gd name="connsiteX33" fmla="*/ 6091 w 10277"/>
                <a:gd name="connsiteY33" fmla="*/ 2286 h 10000"/>
                <a:gd name="connsiteX34" fmla="*/ 7254 w 10277"/>
                <a:gd name="connsiteY34" fmla="*/ 2286 h 10000"/>
                <a:gd name="connsiteX35" fmla="*/ 7719 w 10277"/>
                <a:gd name="connsiteY35" fmla="*/ 2857 h 10000"/>
                <a:gd name="connsiteX36" fmla="*/ 8649 w 10277"/>
                <a:gd name="connsiteY36" fmla="*/ 2857 h 10000"/>
                <a:gd name="connsiteX37" fmla="*/ 8649 w 10277"/>
                <a:gd name="connsiteY37" fmla="*/ 2429 h 10000"/>
                <a:gd name="connsiteX38" fmla="*/ 8882 w 10277"/>
                <a:gd name="connsiteY38" fmla="*/ 2143 h 10000"/>
                <a:gd name="connsiteX39" fmla="*/ 9114 w 10277"/>
                <a:gd name="connsiteY39" fmla="*/ 2286 h 10000"/>
                <a:gd name="connsiteX40" fmla="*/ 8882 w 10277"/>
                <a:gd name="connsiteY40" fmla="*/ 1429 h 10000"/>
                <a:gd name="connsiteX41" fmla="*/ 9347 w 10277"/>
                <a:gd name="connsiteY41" fmla="*/ 857 h 10000"/>
                <a:gd name="connsiteX42" fmla="*/ 9347 w 10277"/>
                <a:gd name="connsiteY42" fmla="*/ 286 h 10000"/>
                <a:gd name="connsiteX43" fmla="*/ 8882 w 10277"/>
                <a:gd name="connsiteY43" fmla="*/ 0 h 10000"/>
                <a:gd name="connsiteX44" fmla="*/ 8417 w 10277"/>
                <a:gd name="connsiteY44" fmla="*/ 0 h 10000"/>
                <a:gd name="connsiteX45" fmla="*/ 6789 w 10277"/>
                <a:gd name="connsiteY45" fmla="*/ 143 h 10000"/>
                <a:gd name="connsiteX46" fmla="*/ 6556 w 10277"/>
                <a:gd name="connsiteY46" fmla="*/ 0 h 10000"/>
                <a:gd name="connsiteX47" fmla="*/ 6556 w 10277"/>
                <a:gd name="connsiteY47" fmla="*/ 714 h 10000"/>
                <a:gd name="connsiteX48" fmla="*/ 6556 w 10277"/>
                <a:gd name="connsiteY48" fmla="*/ 857 h 10000"/>
                <a:gd name="connsiteX0" fmla="*/ 5986 w 9707"/>
                <a:gd name="connsiteY0" fmla="*/ 857 h 10158"/>
                <a:gd name="connsiteX1" fmla="*/ 5056 w 9707"/>
                <a:gd name="connsiteY1" fmla="*/ 1857 h 10158"/>
                <a:gd name="connsiteX2" fmla="*/ 4591 w 9707"/>
                <a:gd name="connsiteY2" fmla="*/ 2857 h 10158"/>
                <a:gd name="connsiteX3" fmla="*/ 4823 w 9707"/>
                <a:gd name="connsiteY3" fmla="*/ 3714 h 10158"/>
                <a:gd name="connsiteX4" fmla="*/ 172 w 9707"/>
                <a:gd name="connsiteY4" fmla="*/ 9714 h 10158"/>
                <a:gd name="connsiteX5" fmla="*/ 1102 w 9707"/>
                <a:gd name="connsiteY5" fmla="*/ 9714 h 10158"/>
                <a:gd name="connsiteX6" fmla="*/ 1567 w 9707"/>
                <a:gd name="connsiteY6" fmla="*/ 9857 h 10158"/>
                <a:gd name="connsiteX7" fmla="*/ 1335 w 9707"/>
                <a:gd name="connsiteY7" fmla="*/ 9857 h 10158"/>
                <a:gd name="connsiteX8" fmla="*/ 1800 w 9707"/>
                <a:gd name="connsiteY8" fmla="*/ 10000 h 10158"/>
                <a:gd name="connsiteX9" fmla="*/ 2265 w 9707"/>
                <a:gd name="connsiteY9" fmla="*/ 9857 h 10158"/>
                <a:gd name="connsiteX10" fmla="*/ 3195 w 9707"/>
                <a:gd name="connsiteY10" fmla="*/ 10000 h 10158"/>
                <a:gd name="connsiteX11" fmla="*/ 3893 w 9707"/>
                <a:gd name="connsiteY11" fmla="*/ 9571 h 10158"/>
                <a:gd name="connsiteX12" fmla="*/ 4823 w 9707"/>
                <a:gd name="connsiteY12" fmla="*/ 9000 h 10158"/>
                <a:gd name="connsiteX13" fmla="*/ 5521 w 9707"/>
                <a:gd name="connsiteY13" fmla="*/ 8857 h 10158"/>
                <a:gd name="connsiteX14" fmla="*/ 5288 w 9707"/>
                <a:gd name="connsiteY14" fmla="*/ 8857 h 10158"/>
                <a:gd name="connsiteX15" fmla="*/ 5288 w 9707"/>
                <a:gd name="connsiteY15" fmla="*/ 8714 h 10158"/>
                <a:gd name="connsiteX16" fmla="*/ 7381 w 9707"/>
                <a:gd name="connsiteY16" fmla="*/ 8143 h 10158"/>
                <a:gd name="connsiteX17" fmla="*/ 8312 w 9707"/>
                <a:gd name="connsiteY17" fmla="*/ 8429 h 10158"/>
                <a:gd name="connsiteX18" fmla="*/ 8777 w 9707"/>
                <a:gd name="connsiteY18" fmla="*/ 8857 h 10158"/>
                <a:gd name="connsiteX19" fmla="*/ 9009 w 9707"/>
                <a:gd name="connsiteY19" fmla="*/ 9143 h 10158"/>
                <a:gd name="connsiteX20" fmla="*/ 9707 w 9707"/>
                <a:gd name="connsiteY20" fmla="*/ 8857 h 10158"/>
                <a:gd name="connsiteX21" fmla="*/ 9707 w 9707"/>
                <a:gd name="connsiteY21" fmla="*/ 8429 h 10158"/>
                <a:gd name="connsiteX22" fmla="*/ 9009 w 9707"/>
                <a:gd name="connsiteY22" fmla="*/ 7714 h 10158"/>
                <a:gd name="connsiteX23" fmla="*/ 9009 w 9707"/>
                <a:gd name="connsiteY23" fmla="*/ 7000 h 10158"/>
                <a:gd name="connsiteX24" fmla="*/ 9242 w 9707"/>
                <a:gd name="connsiteY24" fmla="*/ 7000 h 10158"/>
                <a:gd name="connsiteX25" fmla="*/ 8777 w 9707"/>
                <a:gd name="connsiteY25" fmla="*/ 6286 h 10158"/>
                <a:gd name="connsiteX26" fmla="*/ 8544 w 9707"/>
                <a:gd name="connsiteY26" fmla="*/ 6000 h 10158"/>
                <a:gd name="connsiteX27" fmla="*/ 7381 w 9707"/>
                <a:gd name="connsiteY27" fmla="*/ 5857 h 10158"/>
                <a:gd name="connsiteX28" fmla="*/ 6219 w 9707"/>
                <a:gd name="connsiteY28" fmla="*/ 5571 h 10158"/>
                <a:gd name="connsiteX29" fmla="*/ 5754 w 9707"/>
                <a:gd name="connsiteY29" fmla="*/ 4857 h 10158"/>
                <a:gd name="connsiteX30" fmla="*/ 5288 w 9707"/>
                <a:gd name="connsiteY30" fmla="*/ 3714 h 10158"/>
                <a:gd name="connsiteX31" fmla="*/ 5754 w 9707"/>
                <a:gd name="connsiteY31" fmla="*/ 3286 h 10158"/>
                <a:gd name="connsiteX32" fmla="*/ 5521 w 9707"/>
                <a:gd name="connsiteY32" fmla="*/ 2286 h 10158"/>
                <a:gd name="connsiteX33" fmla="*/ 6684 w 9707"/>
                <a:gd name="connsiteY33" fmla="*/ 2286 h 10158"/>
                <a:gd name="connsiteX34" fmla="*/ 7149 w 9707"/>
                <a:gd name="connsiteY34" fmla="*/ 2857 h 10158"/>
                <a:gd name="connsiteX35" fmla="*/ 8079 w 9707"/>
                <a:gd name="connsiteY35" fmla="*/ 2857 h 10158"/>
                <a:gd name="connsiteX36" fmla="*/ 8079 w 9707"/>
                <a:gd name="connsiteY36" fmla="*/ 2429 h 10158"/>
                <a:gd name="connsiteX37" fmla="*/ 8312 w 9707"/>
                <a:gd name="connsiteY37" fmla="*/ 2143 h 10158"/>
                <a:gd name="connsiteX38" fmla="*/ 8544 w 9707"/>
                <a:gd name="connsiteY38" fmla="*/ 2286 h 10158"/>
                <a:gd name="connsiteX39" fmla="*/ 8312 w 9707"/>
                <a:gd name="connsiteY39" fmla="*/ 1429 h 10158"/>
                <a:gd name="connsiteX40" fmla="*/ 8777 w 9707"/>
                <a:gd name="connsiteY40" fmla="*/ 857 h 10158"/>
                <a:gd name="connsiteX41" fmla="*/ 8777 w 9707"/>
                <a:gd name="connsiteY41" fmla="*/ 286 h 10158"/>
                <a:gd name="connsiteX42" fmla="*/ 8312 w 9707"/>
                <a:gd name="connsiteY42" fmla="*/ 0 h 10158"/>
                <a:gd name="connsiteX43" fmla="*/ 7847 w 9707"/>
                <a:gd name="connsiteY43" fmla="*/ 0 h 10158"/>
                <a:gd name="connsiteX44" fmla="*/ 6219 w 9707"/>
                <a:gd name="connsiteY44" fmla="*/ 143 h 10158"/>
                <a:gd name="connsiteX45" fmla="*/ 5986 w 9707"/>
                <a:gd name="connsiteY45" fmla="*/ 0 h 10158"/>
                <a:gd name="connsiteX46" fmla="*/ 5986 w 9707"/>
                <a:gd name="connsiteY46" fmla="*/ 714 h 10158"/>
                <a:gd name="connsiteX47" fmla="*/ 5986 w 9707"/>
                <a:gd name="connsiteY47" fmla="*/ 857 h 10158"/>
                <a:gd name="connsiteX0" fmla="*/ 5032 w 8865"/>
                <a:gd name="connsiteY0" fmla="*/ 844 h 9844"/>
                <a:gd name="connsiteX1" fmla="*/ 4074 w 8865"/>
                <a:gd name="connsiteY1" fmla="*/ 1828 h 9844"/>
                <a:gd name="connsiteX2" fmla="*/ 3595 w 8865"/>
                <a:gd name="connsiteY2" fmla="*/ 2813 h 9844"/>
                <a:gd name="connsiteX3" fmla="*/ 3834 w 8865"/>
                <a:gd name="connsiteY3" fmla="*/ 3656 h 9844"/>
                <a:gd name="connsiteX4" fmla="*/ 0 w 8865"/>
                <a:gd name="connsiteY4" fmla="*/ 9563 h 9844"/>
                <a:gd name="connsiteX5" fmla="*/ 479 w 8865"/>
                <a:gd name="connsiteY5" fmla="*/ 9704 h 9844"/>
                <a:gd name="connsiteX6" fmla="*/ 240 w 8865"/>
                <a:gd name="connsiteY6" fmla="*/ 9704 h 9844"/>
                <a:gd name="connsiteX7" fmla="*/ 719 w 8865"/>
                <a:gd name="connsiteY7" fmla="*/ 9844 h 9844"/>
                <a:gd name="connsiteX8" fmla="*/ 1198 w 8865"/>
                <a:gd name="connsiteY8" fmla="*/ 9704 h 9844"/>
                <a:gd name="connsiteX9" fmla="*/ 2156 w 8865"/>
                <a:gd name="connsiteY9" fmla="*/ 9844 h 9844"/>
                <a:gd name="connsiteX10" fmla="*/ 2876 w 8865"/>
                <a:gd name="connsiteY10" fmla="*/ 9422 h 9844"/>
                <a:gd name="connsiteX11" fmla="*/ 3834 w 8865"/>
                <a:gd name="connsiteY11" fmla="*/ 8860 h 9844"/>
                <a:gd name="connsiteX12" fmla="*/ 4553 w 8865"/>
                <a:gd name="connsiteY12" fmla="*/ 8719 h 9844"/>
                <a:gd name="connsiteX13" fmla="*/ 4313 w 8865"/>
                <a:gd name="connsiteY13" fmla="*/ 8719 h 9844"/>
                <a:gd name="connsiteX14" fmla="*/ 4313 w 8865"/>
                <a:gd name="connsiteY14" fmla="*/ 8578 h 9844"/>
                <a:gd name="connsiteX15" fmla="*/ 6469 w 8865"/>
                <a:gd name="connsiteY15" fmla="*/ 8016 h 9844"/>
                <a:gd name="connsiteX16" fmla="*/ 7428 w 8865"/>
                <a:gd name="connsiteY16" fmla="*/ 8298 h 9844"/>
                <a:gd name="connsiteX17" fmla="*/ 7907 w 8865"/>
                <a:gd name="connsiteY17" fmla="*/ 8719 h 9844"/>
                <a:gd name="connsiteX18" fmla="*/ 8146 w 8865"/>
                <a:gd name="connsiteY18" fmla="*/ 9001 h 9844"/>
                <a:gd name="connsiteX19" fmla="*/ 8865 w 8865"/>
                <a:gd name="connsiteY19" fmla="*/ 8719 h 9844"/>
                <a:gd name="connsiteX20" fmla="*/ 8865 w 8865"/>
                <a:gd name="connsiteY20" fmla="*/ 8298 h 9844"/>
                <a:gd name="connsiteX21" fmla="*/ 8146 w 8865"/>
                <a:gd name="connsiteY21" fmla="*/ 7594 h 9844"/>
                <a:gd name="connsiteX22" fmla="*/ 8146 w 8865"/>
                <a:gd name="connsiteY22" fmla="*/ 6891 h 9844"/>
                <a:gd name="connsiteX23" fmla="*/ 8386 w 8865"/>
                <a:gd name="connsiteY23" fmla="*/ 6891 h 9844"/>
                <a:gd name="connsiteX24" fmla="*/ 7907 w 8865"/>
                <a:gd name="connsiteY24" fmla="*/ 6188 h 9844"/>
                <a:gd name="connsiteX25" fmla="*/ 7667 w 8865"/>
                <a:gd name="connsiteY25" fmla="*/ 5907 h 9844"/>
                <a:gd name="connsiteX26" fmla="*/ 6469 w 8865"/>
                <a:gd name="connsiteY26" fmla="*/ 5766 h 9844"/>
                <a:gd name="connsiteX27" fmla="*/ 5272 w 8865"/>
                <a:gd name="connsiteY27" fmla="*/ 5484 h 9844"/>
                <a:gd name="connsiteX28" fmla="*/ 4793 w 8865"/>
                <a:gd name="connsiteY28" fmla="*/ 4781 h 9844"/>
                <a:gd name="connsiteX29" fmla="*/ 4313 w 8865"/>
                <a:gd name="connsiteY29" fmla="*/ 3656 h 9844"/>
                <a:gd name="connsiteX30" fmla="*/ 4793 w 8865"/>
                <a:gd name="connsiteY30" fmla="*/ 3235 h 9844"/>
                <a:gd name="connsiteX31" fmla="*/ 4553 w 8865"/>
                <a:gd name="connsiteY31" fmla="*/ 2250 h 9844"/>
                <a:gd name="connsiteX32" fmla="*/ 5751 w 8865"/>
                <a:gd name="connsiteY32" fmla="*/ 2250 h 9844"/>
                <a:gd name="connsiteX33" fmla="*/ 6230 w 8865"/>
                <a:gd name="connsiteY33" fmla="*/ 2813 h 9844"/>
                <a:gd name="connsiteX34" fmla="*/ 7188 w 8865"/>
                <a:gd name="connsiteY34" fmla="*/ 2813 h 9844"/>
                <a:gd name="connsiteX35" fmla="*/ 7188 w 8865"/>
                <a:gd name="connsiteY35" fmla="*/ 2391 h 9844"/>
                <a:gd name="connsiteX36" fmla="*/ 7428 w 8865"/>
                <a:gd name="connsiteY36" fmla="*/ 2110 h 9844"/>
                <a:gd name="connsiteX37" fmla="*/ 7667 w 8865"/>
                <a:gd name="connsiteY37" fmla="*/ 2250 h 9844"/>
                <a:gd name="connsiteX38" fmla="*/ 7428 w 8865"/>
                <a:gd name="connsiteY38" fmla="*/ 1407 h 9844"/>
                <a:gd name="connsiteX39" fmla="*/ 7907 w 8865"/>
                <a:gd name="connsiteY39" fmla="*/ 844 h 9844"/>
                <a:gd name="connsiteX40" fmla="*/ 7907 w 8865"/>
                <a:gd name="connsiteY40" fmla="*/ 282 h 9844"/>
                <a:gd name="connsiteX41" fmla="*/ 7428 w 8865"/>
                <a:gd name="connsiteY41" fmla="*/ 0 h 9844"/>
                <a:gd name="connsiteX42" fmla="*/ 6949 w 8865"/>
                <a:gd name="connsiteY42" fmla="*/ 0 h 9844"/>
                <a:gd name="connsiteX43" fmla="*/ 5272 w 8865"/>
                <a:gd name="connsiteY43" fmla="*/ 141 h 9844"/>
                <a:gd name="connsiteX44" fmla="*/ 5032 w 8865"/>
                <a:gd name="connsiteY44" fmla="*/ 0 h 9844"/>
                <a:gd name="connsiteX45" fmla="*/ 5032 w 8865"/>
                <a:gd name="connsiteY45" fmla="*/ 703 h 9844"/>
                <a:gd name="connsiteX46" fmla="*/ 5032 w 8865"/>
                <a:gd name="connsiteY46" fmla="*/ 844 h 9844"/>
                <a:gd name="connsiteX0" fmla="*/ 5405 w 9729"/>
                <a:gd name="connsiteY0" fmla="*/ 857 h 10000"/>
                <a:gd name="connsiteX1" fmla="*/ 4325 w 9729"/>
                <a:gd name="connsiteY1" fmla="*/ 1857 h 10000"/>
                <a:gd name="connsiteX2" fmla="*/ 3784 w 9729"/>
                <a:gd name="connsiteY2" fmla="*/ 2858 h 10000"/>
                <a:gd name="connsiteX3" fmla="*/ 4054 w 9729"/>
                <a:gd name="connsiteY3" fmla="*/ 3714 h 10000"/>
                <a:gd name="connsiteX4" fmla="*/ 269 w 9729"/>
                <a:gd name="connsiteY4" fmla="*/ 9858 h 10000"/>
                <a:gd name="connsiteX5" fmla="*/ 0 w 9729"/>
                <a:gd name="connsiteY5" fmla="*/ 9858 h 10000"/>
                <a:gd name="connsiteX6" fmla="*/ 540 w 9729"/>
                <a:gd name="connsiteY6" fmla="*/ 10000 h 10000"/>
                <a:gd name="connsiteX7" fmla="*/ 1080 w 9729"/>
                <a:gd name="connsiteY7" fmla="*/ 9858 h 10000"/>
                <a:gd name="connsiteX8" fmla="*/ 2161 w 9729"/>
                <a:gd name="connsiteY8" fmla="*/ 10000 h 10000"/>
                <a:gd name="connsiteX9" fmla="*/ 2973 w 9729"/>
                <a:gd name="connsiteY9" fmla="*/ 9571 h 10000"/>
                <a:gd name="connsiteX10" fmla="*/ 4054 w 9729"/>
                <a:gd name="connsiteY10" fmla="*/ 9000 h 10000"/>
                <a:gd name="connsiteX11" fmla="*/ 4865 w 9729"/>
                <a:gd name="connsiteY11" fmla="*/ 8857 h 10000"/>
                <a:gd name="connsiteX12" fmla="*/ 4594 w 9729"/>
                <a:gd name="connsiteY12" fmla="*/ 8857 h 10000"/>
                <a:gd name="connsiteX13" fmla="*/ 4594 w 9729"/>
                <a:gd name="connsiteY13" fmla="*/ 8714 h 10000"/>
                <a:gd name="connsiteX14" fmla="*/ 7026 w 9729"/>
                <a:gd name="connsiteY14" fmla="*/ 8143 h 10000"/>
                <a:gd name="connsiteX15" fmla="*/ 8108 w 9729"/>
                <a:gd name="connsiteY15" fmla="*/ 8430 h 10000"/>
                <a:gd name="connsiteX16" fmla="*/ 8648 w 9729"/>
                <a:gd name="connsiteY16" fmla="*/ 8857 h 10000"/>
                <a:gd name="connsiteX17" fmla="*/ 8918 w 9729"/>
                <a:gd name="connsiteY17" fmla="*/ 9144 h 10000"/>
                <a:gd name="connsiteX18" fmla="*/ 9729 w 9729"/>
                <a:gd name="connsiteY18" fmla="*/ 8857 h 10000"/>
                <a:gd name="connsiteX19" fmla="*/ 9729 w 9729"/>
                <a:gd name="connsiteY19" fmla="*/ 8430 h 10000"/>
                <a:gd name="connsiteX20" fmla="*/ 8918 w 9729"/>
                <a:gd name="connsiteY20" fmla="*/ 7714 h 10000"/>
                <a:gd name="connsiteX21" fmla="*/ 8918 w 9729"/>
                <a:gd name="connsiteY21" fmla="*/ 7000 h 10000"/>
                <a:gd name="connsiteX22" fmla="*/ 9189 w 9729"/>
                <a:gd name="connsiteY22" fmla="*/ 7000 h 10000"/>
                <a:gd name="connsiteX23" fmla="*/ 8648 w 9729"/>
                <a:gd name="connsiteY23" fmla="*/ 6286 h 10000"/>
                <a:gd name="connsiteX24" fmla="*/ 8378 w 9729"/>
                <a:gd name="connsiteY24" fmla="*/ 6001 h 10000"/>
                <a:gd name="connsiteX25" fmla="*/ 7026 w 9729"/>
                <a:gd name="connsiteY25" fmla="*/ 5857 h 10000"/>
                <a:gd name="connsiteX26" fmla="*/ 5676 w 9729"/>
                <a:gd name="connsiteY26" fmla="*/ 5571 h 10000"/>
                <a:gd name="connsiteX27" fmla="*/ 5136 w 9729"/>
                <a:gd name="connsiteY27" fmla="*/ 4857 h 10000"/>
                <a:gd name="connsiteX28" fmla="*/ 4594 w 9729"/>
                <a:gd name="connsiteY28" fmla="*/ 3714 h 10000"/>
                <a:gd name="connsiteX29" fmla="*/ 5136 w 9729"/>
                <a:gd name="connsiteY29" fmla="*/ 3286 h 10000"/>
                <a:gd name="connsiteX30" fmla="*/ 4865 w 9729"/>
                <a:gd name="connsiteY30" fmla="*/ 2286 h 10000"/>
                <a:gd name="connsiteX31" fmla="*/ 6216 w 9729"/>
                <a:gd name="connsiteY31" fmla="*/ 2286 h 10000"/>
                <a:gd name="connsiteX32" fmla="*/ 6757 w 9729"/>
                <a:gd name="connsiteY32" fmla="*/ 2858 h 10000"/>
                <a:gd name="connsiteX33" fmla="*/ 7837 w 9729"/>
                <a:gd name="connsiteY33" fmla="*/ 2858 h 10000"/>
                <a:gd name="connsiteX34" fmla="*/ 7837 w 9729"/>
                <a:gd name="connsiteY34" fmla="*/ 2429 h 10000"/>
                <a:gd name="connsiteX35" fmla="*/ 8108 w 9729"/>
                <a:gd name="connsiteY35" fmla="*/ 2143 h 10000"/>
                <a:gd name="connsiteX36" fmla="*/ 8378 w 9729"/>
                <a:gd name="connsiteY36" fmla="*/ 2286 h 10000"/>
                <a:gd name="connsiteX37" fmla="*/ 8108 w 9729"/>
                <a:gd name="connsiteY37" fmla="*/ 1429 h 10000"/>
                <a:gd name="connsiteX38" fmla="*/ 8648 w 9729"/>
                <a:gd name="connsiteY38" fmla="*/ 857 h 10000"/>
                <a:gd name="connsiteX39" fmla="*/ 8648 w 9729"/>
                <a:gd name="connsiteY39" fmla="*/ 286 h 10000"/>
                <a:gd name="connsiteX40" fmla="*/ 8108 w 9729"/>
                <a:gd name="connsiteY40" fmla="*/ 0 h 10000"/>
                <a:gd name="connsiteX41" fmla="*/ 7568 w 9729"/>
                <a:gd name="connsiteY41" fmla="*/ 0 h 10000"/>
                <a:gd name="connsiteX42" fmla="*/ 5676 w 9729"/>
                <a:gd name="connsiteY42" fmla="*/ 143 h 10000"/>
                <a:gd name="connsiteX43" fmla="*/ 5405 w 9729"/>
                <a:gd name="connsiteY43" fmla="*/ 0 h 10000"/>
                <a:gd name="connsiteX44" fmla="*/ 5405 w 9729"/>
                <a:gd name="connsiteY44" fmla="*/ 714 h 10000"/>
                <a:gd name="connsiteX45" fmla="*/ 5405 w 9729"/>
                <a:gd name="connsiteY45" fmla="*/ 857 h 10000"/>
                <a:gd name="connsiteX0" fmla="*/ 5280 w 9724"/>
                <a:gd name="connsiteY0" fmla="*/ 857 h 10000"/>
                <a:gd name="connsiteX1" fmla="*/ 4169 w 9724"/>
                <a:gd name="connsiteY1" fmla="*/ 1857 h 10000"/>
                <a:gd name="connsiteX2" fmla="*/ 3613 w 9724"/>
                <a:gd name="connsiteY2" fmla="*/ 2858 h 10000"/>
                <a:gd name="connsiteX3" fmla="*/ 3891 w 9724"/>
                <a:gd name="connsiteY3" fmla="*/ 3714 h 10000"/>
                <a:gd name="connsiteX4" fmla="*/ 0 w 9724"/>
                <a:gd name="connsiteY4" fmla="*/ 9858 h 10000"/>
                <a:gd name="connsiteX5" fmla="*/ 279 w 9724"/>
                <a:gd name="connsiteY5" fmla="*/ 10000 h 10000"/>
                <a:gd name="connsiteX6" fmla="*/ 834 w 9724"/>
                <a:gd name="connsiteY6" fmla="*/ 9858 h 10000"/>
                <a:gd name="connsiteX7" fmla="*/ 1945 w 9724"/>
                <a:gd name="connsiteY7" fmla="*/ 10000 h 10000"/>
                <a:gd name="connsiteX8" fmla="*/ 2780 w 9724"/>
                <a:gd name="connsiteY8" fmla="*/ 9571 h 10000"/>
                <a:gd name="connsiteX9" fmla="*/ 3891 w 9724"/>
                <a:gd name="connsiteY9" fmla="*/ 9000 h 10000"/>
                <a:gd name="connsiteX10" fmla="*/ 4725 w 9724"/>
                <a:gd name="connsiteY10" fmla="*/ 8857 h 10000"/>
                <a:gd name="connsiteX11" fmla="*/ 4446 w 9724"/>
                <a:gd name="connsiteY11" fmla="*/ 8857 h 10000"/>
                <a:gd name="connsiteX12" fmla="*/ 4446 w 9724"/>
                <a:gd name="connsiteY12" fmla="*/ 8714 h 10000"/>
                <a:gd name="connsiteX13" fmla="*/ 6946 w 9724"/>
                <a:gd name="connsiteY13" fmla="*/ 8143 h 10000"/>
                <a:gd name="connsiteX14" fmla="*/ 8058 w 9724"/>
                <a:gd name="connsiteY14" fmla="*/ 8430 h 10000"/>
                <a:gd name="connsiteX15" fmla="*/ 8613 w 9724"/>
                <a:gd name="connsiteY15" fmla="*/ 8857 h 10000"/>
                <a:gd name="connsiteX16" fmla="*/ 8890 w 9724"/>
                <a:gd name="connsiteY16" fmla="*/ 9144 h 10000"/>
                <a:gd name="connsiteX17" fmla="*/ 9724 w 9724"/>
                <a:gd name="connsiteY17" fmla="*/ 8857 h 10000"/>
                <a:gd name="connsiteX18" fmla="*/ 9724 w 9724"/>
                <a:gd name="connsiteY18" fmla="*/ 8430 h 10000"/>
                <a:gd name="connsiteX19" fmla="*/ 8890 w 9724"/>
                <a:gd name="connsiteY19" fmla="*/ 7714 h 10000"/>
                <a:gd name="connsiteX20" fmla="*/ 8890 w 9724"/>
                <a:gd name="connsiteY20" fmla="*/ 7000 h 10000"/>
                <a:gd name="connsiteX21" fmla="*/ 9169 w 9724"/>
                <a:gd name="connsiteY21" fmla="*/ 7000 h 10000"/>
                <a:gd name="connsiteX22" fmla="*/ 8613 w 9724"/>
                <a:gd name="connsiteY22" fmla="*/ 6286 h 10000"/>
                <a:gd name="connsiteX23" fmla="*/ 8335 w 9724"/>
                <a:gd name="connsiteY23" fmla="*/ 6001 h 10000"/>
                <a:gd name="connsiteX24" fmla="*/ 6946 w 9724"/>
                <a:gd name="connsiteY24" fmla="*/ 5857 h 10000"/>
                <a:gd name="connsiteX25" fmla="*/ 5558 w 9724"/>
                <a:gd name="connsiteY25" fmla="*/ 5571 h 10000"/>
                <a:gd name="connsiteX26" fmla="*/ 5003 w 9724"/>
                <a:gd name="connsiteY26" fmla="*/ 4857 h 10000"/>
                <a:gd name="connsiteX27" fmla="*/ 4446 w 9724"/>
                <a:gd name="connsiteY27" fmla="*/ 3714 h 10000"/>
                <a:gd name="connsiteX28" fmla="*/ 5003 w 9724"/>
                <a:gd name="connsiteY28" fmla="*/ 3286 h 10000"/>
                <a:gd name="connsiteX29" fmla="*/ 4725 w 9724"/>
                <a:gd name="connsiteY29" fmla="*/ 2286 h 10000"/>
                <a:gd name="connsiteX30" fmla="*/ 6113 w 9724"/>
                <a:gd name="connsiteY30" fmla="*/ 2286 h 10000"/>
                <a:gd name="connsiteX31" fmla="*/ 6669 w 9724"/>
                <a:gd name="connsiteY31" fmla="*/ 2858 h 10000"/>
                <a:gd name="connsiteX32" fmla="*/ 7779 w 9724"/>
                <a:gd name="connsiteY32" fmla="*/ 2858 h 10000"/>
                <a:gd name="connsiteX33" fmla="*/ 7779 w 9724"/>
                <a:gd name="connsiteY33" fmla="*/ 2429 h 10000"/>
                <a:gd name="connsiteX34" fmla="*/ 8058 w 9724"/>
                <a:gd name="connsiteY34" fmla="*/ 2143 h 10000"/>
                <a:gd name="connsiteX35" fmla="*/ 8335 w 9724"/>
                <a:gd name="connsiteY35" fmla="*/ 2286 h 10000"/>
                <a:gd name="connsiteX36" fmla="*/ 8058 w 9724"/>
                <a:gd name="connsiteY36" fmla="*/ 1429 h 10000"/>
                <a:gd name="connsiteX37" fmla="*/ 8613 w 9724"/>
                <a:gd name="connsiteY37" fmla="*/ 857 h 10000"/>
                <a:gd name="connsiteX38" fmla="*/ 8613 w 9724"/>
                <a:gd name="connsiteY38" fmla="*/ 286 h 10000"/>
                <a:gd name="connsiteX39" fmla="*/ 8058 w 9724"/>
                <a:gd name="connsiteY39" fmla="*/ 0 h 10000"/>
                <a:gd name="connsiteX40" fmla="*/ 7503 w 9724"/>
                <a:gd name="connsiteY40" fmla="*/ 0 h 10000"/>
                <a:gd name="connsiteX41" fmla="*/ 5558 w 9724"/>
                <a:gd name="connsiteY41" fmla="*/ 143 h 10000"/>
                <a:gd name="connsiteX42" fmla="*/ 5280 w 9724"/>
                <a:gd name="connsiteY42" fmla="*/ 0 h 10000"/>
                <a:gd name="connsiteX43" fmla="*/ 5280 w 9724"/>
                <a:gd name="connsiteY43" fmla="*/ 714 h 10000"/>
                <a:gd name="connsiteX44" fmla="*/ 5280 w 9724"/>
                <a:gd name="connsiteY44" fmla="*/ 857 h 10000"/>
                <a:gd name="connsiteX0" fmla="*/ 5430 w 10000"/>
                <a:gd name="connsiteY0" fmla="*/ 857 h 10000"/>
                <a:gd name="connsiteX1" fmla="*/ 4287 w 10000"/>
                <a:gd name="connsiteY1" fmla="*/ 1857 h 10000"/>
                <a:gd name="connsiteX2" fmla="*/ 3716 w 10000"/>
                <a:gd name="connsiteY2" fmla="*/ 2858 h 10000"/>
                <a:gd name="connsiteX3" fmla="*/ 4001 w 10000"/>
                <a:gd name="connsiteY3" fmla="*/ 3714 h 10000"/>
                <a:gd name="connsiteX4" fmla="*/ 0 w 10000"/>
                <a:gd name="connsiteY4" fmla="*/ 9858 h 10000"/>
                <a:gd name="connsiteX5" fmla="*/ 858 w 10000"/>
                <a:gd name="connsiteY5" fmla="*/ 9858 h 10000"/>
                <a:gd name="connsiteX6" fmla="*/ 2000 w 10000"/>
                <a:gd name="connsiteY6" fmla="*/ 10000 h 10000"/>
                <a:gd name="connsiteX7" fmla="*/ 2859 w 10000"/>
                <a:gd name="connsiteY7" fmla="*/ 9571 h 10000"/>
                <a:gd name="connsiteX8" fmla="*/ 4001 w 10000"/>
                <a:gd name="connsiteY8" fmla="*/ 9000 h 10000"/>
                <a:gd name="connsiteX9" fmla="*/ 4859 w 10000"/>
                <a:gd name="connsiteY9" fmla="*/ 8857 h 10000"/>
                <a:gd name="connsiteX10" fmla="*/ 4572 w 10000"/>
                <a:gd name="connsiteY10" fmla="*/ 8857 h 10000"/>
                <a:gd name="connsiteX11" fmla="*/ 4572 w 10000"/>
                <a:gd name="connsiteY11" fmla="*/ 8714 h 10000"/>
                <a:gd name="connsiteX12" fmla="*/ 7143 w 10000"/>
                <a:gd name="connsiteY12" fmla="*/ 8143 h 10000"/>
                <a:gd name="connsiteX13" fmla="*/ 8287 w 10000"/>
                <a:gd name="connsiteY13" fmla="*/ 8430 h 10000"/>
                <a:gd name="connsiteX14" fmla="*/ 8857 w 10000"/>
                <a:gd name="connsiteY14" fmla="*/ 8857 h 10000"/>
                <a:gd name="connsiteX15" fmla="*/ 9142 w 10000"/>
                <a:gd name="connsiteY15" fmla="*/ 9144 h 10000"/>
                <a:gd name="connsiteX16" fmla="*/ 10000 w 10000"/>
                <a:gd name="connsiteY16" fmla="*/ 8857 h 10000"/>
                <a:gd name="connsiteX17" fmla="*/ 10000 w 10000"/>
                <a:gd name="connsiteY17" fmla="*/ 8430 h 10000"/>
                <a:gd name="connsiteX18" fmla="*/ 9142 w 10000"/>
                <a:gd name="connsiteY18" fmla="*/ 7714 h 10000"/>
                <a:gd name="connsiteX19" fmla="*/ 9142 w 10000"/>
                <a:gd name="connsiteY19" fmla="*/ 7000 h 10000"/>
                <a:gd name="connsiteX20" fmla="*/ 9429 w 10000"/>
                <a:gd name="connsiteY20" fmla="*/ 7000 h 10000"/>
                <a:gd name="connsiteX21" fmla="*/ 8857 w 10000"/>
                <a:gd name="connsiteY21" fmla="*/ 6286 h 10000"/>
                <a:gd name="connsiteX22" fmla="*/ 8572 w 10000"/>
                <a:gd name="connsiteY22" fmla="*/ 6001 h 10000"/>
                <a:gd name="connsiteX23" fmla="*/ 7143 w 10000"/>
                <a:gd name="connsiteY23" fmla="*/ 5857 h 10000"/>
                <a:gd name="connsiteX24" fmla="*/ 5716 w 10000"/>
                <a:gd name="connsiteY24" fmla="*/ 5571 h 10000"/>
                <a:gd name="connsiteX25" fmla="*/ 5145 w 10000"/>
                <a:gd name="connsiteY25" fmla="*/ 4857 h 10000"/>
                <a:gd name="connsiteX26" fmla="*/ 4572 w 10000"/>
                <a:gd name="connsiteY26" fmla="*/ 3714 h 10000"/>
                <a:gd name="connsiteX27" fmla="*/ 5145 w 10000"/>
                <a:gd name="connsiteY27" fmla="*/ 3286 h 10000"/>
                <a:gd name="connsiteX28" fmla="*/ 4859 w 10000"/>
                <a:gd name="connsiteY28" fmla="*/ 2286 h 10000"/>
                <a:gd name="connsiteX29" fmla="*/ 6287 w 10000"/>
                <a:gd name="connsiteY29" fmla="*/ 2286 h 10000"/>
                <a:gd name="connsiteX30" fmla="*/ 6858 w 10000"/>
                <a:gd name="connsiteY30" fmla="*/ 2858 h 10000"/>
                <a:gd name="connsiteX31" fmla="*/ 8000 w 10000"/>
                <a:gd name="connsiteY31" fmla="*/ 2858 h 10000"/>
                <a:gd name="connsiteX32" fmla="*/ 8000 w 10000"/>
                <a:gd name="connsiteY32" fmla="*/ 2429 h 10000"/>
                <a:gd name="connsiteX33" fmla="*/ 8287 w 10000"/>
                <a:gd name="connsiteY33" fmla="*/ 2143 h 10000"/>
                <a:gd name="connsiteX34" fmla="*/ 8572 w 10000"/>
                <a:gd name="connsiteY34" fmla="*/ 2286 h 10000"/>
                <a:gd name="connsiteX35" fmla="*/ 8287 w 10000"/>
                <a:gd name="connsiteY35" fmla="*/ 1429 h 10000"/>
                <a:gd name="connsiteX36" fmla="*/ 8857 w 10000"/>
                <a:gd name="connsiteY36" fmla="*/ 857 h 10000"/>
                <a:gd name="connsiteX37" fmla="*/ 8857 w 10000"/>
                <a:gd name="connsiteY37" fmla="*/ 286 h 10000"/>
                <a:gd name="connsiteX38" fmla="*/ 8287 w 10000"/>
                <a:gd name="connsiteY38" fmla="*/ 0 h 10000"/>
                <a:gd name="connsiteX39" fmla="*/ 7716 w 10000"/>
                <a:gd name="connsiteY39" fmla="*/ 0 h 10000"/>
                <a:gd name="connsiteX40" fmla="*/ 5716 w 10000"/>
                <a:gd name="connsiteY40" fmla="*/ 143 h 10000"/>
                <a:gd name="connsiteX41" fmla="*/ 5430 w 10000"/>
                <a:gd name="connsiteY41" fmla="*/ 0 h 10000"/>
                <a:gd name="connsiteX42" fmla="*/ 5430 w 10000"/>
                <a:gd name="connsiteY42" fmla="*/ 714 h 10000"/>
                <a:gd name="connsiteX43" fmla="*/ 5430 w 10000"/>
                <a:gd name="connsiteY43" fmla="*/ 857 h 10000"/>
                <a:gd name="connsiteX0" fmla="*/ 5430 w 10000"/>
                <a:gd name="connsiteY0" fmla="*/ 857 h 10000"/>
                <a:gd name="connsiteX1" fmla="*/ 4287 w 10000"/>
                <a:gd name="connsiteY1" fmla="*/ 1857 h 10000"/>
                <a:gd name="connsiteX2" fmla="*/ 3716 w 10000"/>
                <a:gd name="connsiteY2" fmla="*/ 2858 h 10000"/>
                <a:gd name="connsiteX3" fmla="*/ 4001 w 10000"/>
                <a:gd name="connsiteY3" fmla="*/ 3714 h 10000"/>
                <a:gd name="connsiteX4" fmla="*/ 0 w 10000"/>
                <a:gd name="connsiteY4" fmla="*/ 9858 h 10000"/>
                <a:gd name="connsiteX5" fmla="*/ 2000 w 10000"/>
                <a:gd name="connsiteY5" fmla="*/ 10000 h 10000"/>
                <a:gd name="connsiteX6" fmla="*/ 2859 w 10000"/>
                <a:gd name="connsiteY6" fmla="*/ 9571 h 10000"/>
                <a:gd name="connsiteX7" fmla="*/ 4001 w 10000"/>
                <a:gd name="connsiteY7" fmla="*/ 9000 h 10000"/>
                <a:gd name="connsiteX8" fmla="*/ 4859 w 10000"/>
                <a:gd name="connsiteY8" fmla="*/ 8857 h 10000"/>
                <a:gd name="connsiteX9" fmla="*/ 4572 w 10000"/>
                <a:gd name="connsiteY9" fmla="*/ 8857 h 10000"/>
                <a:gd name="connsiteX10" fmla="*/ 4572 w 10000"/>
                <a:gd name="connsiteY10" fmla="*/ 8714 h 10000"/>
                <a:gd name="connsiteX11" fmla="*/ 7143 w 10000"/>
                <a:gd name="connsiteY11" fmla="*/ 8143 h 10000"/>
                <a:gd name="connsiteX12" fmla="*/ 8287 w 10000"/>
                <a:gd name="connsiteY12" fmla="*/ 8430 h 10000"/>
                <a:gd name="connsiteX13" fmla="*/ 8857 w 10000"/>
                <a:gd name="connsiteY13" fmla="*/ 8857 h 10000"/>
                <a:gd name="connsiteX14" fmla="*/ 9142 w 10000"/>
                <a:gd name="connsiteY14" fmla="*/ 9144 h 10000"/>
                <a:gd name="connsiteX15" fmla="*/ 10000 w 10000"/>
                <a:gd name="connsiteY15" fmla="*/ 8857 h 10000"/>
                <a:gd name="connsiteX16" fmla="*/ 10000 w 10000"/>
                <a:gd name="connsiteY16" fmla="*/ 8430 h 10000"/>
                <a:gd name="connsiteX17" fmla="*/ 9142 w 10000"/>
                <a:gd name="connsiteY17" fmla="*/ 7714 h 10000"/>
                <a:gd name="connsiteX18" fmla="*/ 9142 w 10000"/>
                <a:gd name="connsiteY18" fmla="*/ 7000 h 10000"/>
                <a:gd name="connsiteX19" fmla="*/ 9429 w 10000"/>
                <a:gd name="connsiteY19" fmla="*/ 7000 h 10000"/>
                <a:gd name="connsiteX20" fmla="*/ 8857 w 10000"/>
                <a:gd name="connsiteY20" fmla="*/ 6286 h 10000"/>
                <a:gd name="connsiteX21" fmla="*/ 8572 w 10000"/>
                <a:gd name="connsiteY21" fmla="*/ 6001 h 10000"/>
                <a:gd name="connsiteX22" fmla="*/ 7143 w 10000"/>
                <a:gd name="connsiteY22" fmla="*/ 5857 h 10000"/>
                <a:gd name="connsiteX23" fmla="*/ 5716 w 10000"/>
                <a:gd name="connsiteY23" fmla="*/ 5571 h 10000"/>
                <a:gd name="connsiteX24" fmla="*/ 5145 w 10000"/>
                <a:gd name="connsiteY24" fmla="*/ 4857 h 10000"/>
                <a:gd name="connsiteX25" fmla="*/ 4572 w 10000"/>
                <a:gd name="connsiteY25" fmla="*/ 3714 h 10000"/>
                <a:gd name="connsiteX26" fmla="*/ 5145 w 10000"/>
                <a:gd name="connsiteY26" fmla="*/ 3286 h 10000"/>
                <a:gd name="connsiteX27" fmla="*/ 4859 w 10000"/>
                <a:gd name="connsiteY27" fmla="*/ 2286 h 10000"/>
                <a:gd name="connsiteX28" fmla="*/ 6287 w 10000"/>
                <a:gd name="connsiteY28" fmla="*/ 2286 h 10000"/>
                <a:gd name="connsiteX29" fmla="*/ 6858 w 10000"/>
                <a:gd name="connsiteY29" fmla="*/ 2858 h 10000"/>
                <a:gd name="connsiteX30" fmla="*/ 8000 w 10000"/>
                <a:gd name="connsiteY30" fmla="*/ 2858 h 10000"/>
                <a:gd name="connsiteX31" fmla="*/ 8000 w 10000"/>
                <a:gd name="connsiteY31" fmla="*/ 2429 h 10000"/>
                <a:gd name="connsiteX32" fmla="*/ 8287 w 10000"/>
                <a:gd name="connsiteY32" fmla="*/ 2143 h 10000"/>
                <a:gd name="connsiteX33" fmla="*/ 8572 w 10000"/>
                <a:gd name="connsiteY33" fmla="*/ 2286 h 10000"/>
                <a:gd name="connsiteX34" fmla="*/ 8287 w 10000"/>
                <a:gd name="connsiteY34" fmla="*/ 1429 h 10000"/>
                <a:gd name="connsiteX35" fmla="*/ 8857 w 10000"/>
                <a:gd name="connsiteY35" fmla="*/ 857 h 10000"/>
                <a:gd name="connsiteX36" fmla="*/ 8857 w 10000"/>
                <a:gd name="connsiteY36" fmla="*/ 286 h 10000"/>
                <a:gd name="connsiteX37" fmla="*/ 8287 w 10000"/>
                <a:gd name="connsiteY37" fmla="*/ 0 h 10000"/>
                <a:gd name="connsiteX38" fmla="*/ 7716 w 10000"/>
                <a:gd name="connsiteY38" fmla="*/ 0 h 10000"/>
                <a:gd name="connsiteX39" fmla="*/ 5716 w 10000"/>
                <a:gd name="connsiteY39" fmla="*/ 143 h 10000"/>
                <a:gd name="connsiteX40" fmla="*/ 5430 w 10000"/>
                <a:gd name="connsiteY40" fmla="*/ 0 h 10000"/>
                <a:gd name="connsiteX41" fmla="*/ 5430 w 10000"/>
                <a:gd name="connsiteY41" fmla="*/ 714 h 10000"/>
                <a:gd name="connsiteX42" fmla="*/ 5430 w 10000"/>
                <a:gd name="connsiteY42" fmla="*/ 857 h 10000"/>
                <a:gd name="connsiteX0" fmla="*/ 3430 w 8000"/>
                <a:gd name="connsiteY0" fmla="*/ 857 h 10000"/>
                <a:gd name="connsiteX1" fmla="*/ 2287 w 8000"/>
                <a:gd name="connsiteY1" fmla="*/ 1857 h 10000"/>
                <a:gd name="connsiteX2" fmla="*/ 1716 w 8000"/>
                <a:gd name="connsiteY2" fmla="*/ 2858 h 10000"/>
                <a:gd name="connsiteX3" fmla="*/ 2001 w 8000"/>
                <a:gd name="connsiteY3" fmla="*/ 3714 h 10000"/>
                <a:gd name="connsiteX4" fmla="*/ 0 w 8000"/>
                <a:gd name="connsiteY4" fmla="*/ 10000 h 10000"/>
                <a:gd name="connsiteX5" fmla="*/ 859 w 8000"/>
                <a:gd name="connsiteY5" fmla="*/ 9571 h 10000"/>
                <a:gd name="connsiteX6" fmla="*/ 2001 w 8000"/>
                <a:gd name="connsiteY6" fmla="*/ 9000 h 10000"/>
                <a:gd name="connsiteX7" fmla="*/ 2859 w 8000"/>
                <a:gd name="connsiteY7" fmla="*/ 8857 h 10000"/>
                <a:gd name="connsiteX8" fmla="*/ 2572 w 8000"/>
                <a:gd name="connsiteY8" fmla="*/ 8857 h 10000"/>
                <a:gd name="connsiteX9" fmla="*/ 2572 w 8000"/>
                <a:gd name="connsiteY9" fmla="*/ 8714 h 10000"/>
                <a:gd name="connsiteX10" fmla="*/ 5143 w 8000"/>
                <a:gd name="connsiteY10" fmla="*/ 8143 h 10000"/>
                <a:gd name="connsiteX11" fmla="*/ 6287 w 8000"/>
                <a:gd name="connsiteY11" fmla="*/ 8430 h 10000"/>
                <a:gd name="connsiteX12" fmla="*/ 6857 w 8000"/>
                <a:gd name="connsiteY12" fmla="*/ 8857 h 10000"/>
                <a:gd name="connsiteX13" fmla="*/ 7142 w 8000"/>
                <a:gd name="connsiteY13" fmla="*/ 9144 h 10000"/>
                <a:gd name="connsiteX14" fmla="*/ 8000 w 8000"/>
                <a:gd name="connsiteY14" fmla="*/ 8857 h 10000"/>
                <a:gd name="connsiteX15" fmla="*/ 8000 w 8000"/>
                <a:gd name="connsiteY15" fmla="*/ 8430 h 10000"/>
                <a:gd name="connsiteX16" fmla="*/ 7142 w 8000"/>
                <a:gd name="connsiteY16" fmla="*/ 7714 h 10000"/>
                <a:gd name="connsiteX17" fmla="*/ 7142 w 8000"/>
                <a:gd name="connsiteY17" fmla="*/ 7000 h 10000"/>
                <a:gd name="connsiteX18" fmla="*/ 7429 w 8000"/>
                <a:gd name="connsiteY18" fmla="*/ 7000 h 10000"/>
                <a:gd name="connsiteX19" fmla="*/ 6857 w 8000"/>
                <a:gd name="connsiteY19" fmla="*/ 6286 h 10000"/>
                <a:gd name="connsiteX20" fmla="*/ 6572 w 8000"/>
                <a:gd name="connsiteY20" fmla="*/ 6001 h 10000"/>
                <a:gd name="connsiteX21" fmla="*/ 5143 w 8000"/>
                <a:gd name="connsiteY21" fmla="*/ 5857 h 10000"/>
                <a:gd name="connsiteX22" fmla="*/ 3716 w 8000"/>
                <a:gd name="connsiteY22" fmla="*/ 5571 h 10000"/>
                <a:gd name="connsiteX23" fmla="*/ 3145 w 8000"/>
                <a:gd name="connsiteY23" fmla="*/ 4857 h 10000"/>
                <a:gd name="connsiteX24" fmla="*/ 2572 w 8000"/>
                <a:gd name="connsiteY24" fmla="*/ 3714 h 10000"/>
                <a:gd name="connsiteX25" fmla="*/ 3145 w 8000"/>
                <a:gd name="connsiteY25" fmla="*/ 3286 h 10000"/>
                <a:gd name="connsiteX26" fmla="*/ 2859 w 8000"/>
                <a:gd name="connsiteY26" fmla="*/ 2286 h 10000"/>
                <a:gd name="connsiteX27" fmla="*/ 4287 w 8000"/>
                <a:gd name="connsiteY27" fmla="*/ 2286 h 10000"/>
                <a:gd name="connsiteX28" fmla="*/ 4858 w 8000"/>
                <a:gd name="connsiteY28" fmla="*/ 2858 h 10000"/>
                <a:gd name="connsiteX29" fmla="*/ 6000 w 8000"/>
                <a:gd name="connsiteY29" fmla="*/ 2858 h 10000"/>
                <a:gd name="connsiteX30" fmla="*/ 6000 w 8000"/>
                <a:gd name="connsiteY30" fmla="*/ 2429 h 10000"/>
                <a:gd name="connsiteX31" fmla="*/ 6287 w 8000"/>
                <a:gd name="connsiteY31" fmla="*/ 2143 h 10000"/>
                <a:gd name="connsiteX32" fmla="*/ 6572 w 8000"/>
                <a:gd name="connsiteY32" fmla="*/ 2286 h 10000"/>
                <a:gd name="connsiteX33" fmla="*/ 6287 w 8000"/>
                <a:gd name="connsiteY33" fmla="*/ 1429 h 10000"/>
                <a:gd name="connsiteX34" fmla="*/ 6857 w 8000"/>
                <a:gd name="connsiteY34" fmla="*/ 857 h 10000"/>
                <a:gd name="connsiteX35" fmla="*/ 6857 w 8000"/>
                <a:gd name="connsiteY35" fmla="*/ 286 h 10000"/>
                <a:gd name="connsiteX36" fmla="*/ 6287 w 8000"/>
                <a:gd name="connsiteY36" fmla="*/ 0 h 10000"/>
                <a:gd name="connsiteX37" fmla="*/ 5716 w 8000"/>
                <a:gd name="connsiteY37" fmla="*/ 0 h 10000"/>
                <a:gd name="connsiteX38" fmla="*/ 3716 w 8000"/>
                <a:gd name="connsiteY38" fmla="*/ 143 h 10000"/>
                <a:gd name="connsiteX39" fmla="*/ 3430 w 8000"/>
                <a:gd name="connsiteY39" fmla="*/ 0 h 10000"/>
                <a:gd name="connsiteX40" fmla="*/ 3430 w 8000"/>
                <a:gd name="connsiteY40" fmla="*/ 714 h 10000"/>
                <a:gd name="connsiteX41" fmla="*/ 3430 w 8000"/>
                <a:gd name="connsiteY41" fmla="*/ 857 h 10000"/>
                <a:gd name="connsiteX0" fmla="*/ 3214 w 8926"/>
                <a:gd name="connsiteY0" fmla="*/ 857 h 9880"/>
                <a:gd name="connsiteX1" fmla="*/ 1785 w 8926"/>
                <a:gd name="connsiteY1" fmla="*/ 1857 h 9880"/>
                <a:gd name="connsiteX2" fmla="*/ 1071 w 8926"/>
                <a:gd name="connsiteY2" fmla="*/ 2858 h 9880"/>
                <a:gd name="connsiteX3" fmla="*/ 1427 w 8926"/>
                <a:gd name="connsiteY3" fmla="*/ 3714 h 9880"/>
                <a:gd name="connsiteX4" fmla="*/ 0 w 8926"/>
                <a:gd name="connsiteY4" fmla="*/ 9571 h 9880"/>
                <a:gd name="connsiteX5" fmla="*/ 1427 w 8926"/>
                <a:gd name="connsiteY5" fmla="*/ 9000 h 9880"/>
                <a:gd name="connsiteX6" fmla="*/ 2500 w 8926"/>
                <a:gd name="connsiteY6" fmla="*/ 8857 h 9880"/>
                <a:gd name="connsiteX7" fmla="*/ 2141 w 8926"/>
                <a:gd name="connsiteY7" fmla="*/ 8857 h 9880"/>
                <a:gd name="connsiteX8" fmla="*/ 2141 w 8926"/>
                <a:gd name="connsiteY8" fmla="*/ 8714 h 9880"/>
                <a:gd name="connsiteX9" fmla="*/ 5355 w 8926"/>
                <a:gd name="connsiteY9" fmla="*/ 8143 h 9880"/>
                <a:gd name="connsiteX10" fmla="*/ 6785 w 8926"/>
                <a:gd name="connsiteY10" fmla="*/ 8430 h 9880"/>
                <a:gd name="connsiteX11" fmla="*/ 7497 w 8926"/>
                <a:gd name="connsiteY11" fmla="*/ 8857 h 9880"/>
                <a:gd name="connsiteX12" fmla="*/ 7854 w 8926"/>
                <a:gd name="connsiteY12" fmla="*/ 9144 h 9880"/>
                <a:gd name="connsiteX13" fmla="*/ 8926 w 8926"/>
                <a:gd name="connsiteY13" fmla="*/ 8857 h 9880"/>
                <a:gd name="connsiteX14" fmla="*/ 8926 w 8926"/>
                <a:gd name="connsiteY14" fmla="*/ 8430 h 9880"/>
                <a:gd name="connsiteX15" fmla="*/ 7854 w 8926"/>
                <a:gd name="connsiteY15" fmla="*/ 7714 h 9880"/>
                <a:gd name="connsiteX16" fmla="*/ 7854 w 8926"/>
                <a:gd name="connsiteY16" fmla="*/ 7000 h 9880"/>
                <a:gd name="connsiteX17" fmla="*/ 8212 w 8926"/>
                <a:gd name="connsiteY17" fmla="*/ 7000 h 9880"/>
                <a:gd name="connsiteX18" fmla="*/ 7497 w 8926"/>
                <a:gd name="connsiteY18" fmla="*/ 6286 h 9880"/>
                <a:gd name="connsiteX19" fmla="*/ 7141 w 8926"/>
                <a:gd name="connsiteY19" fmla="*/ 6001 h 9880"/>
                <a:gd name="connsiteX20" fmla="*/ 5355 w 8926"/>
                <a:gd name="connsiteY20" fmla="*/ 5857 h 9880"/>
                <a:gd name="connsiteX21" fmla="*/ 3571 w 8926"/>
                <a:gd name="connsiteY21" fmla="*/ 5571 h 9880"/>
                <a:gd name="connsiteX22" fmla="*/ 2857 w 8926"/>
                <a:gd name="connsiteY22" fmla="*/ 4857 h 9880"/>
                <a:gd name="connsiteX23" fmla="*/ 2141 w 8926"/>
                <a:gd name="connsiteY23" fmla="*/ 3714 h 9880"/>
                <a:gd name="connsiteX24" fmla="*/ 2857 w 8926"/>
                <a:gd name="connsiteY24" fmla="*/ 3286 h 9880"/>
                <a:gd name="connsiteX25" fmla="*/ 2500 w 8926"/>
                <a:gd name="connsiteY25" fmla="*/ 2286 h 9880"/>
                <a:gd name="connsiteX26" fmla="*/ 4285 w 8926"/>
                <a:gd name="connsiteY26" fmla="*/ 2286 h 9880"/>
                <a:gd name="connsiteX27" fmla="*/ 4999 w 8926"/>
                <a:gd name="connsiteY27" fmla="*/ 2858 h 9880"/>
                <a:gd name="connsiteX28" fmla="*/ 6426 w 8926"/>
                <a:gd name="connsiteY28" fmla="*/ 2858 h 9880"/>
                <a:gd name="connsiteX29" fmla="*/ 6426 w 8926"/>
                <a:gd name="connsiteY29" fmla="*/ 2429 h 9880"/>
                <a:gd name="connsiteX30" fmla="*/ 6785 w 8926"/>
                <a:gd name="connsiteY30" fmla="*/ 2143 h 9880"/>
                <a:gd name="connsiteX31" fmla="*/ 7141 w 8926"/>
                <a:gd name="connsiteY31" fmla="*/ 2286 h 9880"/>
                <a:gd name="connsiteX32" fmla="*/ 6785 w 8926"/>
                <a:gd name="connsiteY32" fmla="*/ 1429 h 9880"/>
                <a:gd name="connsiteX33" fmla="*/ 7497 w 8926"/>
                <a:gd name="connsiteY33" fmla="*/ 857 h 9880"/>
                <a:gd name="connsiteX34" fmla="*/ 7497 w 8926"/>
                <a:gd name="connsiteY34" fmla="*/ 286 h 9880"/>
                <a:gd name="connsiteX35" fmla="*/ 6785 w 8926"/>
                <a:gd name="connsiteY35" fmla="*/ 0 h 9880"/>
                <a:gd name="connsiteX36" fmla="*/ 6071 w 8926"/>
                <a:gd name="connsiteY36" fmla="*/ 0 h 9880"/>
                <a:gd name="connsiteX37" fmla="*/ 3571 w 8926"/>
                <a:gd name="connsiteY37" fmla="*/ 143 h 9880"/>
                <a:gd name="connsiteX38" fmla="*/ 3214 w 8926"/>
                <a:gd name="connsiteY38" fmla="*/ 0 h 9880"/>
                <a:gd name="connsiteX39" fmla="*/ 3214 w 8926"/>
                <a:gd name="connsiteY39" fmla="*/ 714 h 9880"/>
                <a:gd name="connsiteX40" fmla="*/ 3214 w 8926"/>
                <a:gd name="connsiteY40" fmla="*/ 857 h 9880"/>
                <a:gd name="connsiteX0" fmla="*/ 2401 w 8800"/>
                <a:gd name="connsiteY0" fmla="*/ 867 h 9255"/>
                <a:gd name="connsiteX1" fmla="*/ 800 w 8800"/>
                <a:gd name="connsiteY1" fmla="*/ 1880 h 9255"/>
                <a:gd name="connsiteX2" fmla="*/ 0 w 8800"/>
                <a:gd name="connsiteY2" fmla="*/ 2893 h 9255"/>
                <a:gd name="connsiteX3" fmla="*/ 399 w 8800"/>
                <a:gd name="connsiteY3" fmla="*/ 3759 h 9255"/>
                <a:gd name="connsiteX4" fmla="*/ 399 w 8800"/>
                <a:gd name="connsiteY4" fmla="*/ 9109 h 9255"/>
                <a:gd name="connsiteX5" fmla="*/ 1601 w 8800"/>
                <a:gd name="connsiteY5" fmla="*/ 8965 h 9255"/>
                <a:gd name="connsiteX6" fmla="*/ 1199 w 8800"/>
                <a:gd name="connsiteY6" fmla="*/ 8965 h 9255"/>
                <a:gd name="connsiteX7" fmla="*/ 1199 w 8800"/>
                <a:gd name="connsiteY7" fmla="*/ 8820 h 9255"/>
                <a:gd name="connsiteX8" fmla="*/ 4799 w 8800"/>
                <a:gd name="connsiteY8" fmla="*/ 8242 h 9255"/>
                <a:gd name="connsiteX9" fmla="*/ 6401 w 8800"/>
                <a:gd name="connsiteY9" fmla="*/ 8532 h 9255"/>
                <a:gd name="connsiteX10" fmla="*/ 7199 w 8800"/>
                <a:gd name="connsiteY10" fmla="*/ 8965 h 9255"/>
                <a:gd name="connsiteX11" fmla="*/ 7599 w 8800"/>
                <a:gd name="connsiteY11" fmla="*/ 9255 h 9255"/>
                <a:gd name="connsiteX12" fmla="*/ 8800 w 8800"/>
                <a:gd name="connsiteY12" fmla="*/ 8965 h 9255"/>
                <a:gd name="connsiteX13" fmla="*/ 8800 w 8800"/>
                <a:gd name="connsiteY13" fmla="*/ 8532 h 9255"/>
                <a:gd name="connsiteX14" fmla="*/ 7599 w 8800"/>
                <a:gd name="connsiteY14" fmla="*/ 7808 h 9255"/>
                <a:gd name="connsiteX15" fmla="*/ 7599 w 8800"/>
                <a:gd name="connsiteY15" fmla="*/ 7085 h 9255"/>
                <a:gd name="connsiteX16" fmla="*/ 8000 w 8800"/>
                <a:gd name="connsiteY16" fmla="*/ 7085 h 9255"/>
                <a:gd name="connsiteX17" fmla="*/ 7199 w 8800"/>
                <a:gd name="connsiteY17" fmla="*/ 6362 h 9255"/>
                <a:gd name="connsiteX18" fmla="*/ 6800 w 8800"/>
                <a:gd name="connsiteY18" fmla="*/ 6074 h 9255"/>
                <a:gd name="connsiteX19" fmla="*/ 4799 w 8800"/>
                <a:gd name="connsiteY19" fmla="*/ 5928 h 9255"/>
                <a:gd name="connsiteX20" fmla="*/ 2801 w 8800"/>
                <a:gd name="connsiteY20" fmla="*/ 5639 h 9255"/>
                <a:gd name="connsiteX21" fmla="*/ 2001 w 8800"/>
                <a:gd name="connsiteY21" fmla="*/ 4916 h 9255"/>
                <a:gd name="connsiteX22" fmla="*/ 1199 w 8800"/>
                <a:gd name="connsiteY22" fmla="*/ 3759 h 9255"/>
                <a:gd name="connsiteX23" fmla="*/ 2001 w 8800"/>
                <a:gd name="connsiteY23" fmla="*/ 3326 h 9255"/>
                <a:gd name="connsiteX24" fmla="*/ 1601 w 8800"/>
                <a:gd name="connsiteY24" fmla="*/ 2314 h 9255"/>
                <a:gd name="connsiteX25" fmla="*/ 3601 w 8800"/>
                <a:gd name="connsiteY25" fmla="*/ 2314 h 9255"/>
                <a:gd name="connsiteX26" fmla="*/ 4400 w 8800"/>
                <a:gd name="connsiteY26" fmla="*/ 2893 h 9255"/>
                <a:gd name="connsiteX27" fmla="*/ 5999 w 8800"/>
                <a:gd name="connsiteY27" fmla="*/ 2893 h 9255"/>
                <a:gd name="connsiteX28" fmla="*/ 5999 w 8800"/>
                <a:gd name="connsiteY28" fmla="*/ 2459 h 9255"/>
                <a:gd name="connsiteX29" fmla="*/ 6401 w 8800"/>
                <a:gd name="connsiteY29" fmla="*/ 2169 h 9255"/>
                <a:gd name="connsiteX30" fmla="*/ 6800 w 8800"/>
                <a:gd name="connsiteY30" fmla="*/ 2314 h 9255"/>
                <a:gd name="connsiteX31" fmla="*/ 6401 w 8800"/>
                <a:gd name="connsiteY31" fmla="*/ 1446 h 9255"/>
                <a:gd name="connsiteX32" fmla="*/ 7199 w 8800"/>
                <a:gd name="connsiteY32" fmla="*/ 867 h 9255"/>
                <a:gd name="connsiteX33" fmla="*/ 7199 w 8800"/>
                <a:gd name="connsiteY33" fmla="*/ 289 h 9255"/>
                <a:gd name="connsiteX34" fmla="*/ 6401 w 8800"/>
                <a:gd name="connsiteY34" fmla="*/ 0 h 9255"/>
                <a:gd name="connsiteX35" fmla="*/ 5601 w 8800"/>
                <a:gd name="connsiteY35" fmla="*/ 0 h 9255"/>
                <a:gd name="connsiteX36" fmla="*/ 2801 w 8800"/>
                <a:gd name="connsiteY36" fmla="*/ 145 h 9255"/>
                <a:gd name="connsiteX37" fmla="*/ 2401 w 8800"/>
                <a:gd name="connsiteY37" fmla="*/ 0 h 9255"/>
                <a:gd name="connsiteX38" fmla="*/ 2401 w 8800"/>
                <a:gd name="connsiteY38" fmla="*/ 723 h 9255"/>
                <a:gd name="connsiteX39" fmla="*/ 2401 w 8800"/>
                <a:gd name="connsiteY39" fmla="*/ 867 h 9255"/>
                <a:gd name="connsiteX0" fmla="*/ 2728 w 10000"/>
                <a:gd name="connsiteY0" fmla="*/ 937 h 10000"/>
                <a:gd name="connsiteX1" fmla="*/ 909 w 10000"/>
                <a:gd name="connsiteY1" fmla="*/ 2031 h 10000"/>
                <a:gd name="connsiteX2" fmla="*/ 0 w 10000"/>
                <a:gd name="connsiteY2" fmla="*/ 3126 h 10000"/>
                <a:gd name="connsiteX3" fmla="*/ 453 w 10000"/>
                <a:gd name="connsiteY3" fmla="*/ 4062 h 10000"/>
                <a:gd name="connsiteX4" fmla="*/ 1819 w 10000"/>
                <a:gd name="connsiteY4" fmla="*/ 9687 h 10000"/>
                <a:gd name="connsiteX5" fmla="*/ 1363 w 10000"/>
                <a:gd name="connsiteY5" fmla="*/ 9687 h 10000"/>
                <a:gd name="connsiteX6" fmla="*/ 1363 w 10000"/>
                <a:gd name="connsiteY6" fmla="*/ 9530 h 10000"/>
                <a:gd name="connsiteX7" fmla="*/ 5453 w 10000"/>
                <a:gd name="connsiteY7" fmla="*/ 8905 h 10000"/>
                <a:gd name="connsiteX8" fmla="*/ 7274 w 10000"/>
                <a:gd name="connsiteY8" fmla="*/ 9219 h 10000"/>
                <a:gd name="connsiteX9" fmla="*/ 8181 w 10000"/>
                <a:gd name="connsiteY9" fmla="*/ 9687 h 10000"/>
                <a:gd name="connsiteX10" fmla="*/ 8635 w 10000"/>
                <a:gd name="connsiteY10" fmla="*/ 10000 h 10000"/>
                <a:gd name="connsiteX11" fmla="*/ 10000 w 10000"/>
                <a:gd name="connsiteY11" fmla="*/ 9687 h 10000"/>
                <a:gd name="connsiteX12" fmla="*/ 10000 w 10000"/>
                <a:gd name="connsiteY12" fmla="*/ 9219 h 10000"/>
                <a:gd name="connsiteX13" fmla="*/ 8635 w 10000"/>
                <a:gd name="connsiteY13" fmla="*/ 8437 h 10000"/>
                <a:gd name="connsiteX14" fmla="*/ 8635 w 10000"/>
                <a:gd name="connsiteY14" fmla="*/ 7655 h 10000"/>
                <a:gd name="connsiteX15" fmla="*/ 9091 w 10000"/>
                <a:gd name="connsiteY15" fmla="*/ 7655 h 10000"/>
                <a:gd name="connsiteX16" fmla="*/ 8181 w 10000"/>
                <a:gd name="connsiteY16" fmla="*/ 6874 h 10000"/>
                <a:gd name="connsiteX17" fmla="*/ 7727 w 10000"/>
                <a:gd name="connsiteY17" fmla="*/ 6563 h 10000"/>
                <a:gd name="connsiteX18" fmla="*/ 5453 w 10000"/>
                <a:gd name="connsiteY18" fmla="*/ 6405 h 10000"/>
                <a:gd name="connsiteX19" fmla="*/ 3183 w 10000"/>
                <a:gd name="connsiteY19" fmla="*/ 6093 h 10000"/>
                <a:gd name="connsiteX20" fmla="*/ 2274 w 10000"/>
                <a:gd name="connsiteY20" fmla="*/ 5312 h 10000"/>
                <a:gd name="connsiteX21" fmla="*/ 1363 w 10000"/>
                <a:gd name="connsiteY21" fmla="*/ 4062 h 10000"/>
                <a:gd name="connsiteX22" fmla="*/ 2274 w 10000"/>
                <a:gd name="connsiteY22" fmla="*/ 3594 h 10000"/>
                <a:gd name="connsiteX23" fmla="*/ 1819 w 10000"/>
                <a:gd name="connsiteY23" fmla="*/ 2500 h 10000"/>
                <a:gd name="connsiteX24" fmla="*/ 4092 w 10000"/>
                <a:gd name="connsiteY24" fmla="*/ 2500 h 10000"/>
                <a:gd name="connsiteX25" fmla="*/ 5000 w 10000"/>
                <a:gd name="connsiteY25" fmla="*/ 3126 h 10000"/>
                <a:gd name="connsiteX26" fmla="*/ 6817 w 10000"/>
                <a:gd name="connsiteY26" fmla="*/ 3126 h 10000"/>
                <a:gd name="connsiteX27" fmla="*/ 6817 w 10000"/>
                <a:gd name="connsiteY27" fmla="*/ 2657 h 10000"/>
                <a:gd name="connsiteX28" fmla="*/ 7274 w 10000"/>
                <a:gd name="connsiteY28" fmla="*/ 2344 h 10000"/>
                <a:gd name="connsiteX29" fmla="*/ 7727 w 10000"/>
                <a:gd name="connsiteY29" fmla="*/ 2500 h 10000"/>
                <a:gd name="connsiteX30" fmla="*/ 7274 w 10000"/>
                <a:gd name="connsiteY30" fmla="*/ 1562 h 10000"/>
                <a:gd name="connsiteX31" fmla="*/ 8181 w 10000"/>
                <a:gd name="connsiteY31" fmla="*/ 937 h 10000"/>
                <a:gd name="connsiteX32" fmla="*/ 8181 w 10000"/>
                <a:gd name="connsiteY32" fmla="*/ 312 h 10000"/>
                <a:gd name="connsiteX33" fmla="*/ 7274 w 10000"/>
                <a:gd name="connsiteY33" fmla="*/ 0 h 10000"/>
                <a:gd name="connsiteX34" fmla="*/ 6365 w 10000"/>
                <a:gd name="connsiteY34" fmla="*/ 0 h 10000"/>
                <a:gd name="connsiteX35" fmla="*/ 3183 w 10000"/>
                <a:gd name="connsiteY35" fmla="*/ 157 h 10000"/>
                <a:gd name="connsiteX36" fmla="*/ 2728 w 10000"/>
                <a:gd name="connsiteY36" fmla="*/ 0 h 10000"/>
                <a:gd name="connsiteX37" fmla="*/ 2728 w 10000"/>
                <a:gd name="connsiteY37" fmla="*/ 781 h 10000"/>
                <a:gd name="connsiteX38" fmla="*/ 2728 w 10000"/>
                <a:gd name="connsiteY38" fmla="*/ 937 h 10000"/>
                <a:gd name="connsiteX0" fmla="*/ 2728 w 10000"/>
                <a:gd name="connsiteY0" fmla="*/ 937 h 10000"/>
                <a:gd name="connsiteX1" fmla="*/ 909 w 10000"/>
                <a:gd name="connsiteY1" fmla="*/ 2031 h 10000"/>
                <a:gd name="connsiteX2" fmla="*/ 0 w 10000"/>
                <a:gd name="connsiteY2" fmla="*/ 3126 h 10000"/>
                <a:gd name="connsiteX3" fmla="*/ 453 w 10000"/>
                <a:gd name="connsiteY3" fmla="*/ 4062 h 10000"/>
                <a:gd name="connsiteX4" fmla="*/ 1819 w 10000"/>
                <a:gd name="connsiteY4" fmla="*/ 9687 h 10000"/>
                <a:gd name="connsiteX5" fmla="*/ 1363 w 10000"/>
                <a:gd name="connsiteY5" fmla="*/ 9530 h 10000"/>
                <a:gd name="connsiteX6" fmla="*/ 5453 w 10000"/>
                <a:gd name="connsiteY6" fmla="*/ 8905 h 10000"/>
                <a:gd name="connsiteX7" fmla="*/ 7274 w 10000"/>
                <a:gd name="connsiteY7" fmla="*/ 9219 h 10000"/>
                <a:gd name="connsiteX8" fmla="*/ 8181 w 10000"/>
                <a:gd name="connsiteY8" fmla="*/ 9687 h 10000"/>
                <a:gd name="connsiteX9" fmla="*/ 8635 w 10000"/>
                <a:gd name="connsiteY9" fmla="*/ 10000 h 10000"/>
                <a:gd name="connsiteX10" fmla="*/ 10000 w 10000"/>
                <a:gd name="connsiteY10" fmla="*/ 9687 h 10000"/>
                <a:gd name="connsiteX11" fmla="*/ 10000 w 10000"/>
                <a:gd name="connsiteY11" fmla="*/ 9219 h 10000"/>
                <a:gd name="connsiteX12" fmla="*/ 8635 w 10000"/>
                <a:gd name="connsiteY12" fmla="*/ 8437 h 10000"/>
                <a:gd name="connsiteX13" fmla="*/ 8635 w 10000"/>
                <a:gd name="connsiteY13" fmla="*/ 7655 h 10000"/>
                <a:gd name="connsiteX14" fmla="*/ 9091 w 10000"/>
                <a:gd name="connsiteY14" fmla="*/ 7655 h 10000"/>
                <a:gd name="connsiteX15" fmla="*/ 8181 w 10000"/>
                <a:gd name="connsiteY15" fmla="*/ 6874 h 10000"/>
                <a:gd name="connsiteX16" fmla="*/ 7727 w 10000"/>
                <a:gd name="connsiteY16" fmla="*/ 6563 h 10000"/>
                <a:gd name="connsiteX17" fmla="*/ 5453 w 10000"/>
                <a:gd name="connsiteY17" fmla="*/ 6405 h 10000"/>
                <a:gd name="connsiteX18" fmla="*/ 3183 w 10000"/>
                <a:gd name="connsiteY18" fmla="*/ 6093 h 10000"/>
                <a:gd name="connsiteX19" fmla="*/ 2274 w 10000"/>
                <a:gd name="connsiteY19" fmla="*/ 5312 h 10000"/>
                <a:gd name="connsiteX20" fmla="*/ 1363 w 10000"/>
                <a:gd name="connsiteY20" fmla="*/ 4062 h 10000"/>
                <a:gd name="connsiteX21" fmla="*/ 2274 w 10000"/>
                <a:gd name="connsiteY21" fmla="*/ 3594 h 10000"/>
                <a:gd name="connsiteX22" fmla="*/ 1819 w 10000"/>
                <a:gd name="connsiteY22" fmla="*/ 2500 h 10000"/>
                <a:gd name="connsiteX23" fmla="*/ 4092 w 10000"/>
                <a:gd name="connsiteY23" fmla="*/ 2500 h 10000"/>
                <a:gd name="connsiteX24" fmla="*/ 5000 w 10000"/>
                <a:gd name="connsiteY24" fmla="*/ 3126 h 10000"/>
                <a:gd name="connsiteX25" fmla="*/ 6817 w 10000"/>
                <a:gd name="connsiteY25" fmla="*/ 3126 h 10000"/>
                <a:gd name="connsiteX26" fmla="*/ 6817 w 10000"/>
                <a:gd name="connsiteY26" fmla="*/ 2657 h 10000"/>
                <a:gd name="connsiteX27" fmla="*/ 7274 w 10000"/>
                <a:gd name="connsiteY27" fmla="*/ 2344 h 10000"/>
                <a:gd name="connsiteX28" fmla="*/ 7727 w 10000"/>
                <a:gd name="connsiteY28" fmla="*/ 2500 h 10000"/>
                <a:gd name="connsiteX29" fmla="*/ 7274 w 10000"/>
                <a:gd name="connsiteY29" fmla="*/ 1562 h 10000"/>
                <a:gd name="connsiteX30" fmla="*/ 8181 w 10000"/>
                <a:gd name="connsiteY30" fmla="*/ 937 h 10000"/>
                <a:gd name="connsiteX31" fmla="*/ 8181 w 10000"/>
                <a:gd name="connsiteY31" fmla="*/ 312 h 10000"/>
                <a:gd name="connsiteX32" fmla="*/ 7274 w 10000"/>
                <a:gd name="connsiteY32" fmla="*/ 0 h 10000"/>
                <a:gd name="connsiteX33" fmla="*/ 6365 w 10000"/>
                <a:gd name="connsiteY33" fmla="*/ 0 h 10000"/>
                <a:gd name="connsiteX34" fmla="*/ 3183 w 10000"/>
                <a:gd name="connsiteY34" fmla="*/ 157 h 10000"/>
                <a:gd name="connsiteX35" fmla="*/ 2728 w 10000"/>
                <a:gd name="connsiteY35" fmla="*/ 0 h 10000"/>
                <a:gd name="connsiteX36" fmla="*/ 2728 w 10000"/>
                <a:gd name="connsiteY36" fmla="*/ 781 h 10000"/>
                <a:gd name="connsiteX37" fmla="*/ 2728 w 10000"/>
                <a:gd name="connsiteY37" fmla="*/ 937 h 10000"/>
                <a:gd name="connsiteX0" fmla="*/ 2728 w 10000"/>
                <a:gd name="connsiteY0" fmla="*/ 937 h 10000"/>
                <a:gd name="connsiteX1" fmla="*/ 909 w 10000"/>
                <a:gd name="connsiteY1" fmla="*/ 2031 h 10000"/>
                <a:gd name="connsiteX2" fmla="*/ 0 w 10000"/>
                <a:gd name="connsiteY2" fmla="*/ 3126 h 10000"/>
                <a:gd name="connsiteX3" fmla="*/ 453 w 10000"/>
                <a:gd name="connsiteY3" fmla="*/ 4062 h 10000"/>
                <a:gd name="connsiteX4" fmla="*/ 1819 w 10000"/>
                <a:gd name="connsiteY4" fmla="*/ 9687 h 10000"/>
                <a:gd name="connsiteX5" fmla="*/ 5453 w 10000"/>
                <a:gd name="connsiteY5" fmla="*/ 8905 h 10000"/>
                <a:gd name="connsiteX6" fmla="*/ 7274 w 10000"/>
                <a:gd name="connsiteY6" fmla="*/ 9219 h 10000"/>
                <a:gd name="connsiteX7" fmla="*/ 8181 w 10000"/>
                <a:gd name="connsiteY7" fmla="*/ 9687 h 10000"/>
                <a:gd name="connsiteX8" fmla="*/ 8635 w 10000"/>
                <a:gd name="connsiteY8" fmla="*/ 10000 h 10000"/>
                <a:gd name="connsiteX9" fmla="*/ 10000 w 10000"/>
                <a:gd name="connsiteY9" fmla="*/ 9687 h 10000"/>
                <a:gd name="connsiteX10" fmla="*/ 10000 w 10000"/>
                <a:gd name="connsiteY10" fmla="*/ 9219 h 10000"/>
                <a:gd name="connsiteX11" fmla="*/ 8635 w 10000"/>
                <a:gd name="connsiteY11" fmla="*/ 8437 h 10000"/>
                <a:gd name="connsiteX12" fmla="*/ 8635 w 10000"/>
                <a:gd name="connsiteY12" fmla="*/ 7655 h 10000"/>
                <a:gd name="connsiteX13" fmla="*/ 9091 w 10000"/>
                <a:gd name="connsiteY13" fmla="*/ 7655 h 10000"/>
                <a:gd name="connsiteX14" fmla="*/ 8181 w 10000"/>
                <a:gd name="connsiteY14" fmla="*/ 6874 h 10000"/>
                <a:gd name="connsiteX15" fmla="*/ 7727 w 10000"/>
                <a:gd name="connsiteY15" fmla="*/ 6563 h 10000"/>
                <a:gd name="connsiteX16" fmla="*/ 5453 w 10000"/>
                <a:gd name="connsiteY16" fmla="*/ 6405 h 10000"/>
                <a:gd name="connsiteX17" fmla="*/ 3183 w 10000"/>
                <a:gd name="connsiteY17" fmla="*/ 6093 h 10000"/>
                <a:gd name="connsiteX18" fmla="*/ 2274 w 10000"/>
                <a:gd name="connsiteY18" fmla="*/ 5312 h 10000"/>
                <a:gd name="connsiteX19" fmla="*/ 1363 w 10000"/>
                <a:gd name="connsiteY19" fmla="*/ 4062 h 10000"/>
                <a:gd name="connsiteX20" fmla="*/ 2274 w 10000"/>
                <a:gd name="connsiteY20" fmla="*/ 3594 h 10000"/>
                <a:gd name="connsiteX21" fmla="*/ 1819 w 10000"/>
                <a:gd name="connsiteY21" fmla="*/ 2500 h 10000"/>
                <a:gd name="connsiteX22" fmla="*/ 4092 w 10000"/>
                <a:gd name="connsiteY22" fmla="*/ 2500 h 10000"/>
                <a:gd name="connsiteX23" fmla="*/ 5000 w 10000"/>
                <a:gd name="connsiteY23" fmla="*/ 3126 h 10000"/>
                <a:gd name="connsiteX24" fmla="*/ 6817 w 10000"/>
                <a:gd name="connsiteY24" fmla="*/ 3126 h 10000"/>
                <a:gd name="connsiteX25" fmla="*/ 6817 w 10000"/>
                <a:gd name="connsiteY25" fmla="*/ 2657 h 10000"/>
                <a:gd name="connsiteX26" fmla="*/ 7274 w 10000"/>
                <a:gd name="connsiteY26" fmla="*/ 2344 h 10000"/>
                <a:gd name="connsiteX27" fmla="*/ 7727 w 10000"/>
                <a:gd name="connsiteY27" fmla="*/ 2500 h 10000"/>
                <a:gd name="connsiteX28" fmla="*/ 7274 w 10000"/>
                <a:gd name="connsiteY28" fmla="*/ 1562 h 10000"/>
                <a:gd name="connsiteX29" fmla="*/ 8181 w 10000"/>
                <a:gd name="connsiteY29" fmla="*/ 937 h 10000"/>
                <a:gd name="connsiteX30" fmla="*/ 8181 w 10000"/>
                <a:gd name="connsiteY30" fmla="*/ 312 h 10000"/>
                <a:gd name="connsiteX31" fmla="*/ 7274 w 10000"/>
                <a:gd name="connsiteY31" fmla="*/ 0 h 10000"/>
                <a:gd name="connsiteX32" fmla="*/ 6365 w 10000"/>
                <a:gd name="connsiteY32" fmla="*/ 0 h 10000"/>
                <a:gd name="connsiteX33" fmla="*/ 3183 w 10000"/>
                <a:gd name="connsiteY33" fmla="*/ 157 h 10000"/>
                <a:gd name="connsiteX34" fmla="*/ 2728 w 10000"/>
                <a:gd name="connsiteY34" fmla="*/ 0 h 10000"/>
                <a:gd name="connsiteX35" fmla="*/ 2728 w 10000"/>
                <a:gd name="connsiteY35" fmla="*/ 781 h 10000"/>
                <a:gd name="connsiteX36" fmla="*/ 2728 w 10000"/>
                <a:gd name="connsiteY36" fmla="*/ 937 h 10000"/>
                <a:gd name="connsiteX0" fmla="*/ 2788 w 10060"/>
                <a:gd name="connsiteY0" fmla="*/ 937 h 10000"/>
                <a:gd name="connsiteX1" fmla="*/ 969 w 10060"/>
                <a:gd name="connsiteY1" fmla="*/ 2031 h 10000"/>
                <a:gd name="connsiteX2" fmla="*/ 60 w 10060"/>
                <a:gd name="connsiteY2" fmla="*/ 3126 h 10000"/>
                <a:gd name="connsiteX3" fmla="*/ 513 w 10060"/>
                <a:gd name="connsiteY3" fmla="*/ 4062 h 10000"/>
                <a:gd name="connsiteX4" fmla="*/ 5513 w 10060"/>
                <a:gd name="connsiteY4" fmla="*/ 8905 h 10000"/>
                <a:gd name="connsiteX5" fmla="*/ 7334 w 10060"/>
                <a:gd name="connsiteY5" fmla="*/ 9219 h 10000"/>
                <a:gd name="connsiteX6" fmla="*/ 8241 w 10060"/>
                <a:gd name="connsiteY6" fmla="*/ 9687 h 10000"/>
                <a:gd name="connsiteX7" fmla="*/ 8695 w 10060"/>
                <a:gd name="connsiteY7" fmla="*/ 10000 h 10000"/>
                <a:gd name="connsiteX8" fmla="*/ 10060 w 10060"/>
                <a:gd name="connsiteY8" fmla="*/ 9687 h 10000"/>
                <a:gd name="connsiteX9" fmla="*/ 10060 w 10060"/>
                <a:gd name="connsiteY9" fmla="*/ 9219 h 10000"/>
                <a:gd name="connsiteX10" fmla="*/ 8695 w 10060"/>
                <a:gd name="connsiteY10" fmla="*/ 8437 h 10000"/>
                <a:gd name="connsiteX11" fmla="*/ 8695 w 10060"/>
                <a:gd name="connsiteY11" fmla="*/ 7655 h 10000"/>
                <a:gd name="connsiteX12" fmla="*/ 9151 w 10060"/>
                <a:gd name="connsiteY12" fmla="*/ 7655 h 10000"/>
                <a:gd name="connsiteX13" fmla="*/ 8241 w 10060"/>
                <a:gd name="connsiteY13" fmla="*/ 6874 h 10000"/>
                <a:gd name="connsiteX14" fmla="*/ 7787 w 10060"/>
                <a:gd name="connsiteY14" fmla="*/ 6563 h 10000"/>
                <a:gd name="connsiteX15" fmla="*/ 5513 w 10060"/>
                <a:gd name="connsiteY15" fmla="*/ 6405 h 10000"/>
                <a:gd name="connsiteX16" fmla="*/ 3243 w 10060"/>
                <a:gd name="connsiteY16" fmla="*/ 6093 h 10000"/>
                <a:gd name="connsiteX17" fmla="*/ 2334 w 10060"/>
                <a:gd name="connsiteY17" fmla="*/ 5312 h 10000"/>
                <a:gd name="connsiteX18" fmla="*/ 1423 w 10060"/>
                <a:gd name="connsiteY18" fmla="*/ 4062 h 10000"/>
                <a:gd name="connsiteX19" fmla="*/ 2334 w 10060"/>
                <a:gd name="connsiteY19" fmla="*/ 3594 h 10000"/>
                <a:gd name="connsiteX20" fmla="*/ 1879 w 10060"/>
                <a:gd name="connsiteY20" fmla="*/ 2500 h 10000"/>
                <a:gd name="connsiteX21" fmla="*/ 4152 w 10060"/>
                <a:gd name="connsiteY21" fmla="*/ 2500 h 10000"/>
                <a:gd name="connsiteX22" fmla="*/ 5060 w 10060"/>
                <a:gd name="connsiteY22" fmla="*/ 3126 h 10000"/>
                <a:gd name="connsiteX23" fmla="*/ 6877 w 10060"/>
                <a:gd name="connsiteY23" fmla="*/ 3126 h 10000"/>
                <a:gd name="connsiteX24" fmla="*/ 6877 w 10060"/>
                <a:gd name="connsiteY24" fmla="*/ 2657 h 10000"/>
                <a:gd name="connsiteX25" fmla="*/ 7334 w 10060"/>
                <a:gd name="connsiteY25" fmla="*/ 2344 h 10000"/>
                <a:gd name="connsiteX26" fmla="*/ 7787 w 10060"/>
                <a:gd name="connsiteY26" fmla="*/ 2500 h 10000"/>
                <a:gd name="connsiteX27" fmla="*/ 7334 w 10060"/>
                <a:gd name="connsiteY27" fmla="*/ 1562 h 10000"/>
                <a:gd name="connsiteX28" fmla="*/ 8241 w 10060"/>
                <a:gd name="connsiteY28" fmla="*/ 937 h 10000"/>
                <a:gd name="connsiteX29" fmla="*/ 8241 w 10060"/>
                <a:gd name="connsiteY29" fmla="*/ 312 h 10000"/>
                <a:gd name="connsiteX30" fmla="*/ 7334 w 10060"/>
                <a:gd name="connsiteY30" fmla="*/ 0 h 10000"/>
                <a:gd name="connsiteX31" fmla="*/ 6425 w 10060"/>
                <a:gd name="connsiteY31" fmla="*/ 0 h 10000"/>
                <a:gd name="connsiteX32" fmla="*/ 3243 w 10060"/>
                <a:gd name="connsiteY32" fmla="*/ 157 h 10000"/>
                <a:gd name="connsiteX33" fmla="*/ 2788 w 10060"/>
                <a:gd name="connsiteY33" fmla="*/ 0 h 10000"/>
                <a:gd name="connsiteX34" fmla="*/ 2788 w 10060"/>
                <a:gd name="connsiteY34" fmla="*/ 781 h 10000"/>
                <a:gd name="connsiteX35" fmla="*/ 2788 w 10060"/>
                <a:gd name="connsiteY35" fmla="*/ 937 h 10000"/>
                <a:gd name="connsiteX0" fmla="*/ 2915 w 10187"/>
                <a:gd name="connsiteY0" fmla="*/ 937 h 10000"/>
                <a:gd name="connsiteX1" fmla="*/ 1096 w 10187"/>
                <a:gd name="connsiteY1" fmla="*/ 2031 h 10000"/>
                <a:gd name="connsiteX2" fmla="*/ 187 w 10187"/>
                <a:gd name="connsiteY2" fmla="*/ 3126 h 10000"/>
                <a:gd name="connsiteX3" fmla="*/ 640 w 10187"/>
                <a:gd name="connsiteY3" fmla="*/ 4062 h 10000"/>
                <a:gd name="connsiteX4" fmla="*/ 7461 w 10187"/>
                <a:gd name="connsiteY4" fmla="*/ 9219 h 10000"/>
                <a:gd name="connsiteX5" fmla="*/ 8368 w 10187"/>
                <a:gd name="connsiteY5" fmla="*/ 9687 h 10000"/>
                <a:gd name="connsiteX6" fmla="*/ 8822 w 10187"/>
                <a:gd name="connsiteY6" fmla="*/ 10000 h 10000"/>
                <a:gd name="connsiteX7" fmla="*/ 10187 w 10187"/>
                <a:gd name="connsiteY7" fmla="*/ 9687 h 10000"/>
                <a:gd name="connsiteX8" fmla="*/ 10187 w 10187"/>
                <a:gd name="connsiteY8" fmla="*/ 9219 h 10000"/>
                <a:gd name="connsiteX9" fmla="*/ 8822 w 10187"/>
                <a:gd name="connsiteY9" fmla="*/ 8437 h 10000"/>
                <a:gd name="connsiteX10" fmla="*/ 8822 w 10187"/>
                <a:gd name="connsiteY10" fmla="*/ 7655 h 10000"/>
                <a:gd name="connsiteX11" fmla="*/ 9278 w 10187"/>
                <a:gd name="connsiteY11" fmla="*/ 7655 h 10000"/>
                <a:gd name="connsiteX12" fmla="*/ 8368 w 10187"/>
                <a:gd name="connsiteY12" fmla="*/ 6874 h 10000"/>
                <a:gd name="connsiteX13" fmla="*/ 7914 w 10187"/>
                <a:gd name="connsiteY13" fmla="*/ 6563 h 10000"/>
                <a:gd name="connsiteX14" fmla="*/ 5640 w 10187"/>
                <a:gd name="connsiteY14" fmla="*/ 6405 h 10000"/>
                <a:gd name="connsiteX15" fmla="*/ 3370 w 10187"/>
                <a:gd name="connsiteY15" fmla="*/ 6093 h 10000"/>
                <a:gd name="connsiteX16" fmla="*/ 2461 w 10187"/>
                <a:gd name="connsiteY16" fmla="*/ 5312 h 10000"/>
                <a:gd name="connsiteX17" fmla="*/ 1550 w 10187"/>
                <a:gd name="connsiteY17" fmla="*/ 4062 h 10000"/>
                <a:gd name="connsiteX18" fmla="*/ 2461 w 10187"/>
                <a:gd name="connsiteY18" fmla="*/ 3594 h 10000"/>
                <a:gd name="connsiteX19" fmla="*/ 2006 w 10187"/>
                <a:gd name="connsiteY19" fmla="*/ 2500 h 10000"/>
                <a:gd name="connsiteX20" fmla="*/ 4279 w 10187"/>
                <a:gd name="connsiteY20" fmla="*/ 2500 h 10000"/>
                <a:gd name="connsiteX21" fmla="*/ 5187 w 10187"/>
                <a:gd name="connsiteY21" fmla="*/ 3126 h 10000"/>
                <a:gd name="connsiteX22" fmla="*/ 7004 w 10187"/>
                <a:gd name="connsiteY22" fmla="*/ 3126 h 10000"/>
                <a:gd name="connsiteX23" fmla="*/ 7004 w 10187"/>
                <a:gd name="connsiteY23" fmla="*/ 2657 h 10000"/>
                <a:gd name="connsiteX24" fmla="*/ 7461 w 10187"/>
                <a:gd name="connsiteY24" fmla="*/ 2344 h 10000"/>
                <a:gd name="connsiteX25" fmla="*/ 7914 w 10187"/>
                <a:gd name="connsiteY25" fmla="*/ 2500 h 10000"/>
                <a:gd name="connsiteX26" fmla="*/ 7461 w 10187"/>
                <a:gd name="connsiteY26" fmla="*/ 1562 h 10000"/>
                <a:gd name="connsiteX27" fmla="*/ 8368 w 10187"/>
                <a:gd name="connsiteY27" fmla="*/ 937 h 10000"/>
                <a:gd name="connsiteX28" fmla="*/ 8368 w 10187"/>
                <a:gd name="connsiteY28" fmla="*/ 312 h 10000"/>
                <a:gd name="connsiteX29" fmla="*/ 7461 w 10187"/>
                <a:gd name="connsiteY29" fmla="*/ 0 h 10000"/>
                <a:gd name="connsiteX30" fmla="*/ 6552 w 10187"/>
                <a:gd name="connsiteY30" fmla="*/ 0 h 10000"/>
                <a:gd name="connsiteX31" fmla="*/ 3370 w 10187"/>
                <a:gd name="connsiteY31" fmla="*/ 157 h 10000"/>
                <a:gd name="connsiteX32" fmla="*/ 2915 w 10187"/>
                <a:gd name="connsiteY32" fmla="*/ 0 h 10000"/>
                <a:gd name="connsiteX33" fmla="*/ 2915 w 10187"/>
                <a:gd name="connsiteY33" fmla="*/ 781 h 10000"/>
                <a:gd name="connsiteX34" fmla="*/ 2915 w 10187"/>
                <a:gd name="connsiteY34" fmla="*/ 937 h 10000"/>
                <a:gd name="connsiteX0" fmla="*/ 2980 w 10252"/>
                <a:gd name="connsiteY0" fmla="*/ 937 h 10000"/>
                <a:gd name="connsiteX1" fmla="*/ 1161 w 10252"/>
                <a:gd name="connsiteY1" fmla="*/ 2031 h 10000"/>
                <a:gd name="connsiteX2" fmla="*/ 252 w 10252"/>
                <a:gd name="connsiteY2" fmla="*/ 3126 h 10000"/>
                <a:gd name="connsiteX3" fmla="*/ 705 w 10252"/>
                <a:gd name="connsiteY3" fmla="*/ 4062 h 10000"/>
                <a:gd name="connsiteX4" fmla="*/ 8433 w 10252"/>
                <a:gd name="connsiteY4" fmla="*/ 9687 h 10000"/>
                <a:gd name="connsiteX5" fmla="*/ 8887 w 10252"/>
                <a:gd name="connsiteY5" fmla="*/ 10000 h 10000"/>
                <a:gd name="connsiteX6" fmla="*/ 10252 w 10252"/>
                <a:gd name="connsiteY6" fmla="*/ 9687 h 10000"/>
                <a:gd name="connsiteX7" fmla="*/ 10252 w 10252"/>
                <a:gd name="connsiteY7" fmla="*/ 9219 h 10000"/>
                <a:gd name="connsiteX8" fmla="*/ 8887 w 10252"/>
                <a:gd name="connsiteY8" fmla="*/ 8437 h 10000"/>
                <a:gd name="connsiteX9" fmla="*/ 8887 w 10252"/>
                <a:gd name="connsiteY9" fmla="*/ 7655 h 10000"/>
                <a:gd name="connsiteX10" fmla="*/ 9343 w 10252"/>
                <a:gd name="connsiteY10" fmla="*/ 7655 h 10000"/>
                <a:gd name="connsiteX11" fmla="*/ 8433 w 10252"/>
                <a:gd name="connsiteY11" fmla="*/ 6874 h 10000"/>
                <a:gd name="connsiteX12" fmla="*/ 7979 w 10252"/>
                <a:gd name="connsiteY12" fmla="*/ 6563 h 10000"/>
                <a:gd name="connsiteX13" fmla="*/ 5705 w 10252"/>
                <a:gd name="connsiteY13" fmla="*/ 6405 h 10000"/>
                <a:gd name="connsiteX14" fmla="*/ 3435 w 10252"/>
                <a:gd name="connsiteY14" fmla="*/ 6093 h 10000"/>
                <a:gd name="connsiteX15" fmla="*/ 2526 w 10252"/>
                <a:gd name="connsiteY15" fmla="*/ 5312 h 10000"/>
                <a:gd name="connsiteX16" fmla="*/ 1615 w 10252"/>
                <a:gd name="connsiteY16" fmla="*/ 4062 h 10000"/>
                <a:gd name="connsiteX17" fmla="*/ 2526 w 10252"/>
                <a:gd name="connsiteY17" fmla="*/ 3594 h 10000"/>
                <a:gd name="connsiteX18" fmla="*/ 2071 w 10252"/>
                <a:gd name="connsiteY18" fmla="*/ 2500 h 10000"/>
                <a:gd name="connsiteX19" fmla="*/ 4344 w 10252"/>
                <a:gd name="connsiteY19" fmla="*/ 2500 h 10000"/>
                <a:gd name="connsiteX20" fmla="*/ 5252 w 10252"/>
                <a:gd name="connsiteY20" fmla="*/ 3126 h 10000"/>
                <a:gd name="connsiteX21" fmla="*/ 7069 w 10252"/>
                <a:gd name="connsiteY21" fmla="*/ 3126 h 10000"/>
                <a:gd name="connsiteX22" fmla="*/ 7069 w 10252"/>
                <a:gd name="connsiteY22" fmla="*/ 2657 h 10000"/>
                <a:gd name="connsiteX23" fmla="*/ 7526 w 10252"/>
                <a:gd name="connsiteY23" fmla="*/ 2344 h 10000"/>
                <a:gd name="connsiteX24" fmla="*/ 7979 w 10252"/>
                <a:gd name="connsiteY24" fmla="*/ 2500 h 10000"/>
                <a:gd name="connsiteX25" fmla="*/ 7526 w 10252"/>
                <a:gd name="connsiteY25" fmla="*/ 1562 h 10000"/>
                <a:gd name="connsiteX26" fmla="*/ 8433 w 10252"/>
                <a:gd name="connsiteY26" fmla="*/ 937 h 10000"/>
                <a:gd name="connsiteX27" fmla="*/ 8433 w 10252"/>
                <a:gd name="connsiteY27" fmla="*/ 312 h 10000"/>
                <a:gd name="connsiteX28" fmla="*/ 7526 w 10252"/>
                <a:gd name="connsiteY28" fmla="*/ 0 h 10000"/>
                <a:gd name="connsiteX29" fmla="*/ 6617 w 10252"/>
                <a:gd name="connsiteY29" fmla="*/ 0 h 10000"/>
                <a:gd name="connsiteX30" fmla="*/ 3435 w 10252"/>
                <a:gd name="connsiteY30" fmla="*/ 157 h 10000"/>
                <a:gd name="connsiteX31" fmla="*/ 2980 w 10252"/>
                <a:gd name="connsiteY31" fmla="*/ 0 h 10000"/>
                <a:gd name="connsiteX32" fmla="*/ 2980 w 10252"/>
                <a:gd name="connsiteY32" fmla="*/ 781 h 10000"/>
                <a:gd name="connsiteX33" fmla="*/ 2980 w 10252"/>
                <a:gd name="connsiteY33" fmla="*/ 937 h 10000"/>
                <a:gd name="connsiteX0" fmla="*/ 3012 w 10284"/>
                <a:gd name="connsiteY0" fmla="*/ 937 h 10000"/>
                <a:gd name="connsiteX1" fmla="*/ 1193 w 10284"/>
                <a:gd name="connsiteY1" fmla="*/ 2031 h 10000"/>
                <a:gd name="connsiteX2" fmla="*/ 284 w 10284"/>
                <a:gd name="connsiteY2" fmla="*/ 3126 h 10000"/>
                <a:gd name="connsiteX3" fmla="*/ 737 w 10284"/>
                <a:gd name="connsiteY3" fmla="*/ 4062 h 10000"/>
                <a:gd name="connsiteX4" fmla="*/ 8919 w 10284"/>
                <a:gd name="connsiteY4" fmla="*/ 10000 h 10000"/>
                <a:gd name="connsiteX5" fmla="*/ 10284 w 10284"/>
                <a:gd name="connsiteY5" fmla="*/ 9687 h 10000"/>
                <a:gd name="connsiteX6" fmla="*/ 10284 w 10284"/>
                <a:gd name="connsiteY6" fmla="*/ 9219 h 10000"/>
                <a:gd name="connsiteX7" fmla="*/ 8919 w 10284"/>
                <a:gd name="connsiteY7" fmla="*/ 8437 h 10000"/>
                <a:gd name="connsiteX8" fmla="*/ 8919 w 10284"/>
                <a:gd name="connsiteY8" fmla="*/ 7655 h 10000"/>
                <a:gd name="connsiteX9" fmla="*/ 9375 w 10284"/>
                <a:gd name="connsiteY9" fmla="*/ 7655 h 10000"/>
                <a:gd name="connsiteX10" fmla="*/ 8465 w 10284"/>
                <a:gd name="connsiteY10" fmla="*/ 6874 h 10000"/>
                <a:gd name="connsiteX11" fmla="*/ 8011 w 10284"/>
                <a:gd name="connsiteY11" fmla="*/ 6563 h 10000"/>
                <a:gd name="connsiteX12" fmla="*/ 5737 w 10284"/>
                <a:gd name="connsiteY12" fmla="*/ 6405 h 10000"/>
                <a:gd name="connsiteX13" fmla="*/ 3467 w 10284"/>
                <a:gd name="connsiteY13" fmla="*/ 6093 h 10000"/>
                <a:gd name="connsiteX14" fmla="*/ 2558 w 10284"/>
                <a:gd name="connsiteY14" fmla="*/ 5312 h 10000"/>
                <a:gd name="connsiteX15" fmla="*/ 1647 w 10284"/>
                <a:gd name="connsiteY15" fmla="*/ 4062 h 10000"/>
                <a:gd name="connsiteX16" fmla="*/ 2558 w 10284"/>
                <a:gd name="connsiteY16" fmla="*/ 3594 h 10000"/>
                <a:gd name="connsiteX17" fmla="*/ 2103 w 10284"/>
                <a:gd name="connsiteY17" fmla="*/ 2500 h 10000"/>
                <a:gd name="connsiteX18" fmla="*/ 4376 w 10284"/>
                <a:gd name="connsiteY18" fmla="*/ 2500 h 10000"/>
                <a:gd name="connsiteX19" fmla="*/ 5284 w 10284"/>
                <a:gd name="connsiteY19" fmla="*/ 3126 h 10000"/>
                <a:gd name="connsiteX20" fmla="*/ 7101 w 10284"/>
                <a:gd name="connsiteY20" fmla="*/ 3126 h 10000"/>
                <a:gd name="connsiteX21" fmla="*/ 7101 w 10284"/>
                <a:gd name="connsiteY21" fmla="*/ 2657 h 10000"/>
                <a:gd name="connsiteX22" fmla="*/ 7558 w 10284"/>
                <a:gd name="connsiteY22" fmla="*/ 2344 h 10000"/>
                <a:gd name="connsiteX23" fmla="*/ 8011 w 10284"/>
                <a:gd name="connsiteY23" fmla="*/ 2500 h 10000"/>
                <a:gd name="connsiteX24" fmla="*/ 7558 w 10284"/>
                <a:gd name="connsiteY24" fmla="*/ 1562 h 10000"/>
                <a:gd name="connsiteX25" fmla="*/ 8465 w 10284"/>
                <a:gd name="connsiteY25" fmla="*/ 937 h 10000"/>
                <a:gd name="connsiteX26" fmla="*/ 8465 w 10284"/>
                <a:gd name="connsiteY26" fmla="*/ 312 h 10000"/>
                <a:gd name="connsiteX27" fmla="*/ 7558 w 10284"/>
                <a:gd name="connsiteY27" fmla="*/ 0 h 10000"/>
                <a:gd name="connsiteX28" fmla="*/ 6649 w 10284"/>
                <a:gd name="connsiteY28" fmla="*/ 0 h 10000"/>
                <a:gd name="connsiteX29" fmla="*/ 3467 w 10284"/>
                <a:gd name="connsiteY29" fmla="*/ 157 h 10000"/>
                <a:gd name="connsiteX30" fmla="*/ 3012 w 10284"/>
                <a:gd name="connsiteY30" fmla="*/ 0 h 10000"/>
                <a:gd name="connsiteX31" fmla="*/ 3012 w 10284"/>
                <a:gd name="connsiteY31" fmla="*/ 781 h 10000"/>
                <a:gd name="connsiteX32" fmla="*/ 3012 w 10284"/>
                <a:gd name="connsiteY32" fmla="*/ 937 h 10000"/>
                <a:gd name="connsiteX0" fmla="*/ 3111 w 10383"/>
                <a:gd name="connsiteY0" fmla="*/ 937 h 9687"/>
                <a:gd name="connsiteX1" fmla="*/ 1292 w 10383"/>
                <a:gd name="connsiteY1" fmla="*/ 2031 h 9687"/>
                <a:gd name="connsiteX2" fmla="*/ 383 w 10383"/>
                <a:gd name="connsiteY2" fmla="*/ 3126 h 9687"/>
                <a:gd name="connsiteX3" fmla="*/ 836 w 10383"/>
                <a:gd name="connsiteY3" fmla="*/ 4062 h 9687"/>
                <a:gd name="connsiteX4" fmla="*/ 10383 w 10383"/>
                <a:gd name="connsiteY4" fmla="*/ 9687 h 9687"/>
                <a:gd name="connsiteX5" fmla="*/ 10383 w 10383"/>
                <a:gd name="connsiteY5" fmla="*/ 9219 h 9687"/>
                <a:gd name="connsiteX6" fmla="*/ 9018 w 10383"/>
                <a:gd name="connsiteY6" fmla="*/ 8437 h 9687"/>
                <a:gd name="connsiteX7" fmla="*/ 9018 w 10383"/>
                <a:gd name="connsiteY7" fmla="*/ 7655 h 9687"/>
                <a:gd name="connsiteX8" fmla="*/ 9474 w 10383"/>
                <a:gd name="connsiteY8" fmla="*/ 7655 h 9687"/>
                <a:gd name="connsiteX9" fmla="*/ 8564 w 10383"/>
                <a:gd name="connsiteY9" fmla="*/ 6874 h 9687"/>
                <a:gd name="connsiteX10" fmla="*/ 8110 w 10383"/>
                <a:gd name="connsiteY10" fmla="*/ 6563 h 9687"/>
                <a:gd name="connsiteX11" fmla="*/ 5836 w 10383"/>
                <a:gd name="connsiteY11" fmla="*/ 6405 h 9687"/>
                <a:gd name="connsiteX12" fmla="*/ 3566 w 10383"/>
                <a:gd name="connsiteY12" fmla="*/ 6093 h 9687"/>
                <a:gd name="connsiteX13" fmla="*/ 2657 w 10383"/>
                <a:gd name="connsiteY13" fmla="*/ 5312 h 9687"/>
                <a:gd name="connsiteX14" fmla="*/ 1746 w 10383"/>
                <a:gd name="connsiteY14" fmla="*/ 4062 h 9687"/>
                <a:gd name="connsiteX15" fmla="*/ 2657 w 10383"/>
                <a:gd name="connsiteY15" fmla="*/ 3594 h 9687"/>
                <a:gd name="connsiteX16" fmla="*/ 2202 w 10383"/>
                <a:gd name="connsiteY16" fmla="*/ 2500 h 9687"/>
                <a:gd name="connsiteX17" fmla="*/ 4475 w 10383"/>
                <a:gd name="connsiteY17" fmla="*/ 2500 h 9687"/>
                <a:gd name="connsiteX18" fmla="*/ 5383 w 10383"/>
                <a:gd name="connsiteY18" fmla="*/ 3126 h 9687"/>
                <a:gd name="connsiteX19" fmla="*/ 7200 w 10383"/>
                <a:gd name="connsiteY19" fmla="*/ 3126 h 9687"/>
                <a:gd name="connsiteX20" fmla="*/ 7200 w 10383"/>
                <a:gd name="connsiteY20" fmla="*/ 2657 h 9687"/>
                <a:gd name="connsiteX21" fmla="*/ 7657 w 10383"/>
                <a:gd name="connsiteY21" fmla="*/ 2344 h 9687"/>
                <a:gd name="connsiteX22" fmla="*/ 8110 w 10383"/>
                <a:gd name="connsiteY22" fmla="*/ 2500 h 9687"/>
                <a:gd name="connsiteX23" fmla="*/ 7657 w 10383"/>
                <a:gd name="connsiteY23" fmla="*/ 1562 h 9687"/>
                <a:gd name="connsiteX24" fmla="*/ 8564 w 10383"/>
                <a:gd name="connsiteY24" fmla="*/ 937 h 9687"/>
                <a:gd name="connsiteX25" fmla="*/ 8564 w 10383"/>
                <a:gd name="connsiteY25" fmla="*/ 312 h 9687"/>
                <a:gd name="connsiteX26" fmla="*/ 7657 w 10383"/>
                <a:gd name="connsiteY26" fmla="*/ 0 h 9687"/>
                <a:gd name="connsiteX27" fmla="*/ 6748 w 10383"/>
                <a:gd name="connsiteY27" fmla="*/ 0 h 9687"/>
                <a:gd name="connsiteX28" fmla="*/ 3566 w 10383"/>
                <a:gd name="connsiteY28" fmla="*/ 157 h 9687"/>
                <a:gd name="connsiteX29" fmla="*/ 3111 w 10383"/>
                <a:gd name="connsiteY29" fmla="*/ 0 h 9687"/>
                <a:gd name="connsiteX30" fmla="*/ 3111 w 10383"/>
                <a:gd name="connsiteY30" fmla="*/ 781 h 9687"/>
                <a:gd name="connsiteX31" fmla="*/ 3111 w 10383"/>
                <a:gd name="connsiteY31" fmla="*/ 937 h 9687"/>
                <a:gd name="connsiteX0" fmla="*/ 2996 w 10414"/>
                <a:gd name="connsiteY0" fmla="*/ 967 h 9749"/>
                <a:gd name="connsiteX1" fmla="*/ 1244 w 10414"/>
                <a:gd name="connsiteY1" fmla="*/ 2097 h 9749"/>
                <a:gd name="connsiteX2" fmla="*/ 369 w 10414"/>
                <a:gd name="connsiteY2" fmla="*/ 3227 h 9749"/>
                <a:gd name="connsiteX3" fmla="*/ 805 w 10414"/>
                <a:gd name="connsiteY3" fmla="*/ 4193 h 9749"/>
                <a:gd name="connsiteX4" fmla="*/ 10000 w 10414"/>
                <a:gd name="connsiteY4" fmla="*/ 9517 h 9749"/>
                <a:gd name="connsiteX5" fmla="*/ 8685 w 10414"/>
                <a:gd name="connsiteY5" fmla="*/ 8710 h 9749"/>
                <a:gd name="connsiteX6" fmla="*/ 8685 w 10414"/>
                <a:gd name="connsiteY6" fmla="*/ 7902 h 9749"/>
                <a:gd name="connsiteX7" fmla="*/ 9125 w 10414"/>
                <a:gd name="connsiteY7" fmla="*/ 7902 h 9749"/>
                <a:gd name="connsiteX8" fmla="*/ 8248 w 10414"/>
                <a:gd name="connsiteY8" fmla="*/ 7096 h 9749"/>
                <a:gd name="connsiteX9" fmla="*/ 7811 w 10414"/>
                <a:gd name="connsiteY9" fmla="*/ 6775 h 9749"/>
                <a:gd name="connsiteX10" fmla="*/ 5621 w 10414"/>
                <a:gd name="connsiteY10" fmla="*/ 6612 h 9749"/>
                <a:gd name="connsiteX11" fmla="*/ 3434 w 10414"/>
                <a:gd name="connsiteY11" fmla="*/ 6290 h 9749"/>
                <a:gd name="connsiteX12" fmla="*/ 2559 w 10414"/>
                <a:gd name="connsiteY12" fmla="*/ 5484 h 9749"/>
                <a:gd name="connsiteX13" fmla="*/ 1682 w 10414"/>
                <a:gd name="connsiteY13" fmla="*/ 4193 h 9749"/>
                <a:gd name="connsiteX14" fmla="*/ 2559 w 10414"/>
                <a:gd name="connsiteY14" fmla="*/ 3710 h 9749"/>
                <a:gd name="connsiteX15" fmla="*/ 2121 w 10414"/>
                <a:gd name="connsiteY15" fmla="*/ 2581 h 9749"/>
                <a:gd name="connsiteX16" fmla="*/ 4310 w 10414"/>
                <a:gd name="connsiteY16" fmla="*/ 2581 h 9749"/>
                <a:gd name="connsiteX17" fmla="*/ 5184 w 10414"/>
                <a:gd name="connsiteY17" fmla="*/ 3227 h 9749"/>
                <a:gd name="connsiteX18" fmla="*/ 6934 w 10414"/>
                <a:gd name="connsiteY18" fmla="*/ 3227 h 9749"/>
                <a:gd name="connsiteX19" fmla="*/ 6934 w 10414"/>
                <a:gd name="connsiteY19" fmla="*/ 2743 h 9749"/>
                <a:gd name="connsiteX20" fmla="*/ 7375 w 10414"/>
                <a:gd name="connsiteY20" fmla="*/ 2420 h 9749"/>
                <a:gd name="connsiteX21" fmla="*/ 7811 w 10414"/>
                <a:gd name="connsiteY21" fmla="*/ 2581 h 9749"/>
                <a:gd name="connsiteX22" fmla="*/ 7375 w 10414"/>
                <a:gd name="connsiteY22" fmla="*/ 1612 h 9749"/>
                <a:gd name="connsiteX23" fmla="*/ 8248 w 10414"/>
                <a:gd name="connsiteY23" fmla="*/ 967 h 9749"/>
                <a:gd name="connsiteX24" fmla="*/ 8248 w 10414"/>
                <a:gd name="connsiteY24" fmla="*/ 322 h 9749"/>
                <a:gd name="connsiteX25" fmla="*/ 7375 w 10414"/>
                <a:gd name="connsiteY25" fmla="*/ 0 h 9749"/>
                <a:gd name="connsiteX26" fmla="*/ 6499 w 10414"/>
                <a:gd name="connsiteY26" fmla="*/ 0 h 9749"/>
                <a:gd name="connsiteX27" fmla="*/ 3434 w 10414"/>
                <a:gd name="connsiteY27" fmla="*/ 162 h 9749"/>
                <a:gd name="connsiteX28" fmla="*/ 2996 w 10414"/>
                <a:gd name="connsiteY28" fmla="*/ 0 h 9749"/>
                <a:gd name="connsiteX29" fmla="*/ 2996 w 10414"/>
                <a:gd name="connsiteY29" fmla="*/ 806 h 9749"/>
                <a:gd name="connsiteX30" fmla="*/ 2996 w 10414"/>
                <a:gd name="connsiteY30" fmla="*/ 967 h 9749"/>
                <a:gd name="connsiteX0" fmla="*/ 2787 w 8810"/>
                <a:gd name="connsiteY0" fmla="*/ 992 h 9117"/>
                <a:gd name="connsiteX1" fmla="*/ 1105 w 8810"/>
                <a:gd name="connsiteY1" fmla="*/ 2151 h 9117"/>
                <a:gd name="connsiteX2" fmla="*/ 264 w 8810"/>
                <a:gd name="connsiteY2" fmla="*/ 3310 h 9117"/>
                <a:gd name="connsiteX3" fmla="*/ 683 w 8810"/>
                <a:gd name="connsiteY3" fmla="*/ 4301 h 9117"/>
                <a:gd name="connsiteX4" fmla="*/ 8250 w 8810"/>
                <a:gd name="connsiteY4" fmla="*/ 8934 h 9117"/>
                <a:gd name="connsiteX5" fmla="*/ 8250 w 8810"/>
                <a:gd name="connsiteY5" fmla="*/ 8105 h 9117"/>
                <a:gd name="connsiteX6" fmla="*/ 8672 w 8810"/>
                <a:gd name="connsiteY6" fmla="*/ 8105 h 9117"/>
                <a:gd name="connsiteX7" fmla="*/ 7830 w 8810"/>
                <a:gd name="connsiteY7" fmla="*/ 7279 h 9117"/>
                <a:gd name="connsiteX8" fmla="*/ 7410 w 8810"/>
                <a:gd name="connsiteY8" fmla="*/ 6949 h 9117"/>
                <a:gd name="connsiteX9" fmla="*/ 5308 w 8810"/>
                <a:gd name="connsiteY9" fmla="*/ 6782 h 9117"/>
                <a:gd name="connsiteX10" fmla="*/ 3207 w 8810"/>
                <a:gd name="connsiteY10" fmla="*/ 6452 h 9117"/>
                <a:gd name="connsiteX11" fmla="*/ 2367 w 8810"/>
                <a:gd name="connsiteY11" fmla="*/ 5625 h 9117"/>
                <a:gd name="connsiteX12" fmla="*/ 1525 w 8810"/>
                <a:gd name="connsiteY12" fmla="*/ 4301 h 9117"/>
                <a:gd name="connsiteX13" fmla="*/ 2367 w 8810"/>
                <a:gd name="connsiteY13" fmla="*/ 3806 h 9117"/>
                <a:gd name="connsiteX14" fmla="*/ 1947 w 8810"/>
                <a:gd name="connsiteY14" fmla="*/ 2647 h 9117"/>
                <a:gd name="connsiteX15" fmla="*/ 4049 w 8810"/>
                <a:gd name="connsiteY15" fmla="*/ 2647 h 9117"/>
                <a:gd name="connsiteX16" fmla="*/ 4888 w 8810"/>
                <a:gd name="connsiteY16" fmla="*/ 3310 h 9117"/>
                <a:gd name="connsiteX17" fmla="*/ 6568 w 8810"/>
                <a:gd name="connsiteY17" fmla="*/ 3310 h 9117"/>
                <a:gd name="connsiteX18" fmla="*/ 6568 w 8810"/>
                <a:gd name="connsiteY18" fmla="*/ 2814 h 9117"/>
                <a:gd name="connsiteX19" fmla="*/ 6992 w 8810"/>
                <a:gd name="connsiteY19" fmla="*/ 2482 h 9117"/>
                <a:gd name="connsiteX20" fmla="*/ 7410 w 8810"/>
                <a:gd name="connsiteY20" fmla="*/ 2647 h 9117"/>
                <a:gd name="connsiteX21" fmla="*/ 6992 w 8810"/>
                <a:gd name="connsiteY21" fmla="*/ 1654 h 9117"/>
                <a:gd name="connsiteX22" fmla="*/ 7830 w 8810"/>
                <a:gd name="connsiteY22" fmla="*/ 992 h 9117"/>
                <a:gd name="connsiteX23" fmla="*/ 7830 w 8810"/>
                <a:gd name="connsiteY23" fmla="*/ 330 h 9117"/>
                <a:gd name="connsiteX24" fmla="*/ 6992 w 8810"/>
                <a:gd name="connsiteY24" fmla="*/ 0 h 9117"/>
                <a:gd name="connsiteX25" fmla="*/ 6151 w 8810"/>
                <a:gd name="connsiteY25" fmla="*/ 0 h 9117"/>
                <a:gd name="connsiteX26" fmla="*/ 3207 w 8810"/>
                <a:gd name="connsiteY26" fmla="*/ 166 h 9117"/>
                <a:gd name="connsiteX27" fmla="*/ 2787 w 8810"/>
                <a:gd name="connsiteY27" fmla="*/ 0 h 9117"/>
                <a:gd name="connsiteX28" fmla="*/ 2787 w 8810"/>
                <a:gd name="connsiteY28" fmla="*/ 827 h 9117"/>
                <a:gd name="connsiteX29" fmla="*/ 2787 w 8810"/>
                <a:gd name="connsiteY29" fmla="*/ 992 h 9117"/>
                <a:gd name="connsiteX0" fmla="*/ 3163 w 9843"/>
                <a:gd name="connsiteY0" fmla="*/ 1088 h 8890"/>
                <a:gd name="connsiteX1" fmla="*/ 1254 w 9843"/>
                <a:gd name="connsiteY1" fmla="*/ 2359 h 8890"/>
                <a:gd name="connsiteX2" fmla="*/ 300 w 9843"/>
                <a:gd name="connsiteY2" fmla="*/ 3631 h 8890"/>
                <a:gd name="connsiteX3" fmla="*/ 775 w 9843"/>
                <a:gd name="connsiteY3" fmla="*/ 4718 h 8890"/>
                <a:gd name="connsiteX4" fmla="*/ 9364 w 9843"/>
                <a:gd name="connsiteY4" fmla="*/ 8890 h 8890"/>
                <a:gd name="connsiteX5" fmla="*/ 9843 w 9843"/>
                <a:gd name="connsiteY5" fmla="*/ 8890 h 8890"/>
                <a:gd name="connsiteX6" fmla="*/ 8888 w 9843"/>
                <a:gd name="connsiteY6" fmla="*/ 7984 h 8890"/>
                <a:gd name="connsiteX7" fmla="*/ 8411 w 9843"/>
                <a:gd name="connsiteY7" fmla="*/ 7622 h 8890"/>
                <a:gd name="connsiteX8" fmla="*/ 6025 w 9843"/>
                <a:gd name="connsiteY8" fmla="*/ 7439 h 8890"/>
                <a:gd name="connsiteX9" fmla="*/ 3640 w 9843"/>
                <a:gd name="connsiteY9" fmla="*/ 7077 h 8890"/>
                <a:gd name="connsiteX10" fmla="*/ 2687 w 9843"/>
                <a:gd name="connsiteY10" fmla="*/ 6170 h 8890"/>
                <a:gd name="connsiteX11" fmla="*/ 1731 w 9843"/>
                <a:gd name="connsiteY11" fmla="*/ 4718 h 8890"/>
                <a:gd name="connsiteX12" fmla="*/ 2687 w 9843"/>
                <a:gd name="connsiteY12" fmla="*/ 4175 h 8890"/>
                <a:gd name="connsiteX13" fmla="*/ 2210 w 9843"/>
                <a:gd name="connsiteY13" fmla="*/ 2903 h 8890"/>
                <a:gd name="connsiteX14" fmla="*/ 4596 w 9843"/>
                <a:gd name="connsiteY14" fmla="*/ 2903 h 8890"/>
                <a:gd name="connsiteX15" fmla="*/ 5548 w 9843"/>
                <a:gd name="connsiteY15" fmla="*/ 3631 h 8890"/>
                <a:gd name="connsiteX16" fmla="*/ 7455 w 9843"/>
                <a:gd name="connsiteY16" fmla="*/ 3631 h 8890"/>
                <a:gd name="connsiteX17" fmla="*/ 7455 w 9843"/>
                <a:gd name="connsiteY17" fmla="*/ 3087 h 8890"/>
                <a:gd name="connsiteX18" fmla="*/ 7936 w 9843"/>
                <a:gd name="connsiteY18" fmla="*/ 2722 h 8890"/>
                <a:gd name="connsiteX19" fmla="*/ 8411 w 9843"/>
                <a:gd name="connsiteY19" fmla="*/ 2903 h 8890"/>
                <a:gd name="connsiteX20" fmla="*/ 7936 w 9843"/>
                <a:gd name="connsiteY20" fmla="*/ 1814 h 8890"/>
                <a:gd name="connsiteX21" fmla="*/ 8888 w 9843"/>
                <a:gd name="connsiteY21" fmla="*/ 1088 h 8890"/>
                <a:gd name="connsiteX22" fmla="*/ 8888 w 9843"/>
                <a:gd name="connsiteY22" fmla="*/ 362 h 8890"/>
                <a:gd name="connsiteX23" fmla="*/ 7936 w 9843"/>
                <a:gd name="connsiteY23" fmla="*/ 0 h 8890"/>
                <a:gd name="connsiteX24" fmla="*/ 6982 w 9843"/>
                <a:gd name="connsiteY24" fmla="*/ 0 h 8890"/>
                <a:gd name="connsiteX25" fmla="*/ 3640 w 9843"/>
                <a:gd name="connsiteY25" fmla="*/ 182 h 8890"/>
                <a:gd name="connsiteX26" fmla="*/ 3163 w 9843"/>
                <a:gd name="connsiteY26" fmla="*/ 0 h 8890"/>
                <a:gd name="connsiteX27" fmla="*/ 3163 w 9843"/>
                <a:gd name="connsiteY27" fmla="*/ 907 h 8890"/>
                <a:gd name="connsiteX28" fmla="*/ 3163 w 9843"/>
                <a:gd name="connsiteY28" fmla="*/ 1088 h 8890"/>
                <a:gd name="connsiteX0" fmla="*/ 3213 w 9513"/>
                <a:gd name="connsiteY0" fmla="*/ 1224 h 10000"/>
                <a:gd name="connsiteX1" fmla="*/ 1274 w 9513"/>
                <a:gd name="connsiteY1" fmla="*/ 2654 h 10000"/>
                <a:gd name="connsiteX2" fmla="*/ 305 w 9513"/>
                <a:gd name="connsiteY2" fmla="*/ 4084 h 10000"/>
                <a:gd name="connsiteX3" fmla="*/ 787 w 9513"/>
                <a:gd name="connsiteY3" fmla="*/ 5307 h 10000"/>
                <a:gd name="connsiteX4" fmla="*/ 9513 w 9513"/>
                <a:gd name="connsiteY4" fmla="*/ 10000 h 10000"/>
                <a:gd name="connsiteX5" fmla="*/ 9030 w 9513"/>
                <a:gd name="connsiteY5" fmla="*/ 8981 h 10000"/>
                <a:gd name="connsiteX6" fmla="*/ 8545 w 9513"/>
                <a:gd name="connsiteY6" fmla="*/ 8574 h 10000"/>
                <a:gd name="connsiteX7" fmla="*/ 6121 w 9513"/>
                <a:gd name="connsiteY7" fmla="*/ 8368 h 10000"/>
                <a:gd name="connsiteX8" fmla="*/ 3698 w 9513"/>
                <a:gd name="connsiteY8" fmla="*/ 7961 h 10000"/>
                <a:gd name="connsiteX9" fmla="*/ 2730 w 9513"/>
                <a:gd name="connsiteY9" fmla="*/ 6940 h 10000"/>
                <a:gd name="connsiteX10" fmla="*/ 1759 w 9513"/>
                <a:gd name="connsiteY10" fmla="*/ 5307 h 10000"/>
                <a:gd name="connsiteX11" fmla="*/ 2730 w 9513"/>
                <a:gd name="connsiteY11" fmla="*/ 4696 h 10000"/>
                <a:gd name="connsiteX12" fmla="*/ 2245 w 9513"/>
                <a:gd name="connsiteY12" fmla="*/ 3265 h 10000"/>
                <a:gd name="connsiteX13" fmla="*/ 4669 w 9513"/>
                <a:gd name="connsiteY13" fmla="*/ 3265 h 10000"/>
                <a:gd name="connsiteX14" fmla="*/ 5636 w 9513"/>
                <a:gd name="connsiteY14" fmla="*/ 4084 h 10000"/>
                <a:gd name="connsiteX15" fmla="*/ 7574 w 9513"/>
                <a:gd name="connsiteY15" fmla="*/ 4084 h 10000"/>
                <a:gd name="connsiteX16" fmla="*/ 7574 w 9513"/>
                <a:gd name="connsiteY16" fmla="*/ 3472 h 10000"/>
                <a:gd name="connsiteX17" fmla="*/ 8063 w 9513"/>
                <a:gd name="connsiteY17" fmla="*/ 3062 h 10000"/>
                <a:gd name="connsiteX18" fmla="*/ 8545 w 9513"/>
                <a:gd name="connsiteY18" fmla="*/ 3265 h 10000"/>
                <a:gd name="connsiteX19" fmla="*/ 8063 w 9513"/>
                <a:gd name="connsiteY19" fmla="*/ 2040 h 10000"/>
                <a:gd name="connsiteX20" fmla="*/ 9030 w 9513"/>
                <a:gd name="connsiteY20" fmla="*/ 1224 h 10000"/>
                <a:gd name="connsiteX21" fmla="*/ 9030 w 9513"/>
                <a:gd name="connsiteY21" fmla="*/ 407 h 10000"/>
                <a:gd name="connsiteX22" fmla="*/ 8063 w 9513"/>
                <a:gd name="connsiteY22" fmla="*/ 0 h 10000"/>
                <a:gd name="connsiteX23" fmla="*/ 7093 w 9513"/>
                <a:gd name="connsiteY23" fmla="*/ 0 h 10000"/>
                <a:gd name="connsiteX24" fmla="*/ 3698 w 9513"/>
                <a:gd name="connsiteY24" fmla="*/ 205 h 10000"/>
                <a:gd name="connsiteX25" fmla="*/ 3213 w 9513"/>
                <a:gd name="connsiteY25" fmla="*/ 0 h 10000"/>
                <a:gd name="connsiteX26" fmla="*/ 3213 w 9513"/>
                <a:gd name="connsiteY26" fmla="*/ 1020 h 10000"/>
                <a:gd name="connsiteX27" fmla="*/ 3213 w 9513"/>
                <a:gd name="connsiteY27" fmla="*/ 1224 h 10000"/>
                <a:gd name="connsiteX0" fmla="*/ 3377 w 10000"/>
                <a:gd name="connsiteY0" fmla="*/ 1224 h 10000"/>
                <a:gd name="connsiteX1" fmla="*/ 1339 w 10000"/>
                <a:gd name="connsiteY1" fmla="*/ 2654 h 10000"/>
                <a:gd name="connsiteX2" fmla="*/ 321 w 10000"/>
                <a:gd name="connsiteY2" fmla="*/ 4084 h 10000"/>
                <a:gd name="connsiteX3" fmla="*/ 827 w 10000"/>
                <a:gd name="connsiteY3" fmla="*/ 5307 h 10000"/>
                <a:gd name="connsiteX4" fmla="*/ 10000 w 10000"/>
                <a:gd name="connsiteY4" fmla="*/ 10000 h 10000"/>
                <a:gd name="connsiteX5" fmla="*/ 8982 w 10000"/>
                <a:gd name="connsiteY5" fmla="*/ 8574 h 10000"/>
                <a:gd name="connsiteX6" fmla="*/ 6434 w 10000"/>
                <a:gd name="connsiteY6" fmla="*/ 8368 h 10000"/>
                <a:gd name="connsiteX7" fmla="*/ 3887 w 10000"/>
                <a:gd name="connsiteY7" fmla="*/ 7961 h 10000"/>
                <a:gd name="connsiteX8" fmla="*/ 2870 w 10000"/>
                <a:gd name="connsiteY8" fmla="*/ 6940 h 10000"/>
                <a:gd name="connsiteX9" fmla="*/ 1849 w 10000"/>
                <a:gd name="connsiteY9" fmla="*/ 5307 h 10000"/>
                <a:gd name="connsiteX10" fmla="*/ 2870 w 10000"/>
                <a:gd name="connsiteY10" fmla="*/ 4696 h 10000"/>
                <a:gd name="connsiteX11" fmla="*/ 2360 w 10000"/>
                <a:gd name="connsiteY11" fmla="*/ 3265 h 10000"/>
                <a:gd name="connsiteX12" fmla="*/ 4908 w 10000"/>
                <a:gd name="connsiteY12" fmla="*/ 3265 h 10000"/>
                <a:gd name="connsiteX13" fmla="*/ 5925 w 10000"/>
                <a:gd name="connsiteY13" fmla="*/ 4084 h 10000"/>
                <a:gd name="connsiteX14" fmla="*/ 7962 w 10000"/>
                <a:gd name="connsiteY14" fmla="*/ 4084 h 10000"/>
                <a:gd name="connsiteX15" fmla="*/ 7962 w 10000"/>
                <a:gd name="connsiteY15" fmla="*/ 3472 h 10000"/>
                <a:gd name="connsiteX16" fmla="*/ 8476 w 10000"/>
                <a:gd name="connsiteY16" fmla="*/ 3062 h 10000"/>
                <a:gd name="connsiteX17" fmla="*/ 8982 w 10000"/>
                <a:gd name="connsiteY17" fmla="*/ 3265 h 10000"/>
                <a:gd name="connsiteX18" fmla="*/ 8476 w 10000"/>
                <a:gd name="connsiteY18" fmla="*/ 2040 h 10000"/>
                <a:gd name="connsiteX19" fmla="*/ 9492 w 10000"/>
                <a:gd name="connsiteY19" fmla="*/ 1224 h 10000"/>
                <a:gd name="connsiteX20" fmla="*/ 9492 w 10000"/>
                <a:gd name="connsiteY20" fmla="*/ 407 h 10000"/>
                <a:gd name="connsiteX21" fmla="*/ 8476 w 10000"/>
                <a:gd name="connsiteY21" fmla="*/ 0 h 10000"/>
                <a:gd name="connsiteX22" fmla="*/ 7456 w 10000"/>
                <a:gd name="connsiteY22" fmla="*/ 0 h 10000"/>
                <a:gd name="connsiteX23" fmla="*/ 3887 w 10000"/>
                <a:gd name="connsiteY23" fmla="*/ 205 h 10000"/>
                <a:gd name="connsiteX24" fmla="*/ 3377 w 10000"/>
                <a:gd name="connsiteY24" fmla="*/ 0 h 10000"/>
                <a:gd name="connsiteX25" fmla="*/ 3377 w 10000"/>
                <a:gd name="connsiteY25" fmla="*/ 1020 h 10000"/>
                <a:gd name="connsiteX26" fmla="*/ 3377 w 10000"/>
                <a:gd name="connsiteY26" fmla="*/ 1224 h 10000"/>
                <a:gd name="connsiteX0" fmla="*/ 3377 w 10000"/>
                <a:gd name="connsiteY0" fmla="*/ 1224 h 10000"/>
                <a:gd name="connsiteX1" fmla="*/ 1339 w 10000"/>
                <a:gd name="connsiteY1" fmla="*/ 2654 h 10000"/>
                <a:gd name="connsiteX2" fmla="*/ 321 w 10000"/>
                <a:gd name="connsiteY2" fmla="*/ 4084 h 10000"/>
                <a:gd name="connsiteX3" fmla="*/ 827 w 10000"/>
                <a:gd name="connsiteY3" fmla="*/ 5307 h 10000"/>
                <a:gd name="connsiteX4" fmla="*/ 10000 w 10000"/>
                <a:gd name="connsiteY4" fmla="*/ 10000 h 10000"/>
                <a:gd name="connsiteX5" fmla="*/ 6434 w 10000"/>
                <a:gd name="connsiteY5" fmla="*/ 8368 h 10000"/>
                <a:gd name="connsiteX6" fmla="*/ 3887 w 10000"/>
                <a:gd name="connsiteY6" fmla="*/ 7961 h 10000"/>
                <a:gd name="connsiteX7" fmla="*/ 2870 w 10000"/>
                <a:gd name="connsiteY7" fmla="*/ 6940 h 10000"/>
                <a:gd name="connsiteX8" fmla="*/ 1849 w 10000"/>
                <a:gd name="connsiteY8" fmla="*/ 5307 h 10000"/>
                <a:gd name="connsiteX9" fmla="*/ 2870 w 10000"/>
                <a:gd name="connsiteY9" fmla="*/ 4696 h 10000"/>
                <a:gd name="connsiteX10" fmla="*/ 2360 w 10000"/>
                <a:gd name="connsiteY10" fmla="*/ 3265 h 10000"/>
                <a:gd name="connsiteX11" fmla="*/ 4908 w 10000"/>
                <a:gd name="connsiteY11" fmla="*/ 3265 h 10000"/>
                <a:gd name="connsiteX12" fmla="*/ 5925 w 10000"/>
                <a:gd name="connsiteY12" fmla="*/ 4084 h 10000"/>
                <a:gd name="connsiteX13" fmla="*/ 7962 w 10000"/>
                <a:gd name="connsiteY13" fmla="*/ 4084 h 10000"/>
                <a:gd name="connsiteX14" fmla="*/ 7962 w 10000"/>
                <a:gd name="connsiteY14" fmla="*/ 3472 h 10000"/>
                <a:gd name="connsiteX15" fmla="*/ 8476 w 10000"/>
                <a:gd name="connsiteY15" fmla="*/ 3062 h 10000"/>
                <a:gd name="connsiteX16" fmla="*/ 8982 w 10000"/>
                <a:gd name="connsiteY16" fmla="*/ 3265 h 10000"/>
                <a:gd name="connsiteX17" fmla="*/ 8476 w 10000"/>
                <a:gd name="connsiteY17" fmla="*/ 2040 h 10000"/>
                <a:gd name="connsiteX18" fmla="*/ 9492 w 10000"/>
                <a:gd name="connsiteY18" fmla="*/ 1224 h 10000"/>
                <a:gd name="connsiteX19" fmla="*/ 9492 w 10000"/>
                <a:gd name="connsiteY19" fmla="*/ 407 h 10000"/>
                <a:gd name="connsiteX20" fmla="*/ 8476 w 10000"/>
                <a:gd name="connsiteY20" fmla="*/ 0 h 10000"/>
                <a:gd name="connsiteX21" fmla="*/ 7456 w 10000"/>
                <a:gd name="connsiteY21" fmla="*/ 0 h 10000"/>
                <a:gd name="connsiteX22" fmla="*/ 3887 w 10000"/>
                <a:gd name="connsiteY22" fmla="*/ 205 h 10000"/>
                <a:gd name="connsiteX23" fmla="*/ 3377 w 10000"/>
                <a:gd name="connsiteY23" fmla="*/ 0 h 10000"/>
                <a:gd name="connsiteX24" fmla="*/ 3377 w 10000"/>
                <a:gd name="connsiteY24" fmla="*/ 1020 h 10000"/>
                <a:gd name="connsiteX25" fmla="*/ 3377 w 10000"/>
                <a:gd name="connsiteY25" fmla="*/ 1224 h 10000"/>
                <a:gd name="connsiteX0" fmla="*/ 3377 w 10000"/>
                <a:gd name="connsiteY0" fmla="*/ 1224 h 10000"/>
                <a:gd name="connsiteX1" fmla="*/ 1339 w 10000"/>
                <a:gd name="connsiteY1" fmla="*/ 2654 h 10000"/>
                <a:gd name="connsiteX2" fmla="*/ 321 w 10000"/>
                <a:gd name="connsiteY2" fmla="*/ 4084 h 10000"/>
                <a:gd name="connsiteX3" fmla="*/ 827 w 10000"/>
                <a:gd name="connsiteY3" fmla="*/ 5307 h 10000"/>
                <a:gd name="connsiteX4" fmla="*/ 10000 w 10000"/>
                <a:gd name="connsiteY4" fmla="*/ 10000 h 10000"/>
                <a:gd name="connsiteX5" fmla="*/ 3887 w 10000"/>
                <a:gd name="connsiteY5" fmla="*/ 7961 h 10000"/>
                <a:gd name="connsiteX6" fmla="*/ 2870 w 10000"/>
                <a:gd name="connsiteY6" fmla="*/ 6940 h 10000"/>
                <a:gd name="connsiteX7" fmla="*/ 1849 w 10000"/>
                <a:gd name="connsiteY7" fmla="*/ 5307 h 10000"/>
                <a:gd name="connsiteX8" fmla="*/ 2870 w 10000"/>
                <a:gd name="connsiteY8" fmla="*/ 4696 h 10000"/>
                <a:gd name="connsiteX9" fmla="*/ 2360 w 10000"/>
                <a:gd name="connsiteY9" fmla="*/ 3265 h 10000"/>
                <a:gd name="connsiteX10" fmla="*/ 4908 w 10000"/>
                <a:gd name="connsiteY10" fmla="*/ 3265 h 10000"/>
                <a:gd name="connsiteX11" fmla="*/ 5925 w 10000"/>
                <a:gd name="connsiteY11" fmla="*/ 4084 h 10000"/>
                <a:gd name="connsiteX12" fmla="*/ 7962 w 10000"/>
                <a:gd name="connsiteY12" fmla="*/ 4084 h 10000"/>
                <a:gd name="connsiteX13" fmla="*/ 7962 w 10000"/>
                <a:gd name="connsiteY13" fmla="*/ 3472 h 10000"/>
                <a:gd name="connsiteX14" fmla="*/ 8476 w 10000"/>
                <a:gd name="connsiteY14" fmla="*/ 3062 h 10000"/>
                <a:gd name="connsiteX15" fmla="*/ 8982 w 10000"/>
                <a:gd name="connsiteY15" fmla="*/ 3265 h 10000"/>
                <a:gd name="connsiteX16" fmla="*/ 8476 w 10000"/>
                <a:gd name="connsiteY16" fmla="*/ 2040 h 10000"/>
                <a:gd name="connsiteX17" fmla="*/ 9492 w 10000"/>
                <a:gd name="connsiteY17" fmla="*/ 1224 h 10000"/>
                <a:gd name="connsiteX18" fmla="*/ 9492 w 10000"/>
                <a:gd name="connsiteY18" fmla="*/ 407 h 10000"/>
                <a:gd name="connsiteX19" fmla="*/ 8476 w 10000"/>
                <a:gd name="connsiteY19" fmla="*/ 0 h 10000"/>
                <a:gd name="connsiteX20" fmla="*/ 7456 w 10000"/>
                <a:gd name="connsiteY20" fmla="*/ 0 h 10000"/>
                <a:gd name="connsiteX21" fmla="*/ 3887 w 10000"/>
                <a:gd name="connsiteY21" fmla="*/ 205 h 10000"/>
                <a:gd name="connsiteX22" fmla="*/ 3377 w 10000"/>
                <a:gd name="connsiteY22" fmla="*/ 0 h 10000"/>
                <a:gd name="connsiteX23" fmla="*/ 3377 w 10000"/>
                <a:gd name="connsiteY23" fmla="*/ 1020 h 10000"/>
                <a:gd name="connsiteX24" fmla="*/ 3377 w 10000"/>
                <a:gd name="connsiteY24" fmla="*/ 1224 h 10000"/>
                <a:gd name="connsiteX0" fmla="*/ 3377 w 10000"/>
                <a:gd name="connsiteY0" fmla="*/ 1224 h 10000"/>
                <a:gd name="connsiteX1" fmla="*/ 1339 w 10000"/>
                <a:gd name="connsiteY1" fmla="*/ 2654 h 10000"/>
                <a:gd name="connsiteX2" fmla="*/ 321 w 10000"/>
                <a:gd name="connsiteY2" fmla="*/ 4084 h 10000"/>
                <a:gd name="connsiteX3" fmla="*/ 827 w 10000"/>
                <a:gd name="connsiteY3" fmla="*/ 5307 h 10000"/>
                <a:gd name="connsiteX4" fmla="*/ 10000 w 10000"/>
                <a:gd name="connsiteY4" fmla="*/ 10000 h 10000"/>
                <a:gd name="connsiteX5" fmla="*/ 3887 w 10000"/>
                <a:gd name="connsiteY5" fmla="*/ 7961 h 10000"/>
                <a:gd name="connsiteX6" fmla="*/ 1849 w 10000"/>
                <a:gd name="connsiteY6" fmla="*/ 5307 h 10000"/>
                <a:gd name="connsiteX7" fmla="*/ 2870 w 10000"/>
                <a:gd name="connsiteY7" fmla="*/ 4696 h 10000"/>
                <a:gd name="connsiteX8" fmla="*/ 2360 w 10000"/>
                <a:gd name="connsiteY8" fmla="*/ 3265 h 10000"/>
                <a:gd name="connsiteX9" fmla="*/ 4908 w 10000"/>
                <a:gd name="connsiteY9" fmla="*/ 3265 h 10000"/>
                <a:gd name="connsiteX10" fmla="*/ 5925 w 10000"/>
                <a:gd name="connsiteY10" fmla="*/ 4084 h 10000"/>
                <a:gd name="connsiteX11" fmla="*/ 7962 w 10000"/>
                <a:gd name="connsiteY11" fmla="*/ 4084 h 10000"/>
                <a:gd name="connsiteX12" fmla="*/ 7962 w 10000"/>
                <a:gd name="connsiteY12" fmla="*/ 3472 h 10000"/>
                <a:gd name="connsiteX13" fmla="*/ 8476 w 10000"/>
                <a:gd name="connsiteY13" fmla="*/ 3062 h 10000"/>
                <a:gd name="connsiteX14" fmla="*/ 8982 w 10000"/>
                <a:gd name="connsiteY14" fmla="*/ 3265 h 10000"/>
                <a:gd name="connsiteX15" fmla="*/ 8476 w 10000"/>
                <a:gd name="connsiteY15" fmla="*/ 2040 h 10000"/>
                <a:gd name="connsiteX16" fmla="*/ 9492 w 10000"/>
                <a:gd name="connsiteY16" fmla="*/ 1224 h 10000"/>
                <a:gd name="connsiteX17" fmla="*/ 9492 w 10000"/>
                <a:gd name="connsiteY17" fmla="*/ 407 h 10000"/>
                <a:gd name="connsiteX18" fmla="*/ 8476 w 10000"/>
                <a:gd name="connsiteY18" fmla="*/ 0 h 10000"/>
                <a:gd name="connsiteX19" fmla="*/ 7456 w 10000"/>
                <a:gd name="connsiteY19" fmla="*/ 0 h 10000"/>
                <a:gd name="connsiteX20" fmla="*/ 3887 w 10000"/>
                <a:gd name="connsiteY20" fmla="*/ 205 h 10000"/>
                <a:gd name="connsiteX21" fmla="*/ 3377 w 10000"/>
                <a:gd name="connsiteY21" fmla="*/ 0 h 10000"/>
                <a:gd name="connsiteX22" fmla="*/ 3377 w 10000"/>
                <a:gd name="connsiteY22" fmla="*/ 1020 h 10000"/>
                <a:gd name="connsiteX23" fmla="*/ 3377 w 10000"/>
                <a:gd name="connsiteY23" fmla="*/ 1224 h 10000"/>
                <a:gd name="connsiteX0" fmla="*/ 3377 w 10000"/>
                <a:gd name="connsiteY0" fmla="*/ 1224 h 10000"/>
                <a:gd name="connsiteX1" fmla="*/ 1339 w 10000"/>
                <a:gd name="connsiteY1" fmla="*/ 2654 h 10000"/>
                <a:gd name="connsiteX2" fmla="*/ 321 w 10000"/>
                <a:gd name="connsiteY2" fmla="*/ 4084 h 10000"/>
                <a:gd name="connsiteX3" fmla="*/ 827 w 10000"/>
                <a:gd name="connsiteY3" fmla="*/ 5307 h 10000"/>
                <a:gd name="connsiteX4" fmla="*/ 10000 w 10000"/>
                <a:gd name="connsiteY4" fmla="*/ 10000 h 10000"/>
                <a:gd name="connsiteX5" fmla="*/ 1849 w 10000"/>
                <a:gd name="connsiteY5" fmla="*/ 5307 h 10000"/>
                <a:gd name="connsiteX6" fmla="*/ 2870 w 10000"/>
                <a:gd name="connsiteY6" fmla="*/ 4696 h 10000"/>
                <a:gd name="connsiteX7" fmla="*/ 2360 w 10000"/>
                <a:gd name="connsiteY7" fmla="*/ 3265 h 10000"/>
                <a:gd name="connsiteX8" fmla="*/ 4908 w 10000"/>
                <a:gd name="connsiteY8" fmla="*/ 3265 h 10000"/>
                <a:gd name="connsiteX9" fmla="*/ 5925 w 10000"/>
                <a:gd name="connsiteY9" fmla="*/ 4084 h 10000"/>
                <a:gd name="connsiteX10" fmla="*/ 7962 w 10000"/>
                <a:gd name="connsiteY10" fmla="*/ 4084 h 10000"/>
                <a:gd name="connsiteX11" fmla="*/ 7962 w 10000"/>
                <a:gd name="connsiteY11" fmla="*/ 3472 h 10000"/>
                <a:gd name="connsiteX12" fmla="*/ 8476 w 10000"/>
                <a:gd name="connsiteY12" fmla="*/ 3062 h 10000"/>
                <a:gd name="connsiteX13" fmla="*/ 8982 w 10000"/>
                <a:gd name="connsiteY13" fmla="*/ 3265 h 10000"/>
                <a:gd name="connsiteX14" fmla="*/ 8476 w 10000"/>
                <a:gd name="connsiteY14" fmla="*/ 2040 h 10000"/>
                <a:gd name="connsiteX15" fmla="*/ 9492 w 10000"/>
                <a:gd name="connsiteY15" fmla="*/ 1224 h 10000"/>
                <a:gd name="connsiteX16" fmla="*/ 9492 w 10000"/>
                <a:gd name="connsiteY16" fmla="*/ 407 h 10000"/>
                <a:gd name="connsiteX17" fmla="*/ 8476 w 10000"/>
                <a:gd name="connsiteY17" fmla="*/ 0 h 10000"/>
                <a:gd name="connsiteX18" fmla="*/ 7456 w 10000"/>
                <a:gd name="connsiteY18" fmla="*/ 0 h 10000"/>
                <a:gd name="connsiteX19" fmla="*/ 3887 w 10000"/>
                <a:gd name="connsiteY19" fmla="*/ 205 h 10000"/>
                <a:gd name="connsiteX20" fmla="*/ 3377 w 10000"/>
                <a:gd name="connsiteY20" fmla="*/ 0 h 10000"/>
                <a:gd name="connsiteX21" fmla="*/ 3377 w 10000"/>
                <a:gd name="connsiteY21" fmla="*/ 1020 h 10000"/>
                <a:gd name="connsiteX22" fmla="*/ 3377 w 10000"/>
                <a:gd name="connsiteY22" fmla="*/ 1224 h 10000"/>
                <a:gd name="connsiteX0" fmla="*/ 3056 w 9171"/>
                <a:gd name="connsiteY0" fmla="*/ 1224 h 5424"/>
                <a:gd name="connsiteX1" fmla="*/ 1018 w 9171"/>
                <a:gd name="connsiteY1" fmla="*/ 2654 h 5424"/>
                <a:gd name="connsiteX2" fmla="*/ 0 w 9171"/>
                <a:gd name="connsiteY2" fmla="*/ 4084 h 5424"/>
                <a:gd name="connsiteX3" fmla="*/ 506 w 9171"/>
                <a:gd name="connsiteY3" fmla="*/ 5307 h 5424"/>
                <a:gd name="connsiteX4" fmla="*/ 1528 w 9171"/>
                <a:gd name="connsiteY4" fmla="*/ 5307 h 5424"/>
                <a:gd name="connsiteX5" fmla="*/ 2549 w 9171"/>
                <a:gd name="connsiteY5" fmla="*/ 4696 h 5424"/>
                <a:gd name="connsiteX6" fmla="*/ 2039 w 9171"/>
                <a:gd name="connsiteY6" fmla="*/ 3265 h 5424"/>
                <a:gd name="connsiteX7" fmla="*/ 4587 w 9171"/>
                <a:gd name="connsiteY7" fmla="*/ 3265 h 5424"/>
                <a:gd name="connsiteX8" fmla="*/ 5604 w 9171"/>
                <a:gd name="connsiteY8" fmla="*/ 4084 h 5424"/>
                <a:gd name="connsiteX9" fmla="*/ 7641 w 9171"/>
                <a:gd name="connsiteY9" fmla="*/ 4084 h 5424"/>
                <a:gd name="connsiteX10" fmla="*/ 7641 w 9171"/>
                <a:gd name="connsiteY10" fmla="*/ 3472 h 5424"/>
                <a:gd name="connsiteX11" fmla="*/ 8155 w 9171"/>
                <a:gd name="connsiteY11" fmla="*/ 3062 h 5424"/>
                <a:gd name="connsiteX12" fmla="*/ 8661 w 9171"/>
                <a:gd name="connsiteY12" fmla="*/ 3265 h 5424"/>
                <a:gd name="connsiteX13" fmla="*/ 8155 w 9171"/>
                <a:gd name="connsiteY13" fmla="*/ 2040 h 5424"/>
                <a:gd name="connsiteX14" fmla="*/ 9171 w 9171"/>
                <a:gd name="connsiteY14" fmla="*/ 1224 h 5424"/>
                <a:gd name="connsiteX15" fmla="*/ 9171 w 9171"/>
                <a:gd name="connsiteY15" fmla="*/ 407 h 5424"/>
                <a:gd name="connsiteX16" fmla="*/ 8155 w 9171"/>
                <a:gd name="connsiteY16" fmla="*/ 0 h 5424"/>
                <a:gd name="connsiteX17" fmla="*/ 7135 w 9171"/>
                <a:gd name="connsiteY17" fmla="*/ 0 h 5424"/>
                <a:gd name="connsiteX18" fmla="*/ 3566 w 9171"/>
                <a:gd name="connsiteY18" fmla="*/ 205 h 5424"/>
                <a:gd name="connsiteX19" fmla="*/ 3056 w 9171"/>
                <a:gd name="connsiteY19" fmla="*/ 0 h 5424"/>
                <a:gd name="connsiteX20" fmla="*/ 3056 w 9171"/>
                <a:gd name="connsiteY20" fmla="*/ 1020 h 5424"/>
                <a:gd name="connsiteX21" fmla="*/ 3056 w 9171"/>
                <a:gd name="connsiteY21" fmla="*/ 1224 h 5424"/>
                <a:gd name="connsiteX0" fmla="*/ 3332 w 10000"/>
                <a:gd name="connsiteY0" fmla="*/ 1881 h 10001"/>
                <a:gd name="connsiteX1" fmla="*/ 1110 w 10000"/>
                <a:gd name="connsiteY1" fmla="*/ 4893 h 10001"/>
                <a:gd name="connsiteX2" fmla="*/ 0 w 10000"/>
                <a:gd name="connsiteY2" fmla="*/ 7529 h 10001"/>
                <a:gd name="connsiteX3" fmla="*/ 552 w 10000"/>
                <a:gd name="connsiteY3" fmla="*/ 9784 h 10001"/>
                <a:gd name="connsiteX4" fmla="*/ 1666 w 10000"/>
                <a:gd name="connsiteY4" fmla="*/ 9784 h 10001"/>
                <a:gd name="connsiteX5" fmla="*/ 2779 w 10000"/>
                <a:gd name="connsiteY5" fmla="*/ 8658 h 10001"/>
                <a:gd name="connsiteX6" fmla="*/ 2223 w 10000"/>
                <a:gd name="connsiteY6" fmla="*/ 6020 h 10001"/>
                <a:gd name="connsiteX7" fmla="*/ 5002 w 10000"/>
                <a:gd name="connsiteY7" fmla="*/ 6020 h 10001"/>
                <a:gd name="connsiteX8" fmla="*/ 6111 w 10000"/>
                <a:gd name="connsiteY8" fmla="*/ 7529 h 10001"/>
                <a:gd name="connsiteX9" fmla="*/ 8332 w 10000"/>
                <a:gd name="connsiteY9" fmla="*/ 7529 h 10001"/>
                <a:gd name="connsiteX10" fmla="*/ 8332 w 10000"/>
                <a:gd name="connsiteY10" fmla="*/ 6401 h 10001"/>
                <a:gd name="connsiteX11" fmla="*/ 8892 w 10000"/>
                <a:gd name="connsiteY11" fmla="*/ 5645 h 10001"/>
                <a:gd name="connsiteX12" fmla="*/ 9444 w 10000"/>
                <a:gd name="connsiteY12" fmla="*/ 6020 h 10001"/>
                <a:gd name="connsiteX13" fmla="*/ 8892 w 10000"/>
                <a:gd name="connsiteY13" fmla="*/ 3761 h 10001"/>
                <a:gd name="connsiteX14" fmla="*/ 10000 w 10000"/>
                <a:gd name="connsiteY14" fmla="*/ 2257 h 10001"/>
                <a:gd name="connsiteX15" fmla="*/ 10000 w 10000"/>
                <a:gd name="connsiteY15" fmla="*/ 750 h 10001"/>
                <a:gd name="connsiteX16" fmla="*/ 8892 w 10000"/>
                <a:gd name="connsiteY16" fmla="*/ 0 h 10001"/>
                <a:gd name="connsiteX17" fmla="*/ 7780 w 10000"/>
                <a:gd name="connsiteY17" fmla="*/ 0 h 10001"/>
                <a:gd name="connsiteX18" fmla="*/ 3888 w 10000"/>
                <a:gd name="connsiteY18" fmla="*/ 378 h 10001"/>
                <a:gd name="connsiteX19" fmla="*/ 3332 w 10000"/>
                <a:gd name="connsiteY19" fmla="*/ 0 h 10001"/>
                <a:gd name="connsiteX20" fmla="*/ 3332 w 10000"/>
                <a:gd name="connsiteY20" fmla="*/ 1881 h 10001"/>
                <a:gd name="connsiteX0" fmla="*/ 1110 w 10000"/>
                <a:gd name="connsiteY0" fmla="*/ 4893 h 10001"/>
                <a:gd name="connsiteX1" fmla="*/ 0 w 10000"/>
                <a:gd name="connsiteY1" fmla="*/ 7529 h 10001"/>
                <a:gd name="connsiteX2" fmla="*/ 552 w 10000"/>
                <a:gd name="connsiteY2" fmla="*/ 9784 h 10001"/>
                <a:gd name="connsiteX3" fmla="*/ 1666 w 10000"/>
                <a:gd name="connsiteY3" fmla="*/ 9784 h 10001"/>
                <a:gd name="connsiteX4" fmla="*/ 2779 w 10000"/>
                <a:gd name="connsiteY4" fmla="*/ 8658 h 10001"/>
                <a:gd name="connsiteX5" fmla="*/ 2223 w 10000"/>
                <a:gd name="connsiteY5" fmla="*/ 6020 h 10001"/>
                <a:gd name="connsiteX6" fmla="*/ 5002 w 10000"/>
                <a:gd name="connsiteY6" fmla="*/ 6020 h 10001"/>
                <a:gd name="connsiteX7" fmla="*/ 6111 w 10000"/>
                <a:gd name="connsiteY7" fmla="*/ 7529 h 10001"/>
                <a:gd name="connsiteX8" fmla="*/ 8332 w 10000"/>
                <a:gd name="connsiteY8" fmla="*/ 7529 h 10001"/>
                <a:gd name="connsiteX9" fmla="*/ 8332 w 10000"/>
                <a:gd name="connsiteY9" fmla="*/ 6401 h 10001"/>
                <a:gd name="connsiteX10" fmla="*/ 8892 w 10000"/>
                <a:gd name="connsiteY10" fmla="*/ 5645 h 10001"/>
                <a:gd name="connsiteX11" fmla="*/ 9444 w 10000"/>
                <a:gd name="connsiteY11" fmla="*/ 6020 h 10001"/>
                <a:gd name="connsiteX12" fmla="*/ 8892 w 10000"/>
                <a:gd name="connsiteY12" fmla="*/ 3761 h 10001"/>
                <a:gd name="connsiteX13" fmla="*/ 10000 w 10000"/>
                <a:gd name="connsiteY13" fmla="*/ 2257 h 10001"/>
                <a:gd name="connsiteX14" fmla="*/ 10000 w 10000"/>
                <a:gd name="connsiteY14" fmla="*/ 750 h 10001"/>
                <a:gd name="connsiteX15" fmla="*/ 8892 w 10000"/>
                <a:gd name="connsiteY15" fmla="*/ 0 h 10001"/>
                <a:gd name="connsiteX16" fmla="*/ 7780 w 10000"/>
                <a:gd name="connsiteY16" fmla="*/ 0 h 10001"/>
                <a:gd name="connsiteX17" fmla="*/ 3888 w 10000"/>
                <a:gd name="connsiteY17" fmla="*/ 378 h 10001"/>
                <a:gd name="connsiteX18" fmla="*/ 3332 w 10000"/>
                <a:gd name="connsiteY18" fmla="*/ 0 h 10001"/>
                <a:gd name="connsiteX19" fmla="*/ 9846 w 10000"/>
                <a:gd name="connsiteY19" fmla="*/ 6305 h 10001"/>
                <a:gd name="connsiteX0" fmla="*/ 1110 w 10000"/>
                <a:gd name="connsiteY0" fmla="*/ 4893 h 10001"/>
                <a:gd name="connsiteX1" fmla="*/ 0 w 10000"/>
                <a:gd name="connsiteY1" fmla="*/ 7529 h 10001"/>
                <a:gd name="connsiteX2" fmla="*/ 552 w 10000"/>
                <a:gd name="connsiteY2" fmla="*/ 9784 h 10001"/>
                <a:gd name="connsiteX3" fmla="*/ 1666 w 10000"/>
                <a:gd name="connsiteY3" fmla="*/ 9784 h 10001"/>
                <a:gd name="connsiteX4" fmla="*/ 2779 w 10000"/>
                <a:gd name="connsiteY4" fmla="*/ 8658 h 10001"/>
                <a:gd name="connsiteX5" fmla="*/ 2223 w 10000"/>
                <a:gd name="connsiteY5" fmla="*/ 6020 h 10001"/>
                <a:gd name="connsiteX6" fmla="*/ 5002 w 10000"/>
                <a:gd name="connsiteY6" fmla="*/ 6020 h 10001"/>
                <a:gd name="connsiteX7" fmla="*/ 6111 w 10000"/>
                <a:gd name="connsiteY7" fmla="*/ 7529 h 10001"/>
                <a:gd name="connsiteX8" fmla="*/ 8332 w 10000"/>
                <a:gd name="connsiteY8" fmla="*/ 7529 h 10001"/>
                <a:gd name="connsiteX9" fmla="*/ 8332 w 10000"/>
                <a:gd name="connsiteY9" fmla="*/ 6401 h 10001"/>
                <a:gd name="connsiteX10" fmla="*/ 8892 w 10000"/>
                <a:gd name="connsiteY10" fmla="*/ 5645 h 10001"/>
                <a:gd name="connsiteX11" fmla="*/ 9444 w 10000"/>
                <a:gd name="connsiteY11" fmla="*/ 6020 h 10001"/>
                <a:gd name="connsiteX12" fmla="*/ 8892 w 10000"/>
                <a:gd name="connsiteY12" fmla="*/ 3761 h 10001"/>
                <a:gd name="connsiteX13" fmla="*/ 10000 w 10000"/>
                <a:gd name="connsiteY13" fmla="*/ 2257 h 10001"/>
                <a:gd name="connsiteX14" fmla="*/ 10000 w 10000"/>
                <a:gd name="connsiteY14" fmla="*/ 750 h 10001"/>
                <a:gd name="connsiteX15" fmla="*/ 8892 w 10000"/>
                <a:gd name="connsiteY15" fmla="*/ 0 h 10001"/>
                <a:gd name="connsiteX16" fmla="*/ 7780 w 10000"/>
                <a:gd name="connsiteY16" fmla="*/ 0 h 10001"/>
                <a:gd name="connsiteX17" fmla="*/ 3888 w 10000"/>
                <a:gd name="connsiteY17" fmla="*/ 378 h 10001"/>
                <a:gd name="connsiteX18" fmla="*/ 9846 w 10000"/>
                <a:gd name="connsiteY18" fmla="*/ 6305 h 10001"/>
                <a:gd name="connsiteX0" fmla="*/ 1110 w 10000"/>
                <a:gd name="connsiteY0" fmla="*/ 4893 h 10001"/>
                <a:gd name="connsiteX1" fmla="*/ 0 w 10000"/>
                <a:gd name="connsiteY1" fmla="*/ 7529 h 10001"/>
                <a:gd name="connsiteX2" fmla="*/ 552 w 10000"/>
                <a:gd name="connsiteY2" fmla="*/ 9784 h 10001"/>
                <a:gd name="connsiteX3" fmla="*/ 1666 w 10000"/>
                <a:gd name="connsiteY3" fmla="*/ 9784 h 10001"/>
                <a:gd name="connsiteX4" fmla="*/ 2779 w 10000"/>
                <a:gd name="connsiteY4" fmla="*/ 8658 h 10001"/>
                <a:gd name="connsiteX5" fmla="*/ 2223 w 10000"/>
                <a:gd name="connsiteY5" fmla="*/ 6020 h 10001"/>
                <a:gd name="connsiteX6" fmla="*/ 5002 w 10000"/>
                <a:gd name="connsiteY6" fmla="*/ 6020 h 10001"/>
                <a:gd name="connsiteX7" fmla="*/ 6111 w 10000"/>
                <a:gd name="connsiteY7" fmla="*/ 7529 h 10001"/>
                <a:gd name="connsiteX8" fmla="*/ 8332 w 10000"/>
                <a:gd name="connsiteY8" fmla="*/ 7529 h 10001"/>
                <a:gd name="connsiteX9" fmla="*/ 8332 w 10000"/>
                <a:gd name="connsiteY9" fmla="*/ 6401 h 10001"/>
                <a:gd name="connsiteX10" fmla="*/ 8892 w 10000"/>
                <a:gd name="connsiteY10" fmla="*/ 5645 h 10001"/>
                <a:gd name="connsiteX11" fmla="*/ 9444 w 10000"/>
                <a:gd name="connsiteY11" fmla="*/ 6020 h 10001"/>
                <a:gd name="connsiteX12" fmla="*/ 8892 w 10000"/>
                <a:gd name="connsiteY12" fmla="*/ 3761 h 10001"/>
                <a:gd name="connsiteX13" fmla="*/ 10000 w 10000"/>
                <a:gd name="connsiteY13" fmla="*/ 2257 h 10001"/>
                <a:gd name="connsiteX14" fmla="*/ 10000 w 10000"/>
                <a:gd name="connsiteY14" fmla="*/ 750 h 10001"/>
                <a:gd name="connsiteX15" fmla="*/ 8892 w 10000"/>
                <a:gd name="connsiteY15" fmla="*/ 0 h 10001"/>
                <a:gd name="connsiteX16" fmla="*/ 7780 w 10000"/>
                <a:gd name="connsiteY16" fmla="*/ 0 h 10001"/>
                <a:gd name="connsiteX17" fmla="*/ 9846 w 10000"/>
                <a:gd name="connsiteY17" fmla="*/ 6305 h 10001"/>
                <a:gd name="connsiteX0" fmla="*/ 1110 w 10041"/>
                <a:gd name="connsiteY0" fmla="*/ 4893 h 10001"/>
                <a:gd name="connsiteX1" fmla="*/ 0 w 10041"/>
                <a:gd name="connsiteY1" fmla="*/ 7529 h 10001"/>
                <a:gd name="connsiteX2" fmla="*/ 552 w 10041"/>
                <a:gd name="connsiteY2" fmla="*/ 9784 h 10001"/>
                <a:gd name="connsiteX3" fmla="*/ 1666 w 10041"/>
                <a:gd name="connsiteY3" fmla="*/ 9784 h 10001"/>
                <a:gd name="connsiteX4" fmla="*/ 2779 w 10041"/>
                <a:gd name="connsiteY4" fmla="*/ 8658 h 10001"/>
                <a:gd name="connsiteX5" fmla="*/ 2223 w 10041"/>
                <a:gd name="connsiteY5" fmla="*/ 6020 h 10001"/>
                <a:gd name="connsiteX6" fmla="*/ 5002 w 10041"/>
                <a:gd name="connsiteY6" fmla="*/ 6020 h 10001"/>
                <a:gd name="connsiteX7" fmla="*/ 6111 w 10041"/>
                <a:gd name="connsiteY7" fmla="*/ 7529 h 10001"/>
                <a:gd name="connsiteX8" fmla="*/ 8332 w 10041"/>
                <a:gd name="connsiteY8" fmla="*/ 7529 h 10001"/>
                <a:gd name="connsiteX9" fmla="*/ 8332 w 10041"/>
                <a:gd name="connsiteY9" fmla="*/ 6401 h 10001"/>
                <a:gd name="connsiteX10" fmla="*/ 8892 w 10041"/>
                <a:gd name="connsiteY10" fmla="*/ 5645 h 10001"/>
                <a:gd name="connsiteX11" fmla="*/ 9444 w 10041"/>
                <a:gd name="connsiteY11" fmla="*/ 6020 h 10001"/>
                <a:gd name="connsiteX12" fmla="*/ 10000 w 10041"/>
                <a:gd name="connsiteY12" fmla="*/ 2257 h 10001"/>
                <a:gd name="connsiteX13" fmla="*/ 10000 w 10041"/>
                <a:gd name="connsiteY13" fmla="*/ 750 h 10001"/>
                <a:gd name="connsiteX14" fmla="*/ 8892 w 10041"/>
                <a:gd name="connsiteY14" fmla="*/ 0 h 10001"/>
                <a:gd name="connsiteX15" fmla="*/ 7780 w 10041"/>
                <a:gd name="connsiteY15" fmla="*/ 0 h 10001"/>
                <a:gd name="connsiteX16" fmla="*/ 9846 w 10041"/>
                <a:gd name="connsiteY16" fmla="*/ 6305 h 10001"/>
                <a:gd name="connsiteX0" fmla="*/ 1110 w 10011"/>
                <a:gd name="connsiteY0" fmla="*/ 4893 h 10001"/>
                <a:gd name="connsiteX1" fmla="*/ 0 w 10011"/>
                <a:gd name="connsiteY1" fmla="*/ 7529 h 10001"/>
                <a:gd name="connsiteX2" fmla="*/ 552 w 10011"/>
                <a:gd name="connsiteY2" fmla="*/ 9784 h 10001"/>
                <a:gd name="connsiteX3" fmla="*/ 1666 w 10011"/>
                <a:gd name="connsiteY3" fmla="*/ 9784 h 10001"/>
                <a:gd name="connsiteX4" fmla="*/ 2779 w 10011"/>
                <a:gd name="connsiteY4" fmla="*/ 8658 h 10001"/>
                <a:gd name="connsiteX5" fmla="*/ 2223 w 10011"/>
                <a:gd name="connsiteY5" fmla="*/ 6020 h 10001"/>
                <a:gd name="connsiteX6" fmla="*/ 5002 w 10011"/>
                <a:gd name="connsiteY6" fmla="*/ 6020 h 10001"/>
                <a:gd name="connsiteX7" fmla="*/ 6111 w 10011"/>
                <a:gd name="connsiteY7" fmla="*/ 7529 h 10001"/>
                <a:gd name="connsiteX8" fmla="*/ 8332 w 10011"/>
                <a:gd name="connsiteY8" fmla="*/ 7529 h 10001"/>
                <a:gd name="connsiteX9" fmla="*/ 8332 w 10011"/>
                <a:gd name="connsiteY9" fmla="*/ 6401 h 10001"/>
                <a:gd name="connsiteX10" fmla="*/ 8892 w 10011"/>
                <a:gd name="connsiteY10" fmla="*/ 5645 h 10001"/>
                <a:gd name="connsiteX11" fmla="*/ 9444 w 10011"/>
                <a:gd name="connsiteY11" fmla="*/ 6020 h 10001"/>
                <a:gd name="connsiteX12" fmla="*/ 10000 w 10011"/>
                <a:gd name="connsiteY12" fmla="*/ 2257 h 10001"/>
                <a:gd name="connsiteX13" fmla="*/ 8892 w 10011"/>
                <a:gd name="connsiteY13" fmla="*/ 0 h 10001"/>
                <a:gd name="connsiteX14" fmla="*/ 7780 w 10011"/>
                <a:gd name="connsiteY14" fmla="*/ 0 h 10001"/>
                <a:gd name="connsiteX15" fmla="*/ 9846 w 10011"/>
                <a:gd name="connsiteY15" fmla="*/ 6305 h 10001"/>
                <a:gd name="connsiteX0" fmla="*/ 1110 w 10067"/>
                <a:gd name="connsiteY0" fmla="*/ 5033 h 10141"/>
                <a:gd name="connsiteX1" fmla="*/ 0 w 10067"/>
                <a:gd name="connsiteY1" fmla="*/ 7669 h 10141"/>
                <a:gd name="connsiteX2" fmla="*/ 552 w 10067"/>
                <a:gd name="connsiteY2" fmla="*/ 9924 h 10141"/>
                <a:gd name="connsiteX3" fmla="*/ 1666 w 10067"/>
                <a:gd name="connsiteY3" fmla="*/ 9924 h 10141"/>
                <a:gd name="connsiteX4" fmla="*/ 2779 w 10067"/>
                <a:gd name="connsiteY4" fmla="*/ 8798 h 10141"/>
                <a:gd name="connsiteX5" fmla="*/ 2223 w 10067"/>
                <a:gd name="connsiteY5" fmla="*/ 6160 h 10141"/>
                <a:gd name="connsiteX6" fmla="*/ 5002 w 10067"/>
                <a:gd name="connsiteY6" fmla="*/ 6160 h 10141"/>
                <a:gd name="connsiteX7" fmla="*/ 6111 w 10067"/>
                <a:gd name="connsiteY7" fmla="*/ 7669 h 10141"/>
                <a:gd name="connsiteX8" fmla="*/ 8332 w 10067"/>
                <a:gd name="connsiteY8" fmla="*/ 7669 h 10141"/>
                <a:gd name="connsiteX9" fmla="*/ 8332 w 10067"/>
                <a:gd name="connsiteY9" fmla="*/ 6541 h 10141"/>
                <a:gd name="connsiteX10" fmla="*/ 8892 w 10067"/>
                <a:gd name="connsiteY10" fmla="*/ 5785 h 10141"/>
                <a:gd name="connsiteX11" fmla="*/ 9444 w 10067"/>
                <a:gd name="connsiteY11" fmla="*/ 6160 h 10141"/>
                <a:gd name="connsiteX12" fmla="*/ 10000 w 10067"/>
                <a:gd name="connsiteY12" fmla="*/ 2397 h 10141"/>
                <a:gd name="connsiteX13" fmla="*/ 7780 w 10067"/>
                <a:gd name="connsiteY13" fmla="*/ 140 h 10141"/>
                <a:gd name="connsiteX14" fmla="*/ 9846 w 10067"/>
                <a:gd name="connsiteY14" fmla="*/ 6445 h 10141"/>
                <a:gd name="connsiteX0" fmla="*/ 1110 w 10067"/>
                <a:gd name="connsiteY0" fmla="*/ 5033 h 10141"/>
                <a:gd name="connsiteX1" fmla="*/ 0 w 10067"/>
                <a:gd name="connsiteY1" fmla="*/ 7669 h 10141"/>
                <a:gd name="connsiteX2" fmla="*/ 552 w 10067"/>
                <a:gd name="connsiteY2" fmla="*/ 9924 h 10141"/>
                <a:gd name="connsiteX3" fmla="*/ 1666 w 10067"/>
                <a:gd name="connsiteY3" fmla="*/ 9924 h 10141"/>
                <a:gd name="connsiteX4" fmla="*/ 2779 w 10067"/>
                <a:gd name="connsiteY4" fmla="*/ 8798 h 10141"/>
                <a:gd name="connsiteX5" fmla="*/ 2223 w 10067"/>
                <a:gd name="connsiteY5" fmla="*/ 6160 h 10141"/>
                <a:gd name="connsiteX6" fmla="*/ 5002 w 10067"/>
                <a:gd name="connsiteY6" fmla="*/ 6160 h 10141"/>
                <a:gd name="connsiteX7" fmla="*/ 6111 w 10067"/>
                <a:gd name="connsiteY7" fmla="*/ 7669 h 10141"/>
                <a:gd name="connsiteX8" fmla="*/ 8332 w 10067"/>
                <a:gd name="connsiteY8" fmla="*/ 7669 h 10141"/>
                <a:gd name="connsiteX9" fmla="*/ 8332 w 10067"/>
                <a:gd name="connsiteY9" fmla="*/ 6541 h 10141"/>
                <a:gd name="connsiteX10" fmla="*/ 8892 w 10067"/>
                <a:gd name="connsiteY10" fmla="*/ 5785 h 10141"/>
                <a:gd name="connsiteX11" fmla="*/ 9444 w 10067"/>
                <a:gd name="connsiteY11" fmla="*/ 6160 h 10141"/>
                <a:gd name="connsiteX12" fmla="*/ 10000 w 10067"/>
                <a:gd name="connsiteY12" fmla="*/ 2397 h 10141"/>
                <a:gd name="connsiteX13" fmla="*/ 7780 w 10067"/>
                <a:gd name="connsiteY13" fmla="*/ 140 h 10141"/>
                <a:gd name="connsiteX14" fmla="*/ 9846 w 10067"/>
                <a:gd name="connsiteY14" fmla="*/ 6445 h 10141"/>
                <a:gd name="connsiteX15" fmla="*/ 1110 w 10067"/>
                <a:gd name="connsiteY15" fmla="*/ 5033 h 10141"/>
                <a:gd name="connsiteX0" fmla="*/ 7780 w 16514"/>
                <a:gd name="connsiteY0" fmla="*/ 0 h 10001"/>
                <a:gd name="connsiteX1" fmla="*/ 9846 w 16514"/>
                <a:gd name="connsiteY1" fmla="*/ 6305 h 10001"/>
                <a:gd name="connsiteX2" fmla="*/ 1110 w 16514"/>
                <a:gd name="connsiteY2" fmla="*/ 4893 h 10001"/>
                <a:gd name="connsiteX3" fmla="*/ 0 w 16514"/>
                <a:gd name="connsiteY3" fmla="*/ 7529 h 10001"/>
                <a:gd name="connsiteX4" fmla="*/ 552 w 16514"/>
                <a:gd name="connsiteY4" fmla="*/ 9784 h 10001"/>
                <a:gd name="connsiteX5" fmla="*/ 1666 w 16514"/>
                <a:gd name="connsiteY5" fmla="*/ 9784 h 10001"/>
                <a:gd name="connsiteX6" fmla="*/ 2779 w 16514"/>
                <a:gd name="connsiteY6" fmla="*/ 8658 h 10001"/>
                <a:gd name="connsiteX7" fmla="*/ 2223 w 16514"/>
                <a:gd name="connsiteY7" fmla="*/ 6020 h 10001"/>
                <a:gd name="connsiteX8" fmla="*/ 5002 w 16514"/>
                <a:gd name="connsiteY8" fmla="*/ 6020 h 10001"/>
                <a:gd name="connsiteX9" fmla="*/ 6111 w 16514"/>
                <a:gd name="connsiteY9" fmla="*/ 7529 h 10001"/>
                <a:gd name="connsiteX10" fmla="*/ 8332 w 16514"/>
                <a:gd name="connsiteY10" fmla="*/ 7529 h 10001"/>
                <a:gd name="connsiteX11" fmla="*/ 8332 w 16514"/>
                <a:gd name="connsiteY11" fmla="*/ 6401 h 10001"/>
                <a:gd name="connsiteX12" fmla="*/ 8892 w 16514"/>
                <a:gd name="connsiteY12" fmla="*/ 5645 h 10001"/>
                <a:gd name="connsiteX13" fmla="*/ 9444 w 16514"/>
                <a:gd name="connsiteY13" fmla="*/ 6020 h 10001"/>
                <a:gd name="connsiteX14" fmla="*/ 16514 w 16514"/>
                <a:gd name="connsiteY14" fmla="*/ 6681 h 10001"/>
                <a:gd name="connsiteX0" fmla="*/ 7780 w 16514"/>
                <a:gd name="connsiteY0" fmla="*/ 445 h 10446"/>
                <a:gd name="connsiteX1" fmla="*/ 7465 w 16514"/>
                <a:gd name="connsiteY1" fmla="*/ 473 h 10446"/>
                <a:gd name="connsiteX2" fmla="*/ 9846 w 16514"/>
                <a:gd name="connsiteY2" fmla="*/ 6750 h 10446"/>
                <a:gd name="connsiteX3" fmla="*/ 1110 w 16514"/>
                <a:gd name="connsiteY3" fmla="*/ 5338 h 10446"/>
                <a:gd name="connsiteX4" fmla="*/ 0 w 16514"/>
                <a:gd name="connsiteY4" fmla="*/ 7974 h 10446"/>
                <a:gd name="connsiteX5" fmla="*/ 552 w 16514"/>
                <a:gd name="connsiteY5" fmla="*/ 10229 h 10446"/>
                <a:gd name="connsiteX6" fmla="*/ 1666 w 16514"/>
                <a:gd name="connsiteY6" fmla="*/ 10229 h 10446"/>
                <a:gd name="connsiteX7" fmla="*/ 2779 w 16514"/>
                <a:gd name="connsiteY7" fmla="*/ 9103 h 10446"/>
                <a:gd name="connsiteX8" fmla="*/ 2223 w 16514"/>
                <a:gd name="connsiteY8" fmla="*/ 6465 h 10446"/>
                <a:gd name="connsiteX9" fmla="*/ 5002 w 16514"/>
                <a:gd name="connsiteY9" fmla="*/ 6465 h 10446"/>
                <a:gd name="connsiteX10" fmla="*/ 6111 w 16514"/>
                <a:gd name="connsiteY10" fmla="*/ 7974 h 10446"/>
                <a:gd name="connsiteX11" fmla="*/ 8332 w 16514"/>
                <a:gd name="connsiteY11" fmla="*/ 7974 h 10446"/>
                <a:gd name="connsiteX12" fmla="*/ 8332 w 16514"/>
                <a:gd name="connsiteY12" fmla="*/ 6846 h 10446"/>
                <a:gd name="connsiteX13" fmla="*/ 8892 w 16514"/>
                <a:gd name="connsiteY13" fmla="*/ 6090 h 10446"/>
                <a:gd name="connsiteX14" fmla="*/ 9444 w 16514"/>
                <a:gd name="connsiteY14" fmla="*/ 6465 h 10446"/>
                <a:gd name="connsiteX15" fmla="*/ 16514 w 16514"/>
                <a:gd name="connsiteY15" fmla="*/ 7126 h 10446"/>
                <a:gd name="connsiteX0" fmla="*/ 7465 w 16514"/>
                <a:gd name="connsiteY0" fmla="*/ 0 h 9973"/>
                <a:gd name="connsiteX1" fmla="*/ 9846 w 16514"/>
                <a:gd name="connsiteY1" fmla="*/ 6277 h 9973"/>
                <a:gd name="connsiteX2" fmla="*/ 1110 w 16514"/>
                <a:gd name="connsiteY2" fmla="*/ 4865 h 9973"/>
                <a:gd name="connsiteX3" fmla="*/ 0 w 16514"/>
                <a:gd name="connsiteY3" fmla="*/ 7501 h 9973"/>
                <a:gd name="connsiteX4" fmla="*/ 552 w 16514"/>
                <a:gd name="connsiteY4" fmla="*/ 9756 h 9973"/>
                <a:gd name="connsiteX5" fmla="*/ 1666 w 16514"/>
                <a:gd name="connsiteY5" fmla="*/ 9756 h 9973"/>
                <a:gd name="connsiteX6" fmla="*/ 2779 w 16514"/>
                <a:gd name="connsiteY6" fmla="*/ 8630 h 9973"/>
                <a:gd name="connsiteX7" fmla="*/ 2223 w 16514"/>
                <a:gd name="connsiteY7" fmla="*/ 5992 h 9973"/>
                <a:gd name="connsiteX8" fmla="*/ 5002 w 16514"/>
                <a:gd name="connsiteY8" fmla="*/ 5992 h 9973"/>
                <a:gd name="connsiteX9" fmla="*/ 6111 w 16514"/>
                <a:gd name="connsiteY9" fmla="*/ 7501 h 9973"/>
                <a:gd name="connsiteX10" fmla="*/ 8332 w 16514"/>
                <a:gd name="connsiteY10" fmla="*/ 7501 h 9973"/>
                <a:gd name="connsiteX11" fmla="*/ 8332 w 16514"/>
                <a:gd name="connsiteY11" fmla="*/ 6373 h 9973"/>
                <a:gd name="connsiteX12" fmla="*/ 8892 w 16514"/>
                <a:gd name="connsiteY12" fmla="*/ 5617 h 9973"/>
                <a:gd name="connsiteX13" fmla="*/ 9444 w 16514"/>
                <a:gd name="connsiteY13" fmla="*/ 5992 h 9973"/>
                <a:gd name="connsiteX14" fmla="*/ 16514 w 16514"/>
                <a:gd name="connsiteY14" fmla="*/ 6653 h 9973"/>
                <a:gd name="connsiteX0" fmla="*/ 5962 w 10000"/>
                <a:gd name="connsiteY0" fmla="*/ 1504 h 5209"/>
                <a:gd name="connsiteX1" fmla="*/ 672 w 10000"/>
                <a:gd name="connsiteY1" fmla="*/ 88 h 5209"/>
                <a:gd name="connsiteX2" fmla="*/ 0 w 10000"/>
                <a:gd name="connsiteY2" fmla="*/ 2731 h 5209"/>
                <a:gd name="connsiteX3" fmla="*/ 334 w 10000"/>
                <a:gd name="connsiteY3" fmla="*/ 4992 h 5209"/>
                <a:gd name="connsiteX4" fmla="*/ 1009 w 10000"/>
                <a:gd name="connsiteY4" fmla="*/ 4992 h 5209"/>
                <a:gd name="connsiteX5" fmla="*/ 1683 w 10000"/>
                <a:gd name="connsiteY5" fmla="*/ 3863 h 5209"/>
                <a:gd name="connsiteX6" fmla="*/ 1346 w 10000"/>
                <a:gd name="connsiteY6" fmla="*/ 1218 h 5209"/>
                <a:gd name="connsiteX7" fmla="*/ 3029 w 10000"/>
                <a:gd name="connsiteY7" fmla="*/ 1218 h 5209"/>
                <a:gd name="connsiteX8" fmla="*/ 3700 w 10000"/>
                <a:gd name="connsiteY8" fmla="*/ 2731 h 5209"/>
                <a:gd name="connsiteX9" fmla="*/ 5045 w 10000"/>
                <a:gd name="connsiteY9" fmla="*/ 2731 h 5209"/>
                <a:gd name="connsiteX10" fmla="*/ 5045 w 10000"/>
                <a:gd name="connsiteY10" fmla="*/ 1600 h 5209"/>
                <a:gd name="connsiteX11" fmla="*/ 5385 w 10000"/>
                <a:gd name="connsiteY11" fmla="*/ 842 h 5209"/>
                <a:gd name="connsiteX12" fmla="*/ 5719 w 10000"/>
                <a:gd name="connsiteY12" fmla="*/ 1218 h 5209"/>
                <a:gd name="connsiteX13" fmla="*/ 10000 w 10000"/>
                <a:gd name="connsiteY13" fmla="*/ 1881 h 5209"/>
                <a:gd name="connsiteX0" fmla="*/ 5962 w 5962"/>
                <a:gd name="connsiteY0" fmla="*/ 2718 h 9832"/>
                <a:gd name="connsiteX1" fmla="*/ 672 w 5962"/>
                <a:gd name="connsiteY1" fmla="*/ 0 h 9832"/>
                <a:gd name="connsiteX2" fmla="*/ 0 w 5962"/>
                <a:gd name="connsiteY2" fmla="*/ 5074 h 9832"/>
                <a:gd name="connsiteX3" fmla="*/ 334 w 5962"/>
                <a:gd name="connsiteY3" fmla="*/ 9414 h 9832"/>
                <a:gd name="connsiteX4" fmla="*/ 1009 w 5962"/>
                <a:gd name="connsiteY4" fmla="*/ 9414 h 9832"/>
                <a:gd name="connsiteX5" fmla="*/ 1683 w 5962"/>
                <a:gd name="connsiteY5" fmla="*/ 7247 h 9832"/>
                <a:gd name="connsiteX6" fmla="*/ 1346 w 5962"/>
                <a:gd name="connsiteY6" fmla="*/ 2169 h 9832"/>
                <a:gd name="connsiteX7" fmla="*/ 3029 w 5962"/>
                <a:gd name="connsiteY7" fmla="*/ 2169 h 9832"/>
                <a:gd name="connsiteX8" fmla="*/ 3700 w 5962"/>
                <a:gd name="connsiteY8" fmla="*/ 5074 h 9832"/>
                <a:gd name="connsiteX9" fmla="*/ 5045 w 5962"/>
                <a:gd name="connsiteY9" fmla="*/ 5074 h 9832"/>
                <a:gd name="connsiteX10" fmla="*/ 5045 w 5962"/>
                <a:gd name="connsiteY10" fmla="*/ 2903 h 9832"/>
                <a:gd name="connsiteX11" fmla="*/ 5385 w 5962"/>
                <a:gd name="connsiteY11" fmla="*/ 1447 h 9832"/>
                <a:gd name="connsiteX12" fmla="*/ 5719 w 5962"/>
                <a:gd name="connsiteY12" fmla="*/ 2169 h 9832"/>
                <a:gd name="connsiteX0" fmla="*/ 10000 w 10000"/>
                <a:gd name="connsiteY0" fmla="*/ 2764 h 10000"/>
                <a:gd name="connsiteX1" fmla="*/ 1127 w 10000"/>
                <a:gd name="connsiteY1" fmla="*/ 0 h 10000"/>
                <a:gd name="connsiteX2" fmla="*/ 0 w 10000"/>
                <a:gd name="connsiteY2" fmla="*/ 5161 h 10000"/>
                <a:gd name="connsiteX3" fmla="*/ 560 w 10000"/>
                <a:gd name="connsiteY3" fmla="*/ 9575 h 10000"/>
                <a:gd name="connsiteX4" fmla="*/ 1692 w 10000"/>
                <a:gd name="connsiteY4" fmla="*/ 9575 h 10000"/>
                <a:gd name="connsiteX5" fmla="*/ 2823 w 10000"/>
                <a:gd name="connsiteY5" fmla="*/ 7371 h 10000"/>
                <a:gd name="connsiteX6" fmla="*/ 2258 w 10000"/>
                <a:gd name="connsiteY6" fmla="*/ 2206 h 10000"/>
                <a:gd name="connsiteX7" fmla="*/ 5081 w 10000"/>
                <a:gd name="connsiteY7" fmla="*/ 2206 h 10000"/>
                <a:gd name="connsiteX8" fmla="*/ 6206 w 10000"/>
                <a:gd name="connsiteY8" fmla="*/ 5161 h 10000"/>
                <a:gd name="connsiteX9" fmla="*/ 8462 w 10000"/>
                <a:gd name="connsiteY9" fmla="*/ 5161 h 10000"/>
                <a:gd name="connsiteX10" fmla="*/ 8462 w 10000"/>
                <a:gd name="connsiteY10" fmla="*/ 2953 h 10000"/>
                <a:gd name="connsiteX11" fmla="*/ 9032 w 10000"/>
                <a:gd name="connsiteY11" fmla="*/ 1472 h 10000"/>
                <a:gd name="connsiteX0" fmla="*/ 10000 w 10000"/>
                <a:gd name="connsiteY0" fmla="*/ 2764 h 10000"/>
                <a:gd name="connsiteX1" fmla="*/ 1127 w 10000"/>
                <a:gd name="connsiteY1" fmla="*/ 0 h 10000"/>
                <a:gd name="connsiteX2" fmla="*/ 0 w 10000"/>
                <a:gd name="connsiteY2" fmla="*/ 5161 h 10000"/>
                <a:gd name="connsiteX3" fmla="*/ 560 w 10000"/>
                <a:gd name="connsiteY3" fmla="*/ 9575 h 10000"/>
                <a:gd name="connsiteX4" fmla="*/ 1692 w 10000"/>
                <a:gd name="connsiteY4" fmla="*/ 9575 h 10000"/>
                <a:gd name="connsiteX5" fmla="*/ 2823 w 10000"/>
                <a:gd name="connsiteY5" fmla="*/ 7371 h 10000"/>
                <a:gd name="connsiteX6" fmla="*/ 2258 w 10000"/>
                <a:gd name="connsiteY6" fmla="*/ 2206 h 10000"/>
                <a:gd name="connsiteX7" fmla="*/ 5081 w 10000"/>
                <a:gd name="connsiteY7" fmla="*/ 2206 h 10000"/>
                <a:gd name="connsiteX8" fmla="*/ 6206 w 10000"/>
                <a:gd name="connsiteY8" fmla="*/ 5161 h 10000"/>
                <a:gd name="connsiteX9" fmla="*/ 8462 w 10000"/>
                <a:gd name="connsiteY9" fmla="*/ 5161 h 10000"/>
                <a:gd name="connsiteX10" fmla="*/ 8462 w 10000"/>
                <a:gd name="connsiteY10" fmla="*/ 2953 h 10000"/>
                <a:gd name="connsiteX0" fmla="*/ 1127 w 8462"/>
                <a:gd name="connsiteY0" fmla="*/ 0 h 10000"/>
                <a:gd name="connsiteX1" fmla="*/ 0 w 8462"/>
                <a:gd name="connsiteY1" fmla="*/ 5161 h 10000"/>
                <a:gd name="connsiteX2" fmla="*/ 560 w 8462"/>
                <a:gd name="connsiteY2" fmla="*/ 9575 h 10000"/>
                <a:gd name="connsiteX3" fmla="*/ 1692 w 8462"/>
                <a:gd name="connsiteY3" fmla="*/ 9575 h 10000"/>
                <a:gd name="connsiteX4" fmla="*/ 2823 w 8462"/>
                <a:gd name="connsiteY4" fmla="*/ 7371 h 10000"/>
                <a:gd name="connsiteX5" fmla="*/ 2258 w 8462"/>
                <a:gd name="connsiteY5" fmla="*/ 2206 h 10000"/>
                <a:gd name="connsiteX6" fmla="*/ 5081 w 8462"/>
                <a:gd name="connsiteY6" fmla="*/ 2206 h 10000"/>
                <a:gd name="connsiteX7" fmla="*/ 6206 w 8462"/>
                <a:gd name="connsiteY7" fmla="*/ 5161 h 10000"/>
                <a:gd name="connsiteX8" fmla="*/ 8462 w 8462"/>
                <a:gd name="connsiteY8" fmla="*/ 5161 h 10000"/>
                <a:gd name="connsiteX9" fmla="*/ 8462 w 8462"/>
                <a:gd name="connsiteY9" fmla="*/ 2953 h 10000"/>
                <a:gd name="connsiteX0" fmla="*/ 1332 w 10000"/>
                <a:gd name="connsiteY0" fmla="*/ 0 h 10000"/>
                <a:gd name="connsiteX1" fmla="*/ 0 w 10000"/>
                <a:gd name="connsiteY1" fmla="*/ 5161 h 10000"/>
                <a:gd name="connsiteX2" fmla="*/ 662 w 10000"/>
                <a:gd name="connsiteY2" fmla="*/ 9575 h 10000"/>
                <a:gd name="connsiteX3" fmla="*/ 2000 w 10000"/>
                <a:gd name="connsiteY3" fmla="*/ 9575 h 10000"/>
                <a:gd name="connsiteX4" fmla="*/ 3336 w 10000"/>
                <a:gd name="connsiteY4" fmla="*/ 7371 h 10000"/>
                <a:gd name="connsiteX5" fmla="*/ 2668 w 10000"/>
                <a:gd name="connsiteY5" fmla="*/ 2206 h 10000"/>
                <a:gd name="connsiteX6" fmla="*/ 6004 w 10000"/>
                <a:gd name="connsiteY6" fmla="*/ 2206 h 10000"/>
                <a:gd name="connsiteX7" fmla="*/ 7334 w 10000"/>
                <a:gd name="connsiteY7" fmla="*/ 5161 h 10000"/>
                <a:gd name="connsiteX8" fmla="*/ 10000 w 10000"/>
                <a:gd name="connsiteY8" fmla="*/ 5161 h 10000"/>
                <a:gd name="connsiteX0" fmla="*/ 1332 w 7334"/>
                <a:gd name="connsiteY0" fmla="*/ 0 h 10000"/>
                <a:gd name="connsiteX1" fmla="*/ 0 w 7334"/>
                <a:gd name="connsiteY1" fmla="*/ 5161 h 10000"/>
                <a:gd name="connsiteX2" fmla="*/ 662 w 7334"/>
                <a:gd name="connsiteY2" fmla="*/ 9575 h 10000"/>
                <a:gd name="connsiteX3" fmla="*/ 2000 w 7334"/>
                <a:gd name="connsiteY3" fmla="*/ 9575 h 10000"/>
                <a:gd name="connsiteX4" fmla="*/ 3336 w 7334"/>
                <a:gd name="connsiteY4" fmla="*/ 7371 h 10000"/>
                <a:gd name="connsiteX5" fmla="*/ 2668 w 7334"/>
                <a:gd name="connsiteY5" fmla="*/ 2206 h 10000"/>
                <a:gd name="connsiteX6" fmla="*/ 6004 w 7334"/>
                <a:gd name="connsiteY6" fmla="*/ 2206 h 10000"/>
                <a:gd name="connsiteX7" fmla="*/ 7334 w 7334"/>
                <a:gd name="connsiteY7" fmla="*/ 5161 h 10000"/>
                <a:gd name="connsiteX0" fmla="*/ 1816 w 8187"/>
                <a:gd name="connsiteY0" fmla="*/ 0 h 10000"/>
                <a:gd name="connsiteX1" fmla="*/ 0 w 8187"/>
                <a:gd name="connsiteY1" fmla="*/ 5161 h 10000"/>
                <a:gd name="connsiteX2" fmla="*/ 903 w 8187"/>
                <a:gd name="connsiteY2" fmla="*/ 9575 h 10000"/>
                <a:gd name="connsiteX3" fmla="*/ 2727 w 8187"/>
                <a:gd name="connsiteY3" fmla="*/ 9575 h 10000"/>
                <a:gd name="connsiteX4" fmla="*/ 4549 w 8187"/>
                <a:gd name="connsiteY4" fmla="*/ 7371 h 10000"/>
                <a:gd name="connsiteX5" fmla="*/ 3638 w 8187"/>
                <a:gd name="connsiteY5" fmla="*/ 2206 h 10000"/>
                <a:gd name="connsiteX6" fmla="*/ 8187 w 8187"/>
                <a:gd name="connsiteY6" fmla="*/ 2206 h 10000"/>
                <a:gd name="connsiteX0" fmla="*/ 2218 w 5556"/>
                <a:gd name="connsiteY0" fmla="*/ 0 h 10000"/>
                <a:gd name="connsiteX1" fmla="*/ 0 w 5556"/>
                <a:gd name="connsiteY1" fmla="*/ 5161 h 10000"/>
                <a:gd name="connsiteX2" fmla="*/ 1103 w 5556"/>
                <a:gd name="connsiteY2" fmla="*/ 9575 h 10000"/>
                <a:gd name="connsiteX3" fmla="*/ 3331 w 5556"/>
                <a:gd name="connsiteY3" fmla="*/ 9575 h 10000"/>
                <a:gd name="connsiteX4" fmla="*/ 5556 w 5556"/>
                <a:gd name="connsiteY4" fmla="*/ 7371 h 10000"/>
                <a:gd name="connsiteX5" fmla="*/ 4444 w 5556"/>
                <a:gd name="connsiteY5" fmla="*/ 2206 h 10000"/>
                <a:gd name="connsiteX0" fmla="*/ 2781 w 10010"/>
                <a:gd name="connsiteY0" fmla="*/ 50 h 7794"/>
                <a:gd name="connsiteX1" fmla="*/ 10 w 10010"/>
                <a:gd name="connsiteY1" fmla="*/ 2955 h 7794"/>
                <a:gd name="connsiteX2" fmla="*/ 1995 w 10010"/>
                <a:gd name="connsiteY2" fmla="*/ 7369 h 7794"/>
                <a:gd name="connsiteX3" fmla="*/ 6005 w 10010"/>
                <a:gd name="connsiteY3" fmla="*/ 7369 h 7794"/>
                <a:gd name="connsiteX4" fmla="*/ 10010 w 10010"/>
                <a:gd name="connsiteY4" fmla="*/ 5165 h 7794"/>
                <a:gd name="connsiteX5" fmla="*/ 8009 w 10010"/>
                <a:gd name="connsiteY5" fmla="*/ 0 h 7794"/>
                <a:gd name="connsiteX0" fmla="*/ 2778 w 10000"/>
                <a:gd name="connsiteY0" fmla="*/ 64 h 10000"/>
                <a:gd name="connsiteX1" fmla="*/ 10 w 10000"/>
                <a:gd name="connsiteY1" fmla="*/ 3791 h 10000"/>
                <a:gd name="connsiteX2" fmla="*/ 1993 w 10000"/>
                <a:gd name="connsiteY2" fmla="*/ 9455 h 10000"/>
                <a:gd name="connsiteX3" fmla="*/ 5999 w 10000"/>
                <a:gd name="connsiteY3" fmla="*/ 9455 h 10000"/>
                <a:gd name="connsiteX4" fmla="*/ 10000 w 10000"/>
                <a:gd name="connsiteY4" fmla="*/ 6627 h 10000"/>
                <a:gd name="connsiteX5" fmla="*/ 8001 w 10000"/>
                <a:gd name="connsiteY5" fmla="*/ 0 h 10000"/>
                <a:gd name="connsiteX6" fmla="*/ 2778 w 10000"/>
                <a:gd name="connsiteY6" fmla="*/ 64 h 10000"/>
                <a:gd name="connsiteX0" fmla="*/ 4039 w 10042"/>
                <a:gd name="connsiteY0" fmla="*/ 3050 h 10092"/>
                <a:gd name="connsiteX1" fmla="*/ 52 w 10042"/>
                <a:gd name="connsiteY1" fmla="*/ 3883 h 10092"/>
                <a:gd name="connsiteX2" fmla="*/ 2035 w 10042"/>
                <a:gd name="connsiteY2" fmla="*/ 9547 h 10092"/>
                <a:gd name="connsiteX3" fmla="*/ 6041 w 10042"/>
                <a:gd name="connsiteY3" fmla="*/ 9547 h 10092"/>
                <a:gd name="connsiteX4" fmla="*/ 10042 w 10042"/>
                <a:gd name="connsiteY4" fmla="*/ 6719 h 10092"/>
                <a:gd name="connsiteX5" fmla="*/ 8043 w 10042"/>
                <a:gd name="connsiteY5" fmla="*/ 92 h 10092"/>
                <a:gd name="connsiteX6" fmla="*/ 4039 w 10042"/>
                <a:gd name="connsiteY6" fmla="*/ 3050 h 10092"/>
                <a:gd name="connsiteX0" fmla="*/ 4039 w 10094"/>
                <a:gd name="connsiteY0" fmla="*/ 332 h 7374"/>
                <a:gd name="connsiteX1" fmla="*/ 52 w 10094"/>
                <a:gd name="connsiteY1" fmla="*/ 1165 h 7374"/>
                <a:gd name="connsiteX2" fmla="*/ 2035 w 10094"/>
                <a:gd name="connsiteY2" fmla="*/ 6829 h 7374"/>
                <a:gd name="connsiteX3" fmla="*/ 6041 w 10094"/>
                <a:gd name="connsiteY3" fmla="*/ 6829 h 7374"/>
                <a:gd name="connsiteX4" fmla="*/ 10042 w 10094"/>
                <a:gd name="connsiteY4" fmla="*/ 4001 h 7374"/>
                <a:gd name="connsiteX5" fmla="*/ 8043 w 10094"/>
                <a:gd name="connsiteY5" fmla="*/ 1425 h 7374"/>
                <a:gd name="connsiteX6" fmla="*/ 4039 w 10094"/>
                <a:gd name="connsiteY6" fmla="*/ 332 h 7374"/>
                <a:gd name="connsiteX0" fmla="*/ 4001 w 9999"/>
                <a:gd name="connsiteY0" fmla="*/ 1057 h 8645"/>
                <a:gd name="connsiteX1" fmla="*/ 52 w 9999"/>
                <a:gd name="connsiteY1" fmla="*/ 225 h 8645"/>
                <a:gd name="connsiteX2" fmla="*/ 2016 w 9999"/>
                <a:gd name="connsiteY2" fmla="*/ 7906 h 8645"/>
                <a:gd name="connsiteX3" fmla="*/ 5985 w 9999"/>
                <a:gd name="connsiteY3" fmla="*/ 7906 h 8645"/>
                <a:gd name="connsiteX4" fmla="*/ 9948 w 9999"/>
                <a:gd name="connsiteY4" fmla="*/ 4071 h 8645"/>
                <a:gd name="connsiteX5" fmla="*/ 7968 w 9999"/>
                <a:gd name="connsiteY5" fmla="*/ 577 h 8645"/>
                <a:gd name="connsiteX6" fmla="*/ 4001 w 9999"/>
                <a:gd name="connsiteY6" fmla="*/ 1057 h 8645"/>
                <a:gd name="connsiteX0" fmla="*/ 2875 w 8874"/>
                <a:gd name="connsiteY0" fmla="*/ 1077 h 9666"/>
                <a:gd name="connsiteX1" fmla="*/ 134 w 8874"/>
                <a:gd name="connsiteY1" fmla="*/ 2838 h 9666"/>
                <a:gd name="connsiteX2" fmla="*/ 890 w 8874"/>
                <a:gd name="connsiteY2" fmla="*/ 8999 h 9666"/>
                <a:gd name="connsiteX3" fmla="*/ 4860 w 8874"/>
                <a:gd name="connsiteY3" fmla="*/ 8999 h 9666"/>
                <a:gd name="connsiteX4" fmla="*/ 8823 w 8874"/>
                <a:gd name="connsiteY4" fmla="*/ 4563 h 9666"/>
                <a:gd name="connsiteX5" fmla="*/ 6843 w 8874"/>
                <a:gd name="connsiteY5" fmla="*/ 521 h 9666"/>
                <a:gd name="connsiteX6" fmla="*/ 2875 w 8874"/>
                <a:gd name="connsiteY6" fmla="*/ 1077 h 9666"/>
                <a:gd name="connsiteX0" fmla="*/ 603 w 10105"/>
                <a:gd name="connsiteY0" fmla="*/ 1114 h 10000"/>
                <a:gd name="connsiteX1" fmla="*/ 237 w 10105"/>
                <a:gd name="connsiteY1" fmla="*/ 2936 h 10000"/>
                <a:gd name="connsiteX2" fmla="*/ 1089 w 10105"/>
                <a:gd name="connsiteY2" fmla="*/ 9310 h 10000"/>
                <a:gd name="connsiteX3" fmla="*/ 5563 w 10105"/>
                <a:gd name="connsiteY3" fmla="*/ 9310 h 10000"/>
                <a:gd name="connsiteX4" fmla="*/ 10029 w 10105"/>
                <a:gd name="connsiteY4" fmla="*/ 4721 h 10000"/>
                <a:gd name="connsiteX5" fmla="*/ 7797 w 10105"/>
                <a:gd name="connsiteY5" fmla="*/ 539 h 10000"/>
                <a:gd name="connsiteX6" fmla="*/ 603 w 10105"/>
                <a:gd name="connsiteY6" fmla="*/ 1114 h 10000"/>
                <a:gd name="connsiteX0" fmla="*/ 403 w 9905"/>
                <a:gd name="connsiteY0" fmla="*/ 1114 h 9908"/>
                <a:gd name="connsiteX1" fmla="*/ 718 w 9905"/>
                <a:gd name="connsiteY1" fmla="*/ 4345 h 9908"/>
                <a:gd name="connsiteX2" fmla="*/ 889 w 9905"/>
                <a:gd name="connsiteY2" fmla="*/ 9310 h 9908"/>
                <a:gd name="connsiteX3" fmla="*/ 5363 w 9905"/>
                <a:gd name="connsiteY3" fmla="*/ 9310 h 9908"/>
                <a:gd name="connsiteX4" fmla="*/ 9829 w 9905"/>
                <a:gd name="connsiteY4" fmla="*/ 4721 h 9908"/>
                <a:gd name="connsiteX5" fmla="*/ 7597 w 9905"/>
                <a:gd name="connsiteY5" fmla="*/ 539 h 9908"/>
                <a:gd name="connsiteX6" fmla="*/ 403 w 9905"/>
                <a:gd name="connsiteY6" fmla="*/ 1114 h 9908"/>
                <a:gd name="connsiteX0" fmla="*/ 407 w 9934"/>
                <a:gd name="connsiteY0" fmla="*/ 1124 h 10302"/>
                <a:gd name="connsiteX1" fmla="*/ 725 w 9934"/>
                <a:gd name="connsiteY1" fmla="*/ 4385 h 10302"/>
                <a:gd name="connsiteX2" fmla="*/ 898 w 9934"/>
                <a:gd name="connsiteY2" fmla="*/ 9396 h 10302"/>
                <a:gd name="connsiteX3" fmla="*/ 8163 w 9934"/>
                <a:gd name="connsiteY3" fmla="*/ 9870 h 10302"/>
                <a:gd name="connsiteX4" fmla="*/ 9923 w 9934"/>
                <a:gd name="connsiteY4" fmla="*/ 4765 h 10302"/>
                <a:gd name="connsiteX5" fmla="*/ 7670 w 9934"/>
                <a:gd name="connsiteY5" fmla="*/ 544 h 10302"/>
                <a:gd name="connsiteX6" fmla="*/ 407 w 9934"/>
                <a:gd name="connsiteY6" fmla="*/ 1124 h 10302"/>
                <a:gd name="connsiteX0" fmla="*/ 409 w 8907"/>
                <a:gd name="connsiteY0" fmla="*/ 1429 h 10338"/>
                <a:gd name="connsiteX1" fmla="*/ 729 w 8907"/>
                <a:gd name="connsiteY1" fmla="*/ 4594 h 10338"/>
                <a:gd name="connsiteX2" fmla="*/ 903 w 8907"/>
                <a:gd name="connsiteY2" fmla="*/ 9459 h 10338"/>
                <a:gd name="connsiteX3" fmla="*/ 8216 w 8907"/>
                <a:gd name="connsiteY3" fmla="*/ 9919 h 10338"/>
                <a:gd name="connsiteX4" fmla="*/ 7720 w 8907"/>
                <a:gd name="connsiteY4" fmla="*/ 866 h 10338"/>
                <a:gd name="connsiteX5" fmla="*/ 409 w 8907"/>
                <a:gd name="connsiteY5" fmla="*/ 1429 h 10338"/>
                <a:gd name="connsiteX0" fmla="*/ 459 w 10577"/>
                <a:gd name="connsiteY0" fmla="*/ 1227 h 9088"/>
                <a:gd name="connsiteX1" fmla="*/ 818 w 10577"/>
                <a:gd name="connsiteY1" fmla="*/ 4289 h 9088"/>
                <a:gd name="connsiteX2" fmla="*/ 1014 w 10577"/>
                <a:gd name="connsiteY2" fmla="*/ 8995 h 9088"/>
                <a:gd name="connsiteX3" fmla="*/ 10001 w 10577"/>
                <a:gd name="connsiteY3" fmla="*/ 7215 h 9088"/>
                <a:gd name="connsiteX4" fmla="*/ 8667 w 10577"/>
                <a:gd name="connsiteY4" fmla="*/ 683 h 9088"/>
                <a:gd name="connsiteX5" fmla="*/ 459 w 10577"/>
                <a:gd name="connsiteY5" fmla="*/ 1227 h 9088"/>
                <a:gd name="connsiteX0" fmla="*/ 456 w 9967"/>
                <a:gd name="connsiteY0" fmla="*/ 1350 h 8428"/>
                <a:gd name="connsiteX1" fmla="*/ 795 w 9967"/>
                <a:gd name="connsiteY1" fmla="*/ 4719 h 8428"/>
                <a:gd name="connsiteX2" fmla="*/ 1715 w 9967"/>
                <a:gd name="connsiteY2" fmla="*/ 7449 h 8428"/>
                <a:gd name="connsiteX3" fmla="*/ 9477 w 9967"/>
                <a:gd name="connsiteY3" fmla="*/ 7939 h 8428"/>
                <a:gd name="connsiteX4" fmla="*/ 8216 w 9967"/>
                <a:gd name="connsiteY4" fmla="*/ 752 h 8428"/>
                <a:gd name="connsiteX5" fmla="*/ 456 w 9967"/>
                <a:gd name="connsiteY5" fmla="*/ 1350 h 8428"/>
                <a:gd name="connsiteX0" fmla="*/ 492 w 10034"/>
                <a:gd name="connsiteY0" fmla="*/ 1602 h 10162"/>
                <a:gd name="connsiteX1" fmla="*/ 1755 w 10034"/>
                <a:gd name="connsiteY1" fmla="*/ 8838 h 10162"/>
                <a:gd name="connsiteX2" fmla="*/ 9542 w 10034"/>
                <a:gd name="connsiteY2" fmla="*/ 9420 h 10162"/>
                <a:gd name="connsiteX3" fmla="*/ 8277 w 10034"/>
                <a:gd name="connsiteY3" fmla="*/ 892 h 10162"/>
                <a:gd name="connsiteX4" fmla="*/ 492 w 10034"/>
                <a:gd name="connsiteY4" fmla="*/ 1602 h 10162"/>
                <a:gd name="connsiteX0" fmla="*/ 492 w 9542"/>
                <a:gd name="connsiteY0" fmla="*/ 1602 h 10162"/>
                <a:gd name="connsiteX1" fmla="*/ 1755 w 9542"/>
                <a:gd name="connsiteY1" fmla="*/ 8838 h 10162"/>
                <a:gd name="connsiteX2" fmla="*/ 9542 w 9542"/>
                <a:gd name="connsiteY2" fmla="*/ 9420 h 10162"/>
                <a:gd name="connsiteX3" fmla="*/ 8277 w 9542"/>
                <a:gd name="connsiteY3" fmla="*/ 892 h 10162"/>
                <a:gd name="connsiteX4" fmla="*/ 492 w 9542"/>
                <a:gd name="connsiteY4" fmla="*/ 1602 h 10162"/>
                <a:gd name="connsiteX0" fmla="*/ 516 w 10000"/>
                <a:gd name="connsiteY0" fmla="*/ 698 h 9122"/>
                <a:gd name="connsiteX1" fmla="*/ 1839 w 10000"/>
                <a:gd name="connsiteY1" fmla="*/ 7819 h 9122"/>
                <a:gd name="connsiteX2" fmla="*/ 10000 w 10000"/>
                <a:gd name="connsiteY2" fmla="*/ 8392 h 9122"/>
                <a:gd name="connsiteX3" fmla="*/ 8674 w 10000"/>
                <a:gd name="connsiteY3" fmla="*/ 0 h 9122"/>
                <a:gd name="connsiteX4" fmla="*/ 516 w 10000"/>
                <a:gd name="connsiteY4" fmla="*/ 698 h 9122"/>
                <a:gd name="connsiteX0" fmla="*/ 516 w 10990"/>
                <a:gd name="connsiteY0" fmla="*/ 138 h 9328"/>
                <a:gd name="connsiteX1" fmla="*/ 1839 w 10990"/>
                <a:gd name="connsiteY1" fmla="*/ 7945 h 9328"/>
                <a:gd name="connsiteX2" fmla="*/ 10000 w 10990"/>
                <a:gd name="connsiteY2" fmla="*/ 8573 h 9328"/>
                <a:gd name="connsiteX3" fmla="*/ 10990 w 10990"/>
                <a:gd name="connsiteY3" fmla="*/ 0 h 9328"/>
                <a:gd name="connsiteX4" fmla="*/ 516 w 10990"/>
                <a:gd name="connsiteY4" fmla="*/ 138 h 9328"/>
                <a:gd name="connsiteX0" fmla="*/ 470 w 10715"/>
                <a:gd name="connsiteY0" fmla="*/ 642 h 9505"/>
                <a:gd name="connsiteX1" fmla="*/ 1673 w 10715"/>
                <a:gd name="connsiteY1" fmla="*/ 9011 h 9505"/>
                <a:gd name="connsiteX2" fmla="*/ 9099 w 10715"/>
                <a:gd name="connsiteY2" fmla="*/ 7669 h 9505"/>
                <a:gd name="connsiteX3" fmla="*/ 10000 w 10715"/>
                <a:gd name="connsiteY3" fmla="*/ 494 h 9505"/>
                <a:gd name="connsiteX4" fmla="*/ 470 w 10715"/>
                <a:gd name="connsiteY4" fmla="*/ 642 h 9505"/>
                <a:gd name="connsiteX0" fmla="*/ 439 w 10000"/>
                <a:gd name="connsiteY0" fmla="*/ 675 h 8452"/>
                <a:gd name="connsiteX1" fmla="*/ 1561 w 10000"/>
                <a:gd name="connsiteY1" fmla="*/ 6652 h 8452"/>
                <a:gd name="connsiteX2" fmla="*/ 8492 w 10000"/>
                <a:gd name="connsiteY2" fmla="*/ 8068 h 8452"/>
                <a:gd name="connsiteX3" fmla="*/ 9333 w 10000"/>
                <a:gd name="connsiteY3" fmla="*/ 520 h 8452"/>
                <a:gd name="connsiteX4" fmla="*/ 439 w 10000"/>
                <a:gd name="connsiteY4" fmla="*/ 675 h 8452"/>
                <a:gd name="connsiteX0" fmla="*/ 1438 w 11084"/>
                <a:gd name="connsiteY0" fmla="*/ 799 h 10649"/>
                <a:gd name="connsiteX1" fmla="*/ 593 w 11084"/>
                <a:gd name="connsiteY1" fmla="*/ 9543 h 10649"/>
                <a:gd name="connsiteX2" fmla="*/ 9491 w 11084"/>
                <a:gd name="connsiteY2" fmla="*/ 9546 h 10649"/>
                <a:gd name="connsiteX3" fmla="*/ 10332 w 11084"/>
                <a:gd name="connsiteY3" fmla="*/ 615 h 10649"/>
                <a:gd name="connsiteX4" fmla="*/ 1438 w 11084"/>
                <a:gd name="connsiteY4" fmla="*/ 799 h 10649"/>
                <a:gd name="connsiteX0" fmla="*/ 2458 w 10698"/>
                <a:gd name="connsiteY0" fmla="*/ 2134 h 10210"/>
                <a:gd name="connsiteX1" fmla="*/ 302 w 10698"/>
                <a:gd name="connsiteY1" fmla="*/ 9205 h 10210"/>
                <a:gd name="connsiteX2" fmla="*/ 9200 w 10698"/>
                <a:gd name="connsiteY2" fmla="*/ 9208 h 10210"/>
                <a:gd name="connsiteX3" fmla="*/ 10041 w 10698"/>
                <a:gd name="connsiteY3" fmla="*/ 277 h 10210"/>
                <a:gd name="connsiteX4" fmla="*/ 2458 w 10698"/>
                <a:gd name="connsiteY4" fmla="*/ 2134 h 10210"/>
                <a:gd name="connsiteX0" fmla="*/ 892 w 9046"/>
                <a:gd name="connsiteY0" fmla="*/ 2134 h 9622"/>
                <a:gd name="connsiteX1" fmla="*/ 703 w 9046"/>
                <a:gd name="connsiteY1" fmla="*/ 7532 h 9622"/>
                <a:gd name="connsiteX2" fmla="*/ 7634 w 9046"/>
                <a:gd name="connsiteY2" fmla="*/ 9208 h 9622"/>
                <a:gd name="connsiteX3" fmla="*/ 8475 w 9046"/>
                <a:gd name="connsiteY3" fmla="*/ 277 h 9622"/>
                <a:gd name="connsiteX4" fmla="*/ 892 w 9046"/>
                <a:gd name="connsiteY4" fmla="*/ 2134 h 9622"/>
                <a:gd name="connsiteX0" fmla="*/ 986 w 10000"/>
                <a:gd name="connsiteY0" fmla="*/ 310 h 10764"/>
                <a:gd name="connsiteX1" fmla="*/ 777 w 10000"/>
                <a:gd name="connsiteY1" fmla="*/ 8528 h 10764"/>
                <a:gd name="connsiteX2" fmla="*/ 8439 w 10000"/>
                <a:gd name="connsiteY2" fmla="*/ 10270 h 10764"/>
                <a:gd name="connsiteX3" fmla="*/ 9369 w 10000"/>
                <a:gd name="connsiteY3" fmla="*/ 988 h 10764"/>
                <a:gd name="connsiteX4" fmla="*/ 986 w 10000"/>
                <a:gd name="connsiteY4" fmla="*/ 310 h 10764"/>
                <a:gd name="connsiteX0" fmla="*/ 986 w 10000"/>
                <a:gd name="connsiteY0" fmla="*/ 310 h 10764"/>
                <a:gd name="connsiteX1" fmla="*/ 777 w 10000"/>
                <a:gd name="connsiteY1" fmla="*/ 8528 h 10764"/>
                <a:gd name="connsiteX2" fmla="*/ 8439 w 10000"/>
                <a:gd name="connsiteY2" fmla="*/ 10270 h 10764"/>
                <a:gd name="connsiteX3" fmla="*/ 9369 w 10000"/>
                <a:gd name="connsiteY3" fmla="*/ 988 h 10764"/>
                <a:gd name="connsiteX4" fmla="*/ 986 w 10000"/>
                <a:gd name="connsiteY4" fmla="*/ 310 h 10764"/>
                <a:gd name="connsiteX0" fmla="*/ 986 w 10000"/>
                <a:gd name="connsiteY0" fmla="*/ 1490 h 11944"/>
                <a:gd name="connsiteX1" fmla="*/ 777 w 10000"/>
                <a:gd name="connsiteY1" fmla="*/ 9708 h 11944"/>
                <a:gd name="connsiteX2" fmla="*/ 8439 w 10000"/>
                <a:gd name="connsiteY2" fmla="*/ 11450 h 11944"/>
                <a:gd name="connsiteX3" fmla="*/ 9369 w 10000"/>
                <a:gd name="connsiteY3" fmla="*/ 2168 h 11944"/>
                <a:gd name="connsiteX4" fmla="*/ 986 w 10000"/>
                <a:gd name="connsiteY4" fmla="*/ 1490 h 11944"/>
                <a:gd name="connsiteX0" fmla="*/ 986 w 10000"/>
                <a:gd name="connsiteY0" fmla="*/ 1490 h 11944"/>
                <a:gd name="connsiteX1" fmla="*/ 777 w 10000"/>
                <a:gd name="connsiteY1" fmla="*/ 9708 h 11944"/>
                <a:gd name="connsiteX2" fmla="*/ 8439 w 10000"/>
                <a:gd name="connsiteY2" fmla="*/ 11450 h 11944"/>
                <a:gd name="connsiteX3" fmla="*/ 9369 w 10000"/>
                <a:gd name="connsiteY3" fmla="*/ 2168 h 11944"/>
                <a:gd name="connsiteX4" fmla="*/ 986 w 10000"/>
                <a:gd name="connsiteY4" fmla="*/ 1490 h 11944"/>
                <a:gd name="connsiteX0" fmla="*/ 986 w 10000"/>
                <a:gd name="connsiteY0" fmla="*/ 1490 h 11944"/>
                <a:gd name="connsiteX1" fmla="*/ 777 w 10000"/>
                <a:gd name="connsiteY1" fmla="*/ 9708 h 11944"/>
                <a:gd name="connsiteX2" fmla="*/ 8439 w 10000"/>
                <a:gd name="connsiteY2" fmla="*/ 11450 h 11944"/>
                <a:gd name="connsiteX3" fmla="*/ 9369 w 10000"/>
                <a:gd name="connsiteY3" fmla="*/ 2168 h 11944"/>
                <a:gd name="connsiteX4" fmla="*/ 986 w 10000"/>
                <a:gd name="connsiteY4" fmla="*/ 1490 h 11944"/>
                <a:gd name="connsiteX0" fmla="*/ 986 w 10000"/>
                <a:gd name="connsiteY0" fmla="*/ 0 h 10454"/>
                <a:gd name="connsiteX1" fmla="*/ 777 w 10000"/>
                <a:gd name="connsiteY1" fmla="*/ 8218 h 10454"/>
                <a:gd name="connsiteX2" fmla="*/ 8439 w 10000"/>
                <a:gd name="connsiteY2" fmla="*/ 9960 h 10454"/>
                <a:gd name="connsiteX3" fmla="*/ 9369 w 10000"/>
                <a:gd name="connsiteY3" fmla="*/ 678 h 10454"/>
                <a:gd name="connsiteX4" fmla="*/ 986 w 10000"/>
                <a:gd name="connsiteY4" fmla="*/ 0 h 10454"/>
                <a:gd name="connsiteX0" fmla="*/ 209 w 9223"/>
                <a:gd name="connsiteY0" fmla="*/ 0 h 10454"/>
                <a:gd name="connsiteX1" fmla="*/ 0 w 9223"/>
                <a:gd name="connsiteY1" fmla="*/ 8218 h 10454"/>
                <a:gd name="connsiteX2" fmla="*/ 7662 w 9223"/>
                <a:gd name="connsiteY2" fmla="*/ 9960 h 10454"/>
                <a:gd name="connsiteX3" fmla="*/ 8592 w 9223"/>
                <a:gd name="connsiteY3" fmla="*/ 678 h 10454"/>
                <a:gd name="connsiteX4" fmla="*/ 209 w 9223"/>
                <a:gd name="connsiteY4" fmla="*/ 0 h 10454"/>
                <a:gd name="connsiteX0" fmla="*/ 227 w 9316"/>
                <a:gd name="connsiteY0" fmla="*/ 0 h 10000"/>
                <a:gd name="connsiteX1" fmla="*/ 0 w 9316"/>
                <a:gd name="connsiteY1" fmla="*/ 7861 h 10000"/>
                <a:gd name="connsiteX2" fmla="*/ 8307 w 9316"/>
                <a:gd name="connsiteY2" fmla="*/ 9527 h 10000"/>
                <a:gd name="connsiteX3" fmla="*/ 9316 w 9316"/>
                <a:gd name="connsiteY3" fmla="*/ 649 h 10000"/>
                <a:gd name="connsiteX4" fmla="*/ 227 w 9316"/>
                <a:gd name="connsiteY4" fmla="*/ 0 h 10000"/>
                <a:gd name="connsiteX0" fmla="*/ 244 w 10000"/>
                <a:gd name="connsiteY0" fmla="*/ 0 h 9527"/>
                <a:gd name="connsiteX1" fmla="*/ 0 w 10000"/>
                <a:gd name="connsiteY1" fmla="*/ 7861 h 9527"/>
                <a:gd name="connsiteX2" fmla="*/ 8917 w 10000"/>
                <a:gd name="connsiteY2" fmla="*/ 9527 h 9527"/>
                <a:gd name="connsiteX3" fmla="*/ 10000 w 10000"/>
                <a:gd name="connsiteY3" fmla="*/ 649 h 9527"/>
                <a:gd name="connsiteX4" fmla="*/ 244 w 10000"/>
                <a:gd name="connsiteY4" fmla="*/ 0 h 95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9527">
                  <a:moveTo>
                    <a:pt x="244" y="0"/>
                  </a:moveTo>
                  <a:cubicBezTo>
                    <a:pt x="162" y="2620"/>
                    <a:pt x="82" y="5241"/>
                    <a:pt x="0" y="7861"/>
                  </a:cubicBezTo>
                  <a:lnTo>
                    <a:pt x="8917" y="9527"/>
                  </a:lnTo>
                  <a:lnTo>
                    <a:pt x="10000" y="649"/>
                  </a:lnTo>
                  <a:lnTo>
                    <a:pt x="244" y="0"/>
                  </a:ln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280" name="GM"/>
            <p:cNvSpPr>
              <a:spLocks/>
            </p:cNvSpPr>
            <p:nvPr/>
          </p:nvSpPr>
          <p:spPr bwMode="auto">
            <a:xfrm>
              <a:off x="3858556" y="4074002"/>
              <a:ext cx="68049" cy="20883"/>
            </a:xfrm>
            <a:custGeom>
              <a:avLst/>
              <a:gdLst>
                <a:gd name="T0" fmla="*/ 2147483647 w 43"/>
                <a:gd name="T1" fmla="*/ 2147483647 h 70"/>
                <a:gd name="T2" fmla="*/ 2147483647 w 43"/>
                <a:gd name="T3" fmla="*/ 2147483647 h 70"/>
                <a:gd name="T4" fmla="*/ 2147483647 w 43"/>
                <a:gd name="T5" fmla="*/ 2147483647 h 70"/>
                <a:gd name="T6" fmla="*/ 2147483647 w 43"/>
                <a:gd name="T7" fmla="*/ 2147483647 h 70"/>
                <a:gd name="T8" fmla="*/ 2147483647 w 43"/>
                <a:gd name="T9" fmla="*/ 2147483647 h 70"/>
                <a:gd name="T10" fmla="*/ 2147483647 w 43"/>
                <a:gd name="T11" fmla="*/ 2147483647 h 70"/>
                <a:gd name="T12" fmla="*/ 2147483647 w 43"/>
                <a:gd name="T13" fmla="*/ 2147483647 h 70"/>
                <a:gd name="T14" fmla="*/ 2147483647 w 43"/>
                <a:gd name="T15" fmla="*/ 2147483647 h 70"/>
                <a:gd name="T16" fmla="*/ 2147483647 w 43"/>
                <a:gd name="T17" fmla="*/ 2147483647 h 70"/>
                <a:gd name="T18" fmla="*/ 2147483647 w 43"/>
                <a:gd name="T19" fmla="*/ 2147483647 h 70"/>
                <a:gd name="T20" fmla="*/ 2147483647 w 43"/>
                <a:gd name="T21" fmla="*/ 2147483647 h 70"/>
                <a:gd name="T22" fmla="*/ 2147483647 w 43"/>
                <a:gd name="T23" fmla="*/ 2147483647 h 70"/>
                <a:gd name="T24" fmla="*/ 2147483647 w 43"/>
                <a:gd name="T25" fmla="*/ 2147483647 h 70"/>
                <a:gd name="T26" fmla="*/ 2147483647 w 43"/>
                <a:gd name="T27" fmla="*/ 2147483647 h 70"/>
                <a:gd name="T28" fmla="*/ 2147483647 w 43"/>
                <a:gd name="T29" fmla="*/ 2147483647 h 70"/>
                <a:gd name="T30" fmla="*/ 0 w 43"/>
                <a:gd name="T31" fmla="*/ 2147483647 h 70"/>
                <a:gd name="T32" fmla="*/ 0 w 43"/>
                <a:gd name="T33" fmla="*/ 2147483647 h 70"/>
                <a:gd name="T34" fmla="*/ 2147483647 w 43"/>
                <a:gd name="T35" fmla="*/ 2147483647 h 70"/>
                <a:gd name="T36" fmla="*/ 2147483647 w 43"/>
                <a:gd name="T37" fmla="*/ 2147483647 h 70"/>
                <a:gd name="T38" fmla="*/ 2147483647 w 43"/>
                <a:gd name="T39" fmla="*/ 2147483647 h 70"/>
                <a:gd name="T40" fmla="*/ 2147483647 w 43"/>
                <a:gd name="T41" fmla="*/ 2147483647 h 70"/>
                <a:gd name="T42" fmla="*/ 2147483647 w 43"/>
                <a:gd name="T43" fmla="*/ 2147483647 h 70"/>
                <a:gd name="T44" fmla="*/ 2147483647 w 43"/>
                <a:gd name="T45" fmla="*/ 2147483647 h 70"/>
                <a:gd name="T46" fmla="*/ 2147483647 w 43"/>
                <a:gd name="T47" fmla="*/ 2147483647 h 70"/>
                <a:gd name="T48" fmla="*/ 2147483647 w 43"/>
                <a:gd name="T49" fmla="*/ 2147483647 h 70"/>
                <a:gd name="T50" fmla="*/ 2147483647 w 43"/>
                <a:gd name="T51" fmla="*/ 2147483647 h 70"/>
                <a:gd name="T52" fmla="*/ 2147483647 w 43"/>
                <a:gd name="T53" fmla="*/ 2147483647 h 70"/>
                <a:gd name="T54" fmla="*/ 2147483647 w 43"/>
                <a:gd name="T55" fmla="*/ 2147483647 h 70"/>
                <a:gd name="T56" fmla="*/ 2147483647 w 43"/>
                <a:gd name="T57" fmla="*/ 2147483647 h 70"/>
                <a:gd name="T58" fmla="*/ 2147483647 w 43"/>
                <a:gd name="T59" fmla="*/ 2147483647 h 70"/>
                <a:gd name="T60" fmla="*/ 2147483647 w 43"/>
                <a:gd name="T61" fmla="*/ 2147483647 h 70"/>
                <a:gd name="T62" fmla="*/ 2147483647 w 43"/>
                <a:gd name="T63" fmla="*/ 2147483647 h 70"/>
                <a:gd name="T64" fmla="*/ 2147483647 w 43"/>
                <a:gd name="T65" fmla="*/ 2147483647 h 70"/>
                <a:gd name="T66" fmla="*/ 2147483647 w 43"/>
                <a:gd name="T67" fmla="*/ 2147483647 h 70"/>
                <a:gd name="T68" fmla="*/ 2147483647 w 43"/>
                <a:gd name="T69" fmla="*/ 2147483647 h 70"/>
                <a:gd name="T70" fmla="*/ 2147483647 w 43"/>
                <a:gd name="T71" fmla="*/ 2147483647 h 70"/>
                <a:gd name="T72" fmla="*/ 2147483647 w 43"/>
                <a:gd name="T73" fmla="*/ 2147483647 h 70"/>
                <a:gd name="T74" fmla="*/ 2147483647 w 43"/>
                <a:gd name="T75" fmla="*/ 2147483647 h 70"/>
                <a:gd name="T76" fmla="*/ 2147483647 w 43"/>
                <a:gd name="T77" fmla="*/ 2147483647 h 70"/>
                <a:gd name="T78" fmla="*/ 2147483647 w 43"/>
                <a:gd name="T79" fmla="*/ 2147483647 h 70"/>
                <a:gd name="T80" fmla="*/ 2147483647 w 43"/>
                <a:gd name="T81" fmla="*/ 2147483647 h 70"/>
                <a:gd name="T82" fmla="*/ 2147483647 w 43"/>
                <a:gd name="T83" fmla="*/ 2147483647 h 70"/>
                <a:gd name="T84" fmla="*/ 2147483647 w 43"/>
                <a:gd name="T85" fmla="*/ 2147483647 h 70"/>
                <a:gd name="T86" fmla="*/ 2147483647 w 43"/>
                <a:gd name="T87" fmla="*/ 2147483647 h 70"/>
                <a:gd name="T88" fmla="*/ 2147483647 w 43"/>
                <a:gd name="T89" fmla="*/ 2147483647 h 70"/>
                <a:gd name="T90" fmla="*/ 2147483647 w 43"/>
                <a:gd name="T91" fmla="*/ 2147483647 h 70"/>
                <a:gd name="T92" fmla="*/ 2147483647 w 43"/>
                <a:gd name="T93" fmla="*/ 2147483647 h 70"/>
                <a:gd name="T94" fmla="*/ 2147483647 w 43"/>
                <a:gd name="T95" fmla="*/ 2147483647 h 70"/>
                <a:gd name="T96" fmla="*/ 2147483647 w 43"/>
                <a:gd name="T97" fmla="*/ 2147483647 h 70"/>
                <a:gd name="T98" fmla="*/ 2147483647 w 43"/>
                <a:gd name="T99" fmla="*/ 2147483647 h 70"/>
                <a:gd name="T100" fmla="*/ 2147483647 w 43"/>
                <a:gd name="T101" fmla="*/ 2147483647 h 70"/>
                <a:gd name="T102" fmla="*/ 2147483647 w 43"/>
                <a:gd name="T103" fmla="*/ 2147483647 h 70"/>
                <a:gd name="T104" fmla="*/ 2147483647 w 43"/>
                <a:gd name="T105" fmla="*/ 2147483647 h 70"/>
                <a:gd name="T106" fmla="*/ 2147483647 w 43"/>
                <a:gd name="T107" fmla="*/ 2147483647 h 70"/>
                <a:gd name="T108" fmla="*/ 2147483647 w 43"/>
                <a:gd name="T109" fmla="*/ 2147483647 h 70"/>
                <a:gd name="T110" fmla="*/ 2147483647 w 43"/>
                <a:gd name="T111" fmla="*/ 0 h 70"/>
                <a:gd name="T112" fmla="*/ 2147483647 w 43"/>
                <a:gd name="T113" fmla="*/ 0 h 70"/>
                <a:gd name="T114" fmla="*/ 2147483647 w 43"/>
                <a:gd name="T115" fmla="*/ 2147483647 h 70"/>
                <a:gd name="T116" fmla="*/ 2147483647 w 43"/>
                <a:gd name="T117" fmla="*/ 0 h 70"/>
                <a:gd name="T118" fmla="*/ 2147483647 w 43"/>
                <a:gd name="T119" fmla="*/ 2147483647 h 70"/>
                <a:gd name="T120" fmla="*/ 2147483647 w 43"/>
                <a:gd name="T121" fmla="*/ 2147483647 h 7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connsiteX0" fmla="*/ 6279 w 10000"/>
                <a:gd name="connsiteY0" fmla="*/ 857 h 10000"/>
                <a:gd name="connsiteX1" fmla="*/ 5349 w 10000"/>
                <a:gd name="connsiteY1" fmla="*/ 1857 h 10000"/>
                <a:gd name="connsiteX2" fmla="*/ 4884 w 10000"/>
                <a:gd name="connsiteY2" fmla="*/ 2857 h 10000"/>
                <a:gd name="connsiteX3" fmla="*/ 5116 w 10000"/>
                <a:gd name="connsiteY3" fmla="*/ 3714 h 10000"/>
                <a:gd name="connsiteX4" fmla="*/ 5814 w 10000"/>
                <a:gd name="connsiteY4" fmla="*/ 5429 h 10000"/>
                <a:gd name="connsiteX5" fmla="*/ 5116 w 10000"/>
                <a:gd name="connsiteY5" fmla="*/ 5571 h 10000"/>
                <a:gd name="connsiteX6" fmla="*/ 4884 w 10000"/>
                <a:gd name="connsiteY6" fmla="*/ 6429 h 10000"/>
                <a:gd name="connsiteX7" fmla="*/ 4651 w 10000"/>
                <a:gd name="connsiteY7" fmla="*/ 6857 h 10000"/>
                <a:gd name="connsiteX8" fmla="*/ 5349 w 10000"/>
                <a:gd name="connsiteY8" fmla="*/ 7429 h 10000"/>
                <a:gd name="connsiteX9" fmla="*/ 5349 w 10000"/>
                <a:gd name="connsiteY9" fmla="*/ 7714 h 10000"/>
                <a:gd name="connsiteX10" fmla="*/ 3953 w 10000"/>
                <a:gd name="connsiteY10" fmla="*/ 7286 h 10000"/>
                <a:gd name="connsiteX11" fmla="*/ 2558 w 10000"/>
                <a:gd name="connsiteY11" fmla="*/ 6857 h 10000"/>
                <a:gd name="connsiteX12" fmla="*/ 1395 w 10000"/>
                <a:gd name="connsiteY12" fmla="*/ 6857 h 10000"/>
                <a:gd name="connsiteX13" fmla="*/ 1395 w 10000"/>
                <a:gd name="connsiteY13" fmla="*/ 7429 h 10000"/>
                <a:gd name="connsiteX14" fmla="*/ 0 w 10000"/>
                <a:gd name="connsiteY14" fmla="*/ 7571 h 10000"/>
                <a:gd name="connsiteX15" fmla="*/ 0 w 10000"/>
                <a:gd name="connsiteY15" fmla="*/ 9143 h 10000"/>
                <a:gd name="connsiteX16" fmla="*/ 465 w 10000"/>
                <a:gd name="connsiteY16" fmla="*/ 9714 h 10000"/>
                <a:gd name="connsiteX17" fmla="*/ 1395 w 10000"/>
                <a:gd name="connsiteY17" fmla="*/ 9714 h 10000"/>
                <a:gd name="connsiteX18" fmla="*/ 1860 w 10000"/>
                <a:gd name="connsiteY18" fmla="*/ 9857 h 10000"/>
                <a:gd name="connsiteX19" fmla="*/ 1628 w 10000"/>
                <a:gd name="connsiteY19" fmla="*/ 9857 h 10000"/>
                <a:gd name="connsiteX20" fmla="*/ 2093 w 10000"/>
                <a:gd name="connsiteY20" fmla="*/ 10000 h 10000"/>
                <a:gd name="connsiteX21" fmla="*/ 2558 w 10000"/>
                <a:gd name="connsiteY21" fmla="*/ 9857 h 10000"/>
                <a:gd name="connsiteX22" fmla="*/ 3488 w 10000"/>
                <a:gd name="connsiteY22" fmla="*/ 10000 h 10000"/>
                <a:gd name="connsiteX23" fmla="*/ 4186 w 10000"/>
                <a:gd name="connsiteY23" fmla="*/ 9571 h 10000"/>
                <a:gd name="connsiteX24" fmla="*/ 5116 w 10000"/>
                <a:gd name="connsiteY24" fmla="*/ 9000 h 10000"/>
                <a:gd name="connsiteX25" fmla="*/ 5814 w 10000"/>
                <a:gd name="connsiteY25" fmla="*/ 8857 h 10000"/>
                <a:gd name="connsiteX26" fmla="*/ 5581 w 10000"/>
                <a:gd name="connsiteY26" fmla="*/ 8857 h 10000"/>
                <a:gd name="connsiteX27" fmla="*/ 5581 w 10000"/>
                <a:gd name="connsiteY27" fmla="*/ 8714 h 10000"/>
                <a:gd name="connsiteX28" fmla="*/ 7674 w 10000"/>
                <a:gd name="connsiteY28" fmla="*/ 8143 h 10000"/>
                <a:gd name="connsiteX29" fmla="*/ 8605 w 10000"/>
                <a:gd name="connsiteY29" fmla="*/ 8429 h 10000"/>
                <a:gd name="connsiteX30" fmla="*/ 9070 w 10000"/>
                <a:gd name="connsiteY30" fmla="*/ 8857 h 10000"/>
                <a:gd name="connsiteX31" fmla="*/ 9302 w 10000"/>
                <a:gd name="connsiteY31" fmla="*/ 9143 h 10000"/>
                <a:gd name="connsiteX32" fmla="*/ 10000 w 10000"/>
                <a:gd name="connsiteY32" fmla="*/ 8857 h 10000"/>
                <a:gd name="connsiteX33" fmla="*/ 10000 w 10000"/>
                <a:gd name="connsiteY33" fmla="*/ 8429 h 10000"/>
                <a:gd name="connsiteX34" fmla="*/ 9302 w 10000"/>
                <a:gd name="connsiteY34" fmla="*/ 7714 h 10000"/>
                <a:gd name="connsiteX35" fmla="*/ 9302 w 10000"/>
                <a:gd name="connsiteY35" fmla="*/ 7000 h 10000"/>
                <a:gd name="connsiteX36" fmla="*/ 9535 w 10000"/>
                <a:gd name="connsiteY36" fmla="*/ 7000 h 10000"/>
                <a:gd name="connsiteX37" fmla="*/ 9070 w 10000"/>
                <a:gd name="connsiteY37" fmla="*/ 6286 h 10000"/>
                <a:gd name="connsiteX38" fmla="*/ 8837 w 10000"/>
                <a:gd name="connsiteY38" fmla="*/ 6000 h 10000"/>
                <a:gd name="connsiteX39" fmla="*/ 7674 w 10000"/>
                <a:gd name="connsiteY39" fmla="*/ 5857 h 10000"/>
                <a:gd name="connsiteX40" fmla="*/ 6512 w 10000"/>
                <a:gd name="connsiteY40" fmla="*/ 5571 h 10000"/>
                <a:gd name="connsiteX41" fmla="*/ 6047 w 10000"/>
                <a:gd name="connsiteY41" fmla="*/ 4857 h 10000"/>
                <a:gd name="connsiteX42" fmla="*/ 5581 w 10000"/>
                <a:gd name="connsiteY42" fmla="*/ 3714 h 10000"/>
                <a:gd name="connsiteX43" fmla="*/ 6047 w 10000"/>
                <a:gd name="connsiteY43" fmla="*/ 3286 h 10000"/>
                <a:gd name="connsiteX44" fmla="*/ 5814 w 10000"/>
                <a:gd name="connsiteY44" fmla="*/ 2286 h 10000"/>
                <a:gd name="connsiteX45" fmla="*/ 6977 w 10000"/>
                <a:gd name="connsiteY45" fmla="*/ 2286 h 10000"/>
                <a:gd name="connsiteX46" fmla="*/ 7442 w 10000"/>
                <a:gd name="connsiteY46" fmla="*/ 2857 h 10000"/>
                <a:gd name="connsiteX47" fmla="*/ 8372 w 10000"/>
                <a:gd name="connsiteY47" fmla="*/ 2857 h 10000"/>
                <a:gd name="connsiteX48" fmla="*/ 8372 w 10000"/>
                <a:gd name="connsiteY48" fmla="*/ 2429 h 10000"/>
                <a:gd name="connsiteX49" fmla="*/ 8605 w 10000"/>
                <a:gd name="connsiteY49" fmla="*/ 2143 h 10000"/>
                <a:gd name="connsiteX50" fmla="*/ 8837 w 10000"/>
                <a:gd name="connsiteY50" fmla="*/ 2286 h 10000"/>
                <a:gd name="connsiteX51" fmla="*/ 8605 w 10000"/>
                <a:gd name="connsiteY51" fmla="*/ 1429 h 10000"/>
                <a:gd name="connsiteX52" fmla="*/ 9070 w 10000"/>
                <a:gd name="connsiteY52" fmla="*/ 857 h 10000"/>
                <a:gd name="connsiteX53" fmla="*/ 9070 w 10000"/>
                <a:gd name="connsiteY53" fmla="*/ 286 h 10000"/>
                <a:gd name="connsiteX54" fmla="*/ 8605 w 10000"/>
                <a:gd name="connsiteY54" fmla="*/ 0 h 10000"/>
                <a:gd name="connsiteX55" fmla="*/ 8140 w 10000"/>
                <a:gd name="connsiteY55" fmla="*/ 0 h 10000"/>
                <a:gd name="connsiteX56" fmla="*/ 6512 w 10000"/>
                <a:gd name="connsiteY56" fmla="*/ 143 h 10000"/>
                <a:gd name="connsiteX57" fmla="*/ 6279 w 10000"/>
                <a:gd name="connsiteY57" fmla="*/ 0 h 10000"/>
                <a:gd name="connsiteX58" fmla="*/ 6279 w 10000"/>
                <a:gd name="connsiteY58" fmla="*/ 714 h 10000"/>
                <a:gd name="connsiteX59" fmla="*/ 6279 w 10000"/>
                <a:gd name="connsiteY59" fmla="*/ 857 h 10000"/>
                <a:gd name="connsiteX0" fmla="*/ 6279 w 10000"/>
                <a:gd name="connsiteY0" fmla="*/ 857 h 10000"/>
                <a:gd name="connsiteX1" fmla="*/ 5349 w 10000"/>
                <a:gd name="connsiteY1" fmla="*/ 1857 h 10000"/>
                <a:gd name="connsiteX2" fmla="*/ 4884 w 10000"/>
                <a:gd name="connsiteY2" fmla="*/ 2857 h 10000"/>
                <a:gd name="connsiteX3" fmla="*/ 5116 w 10000"/>
                <a:gd name="connsiteY3" fmla="*/ 3714 h 10000"/>
                <a:gd name="connsiteX4" fmla="*/ 5116 w 10000"/>
                <a:gd name="connsiteY4" fmla="*/ 5571 h 10000"/>
                <a:gd name="connsiteX5" fmla="*/ 4884 w 10000"/>
                <a:gd name="connsiteY5" fmla="*/ 6429 h 10000"/>
                <a:gd name="connsiteX6" fmla="*/ 4651 w 10000"/>
                <a:gd name="connsiteY6" fmla="*/ 6857 h 10000"/>
                <a:gd name="connsiteX7" fmla="*/ 5349 w 10000"/>
                <a:gd name="connsiteY7" fmla="*/ 7429 h 10000"/>
                <a:gd name="connsiteX8" fmla="*/ 5349 w 10000"/>
                <a:gd name="connsiteY8" fmla="*/ 7714 h 10000"/>
                <a:gd name="connsiteX9" fmla="*/ 3953 w 10000"/>
                <a:gd name="connsiteY9" fmla="*/ 7286 h 10000"/>
                <a:gd name="connsiteX10" fmla="*/ 2558 w 10000"/>
                <a:gd name="connsiteY10" fmla="*/ 6857 h 10000"/>
                <a:gd name="connsiteX11" fmla="*/ 1395 w 10000"/>
                <a:gd name="connsiteY11" fmla="*/ 6857 h 10000"/>
                <a:gd name="connsiteX12" fmla="*/ 1395 w 10000"/>
                <a:gd name="connsiteY12" fmla="*/ 7429 h 10000"/>
                <a:gd name="connsiteX13" fmla="*/ 0 w 10000"/>
                <a:gd name="connsiteY13" fmla="*/ 7571 h 10000"/>
                <a:gd name="connsiteX14" fmla="*/ 0 w 10000"/>
                <a:gd name="connsiteY14" fmla="*/ 9143 h 10000"/>
                <a:gd name="connsiteX15" fmla="*/ 465 w 10000"/>
                <a:gd name="connsiteY15" fmla="*/ 9714 h 10000"/>
                <a:gd name="connsiteX16" fmla="*/ 1395 w 10000"/>
                <a:gd name="connsiteY16" fmla="*/ 9714 h 10000"/>
                <a:gd name="connsiteX17" fmla="*/ 1860 w 10000"/>
                <a:gd name="connsiteY17" fmla="*/ 9857 h 10000"/>
                <a:gd name="connsiteX18" fmla="*/ 1628 w 10000"/>
                <a:gd name="connsiteY18" fmla="*/ 9857 h 10000"/>
                <a:gd name="connsiteX19" fmla="*/ 2093 w 10000"/>
                <a:gd name="connsiteY19" fmla="*/ 10000 h 10000"/>
                <a:gd name="connsiteX20" fmla="*/ 2558 w 10000"/>
                <a:gd name="connsiteY20" fmla="*/ 9857 h 10000"/>
                <a:gd name="connsiteX21" fmla="*/ 3488 w 10000"/>
                <a:gd name="connsiteY21" fmla="*/ 10000 h 10000"/>
                <a:gd name="connsiteX22" fmla="*/ 4186 w 10000"/>
                <a:gd name="connsiteY22" fmla="*/ 9571 h 10000"/>
                <a:gd name="connsiteX23" fmla="*/ 5116 w 10000"/>
                <a:gd name="connsiteY23" fmla="*/ 9000 h 10000"/>
                <a:gd name="connsiteX24" fmla="*/ 5814 w 10000"/>
                <a:gd name="connsiteY24" fmla="*/ 8857 h 10000"/>
                <a:gd name="connsiteX25" fmla="*/ 5581 w 10000"/>
                <a:gd name="connsiteY25" fmla="*/ 8857 h 10000"/>
                <a:gd name="connsiteX26" fmla="*/ 5581 w 10000"/>
                <a:gd name="connsiteY26" fmla="*/ 8714 h 10000"/>
                <a:gd name="connsiteX27" fmla="*/ 7674 w 10000"/>
                <a:gd name="connsiteY27" fmla="*/ 8143 h 10000"/>
                <a:gd name="connsiteX28" fmla="*/ 8605 w 10000"/>
                <a:gd name="connsiteY28" fmla="*/ 8429 h 10000"/>
                <a:gd name="connsiteX29" fmla="*/ 9070 w 10000"/>
                <a:gd name="connsiteY29" fmla="*/ 8857 h 10000"/>
                <a:gd name="connsiteX30" fmla="*/ 9302 w 10000"/>
                <a:gd name="connsiteY30" fmla="*/ 9143 h 10000"/>
                <a:gd name="connsiteX31" fmla="*/ 10000 w 10000"/>
                <a:gd name="connsiteY31" fmla="*/ 8857 h 10000"/>
                <a:gd name="connsiteX32" fmla="*/ 10000 w 10000"/>
                <a:gd name="connsiteY32" fmla="*/ 8429 h 10000"/>
                <a:gd name="connsiteX33" fmla="*/ 9302 w 10000"/>
                <a:gd name="connsiteY33" fmla="*/ 7714 h 10000"/>
                <a:gd name="connsiteX34" fmla="*/ 9302 w 10000"/>
                <a:gd name="connsiteY34" fmla="*/ 7000 h 10000"/>
                <a:gd name="connsiteX35" fmla="*/ 9535 w 10000"/>
                <a:gd name="connsiteY35" fmla="*/ 7000 h 10000"/>
                <a:gd name="connsiteX36" fmla="*/ 9070 w 10000"/>
                <a:gd name="connsiteY36" fmla="*/ 6286 h 10000"/>
                <a:gd name="connsiteX37" fmla="*/ 8837 w 10000"/>
                <a:gd name="connsiteY37" fmla="*/ 6000 h 10000"/>
                <a:gd name="connsiteX38" fmla="*/ 7674 w 10000"/>
                <a:gd name="connsiteY38" fmla="*/ 5857 h 10000"/>
                <a:gd name="connsiteX39" fmla="*/ 6512 w 10000"/>
                <a:gd name="connsiteY39" fmla="*/ 5571 h 10000"/>
                <a:gd name="connsiteX40" fmla="*/ 6047 w 10000"/>
                <a:gd name="connsiteY40" fmla="*/ 4857 h 10000"/>
                <a:gd name="connsiteX41" fmla="*/ 5581 w 10000"/>
                <a:gd name="connsiteY41" fmla="*/ 3714 h 10000"/>
                <a:gd name="connsiteX42" fmla="*/ 6047 w 10000"/>
                <a:gd name="connsiteY42" fmla="*/ 3286 h 10000"/>
                <a:gd name="connsiteX43" fmla="*/ 5814 w 10000"/>
                <a:gd name="connsiteY43" fmla="*/ 2286 h 10000"/>
                <a:gd name="connsiteX44" fmla="*/ 6977 w 10000"/>
                <a:gd name="connsiteY44" fmla="*/ 2286 h 10000"/>
                <a:gd name="connsiteX45" fmla="*/ 7442 w 10000"/>
                <a:gd name="connsiteY45" fmla="*/ 2857 h 10000"/>
                <a:gd name="connsiteX46" fmla="*/ 8372 w 10000"/>
                <a:gd name="connsiteY46" fmla="*/ 2857 h 10000"/>
                <a:gd name="connsiteX47" fmla="*/ 8372 w 10000"/>
                <a:gd name="connsiteY47" fmla="*/ 2429 h 10000"/>
                <a:gd name="connsiteX48" fmla="*/ 8605 w 10000"/>
                <a:gd name="connsiteY48" fmla="*/ 2143 h 10000"/>
                <a:gd name="connsiteX49" fmla="*/ 8837 w 10000"/>
                <a:gd name="connsiteY49" fmla="*/ 2286 h 10000"/>
                <a:gd name="connsiteX50" fmla="*/ 8605 w 10000"/>
                <a:gd name="connsiteY50" fmla="*/ 1429 h 10000"/>
                <a:gd name="connsiteX51" fmla="*/ 9070 w 10000"/>
                <a:gd name="connsiteY51" fmla="*/ 857 h 10000"/>
                <a:gd name="connsiteX52" fmla="*/ 9070 w 10000"/>
                <a:gd name="connsiteY52" fmla="*/ 286 h 10000"/>
                <a:gd name="connsiteX53" fmla="*/ 8605 w 10000"/>
                <a:gd name="connsiteY53" fmla="*/ 0 h 10000"/>
                <a:gd name="connsiteX54" fmla="*/ 8140 w 10000"/>
                <a:gd name="connsiteY54" fmla="*/ 0 h 10000"/>
                <a:gd name="connsiteX55" fmla="*/ 6512 w 10000"/>
                <a:gd name="connsiteY55" fmla="*/ 143 h 10000"/>
                <a:gd name="connsiteX56" fmla="*/ 6279 w 10000"/>
                <a:gd name="connsiteY56" fmla="*/ 0 h 10000"/>
                <a:gd name="connsiteX57" fmla="*/ 6279 w 10000"/>
                <a:gd name="connsiteY57" fmla="*/ 714 h 10000"/>
                <a:gd name="connsiteX58" fmla="*/ 6279 w 10000"/>
                <a:gd name="connsiteY58" fmla="*/ 857 h 10000"/>
                <a:gd name="connsiteX0" fmla="*/ 6279 w 10000"/>
                <a:gd name="connsiteY0" fmla="*/ 857 h 10000"/>
                <a:gd name="connsiteX1" fmla="*/ 5349 w 10000"/>
                <a:gd name="connsiteY1" fmla="*/ 1857 h 10000"/>
                <a:gd name="connsiteX2" fmla="*/ 4884 w 10000"/>
                <a:gd name="connsiteY2" fmla="*/ 2857 h 10000"/>
                <a:gd name="connsiteX3" fmla="*/ 5116 w 10000"/>
                <a:gd name="connsiteY3" fmla="*/ 3714 h 10000"/>
                <a:gd name="connsiteX4" fmla="*/ 4884 w 10000"/>
                <a:gd name="connsiteY4" fmla="*/ 6429 h 10000"/>
                <a:gd name="connsiteX5" fmla="*/ 4651 w 10000"/>
                <a:gd name="connsiteY5" fmla="*/ 6857 h 10000"/>
                <a:gd name="connsiteX6" fmla="*/ 5349 w 10000"/>
                <a:gd name="connsiteY6" fmla="*/ 7429 h 10000"/>
                <a:gd name="connsiteX7" fmla="*/ 5349 w 10000"/>
                <a:gd name="connsiteY7" fmla="*/ 7714 h 10000"/>
                <a:gd name="connsiteX8" fmla="*/ 3953 w 10000"/>
                <a:gd name="connsiteY8" fmla="*/ 7286 h 10000"/>
                <a:gd name="connsiteX9" fmla="*/ 2558 w 10000"/>
                <a:gd name="connsiteY9" fmla="*/ 6857 h 10000"/>
                <a:gd name="connsiteX10" fmla="*/ 1395 w 10000"/>
                <a:gd name="connsiteY10" fmla="*/ 6857 h 10000"/>
                <a:gd name="connsiteX11" fmla="*/ 1395 w 10000"/>
                <a:gd name="connsiteY11" fmla="*/ 7429 h 10000"/>
                <a:gd name="connsiteX12" fmla="*/ 0 w 10000"/>
                <a:gd name="connsiteY12" fmla="*/ 7571 h 10000"/>
                <a:gd name="connsiteX13" fmla="*/ 0 w 10000"/>
                <a:gd name="connsiteY13" fmla="*/ 9143 h 10000"/>
                <a:gd name="connsiteX14" fmla="*/ 465 w 10000"/>
                <a:gd name="connsiteY14" fmla="*/ 9714 h 10000"/>
                <a:gd name="connsiteX15" fmla="*/ 1395 w 10000"/>
                <a:gd name="connsiteY15" fmla="*/ 9714 h 10000"/>
                <a:gd name="connsiteX16" fmla="*/ 1860 w 10000"/>
                <a:gd name="connsiteY16" fmla="*/ 9857 h 10000"/>
                <a:gd name="connsiteX17" fmla="*/ 1628 w 10000"/>
                <a:gd name="connsiteY17" fmla="*/ 9857 h 10000"/>
                <a:gd name="connsiteX18" fmla="*/ 2093 w 10000"/>
                <a:gd name="connsiteY18" fmla="*/ 10000 h 10000"/>
                <a:gd name="connsiteX19" fmla="*/ 2558 w 10000"/>
                <a:gd name="connsiteY19" fmla="*/ 9857 h 10000"/>
                <a:gd name="connsiteX20" fmla="*/ 3488 w 10000"/>
                <a:gd name="connsiteY20" fmla="*/ 10000 h 10000"/>
                <a:gd name="connsiteX21" fmla="*/ 4186 w 10000"/>
                <a:gd name="connsiteY21" fmla="*/ 9571 h 10000"/>
                <a:gd name="connsiteX22" fmla="*/ 5116 w 10000"/>
                <a:gd name="connsiteY22" fmla="*/ 9000 h 10000"/>
                <a:gd name="connsiteX23" fmla="*/ 5814 w 10000"/>
                <a:gd name="connsiteY23" fmla="*/ 8857 h 10000"/>
                <a:gd name="connsiteX24" fmla="*/ 5581 w 10000"/>
                <a:gd name="connsiteY24" fmla="*/ 8857 h 10000"/>
                <a:gd name="connsiteX25" fmla="*/ 5581 w 10000"/>
                <a:gd name="connsiteY25" fmla="*/ 8714 h 10000"/>
                <a:gd name="connsiteX26" fmla="*/ 7674 w 10000"/>
                <a:gd name="connsiteY26" fmla="*/ 8143 h 10000"/>
                <a:gd name="connsiteX27" fmla="*/ 8605 w 10000"/>
                <a:gd name="connsiteY27" fmla="*/ 8429 h 10000"/>
                <a:gd name="connsiteX28" fmla="*/ 9070 w 10000"/>
                <a:gd name="connsiteY28" fmla="*/ 8857 h 10000"/>
                <a:gd name="connsiteX29" fmla="*/ 9302 w 10000"/>
                <a:gd name="connsiteY29" fmla="*/ 9143 h 10000"/>
                <a:gd name="connsiteX30" fmla="*/ 10000 w 10000"/>
                <a:gd name="connsiteY30" fmla="*/ 8857 h 10000"/>
                <a:gd name="connsiteX31" fmla="*/ 10000 w 10000"/>
                <a:gd name="connsiteY31" fmla="*/ 8429 h 10000"/>
                <a:gd name="connsiteX32" fmla="*/ 9302 w 10000"/>
                <a:gd name="connsiteY32" fmla="*/ 7714 h 10000"/>
                <a:gd name="connsiteX33" fmla="*/ 9302 w 10000"/>
                <a:gd name="connsiteY33" fmla="*/ 7000 h 10000"/>
                <a:gd name="connsiteX34" fmla="*/ 9535 w 10000"/>
                <a:gd name="connsiteY34" fmla="*/ 7000 h 10000"/>
                <a:gd name="connsiteX35" fmla="*/ 9070 w 10000"/>
                <a:gd name="connsiteY35" fmla="*/ 6286 h 10000"/>
                <a:gd name="connsiteX36" fmla="*/ 8837 w 10000"/>
                <a:gd name="connsiteY36" fmla="*/ 6000 h 10000"/>
                <a:gd name="connsiteX37" fmla="*/ 7674 w 10000"/>
                <a:gd name="connsiteY37" fmla="*/ 5857 h 10000"/>
                <a:gd name="connsiteX38" fmla="*/ 6512 w 10000"/>
                <a:gd name="connsiteY38" fmla="*/ 5571 h 10000"/>
                <a:gd name="connsiteX39" fmla="*/ 6047 w 10000"/>
                <a:gd name="connsiteY39" fmla="*/ 4857 h 10000"/>
                <a:gd name="connsiteX40" fmla="*/ 5581 w 10000"/>
                <a:gd name="connsiteY40" fmla="*/ 3714 h 10000"/>
                <a:gd name="connsiteX41" fmla="*/ 6047 w 10000"/>
                <a:gd name="connsiteY41" fmla="*/ 3286 h 10000"/>
                <a:gd name="connsiteX42" fmla="*/ 5814 w 10000"/>
                <a:gd name="connsiteY42" fmla="*/ 2286 h 10000"/>
                <a:gd name="connsiteX43" fmla="*/ 6977 w 10000"/>
                <a:gd name="connsiteY43" fmla="*/ 2286 h 10000"/>
                <a:gd name="connsiteX44" fmla="*/ 7442 w 10000"/>
                <a:gd name="connsiteY44" fmla="*/ 2857 h 10000"/>
                <a:gd name="connsiteX45" fmla="*/ 8372 w 10000"/>
                <a:gd name="connsiteY45" fmla="*/ 2857 h 10000"/>
                <a:gd name="connsiteX46" fmla="*/ 8372 w 10000"/>
                <a:gd name="connsiteY46" fmla="*/ 2429 h 10000"/>
                <a:gd name="connsiteX47" fmla="*/ 8605 w 10000"/>
                <a:gd name="connsiteY47" fmla="*/ 2143 h 10000"/>
                <a:gd name="connsiteX48" fmla="*/ 8837 w 10000"/>
                <a:gd name="connsiteY48" fmla="*/ 2286 h 10000"/>
                <a:gd name="connsiteX49" fmla="*/ 8605 w 10000"/>
                <a:gd name="connsiteY49" fmla="*/ 1429 h 10000"/>
                <a:gd name="connsiteX50" fmla="*/ 9070 w 10000"/>
                <a:gd name="connsiteY50" fmla="*/ 857 h 10000"/>
                <a:gd name="connsiteX51" fmla="*/ 9070 w 10000"/>
                <a:gd name="connsiteY51" fmla="*/ 286 h 10000"/>
                <a:gd name="connsiteX52" fmla="*/ 8605 w 10000"/>
                <a:gd name="connsiteY52" fmla="*/ 0 h 10000"/>
                <a:gd name="connsiteX53" fmla="*/ 8140 w 10000"/>
                <a:gd name="connsiteY53" fmla="*/ 0 h 10000"/>
                <a:gd name="connsiteX54" fmla="*/ 6512 w 10000"/>
                <a:gd name="connsiteY54" fmla="*/ 143 h 10000"/>
                <a:gd name="connsiteX55" fmla="*/ 6279 w 10000"/>
                <a:gd name="connsiteY55" fmla="*/ 0 h 10000"/>
                <a:gd name="connsiteX56" fmla="*/ 6279 w 10000"/>
                <a:gd name="connsiteY56" fmla="*/ 714 h 10000"/>
                <a:gd name="connsiteX57" fmla="*/ 6279 w 10000"/>
                <a:gd name="connsiteY57" fmla="*/ 857 h 10000"/>
                <a:gd name="connsiteX0" fmla="*/ 6279 w 10000"/>
                <a:gd name="connsiteY0" fmla="*/ 857 h 10000"/>
                <a:gd name="connsiteX1" fmla="*/ 5349 w 10000"/>
                <a:gd name="connsiteY1" fmla="*/ 1857 h 10000"/>
                <a:gd name="connsiteX2" fmla="*/ 4884 w 10000"/>
                <a:gd name="connsiteY2" fmla="*/ 2857 h 10000"/>
                <a:gd name="connsiteX3" fmla="*/ 5116 w 10000"/>
                <a:gd name="connsiteY3" fmla="*/ 3714 h 10000"/>
                <a:gd name="connsiteX4" fmla="*/ 4651 w 10000"/>
                <a:gd name="connsiteY4" fmla="*/ 6857 h 10000"/>
                <a:gd name="connsiteX5" fmla="*/ 5349 w 10000"/>
                <a:gd name="connsiteY5" fmla="*/ 7429 h 10000"/>
                <a:gd name="connsiteX6" fmla="*/ 5349 w 10000"/>
                <a:gd name="connsiteY6" fmla="*/ 7714 h 10000"/>
                <a:gd name="connsiteX7" fmla="*/ 3953 w 10000"/>
                <a:gd name="connsiteY7" fmla="*/ 7286 h 10000"/>
                <a:gd name="connsiteX8" fmla="*/ 2558 w 10000"/>
                <a:gd name="connsiteY8" fmla="*/ 6857 h 10000"/>
                <a:gd name="connsiteX9" fmla="*/ 1395 w 10000"/>
                <a:gd name="connsiteY9" fmla="*/ 6857 h 10000"/>
                <a:gd name="connsiteX10" fmla="*/ 1395 w 10000"/>
                <a:gd name="connsiteY10" fmla="*/ 7429 h 10000"/>
                <a:gd name="connsiteX11" fmla="*/ 0 w 10000"/>
                <a:gd name="connsiteY11" fmla="*/ 7571 h 10000"/>
                <a:gd name="connsiteX12" fmla="*/ 0 w 10000"/>
                <a:gd name="connsiteY12" fmla="*/ 9143 h 10000"/>
                <a:gd name="connsiteX13" fmla="*/ 465 w 10000"/>
                <a:gd name="connsiteY13" fmla="*/ 9714 h 10000"/>
                <a:gd name="connsiteX14" fmla="*/ 1395 w 10000"/>
                <a:gd name="connsiteY14" fmla="*/ 9714 h 10000"/>
                <a:gd name="connsiteX15" fmla="*/ 1860 w 10000"/>
                <a:gd name="connsiteY15" fmla="*/ 9857 h 10000"/>
                <a:gd name="connsiteX16" fmla="*/ 1628 w 10000"/>
                <a:gd name="connsiteY16" fmla="*/ 9857 h 10000"/>
                <a:gd name="connsiteX17" fmla="*/ 2093 w 10000"/>
                <a:gd name="connsiteY17" fmla="*/ 10000 h 10000"/>
                <a:gd name="connsiteX18" fmla="*/ 2558 w 10000"/>
                <a:gd name="connsiteY18" fmla="*/ 9857 h 10000"/>
                <a:gd name="connsiteX19" fmla="*/ 3488 w 10000"/>
                <a:gd name="connsiteY19" fmla="*/ 10000 h 10000"/>
                <a:gd name="connsiteX20" fmla="*/ 4186 w 10000"/>
                <a:gd name="connsiteY20" fmla="*/ 9571 h 10000"/>
                <a:gd name="connsiteX21" fmla="*/ 5116 w 10000"/>
                <a:gd name="connsiteY21" fmla="*/ 9000 h 10000"/>
                <a:gd name="connsiteX22" fmla="*/ 5814 w 10000"/>
                <a:gd name="connsiteY22" fmla="*/ 8857 h 10000"/>
                <a:gd name="connsiteX23" fmla="*/ 5581 w 10000"/>
                <a:gd name="connsiteY23" fmla="*/ 8857 h 10000"/>
                <a:gd name="connsiteX24" fmla="*/ 5581 w 10000"/>
                <a:gd name="connsiteY24" fmla="*/ 8714 h 10000"/>
                <a:gd name="connsiteX25" fmla="*/ 7674 w 10000"/>
                <a:gd name="connsiteY25" fmla="*/ 8143 h 10000"/>
                <a:gd name="connsiteX26" fmla="*/ 8605 w 10000"/>
                <a:gd name="connsiteY26" fmla="*/ 8429 h 10000"/>
                <a:gd name="connsiteX27" fmla="*/ 9070 w 10000"/>
                <a:gd name="connsiteY27" fmla="*/ 8857 h 10000"/>
                <a:gd name="connsiteX28" fmla="*/ 9302 w 10000"/>
                <a:gd name="connsiteY28" fmla="*/ 9143 h 10000"/>
                <a:gd name="connsiteX29" fmla="*/ 10000 w 10000"/>
                <a:gd name="connsiteY29" fmla="*/ 8857 h 10000"/>
                <a:gd name="connsiteX30" fmla="*/ 10000 w 10000"/>
                <a:gd name="connsiteY30" fmla="*/ 8429 h 10000"/>
                <a:gd name="connsiteX31" fmla="*/ 9302 w 10000"/>
                <a:gd name="connsiteY31" fmla="*/ 7714 h 10000"/>
                <a:gd name="connsiteX32" fmla="*/ 9302 w 10000"/>
                <a:gd name="connsiteY32" fmla="*/ 7000 h 10000"/>
                <a:gd name="connsiteX33" fmla="*/ 9535 w 10000"/>
                <a:gd name="connsiteY33" fmla="*/ 7000 h 10000"/>
                <a:gd name="connsiteX34" fmla="*/ 9070 w 10000"/>
                <a:gd name="connsiteY34" fmla="*/ 6286 h 10000"/>
                <a:gd name="connsiteX35" fmla="*/ 8837 w 10000"/>
                <a:gd name="connsiteY35" fmla="*/ 6000 h 10000"/>
                <a:gd name="connsiteX36" fmla="*/ 7674 w 10000"/>
                <a:gd name="connsiteY36" fmla="*/ 5857 h 10000"/>
                <a:gd name="connsiteX37" fmla="*/ 6512 w 10000"/>
                <a:gd name="connsiteY37" fmla="*/ 5571 h 10000"/>
                <a:gd name="connsiteX38" fmla="*/ 6047 w 10000"/>
                <a:gd name="connsiteY38" fmla="*/ 4857 h 10000"/>
                <a:gd name="connsiteX39" fmla="*/ 5581 w 10000"/>
                <a:gd name="connsiteY39" fmla="*/ 3714 h 10000"/>
                <a:gd name="connsiteX40" fmla="*/ 6047 w 10000"/>
                <a:gd name="connsiteY40" fmla="*/ 3286 h 10000"/>
                <a:gd name="connsiteX41" fmla="*/ 5814 w 10000"/>
                <a:gd name="connsiteY41" fmla="*/ 2286 h 10000"/>
                <a:gd name="connsiteX42" fmla="*/ 6977 w 10000"/>
                <a:gd name="connsiteY42" fmla="*/ 2286 h 10000"/>
                <a:gd name="connsiteX43" fmla="*/ 7442 w 10000"/>
                <a:gd name="connsiteY43" fmla="*/ 2857 h 10000"/>
                <a:gd name="connsiteX44" fmla="*/ 8372 w 10000"/>
                <a:gd name="connsiteY44" fmla="*/ 2857 h 10000"/>
                <a:gd name="connsiteX45" fmla="*/ 8372 w 10000"/>
                <a:gd name="connsiteY45" fmla="*/ 2429 h 10000"/>
                <a:gd name="connsiteX46" fmla="*/ 8605 w 10000"/>
                <a:gd name="connsiteY46" fmla="*/ 2143 h 10000"/>
                <a:gd name="connsiteX47" fmla="*/ 8837 w 10000"/>
                <a:gd name="connsiteY47" fmla="*/ 2286 h 10000"/>
                <a:gd name="connsiteX48" fmla="*/ 8605 w 10000"/>
                <a:gd name="connsiteY48" fmla="*/ 1429 h 10000"/>
                <a:gd name="connsiteX49" fmla="*/ 9070 w 10000"/>
                <a:gd name="connsiteY49" fmla="*/ 857 h 10000"/>
                <a:gd name="connsiteX50" fmla="*/ 9070 w 10000"/>
                <a:gd name="connsiteY50" fmla="*/ 286 h 10000"/>
                <a:gd name="connsiteX51" fmla="*/ 8605 w 10000"/>
                <a:gd name="connsiteY51" fmla="*/ 0 h 10000"/>
                <a:gd name="connsiteX52" fmla="*/ 8140 w 10000"/>
                <a:gd name="connsiteY52" fmla="*/ 0 h 10000"/>
                <a:gd name="connsiteX53" fmla="*/ 6512 w 10000"/>
                <a:gd name="connsiteY53" fmla="*/ 143 h 10000"/>
                <a:gd name="connsiteX54" fmla="*/ 6279 w 10000"/>
                <a:gd name="connsiteY54" fmla="*/ 0 h 10000"/>
                <a:gd name="connsiteX55" fmla="*/ 6279 w 10000"/>
                <a:gd name="connsiteY55" fmla="*/ 714 h 10000"/>
                <a:gd name="connsiteX56" fmla="*/ 6279 w 10000"/>
                <a:gd name="connsiteY56" fmla="*/ 857 h 10000"/>
                <a:gd name="connsiteX0" fmla="*/ 6279 w 10000"/>
                <a:gd name="connsiteY0" fmla="*/ 857 h 10000"/>
                <a:gd name="connsiteX1" fmla="*/ 5349 w 10000"/>
                <a:gd name="connsiteY1" fmla="*/ 1857 h 10000"/>
                <a:gd name="connsiteX2" fmla="*/ 4884 w 10000"/>
                <a:gd name="connsiteY2" fmla="*/ 2857 h 10000"/>
                <a:gd name="connsiteX3" fmla="*/ 5116 w 10000"/>
                <a:gd name="connsiteY3" fmla="*/ 3714 h 10000"/>
                <a:gd name="connsiteX4" fmla="*/ 5349 w 10000"/>
                <a:gd name="connsiteY4" fmla="*/ 7429 h 10000"/>
                <a:gd name="connsiteX5" fmla="*/ 5349 w 10000"/>
                <a:gd name="connsiteY5" fmla="*/ 7714 h 10000"/>
                <a:gd name="connsiteX6" fmla="*/ 3953 w 10000"/>
                <a:gd name="connsiteY6" fmla="*/ 7286 h 10000"/>
                <a:gd name="connsiteX7" fmla="*/ 2558 w 10000"/>
                <a:gd name="connsiteY7" fmla="*/ 6857 h 10000"/>
                <a:gd name="connsiteX8" fmla="*/ 1395 w 10000"/>
                <a:gd name="connsiteY8" fmla="*/ 6857 h 10000"/>
                <a:gd name="connsiteX9" fmla="*/ 1395 w 10000"/>
                <a:gd name="connsiteY9" fmla="*/ 7429 h 10000"/>
                <a:gd name="connsiteX10" fmla="*/ 0 w 10000"/>
                <a:gd name="connsiteY10" fmla="*/ 7571 h 10000"/>
                <a:gd name="connsiteX11" fmla="*/ 0 w 10000"/>
                <a:gd name="connsiteY11" fmla="*/ 9143 h 10000"/>
                <a:gd name="connsiteX12" fmla="*/ 465 w 10000"/>
                <a:gd name="connsiteY12" fmla="*/ 9714 h 10000"/>
                <a:gd name="connsiteX13" fmla="*/ 1395 w 10000"/>
                <a:gd name="connsiteY13" fmla="*/ 9714 h 10000"/>
                <a:gd name="connsiteX14" fmla="*/ 1860 w 10000"/>
                <a:gd name="connsiteY14" fmla="*/ 9857 h 10000"/>
                <a:gd name="connsiteX15" fmla="*/ 1628 w 10000"/>
                <a:gd name="connsiteY15" fmla="*/ 9857 h 10000"/>
                <a:gd name="connsiteX16" fmla="*/ 2093 w 10000"/>
                <a:gd name="connsiteY16" fmla="*/ 10000 h 10000"/>
                <a:gd name="connsiteX17" fmla="*/ 2558 w 10000"/>
                <a:gd name="connsiteY17" fmla="*/ 9857 h 10000"/>
                <a:gd name="connsiteX18" fmla="*/ 3488 w 10000"/>
                <a:gd name="connsiteY18" fmla="*/ 10000 h 10000"/>
                <a:gd name="connsiteX19" fmla="*/ 4186 w 10000"/>
                <a:gd name="connsiteY19" fmla="*/ 9571 h 10000"/>
                <a:gd name="connsiteX20" fmla="*/ 5116 w 10000"/>
                <a:gd name="connsiteY20" fmla="*/ 9000 h 10000"/>
                <a:gd name="connsiteX21" fmla="*/ 5814 w 10000"/>
                <a:gd name="connsiteY21" fmla="*/ 8857 h 10000"/>
                <a:gd name="connsiteX22" fmla="*/ 5581 w 10000"/>
                <a:gd name="connsiteY22" fmla="*/ 8857 h 10000"/>
                <a:gd name="connsiteX23" fmla="*/ 5581 w 10000"/>
                <a:gd name="connsiteY23" fmla="*/ 8714 h 10000"/>
                <a:gd name="connsiteX24" fmla="*/ 7674 w 10000"/>
                <a:gd name="connsiteY24" fmla="*/ 8143 h 10000"/>
                <a:gd name="connsiteX25" fmla="*/ 8605 w 10000"/>
                <a:gd name="connsiteY25" fmla="*/ 8429 h 10000"/>
                <a:gd name="connsiteX26" fmla="*/ 9070 w 10000"/>
                <a:gd name="connsiteY26" fmla="*/ 8857 h 10000"/>
                <a:gd name="connsiteX27" fmla="*/ 9302 w 10000"/>
                <a:gd name="connsiteY27" fmla="*/ 9143 h 10000"/>
                <a:gd name="connsiteX28" fmla="*/ 10000 w 10000"/>
                <a:gd name="connsiteY28" fmla="*/ 8857 h 10000"/>
                <a:gd name="connsiteX29" fmla="*/ 10000 w 10000"/>
                <a:gd name="connsiteY29" fmla="*/ 8429 h 10000"/>
                <a:gd name="connsiteX30" fmla="*/ 9302 w 10000"/>
                <a:gd name="connsiteY30" fmla="*/ 7714 h 10000"/>
                <a:gd name="connsiteX31" fmla="*/ 9302 w 10000"/>
                <a:gd name="connsiteY31" fmla="*/ 7000 h 10000"/>
                <a:gd name="connsiteX32" fmla="*/ 9535 w 10000"/>
                <a:gd name="connsiteY32" fmla="*/ 7000 h 10000"/>
                <a:gd name="connsiteX33" fmla="*/ 9070 w 10000"/>
                <a:gd name="connsiteY33" fmla="*/ 6286 h 10000"/>
                <a:gd name="connsiteX34" fmla="*/ 8837 w 10000"/>
                <a:gd name="connsiteY34" fmla="*/ 6000 h 10000"/>
                <a:gd name="connsiteX35" fmla="*/ 7674 w 10000"/>
                <a:gd name="connsiteY35" fmla="*/ 5857 h 10000"/>
                <a:gd name="connsiteX36" fmla="*/ 6512 w 10000"/>
                <a:gd name="connsiteY36" fmla="*/ 5571 h 10000"/>
                <a:gd name="connsiteX37" fmla="*/ 6047 w 10000"/>
                <a:gd name="connsiteY37" fmla="*/ 4857 h 10000"/>
                <a:gd name="connsiteX38" fmla="*/ 5581 w 10000"/>
                <a:gd name="connsiteY38" fmla="*/ 3714 h 10000"/>
                <a:gd name="connsiteX39" fmla="*/ 6047 w 10000"/>
                <a:gd name="connsiteY39" fmla="*/ 3286 h 10000"/>
                <a:gd name="connsiteX40" fmla="*/ 5814 w 10000"/>
                <a:gd name="connsiteY40" fmla="*/ 2286 h 10000"/>
                <a:gd name="connsiteX41" fmla="*/ 6977 w 10000"/>
                <a:gd name="connsiteY41" fmla="*/ 2286 h 10000"/>
                <a:gd name="connsiteX42" fmla="*/ 7442 w 10000"/>
                <a:gd name="connsiteY42" fmla="*/ 2857 h 10000"/>
                <a:gd name="connsiteX43" fmla="*/ 8372 w 10000"/>
                <a:gd name="connsiteY43" fmla="*/ 2857 h 10000"/>
                <a:gd name="connsiteX44" fmla="*/ 8372 w 10000"/>
                <a:gd name="connsiteY44" fmla="*/ 2429 h 10000"/>
                <a:gd name="connsiteX45" fmla="*/ 8605 w 10000"/>
                <a:gd name="connsiteY45" fmla="*/ 2143 h 10000"/>
                <a:gd name="connsiteX46" fmla="*/ 8837 w 10000"/>
                <a:gd name="connsiteY46" fmla="*/ 2286 h 10000"/>
                <a:gd name="connsiteX47" fmla="*/ 8605 w 10000"/>
                <a:gd name="connsiteY47" fmla="*/ 1429 h 10000"/>
                <a:gd name="connsiteX48" fmla="*/ 9070 w 10000"/>
                <a:gd name="connsiteY48" fmla="*/ 857 h 10000"/>
                <a:gd name="connsiteX49" fmla="*/ 9070 w 10000"/>
                <a:gd name="connsiteY49" fmla="*/ 286 h 10000"/>
                <a:gd name="connsiteX50" fmla="*/ 8605 w 10000"/>
                <a:gd name="connsiteY50" fmla="*/ 0 h 10000"/>
                <a:gd name="connsiteX51" fmla="*/ 8140 w 10000"/>
                <a:gd name="connsiteY51" fmla="*/ 0 h 10000"/>
                <a:gd name="connsiteX52" fmla="*/ 6512 w 10000"/>
                <a:gd name="connsiteY52" fmla="*/ 143 h 10000"/>
                <a:gd name="connsiteX53" fmla="*/ 6279 w 10000"/>
                <a:gd name="connsiteY53" fmla="*/ 0 h 10000"/>
                <a:gd name="connsiteX54" fmla="*/ 6279 w 10000"/>
                <a:gd name="connsiteY54" fmla="*/ 714 h 10000"/>
                <a:gd name="connsiteX55" fmla="*/ 6279 w 10000"/>
                <a:gd name="connsiteY55" fmla="*/ 857 h 10000"/>
                <a:gd name="connsiteX0" fmla="*/ 6279 w 10000"/>
                <a:gd name="connsiteY0" fmla="*/ 857 h 10000"/>
                <a:gd name="connsiteX1" fmla="*/ 5349 w 10000"/>
                <a:gd name="connsiteY1" fmla="*/ 1857 h 10000"/>
                <a:gd name="connsiteX2" fmla="*/ 4884 w 10000"/>
                <a:gd name="connsiteY2" fmla="*/ 2857 h 10000"/>
                <a:gd name="connsiteX3" fmla="*/ 5116 w 10000"/>
                <a:gd name="connsiteY3" fmla="*/ 3714 h 10000"/>
                <a:gd name="connsiteX4" fmla="*/ 5349 w 10000"/>
                <a:gd name="connsiteY4" fmla="*/ 7714 h 10000"/>
                <a:gd name="connsiteX5" fmla="*/ 3953 w 10000"/>
                <a:gd name="connsiteY5" fmla="*/ 7286 h 10000"/>
                <a:gd name="connsiteX6" fmla="*/ 2558 w 10000"/>
                <a:gd name="connsiteY6" fmla="*/ 6857 h 10000"/>
                <a:gd name="connsiteX7" fmla="*/ 1395 w 10000"/>
                <a:gd name="connsiteY7" fmla="*/ 6857 h 10000"/>
                <a:gd name="connsiteX8" fmla="*/ 1395 w 10000"/>
                <a:gd name="connsiteY8" fmla="*/ 7429 h 10000"/>
                <a:gd name="connsiteX9" fmla="*/ 0 w 10000"/>
                <a:gd name="connsiteY9" fmla="*/ 7571 h 10000"/>
                <a:gd name="connsiteX10" fmla="*/ 0 w 10000"/>
                <a:gd name="connsiteY10" fmla="*/ 9143 h 10000"/>
                <a:gd name="connsiteX11" fmla="*/ 465 w 10000"/>
                <a:gd name="connsiteY11" fmla="*/ 9714 h 10000"/>
                <a:gd name="connsiteX12" fmla="*/ 1395 w 10000"/>
                <a:gd name="connsiteY12" fmla="*/ 9714 h 10000"/>
                <a:gd name="connsiteX13" fmla="*/ 1860 w 10000"/>
                <a:gd name="connsiteY13" fmla="*/ 9857 h 10000"/>
                <a:gd name="connsiteX14" fmla="*/ 1628 w 10000"/>
                <a:gd name="connsiteY14" fmla="*/ 9857 h 10000"/>
                <a:gd name="connsiteX15" fmla="*/ 2093 w 10000"/>
                <a:gd name="connsiteY15" fmla="*/ 10000 h 10000"/>
                <a:gd name="connsiteX16" fmla="*/ 2558 w 10000"/>
                <a:gd name="connsiteY16" fmla="*/ 9857 h 10000"/>
                <a:gd name="connsiteX17" fmla="*/ 3488 w 10000"/>
                <a:gd name="connsiteY17" fmla="*/ 10000 h 10000"/>
                <a:gd name="connsiteX18" fmla="*/ 4186 w 10000"/>
                <a:gd name="connsiteY18" fmla="*/ 9571 h 10000"/>
                <a:gd name="connsiteX19" fmla="*/ 5116 w 10000"/>
                <a:gd name="connsiteY19" fmla="*/ 9000 h 10000"/>
                <a:gd name="connsiteX20" fmla="*/ 5814 w 10000"/>
                <a:gd name="connsiteY20" fmla="*/ 8857 h 10000"/>
                <a:gd name="connsiteX21" fmla="*/ 5581 w 10000"/>
                <a:gd name="connsiteY21" fmla="*/ 8857 h 10000"/>
                <a:gd name="connsiteX22" fmla="*/ 5581 w 10000"/>
                <a:gd name="connsiteY22" fmla="*/ 8714 h 10000"/>
                <a:gd name="connsiteX23" fmla="*/ 7674 w 10000"/>
                <a:gd name="connsiteY23" fmla="*/ 8143 h 10000"/>
                <a:gd name="connsiteX24" fmla="*/ 8605 w 10000"/>
                <a:gd name="connsiteY24" fmla="*/ 8429 h 10000"/>
                <a:gd name="connsiteX25" fmla="*/ 9070 w 10000"/>
                <a:gd name="connsiteY25" fmla="*/ 8857 h 10000"/>
                <a:gd name="connsiteX26" fmla="*/ 9302 w 10000"/>
                <a:gd name="connsiteY26" fmla="*/ 9143 h 10000"/>
                <a:gd name="connsiteX27" fmla="*/ 10000 w 10000"/>
                <a:gd name="connsiteY27" fmla="*/ 8857 h 10000"/>
                <a:gd name="connsiteX28" fmla="*/ 10000 w 10000"/>
                <a:gd name="connsiteY28" fmla="*/ 8429 h 10000"/>
                <a:gd name="connsiteX29" fmla="*/ 9302 w 10000"/>
                <a:gd name="connsiteY29" fmla="*/ 7714 h 10000"/>
                <a:gd name="connsiteX30" fmla="*/ 9302 w 10000"/>
                <a:gd name="connsiteY30" fmla="*/ 7000 h 10000"/>
                <a:gd name="connsiteX31" fmla="*/ 9535 w 10000"/>
                <a:gd name="connsiteY31" fmla="*/ 7000 h 10000"/>
                <a:gd name="connsiteX32" fmla="*/ 9070 w 10000"/>
                <a:gd name="connsiteY32" fmla="*/ 6286 h 10000"/>
                <a:gd name="connsiteX33" fmla="*/ 8837 w 10000"/>
                <a:gd name="connsiteY33" fmla="*/ 6000 h 10000"/>
                <a:gd name="connsiteX34" fmla="*/ 7674 w 10000"/>
                <a:gd name="connsiteY34" fmla="*/ 5857 h 10000"/>
                <a:gd name="connsiteX35" fmla="*/ 6512 w 10000"/>
                <a:gd name="connsiteY35" fmla="*/ 5571 h 10000"/>
                <a:gd name="connsiteX36" fmla="*/ 6047 w 10000"/>
                <a:gd name="connsiteY36" fmla="*/ 4857 h 10000"/>
                <a:gd name="connsiteX37" fmla="*/ 5581 w 10000"/>
                <a:gd name="connsiteY37" fmla="*/ 3714 h 10000"/>
                <a:gd name="connsiteX38" fmla="*/ 6047 w 10000"/>
                <a:gd name="connsiteY38" fmla="*/ 3286 h 10000"/>
                <a:gd name="connsiteX39" fmla="*/ 5814 w 10000"/>
                <a:gd name="connsiteY39" fmla="*/ 2286 h 10000"/>
                <a:gd name="connsiteX40" fmla="*/ 6977 w 10000"/>
                <a:gd name="connsiteY40" fmla="*/ 2286 h 10000"/>
                <a:gd name="connsiteX41" fmla="*/ 7442 w 10000"/>
                <a:gd name="connsiteY41" fmla="*/ 2857 h 10000"/>
                <a:gd name="connsiteX42" fmla="*/ 8372 w 10000"/>
                <a:gd name="connsiteY42" fmla="*/ 2857 h 10000"/>
                <a:gd name="connsiteX43" fmla="*/ 8372 w 10000"/>
                <a:gd name="connsiteY43" fmla="*/ 2429 h 10000"/>
                <a:gd name="connsiteX44" fmla="*/ 8605 w 10000"/>
                <a:gd name="connsiteY44" fmla="*/ 2143 h 10000"/>
                <a:gd name="connsiteX45" fmla="*/ 8837 w 10000"/>
                <a:gd name="connsiteY45" fmla="*/ 2286 h 10000"/>
                <a:gd name="connsiteX46" fmla="*/ 8605 w 10000"/>
                <a:gd name="connsiteY46" fmla="*/ 1429 h 10000"/>
                <a:gd name="connsiteX47" fmla="*/ 9070 w 10000"/>
                <a:gd name="connsiteY47" fmla="*/ 857 h 10000"/>
                <a:gd name="connsiteX48" fmla="*/ 9070 w 10000"/>
                <a:gd name="connsiteY48" fmla="*/ 286 h 10000"/>
                <a:gd name="connsiteX49" fmla="*/ 8605 w 10000"/>
                <a:gd name="connsiteY49" fmla="*/ 0 h 10000"/>
                <a:gd name="connsiteX50" fmla="*/ 8140 w 10000"/>
                <a:gd name="connsiteY50" fmla="*/ 0 h 10000"/>
                <a:gd name="connsiteX51" fmla="*/ 6512 w 10000"/>
                <a:gd name="connsiteY51" fmla="*/ 143 h 10000"/>
                <a:gd name="connsiteX52" fmla="*/ 6279 w 10000"/>
                <a:gd name="connsiteY52" fmla="*/ 0 h 10000"/>
                <a:gd name="connsiteX53" fmla="*/ 6279 w 10000"/>
                <a:gd name="connsiteY53" fmla="*/ 714 h 10000"/>
                <a:gd name="connsiteX54" fmla="*/ 6279 w 10000"/>
                <a:gd name="connsiteY54" fmla="*/ 857 h 10000"/>
                <a:gd name="connsiteX0" fmla="*/ 6279 w 10000"/>
                <a:gd name="connsiteY0" fmla="*/ 857 h 10000"/>
                <a:gd name="connsiteX1" fmla="*/ 5349 w 10000"/>
                <a:gd name="connsiteY1" fmla="*/ 1857 h 10000"/>
                <a:gd name="connsiteX2" fmla="*/ 4884 w 10000"/>
                <a:gd name="connsiteY2" fmla="*/ 2857 h 10000"/>
                <a:gd name="connsiteX3" fmla="*/ 5116 w 10000"/>
                <a:gd name="connsiteY3" fmla="*/ 3714 h 10000"/>
                <a:gd name="connsiteX4" fmla="*/ 3953 w 10000"/>
                <a:gd name="connsiteY4" fmla="*/ 7286 h 10000"/>
                <a:gd name="connsiteX5" fmla="*/ 2558 w 10000"/>
                <a:gd name="connsiteY5" fmla="*/ 6857 h 10000"/>
                <a:gd name="connsiteX6" fmla="*/ 1395 w 10000"/>
                <a:gd name="connsiteY6" fmla="*/ 6857 h 10000"/>
                <a:gd name="connsiteX7" fmla="*/ 1395 w 10000"/>
                <a:gd name="connsiteY7" fmla="*/ 7429 h 10000"/>
                <a:gd name="connsiteX8" fmla="*/ 0 w 10000"/>
                <a:gd name="connsiteY8" fmla="*/ 7571 h 10000"/>
                <a:gd name="connsiteX9" fmla="*/ 0 w 10000"/>
                <a:gd name="connsiteY9" fmla="*/ 9143 h 10000"/>
                <a:gd name="connsiteX10" fmla="*/ 465 w 10000"/>
                <a:gd name="connsiteY10" fmla="*/ 9714 h 10000"/>
                <a:gd name="connsiteX11" fmla="*/ 1395 w 10000"/>
                <a:gd name="connsiteY11" fmla="*/ 9714 h 10000"/>
                <a:gd name="connsiteX12" fmla="*/ 1860 w 10000"/>
                <a:gd name="connsiteY12" fmla="*/ 9857 h 10000"/>
                <a:gd name="connsiteX13" fmla="*/ 1628 w 10000"/>
                <a:gd name="connsiteY13" fmla="*/ 9857 h 10000"/>
                <a:gd name="connsiteX14" fmla="*/ 2093 w 10000"/>
                <a:gd name="connsiteY14" fmla="*/ 10000 h 10000"/>
                <a:gd name="connsiteX15" fmla="*/ 2558 w 10000"/>
                <a:gd name="connsiteY15" fmla="*/ 9857 h 10000"/>
                <a:gd name="connsiteX16" fmla="*/ 3488 w 10000"/>
                <a:gd name="connsiteY16" fmla="*/ 10000 h 10000"/>
                <a:gd name="connsiteX17" fmla="*/ 4186 w 10000"/>
                <a:gd name="connsiteY17" fmla="*/ 9571 h 10000"/>
                <a:gd name="connsiteX18" fmla="*/ 5116 w 10000"/>
                <a:gd name="connsiteY18" fmla="*/ 9000 h 10000"/>
                <a:gd name="connsiteX19" fmla="*/ 5814 w 10000"/>
                <a:gd name="connsiteY19" fmla="*/ 8857 h 10000"/>
                <a:gd name="connsiteX20" fmla="*/ 5581 w 10000"/>
                <a:gd name="connsiteY20" fmla="*/ 8857 h 10000"/>
                <a:gd name="connsiteX21" fmla="*/ 5581 w 10000"/>
                <a:gd name="connsiteY21" fmla="*/ 8714 h 10000"/>
                <a:gd name="connsiteX22" fmla="*/ 7674 w 10000"/>
                <a:gd name="connsiteY22" fmla="*/ 8143 h 10000"/>
                <a:gd name="connsiteX23" fmla="*/ 8605 w 10000"/>
                <a:gd name="connsiteY23" fmla="*/ 8429 h 10000"/>
                <a:gd name="connsiteX24" fmla="*/ 9070 w 10000"/>
                <a:gd name="connsiteY24" fmla="*/ 8857 h 10000"/>
                <a:gd name="connsiteX25" fmla="*/ 9302 w 10000"/>
                <a:gd name="connsiteY25" fmla="*/ 9143 h 10000"/>
                <a:gd name="connsiteX26" fmla="*/ 10000 w 10000"/>
                <a:gd name="connsiteY26" fmla="*/ 8857 h 10000"/>
                <a:gd name="connsiteX27" fmla="*/ 10000 w 10000"/>
                <a:gd name="connsiteY27" fmla="*/ 8429 h 10000"/>
                <a:gd name="connsiteX28" fmla="*/ 9302 w 10000"/>
                <a:gd name="connsiteY28" fmla="*/ 7714 h 10000"/>
                <a:gd name="connsiteX29" fmla="*/ 9302 w 10000"/>
                <a:gd name="connsiteY29" fmla="*/ 7000 h 10000"/>
                <a:gd name="connsiteX30" fmla="*/ 9535 w 10000"/>
                <a:gd name="connsiteY30" fmla="*/ 7000 h 10000"/>
                <a:gd name="connsiteX31" fmla="*/ 9070 w 10000"/>
                <a:gd name="connsiteY31" fmla="*/ 6286 h 10000"/>
                <a:gd name="connsiteX32" fmla="*/ 8837 w 10000"/>
                <a:gd name="connsiteY32" fmla="*/ 6000 h 10000"/>
                <a:gd name="connsiteX33" fmla="*/ 7674 w 10000"/>
                <a:gd name="connsiteY33" fmla="*/ 5857 h 10000"/>
                <a:gd name="connsiteX34" fmla="*/ 6512 w 10000"/>
                <a:gd name="connsiteY34" fmla="*/ 5571 h 10000"/>
                <a:gd name="connsiteX35" fmla="*/ 6047 w 10000"/>
                <a:gd name="connsiteY35" fmla="*/ 4857 h 10000"/>
                <a:gd name="connsiteX36" fmla="*/ 5581 w 10000"/>
                <a:gd name="connsiteY36" fmla="*/ 3714 h 10000"/>
                <a:gd name="connsiteX37" fmla="*/ 6047 w 10000"/>
                <a:gd name="connsiteY37" fmla="*/ 3286 h 10000"/>
                <a:gd name="connsiteX38" fmla="*/ 5814 w 10000"/>
                <a:gd name="connsiteY38" fmla="*/ 2286 h 10000"/>
                <a:gd name="connsiteX39" fmla="*/ 6977 w 10000"/>
                <a:gd name="connsiteY39" fmla="*/ 2286 h 10000"/>
                <a:gd name="connsiteX40" fmla="*/ 7442 w 10000"/>
                <a:gd name="connsiteY40" fmla="*/ 2857 h 10000"/>
                <a:gd name="connsiteX41" fmla="*/ 8372 w 10000"/>
                <a:gd name="connsiteY41" fmla="*/ 2857 h 10000"/>
                <a:gd name="connsiteX42" fmla="*/ 8372 w 10000"/>
                <a:gd name="connsiteY42" fmla="*/ 2429 h 10000"/>
                <a:gd name="connsiteX43" fmla="*/ 8605 w 10000"/>
                <a:gd name="connsiteY43" fmla="*/ 2143 h 10000"/>
                <a:gd name="connsiteX44" fmla="*/ 8837 w 10000"/>
                <a:gd name="connsiteY44" fmla="*/ 2286 h 10000"/>
                <a:gd name="connsiteX45" fmla="*/ 8605 w 10000"/>
                <a:gd name="connsiteY45" fmla="*/ 1429 h 10000"/>
                <a:gd name="connsiteX46" fmla="*/ 9070 w 10000"/>
                <a:gd name="connsiteY46" fmla="*/ 857 h 10000"/>
                <a:gd name="connsiteX47" fmla="*/ 9070 w 10000"/>
                <a:gd name="connsiteY47" fmla="*/ 286 h 10000"/>
                <a:gd name="connsiteX48" fmla="*/ 8605 w 10000"/>
                <a:gd name="connsiteY48" fmla="*/ 0 h 10000"/>
                <a:gd name="connsiteX49" fmla="*/ 8140 w 10000"/>
                <a:gd name="connsiteY49" fmla="*/ 0 h 10000"/>
                <a:gd name="connsiteX50" fmla="*/ 6512 w 10000"/>
                <a:gd name="connsiteY50" fmla="*/ 143 h 10000"/>
                <a:gd name="connsiteX51" fmla="*/ 6279 w 10000"/>
                <a:gd name="connsiteY51" fmla="*/ 0 h 10000"/>
                <a:gd name="connsiteX52" fmla="*/ 6279 w 10000"/>
                <a:gd name="connsiteY52" fmla="*/ 714 h 10000"/>
                <a:gd name="connsiteX53" fmla="*/ 6279 w 10000"/>
                <a:gd name="connsiteY53" fmla="*/ 857 h 10000"/>
                <a:gd name="connsiteX0" fmla="*/ 6279 w 10000"/>
                <a:gd name="connsiteY0" fmla="*/ 857 h 10000"/>
                <a:gd name="connsiteX1" fmla="*/ 5349 w 10000"/>
                <a:gd name="connsiteY1" fmla="*/ 1857 h 10000"/>
                <a:gd name="connsiteX2" fmla="*/ 4884 w 10000"/>
                <a:gd name="connsiteY2" fmla="*/ 2857 h 10000"/>
                <a:gd name="connsiteX3" fmla="*/ 5116 w 10000"/>
                <a:gd name="connsiteY3" fmla="*/ 3714 h 10000"/>
                <a:gd name="connsiteX4" fmla="*/ 2558 w 10000"/>
                <a:gd name="connsiteY4" fmla="*/ 6857 h 10000"/>
                <a:gd name="connsiteX5" fmla="*/ 1395 w 10000"/>
                <a:gd name="connsiteY5" fmla="*/ 6857 h 10000"/>
                <a:gd name="connsiteX6" fmla="*/ 1395 w 10000"/>
                <a:gd name="connsiteY6" fmla="*/ 7429 h 10000"/>
                <a:gd name="connsiteX7" fmla="*/ 0 w 10000"/>
                <a:gd name="connsiteY7" fmla="*/ 7571 h 10000"/>
                <a:gd name="connsiteX8" fmla="*/ 0 w 10000"/>
                <a:gd name="connsiteY8" fmla="*/ 9143 h 10000"/>
                <a:gd name="connsiteX9" fmla="*/ 465 w 10000"/>
                <a:gd name="connsiteY9" fmla="*/ 9714 h 10000"/>
                <a:gd name="connsiteX10" fmla="*/ 1395 w 10000"/>
                <a:gd name="connsiteY10" fmla="*/ 9714 h 10000"/>
                <a:gd name="connsiteX11" fmla="*/ 1860 w 10000"/>
                <a:gd name="connsiteY11" fmla="*/ 9857 h 10000"/>
                <a:gd name="connsiteX12" fmla="*/ 1628 w 10000"/>
                <a:gd name="connsiteY12" fmla="*/ 9857 h 10000"/>
                <a:gd name="connsiteX13" fmla="*/ 2093 w 10000"/>
                <a:gd name="connsiteY13" fmla="*/ 10000 h 10000"/>
                <a:gd name="connsiteX14" fmla="*/ 2558 w 10000"/>
                <a:gd name="connsiteY14" fmla="*/ 9857 h 10000"/>
                <a:gd name="connsiteX15" fmla="*/ 3488 w 10000"/>
                <a:gd name="connsiteY15" fmla="*/ 10000 h 10000"/>
                <a:gd name="connsiteX16" fmla="*/ 4186 w 10000"/>
                <a:gd name="connsiteY16" fmla="*/ 9571 h 10000"/>
                <a:gd name="connsiteX17" fmla="*/ 5116 w 10000"/>
                <a:gd name="connsiteY17" fmla="*/ 9000 h 10000"/>
                <a:gd name="connsiteX18" fmla="*/ 5814 w 10000"/>
                <a:gd name="connsiteY18" fmla="*/ 8857 h 10000"/>
                <a:gd name="connsiteX19" fmla="*/ 5581 w 10000"/>
                <a:gd name="connsiteY19" fmla="*/ 8857 h 10000"/>
                <a:gd name="connsiteX20" fmla="*/ 5581 w 10000"/>
                <a:gd name="connsiteY20" fmla="*/ 8714 h 10000"/>
                <a:gd name="connsiteX21" fmla="*/ 7674 w 10000"/>
                <a:gd name="connsiteY21" fmla="*/ 8143 h 10000"/>
                <a:gd name="connsiteX22" fmla="*/ 8605 w 10000"/>
                <a:gd name="connsiteY22" fmla="*/ 8429 h 10000"/>
                <a:gd name="connsiteX23" fmla="*/ 9070 w 10000"/>
                <a:gd name="connsiteY23" fmla="*/ 8857 h 10000"/>
                <a:gd name="connsiteX24" fmla="*/ 9302 w 10000"/>
                <a:gd name="connsiteY24" fmla="*/ 9143 h 10000"/>
                <a:gd name="connsiteX25" fmla="*/ 10000 w 10000"/>
                <a:gd name="connsiteY25" fmla="*/ 8857 h 10000"/>
                <a:gd name="connsiteX26" fmla="*/ 10000 w 10000"/>
                <a:gd name="connsiteY26" fmla="*/ 8429 h 10000"/>
                <a:gd name="connsiteX27" fmla="*/ 9302 w 10000"/>
                <a:gd name="connsiteY27" fmla="*/ 7714 h 10000"/>
                <a:gd name="connsiteX28" fmla="*/ 9302 w 10000"/>
                <a:gd name="connsiteY28" fmla="*/ 7000 h 10000"/>
                <a:gd name="connsiteX29" fmla="*/ 9535 w 10000"/>
                <a:gd name="connsiteY29" fmla="*/ 7000 h 10000"/>
                <a:gd name="connsiteX30" fmla="*/ 9070 w 10000"/>
                <a:gd name="connsiteY30" fmla="*/ 6286 h 10000"/>
                <a:gd name="connsiteX31" fmla="*/ 8837 w 10000"/>
                <a:gd name="connsiteY31" fmla="*/ 6000 h 10000"/>
                <a:gd name="connsiteX32" fmla="*/ 7674 w 10000"/>
                <a:gd name="connsiteY32" fmla="*/ 5857 h 10000"/>
                <a:gd name="connsiteX33" fmla="*/ 6512 w 10000"/>
                <a:gd name="connsiteY33" fmla="*/ 5571 h 10000"/>
                <a:gd name="connsiteX34" fmla="*/ 6047 w 10000"/>
                <a:gd name="connsiteY34" fmla="*/ 4857 h 10000"/>
                <a:gd name="connsiteX35" fmla="*/ 5581 w 10000"/>
                <a:gd name="connsiteY35" fmla="*/ 3714 h 10000"/>
                <a:gd name="connsiteX36" fmla="*/ 6047 w 10000"/>
                <a:gd name="connsiteY36" fmla="*/ 3286 h 10000"/>
                <a:gd name="connsiteX37" fmla="*/ 5814 w 10000"/>
                <a:gd name="connsiteY37" fmla="*/ 2286 h 10000"/>
                <a:gd name="connsiteX38" fmla="*/ 6977 w 10000"/>
                <a:gd name="connsiteY38" fmla="*/ 2286 h 10000"/>
                <a:gd name="connsiteX39" fmla="*/ 7442 w 10000"/>
                <a:gd name="connsiteY39" fmla="*/ 2857 h 10000"/>
                <a:gd name="connsiteX40" fmla="*/ 8372 w 10000"/>
                <a:gd name="connsiteY40" fmla="*/ 2857 h 10000"/>
                <a:gd name="connsiteX41" fmla="*/ 8372 w 10000"/>
                <a:gd name="connsiteY41" fmla="*/ 2429 h 10000"/>
                <a:gd name="connsiteX42" fmla="*/ 8605 w 10000"/>
                <a:gd name="connsiteY42" fmla="*/ 2143 h 10000"/>
                <a:gd name="connsiteX43" fmla="*/ 8837 w 10000"/>
                <a:gd name="connsiteY43" fmla="*/ 2286 h 10000"/>
                <a:gd name="connsiteX44" fmla="*/ 8605 w 10000"/>
                <a:gd name="connsiteY44" fmla="*/ 1429 h 10000"/>
                <a:gd name="connsiteX45" fmla="*/ 9070 w 10000"/>
                <a:gd name="connsiteY45" fmla="*/ 857 h 10000"/>
                <a:gd name="connsiteX46" fmla="*/ 9070 w 10000"/>
                <a:gd name="connsiteY46" fmla="*/ 286 h 10000"/>
                <a:gd name="connsiteX47" fmla="*/ 8605 w 10000"/>
                <a:gd name="connsiteY47" fmla="*/ 0 h 10000"/>
                <a:gd name="connsiteX48" fmla="*/ 8140 w 10000"/>
                <a:gd name="connsiteY48" fmla="*/ 0 h 10000"/>
                <a:gd name="connsiteX49" fmla="*/ 6512 w 10000"/>
                <a:gd name="connsiteY49" fmla="*/ 143 h 10000"/>
                <a:gd name="connsiteX50" fmla="*/ 6279 w 10000"/>
                <a:gd name="connsiteY50" fmla="*/ 0 h 10000"/>
                <a:gd name="connsiteX51" fmla="*/ 6279 w 10000"/>
                <a:gd name="connsiteY51" fmla="*/ 714 h 10000"/>
                <a:gd name="connsiteX52" fmla="*/ 6279 w 10000"/>
                <a:gd name="connsiteY52" fmla="*/ 857 h 10000"/>
                <a:gd name="connsiteX0" fmla="*/ 6279 w 10000"/>
                <a:gd name="connsiteY0" fmla="*/ 857 h 10000"/>
                <a:gd name="connsiteX1" fmla="*/ 5349 w 10000"/>
                <a:gd name="connsiteY1" fmla="*/ 1857 h 10000"/>
                <a:gd name="connsiteX2" fmla="*/ 4884 w 10000"/>
                <a:gd name="connsiteY2" fmla="*/ 2857 h 10000"/>
                <a:gd name="connsiteX3" fmla="*/ 5116 w 10000"/>
                <a:gd name="connsiteY3" fmla="*/ 3714 h 10000"/>
                <a:gd name="connsiteX4" fmla="*/ 1395 w 10000"/>
                <a:gd name="connsiteY4" fmla="*/ 6857 h 10000"/>
                <a:gd name="connsiteX5" fmla="*/ 1395 w 10000"/>
                <a:gd name="connsiteY5" fmla="*/ 7429 h 10000"/>
                <a:gd name="connsiteX6" fmla="*/ 0 w 10000"/>
                <a:gd name="connsiteY6" fmla="*/ 7571 h 10000"/>
                <a:gd name="connsiteX7" fmla="*/ 0 w 10000"/>
                <a:gd name="connsiteY7" fmla="*/ 9143 h 10000"/>
                <a:gd name="connsiteX8" fmla="*/ 465 w 10000"/>
                <a:gd name="connsiteY8" fmla="*/ 9714 h 10000"/>
                <a:gd name="connsiteX9" fmla="*/ 1395 w 10000"/>
                <a:gd name="connsiteY9" fmla="*/ 9714 h 10000"/>
                <a:gd name="connsiteX10" fmla="*/ 1860 w 10000"/>
                <a:gd name="connsiteY10" fmla="*/ 9857 h 10000"/>
                <a:gd name="connsiteX11" fmla="*/ 1628 w 10000"/>
                <a:gd name="connsiteY11" fmla="*/ 9857 h 10000"/>
                <a:gd name="connsiteX12" fmla="*/ 2093 w 10000"/>
                <a:gd name="connsiteY12" fmla="*/ 10000 h 10000"/>
                <a:gd name="connsiteX13" fmla="*/ 2558 w 10000"/>
                <a:gd name="connsiteY13" fmla="*/ 9857 h 10000"/>
                <a:gd name="connsiteX14" fmla="*/ 3488 w 10000"/>
                <a:gd name="connsiteY14" fmla="*/ 10000 h 10000"/>
                <a:gd name="connsiteX15" fmla="*/ 4186 w 10000"/>
                <a:gd name="connsiteY15" fmla="*/ 9571 h 10000"/>
                <a:gd name="connsiteX16" fmla="*/ 5116 w 10000"/>
                <a:gd name="connsiteY16" fmla="*/ 9000 h 10000"/>
                <a:gd name="connsiteX17" fmla="*/ 5814 w 10000"/>
                <a:gd name="connsiteY17" fmla="*/ 8857 h 10000"/>
                <a:gd name="connsiteX18" fmla="*/ 5581 w 10000"/>
                <a:gd name="connsiteY18" fmla="*/ 8857 h 10000"/>
                <a:gd name="connsiteX19" fmla="*/ 5581 w 10000"/>
                <a:gd name="connsiteY19" fmla="*/ 8714 h 10000"/>
                <a:gd name="connsiteX20" fmla="*/ 7674 w 10000"/>
                <a:gd name="connsiteY20" fmla="*/ 8143 h 10000"/>
                <a:gd name="connsiteX21" fmla="*/ 8605 w 10000"/>
                <a:gd name="connsiteY21" fmla="*/ 8429 h 10000"/>
                <a:gd name="connsiteX22" fmla="*/ 9070 w 10000"/>
                <a:gd name="connsiteY22" fmla="*/ 8857 h 10000"/>
                <a:gd name="connsiteX23" fmla="*/ 9302 w 10000"/>
                <a:gd name="connsiteY23" fmla="*/ 9143 h 10000"/>
                <a:gd name="connsiteX24" fmla="*/ 10000 w 10000"/>
                <a:gd name="connsiteY24" fmla="*/ 8857 h 10000"/>
                <a:gd name="connsiteX25" fmla="*/ 10000 w 10000"/>
                <a:gd name="connsiteY25" fmla="*/ 8429 h 10000"/>
                <a:gd name="connsiteX26" fmla="*/ 9302 w 10000"/>
                <a:gd name="connsiteY26" fmla="*/ 7714 h 10000"/>
                <a:gd name="connsiteX27" fmla="*/ 9302 w 10000"/>
                <a:gd name="connsiteY27" fmla="*/ 7000 h 10000"/>
                <a:gd name="connsiteX28" fmla="*/ 9535 w 10000"/>
                <a:gd name="connsiteY28" fmla="*/ 7000 h 10000"/>
                <a:gd name="connsiteX29" fmla="*/ 9070 w 10000"/>
                <a:gd name="connsiteY29" fmla="*/ 6286 h 10000"/>
                <a:gd name="connsiteX30" fmla="*/ 8837 w 10000"/>
                <a:gd name="connsiteY30" fmla="*/ 6000 h 10000"/>
                <a:gd name="connsiteX31" fmla="*/ 7674 w 10000"/>
                <a:gd name="connsiteY31" fmla="*/ 5857 h 10000"/>
                <a:gd name="connsiteX32" fmla="*/ 6512 w 10000"/>
                <a:gd name="connsiteY32" fmla="*/ 5571 h 10000"/>
                <a:gd name="connsiteX33" fmla="*/ 6047 w 10000"/>
                <a:gd name="connsiteY33" fmla="*/ 4857 h 10000"/>
                <a:gd name="connsiteX34" fmla="*/ 5581 w 10000"/>
                <a:gd name="connsiteY34" fmla="*/ 3714 h 10000"/>
                <a:gd name="connsiteX35" fmla="*/ 6047 w 10000"/>
                <a:gd name="connsiteY35" fmla="*/ 3286 h 10000"/>
                <a:gd name="connsiteX36" fmla="*/ 5814 w 10000"/>
                <a:gd name="connsiteY36" fmla="*/ 2286 h 10000"/>
                <a:gd name="connsiteX37" fmla="*/ 6977 w 10000"/>
                <a:gd name="connsiteY37" fmla="*/ 2286 h 10000"/>
                <a:gd name="connsiteX38" fmla="*/ 7442 w 10000"/>
                <a:gd name="connsiteY38" fmla="*/ 2857 h 10000"/>
                <a:gd name="connsiteX39" fmla="*/ 8372 w 10000"/>
                <a:gd name="connsiteY39" fmla="*/ 2857 h 10000"/>
                <a:gd name="connsiteX40" fmla="*/ 8372 w 10000"/>
                <a:gd name="connsiteY40" fmla="*/ 2429 h 10000"/>
                <a:gd name="connsiteX41" fmla="*/ 8605 w 10000"/>
                <a:gd name="connsiteY41" fmla="*/ 2143 h 10000"/>
                <a:gd name="connsiteX42" fmla="*/ 8837 w 10000"/>
                <a:gd name="connsiteY42" fmla="*/ 2286 h 10000"/>
                <a:gd name="connsiteX43" fmla="*/ 8605 w 10000"/>
                <a:gd name="connsiteY43" fmla="*/ 1429 h 10000"/>
                <a:gd name="connsiteX44" fmla="*/ 9070 w 10000"/>
                <a:gd name="connsiteY44" fmla="*/ 857 h 10000"/>
                <a:gd name="connsiteX45" fmla="*/ 9070 w 10000"/>
                <a:gd name="connsiteY45" fmla="*/ 286 h 10000"/>
                <a:gd name="connsiteX46" fmla="*/ 8605 w 10000"/>
                <a:gd name="connsiteY46" fmla="*/ 0 h 10000"/>
                <a:gd name="connsiteX47" fmla="*/ 8140 w 10000"/>
                <a:gd name="connsiteY47" fmla="*/ 0 h 10000"/>
                <a:gd name="connsiteX48" fmla="*/ 6512 w 10000"/>
                <a:gd name="connsiteY48" fmla="*/ 143 h 10000"/>
                <a:gd name="connsiteX49" fmla="*/ 6279 w 10000"/>
                <a:gd name="connsiteY49" fmla="*/ 0 h 10000"/>
                <a:gd name="connsiteX50" fmla="*/ 6279 w 10000"/>
                <a:gd name="connsiteY50" fmla="*/ 714 h 10000"/>
                <a:gd name="connsiteX51" fmla="*/ 6279 w 10000"/>
                <a:gd name="connsiteY51" fmla="*/ 857 h 10000"/>
                <a:gd name="connsiteX0" fmla="*/ 6279 w 10000"/>
                <a:gd name="connsiteY0" fmla="*/ 857 h 10000"/>
                <a:gd name="connsiteX1" fmla="*/ 5349 w 10000"/>
                <a:gd name="connsiteY1" fmla="*/ 1857 h 10000"/>
                <a:gd name="connsiteX2" fmla="*/ 4884 w 10000"/>
                <a:gd name="connsiteY2" fmla="*/ 2857 h 10000"/>
                <a:gd name="connsiteX3" fmla="*/ 5116 w 10000"/>
                <a:gd name="connsiteY3" fmla="*/ 3714 h 10000"/>
                <a:gd name="connsiteX4" fmla="*/ 1395 w 10000"/>
                <a:gd name="connsiteY4" fmla="*/ 7429 h 10000"/>
                <a:gd name="connsiteX5" fmla="*/ 0 w 10000"/>
                <a:gd name="connsiteY5" fmla="*/ 7571 h 10000"/>
                <a:gd name="connsiteX6" fmla="*/ 0 w 10000"/>
                <a:gd name="connsiteY6" fmla="*/ 9143 h 10000"/>
                <a:gd name="connsiteX7" fmla="*/ 465 w 10000"/>
                <a:gd name="connsiteY7" fmla="*/ 9714 h 10000"/>
                <a:gd name="connsiteX8" fmla="*/ 1395 w 10000"/>
                <a:gd name="connsiteY8" fmla="*/ 9714 h 10000"/>
                <a:gd name="connsiteX9" fmla="*/ 1860 w 10000"/>
                <a:gd name="connsiteY9" fmla="*/ 9857 h 10000"/>
                <a:gd name="connsiteX10" fmla="*/ 1628 w 10000"/>
                <a:gd name="connsiteY10" fmla="*/ 9857 h 10000"/>
                <a:gd name="connsiteX11" fmla="*/ 2093 w 10000"/>
                <a:gd name="connsiteY11" fmla="*/ 10000 h 10000"/>
                <a:gd name="connsiteX12" fmla="*/ 2558 w 10000"/>
                <a:gd name="connsiteY12" fmla="*/ 9857 h 10000"/>
                <a:gd name="connsiteX13" fmla="*/ 3488 w 10000"/>
                <a:gd name="connsiteY13" fmla="*/ 10000 h 10000"/>
                <a:gd name="connsiteX14" fmla="*/ 4186 w 10000"/>
                <a:gd name="connsiteY14" fmla="*/ 9571 h 10000"/>
                <a:gd name="connsiteX15" fmla="*/ 5116 w 10000"/>
                <a:gd name="connsiteY15" fmla="*/ 9000 h 10000"/>
                <a:gd name="connsiteX16" fmla="*/ 5814 w 10000"/>
                <a:gd name="connsiteY16" fmla="*/ 8857 h 10000"/>
                <a:gd name="connsiteX17" fmla="*/ 5581 w 10000"/>
                <a:gd name="connsiteY17" fmla="*/ 8857 h 10000"/>
                <a:gd name="connsiteX18" fmla="*/ 5581 w 10000"/>
                <a:gd name="connsiteY18" fmla="*/ 8714 h 10000"/>
                <a:gd name="connsiteX19" fmla="*/ 7674 w 10000"/>
                <a:gd name="connsiteY19" fmla="*/ 8143 h 10000"/>
                <a:gd name="connsiteX20" fmla="*/ 8605 w 10000"/>
                <a:gd name="connsiteY20" fmla="*/ 8429 h 10000"/>
                <a:gd name="connsiteX21" fmla="*/ 9070 w 10000"/>
                <a:gd name="connsiteY21" fmla="*/ 8857 h 10000"/>
                <a:gd name="connsiteX22" fmla="*/ 9302 w 10000"/>
                <a:gd name="connsiteY22" fmla="*/ 9143 h 10000"/>
                <a:gd name="connsiteX23" fmla="*/ 10000 w 10000"/>
                <a:gd name="connsiteY23" fmla="*/ 8857 h 10000"/>
                <a:gd name="connsiteX24" fmla="*/ 10000 w 10000"/>
                <a:gd name="connsiteY24" fmla="*/ 8429 h 10000"/>
                <a:gd name="connsiteX25" fmla="*/ 9302 w 10000"/>
                <a:gd name="connsiteY25" fmla="*/ 7714 h 10000"/>
                <a:gd name="connsiteX26" fmla="*/ 9302 w 10000"/>
                <a:gd name="connsiteY26" fmla="*/ 7000 h 10000"/>
                <a:gd name="connsiteX27" fmla="*/ 9535 w 10000"/>
                <a:gd name="connsiteY27" fmla="*/ 7000 h 10000"/>
                <a:gd name="connsiteX28" fmla="*/ 9070 w 10000"/>
                <a:gd name="connsiteY28" fmla="*/ 6286 h 10000"/>
                <a:gd name="connsiteX29" fmla="*/ 8837 w 10000"/>
                <a:gd name="connsiteY29" fmla="*/ 6000 h 10000"/>
                <a:gd name="connsiteX30" fmla="*/ 7674 w 10000"/>
                <a:gd name="connsiteY30" fmla="*/ 5857 h 10000"/>
                <a:gd name="connsiteX31" fmla="*/ 6512 w 10000"/>
                <a:gd name="connsiteY31" fmla="*/ 5571 h 10000"/>
                <a:gd name="connsiteX32" fmla="*/ 6047 w 10000"/>
                <a:gd name="connsiteY32" fmla="*/ 4857 h 10000"/>
                <a:gd name="connsiteX33" fmla="*/ 5581 w 10000"/>
                <a:gd name="connsiteY33" fmla="*/ 3714 h 10000"/>
                <a:gd name="connsiteX34" fmla="*/ 6047 w 10000"/>
                <a:gd name="connsiteY34" fmla="*/ 3286 h 10000"/>
                <a:gd name="connsiteX35" fmla="*/ 5814 w 10000"/>
                <a:gd name="connsiteY35" fmla="*/ 2286 h 10000"/>
                <a:gd name="connsiteX36" fmla="*/ 6977 w 10000"/>
                <a:gd name="connsiteY36" fmla="*/ 2286 h 10000"/>
                <a:gd name="connsiteX37" fmla="*/ 7442 w 10000"/>
                <a:gd name="connsiteY37" fmla="*/ 2857 h 10000"/>
                <a:gd name="connsiteX38" fmla="*/ 8372 w 10000"/>
                <a:gd name="connsiteY38" fmla="*/ 2857 h 10000"/>
                <a:gd name="connsiteX39" fmla="*/ 8372 w 10000"/>
                <a:gd name="connsiteY39" fmla="*/ 2429 h 10000"/>
                <a:gd name="connsiteX40" fmla="*/ 8605 w 10000"/>
                <a:gd name="connsiteY40" fmla="*/ 2143 h 10000"/>
                <a:gd name="connsiteX41" fmla="*/ 8837 w 10000"/>
                <a:gd name="connsiteY41" fmla="*/ 2286 h 10000"/>
                <a:gd name="connsiteX42" fmla="*/ 8605 w 10000"/>
                <a:gd name="connsiteY42" fmla="*/ 1429 h 10000"/>
                <a:gd name="connsiteX43" fmla="*/ 9070 w 10000"/>
                <a:gd name="connsiteY43" fmla="*/ 857 h 10000"/>
                <a:gd name="connsiteX44" fmla="*/ 9070 w 10000"/>
                <a:gd name="connsiteY44" fmla="*/ 286 h 10000"/>
                <a:gd name="connsiteX45" fmla="*/ 8605 w 10000"/>
                <a:gd name="connsiteY45" fmla="*/ 0 h 10000"/>
                <a:gd name="connsiteX46" fmla="*/ 8140 w 10000"/>
                <a:gd name="connsiteY46" fmla="*/ 0 h 10000"/>
                <a:gd name="connsiteX47" fmla="*/ 6512 w 10000"/>
                <a:gd name="connsiteY47" fmla="*/ 143 h 10000"/>
                <a:gd name="connsiteX48" fmla="*/ 6279 w 10000"/>
                <a:gd name="connsiteY48" fmla="*/ 0 h 10000"/>
                <a:gd name="connsiteX49" fmla="*/ 6279 w 10000"/>
                <a:gd name="connsiteY49" fmla="*/ 714 h 10000"/>
                <a:gd name="connsiteX50" fmla="*/ 6279 w 10000"/>
                <a:gd name="connsiteY50" fmla="*/ 857 h 10000"/>
                <a:gd name="connsiteX0" fmla="*/ 6658 w 10379"/>
                <a:gd name="connsiteY0" fmla="*/ 857 h 10000"/>
                <a:gd name="connsiteX1" fmla="*/ 5728 w 10379"/>
                <a:gd name="connsiteY1" fmla="*/ 1857 h 10000"/>
                <a:gd name="connsiteX2" fmla="*/ 5263 w 10379"/>
                <a:gd name="connsiteY2" fmla="*/ 2857 h 10000"/>
                <a:gd name="connsiteX3" fmla="*/ 5495 w 10379"/>
                <a:gd name="connsiteY3" fmla="*/ 3714 h 10000"/>
                <a:gd name="connsiteX4" fmla="*/ 379 w 10379"/>
                <a:gd name="connsiteY4" fmla="*/ 7571 h 10000"/>
                <a:gd name="connsiteX5" fmla="*/ 379 w 10379"/>
                <a:gd name="connsiteY5" fmla="*/ 9143 h 10000"/>
                <a:gd name="connsiteX6" fmla="*/ 844 w 10379"/>
                <a:gd name="connsiteY6" fmla="*/ 9714 h 10000"/>
                <a:gd name="connsiteX7" fmla="*/ 1774 w 10379"/>
                <a:gd name="connsiteY7" fmla="*/ 9714 h 10000"/>
                <a:gd name="connsiteX8" fmla="*/ 2239 w 10379"/>
                <a:gd name="connsiteY8" fmla="*/ 9857 h 10000"/>
                <a:gd name="connsiteX9" fmla="*/ 2007 w 10379"/>
                <a:gd name="connsiteY9" fmla="*/ 9857 h 10000"/>
                <a:gd name="connsiteX10" fmla="*/ 2472 w 10379"/>
                <a:gd name="connsiteY10" fmla="*/ 10000 h 10000"/>
                <a:gd name="connsiteX11" fmla="*/ 2937 w 10379"/>
                <a:gd name="connsiteY11" fmla="*/ 9857 h 10000"/>
                <a:gd name="connsiteX12" fmla="*/ 3867 w 10379"/>
                <a:gd name="connsiteY12" fmla="*/ 10000 h 10000"/>
                <a:gd name="connsiteX13" fmla="*/ 4565 w 10379"/>
                <a:gd name="connsiteY13" fmla="*/ 9571 h 10000"/>
                <a:gd name="connsiteX14" fmla="*/ 5495 w 10379"/>
                <a:gd name="connsiteY14" fmla="*/ 9000 h 10000"/>
                <a:gd name="connsiteX15" fmla="*/ 6193 w 10379"/>
                <a:gd name="connsiteY15" fmla="*/ 8857 h 10000"/>
                <a:gd name="connsiteX16" fmla="*/ 5960 w 10379"/>
                <a:gd name="connsiteY16" fmla="*/ 8857 h 10000"/>
                <a:gd name="connsiteX17" fmla="*/ 5960 w 10379"/>
                <a:gd name="connsiteY17" fmla="*/ 8714 h 10000"/>
                <a:gd name="connsiteX18" fmla="*/ 8053 w 10379"/>
                <a:gd name="connsiteY18" fmla="*/ 8143 h 10000"/>
                <a:gd name="connsiteX19" fmla="*/ 8984 w 10379"/>
                <a:gd name="connsiteY19" fmla="*/ 8429 h 10000"/>
                <a:gd name="connsiteX20" fmla="*/ 9449 w 10379"/>
                <a:gd name="connsiteY20" fmla="*/ 8857 h 10000"/>
                <a:gd name="connsiteX21" fmla="*/ 9681 w 10379"/>
                <a:gd name="connsiteY21" fmla="*/ 9143 h 10000"/>
                <a:gd name="connsiteX22" fmla="*/ 10379 w 10379"/>
                <a:gd name="connsiteY22" fmla="*/ 8857 h 10000"/>
                <a:gd name="connsiteX23" fmla="*/ 10379 w 10379"/>
                <a:gd name="connsiteY23" fmla="*/ 8429 h 10000"/>
                <a:gd name="connsiteX24" fmla="*/ 9681 w 10379"/>
                <a:gd name="connsiteY24" fmla="*/ 7714 h 10000"/>
                <a:gd name="connsiteX25" fmla="*/ 9681 w 10379"/>
                <a:gd name="connsiteY25" fmla="*/ 7000 h 10000"/>
                <a:gd name="connsiteX26" fmla="*/ 9914 w 10379"/>
                <a:gd name="connsiteY26" fmla="*/ 7000 h 10000"/>
                <a:gd name="connsiteX27" fmla="*/ 9449 w 10379"/>
                <a:gd name="connsiteY27" fmla="*/ 6286 h 10000"/>
                <a:gd name="connsiteX28" fmla="*/ 9216 w 10379"/>
                <a:gd name="connsiteY28" fmla="*/ 6000 h 10000"/>
                <a:gd name="connsiteX29" fmla="*/ 8053 w 10379"/>
                <a:gd name="connsiteY29" fmla="*/ 5857 h 10000"/>
                <a:gd name="connsiteX30" fmla="*/ 6891 w 10379"/>
                <a:gd name="connsiteY30" fmla="*/ 5571 h 10000"/>
                <a:gd name="connsiteX31" fmla="*/ 6426 w 10379"/>
                <a:gd name="connsiteY31" fmla="*/ 4857 h 10000"/>
                <a:gd name="connsiteX32" fmla="*/ 5960 w 10379"/>
                <a:gd name="connsiteY32" fmla="*/ 3714 h 10000"/>
                <a:gd name="connsiteX33" fmla="*/ 6426 w 10379"/>
                <a:gd name="connsiteY33" fmla="*/ 3286 h 10000"/>
                <a:gd name="connsiteX34" fmla="*/ 6193 w 10379"/>
                <a:gd name="connsiteY34" fmla="*/ 2286 h 10000"/>
                <a:gd name="connsiteX35" fmla="*/ 7356 w 10379"/>
                <a:gd name="connsiteY35" fmla="*/ 2286 h 10000"/>
                <a:gd name="connsiteX36" fmla="*/ 7821 w 10379"/>
                <a:gd name="connsiteY36" fmla="*/ 2857 h 10000"/>
                <a:gd name="connsiteX37" fmla="*/ 8751 w 10379"/>
                <a:gd name="connsiteY37" fmla="*/ 2857 h 10000"/>
                <a:gd name="connsiteX38" fmla="*/ 8751 w 10379"/>
                <a:gd name="connsiteY38" fmla="*/ 2429 h 10000"/>
                <a:gd name="connsiteX39" fmla="*/ 8984 w 10379"/>
                <a:gd name="connsiteY39" fmla="*/ 2143 h 10000"/>
                <a:gd name="connsiteX40" fmla="*/ 9216 w 10379"/>
                <a:gd name="connsiteY40" fmla="*/ 2286 h 10000"/>
                <a:gd name="connsiteX41" fmla="*/ 8984 w 10379"/>
                <a:gd name="connsiteY41" fmla="*/ 1429 h 10000"/>
                <a:gd name="connsiteX42" fmla="*/ 9449 w 10379"/>
                <a:gd name="connsiteY42" fmla="*/ 857 h 10000"/>
                <a:gd name="connsiteX43" fmla="*/ 9449 w 10379"/>
                <a:gd name="connsiteY43" fmla="*/ 286 h 10000"/>
                <a:gd name="connsiteX44" fmla="*/ 8984 w 10379"/>
                <a:gd name="connsiteY44" fmla="*/ 0 h 10000"/>
                <a:gd name="connsiteX45" fmla="*/ 8519 w 10379"/>
                <a:gd name="connsiteY45" fmla="*/ 0 h 10000"/>
                <a:gd name="connsiteX46" fmla="*/ 6891 w 10379"/>
                <a:gd name="connsiteY46" fmla="*/ 143 h 10000"/>
                <a:gd name="connsiteX47" fmla="*/ 6658 w 10379"/>
                <a:gd name="connsiteY47" fmla="*/ 0 h 10000"/>
                <a:gd name="connsiteX48" fmla="*/ 6658 w 10379"/>
                <a:gd name="connsiteY48" fmla="*/ 714 h 10000"/>
                <a:gd name="connsiteX49" fmla="*/ 6658 w 10379"/>
                <a:gd name="connsiteY49" fmla="*/ 857 h 10000"/>
                <a:gd name="connsiteX0" fmla="*/ 6556 w 10277"/>
                <a:gd name="connsiteY0" fmla="*/ 857 h 10000"/>
                <a:gd name="connsiteX1" fmla="*/ 5626 w 10277"/>
                <a:gd name="connsiteY1" fmla="*/ 1857 h 10000"/>
                <a:gd name="connsiteX2" fmla="*/ 5161 w 10277"/>
                <a:gd name="connsiteY2" fmla="*/ 2857 h 10000"/>
                <a:gd name="connsiteX3" fmla="*/ 5393 w 10277"/>
                <a:gd name="connsiteY3" fmla="*/ 3714 h 10000"/>
                <a:gd name="connsiteX4" fmla="*/ 277 w 10277"/>
                <a:gd name="connsiteY4" fmla="*/ 9143 h 10000"/>
                <a:gd name="connsiteX5" fmla="*/ 742 w 10277"/>
                <a:gd name="connsiteY5" fmla="*/ 9714 h 10000"/>
                <a:gd name="connsiteX6" fmla="*/ 1672 w 10277"/>
                <a:gd name="connsiteY6" fmla="*/ 9714 h 10000"/>
                <a:gd name="connsiteX7" fmla="*/ 2137 w 10277"/>
                <a:gd name="connsiteY7" fmla="*/ 9857 h 10000"/>
                <a:gd name="connsiteX8" fmla="*/ 1905 w 10277"/>
                <a:gd name="connsiteY8" fmla="*/ 9857 h 10000"/>
                <a:gd name="connsiteX9" fmla="*/ 2370 w 10277"/>
                <a:gd name="connsiteY9" fmla="*/ 10000 h 10000"/>
                <a:gd name="connsiteX10" fmla="*/ 2835 w 10277"/>
                <a:gd name="connsiteY10" fmla="*/ 9857 h 10000"/>
                <a:gd name="connsiteX11" fmla="*/ 3765 w 10277"/>
                <a:gd name="connsiteY11" fmla="*/ 10000 h 10000"/>
                <a:gd name="connsiteX12" fmla="*/ 4463 w 10277"/>
                <a:gd name="connsiteY12" fmla="*/ 9571 h 10000"/>
                <a:gd name="connsiteX13" fmla="*/ 5393 w 10277"/>
                <a:gd name="connsiteY13" fmla="*/ 9000 h 10000"/>
                <a:gd name="connsiteX14" fmla="*/ 6091 w 10277"/>
                <a:gd name="connsiteY14" fmla="*/ 8857 h 10000"/>
                <a:gd name="connsiteX15" fmla="*/ 5858 w 10277"/>
                <a:gd name="connsiteY15" fmla="*/ 8857 h 10000"/>
                <a:gd name="connsiteX16" fmla="*/ 5858 w 10277"/>
                <a:gd name="connsiteY16" fmla="*/ 8714 h 10000"/>
                <a:gd name="connsiteX17" fmla="*/ 7951 w 10277"/>
                <a:gd name="connsiteY17" fmla="*/ 8143 h 10000"/>
                <a:gd name="connsiteX18" fmla="*/ 8882 w 10277"/>
                <a:gd name="connsiteY18" fmla="*/ 8429 h 10000"/>
                <a:gd name="connsiteX19" fmla="*/ 9347 w 10277"/>
                <a:gd name="connsiteY19" fmla="*/ 8857 h 10000"/>
                <a:gd name="connsiteX20" fmla="*/ 9579 w 10277"/>
                <a:gd name="connsiteY20" fmla="*/ 9143 h 10000"/>
                <a:gd name="connsiteX21" fmla="*/ 10277 w 10277"/>
                <a:gd name="connsiteY21" fmla="*/ 8857 h 10000"/>
                <a:gd name="connsiteX22" fmla="*/ 10277 w 10277"/>
                <a:gd name="connsiteY22" fmla="*/ 8429 h 10000"/>
                <a:gd name="connsiteX23" fmla="*/ 9579 w 10277"/>
                <a:gd name="connsiteY23" fmla="*/ 7714 h 10000"/>
                <a:gd name="connsiteX24" fmla="*/ 9579 w 10277"/>
                <a:gd name="connsiteY24" fmla="*/ 7000 h 10000"/>
                <a:gd name="connsiteX25" fmla="*/ 9812 w 10277"/>
                <a:gd name="connsiteY25" fmla="*/ 7000 h 10000"/>
                <a:gd name="connsiteX26" fmla="*/ 9347 w 10277"/>
                <a:gd name="connsiteY26" fmla="*/ 6286 h 10000"/>
                <a:gd name="connsiteX27" fmla="*/ 9114 w 10277"/>
                <a:gd name="connsiteY27" fmla="*/ 6000 h 10000"/>
                <a:gd name="connsiteX28" fmla="*/ 7951 w 10277"/>
                <a:gd name="connsiteY28" fmla="*/ 5857 h 10000"/>
                <a:gd name="connsiteX29" fmla="*/ 6789 w 10277"/>
                <a:gd name="connsiteY29" fmla="*/ 5571 h 10000"/>
                <a:gd name="connsiteX30" fmla="*/ 6324 w 10277"/>
                <a:gd name="connsiteY30" fmla="*/ 4857 h 10000"/>
                <a:gd name="connsiteX31" fmla="*/ 5858 w 10277"/>
                <a:gd name="connsiteY31" fmla="*/ 3714 h 10000"/>
                <a:gd name="connsiteX32" fmla="*/ 6324 w 10277"/>
                <a:gd name="connsiteY32" fmla="*/ 3286 h 10000"/>
                <a:gd name="connsiteX33" fmla="*/ 6091 w 10277"/>
                <a:gd name="connsiteY33" fmla="*/ 2286 h 10000"/>
                <a:gd name="connsiteX34" fmla="*/ 7254 w 10277"/>
                <a:gd name="connsiteY34" fmla="*/ 2286 h 10000"/>
                <a:gd name="connsiteX35" fmla="*/ 7719 w 10277"/>
                <a:gd name="connsiteY35" fmla="*/ 2857 h 10000"/>
                <a:gd name="connsiteX36" fmla="*/ 8649 w 10277"/>
                <a:gd name="connsiteY36" fmla="*/ 2857 h 10000"/>
                <a:gd name="connsiteX37" fmla="*/ 8649 w 10277"/>
                <a:gd name="connsiteY37" fmla="*/ 2429 h 10000"/>
                <a:gd name="connsiteX38" fmla="*/ 8882 w 10277"/>
                <a:gd name="connsiteY38" fmla="*/ 2143 h 10000"/>
                <a:gd name="connsiteX39" fmla="*/ 9114 w 10277"/>
                <a:gd name="connsiteY39" fmla="*/ 2286 h 10000"/>
                <a:gd name="connsiteX40" fmla="*/ 8882 w 10277"/>
                <a:gd name="connsiteY40" fmla="*/ 1429 h 10000"/>
                <a:gd name="connsiteX41" fmla="*/ 9347 w 10277"/>
                <a:gd name="connsiteY41" fmla="*/ 857 h 10000"/>
                <a:gd name="connsiteX42" fmla="*/ 9347 w 10277"/>
                <a:gd name="connsiteY42" fmla="*/ 286 h 10000"/>
                <a:gd name="connsiteX43" fmla="*/ 8882 w 10277"/>
                <a:gd name="connsiteY43" fmla="*/ 0 h 10000"/>
                <a:gd name="connsiteX44" fmla="*/ 8417 w 10277"/>
                <a:gd name="connsiteY44" fmla="*/ 0 h 10000"/>
                <a:gd name="connsiteX45" fmla="*/ 6789 w 10277"/>
                <a:gd name="connsiteY45" fmla="*/ 143 h 10000"/>
                <a:gd name="connsiteX46" fmla="*/ 6556 w 10277"/>
                <a:gd name="connsiteY46" fmla="*/ 0 h 10000"/>
                <a:gd name="connsiteX47" fmla="*/ 6556 w 10277"/>
                <a:gd name="connsiteY47" fmla="*/ 714 h 10000"/>
                <a:gd name="connsiteX48" fmla="*/ 6556 w 10277"/>
                <a:gd name="connsiteY48" fmla="*/ 857 h 10000"/>
                <a:gd name="connsiteX0" fmla="*/ 5986 w 9707"/>
                <a:gd name="connsiteY0" fmla="*/ 857 h 10158"/>
                <a:gd name="connsiteX1" fmla="*/ 5056 w 9707"/>
                <a:gd name="connsiteY1" fmla="*/ 1857 h 10158"/>
                <a:gd name="connsiteX2" fmla="*/ 4591 w 9707"/>
                <a:gd name="connsiteY2" fmla="*/ 2857 h 10158"/>
                <a:gd name="connsiteX3" fmla="*/ 4823 w 9707"/>
                <a:gd name="connsiteY3" fmla="*/ 3714 h 10158"/>
                <a:gd name="connsiteX4" fmla="*/ 172 w 9707"/>
                <a:gd name="connsiteY4" fmla="*/ 9714 h 10158"/>
                <a:gd name="connsiteX5" fmla="*/ 1102 w 9707"/>
                <a:gd name="connsiteY5" fmla="*/ 9714 h 10158"/>
                <a:gd name="connsiteX6" fmla="*/ 1567 w 9707"/>
                <a:gd name="connsiteY6" fmla="*/ 9857 h 10158"/>
                <a:gd name="connsiteX7" fmla="*/ 1335 w 9707"/>
                <a:gd name="connsiteY7" fmla="*/ 9857 h 10158"/>
                <a:gd name="connsiteX8" fmla="*/ 1800 w 9707"/>
                <a:gd name="connsiteY8" fmla="*/ 10000 h 10158"/>
                <a:gd name="connsiteX9" fmla="*/ 2265 w 9707"/>
                <a:gd name="connsiteY9" fmla="*/ 9857 h 10158"/>
                <a:gd name="connsiteX10" fmla="*/ 3195 w 9707"/>
                <a:gd name="connsiteY10" fmla="*/ 10000 h 10158"/>
                <a:gd name="connsiteX11" fmla="*/ 3893 w 9707"/>
                <a:gd name="connsiteY11" fmla="*/ 9571 h 10158"/>
                <a:gd name="connsiteX12" fmla="*/ 4823 w 9707"/>
                <a:gd name="connsiteY12" fmla="*/ 9000 h 10158"/>
                <a:gd name="connsiteX13" fmla="*/ 5521 w 9707"/>
                <a:gd name="connsiteY13" fmla="*/ 8857 h 10158"/>
                <a:gd name="connsiteX14" fmla="*/ 5288 w 9707"/>
                <a:gd name="connsiteY14" fmla="*/ 8857 h 10158"/>
                <a:gd name="connsiteX15" fmla="*/ 5288 w 9707"/>
                <a:gd name="connsiteY15" fmla="*/ 8714 h 10158"/>
                <a:gd name="connsiteX16" fmla="*/ 7381 w 9707"/>
                <a:gd name="connsiteY16" fmla="*/ 8143 h 10158"/>
                <a:gd name="connsiteX17" fmla="*/ 8312 w 9707"/>
                <a:gd name="connsiteY17" fmla="*/ 8429 h 10158"/>
                <a:gd name="connsiteX18" fmla="*/ 8777 w 9707"/>
                <a:gd name="connsiteY18" fmla="*/ 8857 h 10158"/>
                <a:gd name="connsiteX19" fmla="*/ 9009 w 9707"/>
                <a:gd name="connsiteY19" fmla="*/ 9143 h 10158"/>
                <a:gd name="connsiteX20" fmla="*/ 9707 w 9707"/>
                <a:gd name="connsiteY20" fmla="*/ 8857 h 10158"/>
                <a:gd name="connsiteX21" fmla="*/ 9707 w 9707"/>
                <a:gd name="connsiteY21" fmla="*/ 8429 h 10158"/>
                <a:gd name="connsiteX22" fmla="*/ 9009 w 9707"/>
                <a:gd name="connsiteY22" fmla="*/ 7714 h 10158"/>
                <a:gd name="connsiteX23" fmla="*/ 9009 w 9707"/>
                <a:gd name="connsiteY23" fmla="*/ 7000 h 10158"/>
                <a:gd name="connsiteX24" fmla="*/ 9242 w 9707"/>
                <a:gd name="connsiteY24" fmla="*/ 7000 h 10158"/>
                <a:gd name="connsiteX25" fmla="*/ 8777 w 9707"/>
                <a:gd name="connsiteY25" fmla="*/ 6286 h 10158"/>
                <a:gd name="connsiteX26" fmla="*/ 8544 w 9707"/>
                <a:gd name="connsiteY26" fmla="*/ 6000 h 10158"/>
                <a:gd name="connsiteX27" fmla="*/ 7381 w 9707"/>
                <a:gd name="connsiteY27" fmla="*/ 5857 h 10158"/>
                <a:gd name="connsiteX28" fmla="*/ 6219 w 9707"/>
                <a:gd name="connsiteY28" fmla="*/ 5571 h 10158"/>
                <a:gd name="connsiteX29" fmla="*/ 5754 w 9707"/>
                <a:gd name="connsiteY29" fmla="*/ 4857 h 10158"/>
                <a:gd name="connsiteX30" fmla="*/ 5288 w 9707"/>
                <a:gd name="connsiteY30" fmla="*/ 3714 h 10158"/>
                <a:gd name="connsiteX31" fmla="*/ 5754 w 9707"/>
                <a:gd name="connsiteY31" fmla="*/ 3286 h 10158"/>
                <a:gd name="connsiteX32" fmla="*/ 5521 w 9707"/>
                <a:gd name="connsiteY32" fmla="*/ 2286 h 10158"/>
                <a:gd name="connsiteX33" fmla="*/ 6684 w 9707"/>
                <a:gd name="connsiteY33" fmla="*/ 2286 h 10158"/>
                <a:gd name="connsiteX34" fmla="*/ 7149 w 9707"/>
                <a:gd name="connsiteY34" fmla="*/ 2857 h 10158"/>
                <a:gd name="connsiteX35" fmla="*/ 8079 w 9707"/>
                <a:gd name="connsiteY35" fmla="*/ 2857 h 10158"/>
                <a:gd name="connsiteX36" fmla="*/ 8079 w 9707"/>
                <a:gd name="connsiteY36" fmla="*/ 2429 h 10158"/>
                <a:gd name="connsiteX37" fmla="*/ 8312 w 9707"/>
                <a:gd name="connsiteY37" fmla="*/ 2143 h 10158"/>
                <a:gd name="connsiteX38" fmla="*/ 8544 w 9707"/>
                <a:gd name="connsiteY38" fmla="*/ 2286 h 10158"/>
                <a:gd name="connsiteX39" fmla="*/ 8312 w 9707"/>
                <a:gd name="connsiteY39" fmla="*/ 1429 h 10158"/>
                <a:gd name="connsiteX40" fmla="*/ 8777 w 9707"/>
                <a:gd name="connsiteY40" fmla="*/ 857 h 10158"/>
                <a:gd name="connsiteX41" fmla="*/ 8777 w 9707"/>
                <a:gd name="connsiteY41" fmla="*/ 286 h 10158"/>
                <a:gd name="connsiteX42" fmla="*/ 8312 w 9707"/>
                <a:gd name="connsiteY42" fmla="*/ 0 h 10158"/>
                <a:gd name="connsiteX43" fmla="*/ 7847 w 9707"/>
                <a:gd name="connsiteY43" fmla="*/ 0 h 10158"/>
                <a:gd name="connsiteX44" fmla="*/ 6219 w 9707"/>
                <a:gd name="connsiteY44" fmla="*/ 143 h 10158"/>
                <a:gd name="connsiteX45" fmla="*/ 5986 w 9707"/>
                <a:gd name="connsiteY45" fmla="*/ 0 h 10158"/>
                <a:gd name="connsiteX46" fmla="*/ 5986 w 9707"/>
                <a:gd name="connsiteY46" fmla="*/ 714 h 10158"/>
                <a:gd name="connsiteX47" fmla="*/ 5986 w 9707"/>
                <a:gd name="connsiteY47" fmla="*/ 857 h 10158"/>
                <a:gd name="connsiteX0" fmla="*/ 5032 w 8865"/>
                <a:gd name="connsiteY0" fmla="*/ 844 h 9844"/>
                <a:gd name="connsiteX1" fmla="*/ 4074 w 8865"/>
                <a:gd name="connsiteY1" fmla="*/ 1828 h 9844"/>
                <a:gd name="connsiteX2" fmla="*/ 3595 w 8865"/>
                <a:gd name="connsiteY2" fmla="*/ 2813 h 9844"/>
                <a:gd name="connsiteX3" fmla="*/ 3834 w 8865"/>
                <a:gd name="connsiteY3" fmla="*/ 3656 h 9844"/>
                <a:gd name="connsiteX4" fmla="*/ 0 w 8865"/>
                <a:gd name="connsiteY4" fmla="*/ 9563 h 9844"/>
                <a:gd name="connsiteX5" fmla="*/ 479 w 8865"/>
                <a:gd name="connsiteY5" fmla="*/ 9704 h 9844"/>
                <a:gd name="connsiteX6" fmla="*/ 240 w 8865"/>
                <a:gd name="connsiteY6" fmla="*/ 9704 h 9844"/>
                <a:gd name="connsiteX7" fmla="*/ 719 w 8865"/>
                <a:gd name="connsiteY7" fmla="*/ 9844 h 9844"/>
                <a:gd name="connsiteX8" fmla="*/ 1198 w 8865"/>
                <a:gd name="connsiteY8" fmla="*/ 9704 h 9844"/>
                <a:gd name="connsiteX9" fmla="*/ 2156 w 8865"/>
                <a:gd name="connsiteY9" fmla="*/ 9844 h 9844"/>
                <a:gd name="connsiteX10" fmla="*/ 2876 w 8865"/>
                <a:gd name="connsiteY10" fmla="*/ 9422 h 9844"/>
                <a:gd name="connsiteX11" fmla="*/ 3834 w 8865"/>
                <a:gd name="connsiteY11" fmla="*/ 8860 h 9844"/>
                <a:gd name="connsiteX12" fmla="*/ 4553 w 8865"/>
                <a:gd name="connsiteY12" fmla="*/ 8719 h 9844"/>
                <a:gd name="connsiteX13" fmla="*/ 4313 w 8865"/>
                <a:gd name="connsiteY13" fmla="*/ 8719 h 9844"/>
                <a:gd name="connsiteX14" fmla="*/ 4313 w 8865"/>
                <a:gd name="connsiteY14" fmla="*/ 8578 h 9844"/>
                <a:gd name="connsiteX15" fmla="*/ 6469 w 8865"/>
                <a:gd name="connsiteY15" fmla="*/ 8016 h 9844"/>
                <a:gd name="connsiteX16" fmla="*/ 7428 w 8865"/>
                <a:gd name="connsiteY16" fmla="*/ 8298 h 9844"/>
                <a:gd name="connsiteX17" fmla="*/ 7907 w 8865"/>
                <a:gd name="connsiteY17" fmla="*/ 8719 h 9844"/>
                <a:gd name="connsiteX18" fmla="*/ 8146 w 8865"/>
                <a:gd name="connsiteY18" fmla="*/ 9001 h 9844"/>
                <a:gd name="connsiteX19" fmla="*/ 8865 w 8865"/>
                <a:gd name="connsiteY19" fmla="*/ 8719 h 9844"/>
                <a:gd name="connsiteX20" fmla="*/ 8865 w 8865"/>
                <a:gd name="connsiteY20" fmla="*/ 8298 h 9844"/>
                <a:gd name="connsiteX21" fmla="*/ 8146 w 8865"/>
                <a:gd name="connsiteY21" fmla="*/ 7594 h 9844"/>
                <a:gd name="connsiteX22" fmla="*/ 8146 w 8865"/>
                <a:gd name="connsiteY22" fmla="*/ 6891 h 9844"/>
                <a:gd name="connsiteX23" fmla="*/ 8386 w 8865"/>
                <a:gd name="connsiteY23" fmla="*/ 6891 h 9844"/>
                <a:gd name="connsiteX24" fmla="*/ 7907 w 8865"/>
                <a:gd name="connsiteY24" fmla="*/ 6188 h 9844"/>
                <a:gd name="connsiteX25" fmla="*/ 7667 w 8865"/>
                <a:gd name="connsiteY25" fmla="*/ 5907 h 9844"/>
                <a:gd name="connsiteX26" fmla="*/ 6469 w 8865"/>
                <a:gd name="connsiteY26" fmla="*/ 5766 h 9844"/>
                <a:gd name="connsiteX27" fmla="*/ 5272 w 8865"/>
                <a:gd name="connsiteY27" fmla="*/ 5484 h 9844"/>
                <a:gd name="connsiteX28" fmla="*/ 4793 w 8865"/>
                <a:gd name="connsiteY28" fmla="*/ 4781 h 9844"/>
                <a:gd name="connsiteX29" fmla="*/ 4313 w 8865"/>
                <a:gd name="connsiteY29" fmla="*/ 3656 h 9844"/>
                <a:gd name="connsiteX30" fmla="*/ 4793 w 8865"/>
                <a:gd name="connsiteY30" fmla="*/ 3235 h 9844"/>
                <a:gd name="connsiteX31" fmla="*/ 4553 w 8865"/>
                <a:gd name="connsiteY31" fmla="*/ 2250 h 9844"/>
                <a:gd name="connsiteX32" fmla="*/ 5751 w 8865"/>
                <a:gd name="connsiteY32" fmla="*/ 2250 h 9844"/>
                <a:gd name="connsiteX33" fmla="*/ 6230 w 8865"/>
                <a:gd name="connsiteY33" fmla="*/ 2813 h 9844"/>
                <a:gd name="connsiteX34" fmla="*/ 7188 w 8865"/>
                <a:gd name="connsiteY34" fmla="*/ 2813 h 9844"/>
                <a:gd name="connsiteX35" fmla="*/ 7188 w 8865"/>
                <a:gd name="connsiteY35" fmla="*/ 2391 h 9844"/>
                <a:gd name="connsiteX36" fmla="*/ 7428 w 8865"/>
                <a:gd name="connsiteY36" fmla="*/ 2110 h 9844"/>
                <a:gd name="connsiteX37" fmla="*/ 7667 w 8865"/>
                <a:gd name="connsiteY37" fmla="*/ 2250 h 9844"/>
                <a:gd name="connsiteX38" fmla="*/ 7428 w 8865"/>
                <a:gd name="connsiteY38" fmla="*/ 1407 h 9844"/>
                <a:gd name="connsiteX39" fmla="*/ 7907 w 8865"/>
                <a:gd name="connsiteY39" fmla="*/ 844 h 9844"/>
                <a:gd name="connsiteX40" fmla="*/ 7907 w 8865"/>
                <a:gd name="connsiteY40" fmla="*/ 282 h 9844"/>
                <a:gd name="connsiteX41" fmla="*/ 7428 w 8865"/>
                <a:gd name="connsiteY41" fmla="*/ 0 h 9844"/>
                <a:gd name="connsiteX42" fmla="*/ 6949 w 8865"/>
                <a:gd name="connsiteY42" fmla="*/ 0 h 9844"/>
                <a:gd name="connsiteX43" fmla="*/ 5272 w 8865"/>
                <a:gd name="connsiteY43" fmla="*/ 141 h 9844"/>
                <a:gd name="connsiteX44" fmla="*/ 5032 w 8865"/>
                <a:gd name="connsiteY44" fmla="*/ 0 h 9844"/>
                <a:gd name="connsiteX45" fmla="*/ 5032 w 8865"/>
                <a:gd name="connsiteY45" fmla="*/ 703 h 9844"/>
                <a:gd name="connsiteX46" fmla="*/ 5032 w 8865"/>
                <a:gd name="connsiteY46" fmla="*/ 844 h 9844"/>
                <a:gd name="connsiteX0" fmla="*/ 5405 w 9729"/>
                <a:gd name="connsiteY0" fmla="*/ 857 h 10000"/>
                <a:gd name="connsiteX1" fmla="*/ 4325 w 9729"/>
                <a:gd name="connsiteY1" fmla="*/ 1857 h 10000"/>
                <a:gd name="connsiteX2" fmla="*/ 3784 w 9729"/>
                <a:gd name="connsiteY2" fmla="*/ 2858 h 10000"/>
                <a:gd name="connsiteX3" fmla="*/ 4054 w 9729"/>
                <a:gd name="connsiteY3" fmla="*/ 3714 h 10000"/>
                <a:gd name="connsiteX4" fmla="*/ 269 w 9729"/>
                <a:gd name="connsiteY4" fmla="*/ 9858 h 10000"/>
                <a:gd name="connsiteX5" fmla="*/ 0 w 9729"/>
                <a:gd name="connsiteY5" fmla="*/ 9858 h 10000"/>
                <a:gd name="connsiteX6" fmla="*/ 540 w 9729"/>
                <a:gd name="connsiteY6" fmla="*/ 10000 h 10000"/>
                <a:gd name="connsiteX7" fmla="*/ 1080 w 9729"/>
                <a:gd name="connsiteY7" fmla="*/ 9858 h 10000"/>
                <a:gd name="connsiteX8" fmla="*/ 2161 w 9729"/>
                <a:gd name="connsiteY8" fmla="*/ 10000 h 10000"/>
                <a:gd name="connsiteX9" fmla="*/ 2973 w 9729"/>
                <a:gd name="connsiteY9" fmla="*/ 9571 h 10000"/>
                <a:gd name="connsiteX10" fmla="*/ 4054 w 9729"/>
                <a:gd name="connsiteY10" fmla="*/ 9000 h 10000"/>
                <a:gd name="connsiteX11" fmla="*/ 4865 w 9729"/>
                <a:gd name="connsiteY11" fmla="*/ 8857 h 10000"/>
                <a:gd name="connsiteX12" fmla="*/ 4594 w 9729"/>
                <a:gd name="connsiteY12" fmla="*/ 8857 h 10000"/>
                <a:gd name="connsiteX13" fmla="*/ 4594 w 9729"/>
                <a:gd name="connsiteY13" fmla="*/ 8714 h 10000"/>
                <a:gd name="connsiteX14" fmla="*/ 7026 w 9729"/>
                <a:gd name="connsiteY14" fmla="*/ 8143 h 10000"/>
                <a:gd name="connsiteX15" fmla="*/ 8108 w 9729"/>
                <a:gd name="connsiteY15" fmla="*/ 8430 h 10000"/>
                <a:gd name="connsiteX16" fmla="*/ 8648 w 9729"/>
                <a:gd name="connsiteY16" fmla="*/ 8857 h 10000"/>
                <a:gd name="connsiteX17" fmla="*/ 8918 w 9729"/>
                <a:gd name="connsiteY17" fmla="*/ 9144 h 10000"/>
                <a:gd name="connsiteX18" fmla="*/ 9729 w 9729"/>
                <a:gd name="connsiteY18" fmla="*/ 8857 h 10000"/>
                <a:gd name="connsiteX19" fmla="*/ 9729 w 9729"/>
                <a:gd name="connsiteY19" fmla="*/ 8430 h 10000"/>
                <a:gd name="connsiteX20" fmla="*/ 8918 w 9729"/>
                <a:gd name="connsiteY20" fmla="*/ 7714 h 10000"/>
                <a:gd name="connsiteX21" fmla="*/ 8918 w 9729"/>
                <a:gd name="connsiteY21" fmla="*/ 7000 h 10000"/>
                <a:gd name="connsiteX22" fmla="*/ 9189 w 9729"/>
                <a:gd name="connsiteY22" fmla="*/ 7000 h 10000"/>
                <a:gd name="connsiteX23" fmla="*/ 8648 w 9729"/>
                <a:gd name="connsiteY23" fmla="*/ 6286 h 10000"/>
                <a:gd name="connsiteX24" fmla="*/ 8378 w 9729"/>
                <a:gd name="connsiteY24" fmla="*/ 6001 h 10000"/>
                <a:gd name="connsiteX25" fmla="*/ 7026 w 9729"/>
                <a:gd name="connsiteY25" fmla="*/ 5857 h 10000"/>
                <a:gd name="connsiteX26" fmla="*/ 5676 w 9729"/>
                <a:gd name="connsiteY26" fmla="*/ 5571 h 10000"/>
                <a:gd name="connsiteX27" fmla="*/ 5136 w 9729"/>
                <a:gd name="connsiteY27" fmla="*/ 4857 h 10000"/>
                <a:gd name="connsiteX28" fmla="*/ 4594 w 9729"/>
                <a:gd name="connsiteY28" fmla="*/ 3714 h 10000"/>
                <a:gd name="connsiteX29" fmla="*/ 5136 w 9729"/>
                <a:gd name="connsiteY29" fmla="*/ 3286 h 10000"/>
                <a:gd name="connsiteX30" fmla="*/ 4865 w 9729"/>
                <a:gd name="connsiteY30" fmla="*/ 2286 h 10000"/>
                <a:gd name="connsiteX31" fmla="*/ 6216 w 9729"/>
                <a:gd name="connsiteY31" fmla="*/ 2286 h 10000"/>
                <a:gd name="connsiteX32" fmla="*/ 6757 w 9729"/>
                <a:gd name="connsiteY32" fmla="*/ 2858 h 10000"/>
                <a:gd name="connsiteX33" fmla="*/ 7837 w 9729"/>
                <a:gd name="connsiteY33" fmla="*/ 2858 h 10000"/>
                <a:gd name="connsiteX34" fmla="*/ 7837 w 9729"/>
                <a:gd name="connsiteY34" fmla="*/ 2429 h 10000"/>
                <a:gd name="connsiteX35" fmla="*/ 8108 w 9729"/>
                <a:gd name="connsiteY35" fmla="*/ 2143 h 10000"/>
                <a:gd name="connsiteX36" fmla="*/ 8378 w 9729"/>
                <a:gd name="connsiteY36" fmla="*/ 2286 h 10000"/>
                <a:gd name="connsiteX37" fmla="*/ 8108 w 9729"/>
                <a:gd name="connsiteY37" fmla="*/ 1429 h 10000"/>
                <a:gd name="connsiteX38" fmla="*/ 8648 w 9729"/>
                <a:gd name="connsiteY38" fmla="*/ 857 h 10000"/>
                <a:gd name="connsiteX39" fmla="*/ 8648 w 9729"/>
                <a:gd name="connsiteY39" fmla="*/ 286 h 10000"/>
                <a:gd name="connsiteX40" fmla="*/ 8108 w 9729"/>
                <a:gd name="connsiteY40" fmla="*/ 0 h 10000"/>
                <a:gd name="connsiteX41" fmla="*/ 7568 w 9729"/>
                <a:gd name="connsiteY41" fmla="*/ 0 h 10000"/>
                <a:gd name="connsiteX42" fmla="*/ 5676 w 9729"/>
                <a:gd name="connsiteY42" fmla="*/ 143 h 10000"/>
                <a:gd name="connsiteX43" fmla="*/ 5405 w 9729"/>
                <a:gd name="connsiteY43" fmla="*/ 0 h 10000"/>
                <a:gd name="connsiteX44" fmla="*/ 5405 w 9729"/>
                <a:gd name="connsiteY44" fmla="*/ 714 h 10000"/>
                <a:gd name="connsiteX45" fmla="*/ 5405 w 9729"/>
                <a:gd name="connsiteY45" fmla="*/ 857 h 10000"/>
                <a:gd name="connsiteX0" fmla="*/ 5280 w 9724"/>
                <a:gd name="connsiteY0" fmla="*/ 857 h 10000"/>
                <a:gd name="connsiteX1" fmla="*/ 4169 w 9724"/>
                <a:gd name="connsiteY1" fmla="*/ 1857 h 10000"/>
                <a:gd name="connsiteX2" fmla="*/ 3613 w 9724"/>
                <a:gd name="connsiteY2" fmla="*/ 2858 h 10000"/>
                <a:gd name="connsiteX3" fmla="*/ 3891 w 9724"/>
                <a:gd name="connsiteY3" fmla="*/ 3714 h 10000"/>
                <a:gd name="connsiteX4" fmla="*/ 0 w 9724"/>
                <a:gd name="connsiteY4" fmla="*/ 9858 h 10000"/>
                <a:gd name="connsiteX5" fmla="*/ 279 w 9724"/>
                <a:gd name="connsiteY5" fmla="*/ 10000 h 10000"/>
                <a:gd name="connsiteX6" fmla="*/ 834 w 9724"/>
                <a:gd name="connsiteY6" fmla="*/ 9858 h 10000"/>
                <a:gd name="connsiteX7" fmla="*/ 1945 w 9724"/>
                <a:gd name="connsiteY7" fmla="*/ 10000 h 10000"/>
                <a:gd name="connsiteX8" fmla="*/ 2780 w 9724"/>
                <a:gd name="connsiteY8" fmla="*/ 9571 h 10000"/>
                <a:gd name="connsiteX9" fmla="*/ 3891 w 9724"/>
                <a:gd name="connsiteY9" fmla="*/ 9000 h 10000"/>
                <a:gd name="connsiteX10" fmla="*/ 4725 w 9724"/>
                <a:gd name="connsiteY10" fmla="*/ 8857 h 10000"/>
                <a:gd name="connsiteX11" fmla="*/ 4446 w 9724"/>
                <a:gd name="connsiteY11" fmla="*/ 8857 h 10000"/>
                <a:gd name="connsiteX12" fmla="*/ 4446 w 9724"/>
                <a:gd name="connsiteY12" fmla="*/ 8714 h 10000"/>
                <a:gd name="connsiteX13" fmla="*/ 6946 w 9724"/>
                <a:gd name="connsiteY13" fmla="*/ 8143 h 10000"/>
                <a:gd name="connsiteX14" fmla="*/ 8058 w 9724"/>
                <a:gd name="connsiteY14" fmla="*/ 8430 h 10000"/>
                <a:gd name="connsiteX15" fmla="*/ 8613 w 9724"/>
                <a:gd name="connsiteY15" fmla="*/ 8857 h 10000"/>
                <a:gd name="connsiteX16" fmla="*/ 8890 w 9724"/>
                <a:gd name="connsiteY16" fmla="*/ 9144 h 10000"/>
                <a:gd name="connsiteX17" fmla="*/ 9724 w 9724"/>
                <a:gd name="connsiteY17" fmla="*/ 8857 h 10000"/>
                <a:gd name="connsiteX18" fmla="*/ 9724 w 9724"/>
                <a:gd name="connsiteY18" fmla="*/ 8430 h 10000"/>
                <a:gd name="connsiteX19" fmla="*/ 8890 w 9724"/>
                <a:gd name="connsiteY19" fmla="*/ 7714 h 10000"/>
                <a:gd name="connsiteX20" fmla="*/ 8890 w 9724"/>
                <a:gd name="connsiteY20" fmla="*/ 7000 h 10000"/>
                <a:gd name="connsiteX21" fmla="*/ 9169 w 9724"/>
                <a:gd name="connsiteY21" fmla="*/ 7000 h 10000"/>
                <a:gd name="connsiteX22" fmla="*/ 8613 w 9724"/>
                <a:gd name="connsiteY22" fmla="*/ 6286 h 10000"/>
                <a:gd name="connsiteX23" fmla="*/ 8335 w 9724"/>
                <a:gd name="connsiteY23" fmla="*/ 6001 h 10000"/>
                <a:gd name="connsiteX24" fmla="*/ 6946 w 9724"/>
                <a:gd name="connsiteY24" fmla="*/ 5857 h 10000"/>
                <a:gd name="connsiteX25" fmla="*/ 5558 w 9724"/>
                <a:gd name="connsiteY25" fmla="*/ 5571 h 10000"/>
                <a:gd name="connsiteX26" fmla="*/ 5003 w 9724"/>
                <a:gd name="connsiteY26" fmla="*/ 4857 h 10000"/>
                <a:gd name="connsiteX27" fmla="*/ 4446 w 9724"/>
                <a:gd name="connsiteY27" fmla="*/ 3714 h 10000"/>
                <a:gd name="connsiteX28" fmla="*/ 5003 w 9724"/>
                <a:gd name="connsiteY28" fmla="*/ 3286 h 10000"/>
                <a:gd name="connsiteX29" fmla="*/ 4725 w 9724"/>
                <a:gd name="connsiteY29" fmla="*/ 2286 h 10000"/>
                <a:gd name="connsiteX30" fmla="*/ 6113 w 9724"/>
                <a:gd name="connsiteY30" fmla="*/ 2286 h 10000"/>
                <a:gd name="connsiteX31" fmla="*/ 6669 w 9724"/>
                <a:gd name="connsiteY31" fmla="*/ 2858 h 10000"/>
                <a:gd name="connsiteX32" fmla="*/ 7779 w 9724"/>
                <a:gd name="connsiteY32" fmla="*/ 2858 h 10000"/>
                <a:gd name="connsiteX33" fmla="*/ 7779 w 9724"/>
                <a:gd name="connsiteY33" fmla="*/ 2429 h 10000"/>
                <a:gd name="connsiteX34" fmla="*/ 8058 w 9724"/>
                <a:gd name="connsiteY34" fmla="*/ 2143 h 10000"/>
                <a:gd name="connsiteX35" fmla="*/ 8335 w 9724"/>
                <a:gd name="connsiteY35" fmla="*/ 2286 h 10000"/>
                <a:gd name="connsiteX36" fmla="*/ 8058 w 9724"/>
                <a:gd name="connsiteY36" fmla="*/ 1429 h 10000"/>
                <a:gd name="connsiteX37" fmla="*/ 8613 w 9724"/>
                <a:gd name="connsiteY37" fmla="*/ 857 h 10000"/>
                <a:gd name="connsiteX38" fmla="*/ 8613 w 9724"/>
                <a:gd name="connsiteY38" fmla="*/ 286 h 10000"/>
                <a:gd name="connsiteX39" fmla="*/ 8058 w 9724"/>
                <a:gd name="connsiteY39" fmla="*/ 0 h 10000"/>
                <a:gd name="connsiteX40" fmla="*/ 7503 w 9724"/>
                <a:gd name="connsiteY40" fmla="*/ 0 h 10000"/>
                <a:gd name="connsiteX41" fmla="*/ 5558 w 9724"/>
                <a:gd name="connsiteY41" fmla="*/ 143 h 10000"/>
                <a:gd name="connsiteX42" fmla="*/ 5280 w 9724"/>
                <a:gd name="connsiteY42" fmla="*/ 0 h 10000"/>
                <a:gd name="connsiteX43" fmla="*/ 5280 w 9724"/>
                <a:gd name="connsiteY43" fmla="*/ 714 h 10000"/>
                <a:gd name="connsiteX44" fmla="*/ 5280 w 9724"/>
                <a:gd name="connsiteY44" fmla="*/ 857 h 10000"/>
                <a:gd name="connsiteX0" fmla="*/ 5430 w 10000"/>
                <a:gd name="connsiteY0" fmla="*/ 857 h 10000"/>
                <a:gd name="connsiteX1" fmla="*/ 4287 w 10000"/>
                <a:gd name="connsiteY1" fmla="*/ 1857 h 10000"/>
                <a:gd name="connsiteX2" fmla="*/ 3716 w 10000"/>
                <a:gd name="connsiteY2" fmla="*/ 2858 h 10000"/>
                <a:gd name="connsiteX3" fmla="*/ 4001 w 10000"/>
                <a:gd name="connsiteY3" fmla="*/ 3714 h 10000"/>
                <a:gd name="connsiteX4" fmla="*/ 0 w 10000"/>
                <a:gd name="connsiteY4" fmla="*/ 9858 h 10000"/>
                <a:gd name="connsiteX5" fmla="*/ 858 w 10000"/>
                <a:gd name="connsiteY5" fmla="*/ 9858 h 10000"/>
                <a:gd name="connsiteX6" fmla="*/ 2000 w 10000"/>
                <a:gd name="connsiteY6" fmla="*/ 10000 h 10000"/>
                <a:gd name="connsiteX7" fmla="*/ 2859 w 10000"/>
                <a:gd name="connsiteY7" fmla="*/ 9571 h 10000"/>
                <a:gd name="connsiteX8" fmla="*/ 4001 w 10000"/>
                <a:gd name="connsiteY8" fmla="*/ 9000 h 10000"/>
                <a:gd name="connsiteX9" fmla="*/ 4859 w 10000"/>
                <a:gd name="connsiteY9" fmla="*/ 8857 h 10000"/>
                <a:gd name="connsiteX10" fmla="*/ 4572 w 10000"/>
                <a:gd name="connsiteY10" fmla="*/ 8857 h 10000"/>
                <a:gd name="connsiteX11" fmla="*/ 4572 w 10000"/>
                <a:gd name="connsiteY11" fmla="*/ 8714 h 10000"/>
                <a:gd name="connsiteX12" fmla="*/ 7143 w 10000"/>
                <a:gd name="connsiteY12" fmla="*/ 8143 h 10000"/>
                <a:gd name="connsiteX13" fmla="*/ 8287 w 10000"/>
                <a:gd name="connsiteY13" fmla="*/ 8430 h 10000"/>
                <a:gd name="connsiteX14" fmla="*/ 8857 w 10000"/>
                <a:gd name="connsiteY14" fmla="*/ 8857 h 10000"/>
                <a:gd name="connsiteX15" fmla="*/ 9142 w 10000"/>
                <a:gd name="connsiteY15" fmla="*/ 9144 h 10000"/>
                <a:gd name="connsiteX16" fmla="*/ 10000 w 10000"/>
                <a:gd name="connsiteY16" fmla="*/ 8857 h 10000"/>
                <a:gd name="connsiteX17" fmla="*/ 10000 w 10000"/>
                <a:gd name="connsiteY17" fmla="*/ 8430 h 10000"/>
                <a:gd name="connsiteX18" fmla="*/ 9142 w 10000"/>
                <a:gd name="connsiteY18" fmla="*/ 7714 h 10000"/>
                <a:gd name="connsiteX19" fmla="*/ 9142 w 10000"/>
                <a:gd name="connsiteY19" fmla="*/ 7000 h 10000"/>
                <a:gd name="connsiteX20" fmla="*/ 9429 w 10000"/>
                <a:gd name="connsiteY20" fmla="*/ 7000 h 10000"/>
                <a:gd name="connsiteX21" fmla="*/ 8857 w 10000"/>
                <a:gd name="connsiteY21" fmla="*/ 6286 h 10000"/>
                <a:gd name="connsiteX22" fmla="*/ 8572 w 10000"/>
                <a:gd name="connsiteY22" fmla="*/ 6001 h 10000"/>
                <a:gd name="connsiteX23" fmla="*/ 7143 w 10000"/>
                <a:gd name="connsiteY23" fmla="*/ 5857 h 10000"/>
                <a:gd name="connsiteX24" fmla="*/ 5716 w 10000"/>
                <a:gd name="connsiteY24" fmla="*/ 5571 h 10000"/>
                <a:gd name="connsiteX25" fmla="*/ 5145 w 10000"/>
                <a:gd name="connsiteY25" fmla="*/ 4857 h 10000"/>
                <a:gd name="connsiteX26" fmla="*/ 4572 w 10000"/>
                <a:gd name="connsiteY26" fmla="*/ 3714 h 10000"/>
                <a:gd name="connsiteX27" fmla="*/ 5145 w 10000"/>
                <a:gd name="connsiteY27" fmla="*/ 3286 h 10000"/>
                <a:gd name="connsiteX28" fmla="*/ 4859 w 10000"/>
                <a:gd name="connsiteY28" fmla="*/ 2286 h 10000"/>
                <a:gd name="connsiteX29" fmla="*/ 6287 w 10000"/>
                <a:gd name="connsiteY29" fmla="*/ 2286 h 10000"/>
                <a:gd name="connsiteX30" fmla="*/ 6858 w 10000"/>
                <a:gd name="connsiteY30" fmla="*/ 2858 h 10000"/>
                <a:gd name="connsiteX31" fmla="*/ 8000 w 10000"/>
                <a:gd name="connsiteY31" fmla="*/ 2858 h 10000"/>
                <a:gd name="connsiteX32" fmla="*/ 8000 w 10000"/>
                <a:gd name="connsiteY32" fmla="*/ 2429 h 10000"/>
                <a:gd name="connsiteX33" fmla="*/ 8287 w 10000"/>
                <a:gd name="connsiteY33" fmla="*/ 2143 h 10000"/>
                <a:gd name="connsiteX34" fmla="*/ 8572 w 10000"/>
                <a:gd name="connsiteY34" fmla="*/ 2286 h 10000"/>
                <a:gd name="connsiteX35" fmla="*/ 8287 w 10000"/>
                <a:gd name="connsiteY35" fmla="*/ 1429 h 10000"/>
                <a:gd name="connsiteX36" fmla="*/ 8857 w 10000"/>
                <a:gd name="connsiteY36" fmla="*/ 857 h 10000"/>
                <a:gd name="connsiteX37" fmla="*/ 8857 w 10000"/>
                <a:gd name="connsiteY37" fmla="*/ 286 h 10000"/>
                <a:gd name="connsiteX38" fmla="*/ 8287 w 10000"/>
                <a:gd name="connsiteY38" fmla="*/ 0 h 10000"/>
                <a:gd name="connsiteX39" fmla="*/ 7716 w 10000"/>
                <a:gd name="connsiteY39" fmla="*/ 0 h 10000"/>
                <a:gd name="connsiteX40" fmla="*/ 5716 w 10000"/>
                <a:gd name="connsiteY40" fmla="*/ 143 h 10000"/>
                <a:gd name="connsiteX41" fmla="*/ 5430 w 10000"/>
                <a:gd name="connsiteY41" fmla="*/ 0 h 10000"/>
                <a:gd name="connsiteX42" fmla="*/ 5430 w 10000"/>
                <a:gd name="connsiteY42" fmla="*/ 714 h 10000"/>
                <a:gd name="connsiteX43" fmla="*/ 5430 w 10000"/>
                <a:gd name="connsiteY43" fmla="*/ 857 h 10000"/>
                <a:gd name="connsiteX0" fmla="*/ 5430 w 10000"/>
                <a:gd name="connsiteY0" fmla="*/ 857 h 10000"/>
                <a:gd name="connsiteX1" fmla="*/ 4287 w 10000"/>
                <a:gd name="connsiteY1" fmla="*/ 1857 h 10000"/>
                <a:gd name="connsiteX2" fmla="*/ 3716 w 10000"/>
                <a:gd name="connsiteY2" fmla="*/ 2858 h 10000"/>
                <a:gd name="connsiteX3" fmla="*/ 4001 w 10000"/>
                <a:gd name="connsiteY3" fmla="*/ 3714 h 10000"/>
                <a:gd name="connsiteX4" fmla="*/ 0 w 10000"/>
                <a:gd name="connsiteY4" fmla="*/ 9858 h 10000"/>
                <a:gd name="connsiteX5" fmla="*/ 2000 w 10000"/>
                <a:gd name="connsiteY5" fmla="*/ 10000 h 10000"/>
                <a:gd name="connsiteX6" fmla="*/ 2859 w 10000"/>
                <a:gd name="connsiteY6" fmla="*/ 9571 h 10000"/>
                <a:gd name="connsiteX7" fmla="*/ 4001 w 10000"/>
                <a:gd name="connsiteY7" fmla="*/ 9000 h 10000"/>
                <a:gd name="connsiteX8" fmla="*/ 4859 w 10000"/>
                <a:gd name="connsiteY8" fmla="*/ 8857 h 10000"/>
                <a:gd name="connsiteX9" fmla="*/ 4572 w 10000"/>
                <a:gd name="connsiteY9" fmla="*/ 8857 h 10000"/>
                <a:gd name="connsiteX10" fmla="*/ 4572 w 10000"/>
                <a:gd name="connsiteY10" fmla="*/ 8714 h 10000"/>
                <a:gd name="connsiteX11" fmla="*/ 7143 w 10000"/>
                <a:gd name="connsiteY11" fmla="*/ 8143 h 10000"/>
                <a:gd name="connsiteX12" fmla="*/ 8287 w 10000"/>
                <a:gd name="connsiteY12" fmla="*/ 8430 h 10000"/>
                <a:gd name="connsiteX13" fmla="*/ 8857 w 10000"/>
                <a:gd name="connsiteY13" fmla="*/ 8857 h 10000"/>
                <a:gd name="connsiteX14" fmla="*/ 9142 w 10000"/>
                <a:gd name="connsiteY14" fmla="*/ 9144 h 10000"/>
                <a:gd name="connsiteX15" fmla="*/ 10000 w 10000"/>
                <a:gd name="connsiteY15" fmla="*/ 8857 h 10000"/>
                <a:gd name="connsiteX16" fmla="*/ 10000 w 10000"/>
                <a:gd name="connsiteY16" fmla="*/ 8430 h 10000"/>
                <a:gd name="connsiteX17" fmla="*/ 9142 w 10000"/>
                <a:gd name="connsiteY17" fmla="*/ 7714 h 10000"/>
                <a:gd name="connsiteX18" fmla="*/ 9142 w 10000"/>
                <a:gd name="connsiteY18" fmla="*/ 7000 h 10000"/>
                <a:gd name="connsiteX19" fmla="*/ 9429 w 10000"/>
                <a:gd name="connsiteY19" fmla="*/ 7000 h 10000"/>
                <a:gd name="connsiteX20" fmla="*/ 8857 w 10000"/>
                <a:gd name="connsiteY20" fmla="*/ 6286 h 10000"/>
                <a:gd name="connsiteX21" fmla="*/ 8572 w 10000"/>
                <a:gd name="connsiteY21" fmla="*/ 6001 h 10000"/>
                <a:gd name="connsiteX22" fmla="*/ 7143 w 10000"/>
                <a:gd name="connsiteY22" fmla="*/ 5857 h 10000"/>
                <a:gd name="connsiteX23" fmla="*/ 5716 w 10000"/>
                <a:gd name="connsiteY23" fmla="*/ 5571 h 10000"/>
                <a:gd name="connsiteX24" fmla="*/ 5145 w 10000"/>
                <a:gd name="connsiteY24" fmla="*/ 4857 h 10000"/>
                <a:gd name="connsiteX25" fmla="*/ 4572 w 10000"/>
                <a:gd name="connsiteY25" fmla="*/ 3714 h 10000"/>
                <a:gd name="connsiteX26" fmla="*/ 5145 w 10000"/>
                <a:gd name="connsiteY26" fmla="*/ 3286 h 10000"/>
                <a:gd name="connsiteX27" fmla="*/ 4859 w 10000"/>
                <a:gd name="connsiteY27" fmla="*/ 2286 h 10000"/>
                <a:gd name="connsiteX28" fmla="*/ 6287 w 10000"/>
                <a:gd name="connsiteY28" fmla="*/ 2286 h 10000"/>
                <a:gd name="connsiteX29" fmla="*/ 6858 w 10000"/>
                <a:gd name="connsiteY29" fmla="*/ 2858 h 10000"/>
                <a:gd name="connsiteX30" fmla="*/ 8000 w 10000"/>
                <a:gd name="connsiteY30" fmla="*/ 2858 h 10000"/>
                <a:gd name="connsiteX31" fmla="*/ 8000 w 10000"/>
                <a:gd name="connsiteY31" fmla="*/ 2429 h 10000"/>
                <a:gd name="connsiteX32" fmla="*/ 8287 w 10000"/>
                <a:gd name="connsiteY32" fmla="*/ 2143 h 10000"/>
                <a:gd name="connsiteX33" fmla="*/ 8572 w 10000"/>
                <a:gd name="connsiteY33" fmla="*/ 2286 h 10000"/>
                <a:gd name="connsiteX34" fmla="*/ 8287 w 10000"/>
                <a:gd name="connsiteY34" fmla="*/ 1429 h 10000"/>
                <a:gd name="connsiteX35" fmla="*/ 8857 w 10000"/>
                <a:gd name="connsiteY35" fmla="*/ 857 h 10000"/>
                <a:gd name="connsiteX36" fmla="*/ 8857 w 10000"/>
                <a:gd name="connsiteY36" fmla="*/ 286 h 10000"/>
                <a:gd name="connsiteX37" fmla="*/ 8287 w 10000"/>
                <a:gd name="connsiteY37" fmla="*/ 0 h 10000"/>
                <a:gd name="connsiteX38" fmla="*/ 7716 w 10000"/>
                <a:gd name="connsiteY38" fmla="*/ 0 h 10000"/>
                <a:gd name="connsiteX39" fmla="*/ 5716 w 10000"/>
                <a:gd name="connsiteY39" fmla="*/ 143 h 10000"/>
                <a:gd name="connsiteX40" fmla="*/ 5430 w 10000"/>
                <a:gd name="connsiteY40" fmla="*/ 0 h 10000"/>
                <a:gd name="connsiteX41" fmla="*/ 5430 w 10000"/>
                <a:gd name="connsiteY41" fmla="*/ 714 h 10000"/>
                <a:gd name="connsiteX42" fmla="*/ 5430 w 10000"/>
                <a:gd name="connsiteY42" fmla="*/ 857 h 10000"/>
                <a:gd name="connsiteX0" fmla="*/ 3430 w 8000"/>
                <a:gd name="connsiteY0" fmla="*/ 857 h 10000"/>
                <a:gd name="connsiteX1" fmla="*/ 2287 w 8000"/>
                <a:gd name="connsiteY1" fmla="*/ 1857 h 10000"/>
                <a:gd name="connsiteX2" fmla="*/ 1716 w 8000"/>
                <a:gd name="connsiteY2" fmla="*/ 2858 h 10000"/>
                <a:gd name="connsiteX3" fmla="*/ 2001 w 8000"/>
                <a:gd name="connsiteY3" fmla="*/ 3714 h 10000"/>
                <a:gd name="connsiteX4" fmla="*/ 0 w 8000"/>
                <a:gd name="connsiteY4" fmla="*/ 10000 h 10000"/>
                <a:gd name="connsiteX5" fmla="*/ 859 w 8000"/>
                <a:gd name="connsiteY5" fmla="*/ 9571 h 10000"/>
                <a:gd name="connsiteX6" fmla="*/ 2001 w 8000"/>
                <a:gd name="connsiteY6" fmla="*/ 9000 h 10000"/>
                <a:gd name="connsiteX7" fmla="*/ 2859 w 8000"/>
                <a:gd name="connsiteY7" fmla="*/ 8857 h 10000"/>
                <a:gd name="connsiteX8" fmla="*/ 2572 w 8000"/>
                <a:gd name="connsiteY8" fmla="*/ 8857 h 10000"/>
                <a:gd name="connsiteX9" fmla="*/ 2572 w 8000"/>
                <a:gd name="connsiteY9" fmla="*/ 8714 h 10000"/>
                <a:gd name="connsiteX10" fmla="*/ 5143 w 8000"/>
                <a:gd name="connsiteY10" fmla="*/ 8143 h 10000"/>
                <a:gd name="connsiteX11" fmla="*/ 6287 w 8000"/>
                <a:gd name="connsiteY11" fmla="*/ 8430 h 10000"/>
                <a:gd name="connsiteX12" fmla="*/ 6857 w 8000"/>
                <a:gd name="connsiteY12" fmla="*/ 8857 h 10000"/>
                <a:gd name="connsiteX13" fmla="*/ 7142 w 8000"/>
                <a:gd name="connsiteY13" fmla="*/ 9144 h 10000"/>
                <a:gd name="connsiteX14" fmla="*/ 8000 w 8000"/>
                <a:gd name="connsiteY14" fmla="*/ 8857 h 10000"/>
                <a:gd name="connsiteX15" fmla="*/ 8000 w 8000"/>
                <a:gd name="connsiteY15" fmla="*/ 8430 h 10000"/>
                <a:gd name="connsiteX16" fmla="*/ 7142 w 8000"/>
                <a:gd name="connsiteY16" fmla="*/ 7714 h 10000"/>
                <a:gd name="connsiteX17" fmla="*/ 7142 w 8000"/>
                <a:gd name="connsiteY17" fmla="*/ 7000 h 10000"/>
                <a:gd name="connsiteX18" fmla="*/ 7429 w 8000"/>
                <a:gd name="connsiteY18" fmla="*/ 7000 h 10000"/>
                <a:gd name="connsiteX19" fmla="*/ 6857 w 8000"/>
                <a:gd name="connsiteY19" fmla="*/ 6286 h 10000"/>
                <a:gd name="connsiteX20" fmla="*/ 6572 w 8000"/>
                <a:gd name="connsiteY20" fmla="*/ 6001 h 10000"/>
                <a:gd name="connsiteX21" fmla="*/ 5143 w 8000"/>
                <a:gd name="connsiteY21" fmla="*/ 5857 h 10000"/>
                <a:gd name="connsiteX22" fmla="*/ 3716 w 8000"/>
                <a:gd name="connsiteY22" fmla="*/ 5571 h 10000"/>
                <a:gd name="connsiteX23" fmla="*/ 3145 w 8000"/>
                <a:gd name="connsiteY23" fmla="*/ 4857 h 10000"/>
                <a:gd name="connsiteX24" fmla="*/ 2572 w 8000"/>
                <a:gd name="connsiteY24" fmla="*/ 3714 h 10000"/>
                <a:gd name="connsiteX25" fmla="*/ 3145 w 8000"/>
                <a:gd name="connsiteY25" fmla="*/ 3286 h 10000"/>
                <a:gd name="connsiteX26" fmla="*/ 2859 w 8000"/>
                <a:gd name="connsiteY26" fmla="*/ 2286 h 10000"/>
                <a:gd name="connsiteX27" fmla="*/ 4287 w 8000"/>
                <a:gd name="connsiteY27" fmla="*/ 2286 h 10000"/>
                <a:gd name="connsiteX28" fmla="*/ 4858 w 8000"/>
                <a:gd name="connsiteY28" fmla="*/ 2858 h 10000"/>
                <a:gd name="connsiteX29" fmla="*/ 6000 w 8000"/>
                <a:gd name="connsiteY29" fmla="*/ 2858 h 10000"/>
                <a:gd name="connsiteX30" fmla="*/ 6000 w 8000"/>
                <a:gd name="connsiteY30" fmla="*/ 2429 h 10000"/>
                <a:gd name="connsiteX31" fmla="*/ 6287 w 8000"/>
                <a:gd name="connsiteY31" fmla="*/ 2143 h 10000"/>
                <a:gd name="connsiteX32" fmla="*/ 6572 w 8000"/>
                <a:gd name="connsiteY32" fmla="*/ 2286 h 10000"/>
                <a:gd name="connsiteX33" fmla="*/ 6287 w 8000"/>
                <a:gd name="connsiteY33" fmla="*/ 1429 h 10000"/>
                <a:gd name="connsiteX34" fmla="*/ 6857 w 8000"/>
                <a:gd name="connsiteY34" fmla="*/ 857 h 10000"/>
                <a:gd name="connsiteX35" fmla="*/ 6857 w 8000"/>
                <a:gd name="connsiteY35" fmla="*/ 286 h 10000"/>
                <a:gd name="connsiteX36" fmla="*/ 6287 w 8000"/>
                <a:gd name="connsiteY36" fmla="*/ 0 h 10000"/>
                <a:gd name="connsiteX37" fmla="*/ 5716 w 8000"/>
                <a:gd name="connsiteY37" fmla="*/ 0 h 10000"/>
                <a:gd name="connsiteX38" fmla="*/ 3716 w 8000"/>
                <a:gd name="connsiteY38" fmla="*/ 143 h 10000"/>
                <a:gd name="connsiteX39" fmla="*/ 3430 w 8000"/>
                <a:gd name="connsiteY39" fmla="*/ 0 h 10000"/>
                <a:gd name="connsiteX40" fmla="*/ 3430 w 8000"/>
                <a:gd name="connsiteY40" fmla="*/ 714 h 10000"/>
                <a:gd name="connsiteX41" fmla="*/ 3430 w 8000"/>
                <a:gd name="connsiteY41" fmla="*/ 857 h 10000"/>
                <a:gd name="connsiteX0" fmla="*/ 3214 w 8926"/>
                <a:gd name="connsiteY0" fmla="*/ 857 h 9880"/>
                <a:gd name="connsiteX1" fmla="*/ 1785 w 8926"/>
                <a:gd name="connsiteY1" fmla="*/ 1857 h 9880"/>
                <a:gd name="connsiteX2" fmla="*/ 1071 w 8926"/>
                <a:gd name="connsiteY2" fmla="*/ 2858 h 9880"/>
                <a:gd name="connsiteX3" fmla="*/ 1427 w 8926"/>
                <a:gd name="connsiteY3" fmla="*/ 3714 h 9880"/>
                <a:gd name="connsiteX4" fmla="*/ 0 w 8926"/>
                <a:gd name="connsiteY4" fmla="*/ 9571 h 9880"/>
                <a:gd name="connsiteX5" fmla="*/ 1427 w 8926"/>
                <a:gd name="connsiteY5" fmla="*/ 9000 h 9880"/>
                <a:gd name="connsiteX6" fmla="*/ 2500 w 8926"/>
                <a:gd name="connsiteY6" fmla="*/ 8857 h 9880"/>
                <a:gd name="connsiteX7" fmla="*/ 2141 w 8926"/>
                <a:gd name="connsiteY7" fmla="*/ 8857 h 9880"/>
                <a:gd name="connsiteX8" fmla="*/ 2141 w 8926"/>
                <a:gd name="connsiteY8" fmla="*/ 8714 h 9880"/>
                <a:gd name="connsiteX9" fmla="*/ 5355 w 8926"/>
                <a:gd name="connsiteY9" fmla="*/ 8143 h 9880"/>
                <a:gd name="connsiteX10" fmla="*/ 6785 w 8926"/>
                <a:gd name="connsiteY10" fmla="*/ 8430 h 9880"/>
                <a:gd name="connsiteX11" fmla="*/ 7497 w 8926"/>
                <a:gd name="connsiteY11" fmla="*/ 8857 h 9880"/>
                <a:gd name="connsiteX12" fmla="*/ 7854 w 8926"/>
                <a:gd name="connsiteY12" fmla="*/ 9144 h 9880"/>
                <a:gd name="connsiteX13" fmla="*/ 8926 w 8926"/>
                <a:gd name="connsiteY13" fmla="*/ 8857 h 9880"/>
                <a:gd name="connsiteX14" fmla="*/ 8926 w 8926"/>
                <a:gd name="connsiteY14" fmla="*/ 8430 h 9880"/>
                <a:gd name="connsiteX15" fmla="*/ 7854 w 8926"/>
                <a:gd name="connsiteY15" fmla="*/ 7714 h 9880"/>
                <a:gd name="connsiteX16" fmla="*/ 7854 w 8926"/>
                <a:gd name="connsiteY16" fmla="*/ 7000 h 9880"/>
                <a:gd name="connsiteX17" fmla="*/ 8212 w 8926"/>
                <a:gd name="connsiteY17" fmla="*/ 7000 h 9880"/>
                <a:gd name="connsiteX18" fmla="*/ 7497 w 8926"/>
                <a:gd name="connsiteY18" fmla="*/ 6286 h 9880"/>
                <a:gd name="connsiteX19" fmla="*/ 7141 w 8926"/>
                <a:gd name="connsiteY19" fmla="*/ 6001 h 9880"/>
                <a:gd name="connsiteX20" fmla="*/ 5355 w 8926"/>
                <a:gd name="connsiteY20" fmla="*/ 5857 h 9880"/>
                <a:gd name="connsiteX21" fmla="*/ 3571 w 8926"/>
                <a:gd name="connsiteY21" fmla="*/ 5571 h 9880"/>
                <a:gd name="connsiteX22" fmla="*/ 2857 w 8926"/>
                <a:gd name="connsiteY22" fmla="*/ 4857 h 9880"/>
                <a:gd name="connsiteX23" fmla="*/ 2141 w 8926"/>
                <a:gd name="connsiteY23" fmla="*/ 3714 h 9880"/>
                <a:gd name="connsiteX24" fmla="*/ 2857 w 8926"/>
                <a:gd name="connsiteY24" fmla="*/ 3286 h 9880"/>
                <a:gd name="connsiteX25" fmla="*/ 2500 w 8926"/>
                <a:gd name="connsiteY25" fmla="*/ 2286 h 9880"/>
                <a:gd name="connsiteX26" fmla="*/ 4285 w 8926"/>
                <a:gd name="connsiteY26" fmla="*/ 2286 h 9880"/>
                <a:gd name="connsiteX27" fmla="*/ 4999 w 8926"/>
                <a:gd name="connsiteY27" fmla="*/ 2858 h 9880"/>
                <a:gd name="connsiteX28" fmla="*/ 6426 w 8926"/>
                <a:gd name="connsiteY28" fmla="*/ 2858 h 9880"/>
                <a:gd name="connsiteX29" fmla="*/ 6426 w 8926"/>
                <a:gd name="connsiteY29" fmla="*/ 2429 h 9880"/>
                <a:gd name="connsiteX30" fmla="*/ 6785 w 8926"/>
                <a:gd name="connsiteY30" fmla="*/ 2143 h 9880"/>
                <a:gd name="connsiteX31" fmla="*/ 7141 w 8926"/>
                <a:gd name="connsiteY31" fmla="*/ 2286 h 9880"/>
                <a:gd name="connsiteX32" fmla="*/ 6785 w 8926"/>
                <a:gd name="connsiteY32" fmla="*/ 1429 h 9880"/>
                <a:gd name="connsiteX33" fmla="*/ 7497 w 8926"/>
                <a:gd name="connsiteY33" fmla="*/ 857 h 9880"/>
                <a:gd name="connsiteX34" fmla="*/ 7497 w 8926"/>
                <a:gd name="connsiteY34" fmla="*/ 286 h 9880"/>
                <a:gd name="connsiteX35" fmla="*/ 6785 w 8926"/>
                <a:gd name="connsiteY35" fmla="*/ 0 h 9880"/>
                <a:gd name="connsiteX36" fmla="*/ 6071 w 8926"/>
                <a:gd name="connsiteY36" fmla="*/ 0 h 9880"/>
                <a:gd name="connsiteX37" fmla="*/ 3571 w 8926"/>
                <a:gd name="connsiteY37" fmla="*/ 143 h 9880"/>
                <a:gd name="connsiteX38" fmla="*/ 3214 w 8926"/>
                <a:gd name="connsiteY38" fmla="*/ 0 h 9880"/>
                <a:gd name="connsiteX39" fmla="*/ 3214 w 8926"/>
                <a:gd name="connsiteY39" fmla="*/ 714 h 9880"/>
                <a:gd name="connsiteX40" fmla="*/ 3214 w 8926"/>
                <a:gd name="connsiteY40" fmla="*/ 857 h 9880"/>
                <a:gd name="connsiteX0" fmla="*/ 2401 w 8800"/>
                <a:gd name="connsiteY0" fmla="*/ 867 h 9255"/>
                <a:gd name="connsiteX1" fmla="*/ 800 w 8800"/>
                <a:gd name="connsiteY1" fmla="*/ 1880 h 9255"/>
                <a:gd name="connsiteX2" fmla="*/ 0 w 8800"/>
                <a:gd name="connsiteY2" fmla="*/ 2893 h 9255"/>
                <a:gd name="connsiteX3" fmla="*/ 399 w 8800"/>
                <a:gd name="connsiteY3" fmla="*/ 3759 h 9255"/>
                <a:gd name="connsiteX4" fmla="*/ 399 w 8800"/>
                <a:gd name="connsiteY4" fmla="*/ 9109 h 9255"/>
                <a:gd name="connsiteX5" fmla="*/ 1601 w 8800"/>
                <a:gd name="connsiteY5" fmla="*/ 8965 h 9255"/>
                <a:gd name="connsiteX6" fmla="*/ 1199 w 8800"/>
                <a:gd name="connsiteY6" fmla="*/ 8965 h 9255"/>
                <a:gd name="connsiteX7" fmla="*/ 1199 w 8800"/>
                <a:gd name="connsiteY7" fmla="*/ 8820 h 9255"/>
                <a:gd name="connsiteX8" fmla="*/ 4799 w 8800"/>
                <a:gd name="connsiteY8" fmla="*/ 8242 h 9255"/>
                <a:gd name="connsiteX9" fmla="*/ 6401 w 8800"/>
                <a:gd name="connsiteY9" fmla="*/ 8532 h 9255"/>
                <a:gd name="connsiteX10" fmla="*/ 7199 w 8800"/>
                <a:gd name="connsiteY10" fmla="*/ 8965 h 9255"/>
                <a:gd name="connsiteX11" fmla="*/ 7599 w 8800"/>
                <a:gd name="connsiteY11" fmla="*/ 9255 h 9255"/>
                <a:gd name="connsiteX12" fmla="*/ 8800 w 8800"/>
                <a:gd name="connsiteY12" fmla="*/ 8965 h 9255"/>
                <a:gd name="connsiteX13" fmla="*/ 8800 w 8800"/>
                <a:gd name="connsiteY13" fmla="*/ 8532 h 9255"/>
                <a:gd name="connsiteX14" fmla="*/ 7599 w 8800"/>
                <a:gd name="connsiteY14" fmla="*/ 7808 h 9255"/>
                <a:gd name="connsiteX15" fmla="*/ 7599 w 8800"/>
                <a:gd name="connsiteY15" fmla="*/ 7085 h 9255"/>
                <a:gd name="connsiteX16" fmla="*/ 8000 w 8800"/>
                <a:gd name="connsiteY16" fmla="*/ 7085 h 9255"/>
                <a:gd name="connsiteX17" fmla="*/ 7199 w 8800"/>
                <a:gd name="connsiteY17" fmla="*/ 6362 h 9255"/>
                <a:gd name="connsiteX18" fmla="*/ 6800 w 8800"/>
                <a:gd name="connsiteY18" fmla="*/ 6074 h 9255"/>
                <a:gd name="connsiteX19" fmla="*/ 4799 w 8800"/>
                <a:gd name="connsiteY19" fmla="*/ 5928 h 9255"/>
                <a:gd name="connsiteX20" fmla="*/ 2801 w 8800"/>
                <a:gd name="connsiteY20" fmla="*/ 5639 h 9255"/>
                <a:gd name="connsiteX21" fmla="*/ 2001 w 8800"/>
                <a:gd name="connsiteY21" fmla="*/ 4916 h 9255"/>
                <a:gd name="connsiteX22" fmla="*/ 1199 w 8800"/>
                <a:gd name="connsiteY22" fmla="*/ 3759 h 9255"/>
                <a:gd name="connsiteX23" fmla="*/ 2001 w 8800"/>
                <a:gd name="connsiteY23" fmla="*/ 3326 h 9255"/>
                <a:gd name="connsiteX24" fmla="*/ 1601 w 8800"/>
                <a:gd name="connsiteY24" fmla="*/ 2314 h 9255"/>
                <a:gd name="connsiteX25" fmla="*/ 3601 w 8800"/>
                <a:gd name="connsiteY25" fmla="*/ 2314 h 9255"/>
                <a:gd name="connsiteX26" fmla="*/ 4400 w 8800"/>
                <a:gd name="connsiteY26" fmla="*/ 2893 h 9255"/>
                <a:gd name="connsiteX27" fmla="*/ 5999 w 8800"/>
                <a:gd name="connsiteY27" fmla="*/ 2893 h 9255"/>
                <a:gd name="connsiteX28" fmla="*/ 5999 w 8800"/>
                <a:gd name="connsiteY28" fmla="*/ 2459 h 9255"/>
                <a:gd name="connsiteX29" fmla="*/ 6401 w 8800"/>
                <a:gd name="connsiteY29" fmla="*/ 2169 h 9255"/>
                <a:gd name="connsiteX30" fmla="*/ 6800 w 8800"/>
                <a:gd name="connsiteY30" fmla="*/ 2314 h 9255"/>
                <a:gd name="connsiteX31" fmla="*/ 6401 w 8800"/>
                <a:gd name="connsiteY31" fmla="*/ 1446 h 9255"/>
                <a:gd name="connsiteX32" fmla="*/ 7199 w 8800"/>
                <a:gd name="connsiteY32" fmla="*/ 867 h 9255"/>
                <a:gd name="connsiteX33" fmla="*/ 7199 w 8800"/>
                <a:gd name="connsiteY33" fmla="*/ 289 h 9255"/>
                <a:gd name="connsiteX34" fmla="*/ 6401 w 8800"/>
                <a:gd name="connsiteY34" fmla="*/ 0 h 9255"/>
                <a:gd name="connsiteX35" fmla="*/ 5601 w 8800"/>
                <a:gd name="connsiteY35" fmla="*/ 0 h 9255"/>
                <a:gd name="connsiteX36" fmla="*/ 2801 w 8800"/>
                <a:gd name="connsiteY36" fmla="*/ 145 h 9255"/>
                <a:gd name="connsiteX37" fmla="*/ 2401 w 8800"/>
                <a:gd name="connsiteY37" fmla="*/ 0 h 9255"/>
                <a:gd name="connsiteX38" fmla="*/ 2401 w 8800"/>
                <a:gd name="connsiteY38" fmla="*/ 723 h 9255"/>
                <a:gd name="connsiteX39" fmla="*/ 2401 w 8800"/>
                <a:gd name="connsiteY39" fmla="*/ 867 h 9255"/>
                <a:gd name="connsiteX0" fmla="*/ 2728 w 10000"/>
                <a:gd name="connsiteY0" fmla="*/ 937 h 10000"/>
                <a:gd name="connsiteX1" fmla="*/ 909 w 10000"/>
                <a:gd name="connsiteY1" fmla="*/ 2031 h 10000"/>
                <a:gd name="connsiteX2" fmla="*/ 0 w 10000"/>
                <a:gd name="connsiteY2" fmla="*/ 3126 h 10000"/>
                <a:gd name="connsiteX3" fmla="*/ 453 w 10000"/>
                <a:gd name="connsiteY3" fmla="*/ 4062 h 10000"/>
                <a:gd name="connsiteX4" fmla="*/ 1819 w 10000"/>
                <a:gd name="connsiteY4" fmla="*/ 9687 h 10000"/>
                <a:gd name="connsiteX5" fmla="*/ 1363 w 10000"/>
                <a:gd name="connsiteY5" fmla="*/ 9687 h 10000"/>
                <a:gd name="connsiteX6" fmla="*/ 1363 w 10000"/>
                <a:gd name="connsiteY6" fmla="*/ 9530 h 10000"/>
                <a:gd name="connsiteX7" fmla="*/ 5453 w 10000"/>
                <a:gd name="connsiteY7" fmla="*/ 8905 h 10000"/>
                <a:gd name="connsiteX8" fmla="*/ 7274 w 10000"/>
                <a:gd name="connsiteY8" fmla="*/ 9219 h 10000"/>
                <a:gd name="connsiteX9" fmla="*/ 8181 w 10000"/>
                <a:gd name="connsiteY9" fmla="*/ 9687 h 10000"/>
                <a:gd name="connsiteX10" fmla="*/ 8635 w 10000"/>
                <a:gd name="connsiteY10" fmla="*/ 10000 h 10000"/>
                <a:gd name="connsiteX11" fmla="*/ 10000 w 10000"/>
                <a:gd name="connsiteY11" fmla="*/ 9687 h 10000"/>
                <a:gd name="connsiteX12" fmla="*/ 10000 w 10000"/>
                <a:gd name="connsiteY12" fmla="*/ 9219 h 10000"/>
                <a:gd name="connsiteX13" fmla="*/ 8635 w 10000"/>
                <a:gd name="connsiteY13" fmla="*/ 8437 h 10000"/>
                <a:gd name="connsiteX14" fmla="*/ 8635 w 10000"/>
                <a:gd name="connsiteY14" fmla="*/ 7655 h 10000"/>
                <a:gd name="connsiteX15" fmla="*/ 9091 w 10000"/>
                <a:gd name="connsiteY15" fmla="*/ 7655 h 10000"/>
                <a:gd name="connsiteX16" fmla="*/ 8181 w 10000"/>
                <a:gd name="connsiteY16" fmla="*/ 6874 h 10000"/>
                <a:gd name="connsiteX17" fmla="*/ 7727 w 10000"/>
                <a:gd name="connsiteY17" fmla="*/ 6563 h 10000"/>
                <a:gd name="connsiteX18" fmla="*/ 5453 w 10000"/>
                <a:gd name="connsiteY18" fmla="*/ 6405 h 10000"/>
                <a:gd name="connsiteX19" fmla="*/ 3183 w 10000"/>
                <a:gd name="connsiteY19" fmla="*/ 6093 h 10000"/>
                <a:gd name="connsiteX20" fmla="*/ 2274 w 10000"/>
                <a:gd name="connsiteY20" fmla="*/ 5312 h 10000"/>
                <a:gd name="connsiteX21" fmla="*/ 1363 w 10000"/>
                <a:gd name="connsiteY21" fmla="*/ 4062 h 10000"/>
                <a:gd name="connsiteX22" fmla="*/ 2274 w 10000"/>
                <a:gd name="connsiteY22" fmla="*/ 3594 h 10000"/>
                <a:gd name="connsiteX23" fmla="*/ 1819 w 10000"/>
                <a:gd name="connsiteY23" fmla="*/ 2500 h 10000"/>
                <a:gd name="connsiteX24" fmla="*/ 4092 w 10000"/>
                <a:gd name="connsiteY24" fmla="*/ 2500 h 10000"/>
                <a:gd name="connsiteX25" fmla="*/ 5000 w 10000"/>
                <a:gd name="connsiteY25" fmla="*/ 3126 h 10000"/>
                <a:gd name="connsiteX26" fmla="*/ 6817 w 10000"/>
                <a:gd name="connsiteY26" fmla="*/ 3126 h 10000"/>
                <a:gd name="connsiteX27" fmla="*/ 6817 w 10000"/>
                <a:gd name="connsiteY27" fmla="*/ 2657 h 10000"/>
                <a:gd name="connsiteX28" fmla="*/ 7274 w 10000"/>
                <a:gd name="connsiteY28" fmla="*/ 2344 h 10000"/>
                <a:gd name="connsiteX29" fmla="*/ 7727 w 10000"/>
                <a:gd name="connsiteY29" fmla="*/ 2500 h 10000"/>
                <a:gd name="connsiteX30" fmla="*/ 7274 w 10000"/>
                <a:gd name="connsiteY30" fmla="*/ 1562 h 10000"/>
                <a:gd name="connsiteX31" fmla="*/ 8181 w 10000"/>
                <a:gd name="connsiteY31" fmla="*/ 937 h 10000"/>
                <a:gd name="connsiteX32" fmla="*/ 8181 w 10000"/>
                <a:gd name="connsiteY32" fmla="*/ 312 h 10000"/>
                <a:gd name="connsiteX33" fmla="*/ 7274 w 10000"/>
                <a:gd name="connsiteY33" fmla="*/ 0 h 10000"/>
                <a:gd name="connsiteX34" fmla="*/ 6365 w 10000"/>
                <a:gd name="connsiteY34" fmla="*/ 0 h 10000"/>
                <a:gd name="connsiteX35" fmla="*/ 3183 w 10000"/>
                <a:gd name="connsiteY35" fmla="*/ 157 h 10000"/>
                <a:gd name="connsiteX36" fmla="*/ 2728 w 10000"/>
                <a:gd name="connsiteY36" fmla="*/ 0 h 10000"/>
                <a:gd name="connsiteX37" fmla="*/ 2728 w 10000"/>
                <a:gd name="connsiteY37" fmla="*/ 781 h 10000"/>
                <a:gd name="connsiteX38" fmla="*/ 2728 w 10000"/>
                <a:gd name="connsiteY38" fmla="*/ 937 h 10000"/>
                <a:gd name="connsiteX0" fmla="*/ 2728 w 10000"/>
                <a:gd name="connsiteY0" fmla="*/ 937 h 10000"/>
                <a:gd name="connsiteX1" fmla="*/ 909 w 10000"/>
                <a:gd name="connsiteY1" fmla="*/ 2031 h 10000"/>
                <a:gd name="connsiteX2" fmla="*/ 0 w 10000"/>
                <a:gd name="connsiteY2" fmla="*/ 3126 h 10000"/>
                <a:gd name="connsiteX3" fmla="*/ 453 w 10000"/>
                <a:gd name="connsiteY3" fmla="*/ 4062 h 10000"/>
                <a:gd name="connsiteX4" fmla="*/ 1819 w 10000"/>
                <a:gd name="connsiteY4" fmla="*/ 9687 h 10000"/>
                <a:gd name="connsiteX5" fmla="*/ 1363 w 10000"/>
                <a:gd name="connsiteY5" fmla="*/ 9530 h 10000"/>
                <a:gd name="connsiteX6" fmla="*/ 5453 w 10000"/>
                <a:gd name="connsiteY6" fmla="*/ 8905 h 10000"/>
                <a:gd name="connsiteX7" fmla="*/ 7274 w 10000"/>
                <a:gd name="connsiteY7" fmla="*/ 9219 h 10000"/>
                <a:gd name="connsiteX8" fmla="*/ 8181 w 10000"/>
                <a:gd name="connsiteY8" fmla="*/ 9687 h 10000"/>
                <a:gd name="connsiteX9" fmla="*/ 8635 w 10000"/>
                <a:gd name="connsiteY9" fmla="*/ 10000 h 10000"/>
                <a:gd name="connsiteX10" fmla="*/ 10000 w 10000"/>
                <a:gd name="connsiteY10" fmla="*/ 9687 h 10000"/>
                <a:gd name="connsiteX11" fmla="*/ 10000 w 10000"/>
                <a:gd name="connsiteY11" fmla="*/ 9219 h 10000"/>
                <a:gd name="connsiteX12" fmla="*/ 8635 w 10000"/>
                <a:gd name="connsiteY12" fmla="*/ 8437 h 10000"/>
                <a:gd name="connsiteX13" fmla="*/ 8635 w 10000"/>
                <a:gd name="connsiteY13" fmla="*/ 7655 h 10000"/>
                <a:gd name="connsiteX14" fmla="*/ 9091 w 10000"/>
                <a:gd name="connsiteY14" fmla="*/ 7655 h 10000"/>
                <a:gd name="connsiteX15" fmla="*/ 8181 w 10000"/>
                <a:gd name="connsiteY15" fmla="*/ 6874 h 10000"/>
                <a:gd name="connsiteX16" fmla="*/ 7727 w 10000"/>
                <a:gd name="connsiteY16" fmla="*/ 6563 h 10000"/>
                <a:gd name="connsiteX17" fmla="*/ 5453 w 10000"/>
                <a:gd name="connsiteY17" fmla="*/ 6405 h 10000"/>
                <a:gd name="connsiteX18" fmla="*/ 3183 w 10000"/>
                <a:gd name="connsiteY18" fmla="*/ 6093 h 10000"/>
                <a:gd name="connsiteX19" fmla="*/ 2274 w 10000"/>
                <a:gd name="connsiteY19" fmla="*/ 5312 h 10000"/>
                <a:gd name="connsiteX20" fmla="*/ 1363 w 10000"/>
                <a:gd name="connsiteY20" fmla="*/ 4062 h 10000"/>
                <a:gd name="connsiteX21" fmla="*/ 2274 w 10000"/>
                <a:gd name="connsiteY21" fmla="*/ 3594 h 10000"/>
                <a:gd name="connsiteX22" fmla="*/ 1819 w 10000"/>
                <a:gd name="connsiteY22" fmla="*/ 2500 h 10000"/>
                <a:gd name="connsiteX23" fmla="*/ 4092 w 10000"/>
                <a:gd name="connsiteY23" fmla="*/ 2500 h 10000"/>
                <a:gd name="connsiteX24" fmla="*/ 5000 w 10000"/>
                <a:gd name="connsiteY24" fmla="*/ 3126 h 10000"/>
                <a:gd name="connsiteX25" fmla="*/ 6817 w 10000"/>
                <a:gd name="connsiteY25" fmla="*/ 3126 h 10000"/>
                <a:gd name="connsiteX26" fmla="*/ 6817 w 10000"/>
                <a:gd name="connsiteY26" fmla="*/ 2657 h 10000"/>
                <a:gd name="connsiteX27" fmla="*/ 7274 w 10000"/>
                <a:gd name="connsiteY27" fmla="*/ 2344 h 10000"/>
                <a:gd name="connsiteX28" fmla="*/ 7727 w 10000"/>
                <a:gd name="connsiteY28" fmla="*/ 2500 h 10000"/>
                <a:gd name="connsiteX29" fmla="*/ 7274 w 10000"/>
                <a:gd name="connsiteY29" fmla="*/ 1562 h 10000"/>
                <a:gd name="connsiteX30" fmla="*/ 8181 w 10000"/>
                <a:gd name="connsiteY30" fmla="*/ 937 h 10000"/>
                <a:gd name="connsiteX31" fmla="*/ 8181 w 10000"/>
                <a:gd name="connsiteY31" fmla="*/ 312 h 10000"/>
                <a:gd name="connsiteX32" fmla="*/ 7274 w 10000"/>
                <a:gd name="connsiteY32" fmla="*/ 0 h 10000"/>
                <a:gd name="connsiteX33" fmla="*/ 6365 w 10000"/>
                <a:gd name="connsiteY33" fmla="*/ 0 h 10000"/>
                <a:gd name="connsiteX34" fmla="*/ 3183 w 10000"/>
                <a:gd name="connsiteY34" fmla="*/ 157 h 10000"/>
                <a:gd name="connsiteX35" fmla="*/ 2728 w 10000"/>
                <a:gd name="connsiteY35" fmla="*/ 0 h 10000"/>
                <a:gd name="connsiteX36" fmla="*/ 2728 w 10000"/>
                <a:gd name="connsiteY36" fmla="*/ 781 h 10000"/>
                <a:gd name="connsiteX37" fmla="*/ 2728 w 10000"/>
                <a:gd name="connsiteY37" fmla="*/ 937 h 10000"/>
                <a:gd name="connsiteX0" fmla="*/ 2728 w 10000"/>
                <a:gd name="connsiteY0" fmla="*/ 937 h 10000"/>
                <a:gd name="connsiteX1" fmla="*/ 909 w 10000"/>
                <a:gd name="connsiteY1" fmla="*/ 2031 h 10000"/>
                <a:gd name="connsiteX2" fmla="*/ 0 w 10000"/>
                <a:gd name="connsiteY2" fmla="*/ 3126 h 10000"/>
                <a:gd name="connsiteX3" fmla="*/ 453 w 10000"/>
                <a:gd name="connsiteY3" fmla="*/ 4062 h 10000"/>
                <a:gd name="connsiteX4" fmla="*/ 1819 w 10000"/>
                <a:gd name="connsiteY4" fmla="*/ 9687 h 10000"/>
                <a:gd name="connsiteX5" fmla="*/ 5453 w 10000"/>
                <a:gd name="connsiteY5" fmla="*/ 8905 h 10000"/>
                <a:gd name="connsiteX6" fmla="*/ 7274 w 10000"/>
                <a:gd name="connsiteY6" fmla="*/ 9219 h 10000"/>
                <a:gd name="connsiteX7" fmla="*/ 8181 w 10000"/>
                <a:gd name="connsiteY7" fmla="*/ 9687 h 10000"/>
                <a:gd name="connsiteX8" fmla="*/ 8635 w 10000"/>
                <a:gd name="connsiteY8" fmla="*/ 10000 h 10000"/>
                <a:gd name="connsiteX9" fmla="*/ 10000 w 10000"/>
                <a:gd name="connsiteY9" fmla="*/ 9687 h 10000"/>
                <a:gd name="connsiteX10" fmla="*/ 10000 w 10000"/>
                <a:gd name="connsiteY10" fmla="*/ 9219 h 10000"/>
                <a:gd name="connsiteX11" fmla="*/ 8635 w 10000"/>
                <a:gd name="connsiteY11" fmla="*/ 8437 h 10000"/>
                <a:gd name="connsiteX12" fmla="*/ 8635 w 10000"/>
                <a:gd name="connsiteY12" fmla="*/ 7655 h 10000"/>
                <a:gd name="connsiteX13" fmla="*/ 9091 w 10000"/>
                <a:gd name="connsiteY13" fmla="*/ 7655 h 10000"/>
                <a:gd name="connsiteX14" fmla="*/ 8181 w 10000"/>
                <a:gd name="connsiteY14" fmla="*/ 6874 h 10000"/>
                <a:gd name="connsiteX15" fmla="*/ 7727 w 10000"/>
                <a:gd name="connsiteY15" fmla="*/ 6563 h 10000"/>
                <a:gd name="connsiteX16" fmla="*/ 5453 w 10000"/>
                <a:gd name="connsiteY16" fmla="*/ 6405 h 10000"/>
                <a:gd name="connsiteX17" fmla="*/ 3183 w 10000"/>
                <a:gd name="connsiteY17" fmla="*/ 6093 h 10000"/>
                <a:gd name="connsiteX18" fmla="*/ 2274 w 10000"/>
                <a:gd name="connsiteY18" fmla="*/ 5312 h 10000"/>
                <a:gd name="connsiteX19" fmla="*/ 1363 w 10000"/>
                <a:gd name="connsiteY19" fmla="*/ 4062 h 10000"/>
                <a:gd name="connsiteX20" fmla="*/ 2274 w 10000"/>
                <a:gd name="connsiteY20" fmla="*/ 3594 h 10000"/>
                <a:gd name="connsiteX21" fmla="*/ 1819 w 10000"/>
                <a:gd name="connsiteY21" fmla="*/ 2500 h 10000"/>
                <a:gd name="connsiteX22" fmla="*/ 4092 w 10000"/>
                <a:gd name="connsiteY22" fmla="*/ 2500 h 10000"/>
                <a:gd name="connsiteX23" fmla="*/ 5000 w 10000"/>
                <a:gd name="connsiteY23" fmla="*/ 3126 h 10000"/>
                <a:gd name="connsiteX24" fmla="*/ 6817 w 10000"/>
                <a:gd name="connsiteY24" fmla="*/ 3126 h 10000"/>
                <a:gd name="connsiteX25" fmla="*/ 6817 w 10000"/>
                <a:gd name="connsiteY25" fmla="*/ 2657 h 10000"/>
                <a:gd name="connsiteX26" fmla="*/ 7274 w 10000"/>
                <a:gd name="connsiteY26" fmla="*/ 2344 h 10000"/>
                <a:gd name="connsiteX27" fmla="*/ 7727 w 10000"/>
                <a:gd name="connsiteY27" fmla="*/ 2500 h 10000"/>
                <a:gd name="connsiteX28" fmla="*/ 7274 w 10000"/>
                <a:gd name="connsiteY28" fmla="*/ 1562 h 10000"/>
                <a:gd name="connsiteX29" fmla="*/ 8181 w 10000"/>
                <a:gd name="connsiteY29" fmla="*/ 937 h 10000"/>
                <a:gd name="connsiteX30" fmla="*/ 8181 w 10000"/>
                <a:gd name="connsiteY30" fmla="*/ 312 h 10000"/>
                <a:gd name="connsiteX31" fmla="*/ 7274 w 10000"/>
                <a:gd name="connsiteY31" fmla="*/ 0 h 10000"/>
                <a:gd name="connsiteX32" fmla="*/ 6365 w 10000"/>
                <a:gd name="connsiteY32" fmla="*/ 0 h 10000"/>
                <a:gd name="connsiteX33" fmla="*/ 3183 w 10000"/>
                <a:gd name="connsiteY33" fmla="*/ 157 h 10000"/>
                <a:gd name="connsiteX34" fmla="*/ 2728 w 10000"/>
                <a:gd name="connsiteY34" fmla="*/ 0 h 10000"/>
                <a:gd name="connsiteX35" fmla="*/ 2728 w 10000"/>
                <a:gd name="connsiteY35" fmla="*/ 781 h 10000"/>
                <a:gd name="connsiteX36" fmla="*/ 2728 w 10000"/>
                <a:gd name="connsiteY36" fmla="*/ 937 h 10000"/>
                <a:gd name="connsiteX0" fmla="*/ 2788 w 10060"/>
                <a:gd name="connsiteY0" fmla="*/ 937 h 10000"/>
                <a:gd name="connsiteX1" fmla="*/ 969 w 10060"/>
                <a:gd name="connsiteY1" fmla="*/ 2031 h 10000"/>
                <a:gd name="connsiteX2" fmla="*/ 60 w 10060"/>
                <a:gd name="connsiteY2" fmla="*/ 3126 h 10000"/>
                <a:gd name="connsiteX3" fmla="*/ 513 w 10060"/>
                <a:gd name="connsiteY3" fmla="*/ 4062 h 10000"/>
                <a:gd name="connsiteX4" fmla="*/ 5513 w 10060"/>
                <a:gd name="connsiteY4" fmla="*/ 8905 h 10000"/>
                <a:gd name="connsiteX5" fmla="*/ 7334 w 10060"/>
                <a:gd name="connsiteY5" fmla="*/ 9219 h 10000"/>
                <a:gd name="connsiteX6" fmla="*/ 8241 w 10060"/>
                <a:gd name="connsiteY6" fmla="*/ 9687 h 10000"/>
                <a:gd name="connsiteX7" fmla="*/ 8695 w 10060"/>
                <a:gd name="connsiteY7" fmla="*/ 10000 h 10000"/>
                <a:gd name="connsiteX8" fmla="*/ 10060 w 10060"/>
                <a:gd name="connsiteY8" fmla="*/ 9687 h 10000"/>
                <a:gd name="connsiteX9" fmla="*/ 10060 w 10060"/>
                <a:gd name="connsiteY9" fmla="*/ 9219 h 10000"/>
                <a:gd name="connsiteX10" fmla="*/ 8695 w 10060"/>
                <a:gd name="connsiteY10" fmla="*/ 8437 h 10000"/>
                <a:gd name="connsiteX11" fmla="*/ 8695 w 10060"/>
                <a:gd name="connsiteY11" fmla="*/ 7655 h 10000"/>
                <a:gd name="connsiteX12" fmla="*/ 9151 w 10060"/>
                <a:gd name="connsiteY12" fmla="*/ 7655 h 10000"/>
                <a:gd name="connsiteX13" fmla="*/ 8241 w 10060"/>
                <a:gd name="connsiteY13" fmla="*/ 6874 h 10000"/>
                <a:gd name="connsiteX14" fmla="*/ 7787 w 10060"/>
                <a:gd name="connsiteY14" fmla="*/ 6563 h 10000"/>
                <a:gd name="connsiteX15" fmla="*/ 5513 w 10060"/>
                <a:gd name="connsiteY15" fmla="*/ 6405 h 10000"/>
                <a:gd name="connsiteX16" fmla="*/ 3243 w 10060"/>
                <a:gd name="connsiteY16" fmla="*/ 6093 h 10000"/>
                <a:gd name="connsiteX17" fmla="*/ 2334 w 10060"/>
                <a:gd name="connsiteY17" fmla="*/ 5312 h 10000"/>
                <a:gd name="connsiteX18" fmla="*/ 1423 w 10060"/>
                <a:gd name="connsiteY18" fmla="*/ 4062 h 10000"/>
                <a:gd name="connsiteX19" fmla="*/ 2334 w 10060"/>
                <a:gd name="connsiteY19" fmla="*/ 3594 h 10000"/>
                <a:gd name="connsiteX20" fmla="*/ 1879 w 10060"/>
                <a:gd name="connsiteY20" fmla="*/ 2500 h 10000"/>
                <a:gd name="connsiteX21" fmla="*/ 4152 w 10060"/>
                <a:gd name="connsiteY21" fmla="*/ 2500 h 10000"/>
                <a:gd name="connsiteX22" fmla="*/ 5060 w 10060"/>
                <a:gd name="connsiteY22" fmla="*/ 3126 h 10000"/>
                <a:gd name="connsiteX23" fmla="*/ 6877 w 10060"/>
                <a:gd name="connsiteY23" fmla="*/ 3126 h 10000"/>
                <a:gd name="connsiteX24" fmla="*/ 6877 w 10060"/>
                <a:gd name="connsiteY24" fmla="*/ 2657 h 10000"/>
                <a:gd name="connsiteX25" fmla="*/ 7334 w 10060"/>
                <a:gd name="connsiteY25" fmla="*/ 2344 h 10000"/>
                <a:gd name="connsiteX26" fmla="*/ 7787 w 10060"/>
                <a:gd name="connsiteY26" fmla="*/ 2500 h 10000"/>
                <a:gd name="connsiteX27" fmla="*/ 7334 w 10060"/>
                <a:gd name="connsiteY27" fmla="*/ 1562 h 10000"/>
                <a:gd name="connsiteX28" fmla="*/ 8241 w 10060"/>
                <a:gd name="connsiteY28" fmla="*/ 937 h 10000"/>
                <a:gd name="connsiteX29" fmla="*/ 8241 w 10060"/>
                <a:gd name="connsiteY29" fmla="*/ 312 h 10000"/>
                <a:gd name="connsiteX30" fmla="*/ 7334 w 10060"/>
                <a:gd name="connsiteY30" fmla="*/ 0 h 10000"/>
                <a:gd name="connsiteX31" fmla="*/ 6425 w 10060"/>
                <a:gd name="connsiteY31" fmla="*/ 0 h 10000"/>
                <a:gd name="connsiteX32" fmla="*/ 3243 w 10060"/>
                <a:gd name="connsiteY32" fmla="*/ 157 h 10000"/>
                <a:gd name="connsiteX33" fmla="*/ 2788 w 10060"/>
                <a:gd name="connsiteY33" fmla="*/ 0 h 10000"/>
                <a:gd name="connsiteX34" fmla="*/ 2788 w 10060"/>
                <a:gd name="connsiteY34" fmla="*/ 781 h 10000"/>
                <a:gd name="connsiteX35" fmla="*/ 2788 w 10060"/>
                <a:gd name="connsiteY35" fmla="*/ 937 h 10000"/>
                <a:gd name="connsiteX0" fmla="*/ 2915 w 10187"/>
                <a:gd name="connsiteY0" fmla="*/ 937 h 10000"/>
                <a:gd name="connsiteX1" fmla="*/ 1096 w 10187"/>
                <a:gd name="connsiteY1" fmla="*/ 2031 h 10000"/>
                <a:gd name="connsiteX2" fmla="*/ 187 w 10187"/>
                <a:gd name="connsiteY2" fmla="*/ 3126 h 10000"/>
                <a:gd name="connsiteX3" fmla="*/ 640 w 10187"/>
                <a:gd name="connsiteY3" fmla="*/ 4062 h 10000"/>
                <a:gd name="connsiteX4" fmla="*/ 7461 w 10187"/>
                <a:gd name="connsiteY4" fmla="*/ 9219 h 10000"/>
                <a:gd name="connsiteX5" fmla="*/ 8368 w 10187"/>
                <a:gd name="connsiteY5" fmla="*/ 9687 h 10000"/>
                <a:gd name="connsiteX6" fmla="*/ 8822 w 10187"/>
                <a:gd name="connsiteY6" fmla="*/ 10000 h 10000"/>
                <a:gd name="connsiteX7" fmla="*/ 10187 w 10187"/>
                <a:gd name="connsiteY7" fmla="*/ 9687 h 10000"/>
                <a:gd name="connsiteX8" fmla="*/ 10187 w 10187"/>
                <a:gd name="connsiteY8" fmla="*/ 9219 h 10000"/>
                <a:gd name="connsiteX9" fmla="*/ 8822 w 10187"/>
                <a:gd name="connsiteY9" fmla="*/ 8437 h 10000"/>
                <a:gd name="connsiteX10" fmla="*/ 8822 w 10187"/>
                <a:gd name="connsiteY10" fmla="*/ 7655 h 10000"/>
                <a:gd name="connsiteX11" fmla="*/ 9278 w 10187"/>
                <a:gd name="connsiteY11" fmla="*/ 7655 h 10000"/>
                <a:gd name="connsiteX12" fmla="*/ 8368 w 10187"/>
                <a:gd name="connsiteY12" fmla="*/ 6874 h 10000"/>
                <a:gd name="connsiteX13" fmla="*/ 7914 w 10187"/>
                <a:gd name="connsiteY13" fmla="*/ 6563 h 10000"/>
                <a:gd name="connsiteX14" fmla="*/ 5640 w 10187"/>
                <a:gd name="connsiteY14" fmla="*/ 6405 h 10000"/>
                <a:gd name="connsiteX15" fmla="*/ 3370 w 10187"/>
                <a:gd name="connsiteY15" fmla="*/ 6093 h 10000"/>
                <a:gd name="connsiteX16" fmla="*/ 2461 w 10187"/>
                <a:gd name="connsiteY16" fmla="*/ 5312 h 10000"/>
                <a:gd name="connsiteX17" fmla="*/ 1550 w 10187"/>
                <a:gd name="connsiteY17" fmla="*/ 4062 h 10000"/>
                <a:gd name="connsiteX18" fmla="*/ 2461 w 10187"/>
                <a:gd name="connsiteY18" fmla="*/ 3594 h 10000"/>
                <a:gd name="connsiteX19" fmla="*/ 2006 w 10187"/>
                <a:gd name="connsiteY19" fmla="*/ 2500 h 10000"/>
                <a:gd name="connsiteX20" fmla="*/ 4279 w 10187"/>
                <a:gd name="connsiteY20" fmla="*/ 2500 h 10000"/>
                <a:gd name="connsiteX21" fmla="*/ 5187 w 10187"/>
                <a:gd name="connsiteY21" fmla="*/ 3126 h 10000"/>
                <a:gd name="connsiteX22" fmla="*/ 7004 w 10187"/>
                <a:gd name="connsiteY22" fmla="*/ 3126 h 10000"/>
                <a:gd name="connsiteX23" fmla="*/ 7004 w 10187"/>
                <a:gd name="connsiteY23" fmla="*/ 2657 h 10000"/>
                <a:gd name="connsiteX24" fmla="*/ 7461 w 10187"/>
                <a:gd name="connsiteY24" fmla="*/ 2344 h 10000"/>
                <a:gd name="connsiteX25" fmla="*/ 7914 w 10187"/>
                <a:gd name="connsiteY25" fmla="*/ 2500 h 10000"/>
                <a:gd name="connsiteX26" fmla="*/ 7461 w 10187"/>
                <a:gd name="connsiteY26" fmla="*/ 1562 h 10000"/>
                <a:gd name="connsiteX27" fmla="*/ 8368 w 10187"/>
                <a:gd name="connsiteY27" fmla="*/ 937 h 10000"/>
                <a:gd name="connsiteX28" fmla="*/ 8368 w 10187"/>
                <a:gd name="connsiteY28" fmla="*/ 312 h 10000"/>
                <a:gd name="connsiteX29" fmla="*/ 7461 w 10187"/>
                <a:gd name="connsiteY29" fmla="*/ 0 h 10000"/>
                <a:gd name="connsiteX30" fmla="*/ 6552 w 10187"/>
                <a:gd name="connsiteY30" fmla="*/ 0 h 10000"/>
                <a:gd name="connsiteX31" fmla="*/ 3370 w 10187"/>
                <a:gd name="connsiteY31" fmla="*/ 157 h 10000"/>
                <a:gd name="connsiteX32" fmla="*/ 2915 w 10187"/>
                <a:gd name="connsiteY32" fmla="*/ 0 h 10000"/>
                <a:gd name="connsiteX33" fmla="*/ 2915 w 10187"/>
                <a:gd name="connsiteY33" fmla="*/ 781 h 10000"/>
                <a:gd name="connsiteX34" fmla="*/ 2915 w 10187"/>
                <a:gd name="connsiteY34" fmla="*/ 937 h 10000"/>
                <a:gd name="connsiteX0" fmla="*/ 2980 w 10252"/>
                <a:gd name="connsiteY0" fmla="*/ 937 h 10000"/>
                <a:gd name="connsiteX1" fmla="*/ 1161 w 10252"/>
                <a:gd name="connsiteY1" fmla="*/ 2031 h 10000"/>
                <a:gd name="connsiteX2" fmla="*/ 252 w 10252"/>
                <a:gd name="connsiteY2" fmla="*/ 3126 h 10000"/>
                <a:gd name="connsiteX3" fmla="*/ 705 w 10252"/>
                <a:gd name="connsiteY3" fmla="*/ 4062 h 10000"/>
                <a:gd name="connsiteX4" fmla="*/ 8433 w 10252"/>
                <a:gd name="connsiteY4" fmla="*/ 9687 h 10000"/>
                <a:gd name="connsiteX5" fmla="*/ 8887 w 10252"/>
                <a:gd name="connsiteY5" fmla="*/ 10000 h 10000"/>
                <a:gd name="connsiteX6" fmla="*/ 10252 w 10252"/>
                <a:gd name="connsiteY6" fmla="*/ 9687 h 10000"/>
                <a:gd name="connsiteX7" fmla="*/ 10252 w 10252"/>
                <a:gd name="connsiteY7" fmla="*/ 9219 h 10000"/>
                <a:gd name="connsiteX8" fmla="*/ 8887 w 10252"/>
                <a:gd name="connsiteY8" fmla="*/ 8437 h 10000"/>
                <a:gd name="connsiteX9" fmla="*/ 8887 w 10252"/>
                <a:gd name="connsiteY9" fmla="*/ 7655 h 10000"/>
                <a:gd name="connsiteX10" fmla="*/ 9343 w 10252"/>
                <a:gd name="connsiteY10" fmla="*/ 7655 h 10000"/>
                <a:gd name="connsiteX11" fmla="*/ 8433 w 10252"/>
                <a:gd name="connsiteY11" fmla="*/ 6874 h 10000"/>
                <a:gd name="connsiteX12" fmla="*/ 7979 w 10252"/>
                <a:gd name="connsiteY12" fmla="*/ 6563 h 10000"/>
                <a:gd name="connsiteX13" fmla="*/ 5705 w 10252"/>
                <a:gd name="connsiteY13" fmla="*/ 6405 h 10000"/>
                <a:gd name="connsiteX14" fmla="*/ 3435 w 10252"/>
                <a:gd name="connsiteY14" fmla="*/ 6093 h 10000"/>
                <a:gd name="connsiteX15" fmla="*/ 2526 w 10252"/>
                <a:gd name="connsiteY15" fmla="*/ 5312 h 10000"/>
                <a:gd name="connsiteX16" fmla="*/ 1615 w 10252"/>
                <a:gd name="connsiteY16" fmla="*/ 4062 h 10000"/>
                <a:gd name="connsiteX17" fmla="*/ 2526 w 10252"/>
                <a:gd name="connsiteY17" fmla="*/ 3594 h 10000"/>
                <a:gd name="connsiteX18" fmla="*/ 2071 w 10252"/>
                <a:gd name="connsiteY18" fmla="*/ 2500 h 10000"/>
                <a:gd name="connsiteX19" fmla="*/ 4344 w 10252"/>
                <a:gd name="connsiteY19" fmla="*/ 2500 h 10000"/>
                <a:gd name="connsiteX20" fmla="*/ 5252 w 10252"/>
                <a:gd name="connsiteY20" fmla="*/ 3126 h 10000"/>
                <a:gd name="connsiteX21" fmla="*/ 7069 w 10252"/>
                <a:gd name="connsiteY21" fmla="*/ 3126 h 10000"/>
                <a:gd name="connsiteX22" fmla="*/ 7069 w 10252"/>
                <a:gd name="connsiteY22" fmla="*/ 2657 h 10000"/>
                <a:gd name="connsiteX23" fmla="*/ 7526 w 10252"/>
                <a:gd name="connsiteY23" fmla="*/ 2344 h 10000"/>
                <a:gd name="connsiteX24" fmla="*/ 7979 w 10252"/>
                <a:gd name="connsiteY24" fmla="*/ 2500 h 10000"/>
                <a:gd name="connsiteX25" fmla="*/ 7526 w 10252"/>
                <a:gd name="connsiteY25" fmla="*/ 1562 h 10000"/>
                <a:gd name="connsiteX26" fmla="*/ 8433 w 10252"/>
                <a:gd name="connsiteY26" fmla="*/ 937 h 10000"/>
                <a:gd name="connsiteX27" fmla="*/ 8433 w 10252"/>
                <a:gd name="connsiteY27" fmla="*/ 312 h 10000"/>
                <a:gd name="connsiteX28" fmla="*/ 7526 w 10252"/>
                <a:gd name="connsiteY28" fmla="*/ 0 h 10000"/>
                <a:gd name="connsiteX29" fmla="*/ 6617 w 10252"/>
                <a:gd name="connsiteY29" fmla="*/ 0 h 10000"/>
                <a:gd name="connsiteX30" fmla="*/ 3435 w 10252"/>
                <a:gd name="connsiteY30" fmla="*/ 157 h 10000"/>
                <a:gd name="connsiteX31" fmla="*/ 2980 w 10252"/>
                <a:gd name="connsiteY31" fmla="*/ 0 h 10000"/>
                <a:gd name="connsiteX32" fmla="*/ 2980 w 10252"/>
                <a:gd name="connsiteY32" fmla="*/ 781 h 10000"/>
                <a:gd name="connsiteX33" fmla="*/ 2980 w 10252"/>
                <a:gd name="connsiteY33" fmla="*/ 937 h 10000"/>
                <a:gd name="connsiteX0" fmla="*/ 3012 w 10284"/>
                <a:gd name="connsiteY0" fmla="*/ 937 h 10000"/>
                <a:gd name="connsiteX1" fmla="*/ 1193 w 10284"/>
                <a:gd name="connsiteY1" fmla="*/ 2031 h 10000"/>
                <a:gd name="connsiteX2" fmla="*/ 284 w 10284"/>
                <a:gd name="connsiteY2" fmla="*/ 3126 h 10000"/>
                <a:gd name="connsiteX3" fmla="*/ 737 w 10284"/>
                <a:gd name="connsiteY3" fmla="*/ 4062 h 10000"/>
                <a:gd name="connsiteX4" fmla="*/ 8919 w 10284"/>
                <a:gd name="connsiteY4" fmla="*/ 10000 h 10000"/>
                <a:gd name="connsiteX5" fmla="*/ 10284 w 10284"/>
                <a:gd name="connsiteY5" fmla="*/ 9687 h 10000"/>
                <a:gd name="connsiteX6" fmla="*/ 10284 w 10284"/>
                <a:gd name="connsiteY6" fmla="*/ 9219 h 10000"/>
                <a:gd name="connsiteX7" fmla="*/ 8919 w 10284"/>
                <a:gd name="connsiteY7" fmla="*/ 8437 h 10000"/>
                <a:gd name="connsiteX8" fmla="*/ 8919 w 10284"/>
                <a:gd name="connsiteY8" fmla="*/ 7655 h 10000"/>
                <a:gd name="connsiteX9" fmla="*/ 9375 w 10284"/>
                <a:gd name="connsiteY9" fmla="*/ 7655 h 10000"/>
                <a:gd name="connsiteX10" fmla="*/ 8465 w 10284"/>
                <a:gd name="connsiteY10" fmla="*/ 6874 h 10000"/>
                <a:gd name="connsiteX11" fmla="*/ 8011 w 10284"/>
                <a:gd name="connsiteY11" fmla="*/ 6563 h 10000"/>
                <a:gd name="connsiteX12" fmla="*/ 5737 w 10284"/>
                <a:gd name="connsiteY12" fmla="*/ 6405 h 10000"/>
                <a:gd name="connsiteX13" fmla="*/ 3467 w 10284"/>
                <a:gd name="connsiteY13" fmla="*/ 6093 h 10000"/>
                <a:gd name="connsiteX14" fmla="*/ 2558 w 10284"/>
                <a:gd name="connsiteY14" fmla="*/ 5312 h 10000"/>
                <a:gd name="connsiteX15" fmla="*/ 1647 w 10284"/>
                <a:gd name="connsiteY15" fmla="*/ 4062 h 10000"/>
                <a:gd name="connsiteX16" fmla="*/ 2558 w 10284"/>
                <a:gd name="connsiteY16" fmla="*/ 3594 h 10000"/>
                <a:gd name="connsiteX17" fmla="*/ 2103 w 10284"/>
                <a:gd name="connsiteY17" fmla="*/ 2500 h 10000"/>
                <a:gd name="connsiteX18" fmla="*/ 4376 w 10284"/>
                <a:gd name="connsiteY18" fmla="*/ 2500 h 10000"/>
                <a:gd name="connsiteX19" fmla="*/ 5284 w 10284"/>
                <a:gd name="connsiteY19" fmla="*/ 3126 h 10000"/>
                <a:gd name="connsiteX20" fmla="*/ 7101 w 10284"/>
                <a:gd name="connsiteY20" fmla="*/ 3126 h 10000"/>
                <a:gd name="connsiteX21" fmla="*/ 7101 w 10284"/>
                <a:gd name="connsiteY21" fmla="*/ 2657 h 10000"/>
                <a:gd name="connsiteX22" fmla="*/ 7558 w 10284"/>
                <a:gd name="connsiteY22" fmla="*/ 2344 h 10000"/>
                <a:gd name="connsiteX23" fmla="*/ 8011 w 10284"/>
                <a:gd name="connsiteY23" fmla="*/ 2500 h 10000"/>
                <a:gd name="connsiteX24" fmla="*/ 7558 w 10284"/>
                <a:gd name="connsiteY24" fmla="*/ 1562 h 10000"/>
                <a:gd name="connsiteX25" fmla="*/ 8465 w 10284"/>
                <a:gd name="connsiteY25" fmla="*/ 937 h 10000"/>
                <a:gd name="connsiteX26" fmla="*/ 8465 w 10284"/>
                <a:gd name="connsiteY26" fmla="*/ 312 h 10000"/>
                <a:gd name="connsiteX27" fmla="*/ 7558 w 10284"/>
                <a:gd name="connsiteY27" fmla="*/ 0 h 10000"/>
                <a:gd name="connsiteX28" fmla="*/ 6649 w 10284"/>
                <a:gd name="connsiteY28" fmla="*/ 0 h 10000"/>
                <a:gd name="connsiteX29" fmla="*/ 3467 w 10284"/>
                <a:gd name="connsiteY29" fmla="*/ 157 h 10000"/>
                <a:gd name="connsiteX30" fmla="*/ 3012 w 10284"/>
                <a:gd name="connsiteY30" fmla="*/ 0 h 10000"/>
                <a:gd name="connsiteX31" fmla="*/ 3012 w 10284"/>
                <a:gd name="connsiteY31" fmla="*/ 781 h 10000"/>
                <a:gd name="connsiteX32" fmla="*/ 3012 w 10284"/>
                <a:gd name="connsiteY32" fmla="*/ 937 h 10000"/>
                <a:gd name="connsiteX0" fmla="*/ 3111 w 10383"/>
                <a:gd name="connsiteY0" fmla="*/ 937 h 9687"/>
                <a:gd name="connsiteX1" fmla="*/ 1292 w 10383"/>
                <a:gd name="connsiteY1" fmla="*/ 2031 h 9687"/>
                <a:gd name="connsiteX2" fmla="*/ 383 w 10383"/>
                <a:gd name="connsiteY2" fmla="*/ 3126 h 9687"/>
                <a:gd name="connsiteX3" fmla="*/ 836 w 10383"/>
                <a:gd name="connsiteY3" fmla="*/ 4062 h 9687"/>
                <a:gd name="connsiteX4" fmla="*/ 10383 w 10383"/>
                <a:gd name="connsiteY4" fmla="*/ 9687 h 9687"/>
                <a:gd name="connsiteX5" fmla="*/ 10383 w 10383"/>
                <a:gd name="connsiteY5" fmla="*/ 9219 h 9687"/>
                <a:gd name="connsiteX6" fmla="*/ 9018 w 10383"/>
                <a:gd name="connsiteY6" fmla="*/ 8437 h 9687"/>
                <a:gd name="connsiteX7" fmla="*/ 9018 w 10383"/>
                <a:gd name="connsiteY7" fmla="*/ 7655 h 9687"/>
                <a:gd name="connsiteX8" fmla="*/ 9474 w 10383"/>
                <a:gd name="connsiteY8" fmla="*/ 7655 h 9687"/>
                <a:gd name="connsiteX9" fmla="*/ 8564 w 10383"/>
                <a:gd name="connsiteY9" fmla="*/ 6874 h 9687"/>
                <a:gd name="connsiteX10" fmla="*/ 8110 w 10383"/>
                <a:gd name="connsiteY10" fmla="*/ 6563 h 9687"/>
                <a:gd name="connsiteX11" fmla="*/ 5836 w 10383"/>
                <a:gd name="connsiteY11" fmla="*/ 6405 h 9687"/>
                <a:gd name="connsiteX12" fmla="*/ 3566 w 10383"/>
                <a:gd name="connsiteY12" fmla="*/ 6093 h 9687"/>
                <a:gd name="connsiteX13" fmla="*/ 2657 w 10383"/>
                <a:gd name="connsiteY13" fmla="*/ 5312 h 9687"/>
                <a:gd name="connsiteX14" fmla="*/ 1746 w 10383"/>
                <a:gd name="connsiteY14" fmla="*/ 4062 h 9687"/>
                <a:gd name="connsiteX15" fmla="*/ 2657 w 10383"/>
                <a:gd name="connsiteY15" fmla="*/ 3594 h 9687"/>
                <a:gd name="connsiteX16" fmla="*/ 2202 w 10383"/>
                <a:gd name="connsiteY16" fmla="*/ 2500 h 9687"/>
                <a:gd name="connsiteX17" fmla="*/ 4475 w 10383"/>
                <a:gd name="connsiteY17" fmla="*/ 2500 h 9687"/>
                <a:gd name="connsiteX18" fmla="*/ 5383 w 10383"/>
                <a:gd name="connsiteY18" fmla="*/ 3126 h 9687"/>
                <a:gd name="connsiteX19" fmla="*/ 7200 w 10383"/>
                <a:gd name="connsiteY19" fmla="*/ 3126 h 9687"/>
                <a:gd name="connsiteX20" fmla="*/ 7200 w 10383"/>
                <a:gd name="connsiteY20" fmla="*/ 2657 h 9687"/>
                <a:gd name="connsiteX21" fmla="*/ 7657 w 10383"/>
                <a:gd name="connsiteY21" fmla="*/ 2344 h 9687"/>
                <a:gd name="connsiteX22" fmla="*/ 8110 w 10383"/>
                <a:gd name="connsiteY22" fmla="*/ 2500 h 9687"/>
                <a:gd name="connsiteX23" fmla="*/ 7657 w 10383"/>
                <a:gd name="connsiteY23" fmla="*/ 1562 h 9687"/>
                <a:gd name="connsiteX24" fmla="*/ 8564 w 10383"/>
                <a:gd name="connsiteY24" fmla="*/ 937 h 9687"/>
                <a:gd name="connsiteX25" fmla="*/ 8564 w 10383"/>
                <a:gd name="connsiteY25" fmla="*/ 312 h 9687"/>
                <a:gd name="connsiteX26" fmla="*/ 7657 w 10383"/>
                <a:gd name="connsiteY26" fmla="*/ 0 h 9687"/>
                <a:gd name="connsiteX27" fmla="*/ 6748 w 10383"/>
                <a:gd name="connsiteY27" fmla="*/ 0 h 9687"/>
                <a:gd name="connsiteX28" fmla="*/ 3566 w 10383"/>
                <a:gd name="connsiteY28" fmla="*/ 157 h 9687"/>
                <a:gd name="connsiteX29" fmla="*/ 3111 w 10383"/>
                <a:gd name="connsiteY29" fmla="*/ 0 h 9687"/>
                <a:gd name="connsiteX30" fmla="*/ 3111 w 10383"/>
                <a:gd name="connsiteY30" fmla="*/ 781 h 9687"/>
                <a:gd name="connsiteX31" fmla="*/ 3111 w 10383"/>
                <a:gd name="connsiteY31" fmla="*/ 937 h 9687"/>
                <a:gd name="connsiteX0" fmla="*/ 2996 w 10414"/>
                <a:gd name="connsiteY0" fmla="*/ 967 h 9749"/>
                <a:gd name="connsiteX1" fmla="*/ 1244 w 10414"/>
                <a:gd name="connsiteY1" fmla="*/ 2097 h 9749"/>
                <a:gd name="connsiteX2" fmla="*/ 369 w 10414"/>
                <a:gd name="connsiteY2" fmla="*/ 3227 h 9749"/>
                <a:gd name="connsiteX3" fmla="*/ 805 w 10414"/>
                <a:gd name="connsiteY3" fmla="*/ 4193 h 9749"/>
                <a:gd name="connsiteX4" fmla="*/ 10000 w 10414"/>
                <a:gd name="connsiteY4" fmla="*/ 9517 h 9749"/>
                <a:gd name="connsiteX5" fmla="*/ 8685 w 10414"/>
                <a:gd name="connsiteY5" fmla="*/ 8710 h 9749"/>
                <a:gd name="connsiteX6" fmla="*/ 8685 w 10414"/>
                <a:gd name="connsiteY6" fmla="*/ 7902 h 9749"/>
                <a:gd name="connsiteX7" fmla="*/ 9125 w 10414"/>
                <a:gd name="connsiteY7" fmla="*/ 7902 h 9749"/>
                <a:gd name="connsiteX8" fmla="*/ 8248 w 10414"/>
                <a:gd name="connsiteY8" fmla="*/ 7096 h 9749"/>
                <a:gd name="connsiteX9" fmla="*/ 7811 w 10414"/>
                <a:gd name="connsiteY9" fmla="*/ 6775 h 9749"/>
                <a:gd name="connsiteX10" fmla="*/ 5621 w 10414"/>
                <a:gd name="connsiteY10" fmla="*/ 6612 h 9749"/>
                <a:gd name="connsiteX11" fmla="*/ 3434 w 10414"/>
                <a:gd name="connsiteY11" fmla="*/ 6290 h 9749"/>
                <a:gd name="connsiteX12" fmla="*/ 2559 w 10414"/>
                <a:gd name="connsiteY12" fmla="*/ 5484 h 9749"/>
                <a:gd name="connsiteX13" fmla="*/ 1682 w 10414"/>
                <a:gd name="connsiteY13" fmla="*/ 4193 h 9749"/>
                <a:gd name="connsiteX14" fmla="*/ 2559 w 10414"/>
                <a:gd name="connsiteY14" fmla="*/ 3710 h 9749"/>
                <a:gd name="connsiteX15" fmla="*/ 2121 w 10414"/>
                <a:gd name="connsiteY15" fmla="*/ 2581 h 9749"/>
                <a:gd name="connsiteX16" fmla="*/ 4310 w 10414"/>
                <a:gd name="connsiteY16" fmla="*/ 2581 h 9749"/>
                <a:gd name="connsiteX17" fmla="*/ 5184 w 10414"/>
                <a:gd name="connsiteY17" fmla="*/ 3227 h 9749"/>
                <a:gd name="connsiteX18" fmla="*/ 6934 w 10414"/>
                <a:gd name="connsiteY18" fmla="*/ 3227 h 9749"/>
                <a:gd name="connsiteX19" fmla="*/ 6934 w 10414"/>
                <a:gd name="connsiteY19" fmla="*/ 2743 h 9749"/>
                <a:gd name="connsiteX20" fmla="*/ 7375 w 10414"/>
                <a:gd name="connsiteY20" fmla="*/ 2420 h 9749"/>
                <a:gd name="connsiteX21" fmla="*/ 7811 w 10414"/>
                <a:gd name="connsiteY21" fmla="*/ 2581 h 9749"/>
                <a:gd name="connsiteX22" fmla="*/ 7375 w 10414"/>
                <a:gd name="connsiteY22" fmla="*/ 1612 h 9749"/>
                <a:gd name="connsiteX23" fmla="*/ 8248 w 10414"/>
                <a:gd name="connsiteY23" fmla="*/ 967 h 9749"/>
                <a:gd name="connsiteX24" fmla="*/ 8248 w 10414"/>
                <a:gd name="connsiteY24" fmla="*/ 322 h 9749"/>
                <a:gd name="connsiteX25" fmla="*/ 7375 w 10414"/>
                <a:gd name="connsiteY25" fmla="*/ 0 h 9749"/>
                <a:gd name="connsiteX26" fmla="*/ 6499 w 10414"/>
                <a:gd name="connsiteY26" fmla="*/ 0 h 9749"/>
                <a:gd name="connsiteX27" fmla="*/ 3434 w 10414"/>
                <a:gd name="connsiteY27" fmla="*/ 162 h 9749"/>
                <a:gd name="connsiteX28" fmla="*/ 2996 w 10414"/>
                <a:gd name="connsiteY28" fmla="*/ 0 h 9749"/>
                <a:gd name="connsiteX29" fmla="*/ 2996 w 10414"/>
                <a:gd name="connsiteY29" fmla="*/ 806 h 9749"/>
                <a:gd name="connsiteX30" fmla="*/ 2996 w 10414"/>
                <a:gd name="connsiteY30" fmla="*/ 967 h 9749"/>
                <a:gd name="connsiteX0" fmla="*/ 2787 w 8810"/>
                <a:gd name="connsiteY0" fmla="*/ 992 h 9117"/>
                <a:gd name="connsiteX1" fmla="*/ 1105 w 8810"/>
                <a:gd name="connsiteY1" fmla="*/ 2151 h 9117"/>
                <a:gd name="connsiteX2" fmla="*/ 264 w 8810"/>
                <a:gd name="connsiteY2" fmla="*/ 3310 h 9117"/>
                <a:gd name="connsiteX3" fmla="*/ 683 w 8810"/>
                <a:gd name="connsiteY3" fmla="*/ 4301 h 9117"/>
                <a:gd name="connsiteX4" fmla="*/ 8250 w 8810"/>
                <a:gd name="connsiteY4" fmla="*/ 8934 h 9117"/>
                <a:gd name="connsiteX5" fmla="*/ 8250 w 8810"/>
                <a:gd name="connsiteY5" fmla="*/ 8105 h 9117"/>
                <a:gd name="connsiteX6" fmla="*/ 8672 w 8810"/>
                <a:gd name="connsiteY6" fmla="*/ 8105 h 9117"/>
                <a:gd name="connsiteX7" fmla="*/ 7830 w 8810"/>
                <a:gd name="connsiteY7" fmla="*/ 7279 h 9117"/>
                <a:gd name="connsiteX8" fmla="*/ 7410 w 8810"/>
                <a:gd name="connsiteY8" fmla="*/ 6949 h 9117"/>
                <a:gd name="connsiteX9" fmla="*/ 5308 w 8810"/>
                <a:gd name="connsiteY9" fmla="*/ 6782 h 9117"/>
                <a:gd name="connsiteX10" fmla="*/ 3207 w 8810"/>
                <a:gd name="connsiteY10" fmla="*/ 6452 h 9117"/>
                <a:gd name="connsiteX11" fmla="*/ 2367 w 8810"/>
                <a:gd name="connsiteY11" fmla="*/ 5625 h 9117"/>
                <a:gd name="connsiteX12" fmla="*/ 1525 w 8810"/>
                <a:gd name="connsiteY12" fmla="*/ 4301 h 9117"/>
                <a:gd name="connsiteX13" fmla="*/ 2367 w 8810"/>
                <a:gd name="connsiteY13" fmla="*/ 3806 h 9117"/>
                <a:gd name="connsiteX14" fmla="*/ 1947 w 8810"/>
                <a:gd name="connsiteY14" fmla="*/ 2647 h 9117"/>
                <a:gd name="connsiteX15" fmla="*/ 4049 w 8810"/>
                <a:gd name="connsiteY15" fmla="*/ 2647 h 9117"/>
                <a:gd name="connsiteX16" fmla="*/ 4888 w 8810"/>
                <a:gd name="connsiteY16" fmla="*/ 3310 h 9117"/>
                <a:gd name="connsiteX17" fmla="*/ 6568 w 8810"/>
                <a:gd name="connsiteY17" fmla="*/ 3310 h 9117"/>
                <a:gd name="connsiteX18" fmla="*/ 6568 w 8810"/>
                <a:gd name="connsiteY18" fmla="*/ 2814 h 9117"/>
                <a:gd name="connsiteX19" fmla="*/ 6992 w 8810"/>
                <a:gd name="connsiteY19" fmla="*/ 2482 h 9117"/>
                <a:gd name="connsiteX20" fmla="*/ 7410 w 8810"/>
                <a:gd name="connsiteY20" fmla="*/ 2647 h 9117"/>
                <a:gd name="connsiteX21" fmla="*/ 6992 w 8810"/>
                <a:gd name="connsiteY21" fmla="*/ 1654 h 9117"/>
                <a:gd name="connsiteX22" fmla="*/ 7830 w 8810"/>
                <a:gd name="connsiteY22" fmla="*/ 992 h 9117"/>
                <a:gd name="connsiteX23" fmla="*/ 7830 w 8810"/>
                <a:gd name="connsiteY23" fmla="*/ 330 h 9117"/>
                <a:gd name="connsiteX24" fmla="*/ 6992 w 8810"/>
                <a:gd name="connsiteY24" fmla="*/ 0 h 9117"/>
                <a:gd name="connsiteX25" fmla="*/ 6151 w 8810"/>
                <a:gd name="connsiteY25" fmla="*/ 0 h 9117"/>
                <a:gd name="connsiteX26" fmla="*/ 3207 w 8810"/>
                <a:gd name="connsiteY26" fmla="*/ 166 h 9117"/>
                <a:gd name="connsiteX27" fmla="*/ 2787 w 8810"/>
                <a:gd name="connsiteY27" fmla="*/ 0 h 9117"/>
                <a:gd name="connsiteX28" fmla="*/ 2787 w 8810"/>
                <a:gd name="connsiteY28" fmla="*/ 827 h 9117"/>
                <a:gd name="connsiteX29" fmla="*/ 2787 w 8810"/>
                <a:gd name="connsiteY29" fmla="*/ 992 h 9117"/>
                <a:gd name="connsiteX0" fmla="*/ 3163 w 9843"/>
                <a:gd name="connsiteY0" fmla="*/ 1088 h 8890"/>
                <a:gd name="connsiteX1" fmla="*/ 1254 w 9843"/>
                <a:gd name="connsiteY1" fmla="*/ 2359 h 8890"/>
                <a:gd name="connsiteX2" fmla="*/ 300 w 9843"/>
                <a:gd name="connsiteY2" fmla="*/ 3631 h 8890"/>
                <a:gd name="connsiteX3" fmla="*/ 775 w 9843"/>
                <a:gd name="connsiteY3" fmla="*/ 4718 h 8890"/>
                <a:gd name="connsiteX4" fmla="*/ 9364 w 9843"/>
                <a:gd name="connsiteY4" fmla="*/ 8890 h 8890"/>
                <a:gd name="connsiteX5" fmla="*/ 9843 w 9843"/>
                <a:gd name="connsiteY5" fmla="*/ 8890 h 8890"/>
                <a:gd name="connsiteX6" fmla="*/ 8888 w 9843"/>
                <a:gd name="connsiteY6" fmla="*/ 7984 h 8890"/>
                <a:gd name="connsiteX7" fmla="*/ 8411 w 9843"/>
                <a:gd name="connsiteY7" fmla="*/ 7622 h 8890"/>
                <a:gd name="connsiteX8" fmla="*/ 6025 w 9843"/>
                <a:gd name="connsiteY8" fmla="*/ 7439 h 8890"/>
                <a:gd name="connsiteX9" fmla="*/ 3640 w 9843"/>
                <a:gd name="connsiteY9" fmla="*/ 7077 h 8890"/>
                <a:gd name="connsiteX10" fmla="*/ 2687 w 9843"/>
                <a:gd name="connsiteY10" fmla="*/ 6170 h 8890"/>
                <a:gd name="connsiteX11" fmla="*/ 1731 w 9843"/>
                <a:gd name="connsiteY11" fmla="*/ 4718 h 8890"/>
                <a:gd name="connsiteX12" fmla="*/ 2687 w 9843"/>
                <a:gd name="connsiteY12" fmla="*/ 4175 h 8890"/>
                <a:gd name="connsiteX13" fmla="*/ 2210 w 9843"/>
                <a:gd name="connsiteY13" fmla="*/ 2903 h 8890"/>
                <a:gd name="connsiteX14" fmla="*/ 4596 w 9843"/>
                <a:gd name="connsiteY14" fmla="*/ 2903 h 8890"/>
                <a:gd name="connsiteX15" fmla="*/ 5548 w 9843"/>
                <a:gd name="connsiteY15" fmla="*/ 3631 h 8890"/>
                <a:gd name="connsiteX16" fmla="*/ 7455 w 9843"/>
                <a:gd name="connsiteY16" fmla="*/ 3631 h 8890"/>
                <a:gd name="connsiteX17" fmla="*/ 7455 w 9843"/>
                <a:gd name="connsiteY17" fmla="*/ 3087 h 8890"/>
                <a:gd name="connsiteX18" fmla="*/ 7936 w 9843"/>
                <a:gd name="connsiteY18" fmla="*/ 2722 h 8890"/>
                <a:gd name="connsiteX19" fmla="*/ 8411 w 9843"/>
                <a:gd name="connsiteY19" fmla="*/ 2903 h 8890"/>
                <a:gd name="connsiteX20" fmla="*/ 7936 w 9843"/>
                <a:gd name="connsiteY20" fmla="*/ 1814 h 8890"/>
                <a:gd name="connsiteX21" fmla="*/ 8888 w 9843"/>
                <a:gd name="connsiteY21" fmla="*/ 1088 h 8890"/>
                <a:gd name="connsiteX22" fmla="*/ 8888 w 9843"/>
                <a:gd name="connsiteY22" fmla="*/ 362 h 8890"/>
                <a:gd name="connsiteX23" fmla="*/ 7936 w 9843"/>
                <a:gd name="connsiteY23" fmla="*/ 0 h 8890"/>
                <a:gd name="connsiteX24" fmla="*/ 6982 w 9843"/>
                <a:gd name="connsiteY24" fmla="*/ 0 h 8890"/>
                <a:gd name="connsiteX25" fmla="*/ 3640 w 9843"/>
                <a:gd name="connsiteY25" fmla="*/ 182 h 8890"/>
                <a:gd name="connsiteX26" fmla="*/ 3163 w 9843"/>
                <a:gd name="connsiteY26" fmla="*/ 0 h 8890"/>
                <a:gd name="connsiteX27" fmla="*/ 3163 w 9843"/>
                <a:gd name="connsiteY27" fmla="*/ 907 h 8890"/>
                <a:gd name="connsiteX28" fmla="*/ 3163 w 9843"/>
                <a:gd name="connsiteY28" fmla="*/ 1088 h 8890"/>
                <a:gd name="connsiteX0" fmla="*/ 3213 w 9513"/>
                <a:gd name="connsiteY0" fmla="*/ 1224 h 10000"/>
                <a:gd name="connsiteX1" fmla="*/ 1274 w 9513"/>
                <a:gd name="connsiteY1" fmla="*/ 2654 h 10000"/>
                <a:gd name="connsiteX2" fmla="*/ 305 w 9513"/>
                <a:gd name="connsiteY2" fmla="*/ 4084 h 10000"/>
                <a:gd name="connsiteX3" fmla="*/ 787 w 9513"/>
                <a:gd name="connsiteY3" fmla="*/ 5307 h 10000"/>
                <a:gd name="connsiteX4" fmla="*/ 9513 w 9513"/>
                <a:gd name="connsiteY4" fmla="*/ 10000 h 10000"/>
                <a:gd name="connsiteX5" fmla="*/ 9030 w 9513"/>
                <a:gd name="connsiteY5" fmla="*/ 8981 h 10000"/>
                <a:gd name="connsiteX6" fmla="*/ 8545 w 9513"/>
                <a:gd name="connsiteY6" fmla="*/ 8574 h 10000"/>
                <a:gd name="connsiteX7" fmla="*/ 6121 w 9513"/>
                <a:gd name="connsiteY7" fmla="*/ 8368 h 10000"/>
                <a:gd name="connsiteX8" fmla="*/ 3698 w 9513"/>
                <a:gd name="connsiteY8" fmla="*/ 7961 h 10000"/>
                <a:gd name="connsiteX9" fmla="*/ 2730 w 9513"/>
                <a:gd name="connsiteY9" fmla="*/ 6940 h 10000"/>
                <a:gd name="connsiteX10" fmla="*/ 1759 w 9513"/>
                <a:gd name="connsiteY10" fmla="*/ 5307 h 10000"/>
                <a:gd name="connsiteX11" fmla="*/ 2730 w 9513"/>
                <a:gd name="connsiteY11" fmla="*/ 4696 h 10000"/>
                <a:gd name="connsiteX12" fmla="*/ 2245 w 9513"/>
                <a:gd name="connsiteY12" fmla="*/ 3265 h 10000"/>
                <a:gd name="connsiteX13" fmla="*/ 4669 w 9513"/>
                <a:gd name="connsiteY13" fmla="*/ 3265 h 10000"/>
                <a:gd name="connsiteX14" fmla="*/ 5636 w 9513"/>
                <a:gd name="connsiteY14" fmla="*/ 4084 h 10000"/>
                <a:gd name="connsiteX15" fmla="*/ 7574 w 9513"/>
                <a:gd name="connsiteY15" fmla="*/ 4084 h 10000"/>
                <a:gd name="connsiteX16" fmla="*/ 7574 w 9513"/>
                <a:gd name="connsiteY16" fmla="*/ 3472 h 10000"/>
                <a:gd name="connsiteX17" fmla="*/ 8063 w 9513"/>
                <a:gd name="connsiteY17" fmla="*/ 3062 h 10000"/>
                <a:gd name="connsiteX18" fmla="*/ 8545 w 9513"/>
                <a:gd name="connsiteY18" fmla="*/ 3265 h 10000"/>
                <a:gd name="connsiteX19" fmla="*/ 8063 w 9513"/>
                <a:gd name="connsiteY19" fmla="*/ 2040 h 10000"/>
                <a:gd name="connsiteX20" fmla="*/ 9030 w 9513"/>
                <a:gd name="connsiteY20" fmla="*/ 1224 h 10000"/>
                <a:gd name="connsiteX21" fmla="*/ 9030 w 9513"/>
                <a:gd name="connsiteY21" fmla="*/ 407 h 10000"/>
                <a:gd name="connsiteX22" fmla="*/ 8063 w 9513"/>
                <a:gd name="connsiteY22" fmla="*/ 0 h 10000"/>
                <a:gd name="connsiteX23" fmla="*/ 7093 w 9513"/>
                <a:gd name="connsiteY23" fmla="*/ 0 h 10000"/>
                <a:gd name="connsiteX24" fmla="*/ 3698 w 9513"/>
                <a:gd name="connsiteY24" fmla="*/ 205 h 10000"/>
                <a:gd name="connsiteX25" fmla="*/ 3213 w 9513"/>
                <a:gd name="connsiteY25" fmla="*/ 0 h 10000"/>
                <a:gd name="connsiteX26" fmla="*/ 3213 w 9513"/>
                <a:gd name="connsiteY26" fmla="*/ 1020 h 10000"/>
                <a:gd name="connsiteX27" fmla="*/ 3213 w 9513"/>
                <a:gd name="connsiteY27" fmla="*/ 1224 h 10000"/>
                <a:gd name="connsiteX0" fmla="*/ 3377 w 10000"/>
                <a:gd name="connsiteY0" fmla="*/ 1224 h 10000"/>
                <a:gd name="connsiteX1" fmla="*/ 1339 w 10000"/>
                <a:gd name="connsiteY1" fmla="*/ 2654 h 10000"/>
                <a:gd name="connsiteX2" fmla="*/ 321 w 10000"/>
                <a:gd name="connsiteY2" fmla="*/ 4084 h 10000"/>
                <a:gd name="connsiteX3" fmla="*/ 827 w 10000"/>
                <a:gd name="connsiteY3" fmla="*/ 5307 h 10000"/>
                <a:gd name="connsiteX4" fmla="*/ 10000 w 10000"/>
                <a:gd name="connsiteY4" fmla="*/ 10000 h 10000"/>
                <a:gd name="connsiteX5" fmla="*/ 8982 w 10000"/>
                <a:gd name="connsiteY5" fmla="*/ 8574 h 10000"/>
                <a:gd name="connsiteX6" fmla="*/ 6434 w 10000"/>
                <a:gd name="connsiteY6" fmla="*/ 8368 h 10000"/>
                <a:gd name="connsiteX7" fmla="*/ 3887 w 10000"/>
                <a:gd name="connsiteY7" fmla="*/ 7961 h 10000"/>
                <a:gd name="connsiteX8" fmla="*/ 2870 w 10000"/>
                <a:gd name="connsiteY8" fmla="*/ 6940 h 10000"/>
                <a:gd name="connsiteX9" fmla="*/ 1849 w 10000"/>
                <a:gd name="connsiteY9" fmla="*/ 5307 h 10000"/>
                <a:gd name="connsiteX10" fmla="*/ 2870 w 10000"/>
                <a:gd name="connsiteY10" fmla="*/ 4696 h 10000"/>
                <a:gd name="connsiteX11" fmla="*/ 2360 w 10000"/>
                <a:gd name="connsiteY11" fmla="*/ 3265 h 10000"/>
                <a:gd name="connsiteX12" fmla="*/ 4908 w 10000"/>
                <a:gd name="connsiteY12" fmla="*/ 3265 h 10000"/>
                <a:gd name="connsiteX13" fmla="*/ 5925 w 10000"/>
                <a:gd name="connsiteY13" fmla="*/ 4084 h 10000"/>
                <a:gd name="connsiteX14" fmla="*/ 7962 w 10000"/>
                <a:gd name="connsiteY14" fmla="*/ 4084 h 10000"/>
                <a:gd name="connsiteX15" fmla="*/ 7962 w 10000"/>
                <a:gd name="connsiteY15" fmla="*/ 3472 h 10000"/>
                <a:gd name="connsiteX16" fmla="*/ 8476 w 10000"/>
                <a:gd name="connsiteY16" fmla="*/ 3062 h 10000"/>
                <a:gd name="connsiteX17" fmla="*/ 8982 w 10000"/>
                <a:gd name="connsiteY17" fmla="*/ 3265 h 10000"/>
                <a:gd name="connsiteX18" fmla="*/ 8476 w 10000"/>
                <a:gd name="connsiteY18" fmla="*/ 2040 h 10000"/>
                <a:gd name="connsiteX19" fmla="*/ 9492 w 10000"/>
                <a:gd name="connsiteY19" fmla="*/ 1224 h 10000"/>
                <a:gd name="connsiteX20" fmla="*/ 9492 w 10000"/>
                <a:gd name="connsiteY20" fmla="*/ 407 h 10000"/>
                <a:gd name="connsiteX21" fmla="*/ 8476 w 10000"/>
                <a:gd name="connsiteY21" fmla="*/ 0 h 10000"/>
                <a:gd name="connsiteX22" fmla="*/ 7456 w 10000"/>
                <a:gd name="connsiteY22" fmla="*/ 0 h 10000"/>
                <a:gd name="connsiteX23" fmla="*/ 3887 w 10000"/>
                <a:gd name="connsiteY23" fmla="*/ 205 h 10000"/>
                <a:gd name="connsiteX24" fmla="*/ 3377 w 10000"/>
                <a:gd name="connsiteY24" fmla="*/ 0 h 10000"/>
                <a:gd name="connsiteX25" fmla="*/ 3377 w 10000"/>
                <a:gd name="connsiteY25" fmla="*/ 1020 h 10000"/>
                <a:gd name="connsiteX26" fmla="*/ 3377 w 10000"/>
                <a:gd name="connsiteY26" fmla="*/ 1224 h 10000"/>
                <a:gd name="connsiteX0" fmla="*/ 3377 w 10000"/>
                <a:gd name="connsiteY0" fmla="*/ 1224 h 10000"/>
                <a:gd name="connsiteX1" fmla="*/ 1339 w 10000"/>
                <a:gd name="connsiteY1" fmla="*/ 2654 h 10000"/>
                <a:gd name="connsiteX2" fmla="*/ 321 w 10000"/>
                <a:gd name="connsiteY2" fmla="*/ 4084 h 10000"/>
                <a:gd name="connsiteX3" fmla="*/ 827 w 10000"/>
                <a:gd name="connsiteY3" fmla="*/ 5307 h 10000"/>
                <a:gd name="connsiteX4" fmla="*/ 10000 w 10000"/>
                <a:gd name="connsiteY4" fmla="*/ 10000 h 10000"/>
                <a:gd name="connsiteX5" fmla="*/ 6434 w 10000"/>
                <a:gd name="connsiteY5" fmla="*/ 8368 h 10000"/>
                <a:gd name="connsiteX6" fmla="*/ 3887 w 10000"/>
                <a:gd name="connsiteY6" fmla="*/ 7961 h 10000"/>
                <a:gd name="connsiteX7" fmla="*/ 2870 w 10000"/>
                <a:gd name="connsiteY7" fmla="*/ 6940 h 10000"/>
                <a:gd name="connsiteX8" fmla="*/ 1849 w 10000"/>
                <a:gd name="connsiteY8" fmla="*/ 5307 h 10000"/>
                <a:gd name="connsiteX9" fmla="*/ 2870 w 10000"/>
                <a:gd name="connsiteY9" fmla="*/ 4696 h 10000"/>
                <a:gd name="connsiteX10" fmla="*/ 2360 w 10000"/>
                <a:gd name="connsiteY10" fmla="*/ 3265 h 10000"/>
                <a:gd name="connsiteX11" fmla="*/ 4908 w 10000"/>
                <a:gd name="connsiteY11" fmla="*/ 3265 h 10000"/>
                <a:gd name="connsiteX12" fmla="*/ 5925 w 10000"/>
                <a:gd name="connsiteY12" fmla="*/ 4084 h 10000"/>
                <a:gd name="connsiteX13" fmla="*/ 7962 w 10000"/>
                <a:gd name="connsiteY13" fmla="*/ 4084 h 10000"/>
                <a:gd name="connsiteX14" fmla="*/ 7962 w 10000"/>
                <a:gd name="connsiteY14" fmla="*/ 3472 h 10000"/>
                <a:gd name="connsiteX15" fmla="*/ 8476 w 10000"/>
                <a:gd name="connsiteY15" fmla="*/ 3062 h 10000"/>
                <a:gd name="connsiteX16" fmla="*/ 8982 w 10000"/>
                <a:gd name="connsiteY16" fmla="*/ 3265 h 10000"/>
                <a:gd name="connsiteX17" fmla="*/ 8476 w 10000"/>
                <a:gd name="connsiteY17" fmla="*/ 2040 h 10000"/>
                <a:gd name="connsiteX18" fmla="*/ 9492 w 10000"/>
                <a:gd name="connsiteY18" fmla="*/ 1224 h 10000"/>
                <a:gd name="connsiteX19" fmla="*/ 9492 w 10000"/>
                <a:gd name="connsiteY19" fmla="*/ 407 h 10000"/>
                <a:gd name="connsiteX20" fmla="*/ 8476 w 10000"/>
                <a:gd name="connsiteY20" fmla="*/ 0 h 10000"/>
                <a:gd name="connsiteX21" fmla="*/ 7456 w 10000"/>
                <a:gd name="connsiteY21" fmla="*/ 0 h 10000"/>
                <a:gd name="connsiteX22" fmla="*/ 3887 w 10000"/>
                <a:gd name="connsiteY22" fmla="*/ 205 h 10000"/>
                <a:gd name="connsiteX23" fmla="*/ 3377 w 10000"/>
                <a:gd name="connsiteY23" fmla="*/ 0 h 10000"/>
                <a:gd name="connsiteX24" fmla="*/ 3377 w 10000"/>
                <a:gd name="connsiteY24" fmla="*/ 1020 h 10000"/>
                <a:gd name="connsiteX25" fmla="*/ 3377 w 10000"/>
                <a:gd name="connsiteY25" fmla="*/ 1224 h 10000"/>
                <a:gd name="connsiteX0" fmla="*/ 3377 w 10000"/>
                <a:gd name="connsiteY0" fmla="*/ 1224 h 10000"/>
                <a:gd name="connsiteX1" fmla="*/ 1339 w 10000"/>
                <a:gd name="connsiteY1" fmla="*/ 2654 h 10000"/>
                <a:gd name="connsiteX2" fmla="*/ 321 w 10000"/>
                <a:gd name="connsiteY2" fmla="*/ 4084 h 10000"/>
                <a:gd name="connsiteX3" fmla="*/ 827 w 10000"/>
                <a:gd name="connsiteY3" fmla="*/ 5307 h 10000"/>
                <a:gd name="connsiteX4" fmla="*/ 10000 w 10000"/>
                <a:gd name="connsiteY4" fmla="*/ 10000 h 10000"/>
                <a:gd name="connsiteX5" fmla="*/ 3887 w 10000"/>
                <a:gd name="connsiteY5" fmla="*/ 7961 h 10000"/>
                <a:gd name="connsiteX6" fmla="*/ 2870 w 10000"/>
                <a:gd name="connsiteY6" fmla="*/ 6940 h 10000"/>
                <a:gd name="connsiteX7" fmla="*/ 1849 w 10000"/>
                <a:gd name="connsiteY7" fmla="*/ 5307 h 10000"/>
                <a:gd name="connsiteX8" fmla="*/ 2870 w 10000"/>
                <a:gd name="connsiteY8" fmla="*/ 4696 h 10000"/>
                <a:gd name="connsiteX9" fmla="*/ 2360 w 10000"/>
                <a:gd name="connsiteY9" fmla="*/ 3265 h 10000"/>
                <a:gd name="connsiteX10" fmla="*/ 4908 w 10000"/>
                <a:gd name="connsiteY10" fmla="*/ 3265 h 10000"/>
                <a:gd name="connsiteX11" fmla="*/ 5925 w 10000"/>
                <a:gd name="connsiteY11" fmla="*/ 4084 h 10000"/>
                <a:gd name="connsiteX12" fmla="*/ 7962 w 10000"/>
                <a:gd name="connsiteY12" fmla="*/ 4084 h 10000"/>
                <a:gd name="connsiteX13" fmla="*/ 7962 w 10000"/>
                <a:gd name="connsiteY13" fmla="*/ 3472 h 10000"/>
                <a:gd name="connsiteX14" fmla="*/ 8476 w 10000"/>
                <a:gd name="connsiteY14" fmla="*/ 3062 h 10000"/>
                <a:gd name="connsiteX15" fmla="*/ 8982 w 10000"/>
                <a:gd name="connsiteY15" fmla="*/ 3265 h 10000"/>
                <a:gd name="connsiteX16" fmla="*/ 8476 w 10000"/>
                <a:gd name="connsiteY16" fmla="*/ 2040 h 10000"/>
                <a:gd name="connsiteX17" fmla="*/ 9492 w 10000"/>
                <a:gd name="connsiteY17" fmla="*/ 1224 h 10000"/>
                <a:gd name="connsiteX18" fmla="*/ 9492 w 10000"/>
                <a:gd name="connsiteY18" fmla="*/ 407 h 10000"/>
                <a:gd name="connsiteX19" fmla="*/ 8476 w 10000"/>
                <a:gd name="connsiteY19" fmla="*/ 0 h 10000"/>
                <a:gd name="connsiteX20" fmla="*/ 7456 w 10000"/>
                <a:gd name="connsiteY20" fmla="*/ 0 h 10000"/>
                <a:gd name="connsiteX21" fmla="*/ 3887 w 10000"/>
                <a:gd name="connsiteY21" fmla="*/ 205 h 10000"/>
                <a:gd name="connsiteX22" fmla="*/ 3377 w 10000"/>
                <a:gd name="connsiteY22" fmla="*/ 0 h 10000"/>
                <a:gd name="connsiteX23" fmla="*/ 3377 w 10000"/>
                <a:gd name="connsiteY23" fmla="*/ 1020 h 10000"/>
                <a:gd name="connsiteX24" fmla="*/ 3377 w 10000"/>
                <a:gd name="connsiteY24" fmla="*/ 1224 h 10000"/>
                <a:gd name="connsiteX0" fmla="*/ 3377 w 10000"/>
                <a:gd name="connsiteY0" fmla="*/ 1224 h 10000"/>
                <a:gd name="connsiteX1" fmla="*/ 1339 w 10000"/>
                <a:gd name="connsiteY1" fmla="*/ 2654 h 10000"/>
                <a:gd name="connsiteX2" fmla="*/ 321 w 10000"/>
                <a:gd name="connsiteY2" fmla="*/ 4084 h 10000"/>
                <a:gd name="connsiteX3" fmla="*/ 827 w 10000"/>
                <a:gd name="connsiteY3" fmla="*/ 5307 h 10000"/>
                <a:gd name="connsiteX4" fmla="*/ 10000 w 10000"/>
                <a:gd name="connsiteY4" fmla="*/ 10000 h 10000"/>
                <a:gd name="connsiteX5" fmla="*/ 3887 w 10000"/>
                <a:gd name="connsiteY5" fmla="*/ 7961 h 10000"/>
                <a:gd name="connsiteX6" fmla="*/ 1849 w 10000"/>
                <a:gd name="connsiteY6" fmla="*/ 5307 h 10000"/>
                <a:gd name="connsiteX7" fmla="*/ 2870 w 10000"/>
                <a:gd name="connsiteY7" fmla="*/ 4696 h 10000"/>
                <a:gd name="connsiteX8" fmla="*/ 2360 w 10000"/>
                <a:gd name="connsiteY8" fmla="*/ 3265 h 10000"/>
                <a:gd name="connsiteX9" fmla="*/ 4908 w 10000"/>
                <a:gd name="connsiteY9" fmla="*/ 3265 h 10000"/>
                <a:gd name="connsiteX10" fmla="*/ 5925 w 10000"/>
                <a:gd name="connsiteY10" fmla="*/ 4084 h 10000"/>
                <a:gd name="connsiteX11" fmla="*/ 7962 w 10000"/>
                <a:gd name="connsiteY11" fmla="*/ 4084 h 10000"/>
                <a:gd name="connsiteX12" fmla="*/ 7962 w 10000"/>
                <a:gd name="connsiteY12" fmla="*/ 3472 h 10000"/>
                <a:gd name="connsiteX13" fmla="*/ 8476 w 10000"/>
                <a:gd name="connsiteY13" fmla="*/ 3062 h 10000"/>
                <a:gd name="connsiteX14" fmla="*/ 8982 w 10000"/>
                <a:gd name="connsiteY14" fmla="*/ 3265 h 10000"/>
                <a:gd name="connsiteX15" fmla="*/ 8476 w 10000"/>
                <a:gd name="connsiteY15" fmla="*/ 2040 h 10000"/>
                <a:gd name="connsiteX16" fmla="*/ 9492 w 10000"/>
                <a:gd name="connsiteY16" fmla="*/ 1224 h 10000"/>
                <a:gd name="connsiteX17" fmla="*/ 9492 w 10000"/>
                <a:gd name="connsiteY17" fmla="*/ 407 h 10000"/>
                <a:gd name="connsiteX18" fmla="*/ 8476 w 10000"/>
                <a:gd name="connsiteY18" fmla="*/ 0 h 10000"/>
                <a:gd name="connsiteX19" fmla="*/ 7456 w 10000"/>
                <a:gd name="connsiteY19" fmla="*/ 0 h 10000"/>
                <a:gd name="connsiteX20" fmla="*/ 3887 w 10000"/>
                <a:gd name="connsiteY20" fmla="*/ 205 h 10000"/>
                <a:gd name="connsiteX21" fmla="*/ 3377 w 10000"/>
                <a:gd name="connsiteY21" fmla="*/ 0 h 10000"/>
                <a:gd name="connsiteX22" fmla="*/ 3377 w 10000"/>
                <a:gd name="connsiteY22" fmla="*/ 1020 h 10000"/>
                <a:gd name="connsiteX23" fmla="*/ 3377 w 10000"/>
                <a:gd name="connsiteY23" fmla="*/ 1224 h 10000"/>
                <a:gd name="connsiteX0" fmla="*/ 3377 w 10000"/>
                <a:gd name="connsiteY0" fmla="*/ 1224 h 10000"/>
                <a:gd name="connsiteX1" fmla="*/ 1339 w 10000"/>
                <a:gd name="connsiteY1" fmla="*/ 2654 h 10000"/>
                <a:gd name="connsiteX2" fmla="*/ 321 w 10000"/>
                <a:gd name="connsiteY2" fmla="*/ 4084 h 10000"/>
                <a:gd name="connsiteX3" fmla="*/ 827 w 10000"/>
                <a:gd name="connsiteY3" fmla="*/ 5307 h 10000"/>
                <a:gd name="connsiteX4" fmla="*/ 10000 w 10000"/>
                <a:gd name="connsiteY4" fmla="*/ 10000 h 10000"/>
                <a:gd name="connsiteX5" fmla="*/ 1849 w 10000"/>
                <a:gd name="connsiteY5" fmla="*/ 5307 h 10000"/>
                <a:gd name="connsiteX6" fmla="*/ 2870 w 10000"/>
                <a:gd name="connsiteY6" fmla="*/ 4696 h 10000"/>
                <a:gd name="connsiteX7" fmla="*/ 2360 w 10000"/>
                <a:gd name="connsiteY7" fmla="*/ 3265 h 10000"/>
                <a:gd name="connsiteX8" fmla="*/ 4908 w 10000"/>
                <a:gd name="connsiteY8" fmla="*/ 3265 h 10000"/>
                <a:gd name="connsiteX9" fmla="*/ 5925 w 10000"/>
                <a:gd name="connsiteY9" fmla="*/ 4084 h 10000"/>
                <a:gd name="connsiteX10" fmla="*/ 7962 w 10000"/>
                <a:gd name="connsiteY10" fmla="*/ 4084 h 10000"/>
                <a:gd name="connsiteX11" fmla="*/ 7962 w 10000"/>
                <a:gd name="connsiteY11" fmla="*/ 3472 h 10000"/>
                <a:gd name="connsiteX12" fmla="*/ 8476 w 10000"/>
                <a:gd name="connsiteY12" fmla="*/ 3062 h 10000"/>
                <a:gd name="connsiteX13" fmla="*/ 8982 w 10000"/>
                <a:gd name="connsiteY13" fmla="*/ 3265 h 10000"/>
                <a:gd name="connsiteX14" fmla="*/ 8476 w 10000"/>
                <a:gd name="connsiteY14" fmla="*/ 2040 h 10000"/>
                <a:gd name="connsiteX15" fmla="*/ 9492 w 10000"/>
                <a:gd name="connsiteY15" fmla="*/ 1224 h 10000"/>
                <a:gd name="connsiteX16" fmla="*/ 9492 w 10000"/>
                <a:gd name="connsiteY16" fmla="*/ 407 h 10000"/>
                <a:gd name="connsiteX17" fmla="*/ 8476 w 10000"/>
                <a:gd name="connsiteY17" fmla="*/ 0 h 10000"/>
                <a:gd name="connsiteX18" fmla="*/ 7456 w 10000"/>
                <a:gd name="connsiteY18" fmla="*/ 0 h 10000"/>
                <a:gd name="connsiteX19" fmla="*/ 3887 w 10000"/>
                <a:gd name="connsiteY19" fmla="*/ 205 h 10000"/>
                <a:gd name="connsiteX20" fmla="*/ 3377 w 10000"/>
                <a:gd name="connsiteY20" fmla="*/ 0 h 10000"/>
                <a:gd name="connsiteX21" fmla="*/ 3377 w 10000"/>
                <a:gd name="connsiteY21" fmla="*/ 1020 h 10000"/>
                <a:gd name="connsiteX22" fmla="*/ 3377 w 10000"/>
                <a:gd name="connsiteY22" fmla="*/ 1224 h 10000"/>
                <a:gd name="connsiteX0" fmla="*/ 3056 w 9171"/>
                <a:gd name="connsiteY0" fmla="*/ 1224 h 5424"/>
                <a:gd name="connsiteX1" fmla="*/ 1018 w 9171"/>
                <a:gd name="connsiteY1" fmla="*/ 2654 h 5424"/>
                <a:gd name="connsiteX2" fmla="*/ 0 w 9171"/>
                <a:gd name="connsiteY2" fmla="*/ 4084 h 5424"/>
                <a:gd name="connsiteX3" fmla="*/ 506 w 9171"/>
                <a:gd name="connsiteY3" fmla="*/ 5307 h 5424"/>
                <a:gd name="connsiteX4" fmla="*/ 1528 w 9171"/>
                <a:gd name="connsiteY4" fmla="*/ 5307 h 5424"/>
                <a:gd name="connsiteX5" fmla="*/ 2549 w 9171"/>
                <a:gd name="connsiteY5" fmla="*/ 4696 h 5424"/>
                <a:gd name="connsiteX6" fmla="*/ 2039 w 9171"/>
                <a:gd name="connsiteY6" fmla="*/ 3265 h 5424"/>
                <a:gd name="connsiteX7" fmla="*/ 4587 w 9171"/>
                <a:gd name="connsiteY7" fmla="*/ 3265 h 5424"/>
                <a:gd name="connsiteX8" fmla="*/ 5604 w 9171"/>
                <a:gd name="connsiteY8" fmla="*/ 4084 h 5424"/>
                <a:gd name="connsiteX9" fmla="*/ 7641 w 9171"/>
                <a:gd name="connsiteY9" fmla="*/ 4084 h 5424"/>
                <a:gd name="connsiteX10" fmla="*/ 7641 w 9171"/>
                <a:gd name="connsiteY10" fmla="*/ 3472 h 5424"/>
                <a:gd name="connsiteX11" fmla="*/ 8155 w 9171"/>
                <a:gd name="connsiteY11" fmla="*/ 3062 h 5424"/>
                <a:gd name="connsiteX12" fmla="*/ 8661 w 9171"/>
                <a:gd name="connsiteY12" fmla="*/ 3265 h 5424"/>
                <a:gd name="connsiteX13" fmla="*/ 8155 w 9171"/>
                <a:gd name="connsiteY13" fmla="*/ 2040 h 5424"/>
                <a:gd name="connsiteX14" fmla="*/ 9171 w 9171"/>
                <a:gd name="connsiteY14" fmla="*/ 1224 h 5424"/>
                <a:gd name="connsiteX15" fmla="*/ 9171 w 9171"/>
                <a:gd name="connsiteY15" fmla="*/ 407 h 5424"/>
                <a:gd name="connsiteX16" fmla="*/ 8155 w 9171"/>
                <a:gd name="connsiteY16" fmla="*/ 0 h 5424"/>
                <a:gd name="connsiteX17" fmla="*/ 7135 w 9171"/>
                <a:gd name="connsiteY17" fmla="*/ 0 h 5424"/>
                <a:gd name="connsiteX18" fmla="*/ 3566 w 9171"/>
                <a:gd name="connsiteY18" fmla="*/ 205 h 5424"/>
                <a:gd name="connsiteX19" fmla="*/ 3056 w 9171"/>
                <a:gd name="connsiteY19" fmla="*/ 0 h 5424"/>
                <a:gd name="connsiteX20" fmla="*/ 3056 w 9171"/>
                <a:gd name="connsiteY20" fmla="*/ 1020 h 5424"/>
                <a:gd name="connsiteX21" fmla="*/ 3056 w 9171"/>
                <a:gd name="connsiteY21" fmla="*/ 1224 h 5424"/>
                <a:gd name="connsiteX0" fmla="*/ 3332 w 10000"/>
                <a:gd name="connsiteY0" fmla="*/ 1881 h 10001"/>
                <a:gd name="connsiteX1" fmla="*/ 1110 w 10000"/>
                <a:gd name="connsiteY1" fmla="*/ 4893 h 10001"/>
                <a:gd name="connsiteX2" fmla="*/ 0 w 10000"/>
                <a:gd name="connsiteY2" fmla="*/ 7529 h 10001"/>
                <a:gd name="connsiteX3" fmla="*/ 552 w 10000"/>
                <a:gd name="connsiteY3" fmla="*/ 9784 h 10001"/>
                <a:gd name="connsiteX4" fmla="*/ 1666 w 10000"/>
                <a:gd name="connsiteY4" fmla="*/ 9784 h 10001"/>
                <a:gd name="connsiteX5" fmla="*/ 2779 w 10000"/>
                <a:gd name="connsiteY5" fmla="*/ 8658 h 10001"/>
                <a:gd name="connsiteX6" fmla="*/ 2223 w 10000"/>
                <a:gd name="connsiteY6" fmla="*/ 6020 h 10001"/>
                <a:gd name="connsiteX7" fmla="*/ 5002 w 10000"/>
                <a:gd name="connsiteY7" fmla="*/ 6020 h 10001"/>
                <a:gd name="connsiteX8" fmla="*/ 6111 w 10000"/>
                <a:gd name="connsiteY8" fmla="*/ 7529 h 10001"/>
                <a:gd name="connsiteX9" fmla="*/ 8332 w 10000"/>
                <a:gd name="connsiteY9" fmla="*/ 7529 h 10001"/>
                <a:gd name="connsiteX10" fmla="*/ 8332 w 10000"/>
                <a:gd name="connsiteY10" fmla="*/ 6401 h 10001"/>
                <a:gd name="connsiteX11" fmla="*/ 8892 w 10000"/>
                <a:gd name="connsiteY11" fmla="*/ 5645 h 10001"/>
                <a:gd name="connsiteX12" fmla="*/ 9444 w 10000"/>
                <a:gd name="connsiteY12" fmla="*/ 6020 h 10001"/>
                <a:gd name="connsiteX13" fmla="*/ 8892 w 10000"/>
                <a:gd name="connsiteY13" fmla="*/ 3761 h 10001"/>
                <a:gd name="connsiteX14" fmla="*/ 10000 w 10000"/>
                <a:gd name="connsiteY14" fmla="*/ 2257 h 10001"/>
                <a:gd name="connsiteX15" fmla="*/ 10000 w 10000"/>
                <a:gd name="connsiteY15" fmla="*/ 750 h 10001"/>
                <a:gd name="connsiteX16" fmla="*/ 8892 w 10000"/>
                <a:gd name="connsiteY16" fmla="*/ 0 h 10001"/>
                <a:gd name="connsiteX17" fmla="*/ 7780 w 10000"/>
                <a:gd name="connsiteY17" fmla="*/ 0 h 10001"/>
                <a:gd name="connsiteX18" fmla="*/ 3888 w 10000"/>
                <a:gd name="connsiteY18" fmla="*/ 378 h 10001"/>
                <a:gd name="connsiteX19" fmla="*/ 3332 w 10000"/>
                <a:gd name="connsiteY19" fmla="*/ 0 h 10001"/>
                <a:gd name="connsiteX20" fmla="*/ 3332 w 10000"/>
                <a:gd name="connsiteY20" fmla="*/ 1881 h 10001"/>
                <a:gd name="connsiteX0" fmla="*/ 1110 w 10000"/>
                <a:gd name="connsiteY0" fmla="*/ 4893 h 10001"/>
                <a:gd name="connsiteX1" fmla="*/ 0 w 10000"/>
                <a:gd name="connsiteY1" fmla="*/ 7529 h 10001"/>
                <a:gd name="connsiteX2" fmla="*/ 552 w 10000"/>
                <a:gd name="connsiteY2" fmla="*/ 9784 h 10001"/>
                <a:gd name="connsiteX3" fmla="*/ 1666 w 10000"/>
                <a:gd name="connsiteY3" fmla="*/ 9784 h 10001"/>
                <a:gd name="connsiteX4" fmla="*/ 2779 w 10000"/>
                <a:gd name="connsiteY4" fmla="*/ 8658 h 10001"/>
                <a:gd name="connsiteX5" fmla="*/ 2223 w 10000"/>
                <a:gd name="connsiteY5" fmla="*/ 6020 h 10001"/>
                <a:gd name="connsiteX6" fmla="*/ 5002 w 10000"/>
                <a:gd name="connsiteY6" fmla="*/ 6020 h 10001"/>
                <a:gd name="connsiteX7" fmla="*/ 6111 w 10000"/>
                <a:gd name="connsiteY7" fmla="*/ 7529 h 10001"/>
                <a:gd name="connsiteX8" fmla="*/ 8332 w 10000"/>
                <a:gd name="connsiteY8" fmla="*/ 7529 h 10001"/>
                <a:gd name="connsiteX9" fmla="*/ 8332 w 10000"/>
                <a:gd name="connsiteY9" fmla="*/ 6401 h 10001"/>
                <a:gd name="connsiteX10" fmla="*/ 8892 w 10000"/>
                <a:gd name="connsiteY10" fmla="*/ 5645 h 10001"/>
                <a:gd name="connsiteX11" fmla="*/ 9444 w 10000"/>
                <a:gd name="connsiteY11" fmla="*/ 6020 h 10001"/>
                <a:gd name="connsiteX12" fmla="*/ 8892 w 10000"/>
                <a:gd name="connsiteY12" fmla="*/ 3761 h 10001"/>
                <a:gd name="connsiteX13" fmla="*/ 10000 w 10000"/>
                <a:gd name="connsiteY13" fmla="*/ 2257 h 10001"/>
                <a:gd name="connsiteX14" fmla="*/ 10000 w 10000"/>
                <a:gd name="connsiteY14" fmla="*/ 750 h 10001"/>
                <a:gd name="connsiteX15" fmla="*/ 8892 w 10000"/>
                <a:gd name="connsiteY15" fmla="*/ 0 h 10001"/>
                <a:gd name="connsiteX16" fmla="*/ 7780 w 10000"/>
                <a:gd name="connsiteY16" fmla="*/ 0 h 10001"/>
                <a:gd name="connsiteX17" fmla="*/ 3888 w 10000"/>
                <a:gd name="connsiteY17" fmla="*/ 378 h 10001"/>
                <a:gd name="connsiteX18" fmla="*/ 3332 w 10000"/>
                <a:gd name="connsiteY18" fmla="*/ 0 h 10001"/>
                <a:gd name="connsiteX19" fmla="*/ 9846 w 10000"/>
                <a:gd name="connsiteY19" fmla="*/ 6305 h 10001"/>
                <a:gd name="connsiteX0" fmla="*/ 1110 w 10000"/>
                <a:gd name="connsiteY0" fmla="*/ 4893 h 10001"/>
                <a:gd name="connsiteX1" fmla="*/ 0 w 10000"/>
                <a:gd name="connsiteY1" fmla="*/ 7529 h 10001"/>
                <a:gd name="connsiteX2" fmla="*/ 552 w 10000"/>
                <a:gd name="connsiteY2" fmla="*/ 9784 h 10001"/>
                <a:gd name="connsiteX3" fmla="*/ 1666 w 10000"/>
                <a:gd name="connsiteY3" fmla="*/ 9784 h 10001"/>
                <a:gd name="connsiteX4" fmla="*/ 2779 w 10000"/>
                <a:gd name="connsiteY4" fmla="*/ 8658 h 10001"/>
                <a:gd name="connsiteX5" fmla="*/ 2223 w 10000"/>
                <a:gd name="connsiteY5" fmla="*/ 6020 h 10001"/>
                <a:gd name="connsiteX6" fmla="*/ 5002 w 10000"/>
                <a:gd name="connsiteY6" fmla="*/ 6020 h 10001"/>
                <a:gd name="connsiteX7" fmla="*/ 6111 w 10000"/>
                <a:gd name="connsiteY7" fmla="*/ 7529 h 10001"/>
                <a:gd name="connsiteX8" fmla="*/ 8332 w 10000"/>
                <a:gd name="connsiteY8" fmla="*/ 7529 h 10001"/>
                <a:gd name="connsiteX9" fmla="*/ 8332 w 10000"/>
                <a:gd name="connsiteY9" fmla="*/ 6401 h 10001"/>
                <a:gd name="connsiteX10" fmla="*/ 8892 w 10000"/>
                <a:gd name="connsiteY10" fmla="*/ 5645 h 10001"/>
                <a:gd name="connsiteX11" fmla="*/ 9444 w 10000"/>
                <a:gd name="connsiteY11" fmla="*/ 6020 h 10001"/>
                <a:gd name="connsiteX12" fmla="*/ 8892 w 10000"/>
                <a:gd name="connsiteY12" fmla="*/ 3761 h 10001"/>
                <a:gd name="connsiteX13" fmla="*/ 10000 w 10000"/>
                <a:gd name="connsiteY13" fmla="*/ 2257 h 10001"/>
                <a:gd name="connsiteX14" fmla="*/ 10000 w 10000"/>
                <a:gd name="connsiteY14" fmla="*/ 750 h 10001"/>
                <a:gd name="connsiteX15" fmla="*/ 8892 w 10000"/>
                <a:gd name="connsiteY15" fmla="*/ 0 h 10001"/>
                <a:gd name="connsiteX16" fmla="*/ 7780 w 10000"/>
                <a:gd name="connsiteY16" fmla="*/ 0 h 10001"/>
                <a:gd name="connsiteX17" fmla="*/ 3888 w 10000"/>
                <a:gd name="connsiteY17" fmla="*/ 378 h 10001"/>
                <a:gd name="connsiteX18" fmla="*/ 9846 w 10000"/>
                <a:gd name="connsiteY18" fmla="*/ 6305 h 10001"/>
                <a:gd name="connsiteX0" fmla="*/ 1110 w 10000"/>
                <a:gd name="connsiteY0" fmla="*/ 4893 h 10001"/>
                <a:gd name="connsiteX1" fmla="*/ 0 w 10000"/>
                <a:gd name="connsiteY1" fmla="*/ 7529 h 10001"/>
                <a:gd name="connsiteX2" fmla="*/ 552 w 10000"/>
                <a:gd name="connsiteY2" fmla="*/ 9784 h 10001"/>
                <a:gd name="connsiteX3" fmla="*/ 1666 w 10000"/>
                <a:gd name="connsiteY3" fmla="*/ 9784 h 10001"/>
                <a:gd name="connsiteX4" fmla="*/ 2779 w 10000"/>
                <a:gd name="connsiteY4" fmla="*/ 8658 h 10001"/>
                <a:gd name="connsiteX5" fmla="*/ 2223 w 10000"/>
                <a:gd name="connsiteY5" fmla="*/ 6020 h 10001"/>
                <a:gd name="connsiteX6" fmla="*/ 5002 w 10000"/>
                <a:gd name="connsiteY6" fmla="*/ 6020 h 10001"/>
                <a:gd name="connsiteX7" fmla="*/ 6111 w 10000"/>
                <a:gd name="connsiteY7" fmla="*/ 7529 h 10001"/>
                <a:gd name="connsiteX8" fmla="*/ 8332 w 10000"/>
                <a:gd name="connsiteY8" fmla="*/ 7529 h 10001"/>
                <a:gd name="connsiteX9" fmla="*/ 8332 w 10000"/>
                <a:gd name="connsiteY9" fmla="*/ 6401 h 10001"/>
                <a:gd name="connsiteX10" fmla="*/ 8892 w 10000"/>
                <a:gd name="connsiteY10" fmla="*/ 5645 h 10001"/>
                <a:gd name="connsiteX11" fmla="*/ 9444 w 10000"/>
                <a:gd name="connsiteY11" fmla="*/ 6020 h 10001"/>
                <a:gd name="connsiteX12" fmla="*/ 8892 w 10000"/>
                <a:gd name="connsiteY12" fmla="*/ 3761 h 10001"/>
                <a:gd name="connsiteX13" fmla="*/ 10000 w 10000"/>
                <a:gd name="connsiteY13" fmla="*/ 2257 h 10001"/>
                <a:gd name="connsiteX14" fmla="*/ 10000 w 10000"/>
                <a:gd name="connsiteY14" fmla="*/ 750 h 10001"/>
                <a:gd name="connsiteX15" fmla="*/ 8892 w 10000"/>
                <a:gd name="connsiteY15" fmla="*/ 0 h 10001"/>
                <a:gd name="connsiteX16" fmla="*/ 7780 w 10000"/>
                <a:gd name="connsiteY16" fmla="*/ 0 h 10001"/>
                <a:gd name="connsiteX17" fmla="*/ 9846 w 10000"/>
                <a:gd name="connsiteY17" fmla="*/ 6305 h 10001"/>
                <a:gd name="connsiteX0" fmla="*/ 1110 w 10041"/>
                <a:gd name="connsiteY0" fmla="*/ 4893 h 10001"/>
                <a:gd name="connsiteX1" fmla="*/ 0 w 10041"/>
                <a:gd name="connsiteY1" fmla="*/ 7529 h 10001"/>
                <a:gd name="connsiteX2" fmla="*/ 552 w 10041"/>
                <a:gd name="connsiteY2" fmla="*/ 9784 h 10001"/>
                <a:gd name="connsiteX3" fmla="*/ 1666 w 10041"/>
                <a:gd name="connsiteY3" fmla="*/ 9784 h 10001"/>
                <a:gd name="connsiteX4" fmla="*/ 2779 w 10041"/>
                <a:gd name="connsiteY4" fmla="*/ 8658 h 10001"/>
                <a:gd name="connsiteX5" fmla="*/ 2223 w 10041"/>
                <a:gd name="connsiteY5" fmla="*/ 6020 h 10001"/>
                <a:gd name="connsiteX6" fmla="*/ 5002 w 10041"/>
                <a:gd name="connsiteY6" fmla="*/ 6020 h 10001"/>
                <a:gd name="connsiteX7" fmla="*/ 6111 w 10041"/>
                <a:gd name="connsiteY7" fmla="*/ 7529 h 10001"/>
                <a:gd name="connsiteX8" fmla="*/ 8332 w 10041"/>
                <a:gd name="connsiteY8" fmla="*/ 7529 h 10001"/>
                <a:gd name="connsiteX9" fmla="*/ 8332 w 10041"/>
                <a:gd name="connsiteY9" fmla="*/ 6401 h 10001"/>
                <a:gd name="connsiteX10" fmla="*/ 8892 w 10041"/>
                <a:gd name="connsiteY10" fmla="*/ 5645 h 10001"/>
                <a:gd name="connsiteX11" fmla="*/ 9444 w 10041"/>
                <a:gd name="connsiteY11" fmla="*/ 6020 h 10001"/>
                <a:gd name="connsiteX12" fmla="*/ 10000 w 10041"/>
                <a:gd name="connsiteY12" fmla="*/ 2257 h 10001"/>
                <a:gd name="connsiteX13" fmla="*/ 10000 w 10041"/>
                <a:gd name="connsiteY13" fmla="*/ 750 h 10001"/>
                <a:gd name="connsiteX14" fmla="*/ 8892 w 10041"/>
                <a:gd name="connsiteY14" fmla="*/ 0 h 10001"/>
                <a:gd name="connsiteX15" fmla="*/ 7780 w 10041"/>
                <a:gd name="connsiteY15" fmla="*/ 0 h 10001"/>
                <a:gd name="connsiteX16" fmla="*/ 9846 w 10041"/>
                <a:gd name="connsiteY16" fmla="*/ 6305 h 10001"/>
                <a:gd name="connsiteX0" fmla="*/ 1110 w 10011"/>
                <a:gd name="connsiteY0" fmla="*/ 4893 h 10001"/>
                <a:gd name="connsiteX1" fmla="*/ 0 w 10011"/>
                <a:gd name="connsiteY1" fmla="*/ 7529 h 10001"/>
                <a:gd name="connsiteX2" fmla="*/ 552 w 10011"/>
                <a:gd name="connsiteY2" fmla="*/ 9784 h 10001"/>
                <a:gd name="connsiteX3" fmla="*/ 1666 w 10011"/>
                <a:gd name="connsiteY3" fmla="*/ 9784 h 10001"/>
                <a:gd name="connsiteX4" fmla="*/ 2779 w 10011"/>
                <a:gd name="connsiteY4" fmla="*/ 8658 h 10001"/>
                <a:gd name="connsiteX5" fmla="*/ 2223 w 10011"/>
                <a:gd name="connsiteY5" fmla="*/ 6020 h 10001"/>
                <a:gd name="connsiteX6" fmla="*/ 5002 w 10011"/>
                <a:gd name="connsiteY6" fmla="*/ 6020 h 10001"/>
                <a:gd name="connsiteX7" fmla="*/ 6111 w 10011"/>
                <a:gd name="connsiteY7" fmla="*/ 7529 h 10001"/>
                <a:gd name="connsiteX8" fmla="*/ 8332 w 10011"/>
                <a:gd name="connsiteY8" fmla="*/ 7529 h 10001"/>
                <a:gd name="connsiteX9" fmla="*/ 8332 w 10011"/>
                <a:gd name="connsiteY9" fmla="*/ 6401 h 10001"/>
                <a:gd name="connsiteX10" fmla="*/ 8892 w 10011"/>
                <a:gd name="connsiteY10" fmla="*/ 5645 h 10001"/>
                <a:gd name="connsiteX11" fmla="*/ 9444 w 10011"/>
                <a:gd name="connsiteY11" fmla="*/ 6020 h 10001"/>
                <a:gd name="connsiteX12" fmla="*/ 10000 w 10011"/>
                <a:gd name="connsiteY12" fmla="*/ 2257 h 10001"/>
                <a:gd name="connsiteX13" fmla="*/ 8892 w 10011"/>
                <a:gd name="connsiteY13" fmla="*/ 0 h 10001"/>
                <a:gd name="connsiteX14" fmla="*/ 7780 w 10011"/>
                <a:gd name="connsiteY14" fmla="*/ 0 h 10001"/>
                <a:gd name="connsiteX15" fmla="*/ 9846 w 10011"/>
                <a:gd name="connsiteY15" fmla="*/ 6305 h 10001"/>
                <a:gd name="connsiteX0" fmla="*/ 1110 w 10067"/>
                <a:gd name="connsiteY0" fmla="*/ 5033 h 10141"/>
                <a:gd name="connsiteX1" fmla="*/ 0 w 10067"/>
                <a:gd name="connsiteY1" fmla="*/ 7669 h 10141"/>
                <a:gd name="connsiteX2" fmla="*/ 552 w 10067"/>
                <a:gd name="connsiteY2" fmla="*/ 9924 h 10141"/>
                <a:gd name="connsiteX3" fmla="*/ 1666 w 10067"/>
                <a:gd name="connsiteY3" fmla="*/ 9924 h 10141"/>
                <a:gd name="connsiteX4" fmla="*/ 2779 w 10067"/>
                <a:gd name="connsiteY4" fmla="*/ 8798 h 10141"/>
                <a:gd name="connsiteX5" fmla="*/ 2223 w 10067"/>
                <a:gd name="connsiteY5" fmla="*/ 6160 h 10141"/>
                <a:gd name="connsiteX6" fmla="*/ 5002 w 10067"/>
                <a:gd name="connsiteY6" fmla="*/ 6160 h 10141"/>
                <a:gd name="connsiteX7" fmla="*/ 6111 w 10067"/>
                <a:gd name="connsiteY7" fmla="*/ 7669 h 10141"/>
                <a:gd name="connsiteX8" fmla="*/ 8332 w 10067"/>
                <a:gd name="connsiteY8" fmla="*/ 7669 h 10141"/>
                <a:gd name="connsiteX9" fmla="*/ 8332 w 10067"/>
                <a:gd name="connsiteY9" fmla="*/ 6541 h 10141"/>
                <a:gd name="connsiteX10" fmla="*/ 8892 w 10067"/>
                <a:gd name="connsiteY10" fmla="*/ 5785 h 10141"/>
                <a:gd name="connsiteX11" fmla="*/ 9444 w 10067"/>
                <a:gd name="connsiteY11" fmla="*/ 6160 h 10141"/>
                <a:gd name="connsiteX12" fmla="*/ 10000 w 10067"/>
                <a:gd name="connsiteY12" fmla="*/ 2397 h 10141"/>
                <a:gd name="connsiteX13" fmla="*/ 7780 w 10067"/>
                <a:gd name="connsiteY13" fmla="*/ 140 h 10141"/>
                <a:gd name="connsiteX14" fmla="*/ 9846 w 10067"/>
                <a:gd name="connsiteY14" fmla="*/ 6445 h 10141"/>
                <a:gd name="connsiteX0" fmla="*/ 1110 w 10067"/>
                <a:gd name="connsiteY0" fmla="*/ 5033 h 10141"/>
                <a:gd name="connsiteX1" fmla="*/ 0 w 10067"/>
                <a:gd name="connsiteY1" fmla="*/ 7669 h 10141"/>
                <a:gd name="connsiteX2" fmla="*/ 552 w 10067"/>
                <a:gd name="connsiteY2" fmla="*/ 9924 h 10141"/>
                <a:gd name="connsiteX3" fmla="*/ 1666 w 10067"/>
                <a:gd name="connsiteY3" fmla="*/ 9924 h 10141"/>
                <a:gd name="connsiteX4" fmla="*/ 2779 w 10067"/>
                <a:gd name="connsiteY4" fmla="*/ 8798 h 10141"/>
                <a:gd name="connsiteX5" fmla="*/ 2223 w 10067"/>
                <a:gd name="connsiteY5" fmla="*/ 6160 h 10141"/>
                <a:gd name="connsiteX6" fmla="*/ 5002 w 10067"/>
                <a:gd name="connsiteY6" fmla="*/ 6160 h 10141"/>
                <a:gd name="connsiteX7" fmla="*/ 6111 w 10067"/>
                <a:gd name="connsiteY7" fmla="*/ 7669 h 10141"/>
                <a:gd name="connsiteX8" fmla="*/ 8332 w 10067"/>
                <a:gd name="connsiteY8" fmla="*/ 7669 h 10141"/>
                <a:gd name="connsiteX9" fmla="*/ 8332 w 10067"/>
                <a:gd name="connsiteY9" fmla="*/ 6541 h 10141"/>
                <a:gd name="connsiteX10" fmla="*/ 8892 w 10067"/>
                <a:gd name="connsiteY10" fmla="*/ 5785 h 10141"/>
                <a:gd name="connsiteX11" fmla="*/ 9444 w 10067"/>
                <a:gd name="connsiteY11" fmla="*/ 6160 h 10141"/>
                <a:gd name="connsiteX12" fmla="*/ 10000 w 10067"/>
                <a:gd name="connsiteY12" fmla="*/ 2397 h 10141"/>
                <a:gd name="connsiteX13" fmla="*/ 7780 w 10067"/>
                <a:gd name="connsiteY13" fmla="*/ 140 h 10141"/>
                <a:gd name="connsiteX14" fmla="*/ 9846 w 10067"/>
                <a:gd name="connsiteY14" fmla="*/ 6445 h 10141"/>
                <a:gd name="connsiteX15" fmla="*/ 1110 w 10067"/>
                <a:gd name="connsiteY15" fmla="*/ 5033 h 10141"/>
                <a:gd name="connsiteX0" fmla="*/ 7780 w 16514"/>
                <a:gd name="connsiteY0" fmla="*/ 0 h 10001"/>
                <a:gd name="connsiteX1" fmla="*/ 9846 w 16514"/>
                <a:gd name="connsiteY1" fmla="*/ 6305 h 10001"/>
                <a:gd name="connsiteX2" fmla="*/ 1110 w 16514"/>
                <a:gd name="connsiteY2" fmla="*/ 4893 h 10001"/>
                <a:gd name="connsiteX3" fmla="*/ 0 w 16514"/>
                <a:gd name="connsiteY3" fmla="*/ 7529 h 10001"/>
                <a:gd name="connsiteX4" fmla="*/ 552 w 16514"/>
                <a:gd name="connsiteY4" fmla="*/ 9784 h 10001"/>
                <a:gd name="connsiteX5" fmla="*/ 1666 w 16514"/>
                <a:gd name="connsiteY5" fmla="*/ 9784 h 10001"/>
                <a:gd name="connsiteX6" fmla="*/ 2779 w 16514"/>
                <a:gd name="connsiteY6" fmla="*/ 8658 h 10001"/>
                <a:gd name="connsiteX7" fmla="*/ 2223 w 16514"/>
                <a:gd name="connsiteY7" fmla="*/ 6020 h 10001"/>
                <a:gd name="connsiteX8" fmla="*/ 5002 w 16514"/>
                <a:gd name="connsiteY8" fmla="*/ 6020 h 10001"/>
                <a:gd name="connsiteX9" fmla="*/ 6111 w 16514"/>
                <a:gd name="connsiteY9" fmla="*/ 7529 h 10001"/>
                <a:gd name="connsiteX10" fmla="*/ 8332 w 16514"/>
                <a:gd name="connsiteY10" fmla="*/ 7529 h 10001"/>
                <a:gd name="connsiteX11" fmla="*/ 8332 w 16514"/>
                <a:gd name="connsiteY11" fmla="*/ 6401 h 10001"/>
                <a:gd name="connsiteX12" fmla="*/ 8892 w 16514"/>
                <a:gd name="connsiteY12" fmla="*/ 5645 h 10001"/>
                <a:gd name="connsiteX13" fmla="*/ 9444 w 16514"/>
                <a:gd name="connsiteY13" fmla="*/ 6020 h 10001"/>
                <a:gd name="connsiteX14" fmla="*/ 16514 w 16514"/>
                <a:gd name="connsiteY14" fmla="*/ 6681 h 10001"/>
                <a:gd name="connsiteX0" fmla="*/ 7780 w 16514"/>
                <a:gd name="connsiteY0" fmla="*/ 445 h 10446"/>
                <a:gd name="connsiteX1" fmla="*/ 7465 w 16514"/>
                <a:gd name="connsiteY1" fmla="*/ 473 h 10446"/>
                <a:gd name="connsiteX2" fmla="*/ 9846 w 16514"/>
                <a:gd name="connsiteY2" fmla="*/ 6750 h 10446"/>
                <a:gd name="connsiteX3" fmla="*/ 1110 w 16514"/>
                <a:gd name="connsiteY3" fmla="*/ 5338 h 10446"/>
                <a:gd name="connsiteX4" fmla="*/ 0 w 16514"/>
                <a:gd name="connsiteY4" fmla="*/ 7974 h 10446"/>
                <a:gd name="connsiteX5" fmla="*/ 552 w 16514"/>
                <a:gd name="connsiteY5" fmla="*/ 10229 h 10446"/>
                <a:gd name="connsiteX6" fmla="*/ 1666 w 16514"/>
                <a:gd name="connsiteY6" fmla="*/ 10229 h 10446"/>
                <a:gd name="connsiteX7" fmla="*/ 2779 w 16514"/>
                <a:gd name="connsiteY7" fmla="*/ 9103 h 10446"/>
                <a:gd name="connsiteX8" fmla="*/ 2223 w 16514"/>
                <a:gd name="connsiteY8" fmla="*/ 6465 h 10446"/>
                <a:gd name="connsiteX9" fmla="*/ 5002 w 16514"/>
                <a:gd name="connsiteY9" fmla="*/ 6465 h 10446"/>
                <a:gd name="connsiteX10" fmla="*/ 6111 w 16514"/>
                <a:gd name="connsiteY10" fmla="*/ 7974 h 10446"/>
                <a:gd name="connsiteX11" fmla="*/ 8332 w 16514"/>
                <a:gd name="connsiteY11" fmla="*/ 7974 h 10446"/>
                <a:gd name="connsiteX12" fmla="*/ 8332 w 16514"/>
                <a:gd name="connsiteY12" fmla="*/ 6846 h 10446"/>
                <a:gd name="connsiteX13" fmla="*/ 8892 w 16514"/>
                <a:gd name="connsiteY13" fmla="*/ 6090 h 10446"/>
                <a:gd name="connsiteX14" fmla="*/ 9444 w 16514"/>
                <a:gd name="connsiteY14" fmla="*/ 6465 h 10446"/>
                <a:gd name="connsiteX15" fmla="*/ 16514 w 16514"/>
                <a:gd name="connsiteY15" fmla="*/ 7126 h 10446"/>
                <a:gd name="connsiteX0" fmla="*/ 7465 w 16514"/>
                <a:gd name="connsiteY0" fmla="*/ 0 h 9973"/>
                <a:gd name="connsiteX1" fmla="*/ 9846 w 16514"/>
                <a:gd name="connsiteY1" fmla="*/ 6277 h 9973"/>
                <a:gd name="connsiteX2" fmla="*/ 1110 w 16514"/>
                <a:gd name="connsiteY2" fmla="*/ 4865 h 9973"/>
                <a:gd name="connsiteX3" fmla="*/ 0 w 16514"/>
                <a:gd name="connsiteY3" fmla="*/ 7501 h 9973"/>
                <a:gd name="connsiteX4" fmla="*/ 552 w 16514"/>
                <a:gd name="connsiteY4" fmla="*/ 9756 h 9973"/>
                <a:gd name="connsiteX5" fmla="*/ 1666 w 16514"/>
                <a:gd name="connsiteY5" fmla="*/ 9756 h 9973"/>
                <a:gd name="connsiteX6" fmla="*/ 2779 w 16514"/>
                <a:gd name="connsiteY6" fmla="*/ 8630 h 9973"/>
                <a:gd name="connsiteX7" fmla="*/ 2223 w 16514"/>
                <a:gd name="connsiteY7" fmla="*/ 5992 h 9973"/>
                <a:gd name="connsiteX8" fmla="*/ 5002 w 16514"/>
                <a:gd name="connsiteY8" fmla="*/ 5992 h 9973"/>
                <a:gd name="connsiteX9" fmla="*/ 6111 w 16514"/>
                <a:gd name="connsiteY9" fmla="*/ 7501 h 9973"/>
                <a:gd name="connsiteX10" fmla="*/ 8332 w 16514"/>
                <a:gd name="connsiteY10" fmla="*/ 7501 h 9973"/>
                <a:gd name="connsiteX11" fmla="*/ 8332 w 16514"/>
                <a:gd name="connsiteY11" fmla="*/ 6373 h 9973"/>
                <a:gd name="connsiteX12" fmla="*/ 8892 w 16514"/>
                <a:gd name="connsiteY12" fmla="*/ 5617 h 9973"/>
                <a:gd name="connsiteX13" fmla="*/ 9444 w 16514"/>
                <a:gd name="connsiteY13" fmla="*/ 5992 h 9973"/>
                <a:gd name="connsiteX14" fmla="*/ 16514 w 16514"/>
                <a:gd name="connsiteY14" fmla="*/ 6653 h 9973"/>
                <a:gd name="connsiteX0" fmla="*/ 5962 w 10000"/>
                <a:gd name="connsiteY0" fmla="*/ 1504 h 5209"/>
                <a:gd name="connsiteX1" fmla="*/ 672 w 10000"/>
                <a:gd name="connsiteY1" fmla="*/ 88 h 5209"/>
                <a:gd name="connsiteX2" fmla="*/ 0 w 10000"/>
                <a:gd name="connsiteY2" fmla="*/ 2731 h 5209"/>
                <a:gd name="connsiteX3" fmla="*/ 334 w 10000"/>
                <a:gd name="connsiteY3" fmla="*/ 4992 h 5209"/>
                <a:gd name="connsiteX4" fmla="*/ 1009 w 10000"/>
                <a:gd name="connsiteY4" fmla="*/ 4992 h 5209"/>
                <a:gd name="connsiteX5" fmla="*/ 1683 w 10000"/>
                <a:gd name="connsiteY5" fmla="*/ 3863 h 5209"/>
                <a:gd name="connsiteX6" fmla="*/ 1346 w 10000"/>
                <a:gd name="connsiteY6" fmla="*/ 1218 h 5209"/>
                <a:gd name="connsiteX7" fmla="*/ 3029 w 10000"/>
                <a:gd name="connsiteY7" fmla="*/ 1218 h 5209"/>
                <a:gd name="connsiteX8" fmla="*/ 3700 w 10000"/>
                <a:gd name="connsiteY8" fmla="*/ 2731 h 5209"/>
                <a:gd name="connsiteX9" fmla="*/ 5045 w 10000"/>
                <a:gd name="connsiteY9" fmla="*/ 2731 h 5209"/>
                <a:gd name="connsiteX10" fmla="*/ 5045 w 10000"/>
                <a:gd name="connsiteY10" fmla="*/ 1600 h 5209"/>
                <a:gd name="connsiteX11" fmla="*/ 5385 w 10000"/>
                <a:gd name="connsiteY11" fmla="*/ 842 h 5209"/>
                <a:gd name="connsiteX12" fmla="*/ 5719 w 10000"/>
                <a:gd name="connsiteY12" fmla="*/ 1218 h 5209"/>
                <a:gd name="connsiteX13" fmla="*/ 10000 w 10000"/>
                <a:gd name="connsiteY13" fmla="*/ 1881 h 5209"/>
                <a:gd name="connsiteX0" fmla="*/ 5962 w 5962"/>
                <a:gd name="connsiteY0" fmla="*/ 2718 h 9832"/>
                <a:gd name="connsiteX1" fmla="*/ 672 w 5962"/>
                <a:gd name="connsiteY1" fmla="*/ 0 h 9832"/>
                <a:gd name="connsiteX2" fmla="*/ 0 w 5962"/>
                <a:gd name="connsiteY2" fmla="*/ 5074 h 9832"/>
                <a:gd name="connsiteX3" fmla="*/ 334 w 5962"/>
                <a:gd name="connsiteY3" fmla="*/ 9414 h 9832"/>
                <a:gd name="connsiteX4" fmla="*/ 1009 w 5962"/>
                <a:gd name="connsiteY4" fmla="*/ 9414 h 9832"/>
                <a:gd name="connsiteX5" fmla="*/ 1683 w 5962"/>
                <a:gd name="connsiteY5" fmla="*/ 7247 h 9832"/>
                <a:gd name="connsiteX6" fmla="*/ 1346 w 5962"/>
                <a:gd name="connsiteY6" fmla="*/ 2169 h 9832"/>
                <a:gd name="connsiteX7" fmla="*/ 3029 w 5962"/>
                <a:gd name="connsiteY7" fmla="*/ 2169 h 9832"/>
                <a:gd name="connsiteX8" fmla="*/ 3700 w 5962"/>
                <a:gd name="connsiteY8" fmla="*/ 5074 h 9832"/>
                <a:gd name="connsiteX9" fmla="*/ 5045 w 5962"/>
                <a:gd name="connsiteY9" fmla="*/ 5074 h 9832"/>
                <a:gd name="connsiteX10" fmla="*/ 5045 w 5962"/>
                <a:gd name="connsiteY10" fmla="*/ 2903 h 9832"/>
                <a:gd name="connsiteX11" fmla="*/ 5385 w 5962"/>
                <a:gd name="connsiteY11" fmla="*/ 1447 h 9832"/>
                <a:gd name="connsiteX12" fmla="*/ 5719 w 5962"/>
                <a:gd name="connsiteY12" fmla="*/ 2169 h 9832"/>
                <a:gd name="connsiteX0" fmla="*/ 10000 w 10000"/>
                <a:gd name="connsiteY0" fmla="*/ 2764 h 10000"/>
                <a:gd name="connsiteX1" fmla="*/ 1127 w 10000"/>
                <a:gd name="connsiteY1" fmla="*/ 0 h 10000"/>
                <a:gd name="connsiteX2" fmla="*/ 0 w 10000"/>
                <a:gd name="connsiteY2" fmla="*/ 5161 h 10000"/>
                <a:gd name="connsiteX3" fmla="*/ 560 w 10000"/>
                <a:gd name="connsiteY3" fmla="*/ 9575 h 10000"/>
                <a:gd name="connsiteX4" fmla="*/ 1692 w 10000"/>
                <a:gd name="connsiteY4" fmla="*/ 9575 h 10000"/>
                <a:gd name="connsiteX5" fmla="*/ 2823 w 10000"/>
                <a:gd name="connsiteY5" fmla="*/ 7371 h 10000"/>
                <a:gd name="connsiteX6" fmla="*/ 2258 w 10000"/>
                <a:gd name="connsiteY6" fmla="*/ 2206 h 10000"/>
                <a:gd name="connsiteX7" fmla="*/ 5081 w 10000"/>
                <a:gd name="connsiteY7" fmla="*/ 2206 h 10000"/>
                <a:gd name="connsiteX8" fmla="*/ 6206 w 10000"/>
                <a:gd name="connsiteY8" fmla="*/ 5161 h 10000"/>
                <a:gd name="connsiteX9" fmla="*/ 8462 w 10000"/>
                <a:gd name="connsiteY9" fmla="*/ 5161 h 10000"/>
                <a:gd name="connsiteX10" fmla="*/ 8462 w 10000"/>
                <a:gd name="connsiteY10" fmla="*/ 2953 h 10000"/>
                <a:gd name="connsiteX11" fmla="*/ 9032 w 10000"/>
                <a:gd name="connsiteY11" fmla="*/ 1472 h 10000"/>
                <a:gd name="connsiteX0" fmla="*/ 10000 w 10000"/>
                <a:gd name="connsiteY0" fmla="*/ 2764 h 10000"/>
                <a:gd name="connsiteX1" fmla="*/ 1127 w 10000"/>
                <a:gd name="connsiteY1" fmla="*/ 0 h 10000"/>
                <a:gd name="connsiteX2" fmla="*/ 0 w 10000"/>
                <a:gd name="connsiteY2" fmla="*/ 5161 h 10000"/>
                <a:gd name="connsiteX3" fmla="*/ 560 w 10000"/>
                <a:gd name="connsiteY3" fmla="*/ 9575 h 10000"/>
                <a:gd name="connsiteX4" fmla="*/ 1692 w 10000"/>
                <a:gd name="connsiteY4" fmla="*/ 9575 h 10000"/>
                <a:gd name="connsiteX5" fmla="*/ 2823 w 10000"/>
                <a:gd name="connsiteY5" fmla="*/ 7371 h 10000"/>
                <a:gd name="connsiteX6" fmla="*/ 2258 w 10000"/>
                <a:gd name="connsiteY6" fmla="*/ 2206 h 10000"/>
                <a:gd name="connsiteX7" fmla="*/ 5081 w 10000"/>
                <a:gd name="connsiteY7" fmla="*/ 2206 h 10000"/>
                <a:gd name="connsiteX8" fmla="*/ 6206 w 10000"/>
                <a:gd name="connsiteY8" fmla="*/ 5161 h 10000"/>
                <a:gd name="connsiteX9" fmla="*/ 8462 w 10000"/>
                <a:gd name="connsiteY9" fmla="*/ 5161 h 10000"/>
                <a:gd name="connsiteX10" fmla="*/ 8462 w 10000"/>
                <a:gd name="connsiteY10" fmla="*/ 2953 h 10000"/>
                <a:gd name="connsiteX0" fmla="*/ 1127 w 8462"/>
                <a:gd name="connsiteY0" fmla="*/ 0 h 10000"/>
                <a:gd name="connsiteX1" fmla="*/ 0 w 8462"/>
                <a:gd name="connsiteY1" fmla="*/ 5161 h 10000"/>
                <a:gd name="connsiteX2" fmla="*/ 560 w 8462"/>
                <a:gd name="connsiteY2" fmla="*/ 9575 h 10000"/>
                <a:gd name="connsiteX3" fmla="*/ 1692 w 8462"/>
                <a:gd name="connsiteY3" fmla="*/ 9575 h 10000"/>
                <a:gd name="connsiteX4" fmla="*/ 2823 w 8462"/>
                <a:gd name="connsiteY4" fmla="*/ 7371 h 10000"/>
                <a:gd name="connsiteX5" fmla="*/ 2258 w 8462"/>
                <a:gd name="connsiteY5" fmla="*/ 2206 h 10000"/>
                <a:gd name="connsiteX6" fmla="*/ 5081 w 8462"/>
                <a:gd name="connsiteY6" fmla="*/ 2206 h 10000"/>
                <a:gd name="connsiteX7" fmla="*/ 6206 w 8462"/>
                <a:gd name="connsiteY7" fmla="*/ 5161 h 10000"/>
                <a:gd name="connsiteX8" fmla="*/ 8462 w 8462"/>
                <a:gd name="connsiteY8" fmla="*/ 5161 h 10000"/>
                <a:gd name="connsiteX9" fmla="*/ 8462 w 8462"/>
                <a:gd name="connsiteY9" fmla="*/ 2953 h 10000"/>
                <a:gd name="connsiteX0" fmla="*/ 1332 w 10000"/>
                <a:gd name="connsiteY0" fmla="*/ 0 h 10000"/>
                <a:gd name="connsiteX1" fmla="*/ 0 w 10000"/>
                <a:gd name="connsiteY1" fmla="*/ 5161 h 10000"/>
                <a:gd name="connsiteX2" fmla="*/ 662 w 10000"/>
                <a:gd name="connsiteY2" fmla="*/ 9575 h 10000"/>
                <a:gd name="connsiteX3" fmla="*/ 2000 w 10000"/>
                <a:gd name="connsiteY3" fmla="*/ 9575 h 10000"/>
                <a:gd name="connsiteX4" fmla="*/ 3336 w 10000"/>
                <a:gd name="connsiteY4" fmla="*/ 7371 h 10000"/>
                <a:gd name="connsiteX5" fmla="*/ 2668 w 10000"/>
                <a:gd name="connsiteY5" fmla="*/ 2206 h 10000"/>
                <a:gd name="connsiteX6" fmla="*/ 6004 w 10000"/>
                <a:gd name="connsiteY6" fmla="*/ 2206 h 10000"/>
                <a:gd name="connsiteX7" fmla="*/ 7334 w 10000"/>
                <a:gd name="connsiteY7" fmla="*/ 5161 h 10000"/>
                <a:gd name="connsiteX8" fmla="*/ 10000 w 10000"/>
                <a:gd name="connsiteY8" fmla="*/ 5161 h 10000"/>
                <a:gd name="connsiteX0" fmla="*/ 1332 w 7334"/>
                <a:gd name="connsiteY0" fmla="*/ 0 h 10000"/>
                <a:gd name="connsiteX1" fmla="*/ 0 w 7334"/>
                <a:gd name="connsiteY1" fmla="*/ 5161 h 10000"/>
                <a:gd name="connsiteX2" fmla="*/ 662 w 7334"/>
                <a:gd name="connsiteY2" fmla="*/ 9575 h 10000"/>
                <a:gd name="connsiteX3" fmla="*/ 2000 w 7334"/>
                <a:gd name="connsiteY3" fmla="*/ 9575 h 10000"/>
                <a:gd name="connsiteX4" fmla="*/ 3336 w 7334"/>
                <a:gd name="connsiteY4" fmla="*/ 7371 h 10000"/>
                <a:gd name="connsiteX5" fmla="*/ 2668 w 7334"/>
                <a:gd name="connsiteY5" fmla="*/ 2206 h 10000"/>
                <a:gd name="connsiteX6" fmla="*/ 6004 w 7334"/>
                <a:gd name="connsiteY6" fmla="*/ 2206 h 10000"/>
                <a:gd name="connsiteX7" fmla="*/ 7334 w 7334"/>
                <a:gd name="connsiteY7" fmla="*/ 5161 h 10000"/>
                <a:gd name="connsiteX0" fmla="*/ 1816 w 8187"/>
                <a:gd name="connsiteY0" fmla="*/ 0 h 10000"/>
                <a:gd name="connsiteX1" fmla="*/ 0 w 8187"/>
                <a:gd name="connsiteY1" fmla="*/ 5161 h 10000"/>
                <a:gd name="connsiteX2" fmla="*/ 903 w 8187"/>
                <a:gd name="connsiteY2" fmla="*/ 9575 h 10000"/>
                <a:gd name="connsiteX3" fmla="*/ 2727 w 8187"/>
                <a:gd name="connsiteY3" fmla="*/ 9575 h 10000"/>
                <a:gd name="connsiteX4" fmla="*/ 4549 w 8187"/>
                <a:gd name="connsiteY4" fmla="*/ 7371 h 10000"/>
                <a:gd name="connsiteX5" fmla="*/ 3638 w 8187"/>
                <a:gd name="connsiteY5" fmla="*/ 2206 h 10000"/>
                <a:gd name="connsiteX6" fmla="*/ 8187 w 8187"/>
                <a:gd name="connsiteY6" fmla="*/ 2206 h 10000"/>
                <a:gd name="connsiteX0" fmla="*/ 2218 w 5556"/>
                <a:gd name="connsiteY0" fmla="*/ 0 h 10000"/>
                <a:gd name="connsiteX1" fmla="*/ 0 w 5556"/>
                <a:gd name="connsiteY1" fmla="*/ 5161 h 10000"/>
                <a:gd name="connsiteX2" fmla="*/ 1103 w 5556"/>
                <a:gd name="connsiteY2" fmla="*/ 9575 h 10000"/>
                <a:gd name="connsiteX3" fmla="*/ 3331 w 5556"/>
                <a:gd name="connsiteY3" fmla="*/ 9575 h 10000"/>
                <a:gd name="connsiteX4" fmla="*/ 5556 w 5556"/>
                <a:gd name="connsiteY4" fmla="*/ 7371 h 10000"/>
                <a:gd name="connsiteX5" fmla="*/ 4444 w 5556"/>
                <a:gd name="connsiteY5" fmla="*/ 2206 h 10000"/>
                <a:gd name="connsiteX0" fmla="*/ 2781 w 10010"/>
                <a:gd name="connsiteY0" fmla="*/ 50 h 7794"/>
                <a:gd name="connsiteX1" fmla="*/ 10 w 10010"/>
                <a:gd name="connsiteY1" fmla="*/ 2955 h 7794"/>
                <a:gd name="connsiteX2" fmla="*/ 1995 w 10010"/>
                <a:gd name="connsiteY2" fmla="*/ 7369 h 7794"/>
                <a:gd name="connsiteX3" fmla="*/ 6005 w 10010"/>
                <a:gd name="connsiteY3" fmla="*/ 7369 h 7794"/>
                <a:gd name="connsiteX4" fmla="*/ 10010 w 10010"/>
                <a:gd name="connsiteY4" fmla="*/ 5165 h 7794"/>
                <a:gd name="connsiteX5" fmla="*/ 8009 w 10010"/>
                <a:gd name="connsiteY5" fmla="*/ 0 h 7794"/>
                <a:gd name="connsiteX0" fmla="*/ 2778 w 10000"/>
                <a:gd name="connsiteY0" fmla="*/ 64 h 10000"/>
                <a:gd name="connsiteX1" fmla="*/ 10 w 10000"/>
                <a:gd name="connsiteY1" fmla="*/ 3791 h 10000"/>
                <a:gd name="connsiteX2" fmla="*/ 1993 w 10000"/>
                <a:gd name="connsiteY2" fmla="*/ 9455 h 10000"/>
                <a:gd name="connsiteX3" fmla="*/ 5999 w 10000"/>
                <a:gd name="connsiteY3" fmla="*/ 9455 h 10000"/>
                <a:gd name="connsiteX4" fmla="*/ 10000 w 10000"/>
                <a:gd name="connsiteY4" fmla="*/ 6627 h 10000"/>
                <a:gd name="connsiteX5" fmla="*/ 8001 w 10000"/>
                <a:gd name="connsiteY5" fmla="*/ 0 h 10000"/>
                <a:gd name="connsiteX6" fmla="*/ 2778 w 10000"/>
                <a:gd name="connsiteY6" fmla="*/ 64 h 10000"/>
                <a:gd name="connsiteX0" fmla="*/ 4039 w 10042"/>
                <a:gd name="connsiteY0" fmla="*/ 3050 h 10092"/>
                <a:gd name="connsiteX1" fmla="*/ 52 w 10042"/>
                <a:gd name="connsiteY1" fmla="*/ 3883 h 10092"/>
                <a:gd name="connsiteX2" fmla="*/ 2035 w 10042"/>
                <a:gd name="connsiteY2" fmla="*/ 9547 h 10092"/>
                <a:gd name="connsiteX3" fmla="*/ 6041 w 10042"/>
                <a:gd name="connsiteY3" fmla="*/ 9547 h 10092"/>
                <a:gd name="connsiteX4" fmla="*/ 10042 w 10042"/>
                <a:gd name="connsiteY4" fmla="*/ 6719 h 10092"/>
                <a:gd name="connsiteX5" fmla="*/ 8043 w 10042"/>
                <a:gd name="connsiteY5" fmla="*/ 92 h 10092"/>
                <a:gd name="connsiteX6" fmla="*/ 4039 w 10042"/>
                <a:gd name="connsiteY6" fmla="*/ 3050 h 10092"/>
                <a:gd name="connsiteX0" fmla="*/ 4039 w 10094"/>
                <a:gd name="connsiteY0" fmla="*/ 332 h 7374"/>
                <a:gd name="connsiteX1" fmla="*/ 52 w 10094"/>
                <a:gd name="connsiteY1" fmla="*/ 1165 h 7374"/>
                <a:gd name="connsiteX2" fmla="*/ 2035 w 10094"/>
                <a:gd name="connsiteY2" fmla="*/ 6829 h 7374"/>
                <a:gd name="connsiteX3" fmla="*/ 6041 w 10094"/>
                <a:gd name="connsiteY3" fmla="*/ 6829 h 7374"/>
                <a:gd name="connsiteX4" fmla="*/ 10042 w 10094"/>
                <a:gd name="connsiteY4" fmla="*/ 4001 h 7374"/>
                <a:gd name="connsiteX5" fmla="*/ 8043 w 10094"/>
                <a:gd name="connsiteY5" fmla="*/ 1425 h 7374"/>
                <a:gd name="connsiteX6" fmla="*/ 4039 w 10094"/>
                <a:gd name="connsiteY6" fmla="*/ 332 h 7374"/>
                <a:gd name="connsiteX0" fmla="*/ 4001 w 9999"/>
                <a:gd name="connsiteY0" fmla="*/ 1057 h 8645"/>
                <a:gd name="connsiteX1" fmla="*/ 52 w 9999"/>
                <a:gd name="connsiteY1" fmla="*/ 225 h 8645"/>
                <a:gd name="connsiteX2" fmla="*/ 2016 w 9999"/>
                <a:gd name="connsiteY2" fmla="*/ 7906 h 8645"/>
                <a:gd name="connsiteX3" fmla="*/ 5985 w 9999"/>
                <a:gd name="connsiteY3" fmla="*/ 7906 h 8645"/>
                <a:gd name="connsiteX4" fmla="*/ 9948 w 9999"/>
                <a:gd name="connsiteY4" fmla="*/ 4071 h 8645"/>
                <a:gd name="connsiteX5" fmla="*/ 7968 w 9999"/>
                <a:gd name="connsiteY5" fmla="*/ 577 h 8645"/>
                <a:gd name="connsiteX6" fmla="*/ 4001 w 9999"/>
                <a:gd name="connsiteY6" fmla="*/ 1057 h 8645"/>
                <a:gd name="connsiteX0" fmla="*/ 2875 w 8874"/>
                <a:gd name="connsiteY0" fmla="*/ 1077 h 9666"/>
                <a:gd name="connsiteX1" fmla="*/ 134 w 8874"/>
                <a:gd name="connsiteY1" fmla="*/ 2838 h 9666"/>
                <a:gd name="connsiteX2" fmla="*/ 890 w 8874"/>
                <a:gd name="connsiteY2" fmla="*/ 8999 h 9666"/>
                <a:gd name="connsiteX3" fmla="*/ 4860 w 8874"/>
                <a:gd name="connsiteY3" fmla="*/ 8999 h 9666"/>
                <a:gd name="connsiteX4" fmla="*/ 8823 w 8874"/>
                <a:gd name="connsiteY4" fmla="*/ 4563 h 9666"/>
                <a:gd name="connsiteX5" fmla="*/ 6843 w 8874"/>
                <a:gd name="connsiteY5" fmla="*/ 521 h 9666"/>
                <a:gd name="connsiteX6" fmla="*/ 2875 w 8874"/>
                <a:gd name="connsiteY6" fmla="*/ 1077 h 9666"/>
                <a:gd name="connsiteX0" fmla="*/ 603 w 10105"/>
                <a:gd name="connsiteY0" fmla="*/ 1114 h 10000"/>
                <a:gd name="connsiteX1" fmla="*/ 237 w 10105"/>
                <a:gd name="connsiteY1" fmla="*/ 2936 h 10000"/>
                <a:gd name="connsiteX2" fmla="*/ 1089 w 10105"/>
                <a:gd name="connsiteY2" fmla="*/ 9310 h 10000"/>
                <a:gd name="connsiteX3" fmla="*/ 5563 w 10105"/>
                <a:gd name="connsiteY3" fmla="*/ 9310 h 10000"/>
                <a:gd name="connsiteX4" fmla="*/ 10029 w 10105"/>
                <a:gd name="connsiteY4" fmla="*/ 4721 h 10000"/>
                <a:gd name="connsiteX5" fmla="*/ 7797 w 10105"/>
                <a:gd name="connsiteY5" fmla="*/ 539 h 10000"/>
                <a:gd name="connsiteX6" fmla="*/ 603 w 10105"/>
                <a:gd name="connsiteY6" fmla="*/ 1114 h 10000"/>
                <a:gd name="connsiteX0" fmla="*/ 403 w 9905"/>
                <a:gd name="connsiteY0" fmla="*/ 1114 h 9908"/>
                <a:gd name="connsiteX1" fmla="*/ 718 w 9905"/>
                <a:gd name="connsiteY1" fmla="*/ 4345 h 9908"/>
                <a:gd name="connsiteX2" fmla="*/ 889 w 9905"/>
                <a:gd name="connsiteY2" fmla="*/ 9310 h 9908"/>
                <a:gd name="connsiteX3" fmla="*/ 5363 w 9905"/>
                <a:gd name="connsiteY3" fmla="*/ 9310 h 9908"/>
                <a:gd name="connsiteX4" fmla="*/ 9829 w 9905"/>
                <a:gd name="connsiteY4" fmla="*/ 4721 h 9908"/>
                <a:gd name="connsiteX5" fmla="*/ 7597 w 9905"/>
                <a:gd name="connsiteY5" fmla="*/ 539 h 9908"/>
                <a:gd name="connsiteX6" fmla="*/ 403 w 9905"/>
                <a:gd name="connsiteY6" fmla="*/ 1114 h 9908"/>
                <a:gd name="connsiteX0" fmla="*/ 407 w 9934"/>
                <a:gd name="connsiteY0" fmla="*/ 1124 h 10302"/>
                <a:gd name="connsiteX1" fmla="*/ 725 w 9934"/>
                <a:gd name="connsiteY1" fmla="*/ 4385 h 10302"/>
                <a:gd name="connsiteX2" fmla="*/ 898 w 9934"/>
                <a:gd name="connsiteY2" fmla="*/ 9396 h 10302"/>
                <a:gd name="connsiteX3" fmla="*/ 8163 w 9934"/>
                <a:gd name="connsiteY3" fmla="*/ 9870 h 10302"/>
                <a:gd name="connsiteX4" fmla="*/ 9923 w 9934"/>
                <a:gd name="connsiteY4" fmla="*/ 4765 h 10302"/>
                <a:gd name="connsiteX5" fmla="*/ 7670 w 9934"/>
                <a:gd name="connsiteY5" fmla="*/ 544 h 10302"/>
                <a:gd name="connsiteX6" fmla="*/ 407 w 9934"/>
                <a:gd name="connsiteY6" fmla="*/ 1124 h 10302"/>
                <a:gd name="connsiteX0" fmla="*/ 409 w 8907"/>
                <a:gd name="connsiteY0" fmla="*/ 1429 h 10338"/>
                <a:gd name="connsiteX1" fmla="*/ 729 w 8907"/>
                <a:gd name="connsiteY1" fmla="*/ 4594 h 10338"/>
                <a:gd name="connsiteX2" fmla="*/ 903 w 8907"/>
                <a:gd name="connsiteY2" fmla="*/ 9459 h 10338"/>
                <a:gd name="connsiteX3" fmla="*/ 8216 w 8907"/>
                <a:gd name="connsiteY3" fmla="*/ 9919 h 10338"/>
                <a:gd name="connsiteX4" fmla="*/ 7720 w 8907"/>
                <a:gd name="connsiteY4" fmla="*/ 866 h 10338"/>
                <a:gd name="connsiteX5" fmla="*/ 409 w 8907"/>
                <a:gd name="connsiteY5" fmla="*/ 1429 h 10338"/>
                <a:gd name="connsiteX0" fmla="*/ 459 w 10577"/>
                <a:gd name="connsiteY0" fmla="*/ 1227 h 9088"/>
                <a:gd name="connsiteX1" fmla="*/ 818 w 10577"/>
                <a:gd name="connsiteY1" fmla="*/ 4289 h 9088"/>
                <a:gd name="connsiteX2" fmla="*/ 1014 w 10577"/>
                <a:gd name="connsiteY2" fmla="*/ 8995 h 9088"/>
                <a:gd name="connsiteX3" fmla="*/ 10001 w 10577"/>
                <a:gd name="connsiteY3" fmla="*/ 7215 h 9088"/>
                <a:gd name="connsiteX4" fmla="*/ 8667 w 10577"/>
                <a:gd name="connsiteY4" fmla="*/ 683 h 9088"/>
                <a:gd name="connsiteX5" fmla="*/ 459 w 10577"/>
                <a:gd name="connsiteY5" fmla="*/ 1227 h 9088"/>
                <a:gd name="connsiteX0" fmla="*/ 456 w 9967"/>
                <a:gd name="connsiteY0" fmla="*/ 1350 h 8428"/>
                <a:gd name="connsiteX1" fmla="*/ 795 w 9967"/>
                <a:gd name="connsiteY1" fmla="*/ 4719 h 8428"/>
                <a:gd name="connsiteX2" fmla="*/ 1715 w 9967"/>
                <a:gd name="connsiteY2" fmla="*/ 7449 h 8428"/>
                <a:gd name="connsiteX3" fmla="*/ 9477 w 9967"/>
                <a:gd name="connsiteY3" fmla="*/ 7939 h 8428"/>
                <a:gd name="connsiteX4" fmla="*/ 8216 w 9967"/>
                <a:gd name="connsiteY4" fmla="*/ 752 h 8428"/>
                <a:gd name="connsiteX5" fmla="*/ 456 w 9967"/>
                <a:gd name="connsiteY5" fmla="*/ 1350 h 8428"/>
                <a:gd name="connsiteX0" fmla="*/ 492 w 10034"/>
                <a:gd name="connsiteY0" fmla="*/ 1602 h 10162"/>
                <a:gd name="connsiteX1" fmla="*/ 1755 w 10034"/>
                <a:gd name="connsiteY1" fmla="*/ 8838 h 10162"/>
                <a:gd name="connsiteX2" fmla="*/ 9542 w 10034"/>
                <a:gd name="connsiteY2" fmla="*/ 9420 h 10162"/>
                <a:gd name="connsiteX3" fmla="*/ 8277 w 10034"/>
                <a:gd name="connsiteY3" fmla="*/ 892 h 10162"/>
                <a:gd name="connsiteX4" fmla="*/ 492 w 10034"/>
                <a:gd name="connsiteY4" fmla="*/ 1602 h 10162"/>
                <a:gd name="connsiteX0" fmla="*/ 492 w 9542"/>
                <a:gd name="connsiteY0" fmla="*/ 1602 h 10162"/>
                <a:gd name="connsiteX1" fmla="*/ 1755 w 9542"/>
                <a:gd name="connsiteY1" fmla="*/ 8838 h 10162"/>
                <a:gd name="connsiteX2" fmla="*/ 9542 w 9542"/>
                <a:gd name="connsiteY2" fmla="*/ 9420 h 10162"/>
                <a:gd name="connsiteX3" fmla="*/ 8277 w 9542"/>
                <a:gd name="connsiteY3" fmla="*/ 892 h 10162"/>
                <a:gd name="connsiteX4" fmla="*/ 492 w 9542"/>
                <a:gd name="connsiteY4" fmla="*/ 1602 h 10162"/>
                <a:gd name="connsiteX0" fmla="*/ 516 w 10000"/>
                <a:gd name="connsiteY0" fmla="*/ 698 h 9122"/>
                <a:gd name="connsiteX1" fmla="*/ 1839 w 10000"/>
                <a:gd name="connsiteY1" fmla="*/ 7819 h 9122"/>
                <a:gd name="connsiteX2" fmla="*/ 10000 w 10000"/>
                <a:gd name="connsiteY2" fmla="*/ 8392 h 9122"/>
                <a:gd name="connsiteX3" fmla="*/ 8674 w 10000"/>
                <a:gd name="connsiteY3" fmla="*/ 0 h 9122"/>
                <a:gd name="connsiteX4" fmla="*/ 516 w 10000"/>
                <a:gd name="connsiteY4" fmla="*/ 698 h 9122"/>
                <a:gd name="connsiteX0" fmla="*/ 516 w 10990"/>
                <a:gd name="connsiteY0" fmla="*/ 138 h 9328"/>
                <a:gd name="connsiteX1" fmla="*/ 1839 w 10990"/>
                <a:gd name="connsiteY1" fmla="*/ 7945 h 9328"/>
                <a:gd name="connsiteX2" fmla="*/ 10000 w 10990"/>
                <a:gd name="connsiteY2" fmla="*/ 8573 h 9328"/>
                <a:gd name="connsiteX3" fmla="*/ 10990 w 10990"/>
                <a:gd name="connsiteY3" fmla="*/ 0 h 9328"/>
                <a:gd name="connsiteX4" fmla="*/ 516 w 10990"/>
                <a:gd name="connsiteY4" fmla="*/ 138 h 9328"/>
                <a:gd name="connsiteX0" fmla="*/ 470 w 10715"/>
                <a:gd name="connsiteY0" fmla="*/ 642 h 9505"/>
                <a:gd name="connsiteX1" fmla="*/ 1673 w 10715"/>
                <a:gd name="connsiteY1" fmla="*/ 9011 h 9505"/>
                <a:gd name="connsiteX2" fmla="*/ 9099 w 10715"/>
                <a:gd name="connsiteY2" fmla="*/ 7669 h 9505"/>
                <a:gd name="connsiteX3" fmla="*/ 10000 w 10715"/>
                <a:gd name="connsiteY3" fmla="*/ 494 h 9505"/>
                <a:gd name="connsiteX4" fmla="*/ 470 w 10715"/>
                <a:gd name="connsiteY4" fmla="*/ 642 h 9505"/>
                <a:gd name="connsiteX0" fmla="*/ 439 w 10000"/>
                <a:gd name="connsiteY0" fmla="*/ 675 h 8452"/>
                <a:gd name="connsiteX1" fmla="*/ 1561 w 10000"/>
                <a:gd name="connsiteY1" fmla="*/ 6652 h 8452"/>
                <a:gd name="connsiteX2" fmla="*/ 8492 w 10000"/>
                <a:gd name="connsiteY2" fmla="*/ 8068 h 8452"/>
                <a:gd name="connsiteX3" fmla="*/ 9333 w 10000"/>
                <a:gd name="connsiteY3" fmla="*/ 520 h 8452"/>
                <a:gd name="connsiteX4" fmla="*/ 439 w 10000"/>
                <a:gd name="connsiteY4" fmla="*/ 675 h 8452"/>
                <a:gd name="connsiteX0" fmla="*/ 1438 w 11084"/>
                <a:gd name="connsiteY0" fmla="*/ 799 h 10649"/>
                <a:gd name="connsiteX1" fmla="*/ 593 w 11084"/>
                <a:gd name="connsiteY1" fmla="*/ 9543 h 10649"/>
                <a:gd name="connsiteX2" fmla="*/ 9491 w 11084"/>
                <a:gd name="connsiteY2" fmla="*/ 9546 h 10649"/>
                <a:gd name="connsiteX3" fmla="*/ 10332 w 11084"/>
                <a:gd name="connsiteY3" fmla="*/ 615 h 10649"/>
                <a:gd name="connsiteX4" fmla="*/ 1438 w 11084"/>
                <a:gd name="connsiteY4" fmla="*/ 799 h 10649"/>
                <a:gd name="connsiteX0" fmla="*/ 2458 w 10698"/>
                <a:gd name="connsiteY0" fmla="*/ 2134 h 10210"/>
                <a:gd name="connsiteX1" fmla="*/ 302 w 10698"/>
                <a:gd name="connsiteY1" fmla="*/ 9205 h 10210"/>
                <a:gd name="connsiteX2" fmla="*/ 9200 w 10698"/>
                <a:gd name="connsiteY2" fmla="*/ 9208 h 10210"/>
                <a:gd name="connsiteX3" fmla="*/ 10041 w 10698"/>
                <a:gd name="connsiteY3" fmla="*/ 277 h 10210"/>
                <a:gd name="connsiteX4" fmla="*/ 2458 w 10698"/>
                <a:gd name="connsiteY4" fmla="*/ 2134 h 10210"/>
                <a:gd name="connsiteX0" fmla="*/ 892 w 9046"/>
                <a:gd name="connsiteY0" fmla="*/ 2134 h 9622"/>
                <a:gd name="connsiteX1" fmla="*/ 703 w 9046"/>
                <a:gd name="connsiteY1" fmla="*/ 7532 h 9622"/>
                <a:gd name="connsiteX2" fmla="*/ 7634 w 9046"/>
                <a:gd name="connsiteY2" fmla="*/ 9208 h 9622"/>
                <a:gd name="connsiteX3" fmla="*/ 8475 w 9046"/>
                <a:gd name="connsiteY3" fmla="*/ 277 h 9622"/>
                <a:gd name="connsiteX4" fmla="*/ 892 w 9046"/>
                <a:gd name="connsiteY4" fmla="*/ 2134 h 9622"/>
                <a:gd name="connsiteX0" fmla="*/ 986 w 10000"/>
                <a:gd name="connsiteY0" fmla="*/ 310 h 10764"/>
                <a:gd name="connsiteX1" fmla="*/ 777 w 10000"/>
                <a:gd name="connsiteY1" fmla="*/ 8528 h 10764"/>
                <a:gd name="connsiteX2" fmla="*/ 8439 w 10000"/>
                <a:gd name="connsiteY2" fmla="*/ 10270 h 10764"/>
                <a:gd name="connsiteX3" fmla="*/ 9369 w 10000"/>
                <a:gd name="connsiteY3" fmla="*/ 988 h 10764"/>
                <a:gd name="connsiteX4" fmla="*/ 986 w 10000"/>
                <a:gd name="connsiteY4" fmla="*/ 310 h 10764"/>
                <a:gd name="connsiteX0" fmla="*/ 986 w 10000"/>
                <a:gd name="connsiteY0" fmla="*/ 310 h 10764"/>
                <a:gd name="connsiteX1" fmla="*/ 777 w 10000"/>
                <a:gd name="connsiteY1" fmla="*/ 8528 h 10764"/>
                <a:gd name="connsiteX2" fmla="*/ 8439 w 10000"/>
                <a:gd name="connsiteY2" fmla="*/ 10270 h 10764"/>
                <a:gd name="connsiteX3" fmla="*/ 9369 w 10000"/>
                <a:gd name="connsiteY3" fmla="*/ 988 h 10764"/>
                <a:gd name="connsiteX4" fmla="*/ 986 w 10000"/>
                <a:gd name="connsiteY4" fmla="*/ 310 h 10764"/>
                <a:gd name="connsiteX0" fmla="*/ 986 w 10000"/>
                <a:gd name="connsiteY0" fmla="*/ 1490 h 11944"/>
                <a:gd name="connsiteX1" fmla="*/ 777 w 10000"/>
                <a:gd name="connsiteY1" fmla="*/ 9708 h 11944"/>
                <a:gd name="connsiteX2" fmla="*/ 8439 w 10000"/>
                <a:gd name="connsiteY2" fmla="*/ 11450 h 11944"/>
                <a:gd name="connsiteX3" fmla="*/ 9369 w 10000"/>
                <a:gd name="connsiteY3" fmla="*/ 2168 h 11944"/>
                <a:gd name="connsiteX4" fmla="*/ 986 w 10000"/>
                <a:gd name="connsiteY4" fmla="*/ 1490 h 11944"/>
                <a:gd name="connsiteX0" fmla="*/ 986 w 10000"/>
                <a:gd name="connsiteY0" fmla="*/ 1490 h 11944"/>
                <a:gd name="connsiteX1" fmla="*/ 777 w 10000"/>
                <a:gd name="connsiteY1" fmla="*/ 9708 h 11944"/>
                <a:gd name="connsiteX2" fmla="*/ 8439 w 10000"/>
                <a:gd name="connsiteY2" fmla="*/ 11450 h 11944"/>
                <a:gd name="connsiteX3" fmla="*/ 9369 w 10000"/>
                <a:gd name="connsiteY3" fmla="*/ 2168 h 11944"/>
                <a:gd name="connsiteX4" fmla="*/ 986 w 10000"/>
                <a:gd name="connsiteY4" fmla="*/ 1490 h 11944"/>
                <a:gd name="connsiteX0" fmla="*/ 986 w 10000"/>
                <a:gd name="connsiteY0" fmla="*/ 1490 h 11944"/>
                <a:gd name="connsiteX1" fmla="*/ 777 w 10000"/>
                <a:gd name="connsiteY1" fmla="*/ 9708 h 11944"/>
                <a:gd name="connsiteX2" fmla="*/ 8439 w 10000"/>
                <a:gd name="connsiteY2" fmla="*/ 11450 h 11944"/>
                <a:gd name="connsiteX3" fmla="*/ 9369 w 10000"/>
                <a:gd name="connsiteY3" fmla="*/ 2168 h 11944"/>
                <a:gd name="connsiteX4" fmla="*/ 986 w 10000"/>
                <a:gd name="connsiteY4" fmla="*/ 1490 h 11944"/>
                <a:gd name="connsiteX0" fmla="*/ 986 w 10000"/>
                <a:gd name="connsiteY0" fmla="*/ 0 h 10454"/>
                <a:gd name="connsiteX1" fmla="*/ 777 w 10000"/>
                <a:gd name="connsiteY1" fmla="*/ 8218 h 10454"/>
                <a:gd name="connsiteX2" fmla="*/ 8439 w 10000"/>
                <a:gd name="connsiteY2" fmla="*/ 9960 h 10454"/>
                <a:gd name="connsiteX3" fmla="*/ 9369 w 10000"/>
                <a:gd name="connsiteY3" fmla="*/ 678 h 10454"/>
                <a:gd name="connsiteX4" fmla="*/ 986 w 10000"/>
                <a:gd name="connsiteY4" fmla="*/ 0 h 10454"/>
                <a:gd name="connsiteX0" fmla="*/ 209 w 9223"/>
                <a:gd name="connsiteY0" fmla="*/ 0 h 10454"/>
                <a:gd name="connsiteX1" fmla="*/ 0 w 9223"/>
                <a:gd name="connsiteY1" fmla="*/ 8218 h 10454"/>
                <a:gd name="connsiteX2" fmla="*/ 7662 w 9223"/>
                <a:gd name="connsiteY2" fmla="*/ 9960 h 10454"/>
                <a:gd name="connsiteX3" fmla="*/ 8592 w 9223"/>
                <a:gd name="connsiteY3" fmla="*/ 678 h 10454"/>
                <a:gd name="connsiteX4" fmla="*/ 209 w 9223"/>
                <a:gd name="connsiteY4" fmla="*/ 0 h 10454"/>
                <a:gd name="connsiteX0" fmla="*/ 227 w 9316"/>
                <a:gd name="connsiteY0" fmla="*/ 0 h 10000"/>
                <a:gd name="connsiteX1" fmla="*/ 0 w 9316"/>
                <a:gd name="connsiteY1" fmla="*/ 7861 h 10000"/>
                <a:gd name="connsiteX2" fmla="*/ 8307 w 9316"/>
                <a:gd name="connsiteY2" fmla="*/ 9527 h 10000"/>
                <a:gd name="connsiteX3" fmla="*/ 9316 w 9316"/>
                <a:gd name="connsiteY3" fmla="*/ 649 h 10000"/>
                <a:gd name="connsiteX4" fmla="*/ 227 w 9316"/>
                <a:gd name="connsiteY4" fmla="*/ 0 h 10000"/>
                <a:gd name="connsiteX0" fmla="*/ 244 w 10000"/>
                <a:gd name="connsiteY0" fmla="*/ 0 h 9527"/>
                <a:gd name="connsiteX1" fmla="*/ 0 w 10000"/>
                <a:gd name="connsiteY1" fmla="*/ 7861 h 9527"/>
                <a:gd name="connsiteX2" fmla="*/ 8917 w 10000"/>
                <a:gd name="connsiteY2" fmla="*/ 9527 h 9527"/>
                <a:gd name="connsiteX3" fmla="*/ 10000 w 10000"/>
                <a:gd name="connsiteY3" fmla="*/ 649 h 9527"/>
                <a:gd name="connsiteX4" fmla="*/ 244 w 10000"/>
                <a:gd name="connsiteY4" fmla="*/ 0 h 9527"/>
                <a:gd name="connsiteX0" fmla="*/ 1724 w 24135"/>
                <a:gd name="connsiteY0" fmla="*/ 316 h 10619"/>
                <a:gd name="connsiteX1" fmla="*/ 1480 w 24135"/>
                <a:gd name="connsiteY1" fmla="*/ 8567 h 10619"/>
                <a:gd name="connsiteX2" fmla="*/ 10397 w 24135"/>
                <a:gd name="connsiteY2" fmla="*/ 10316 h 10619"/>
                <a:gd name="connsiteX3" fmla="*/ 24135 w 24135"/>
                <a:gd name="connsiteY3" fmla="*/ 1870 h 10619"/>
                <a:gd name="connsiteX4" fmla="*/ 1724 w 24135"/>
                <a:gd name="connsiteY4" fmla="*/ 316 h 10619"/>
                <a:gd name="connsiteX0" fmla="*/ 2925 w 28020"/>
                <a:gd name="connsiteY0" fmla="*/ 422 h 9611"/>
                <a:gd name="connsiteX1" fmla="*/ 2681 w 28020"/>
                <a:gd name="connsiteY1" fmla="*/ 8673 h 9611"/>
                <a:gd name="connsiteX2" fmla="*/ 25097 w 28020"/>
                <a:gd name="connsiteY2" fmla="*/ 8676 h 9611"/>
                <a:gd name="connsiteX3" fmla="*/ 25336 w 28020"/>
                <a:gd name="connsiteY3" fmla="*/ 1976 h 9611"/>
                <a:gd name="connsiteX4" fmla="*/ 2925 w 28020"/>
                <a:gd name="connsiteY4" fmla="*/ 422 h 9611"/>
                <a:gd name="connsiteX0" fmla="*/ 1044 w 9999"/>
                <a:gd name="connsiteY0" fmla="*/ 2237 h 7941"/>
                <a:gd name="connsiteX1" fmla="*/ 957 w 9999"/>
                <a:gd name="connsiteY1" fmla="*/ 7189 h 7941"/>
                <a:gd name="connsiteX2" fmla="*/ 8957 w 9999"/>
                <a:gd name="connsiteY2" fmla="*/ 7192 h 7941"/>
                <a:gd name="connsiteX3" fmla="*/ 9042 w 9999"/>
                <a:gd name="connsiteY3" fmla="*/ 221 h 7941"/>
                <a:gd name="connsiteX4" fmla="*/ 1044 w 9999"/>
                <a:gd name="connsiteY4" fmla="*/ 2237 h 7941"/>
                <a:gd name="connsiteX0" fmla="*/ 1044 w 10000"/>
                <a:gd name="connsiteY0" fmla="*/ 3113 h 14228"/>
                <a:gd name="connsiteX1" fmla="*/ 957 w 10000"/>
                <a:gd name="connsiteY1" fmla="*/ 9349 h 14228"/>
                <a:gd name="connsiteX2" fmla="*/ 8958 w 10000"/>
                <a:gd name="connsiteY2" fmla="*/ 13927 h 14228"/>
                <a:gd name="connsiteX3" fmla="*/ 9043 w 10000"/>
                <a:gd name="connsiteY3" fmla="*/ 574 h 14228"/>
                <a:gd name="connsiteX4" fmla="*/ 1044 w 10000"/>
                <a:gd name="connsiteY4" fmla="*/ 3113 h 14228"/>
                <a:gd name="connsiteX0" fmla="*/ 738 w 9658"/>
                <a:gd name="connsiteY0" fmla="*/ 3313 h 18174"/>
                <a:gd name="connsiteX1" fmla="*/ 1253 w 9658"/>
                <a:gd name="connsiteY1" fmla="*/ 17555 h 18174"/>
                <a:gd name="connsiteX2" fmla="*/ 8652 w 9658"/>
                <a:gd name="connsiteY2" fmla="*/ 14127 h 18174"/>
                <a:gd name="connsiteX3" fmla="*/ 8737 w 9658"/>
                <a:gd name="connsiteY3" fmla="*/ 774 h 18174"/>
                <a:gd name="connsiteX4" fmla="*/ 738 w 9658"/>
                <a:gd name="connsiteY4" fmla="*/ 3313 h 18174"/>
                <a:gd name="connsiteX0" fmla="*/ 764 w 10000"/>
                <a:gd name="connsiteY0" fmla="*/ 5196 h 9350"/>
                <a:gd name="connsiteX1" fmla="*/ 1297 w 10000"/>
                <a:gd name="connsiteY1" fmla="*/ 9257 h 9350"/>
                <a:gd name="connsiteX2" fmla="*/ 8958 w 10000"/>
                <a:gd name="connsiteY2" fmla="*/ 7371 h 9350"/>
                <a:gd name="connsiteX3" fmla="*/ 9046 w 10000"/>
                <a:gd name="connsiteY3" fmla="*/ 24 h 9350"/>
                <a:gd name="connsiteX4" fmla="*/ 764 w 10000"/>
                <a:gd name="connsiteY4" fmla="*/ 5196 h 9350"/>
                <a:gd name="connsiteX0" fmla="*/ 718 w 9532"/>
                <a:gd name="connsiteY0" fmla="*/ 5603 h 10046"/>
                <a:gd name="connsiteX1" fmla="*/ 1251 w 9532"/>
                <a:gd name="connsiteY1" fmla="*/ 9947 h 10046"/>
                <a:gd name="connsiteX2" fmla="*/ 8912 w 9532"/>
                <a:gd name="connsiteY2" fmla="*/ 7929 h 10046"/>
                <a:gd name="connsiteX3" fmla="*/ 9000 w 9532"/>
                <a:gd name="connsiteY3" fmla="*/ 72 h 10046"/>
                <a:gd name="connsiteX4" fmla="*/ 8346 w 9532"/>
                <a:gd name="connsiteY4" fmla="*/ 4101 h 10046"/>
                <a:gd name="connsiteX5" fmla="*/ 718 w 9532"/>
                <a:gd name="connsiteY5" fmla="*/ 5603 h 10046"/>
                <a:gd name="connsiteX0" fmla="*/ 753 w 10000"/>
                <a:gd name="connsiteY0" fmla="*/ 5577 h 10000"/>
                <a:gd name="connsiteX1" fmla="*/ 1312 w 10000"/>
                <a:gd name="connsiteY1" fmla="*/ 9901 h 10000"/>
                <a:gd name="connsiteX2" fmla="*/ 9350 w 10000"/>
                <a:gd name="connsiteY2" fmla="*/ 7893 h 10000"/>
                <a:gd name="connsiteX3" fmla="*/ 9442 w 10000"/>
                <a:gd name="connsiteY3" fmla="*/ 72 h 10000"/>
                <a:gd name="connsiteX4" fmla="*/ 8756 w 10000"/>
                <a:gd name="connsiteY4" fmla="*/ 4082 h 10000"/>
                <a:gd name="connsiteX5" fmla="*/ 753 w 10000"/>
                <a:gd name="connsiteY5" fmla="*/ 5577 h 10000"/>
                <a:gd name="connsiteX0" fmla="*/ 753 w 10090"/>
                <a:gd name="connsiteY0" fmla="*/ 1495 h 5884"/>
                <a:gd name="connsiteX1" fmla="*/ 1312 w 10090"/>
                <a:gd name="connsiteY1" fmla="*/ 5819 h 5884"/>
                <a:gd name="connsiteX2" fmla="*/ 9350 w 10090"/>
                <a:gd name="connsiteY2" fmla="*/ 3811 h 5884"/>
                <a:gd name="connsiteX3" fmla="*/ 8756 w 10090"/>
                <a:gd name="connsiteY3" fmla="*/ 0 h 5884"/>
                <a:gd name="connsiteX4" fmla="*/ 753 w 10090"/>
                <a:gd name="connsiteY4" fmla="*/ 1495 h 5884"/>
                <a:gd name="connsiteX0" fmla="*/ 746 w 10000"/>
                <a:gd name="connsiteY0" fmla="*/ 2541 h 9890"/>
                <a:gd name="connsiteX1" fmla="*/ 1300 w 10000"/>
                <a:gd name="connsiteY1" fmla="*/ 9890 h 9890"/>
                <a:gd name="connsiteX2" fmla="*/ 9267 w 10000"/>
                <a:gd name="connsiteY2" fmla="*/ 6477 h 9890"/>
                <a:gd name="connsiteX3" fmla="*/ 8678 w 10000"/>
                <a:gd name="connsiteY3" fmla="*/ 0 h 9890"/>
                <a:gd name="connsiteX4" fmla="*/ 746 w 10000"/>
                <a:gd name="connsiteY4" fmla="*/ 2541 h 9890"/>
                <a:gd name="connsiteX0" fmla="*/ 746 w 9267"/>
                <a:gd name="connsiteY0" fmla="*/ 2569 h 10000"/>
                <a:gd name="connsiteX1" fmla="*/ 1300 w 9267"/>
                <a:gd name="connsiteY1" fmla="*/ 10000 h 10000"/>
                <a:gd name="connsiteX2" fmla="*/ 9267 w 9267"/>
                <a:gd name="connsiteY2" fmla="*/ 6549 h 10000"/>
                <a:gd name="connsiteX3" fmla="*/ 8678 w 9267"/>
                <a:gd name="connsiteY3" fmla="*/ 0 h 10000"/>
                <a:gd name="connsiteX4" fmla="*/ 746 w 9267"/>
                <a:gd name="connsiteY4" fmla="*/ 2569 h 10000"/>
                <a:gd name="connsiteX0" fmla="*/ 623 w 9997"/>
                <a:gd name="connsiteY0" fmla="*/ 2569 h 10096"/>
                <a:gd name="connsiteX1" fmla="*/ 1221 w 9997"/>
                <a:gd name="connsiteY1" fmla="*/ 10000 h 10096"/>
                <a:gd name="connsiteX2" fmla="*/ 5684 w 9997"/>
                <a:gd name="connsiteY2" fmla="*/ 6908 h 10096"/>
                <a:gd name="connsiteX3" fmla="*/ 9818 w 9997"/>
                <a:gd name="connsiteY3" fmla="*/ 6549 h 10096"/>
                <a:gd name="connsiteX4" fmla="*/ 9182 w 9997"/>
                <a:gd name="connsiteY4" fmla="*/ 0 h 10096"/>
                <a:gd name="connsiteX5" fmla="*/ 623 w 9997"/>
                <a:gd name="connsiteY5" fmla="*/ 2569 h 10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97" h="10096">
                  <a:moveTo>
                    <a:pt x="623" y="2569"/>
                  </a:moveTo>
                  <a:cubicBezTo>
                    <a:pt x="-704" y="4236"/>
                    <a:pt x="378" y="9277"/>
                    <a:pt x="1221" y="10000"/>
                  </a:cubicBezTo>
                  <a:cubicBezTo>
                    <a:pt x="2064" y="10723"/>
                    <a:pt x="3846" y="7171"/>
                    <a:pt x="5684" y="6908"/>
                  </a:cubicBezTo>
                  <a:cubicBezTo>
                    <a:pt x="7062" y="6788"/>
                    <a:pt x="9235" y="7700"/>
                    <a:pt x="9818" y="6549"/>
                  </a:cubicBezTo>
                  <a:cubicBezTo>
                    <a:pt x="10401" y="5398"/>
                    <a:pt x="9394" y="2183"/>
                    <a:pt x="9182" y="0"/>
                  </a:cubicBezTo>
                  <a:lnTo>
                    <a:pt x="623" y="2569"/>
                  </a:ln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281" name="ER"/>
            <p:cNvSpPr>
              <a:spLocks/>
            </p:cNvSpPr>
            <p:nvPr/>
          </p:nvSpPr>
          <p:spPr bwMode="auto">
            <a:xfrm>
              <a:off x="5171121" y="3973314"/>
              <a:ext cx="158822" cy="147635"/>
            </a:xfrm>
            <a:custGeom>
              <a:avLst/>
              <a:gdLst>
                <a:gd name="T0" fmla="*/ 2147483647 w 42"/>
                <a:gd name="T1" fmla="*/ 2147483647 h 96"/>
                <a:gd name="T2" fmla="*/ 2147483647 w 42"/>
                <a:gd name="T3" fmla="*/ 0 h 96"/>
                <a:gd name="T4" fmla="*/ 2147483647 w 42"/>
                <a:gd name="T5" fmla="*/ 2147483647 h 96"/>
                <a:gd name="T6" fmla="*/ 0 w 42"/>
                <a:gd name="T7" fmla="*/ 2147483647 h 96"/>
                <a:gd name="T8" fmla="*/ 0 w 42"/>
                <a:gd name="T9" fmla="*/ 2147483647 h 96"/>
                <a:gd name="T10" fmla="*/ 0 w 42"/>
                <a:gd name="T11" fmla="*/ 2147483647 h 96"/>
                <a:gd name="T12" fmla="*/ 2147483647 w 42"/>
                <a:gd name="T13" fmla="*/ 2147483647 h 96"/>
                <a:gd name="T14" fmla="*/ 2147483647 w 42"/>
                <a:gd name="T15" fmla="*/ 2147483647 h 96"/>
                <a:gd name="T16" fmla="*/ 2147483647 w 42"/>
                <a:gd name="T17" fmla="*/ 2147483647 h 96"/>
                <a:gd name="T18" fmla="*/ 2147483647 w 42"/>
                <a:gd name="T19" fmla="*/ 2147483647 h 9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connsiteX0" fmla="*/ 6858 w 10000"/>
                <a:gd name="connsiteY0" fmla="*/ 4183 h 10000"/>
                <a:gd name="connsiteX1" fmla="*/ 4286 w 10000"/>
                <a:gd name="connsiteY1" fmla="*/ 0 h 10000"/>
                <a:gd name="connsiteX2" fmla="*/ 1429 w 10000"/>
                <a:gd name="connsiteY2" fmla="*/ 625 h 10000"/>
                <a:gd name="connsiteX3" fmla="*/ 0 w 10000"/>
                <a:gd name="connsiteY3" fmla="*/ 625 h 10000"/>
                <a:gd name="connsiteX4" fmla="*/ 0 w 10000"/>
                <a:gd name="connsiteY4" fmla="*/ 1250 h 10000"/>
                <a:gd name="connsiteX5" fmla="*/ 0 w 10000"/>
                <a:gd name="connsiteY5" fmla="*/ 4375 h 10000"/>
                <a:gd name="connsiteX6" fmla="*/ 4286 w 10000"/>
                <a:gd name="connsiteY6" fmla="*/ 10000 h 10000"/>
                <a:gd name="connsiteX7" fmla="*/ 10000 w 10000"/>
                <a:gd name="connsiteY7" fmla="*/ 9375 h 10000"/>
                <a:gd name="connsiteX8" fmla="*/ 5714 w 10000"/>
                <a:gd name="connsiteY8" fmla="*/ 6250 h 10000"/>
                <a:gd name="connsiteX9" fmla="*/ 6858 w 10000"/>
                <a:gd name="connsiteY9" fmla="*/ 4183 h 10000"/>
                <a:gd name="connsiteX0" fmla="*/ 6858 w 15143"/>
                <a:gd name="connsiteY0" fmla="*/ 4183 h 10000"/>
                <a:gd name="connsiteX1" fmla="*/ 4286 w 15143"/>
                <a:gd name="connsiteY1" fmla="*/ 0 h 10000"/>
                <a:gd name="connsiteX2" fmla="*/ 1429 w 15143"/>
                <a:gd name="connsiteY2" fmla="*/ 625 h 10000"/>
                <a:gd name="connsiteX3" fmla="*/ 0 w 15143"/>
                <a:gd name="connsiteY3" fmla="*/ 625 h 10000"/>
                <a:gd name="connsiteX4" fmla="*/ 0 w 15143"/>
                <a:gd name="connsiteY4" fmla="*/ 1250 h 10000"/>
                <a:gd name="connsiteX5" fmla="*/ 0 w 15143"/>
                <a:gd name="connsiteY5" fmla="*/ 4375 h 10000"/>
                <a:gd name="connsiteX6" fmla="*/ 4286 w 15143"/>
                <a:gd name="connsiteY6" fmla="*/ 10000 h 10000"/>
                <a:gd name="connsiteX7" fmla="*/ 10000 w 15143"/>
                <a:gd name="connsiteY7" fmla="*/ 9375 h 10000"/>
                <a:gd name="connsiteX8" fmla="*/ 15143 w 15143"/>
                <a:gd name="connsiteY8" fmla="*/ 4519 h 10000"/>
                <a:gd name="connsiteX9" fmla="*/ 6858 w 15143"/>
                <a:gd name="connsiteY9" fmla="*/ 4183 h 10000"/>
                <a:gd name="connsiteX0" fmla="*/ 6858 w 21571"/>
                <a:gd name="connsiteY0" fmla="*/ 4183 h 10000"/>
                <a:gd name="connsiteX1" fmla="*/ 4286 w 21571"/>
                <a:gd name="connsiteY1" fmla="*/ 0 h 10000"/>
                <a:gd name="connsiteX2" fmla="*/ 1429 w 21571"/>
                <a:gd name="connsiteY2" fmla="*/ 625 h 10000"/>
                <a:gd name="connsiteX3" fmla="*/ 0 w 21571"/>
                <a:gd name="connsiteY3" fmla="*/ 625 h 10000"/>
                <a:gd name="connsiteX4" fmla="*/ 0 w 21571"/>
                <a:gd name="connsiteY4" fmla="*/ 1250 h 10000"/>
                <a:gd name="connsiteX5" fmla="*/ 0 w 21571"/>
                <a:gd name="connsiteY5" fmla="*/ 4375 h 10000"/>
                <a:gd name="connsiteX6" fmla="*/ 4286 w 21571"/>
                <a:gd name="connsiteY6" fmla="*/ 10000 h 10000"/>
                <a:gd name="connsiteX7" fmla="*/ 21571 w 21571"/>
                <a:gd name="connsiteY7" fmla="*/ 9183 h 10000"/>
                <a:gd name="connsiteX8" fmla="*/ 15143 w 21571"/>
                <a:gd name="connsiteY8" fmla="*/ 4519 h 10000"/>
                <a:gd name="connsiteX9" fmla="*/ 6858 w 21571"/>
                <a:gd name="connsiteY9" fmla="*/ 4183 h 10000"/>
                <a:gd name="connsiteX0" fmla="*/ 6858 w 21571"/>
                <a:gd name="connsiteY0" fmla="*/ 4183 h 10577"/>
                <a:gd name="connsiteX1" fmla="*/ 4286 w 21571"/>
                <a:gd name="connsiteY1" fmla="*/ 0 h 10577"/>
                <a:gd name="connsiteX2" fmla="*/ 1429 w 21571"/>
                <a:gd name="connsiteY2" fmla="*/ 625 h 10577"/>
                <a:gd name="connsiteX3" fmla="*/ 0 w 21571"/>
                <a:gd name="connsiteY3" fmla="*/ 625 h 10577"/>
                <a:gd name="connsiteX4" fmla="*/ 0 w 21571"/>
                <a:gd name="connsiteY4" fmla="*/ 1250 h 10577"/>
                <a:gd name="connsiteX5" fmla="*/ 0 w 21571"/>
                <a:gd name="connsiteY5" fmla="*/ 4375 h 10577"/>
                <a:gd name="connsiteX6" fmla="*/ 17572 w 21571"/>
                <a:gd name="connsiteY6" fmla="*/ 10577 h 10577"/>
                <a:gd name="connsiteX7" fmla="*/ 21571 w 21571"/>
                <a:gd name="connsiteY7" fmla="*/ 9183 h 10577"/>
                <a:gd name="connsiteX8" fmla="*/ 15143 w 21571"/>
                <a:gd name="connsiteY8" fmla="*/ 4519 h 10577"/>
                <a:gd name="connsiteX9" fmla="*/ 6858 w 21571"/>
                <a:gd name="connsiteY9" fmla="*/ 4183 h 10577"/>
                <a:gd name="connsiteX0" fmla="*/ 6858 w 21571"/>
                <a:gd name="connsiteY0" fmla="*/ 4183 h 10577"/>
                <a:gd name="connsiteX1" fmla="*/ 4286 w 21571"/>
                <a:gd name="connsiteY1" fmla="*/ 0 h 10577"/>
                <a:gd name="connsiteX2" fmla="*/ 1429 w 21571"/>
                <a:gd name="connsiteY2" fmla="*/ 625 h 10577"/>
                <a:gd name="connsiteX3" fmla="*/ 0 w 21571"/>
                <a:gd name="connsiteY3" fmla="*/ 625 h 10577"/>
                <a:gd name="connsiteX4" fmla="*/ 0 w 21571"/>
                <a:gd name="connsiteY4" fmla="*/ 1250 h 10577"/>
                <a:gd name="connsiteX5" fmla="*/ 0 w 21571"/>
                <a:gd name="connsiteY5" fmla="*/ 4375 h 10577"/>
                <a:gd name="connsiteX6" fmla="*/ 12388 w 21571"/>
                <a:gd name="connsiteY6" fmla="*/ 6786 h 10577"/>
                <a:gd name="connsiteX7" fmla="*/ 17572 w 21571"/>
                <a:gd name="connsiteY7" fmla="*/ 10577 h 10577"/>
                <a:gd name="connsiteX8" fmla="*/ 21571 w 21571"/>
                <a:gd name="connsiteY8" fmla="*/ 9183 h 10577"/>
                <a:gd name="connsiteX9" fmla="*/ 15143 w 21571"/>
                <a:gd name="connsiteY9" fmla="*/ 4519 h 10577"/>
                <a:gd name="connsiteX10" fmla="*/ 6858 w 21571"/>
                <a:gd name="connsiteY10" fmla="*/ 4183 h 10577"/>
                <a:gd name="connsiteX0" fmla="*/ 6858 w 21571"/>
                <a:gd name="connsiteY0" fmla="*/ 4183 h 10577"/>
                <a:gd name="connsiteX1" fmla="*/ 4286 w 21571"/>
                <a:gd name="connsiteY1" fmla="*/ 0 h 10577"/>
                <a:gd name="connsiteX2" fmla="*/ 1429 w 21571"/>
                <a:gd name="connsiteY2" fmla="*/ 625 h 10577"/>
                <a:gd name="connsiteX3" fmla="*/ 0 w 21571"/>
                <a:gd name="connsiteY3" fmla="*/ 625 h 10577"/>
                <a:gd name="connsiteX4" fmla="*/ 0 w 21571"/>
                <a:gd name="connsiteY4" fmla="*/ 1250 h 10577"/>
                <a:gd name="connsiteX5" fmla="*/ 1714 w 21571"/>
                <a:gd name="connsiteY5" fmla="*/ 6106 h 10577"/>
                <a:gd name="connsiteX6" fmla="*/ 12388 w 21571"/>
                <a:gd name="connsiteY6" fmla="*/ 6786 h 10577"/>
                <a:gd name="connsiteX7" fmla="*/ 17572 w 21571"/>
                <a:gd name="connsiteY7" fmla="*/ 10577 h 10577"/>
                <a:gd name="connsiteX8" fmla="*/ 21571 w 21571"/>
                <a:gd name="connsiteY8" fmla="*/ 9183 h 10577"/>
                <a:gd name="connsiteX9" fmla="*/ 15143 w 21571"/>
                <a:gd name="connsiteY9" fmla="*/ 4519 h 10577"/>
                <a:gd name="connsiteX10" fmla="*/ 6858 w 21571"/>
                <a:gd name="connsiteY10" fmla="*/ 4183 h 10577"/>
                <a:gd name="connsiteX0" fmla="*/ 6858 w 22000"/>
                <a:gd name="connsiteY0" fmla="*/ 4183 h 10577"/>
                <a:gd name="connsiteX1" fmla="*/ 4286 w 22000"/>
                <a:gd name="connsiteY1" fmla="*/ 0 h 10577"/>
                <a:gd name="connsiteX2" fmla="*/ 1429 w 22000"/>
                <a:gd name="connsiteY2" fmla="*/ 625 h 10577"/>
                <a:gd name="connsiteX3" fmla="*/ 0 w 22000"/>
                <a:gd name="connsiteY3" fmla="*/ 625 h 10577"/>
                <a:gd name="connsiteX4" fmla="*/ 0 w 22000"/>
                <a:gd name="connsiteY4" fmla="*/ 1250 h 10577"/>
                <a:gd name="connsiteX5" fmla="*/ 1714 w 22000"/>
                <a:gd name="connsiteY5" fmla="*/ 6106 h 10577"/>
                <a:gd name="connsiteX6" fmla="*/ 12388 w 22000"/>
                <a:gd name="connsiteY6" fmla="*/ 6786 h 10577"/>
                <a:gd name="connsiteX7" fmla="*/ 17572 w 22000"/>
                <a:gd name="connsiteY7" fmla="*/ 10577 h 10577"/>
                <a:gd name="connsiteX8" fmla="*/ 22000 w 22000"/>
                <a:gd name="connsiteY8" fmla="*/ 10529 h 10577"/>
                <a:gd name="connsiteX9" fmla="*/ 15143 w 22000"/>
                <a:gd name="connsiteY9" fmla="*/ 4519 h 10577"/>
                <a:gd name="connsiteX10" fmla="*/ 6858 w 22000"/>
                <a:gd name="connsiteY10" fmla="*/ 4183 h 10577"/>
                <a:gd name="connsiteX0" fmla="*/ 6858 w 22000"/>
                <a:gd name="connsiteY0" fmla="*/ 4183 h 10962"/>
                <a:gd name="connsiteX1" fmla="*/ 4286 w 22000"/>
                <a:gd name="connsiteY1" fmla="*/ 0 h 10962"/>
                <a:gd name="connsiteX2" fmla="*/ 1429 w 22000"/>
                <a:gd name="connsiteY2" fmla="*/ 625 h 10962"/>
                <a:gd name="connsiteX3" fmla="*/ 0 w 22000"/>
                <a:gd name="connsiteY3" fmla="*/ 625 h 10962"/>
                <a:gd name="connsiteX4" fmla="*/ 0 w 22000"/>
                <a:gd name="connsiteY4" fmla="*/ 1250 h 10962"/>
                <a:gd name="connsiteX5" fmla="*/ 1714 w 22000"/>
                <a:gd name="connsiteY5" fmla="*/ 6106 h 10962"/>
                <a:gd name="connsiteX6" fmla="*/ 12388 w 22000"/>
                <a:gd name="connsiteY6" fmla="*/ 6786 h 10962"/>
                <a:gd name="connsiteX7" fmla="*/ 19715 w 22000"/>
                <a:gd name="connsiteY7" fmla="*/ 10962 h 10962"/>
                <a:gd name="connsiteX8" fmla="*/ 22000 w 22000"/>
                <a:gd name="connsiteY8" fmla="*/ 10529 h 10962"/>
                <a:gd name="connsiteX9" fmla="*/ 15143 w 22000"/>
                <a:gd name="connsiteY9" fmla="*/ 4519 h 10962"/>
                <a:gd name="connsiteX10" fmla="*/ 6858 w 22000"/>
                <a:gd name="connsiteY10" fmla="*/ 4183 h 10962"/>
                <a:gd name="connsiteX0" fmla="*/ 6858 w 22000"/>
                <a:gd name="connsiteY0" fmla="*/ 4183 h 10962"/>
                <a:gd name="connsiteX1" fmla="*/ 4286 w 22000"/>
                <a:gd name="connsiteY1" fmla="*/ 0 h 10962"/>
                <a:gd name="connsiteX2" fmla="*/ 1429 w 22000"/>
                <a:gd name="connsiteY2" fmla="*/ 625 h 10962"/>
                <a:gd name="connsiteX3" fmla="*/ 0 w 22000"/>
                <a:gd name="connsiteY3" fmla="*/ 625 h 10962"/>
                <a:gd name="connsiteX4" fmla="*/ 0 w 22000"/>
                <a:gd name="connsiteY4" fmla="*/ 1250 h 10962"/>
                <a:gd name="connsiteX5" fmla="*/ 1714 w 22000"/>
                <a:gd name="connsiteY5" fmla="*/ 6106 h 10962"/>
                <a:gd name="connsiteX6" fmla="*/ 12816 w 22000"/>
                <a:gd name="connsiteY6" fmla="*/ 6978 h 10962"/>
                <a:gd name="connsiteX7" fmla="*/ 12388 w 22000"/>
                <a:gd name="connsiteY7" fmla="*/ 6786 h 10962"/>
                <a:gd name="connsiteX8" fmla="*/ 19715 w 22000"/>
                <a:gd name="connsiteY8" fmla="*/ 10962 h 10962"/>
                <a:gd name="connsiteX9" fmla="*/ 22000 w 22000"/>
                <a:gd name="connsiteY9" fmla="*/ 10529 h 10962"/>
                <a:gd name="connsiteX10" fmla="*/ 15143 w 22000"/>
                <a:gd name="connsiteY10" fmla="*/ 4519 h 10962"/>
                <a:gd name="connsiteX11" fmla="*/ 6858 w 22000"/>
                <a:gd name="connsiteY11" fmla="*/ 4183 h 10962"/>
                <a:gd name="connsiteX0" fmla="*/ 7715 w 22000"/>
                <a:gd name="connsiteY0" fmla="*/ 3606 h 10962"/>
                <a:gd name="connsiteX1" fmla="*/ 4286 w 22000"/>
                <a:gd name="connsiteY1" fmla="*/ 0 h 10962"/>
                <a:gd name="connsiteX2" fmla="*/ 1429 w 22000"/>
                <a:gd name="connsiteY2" fmla="*/ 625 h 10962"/>
                <a:gd name="connsiteX3" fmla="*/ 0 w 22000"/>
                <a:gd name="connsiteY3" fmla="*/ 625 h 10962"/>
                <a:gd name="connsiteX4" fmla="*/ 0 w 22000"/>
                <a:gd name="connsiteY4" fmla="*/ 1250 h 10962"/>
                <a:gd name="connsiteX5" fmla="*/ 1714 w 22000"/>
                <a:gd name="connsiteY5" fmla="*/ 6106 h 10962"/>
                <a:gd name="connsiteX6" fmla="*/ 12816 w 22000"/>
                <a:gd name="connsiteY6" fmla="*/ 6978 h 10962"/>
                <a:gd name="connsiteX7" fmla="*/ 12388 w 22000"/>
                <a:gd name="connsiteY7" fmla="*/ 6786 h 10962"/>
                <a:gd name="connsiteX8" fmla="*/ 19715 w 22000"/>
                <a:gd name="connsiteY8" fmla="*/ 10962 h 10962"/>
                <a:gd name="connsiteX9" fmla="*/ 22000 w 22000"/>
                <a:gd name="connsiteY9" fmla="*/ 10529 h 10962"/>
                <a:gd name="connsiteX10" fmla="*/ 15143 w 22000"/>
                <a:gd name="connsiteY10" fmla="*/ 4519 h 10962"/>
                <a:gd name="connsiteX11" fmla="*/ 7715 w 22000"/>
                <a:gd name="connsiteY11" fmla="*/ 3606 h 10962"/>
                <a:gd name="connsiteX0" fmla="*/ 7715 w 22000"/>
                <a:gd name="connsiteY0" fmla="*/ 3606 h 10962"/>
                <a:gd name="connsiteX1" fmla="*/ 4286 w 22000"/>
                <a:gd name="connsiteY1" fmla="*/ 0 h 10962"/>
                <a:gd name="connsiteX2" fmla="*/ 1429 w 22000"/>
                <a:gd name="connsiteY2" fmla="*/ 625 h 10962"/>
                <a:gd name="connsiteX3" fmla="*/ 0 w 22000"/>
                <a:gd name="connsiteY3" fmla="*/ 625 h 10962"/>
                <a:gd name="connsiteX4" fmla="*/ 0 w 22000"/>
                <a:gd name="connsiteY4" fmla="*/ 1250 h 10962"/>
                <a:gd name="connsiteX5" fmla="*/ 3428 w 22000"/>
                <a:gd name="connsiteY5" fmla="*/ 7068 h 10962"/>
                <a:gd name="connsiteX6" fmla="*/ 12816 w 22000"/>
                <a:gd name="connsiteY6" fmla="*/ 6978 h 10962"/>
                <a:gd name="connsiteX7" fmla="*/ 12388 w 22000"/>
                <a:gd name="connsiteY7" fmla="*/ 6786 h 10962"/>
                <a:gd name="connsiteX8" fmla="*/ 19715 w 22000"/>
                <a:gd name="connsiteY8" fmla="*/ 10962 h 10962"/>
                <a:gd name="connsiteX9" fmla="*/ 22000 w 22000"/>
                <a:gd name="connsiteY9" fmla="*/ 10529 h 10962"/>
                <a:gd name="connsiteX10" fmla="*/ 15143 w 22000"/>
                <a:gd name="connsiteY10" fmla="*/ 4519 h 10962"/>
                <a:gd name="connsiteX11" fmla="*/ 7715 w 22000"/>
                <a:gd name="connsiteY11" fmla="*/ 3606 h 10962"/>
                <a:gd name="connsiteX0" fmla="*/ 12919 w 27204"/>
                <a:gd name="connsiteY0" fmla="*/ 3606 h 10962"/>
                <a:gd name="connsiteX1" fmla="*/ 9490 w 27204"/>
                <a:gd name="connsiteY1" fmla="*/ 0 h 10962"/>
                <a:gd name="connsiteX2" fmla="*/ 6633 w 27204"/>
                <a:gd name="connsiteY2" fmla="*/ 625 h 10962"/>
                <a:gd name="connsiteX3" fmla="*/ 5204 w 27204"/>
                <a:gd name="connsiteY3" fmla="*/ 625 h 10962"/>
                <a:gd name="connsiteX4" fmla="*/ 5204 w 27204"/>
                <a:gd name="connsiteY4" fmla="*/ 1250 h 10962"/>
                <a:gd name="connsiteX5" fmla="*/ 20 w 27204"/>
                <a:gd name="connsiteY5" fmla="*/ 7940 h 10962"/>
                <a:gd name="connsiteX6" fmla="*/ 8632 w 27204"/>
                <a:gd name="connsiteY6" fmla="*/ 7068 h 10962"/>
                <a:gd name="connsiteX7" fmla="*/ 18020 w 27204"/>
                <a:gd name="connsiteY7" fmla="*/ 6978 h 10962"/>
                <a:gd name="connsiteX8" fmla="*/ 17592 w 27204"/>
                <a:gd name="connsiteY8" fmla="*/ 6786 h 10962"/>
                <a:gd name="connsiteX9" fmla="*/ 24919 w 27204"/>
                <a:gd name="connsiteY9" fmla="*/ 10962 h 10962"/>
                <a:gd name="connsiteX10" fmla="*/ 27204 w 27204"/>
                <a:gd name="connsiteY10" fmla="*/ 10529 h 10962"/>
                <a:gd name="connsiteX11" fmla="*/ 20347 w 27204"/>
                <a:gd name="connsiteY11" fmla="*/ 4519 h 10962"/>
                <a:gd name="connsiteX12" fmla="*/ 12919 w 27204"/>
                <a:gd name="connsiteY12" fmla="*/ 3606 h 10962"/>
                <a:gd name="connsiteX0" fmla="*/ 12981 w 27266"/>
                <a:gd name="connsiteY0" fmla="*/ 3606 h 10962"/>
                <a:gd name="connsiteX1" fmla="*/ 9552 w 27266"/>
                <a:gd name="connsiteY1" fmla="*/ 0 h 10962"/>
                <a:gd name="connsiteX2" fmla="*/ 6695 w 27266"/>
                <a:gd name="connsiteY2" fmla="*/ 625 h 10962"/>
                <a:gd name="connsiteX3" fmla="*/ 5266 w 27266"/>
                <a:gd name="connsiteY3" fmla="*/ 625 h 10962"/>
                <a:gd name="connsiteX4" fmla="*/ 552 w 27266"/>
                <a:gd name="connsiteY4" fmla="*/ 2596 h 10962"/>
                <a:gd name="connsiteX5" fmla="*/ 82 w 27266"/>
                <a:gd name="connsiteY5" fmla="*/ 7940 h 10962"/>
                <a:gd name="connsiteX6" fmla="*/ 8694 w 27266"/>
                <a:gd name="connsiteY6" fmla="*/ 7068 h 10962"/>
                <a:gd name="connsiteX7" fmla="*/ 18082 w 27266"/>
                <a:gd name="connsiteY7" fmla="*/ 6978 h 10962"/>
                <a:gd name="connsiteX8" fmla="*/ 17654 w 27266"/>
                <a:gd name="connsiteY8" fmla="*/ 6786 h 10962"/>
                <a:gd name="connsiteX9" fmla="*/ 24981 w 27266"/>
                <a:gd name="connsiteY9" fmla="*/ 10962 h 10962"/>
                <a:gd name="connsiteX10" fmla="*/ 27266 w 27266"/>
                <a:gd name="connsiteY10" fmla="*/ 10529 h 10962"/>
                <a:gd name="connsiteX11" fmla="*/ 20409 w 27266"/>
                <a:gd name="connsiteY11" fmla="*/ 4519 h 10962"/>
                <a:gd name="connsiteX12" fmla="*/ 12981 w 27266"/>
                <a:gd name="connsiteY12" fmla="*/ 3606 h 10962"/>
                <a:gd name="connsiteX0" fmla="*/ 12981 w 27266"/>
                <a:gd name="connsiteY0" fmla="*/ 3606 h 10962"/>
                <a:gd name="connsiteX1" fmla="*/ 9552 w 27266"/>
                <a:gd name="connsiteY1" fmla="*/ 0 h 10962"/>
                <a:gd name="connsiteX2" fmla="*/ 6695 w 27266"/>
                <a:gd name="connsiteY2" fmla="*/ 625 h 10962"/>
                <a:gd name="connsiteX3" fmla="*/ 3552 w 27266"/>
                <a:gd name="connsiteY3" fmla="*/ 1202 h 10962"/>
                <a:gd name="connsiteX4" fmla="*/ 552 w 27266"/>
                <a:gd name="connsiteY4" fmla="*/ 2596 h 10962"/>
                <a:gd name="connsiteX5" fmla="*/ 82 w 27266"/>
                <a:gd name="connsiteY5" fmla="*/ 7940 h 10962"/>
                <a:gd name="connsiteX6" fmla="*/ 8694 w 27266"/>
                <a:gd name="connsiteY6" fmla="*/ 7068 h 10962"/>
                <a:gd name="connsiteX7" fmla="*/ 18082 w 27266"/>
                <a:gd name="connsiteY7" fmla="*/ 6978 h 10962"/>
                <a:gd name="connsiteX8" fmla="*/ 17654 w 27266"/>
                <a:gd name="connsiteY8" fmla="*/ 6786 h 10962"/>
                <a:gd name="connsiteX9" fmla="*/ 24981 w 27266"/>
                <a:gd name="connsiteY9" fmla="*/ 10962 h 10962"/>
                <a:gd name="connsiteX10" fmla="*/ 27266 w 27266"/>
                <a:gd name="connsiteY10" fmla="*/ 10529 h 10962"/>
                <a:gd name="connsiteX11" fmla="*/ 20409 w 27266"/>
                <a:gd name="connsiteY11" fmla="*/ 4519 h 10962"/>
                <a:gd name="connsiteX12" fmla="*/ 12981 w 27266"/>
                <a:gd name="connsiteY12" fmla="*/ 3606 h 10962"/>
                <a:gd name="connsiteX0" fmla="*/ 12586 w 26871"/>
                <a:gd name="connsiteY0" fmla="*/ 3606 h 10962"/>
                <a:gd name="connsiteX1" fmla="*/ 9157 w 26871"/>
                <a:gd name="connsiteY1" fmla="*/ 0 h 10962"/>
                <a:gd name="connsiteX2" fmla="*/ 6300 w 26871"/>
                <a:gd name="connsiteY2" fmla="*/ 625 h 10962"/>
                <a:gd name="connsiteX3" fmla="*/ 3157 w 26871"/>
                <a:gd name="connsiteY3" fmla="*/ 1202 h 10962"/>
                <a:gd name="connsiteX4" fmla="*/ 157 w 26871"/>
                <a:gd name="connsiteY4" fmla="*/ 2596 h 10962"/>
                <a:gd name="connsiteX5" fmla="*/ 116 w 26871"/>
                <a:gd name="connsiteY5" fmla="*/ 7171 h 10962"/>
                <a:gd name="connsiteX6" fmla="*/ 8299 w 26871"/>
                <a:gd name="connsiteY6" fmla="*/ 7068 h 10962"/>
                <a:gd name="connsiteX7" fmla="*/ 17687 w 26871"/>
                <a:gd name="connsiteY7" fmla="*/ 6978 h 10962"/>
                <a:gd name="connsiteX8" fmla="*/ 17259 w 26871"/>
                <a:gd name="connsiteY8" fmla="*/ 6786 h 10962"/>
                <a:gd name="connsiteX9" fmla="*/ 24586 w 26871"/>
                <a:gd name="connsiteY9" fmla="*/ 10962 h 10962"/>
                <a:gd name="connsiteX10" fmla="*/ 26871 w 26871"/>
                <a:gd name="connsiteY10" fmla="*/ 10529 h 10962"/>
                <a:gd name="connsiteX11" fmla="*/ 20014 w 26871"/>
                <a:gd name="connsiteY11" fmla="*/ 4519 h 10962"/>
                <a:gd name="connsiteX12" fmla="*/ 12586 w 26871"/>
                <a:gd name="connsiteY12" fmla="*/ 3606 h 10962"/>
                <a:gd name="connsiteX0" fmla="*/ 12586 w 26871"/>
                <a:gd name="connsiteY0" fmla="*/ 3606 h 10962"/>
                <a:gd name="connsiteX1" fmla="*/ 9157 w 26871"/>
                <a:gd name="connsiteY1" fmla="*/ 0 h 10962"/>
                <a:gd name="connsiteX2" fmla="*/ 6300 w 26871"/>
                <a:gd name="connsiteY2" fmla="*/ 625 h 10962"/>
                <a:gd name="connsiteX3" fmla="*/ 3157 w 26871"/>
                <a:gd name="connsiteY3" fmla="*/ 1202 h 10962"/>
                <a:gd name="connsiteX4" fmla="*/ 157 w 26871"/>
                <a:gd name="connsiteY4" fmla="*/ 2596 h 10962"/>
                <a:gd name="connsiteX5" fmla="*/ 116 w 26871"/>
                <a:gd name="connsiteY5" fmla="*/ 7171 h 10962"/>
                <a:gd name="connsiteX6" fmla="*/ 8299 w 26871"/>
                <a:gd name="connsiteY6" fmla="*/ 7068 h 10962"/>
                <a:gd name="connsiteX7" fmla="*/ 17687 w 26871"/>
                <a:gd name="connsiteY7" fmla="*/ 6978 h 10962"/>
                <a:gd name="connsiteX8" fmla="*/ 17259 w 26871"/>
                <a:gd name="connsiteY8" fmla="*/ 6786 h 10962"/>
                <a:gd name="connsiteX9" fmla="*/ 24586 w 26871"/>
                <a:gd name="connsiteY9" fmla="*/ 10962 h 10962"/>
                <a:gd name="connsiteX10" fmla="*/ 26871 w 26871"/>
                <a:gd name="connsiteY10" fmla="*/ 10529 h 10962"/>
                <a:gd name="connsiteX11" fmla="*/ 20014 w 26871"/>
                <a:gd name="connsiteY11" fmla="*/ 4519 h 10962"/>
                <a:gd name="connsiteX12" fmla="*/ 12586 w 26871"/>
                <a:gd name="connsiteY12" fmla="*/ 3606 h 10962"/>
                <a:gd name="connsiteX0" fmla="*/ 12586 w 28585"/>
                <a:gd name="connsiteY0" fmla="*/ 3606 h 11298"/>
                <a:gd name="connsiteX1" fmla="*/ 9157 w 28585"/>
                <a:gd name="connsiteY1" fmla="*/ 0 h 11298"/>
                <a:gd name="connsiteX2" fmla="*/ 6300 w 28585"/>
                <a:gd name="connsiteY2" fmla="*/ 625 h 11298"/>
                <a:gd name="connsiteX3" fmla="*/ 3157 w 28585"/>
                <a:gd name="connsiteY3" fmla="*/ 1202 h 11298"/>
                <a:gd name="connsiteX4" fmla="*/ 157 w 28585"/>
                <a:gd name="connsiteY4" fmla="*/ 2596 h 11298"/>
                <a:gd name="connsiteX5" fmla="*/ 116 w 28585"/>
                <a:gd name="connsiteY5" fmla="*/ 7171 h 11298"/>
                <a:gd name="connsiteX6" fmla="*/ 8299 w 28585"/>
                <a:gd name="connsiteY6" fmla="*/ 7068 h 11298"/>
                <a:gd name="connsiteX7" fmla="*/ 17687 w 28585"/>
                <a:gd name="connsiteY7" fmla="*/ 6978 h 11298"/>
                <a:gd name="connsiteX8" fmla="*/ 17259 w 28585"/>
                <a:gd name="connsiteY8" fmla="*/ 6786 h 11298"/>
                <a:gd name="connsiteX9" fmla="*/ 24586 w 28585"/>
                <a:gd name="connsiteY9" fmla="*/ 10962 h 11298"/>
                <a:gd name="connsiteX10" fmla="*/ 28585 w 28585"/>
                <a:gd name="connsiteY10" fmla="*/ 11298 h 11298"/>
                <a:gd name="connsiteX11" fmla="*/ 20014 w 28585"/>
                <a:gd name="connsiteY11" fmla="*/ 4519 h 11298"/>
                <a:gd name="connsiteX12" fmla="*/ 12586 w 28585"/>
                <a:gd name="connsiteY12" fmla="*/ 3606 h 11298"/>
                <a:gd name="connsiteX0" fmla="*/ 12586 w 28585"/>
                <a:gd name="connsiteY0" fmla="*/ 3606 h 11923"/>
                <a:gd name="connsiteX1" fmla="*/ 9157 w 28585"/>
                <a:gd name="connsiteY1" fmla="*/ 0 h 11923"/>
                <a:gd name="connsiteX2" fmla="*/ 6300 w 28585"/>
                <a:gd name="connsiteY2" fmla="*/ 625 h 11923"/>
                <a:gd name="connsiteX3" fmla="*/ 3157 w 28585"/>
                <a:gd name="connsiteY3" fmla="*/ 1202 h 11923"/>
                <a:gd name="connsiteX4" fmla="*/ 157 w 28585"/>
                <a:gd name="connsiteY4" fmla="*/ 2596 h 11923"/>
                <a:gd name="connsiteX5" fmla="*/ 116 w 28585"/>
                <a:gd name="connsiteY5" fmla="*/ 7171 h 11923"/>
                <a:gd name="connsiteX6" fmla="*/ 8299 w 28585"/>
                <a:gd name="connsiteY6" fmla="*/ 7068 h 11923"/>
                <a:gd name="connsiteX7" fmla="*/ 17687 w 28585"/>
                <a:gd name="connsiteY7" fmla="*/ 6978 h 11923"/>
                <a:gd name="connsiteX8" fmla="*/ 17259 w 28585"/>
                <a:gd name="connsiteY8" fmla="*/ 6786 h 11923"/>
                <a:gd name="connsiteX9" fmla="*/ 25015 w 28585"/>
                <a:gd name="connsiteY9" fmla="*/ 11923 h 11923"/>
                <a:gd name="connsiteX10" fmla="*/ 28585 w 28585"/>
                <a:gd name="connsiteY10" fmla="*/ 11298 h 11923"/>
                <a:gd name="connsiteX11" fmla="*/ 20014 w 28585"/>
                <a:gd name="connsiteY11" fmla="*/ 4519 h 11923"/>
                <a:gd name="connsiteX12" fmla="*/ 12586 w 28585"/>
                <a:gd name="connsiteY12" fmla="*/ 3606 h 11923"/>
                <a:gd name="connsiteX0" fmla="*/ 12586 w 28585"/>
                <a:gd name="connsiteY0" fmla="*/ 3606 h 11923"/>
                <a:gd name="connsiteX1" fmla="*/ 9157 w 28585"/>
                <a:gd name="connsiteY1" fmla="*/ 0 h 11923"/>
                <a:gd name="connsiteX2" fmla="*/ 6300 w 28585"/>
                <a:gd name="connsiteY2" fmla="*/ 625 h 11923"/>
                <a:gd name="connsiteX3" fmla="*/ 3157 w 28585"/>
                <a:gd name="connsiteY3" fmla="*/ 1202 h 11923"/>
                <a:gd name="connsiteX4" fmla="*/ 157 w 28585"/>
                <a:gd name="connsiteY4" fmla="*/ 2596 h 11923"/>
                <a:gd name="connsiteX5" fmla="*/ 116 w 28585"/>
                <a:gd name="connsiteY5" fmla="*/ 7171 h 11923"/>
                <a:gd name="connsiteX6" fmla="*/ 8299 w 28585"/>
                <a:gd name="connsiteY6" fmla="*/ 7068 h 11923"/>
                <a:gd name="connsiteX7" fmla="*/ 18973 w 28585"/>
                <a:gd name="connsiteY7" fmla="*/ 7363 h 11923"/>
                <a:gd name="connsiteX8" fmla="*/ 17259 w 28585"/>
                <a:gd name="connsiteY8" fmla="*/ 6786 h 11923"/>
                <a:gd name="connsiteX9" fmla="*/ 25015 w 28585"/>
                <a:gd name="connsiteY9" fmla="*/ 11923 h 11923"/>
                <a:gd name="connsiteX10" fmla="*/ 28585 w 28585"/>
                <a:gd name="connsiteY10" fmla="*/ 11298 h 11923"/>
                <a:gd name="connsiteX11" fmla="*/ 20014 w 28585"/>
                <a:gd name="connsiteY11" fmla="*/ 4519 h 11923"/>
                <a:gd name="connsiteX12" fmla="*/ 12586 w 28585"/>
                <a:gd name="connsiteY12" fmla="*/ 3606 h 11923"/>
                <a:gd name="connsiteX0" fmla="*/ 12586 w 28585"/>
                <a:gd name="connsiteY0" fmla="*/ 3606 h 11923"/>
                <a:gd name="connsiteX1" fmla="*/ 9157 w 28585"/>
                <a:gd name="connsiteY1" fmla="*/ 0 h 11923"/>
                <a:gd name="connsiteX2" fmla="*/ 6300 w 28585"/>
                <a:gd name="connsiteY2" fmla="*/ 625 h 11923"/>
                <a:gd name="connsiteX3" fmla="*/ 3157 w 28585"/>
                <a:gd name="connsiteY3" fmla="*/ 1202 h 11923"/>
                <a:gd name="connsiteX4" fmla="*/ 157 w 28585"/>
                <a:gd name="connsiteY4" fmla="*/ 2596 h 11923"/>
                <a:gd name="connsiteX5" fmla="*/ 116 w 28585"/>
                <a:gd name="connsiteY5" fmla="*/ 7171 h 11923"/>
                <a:gd name="connsiteX6" fmla="*/ 8299 w 28585"/>
                <a:gd name="connsiteY6" fmla="*/ 7068 h 11923"/>
                <a:gd name="connsiteX7" fmla="*/ 18973 w 28585"/>
                <a:gd name="connsiteY7" fmla="*/ 7363 h 11923"/>
                <a:gd name="connsiteX8" fmla="*/ 25015 w 28585"/>
                <a:gd name="connsiteY8" fmla="*/ 11923 h 11923"/>
                <a:gd name="connsiteX9" fmla="*/ 28585 w 28585"/>
                <a:gd name="connsiteY9" fmla="*/ 11298 h 11923"/>
                <a:gd name="connsiteX10" fmla="*/ 20014 w 28585"/>
                <a:gd name="connsiteY10" fmla="*/ 4519 h 11923"/>
                <a:gd name="connsiteX11" fmla="*/ 12586 w 28585"/>
                <a:gd name="connsiteY11" fmla="*/ 3606 h 11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585" h="11923">
                  <a:moveTo>
                    <a:pt x="12586" y="3606"/>
                  </a:moveTo>
                  <a:lnTo>
                    <a:pt x="9157" y="0"/>
                  </a:lnTo>
                  <a:lnTo>
                    <a:pt x="6300" y="625"/>
                  </a:lnTo>
                  <a:lnTo>
                    <a:pt x="3157" y="1202"/>
                  </a:lnTo>
                  <a:lnTo>
                    <a:pt x="157" y="2596"/>
                  </a:lnTo>
                  <a:cubicBezTo>
                    <a:pt x="572" y="3544"/>
                    <a:pt x="-299" y="6223"/>
                    <a:pt x="116" y="7171"/>
                  </a:cubicBezTo>
                  <a:lnTo>
                    <a:pt x="8299" y="7068"/>
                  </a:lnTo>
                  <a:lnTo>
                    <a:pt x="18973" y="7363"/>
                  </a:lnTo>
                  <a:cubicBezTo>
                    <a:pt x="21759" y="8172"/>
                    <a:pt x="23413" y="11267"/>
                    <a:pt x="25015" y="11923"/>
                  </a:cubicBezTo>
                  <a:lnTo>
                    <a:pt x="28585" y="11298"/>
                  </a:lnTo>
                  <a:lnTo>
                    <a:pt x="20014" y="4519"/>
                  </a:lnTo>
                  <a:lnTo>
                    <a:pt x="12586" y="3606"/>
                  </a:ln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sp>
          <p:nvSpPr>
            <p:cNvPr id="282" name="DJ"/>
            <p:cNvSpPr>
              <a:spLocks/>
            </p:cNvSpPr>
            <p:nvPr/>
          </p:nvSpPr>
          <p:spPr bwMode="auto">
            <a:xfrm>
              <a:off x="5313582" y="4112466"/>
              <a:ext cx="41149" cy="51302"/>
            </a:xfrm>
            <a:custGeom>
              <a:avLst/>
              <a:gdLst>
                <a:gd name="T0" fmla="*/ 2147483647 w 43"/>
                <a:gd name="T1" fmla="*/ 2147483647 h 70"/>
                <a:gd name="T2" fmla="*/ 2147483647 w 43"/>
                <a:gd name="T3" fmla="*/ 2147483647 h 70"/>
                <a:gd name="T4" fmla="*/ 2147483647 w 43"/>
                <a:gd name="T5" fmla="*/ 2147483647 h 70"/>
                <a:gd name="T6" fmla="*/ 2147483647 w 43"/>
                <a:gd name="T7" fmla="*/ 2147483647 h 70"/>
                <a:gd name="T8" fmla="*/ 2147483647 w 43"/>
                <a:gd name="T9" fmla="*/ 2147483647 h 70"/>
                <a:gd name="T10" fmla="*/ 2147483647 w 43"/>
                <a:gd name="T11" fmla="*/ 2147483647 h 70"/>
                <a:gd name="T12" fmla="*/ 2147483647 w 43"/>
                <a:gd name="T13" fmla="*/ 2147483647 h 70"/>
                <a:gd name="T14" fmla="*/ 2147483647 w 43"/>
                <a:gd name="T15" fmla="*/ 2147483647 h 70"/>
                <a:gd name="T16" fmla="*/ 2147483647 w 43"/>
                <a:gd name="T17" fmla="*/ 2147483647 h 70"/>
                <a:gd name="T18" fmla="*/ 2147483647 w 43"/>
                <a:gd name="T19" fmla="*/ 2147483647 h 70"/>
                <a:gd name="T20" fmla="*/ 2147483647 w 43"/>
                <a:gd name="T21" fmla="*/ 2147483647 h 70"/>
                <a:gd name="T22" fmla="*/ 2147483647 w 43"/>
                <a:gd name="T23" fmla="*/ 2147483647 h 70"/>
                <a:gd name="T24" fmla="*/ 2147483647 w 43"/>
                <a:gd name="T25" fmla="*/ 2147483647 h 70"/>
                <a:gd name="T26" fmla="*/ 2147483647 w 43"/>
                <a:gd name="T27" fmla="*/ 2147483647 h 70"/>
                <a:gd name="T28" fmla="*/ 2147483647 w 43"/>
                <a:gd name="T29" fmla="*/ 2147483647 h 70"/>
                <a:gd name="T30" fmla="*/ 0 w 43"/>
                <a:gd name="T31" fmla="*/ 2147483647 h 70"/>
                <a:gd name="T32" fmla="*/ 0 w 43"/>
                <a:gd name="T33" fmla="*/ 2147483647 h 70"/>
                <a:gd name="T34" fmla="*/ 2147483647 w 43"/>
                <a:gd name="T35" fmla="*/ 2147483647 h 70"/>
                <a:gd name="T36" fmla="*/ 2147483647 w 43"/>
                <a:gd name="T37" fmla="*/ 2147483647 h 70"/>
                <a:gd name="T38" fmla="*/ 2147483647 w 43"/>
                <a:gd name="T39" fmla="*/ 2147483647 h 70"/>
                <a:gd name="T40" fmla="*/ 2147483647 w 43"/>
                <a:gd name="T41" fmla="*/ 2147483647 h 70"/>
                <a:gd name="T42" fmla="*/ 2147483647 w 43"/>
                <a:gd name="T43" fmla="*/ 2147483647 h 70"/>
                <a:gd name="T44" fmla="*/ 2147483647 w 43"/>
                <a:gd name="T45" fmla="*/ 2147483647 h 70"/>
                <a:gd name="T46" fmla="*/ 2147483647 w 43"/>
                <a:gd name="T47" fmla="*/ 2147483647 h 70"/>
                <a:gd name="T48" fmla="*/ 2147483647 w 43"/>
                <a:gd name="T49" fmla="*/ 2147483647 h 70"/>
                <a:gd name="T50" fmla="*/ 2147483647 w 43"/>
                <a:gd name="T51" fmla="*/ 2147483647 h 70"/>
                <a:gd name="T52" fmla="*/ 2147483647 w 43"/>
                <a:gd name="T53" fmla="*/ 2147483647 h 70"/>
                <a:gd name="T54" fmla="*/ 2147483647 w 43"/>
                <a:gd name="T55" fmla="*/ 2147483647 h 70"/>
                <a:gd name="T56" fmla="*/ 2147483647 w 43"/>
                <a:gd name="T57" fmla="*/ 2147483647 h 70"/>
                <a:gd name="T58" fmla="*/ 2147483647 w 43"/>
                <a:gd name="T59" fmla="*/ 2147483647 h 70"/>
                <a:gd name="T60" fmla="*/ 2147483647 w 43"/>
                <a:gd name="T61" fmla="*/ 2147483647 h 70"/>
                <a:gd name="T62" fmla="*/ 2147483647 w 43"/>
                <a:gd name="T63" fmla="*/ 2147483647 h 70"/>
                <a:gd name="T64" fmla="*/ 2147483647 w 43"/>
                <a:gd name="T65" fmla="*/ 2147483647 h 70"/>
                <a:gd name="T66" fmla="*/ 2147483647 w 43"/>
                <a:gd name="T67" fmla="*/ 2147483647 h 70"/>
                <a:gd name="T68" fmla="*/ 2147483647 w 43"/>
                <a:gd name="T69" fmla="*/ 2147483647 h 70"/>
                <a:gd name="T70" fmla="*/ 2147483647 w 43"/>
                <a:gd name="T71" fmla="*/ 2147483647 h 70"/>
                <a:gd name="T72" fmla="*/ 2147483647 w 43"/>
                <a:gd name="T73" fmla="*/ 2147483647 h 70"/>
                <a:gd name="T74" fmla="*/ 2147483647 w 43"/>
                <a:gd name="T75" fmla="*/ 2147483647 h 70"/>
                <a:gd name="T76" fmla="*/ 2147483647 w 43"/>
                <a:gd name="T77" fmla="*/ 2147483647 h 70"/>
                <a:gd name="T78" fmla="*/ 2147483647 w 43"/>
                <a:gd name="T79" fmla="*/ 2147483647 h 70"/>
                <a:gd name="T80" fmla="*/ 2147483647 w 43"/>
                <a:gd name="T81" fmla="*/ 2147483647 h 70"/>
                <a:gd name="T82" fmla="*/ 2147483647 w 43"/>
                <a:gd name="T83" fmla="*/ 2147483647 h 70"/>
                <a:gd name="T84" fmla="*/ 2147483647 w 43"/>
                <a:gd name="T85" fmla="*/ 2147483647 h 70"/>
                <a:gd name="T86" fmla="*/ 2147483647 w 43"/>
                <a:gd name="T87" fmla="*/ 2147483647 h 70"/>
                <a:gd name="T88" fmla="*/ 2147483647 w 43"/>
                <a:gd name="T89" fmla="*/ 2147483647 h 70"/>
                <a:gd name="T90" fmla="*/ 2147483647 w 43"/>
                <a:gd name="T91" fmla="*/ 2147483647 h 70"/>
                <a:gd name="T92" fmla="*/ 2147483647 w 43"/>
                <a:gd name="T93" fmla="*/ 2147483647 h 70"/>
                <a:gd name="T94" fmla="*/ 2147483647 w 43"/>
                <a:gd name="T95" fmla="*/ 2147483647 h 70"/>
                <a:gd name="T96" fmla="*/ 2147483647 w 43"/>
                <a:gd name="T97" fmla="*/ 2147483647 h 70"/>
                <a:gd name="T98" fmla="*/ 2147483647 w 43"/>
                <a:gd name="T99" fmla="*/ 2147483647 h 70"/>
                <a:gd name="T100" fmla="*/ 2147483647 w 43"/>
                <a:gd name="T101" fmla="*/ 2147483647 h 70"/>
                <a:gd name="T102" fmla="*/ 2147483647 w 43"/>
                <a:gd name="T103" fmla="*/ 2147483647 h 70"/>
                <a:gd name="T104" fmla="*/ 2147483647 w 43"/>
                <a:gd name="T105" fmla="*/ 2147483647 h 70"/>
                <a:gd name="T106" fmla="*/ 2147483647 w 43"/>
                <a:gd name="T107" fmla="*/ 2147483647 h 70"/>
                <a:gd name="T108" fmla="*/ 2147483647 w 43"/>
                <a:gd name="T109" fmla="*/ 2147483647 h 70"/>
                <a:gd name="T110" fmla="*/ 2147483647 w 43"/>
                <a:gd name="T111" fmla="*/ 0 h 70"/>
                <a:gd name="T112" fmla="*/ 2147483647 w 43"/>
                <a:gd name="T113" fmla="*/ 0 h 70"/>
                <a:gd name="T114" fmla="*/ 2147483647 w 43"/>
                <a:gd name="T115" fmla="*/ 2147483647 h 70"/>
                <a:gd name="T116" fmla="*/ 2147483647 w 43"/>
                <a:gd name="T117" fmla="*/ 0 h 70"/>
                <a:gd name="T118" fmla="*/ 2147483647 w 43"/>
                <a:gd name="T119" fmla="*/ 2147483647 h 70"/>
                <a:gd name="T120" fmla="*/ 2147483647 w 43"/>
                <a:gd name="T121" fmla="*/ 2147483647 h 7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connsiteX0" fmla="*/ 6279 w 10000"/>
                <a:gd name="connsiteY0" fmla="*/ 857 h 10000"/>
                <a:gd name="connsiteX1" fmla="*/ 5349 w 10000"/>
                <a:gd name="connsiteY1" fmla="*/ 1857 h 10000"/>
                <a:gd name="connsiteX2" fmla="*/ 4884 w 10000"/>
                <a:gd name="connsiteY2" fmla="*/ 2857 h 10000"/>
                <a:gd name="connsiteX3" fmla="*/ 5116 w 10000"/>
                <a:gd name="connsiteY3" fmla="*/ 3714 h 10000"/>
                <a:gd name="connsiteX4" fmla="*/ 5814 w 10000"/>
                <a:gd name="connsiteY4" fmla="*/ 5429 h 10000"/>
                <a:gd name="connsiteX5" fmla="*/ 5116 w 10000"/>
                <a:gd name="connsiteY5" fmla="*/ 5571 h 10000"/>
                <a:gd name="connsiteX6" fmla="*/ 4884 w 10000"/>
                <a:gd name="connsiteY6" fmla="*/ 6429 h 10000"/>
                <a:gd name="connsiteX7" fmla="*/ 4651 w 10000"/>
                <a:gd name="connsiteY7" fmla="*/ 6857 h 10000"/>
                <a:gd name="connsiteX8" fmla="*/ 5349 w 10000"/>
                <a:gd name="connsiteY8" fmla="*/ 7429 h 10000"/>
                <a:gd name="connsiteX9" fmla="*/ 5349 w 10000"/>
                <a:gd name="connsiteY9" fmla="*/ 7714 h 10000"/>
                <a:gd name="connsiteX10" fmla="*/ 3953 w 10000"/>
                <a:gd name="connsiteY10" fmla="*/ 7286 h 10000"/>
                <a:gd name="connsiteX11" fmla="*/ 2558 w 10000"/>
                <a:gd name="connsiteY11" fmla="*/ 6857 h 10000"/>
                <a:gd name="connsiteX12" fmla="*/ 1395 w 10000"/>
                <a:gd name="connsiteY12" fmla="*/ 6857 h 10000"/>
                <a:gd name="connsiteX13" fmla="*/ 1395 w 10000"/>
                <a:gd name="connsiteY13" fmla="*/ 7429 h 10000"/>
                <a:gd name="connsiteX14" fmla="*/ 0 w 10000"/>
                <a:gd name="connsiteY14" fmla="*/ 7571 h 10000"/>
                <a:gd name="connsiteX15" fmla="*/ 0 w 10000"/>
                <a:gd name="connsiteY15" fmla="*/ 9143 h 10000"/>
                <a:gd name="connsiteX16" fmla="*/ 465 w 10000"/>
                <a:gd name="connsiteY16" fmla="*/ 9714 h 10000"/>
                <a:gd name="connsiteX17" fmla="*/ 1395 w 10000"/>
                <a:gd name="connsiteY17" fmla="*/ 9714 h 10000"/>
                <a:gd name="connsiteX18" fmla="*/ 1860 w 10000"/>
                <a:gd name="connsiteY18" fmla="*/ 9857 h 10000"/>
                <a:gd name="connsiteX19" fmla="*/ 1628 w 10000"/>
                <a:gd name="connsiteY19" fmla="*/ 9857 h 10000"/>
                <a:gd name="connsiteX20" fmla="*/ 2093 w 10000"/>
                <a:gd name="connsiteY20" fmla="*/ 10000 h 10000"/>
                <a:gd name="connsiteX21" fmla="*/ 2558 w 10000"/>
                <a:gd name="connsiteY21" fmla="*/ 9857 h 10000"/>
                <a:gd name="connsiteX22" fmla="*/ 3488 w 10000"/>
                <a:gd name="connsiteY22" fmla="*/ 10000 h 10000"/>
                <a:gd name="connsiteX23" fmla="*/ 4186 w 10000"/>
                <a:gd name="connsiteY23" fmla="*/ 9571 h 10000"/>
                <a:gd name="connsiteX24" fmla="*/ 5116 w 10000"/>
                <a:gd name="connsiteY24" fmla="*/ 9000 h 10000"/>
                <a:gd name="connsiteX25" fmla="*/ 5814 w 10000"/>
                <a:gd name="connsiteY25" fmla="*/ 8857 h 10000"/>
                <a:gd name="connsiteX26" fmla="*/ 5581 w 10000"/>
                <a:gd name="connsiteY26" fmla="*/ 8857 h 10000"/>
                <a:gd name="connsiteX27" fmla="*/ 5581 w 10000"/>
                <a:gd name="connsiteY27" fmla="*/ 8714 h 10000"/>
                <a:gd name="connsiteX28" fmla="*/ 7674 w 10000"/>
                <a:gd name="connsiteY28" fmla="*/ 8143 h 10000"/>
                <a:gd name="connsiteX29" fmla="*/ 8605 w 10000"/>
                <a:gd name="connsiteY29" fmla="*/ 8429 h 10000"/>
                <a:gd name="connsiteX30" fmla="*/ 9070 w 10000"/>
                <a:gd name="connsiteY30" fmla="*/ 8857 h 10000"/>
                <a:gd name="connsiteX31" fmla="*/ 9302 w 10000"/>
                <a:gd name="connsiteY31" fmla="*/ 9143 h 10000"/>
                <a:gd name="connsiteX32" fmla="*/ 10000 w 10000"/>
                <a:gd name="connsiteY32" fmla="*/ 8857 h 10000"/>
                <a:gd name="connsiteX33" fmla="*/ 10000 w 10000"/>
                <a:gd name="connsiteY33" fmla="*/ 8429 h 10000"/>
                <a:gd name="connsiteX34" fmla="*/ 9302 w 10000"/>
                <a:gd name="connsiteY34" fmla="*/ 7714 h 10000"/>
                <a:gd name="connsiteX35" fmla="*/ 9302 w 10000"/>
                <a:gd name="connsiteY35" fmla="*/ 7000 h 10000"/>
                <a:gd name="connsiteX36" fmla="*/ 9535 w 10000"/>
                <a:gd name="connsiteY36" fmla="*/ 7000 h 10000"/>
                <a:gd name="connsiteX37" fmla="*/ 9070 w 10000"/>
                <a:gd name="connsiteY37" fmla="*/ 6286 h 10000"/>
                <a:gd name="connsiteX38" fmla="*/ 8837 w 10000"/>
                <a:gd name="connsiteY38" fmla="*/ 6000 h 10000"/>
                <a:gd name="connsiteX39" fmla="*/ 7674 w 10000"/>
                <a:gd name="connsiteY39" fmla="*/ 5857 h 10000"/>
                <a:gd name="connsiteX40" fmla="*/ 6512 w 10000"/>
                <a:gd name="connsiteY40" fmla="*/ 5571 h 10000"/>
                <a:gd name="connsiteX41" fmla="*/ 6047 w 10000"/>
                <a:gd name="connsiteY41" fmla="*/ 4857 h 10000"/>
                <a:gd name="connsiteX42" fmla="*/ 5581 w 10000"/>
                <a:gd name="connsiteY42" fmla="*/ 3714 h 10000"/>
                <a:gd name="connsiteX43" fmla="*/ 6047 w 10000"/>
                <a:gd name="connsiteY43" fmla="*/ 3286 h 10000"/>
                <a:gd name="connsiteX44" fmla="*/ 5814 w 10000"/>
                <a:gd name="connsiteY44" fmla="*/ 2286 h 10000"/>
                <a:gd name="connsiteX45" fmla="*/ 6977 w 10000"/>
                <a:gd name="connsiteY45" fmla="*/ 2286 h 10000"/>
                <a:gd name="connsiteX46" fmla="*/ 7442 w 10000"/>
                <a:gd name="connsiteY46" fmla="*/ 2857 h 10000"/>
                <a:gd name="connsiteX47" fmla="*/ 8372 w 10000"/>
                <a:gd name="connsiteY47" fmla="*/ 2857 h 10000"/>
                <a:gd name="connsiteX48" fmla="*/ 8372 w 10000"/>
                <a:gd name="connsiteY48" fmla="*/ 2429 h 10000"/>
                <a:gd name="connsiteX49" fmla="*/ 8605 w 10000"/>
                <a:gd name="connsiteY49" fmla="*/ 2143 h 10000"/>
                <a:gd name="connsiteX50" fmla="*/ 8837 w 10000"/>
                <a:gd name="connsiteY50" fmla="*/ 2286 h 10000"/>
                <a:gd name="connsiteX51" fmla="*/ 8605 w 10000"/>
                <a:gd name="connsiteY51" fmla="*/ 1429 h 10000"/>
                <a:gd name="connsiteX52" fmla="*/ 9070 w 10000"/>
                <a:gd name="connsiteY52" fmla="*/ 857 h 10000"/>
                <a:gd name="connsiteX53" fmla="*/ 9070 w 10000"/>
                <a:gd name="connsiteY53" fmla="*/ 286 h 10000"/>
                <a:gd name="connsiteX54" fmla="*/ 8605 w 10000"/>
                <a:gd name="connsiteY54" fmla="*/ 0 h 10000"/>
                <a:gd name="connsiteX55" fmla="*/ 8140 w 10000"/>
                <a:gd name="connsiteY55" fmla="*/ 0 h 10000"/>
                <a:gd name="connsiteX56" fmla="*/ 6512 w 10000"/>
                <a:gd name="connsiteY56" fmla="*/ 143 h 10000"/>
                <a:gd name="connsiteX57" fmla="*/ 6279 w 10000"/>
                <a:gd name="connsiteY57" fmla="*/ 0 h 10000"/>
                <a:gd name="connsiteX58" fmla="*/ 6279 w 10000"/>
                <a:gd name="connsiteY58" fmla="*/ 714 h 10000"/>
                <a:gd name="connsiteX59" fmla="*/ 6279 w 10000"/>
                <a:gd name="connsiteY59" fmla="*/ 857 h 10000"/>
                <a:gd name="connsiteX0" fmla="*/ 6279 w 10000"/>
                <a:gd name="connsiteY0" fmla="*/ 857 h 10000"/>
                <a:gd name="connsiteX1" fmla="*/ 5349 w 10000"/>
                <a:gd name="connsiteY1" fmla="*/ 1857 h 10000"/>
                <a:gd name="connsiteX2" fmla="*/ 4884 w 10000"/>
                <a:gd name="connsiteY2" fmla="*/ 2857 h 10000"/>
                <a:gd name="connsiteX3" fmla="*/ 5116 w 10000"/>
                <a:gd name="connsiteY3" fmla="*/ 3714 h 10000"/>
                <a:gd name="connsiteX4" fmla="*/ 5116 w 10000"/>
                <a:gd name="connsiteY4" fmla="*/ 5571 h 10000"/>
                <a:gd name="connsiteX5" fmla="*/ 4884 w 10000"/>
                <a:gd name="connsiteY5" fmla="*/ 6429 h 10000"/>
                <a:gd name="connsiteX6" fmla="*/ 4651 w 10000"/>
                <a:gd name="connsiteY6" fmla="*/ 6857 h 10000"/>
                <a:gd name="connsiteX7" fmla="*/ 5349 w 10000"/>
                <a:gd name="connsiteY7" fmla="*/ 7429 h 10000"/>
                <a:gd name="connsiteX8" fmla="*/ 5349 w 10000"/>
                <a:gd name="connsiteY8" fmla="*/ 7714 h 10000"/>
                <a:gd name="connsiteX9" fmla="*/ 3953 w 10000"/>
                <a:gd name="connsiteY9" fmla="*/ 7286 h 10000"/>
                <a:gd name="connsiteX10" fmla="*/ 2558 w 10000"/>
                <a:gd name="connsiteY10" fmla="*/ 6857 h 10000"/>
                <a:gd name="connsiteX11" fmla="*/ 1395 w 10000"/>
                <a:gd name="connsiteY11" fmla="*/ 6857 h 10000"/>
                <a:gd name="connsiteX12" fmla="*/ 1395 w 10000"/>
                <a:gd name="connsiteY12" fmla="*/ 7429 h 10000"/>
                <a:gd name="connsiteX13" fmla="*/ 0 w 10000"/>
                <a:gd name="connsiteY13" fmla="*/ 7571 h 10000"/>
                <a:gd name="connsiteX14" fmla="*/ 0 w 10000"/>
                <a:gd name="connsiteY14" fmla="*/ 9143 h 10000"/>
                <a:gd name="connsiteX15" fmla="*/ 465 w 10000"/>
                <a:gd name="connsiteY15" fmla="*/ 9714 h 10000"/>
                <a:gd name="connsiteX16" fmla="*/ 1395 w 10000"/>
                <a:gd name="connsiteY16" fmla="*/ 9714 h 10000"/>
                <a:gd name="connsiteX17" fmla="*/ 1860 w 10000"/>
                <a:gd name="connsiteY17" fmla="*/ 9857 h 10000"/>
                <a:gd name="connsiteX18" fmla="*/ 1628 w 10000"/>
                <a:gd name="connsiteY18" fmla="*/ 9857 h 10000"/>
                <a:gd name="connsiteX19" fmla="*/ 2093 w 10000"/>
                <a:gd name="connsiteY19" fmla="*/ 10000 h 10000"/>
                <a:gd name="connsiteX20" fmla="*/ 2558 w 10000"/>
                <a:gd name="connsiteY20" fmla="*/ 9857 h 10000"/>
                <a:gd name="connsiteX21" fmla="*/ 3488 w 10000"/>
                <a:gd name="connsiteY21" fmla="*/ 10000 h 10000"/>
                <a:gd name="connsiteX22" fmla="*/ 4186 w 10000"/>
                <a:gd name="connsiteY22" fmla="*/ 9571 h 10000"/>
                <a:gd name="connsiteX23" fmla="*/ 5116 w 10000"/>
                <a:gd name="connsiteY23" fmla="*/ 9000 h 10000"/>
                <a:gd name="connsiteX24" fmla="*/ 5814 w 10000"/>
                <a:gd name="connsiteY24" fmla="*/ 8857 h 10000"/>
                <a:gd name="connsiteX25" fmla="*/ 5581 w 10000"/>
                <a:gd name="connsiteY25" fmla="*/ 8857 h 10000"/>
                <a:gd name="connsiteX26" fmla="*/ 5581 w 10000"/>
                <a:gd name="connsiteY26" fmla="*/ 8714 h 10000"/>
                <a:gd name="connsiteX27" fmla="*/ 7674 w 10000"/>
                <a:gd name="connsiteY27" fmla="*/ 8143 h 10000"/>
                <a:gd name="connsiteX28" fmla="*/ 8605 w 10000"/>
                <a:gd name="connsiteY28" fmla="*/ 8429 h 10000"/>
                <a:gd name="connsiteX29" fmla="*/ 9070 w 10000"/>
                <a:gd name="connsiteY29" fmla="*/ 8857 h 10000"/>
                <a:gd name="connsiteX30" fmla="*/ 9302 w 10000"/>
                <a:gd name="connsiteY30" fmla="*/ 9143 h 10000"/>
                <a:gd name="connsiteX31" fmla="*/ 10000 w 10000"/>
                <a:gd name="connsiteY31" fmla="*/ 8857 h 10000"/>
                <a:gd name="connsiteX32" fmla="*/ 10000 w 10000"/>
                <a:gd name="connsiteY32" fmla="*/ 8429 h 10000"/>
                <a:gd name="connsiteX33" fmla="*/ 9302 w 10000"/>
                <a:gd name="connsiteY33" fmla="*/ 7714 h 10000"/>
                <a:gd name="connsiteX34" fmla="*/ 9302 w 10000"/>
                <a:gd name="connsiteY34" fmla="*/ 7000 h 10000"/>
                <a:gd name="connsiteX35" fmla="*/ 9535 w 10000"/>
                <a:gd name="connsiteY35" fmla="*/ 7000 h 10000"/>
                <a:gd name="connsiteX36" fmla="*/ 9070 w 10000"/>
                <a:gd name="connsiteY36" fmla="*/ 6286 h 10000"/>
                <a:gd name="connsiteX37" fmla="*/ 8837 w 10000"/>
                <a:gd name="connsiteY37" fmla="*/ 6000 h 10000"/>
                <a:gd name="connsiteX38" fmla="*/ 7674 w 10000"/>
                <a:gd name="connsiteY38" fmla="*/ 5857 h 10000"/>
                <a:gd name="connsiteX39" fmla="*/ 6512 w 10000"/>
                <a:gd name="connsiteY39" fmla="*/ 5571 h 10000"/>
                <a:gd name="connsiteX40" fmla="*/ 6047 w 10000"/>
                <a:gd name="connsiteY40" fmla="*/ 4857 h 10000"/>
                <a:gd name="connsiteX41" fmla="*/ 5581 w 10000"/>
                <a:gd name="connsiteY41" fmla="*/ 3714 h 10000"/>
                <a:gd name="connsiteX42" fmla="*/ 6047 w 10000"/>
                <a:gd name="connsiteY42" fmla="*/ 3286 h 10000"/>
                <a:gd name="connsiteX43" fmla="*/ 5814 w 10000"/>
                <a:gd name="connsiteY43" fmla="*/ 2286 h 10000"/>
                <a:gd name="connsiteX44" fmla="*/ 6977 w 10000"/>
                <a:gd name="connsiteY44" fmla="*/ 2286 h 10000"/>
                <a:gd name="connsiteX45" fmla="*/ 7442 w 10000"/>
                <a:gd name="connsiteY45" fmla="*/ 2857 h 10000"/>
                <a:gd name="connsiteX46" fmla="*/ 8372 w 10000"/>
                <a:gd name="connsiteY46" fmla="*/ 2857 h 10000"/>
                <a:gd name="connsiteX47" fmla="*/ 8372 w 10000"/>
                <a:gd name="connsiteY47" fmla="*/ 2429 h 10000"/>
                <a:gd name="connsiteX48" fmla="*/ 8605 w 10000"/>
                <a:gd name="connsiteY48" fmla="*/ 2143 h 10000"/>
                <a:gd name="connsiteX49" fmla="*/ 8837 w 10000"/>
                <a:gd name="connsiteY49" fmla="*/ 2286 h 10000"/>
                <a:gd name="connsiteX50" fmla="*/ 8605 w 10000"/>
                <a:gd name="connsiteY50" fmla="*/ 1429 h 10000"/>
                <a:gd name="connsiteX51" fmla="*/ 9070 w 10000"/>
                <a:gd name="connsiteY51" fmla="*/ 857 h 10000"/>
                <a:gd name="connsiteX52" fmla="*/ 9070 w 10000"/>
                <a:gd name="connsiteY52" fmla="*/ 286 h 10000"/>
                <a:gd name="connsiteX53" fmla="*/ 8605 w 10000"/>
                <a:gd name="connsiteY53" fmla="*/ 0 h 10000"/>
                <a:gd name="connsiteX54" fmla="*/ 8140 w 10000"/>
                <a:gd name="connsiteY54" fmla="*/ 0 h 10000"/>
                <a:gd name="connsiteX55" fmla="*/ 6512 w 10000"/>
                <a:gd name="connsiteY55" fmla="*/ 143 h 10000"/>
                <a:gd name="connsiteX56" fmla="*/ 6279 w 10000"/>
                <a:gd name="connsiteY56" fmla="*/ 0 h 10000"/>
                <a:gd name="connsiteX57" fmla="*/ 6279 w 10000"/>
                <a:gd name="connsiteY57" fmla="*/ 714 h 10000"/>
                <a:gd name="connsiteX58" fmla="*/ 6279 w 10000"/>
                <a:gd name="connsiteY58" fmla="*/ 857 h 10000"/>
                <a:gd name="connsiteX0" fmla="*/ 6279 w 10000"/>
                <a:gd name="connsiteY0" fmla="*/ 857 h 10000"/>
                <a:gd name="connsiteX1" fmla="*/ 5349 w 10000"/>
                <a:gd name="connsiteY1" fmla="*/ 1857 h 10000"/>
                <a:gd name="connsiteX2" fmla="*/ 4884 w 10000"/>
                <a:gd name="connsiteY2" fmla="*/ 2857 h 10000"/>
                <a:gd name="connsiteX3" fmla="*/ 5116 w 10000"/>
                <a:gd name="connsiteY3" fmla="*/ 3714 h 10000"/>
                <a:gd name="connsiteX4" fmla="*/ 4884 w 10000"/>
                <a:gd name="connsiteY4" fmla="*/ 6429 h 10000"/>
                <a:gd name="connsiteX5" fmla="*/ 4651 w 10000"/>
                <a:gd name="connsiteY5" fmla="*/ 6857 h 10000"/>
                <a:gd name="connsiteX6" fmla="*/ 5349 w 10000"/>
                <a:gd name="connsiteY6" fmla="*/ 7429 h 10000"/>
                <a:gd name="connsiteX7" fmla="*/ 5349 w 10000"/>
                <a:gd name="connsiteY7" fmla="*/ 7714 h 10000"/>
                <a:gd name="connsiteX8" fmla="*/ 3953 w 10000"/>
                <a:gd name="connsiteY8" fmla="*/ 7286 h 10000"/>
                <a:gd name="connsiteX9" fmla="*/ 2558 w 10000"/>
                <a:gd name="connsiteY9" fmla="*/ 6857 h 10000"/>
                <a:gd name="connsiteX10" fmla="*/ 1395 w 10000"/>
                <a:gd name="connsiteY10" fmla="*/ 6857 h 10000"/>
                <a:gd name="connsiteX11" fmla="*/ 1395 w 10000"/>
                <a:gd name="connsiteY11" fmla="*/ 7429 h 10000"/>
                <a:gd name="connsiteX12" fmla="*/ 0 w 10000"/>
                <a:gd name="connsiteY12" fmla="*/ 7571 h 10000"/>
                <a:gd name="connsiteX13" fmla="*/ 0 w 10000"/>
                <a:gd name="connsiteY13" fmla="*/ 9143 h 10000"/>
                <a:gd name="connsiteX14" fmla="*/ 465 w 10000"/>
                <a:gd name="connsiteY14" fmla="*/ 9714 h 10000"/>
                <a:gd name="connsiteX15" fmla="*/ 1395 w 10000"/>
                <a:gd name="connsiteY15" fmla="*/ 9714 h 10000"/>
                <a:gd name="connsiteX16" fmla="*/ 1860 w 10000"/>
                <a:gd name="connsiteY16" fmla="*/ 9857 h 10000"/>
                <a:gd name="connsiteX17" fmla="*/ 1628 w 10000"/>
                <a:gd name="connsiteY17" fmla="*/ 9857 h 10000"/>
                <a:gd name="connsiteX18" fmla="*/ 2093 w 10000"/>
                <a:gd name="connsiteY18" fmla="*/ 10000 h 10000"/>
                <a:gd name="connsiteX19" fmla="*/ 2558 w 10000"/>
                <a:gd name="connsiteY19" fmla="*/ 9857 h 10000"/>
                <a:gd name="connsiteX20" fmla="*/ 3488 w 10000"/>
                <a:gd name="connsiteY20" fmla="*/ 10000 h 10000"/>
                <a:gd name="connsiteX21" fmla="*/ 4186 w 10000"/>
                <a:gd name="connsiteY21" fmla="*/ 9571 h 10000"/>
                <a:gd name="connsiteX22" fmla="*/ 5116 w 10000"/>
                <a:gd name="connsiteY22" fmla="*/ 9000 h 10000"/>
                <a:gd name="connsiteX23" fmla="*/ 5814 w 10000"/>
                <a:gd name="connsiteY23" fmla="*/ 8857 h 10000"/>
                <a:gd name="connsiteX24" fmla="*/ 5581 w 10000"/>
                <a:gd name="connsiteY24" fmla="*/ 8857 h 10000"/>
                <a:gd name="connsiteX25" fmla="*/ 5581 w 10000"/>
                <a:gd name="connsiteY25" fmla="*/ 8714 h 10000"/>
                <a:gd name="connsiteX26" fmla="*/ 7674 w 10000"/>
                <a:gd name="connsiteY26" fmla="*/ 8143 h 10000"/>
                <a:gd name="connsiteX27" fmla="*/ 8605 w 10000"/>
                <a:gd name="connsiteY27" fmla="*/ 8429 h 10000"/>
                <a:gd name="connsiteX28" fmla="*/ 9070 w 10000"/>
                <a:gd name="connsiteY28" fmla="*/ 8857 h 10000"/>
                <a:gd name="connsiteX29" fmla="*/ 9302 w 10000"/>
                <a:gd name="connsiteY29" fmla="*/ 9143 h 10000"/>
                <a:gd name="connsiteX30" fmla="*/ 10000 w 10000"/>
                <a:gd name="connsiteY30" fmla="*/ 8857 h 10000"/>
                <a:gd name="connsiteX31" fmla="*/ 10000 w 10000"/>
                <a:gd name="connsiteY31" fmla="*/ 8429 h 10000"/>
                <a:gd name="connsiteX32" fmla="*/ 9302 w 10000"/>
                <a:gd name="connsiteY32" fmla="*/ 7714 h 10000"/>
                <a:gd name="connsiteX33" fmla="*/ 9302 w 10000"/>
                <a:gd name="connsiteY33" fmla="*/ 7000 h 10000"/>
                <a:gd name="connsiteX34" fmla="*/ 9535 w 10000"/>
                <a:gd name="connsiteY34" fmla="*/ 7000 h 10000"/>
                <a:gd name="connsiteX35" fmla="*/ 9070 w 10000"/>
                <a:gd name="connsiteY35" fmla="*/ 6286 h 10000"/>
                <a:gd name="connsiteX36" fmla="*/ 8837 w 10000"/>
                <a:gd name="connsiteY36" fmla="*/ 6000 h 10000"/>
                <a:gd name="connsiteX37" fmla="*/ 7674 w 10000"/>
                <a:gd name="connsiteY37" fmla="*/ 5857 h 10000"/>
                <a:gd name="connsiteX38" fmla="*/ 6512 w 10000"/>
                <a:gd name="connsiteY38" fmla="*/ 5571 h 10000"/>
                <a:gd name="connsiteX39" fmla="*/ 6047 w 10000"/>
                <a:gd name="connsiteY39" fmla="*/ 4857 h 10000"/>
                <a:gd name="connsiteX40" fmla="*/ 5581 w 10000"/>
                <a:gd name="connsiteY40" fmla="*/ 3714 h 10000"/>
                <a:gd name="connsiteX41" fmla="*/ 6047 w 10000"/>
                <a:gd name="connsiteY41" fmla="*/ 3286 h 10000"/>
                <a:gd name="connsiteX42" fmla="*/ 5814 w 10000"/>
                <a:gd name="connsiteY42" fmla="*/ 2286 h 10000"/>
                <a:gd name="connsiteX43" fmla="*/ 6977 w 10000"/>
                <a:gd name="connsiteY43" fmla="*/ 2286 h 10000"/>
                <a:gd name="connsiteX44" fmla="*/ 7442 w 10000"/>
                <a:gd name="connsiteY44" fmla="*/ 2857 h 10000"/>
                <a:gd name="connsiteX45" fmla="*/ 8372 w 10000"/>
                <a:gd name="connsiteY45" fmla="*/ 2857 h 10000"/>
                <a:gd name="connsiteX46" fmla="*/ 8372 w 10000"/>
                <a:gd name="connsiteY46" fmla="*/ 2429 h 10000"/>
                <a:gd name="connsiteX47" fmla="*/ 8605 w 10000"/>
                <a:gd name="connsiteY47" fmla="*/ 2143 h 10000"/>
                <a:gd name="connsiteX48" fmla="*/ 8837 w 10000"/>
                <a:gd name="connsiteY48" fmla="*/ 2286 h 10000"/>
                <a:gd name="connsiteX49" fmla="*/ 8605 w 10000"/>
                <a:gd name="connsiteY49" fmla="*/ 1429 h 10000"/>
                <a:gd name="connsiteX50" fmla="*/ 9070 w 10000"/>
                <a:gd name="connsiteY50" fmla="*/ 857 h 10000"/>
                <a:gd name="connsiteX51" fmla="*/ 9070 w 10000"/>
                <a:gd name="connsiteY51" fmla="*/ 286 h 10000"/>
                <a:gd name="connsiteX52" fmla="*/ 8605 w 10000"/>
                <a:gd name="connsiteY52" fmla="*/ 0 h 10000"/>
                <a:gd name="connsiteX53" fmla="*/ 8140 w 10000"/>
                <a:gd name="connsiteY53" fmla="*/ 0 h 10000"/>
                <a:gd name="connsiteX54" fmla="*/ 6512 w 10000"/>
                <a:gd name="connsiteY54" fmla="*/ 143 h 10000"/>
                <a:gd name="connsiteX55" fmla="*/ 6279 w 10000"/>
                <a:gd name="connsiteY55" fmla="*/ 0 h 10000"/>
                <a:gd name="connsiteX56" fmla="*/ 6279 w 10000"/>
                <a:gd name="connsiteY56" fmla="*/ 714 h 10000"/>
                <a:gd name="connsiteX57" fmla="*/ 6279 w 10000"/>
                <a:gd name="connsiteY57" fmla="*/ 857 h 10000"/>
                <a:gd name="connsiteX0" fmla="*/ 6279 w 10000"/>
                <a:gd name="connsiteY0" fmla="*/ 857 h 10000"/>
                <a:gd name="connsiteX1" fmla="*/ 5349 w 10000"/>
                <a:gd name="connsiteY1" fmla="*/ 1857 h 10000"/>
                <a:gd name="connsiteX2" fmla="*/ 4884 w 10000"/>
                <a:gd name="connsiteY2" fmla="*/ 2857 h 10000"/>
                <a:gd name="connsiteX3" fmla="*/ 5116 w 10000"/>
                <a:gd name="connsiteY3" fmla="*/ 3714 h 10000"/>
                <a:gd name="connsiteX4" fmla="*/ 4651 w 10000"/>
                <a:gd name="connsiteY4" fmla="*/ 6857 h 10000"/>
                <a:gd name="connsiteX5" fmla="*/ 5349 w 10000"/>
                <a:gd name="connsiteY5" fmla="*/ 7429 h 10000"/>
                <a:gd name="connsiteX6" fmla="*/ 5349 w 10000"/>
                <a:gd name="connsiteY6" fmla="*/ 7714 h 10000"/>
                <a:gd name="connsiteX7" fmla="*/ 3953 w 10000"/>
                <a:gd name="connsiteY7" fmla="*/ 7286 h 10000"/>
                <a:gd name="connsiteX8" fmla="*/ 2558 w 10000"/>
                <a:gd name="connsiteY8" fmla="*/ 6857 h 10000"/>
                <a:gd name="connsiteX9" fmla="*/ 1395 w 10000"/>
                <a:gd name="connsiteY9" fmla="*/ 6857 h 10000"/>
                <a:gd name="connsiteX10" fmla="*/ 1395 w 10000"/>
                <a:gd name="connsiteY10" fmla="*/ 7429 h 10000"/>
                <a:gd name="connsiteX11" fmla="*/ 0 w 10000"/>
                <a:gd name="connsiteY11" fmla="*/ 7571 h 10000"/>
                <a:gd name="connsiteX12" fmla="*/ 0 w 10000"/>
                <a:gd name="connsiteY12" fmla="*/ 9143 h 10000"/>
                <a:gd name="connsiteX13" fmla="*/ 465 w 10000"/>
                <a:gd name="connsiteY13" fmla="*/ 9714 h 10000"/>
                <a:gd name="connsiteX14" fmla="*/ 1395 w 10000"/>
                <a:gd name="connsiteY14" fmla="*/ 9714 h 10000"/>
                <a:gd name="connsiteX15" fmla="*/ 1860 w 10000"/>
                <a:gd name="connsiteY15" fmla="*/ 9857 h 10000"/>
                <a:gd name="connsiteX16" fmla="*/ 1628 w 10000"/>
                <a:gd name="connsiteY16" fmla="*/ 9857 h 10000"/>
                <a:gd name="connsiteX17" fmla="*/ 2093 w 10000"/>
                <a:gd name="connsiteY17" fmla="*/ 10000 h 10000"/>
                <a:gd name="connsiteX18" fmla="*/ 2558 w 10000"/>
                <a:gd name="connsiteY18" fmla="*/ 9857 h 10000"/>
                <a:gd name="connsiteX19" fmla="*/ 3488 w 10000"/>
                <a:gd name="connsiteY19" fmla="*/ 10000 h 10000"/>
                <a:gd name="connsiteX20" fmla="*/ 4186 w 10000"/>
                <a:gd name="connsiteY20" fmla="*/ 9571 h 10000"/>
                <a:gd name="connsiteX21" fmla="*/ 5116 w 10000"/>
                <a:gd name="connsiteY21" fmla="*/ 9000 h 10000"/>
                <a:gd name="connsiteX22" fmla="*/ 5814 w 10000"/>
                <a:gd name="connsiteY22" fmla="*/ 8857 h 10000"/>
                <a:gd name="connsiteX23" fmla="*/ 5581 w 10000"/>
                <a:gd name="connsiteY23" fmla="*/ 8857 h 10000"/>
                <a:gd name="connsiteX24" fmla="*/ 5581 w 10000"/>
                <a:gd name="connsiteY24" fmla="*/ 8714 h 10000"/>
                <a:gd name="connsiteX25" fmla="*/ 7674 w 10000"/>
                <a:gd name="connsiteY25" fmla="*/ 8143 h 10000"/>
                <a:gd name="connsiteX26" fmla="*/ 8605 w 10000"/>
                <a:gd name="connsiteY26" fmla="*/ 8429 h 10000"/>
                <a:gd name="connsiteX27" fmla="*/ 9070 w 10000"/>
                <a:gd name="connsiteY27" fmla="*/ 8857 h 10000"/>
                <a:gd name="connsiteX28" fmla="*/ 9302 w 10000"/>
                <a:gd name="connsiteY28" fmla="*/ 9143 h 10000"/>
                <a:gd name="connsiteX29" fmla="*/ 10000 w 10000"/>
                <a:gd name="connsiteY29" fmla="*/ 8857 h 10000"/>
                <a:gd name="connsiteX30" fmla="*/ 10000 w 10000"/>
                <a:gd name="connsiteY30" fmla="*/ 8429 h 10000"/>
                <a:gd name="connsiteX31" fmla="*/ 9302 w 10000"/>
                <a:gd name="connsiteY31" fmla="*/ 7714 h 10000"/>
                <a:gd name="connsiteX32" fmla="*/ 9302 w 10000"/>
                <a:gd name="connsiteY32" fmla="*/ 7000 h 10000"/>
                <a:gd name="connsiteX33" fmla="*/ 9535 w 10000"/>
                <a:gd name="connsiteY33" fmla="*/ 7000 h 10000"/>
                <a:gd name="connsiteX34" fmla="*/ 9070 w 10000"/>
                <a:gd name="connsiteY34" fmla="*/ 6286 h 10000"/>
                <a:gd name="connsiteX35" fmla="*/ 8837 w 10000"/>
                <a:gd name="connsiteY35" fmla="*/ 6000 h 10000"/>
                <a:gd name="connsiteX36" fmla="*/ 7674 w 10000"/>
                <a:gd name="connsiteY36" fmla="*/ 5857 h 10000"/>
                <a:gd name="connsiteX37" fmla="*/ 6512 w 10000"/>
                <a:gd name="connsiteY37" fmla="*/ 5571 h 10000"/>
                <a:gd name="connsiteX38" fmla="*/ 6047 w 10000"/>
                <a:gd name="connsiteY38" fmla="*/ 4857 h 10000"/>
                <a:gd name="connsiteX39" fmla="*/ 5581 w 10000"/>
                <a:gd name="connsiteY39" fmla="*/ 3714 h 10000"/>
                <a:gd name="connsiteX40" fmla="*/ 6047 w 10000"/>
                <a:gd name="connsiteY40" fmla="*/ 3286 h 10000"/>
                <a:gd name="connsiteX41" fmla="*/ 5814 w 10000"/>
                <a:gd name="connsiteY41" fmla="*/ 2286 h 10000"/>
                <a:gd name="connsiteX42" fmla="*/ 6977 w 10000"/>
                <a:gd name="connsiteY42" fmla="*/ 2286 h 10000"/>
                <a:gd name="connsiteX43" fmla="*/ 7442 w 10000"/>
                <a:gd name="connsiteY43" fmla="*/ 2857 h 10000"/>
                <a:gd name="connsiteX44" fmla="*/ 8372 w 10000"/>
                <a:gd name="connsiteY44" fmla="*/ 2857 h 10000"/>
                <a:gd name="connsiteX45" fmla="*/ 8372 w 10000"/>
                <a:gd name="connsiteY45" fmla="*/ 2429 h 10000"/>
                <a:gd name="connsiteX46" fmla="*/ 8605 w 10000"/>
                <a:gd name="connsiteY46" fmla="*/ 2143 h 10000"/>
                <a:gd name="connsiteX47" fmla="*/ 8837 w 10000"/>
                <a:gd name="connsiteY47" fmla="*/ 2286 h 10000"/>
                <a:gd name="connsiteX48" fmla="*/ 8605 w 10000"/>
                <a:gd name="connsiteY48" fmla="*/ 1429 h 10000"/>
                <a:gd name="connsiteX49" fmla="*/ 9070 w 10000"/>
                <a:gd name="connsiteY49" fmla="*/ 857 h 10000"/>
                <a:gd name="connsiteX50" fmla="*/ 9070 w 10000"/>
                <a:gd name="connsiteY50" fmla="*/ 286 h 10000"/>
                <a:gd name="connsiteX51" fmla="*/ 8605 w 10000"/>
                <a:gd name="connsiteY51" fmla="*/ 0 h 10000"/>
                <a:gd name="connsiteX52" fmla="*/ 8140 w 10000"/>
                <a:gd name="connsiteY52" fmla="*/ 0 h 10000"/>
                <a:gd name="connsiteX53" fmla="*/ 6512 w 10000"/>
                <a:gd name="connsiteY53" fmla="*/ 143 h 10000"/>
                <a:gd name="connsiteX54" fmla="*/ 6279 w 10000"/>
                <a:gd name="connsiteY54" fmla="*/ 0 h 10000"/>
                <a:gd name="connsiteX55" fmla="*/ 6279 w 10000"/>
                <a:gd name="connsiteY55" fmla="*/ 714 h 10000"/>
                <a:gd name="connsiteX56" fmla="*/ 6279 w 10000"/>
                <a:gd name="connsiteY56" fmla="*/ 857 h 10000"/>
                <a:gd name="connsiteX0" fmla="*/ 6279 w 10000"/>
                <a:gd name="connsiteY0" fmla="*/ 857 h 10000"/>
                <a:gd name="connsiteX1" fmla="*/ 5349 w 10000"/>
                <a:gd name="connsiteY1" fmla="*/ 1857 h 10000"/>
                <a:gd name="connsiteX2" fmla="*/ 4884 w 10000"/>
                <a:gd name="connsiteY2" fmla="*/ 2857 h 10000"/>
                <a:gd name="connsiteX3" fmla="*/ 5116 w 10000"/>
                <a:gd name="connsiteY3" fmla="*/ 3714 h 10000"/>
                <a:gd name="connsiteX4" fmla="*/ 5349 w 10000"/>
                <a:gd name="connsiteY4" fmla="*/ 7429 h 10000"/>
                <a:gd name="connsiteX5" fmla="*/ 5349 w 10000"/>
                <a:gd name="connsiteY5" fmla="*/ 7714 h 10000"/>
                <a:gd name="connsiteX6" fmla="*/ 3953 w 10000"/>
                <a:gd name="connsiteY6" fmla="*/ 7286 h 10000"/>
                <a:gd name="connsiteX7" fmla="*/ 2558 w 10000"/>
                <a:gd name="connsiteY7" fmla="*/ 6857 h 10000"/>
                <a:gd name="connsiteX8" fmla="*/ 1395 w 10000"/>
                <a:gd name="connsiteY8" fmla="*/ 6857 h 10000"/>
                <a:gd name="connsiteX9" fmla="*/ 1395 w 10000"/>
                <a:gd name="connsiteY9" fmla="*/ 7429 h 10000"/>
                <a:gd name="connsiteX10" fmla="*/ 0 w 10000"/>
                <a:gd name="connsiteY10" fmla="*/ 7571 h 10000"/>
                <a:gd name="connsiteX11" fmla="*/ 0 w 10000"/>
                <a:gd name="connsiteY11" fmla="*/ 9143 h 10000"/>
                <a:gd name="connsiteX12" fmla="*/ 465 w 10000"/>
                <a:gd name="connsiteY12" fmla="*/ 9714 h 10000"/>
                <a:gd name="connsiteX13" fmla="*/ 1395 w 10000"/>
                <a:gd name="connsiteY13" fmla="*/ 9714 h 10000"/>
                <a:gd name="connsiteX14" fmla="*/ 1860 w 10000"/>
                <a:gd name="connsiteY14" fmla="*/ 9857 h 10000"/>
                <a:gd name="connsiteX15" fmla="*/ 1628 w 10000"/>
                <a:gd name="connsiteY15" fmla="*/ 9857 h 10000"/>
                <a:gd name="connsiteX16" fmla="*/ 2093 w 10000"/>
                <a:gd name="connsiteY16" fmla="*/ 10000 h 10000"/>
                <a:gd name="connsiteX17" fmla="*/ 2558 w 10000"/>
                <a:gd name="connsiteY17" fmla="*/ 9857 h 10000"/>
                <a:gd name="connsiteX18" fmla="*/ 3488 w 10000"/>
                <a:gd name="connsiteY18" fmla="*/ 10000 h 10000"/>
                <a:gd name="connsiteX19" fmla="*/ 4186 w 10000"/>
                <a:gd name="connsiteY19" fmla="*/ 9571 h 10000"/>
                <a:gd name="connsiteX20" fmla="*/ 5116 w 10000"/>
                <a:gd name="connsiteY20" fmla="*/ 9000 h 10000"/>
                <a:gd name="connsiteX21" fmla="*/ 5814 w 10000"/>
                <a:gd name="connsiteY21" fmla="*/ 8857 h 10000"/>
                <a:gd name="connsiteX22" fmla="*/ 5581 w 10000"/>
                <a:gd name="connsiteY22" fmla="*/ 8857 h 10000"/>
                <a:gd name="connsiteX23" fmla="*/ 5581 w 10000"/>
                <a:gd name="connsiteY23" fmla="*/ 8714 h 10000"/>
                <a:gd name="connsiteX24" fmla="*/ 7674 w 10000"/>
                <a:gd name="connsiteY24" fmla="*/ 8143 h 10000"/>
                <a:gd name="connsiteX25" fmla="*/ 8605 w 10000"/>
                <a:gd name="connsiteY25" fmla="*/ 8429 h 10000"/>
                <a:gd name="connsiteX26" fmla="*/ 9070 w 10000"/>
                <a:gd name="connsiteY26" fmla="*/ 8857 h 10000"/>
                <a:gd name="connsiteX27" fmla="*/ 9302 w 10000"/>
                <a:gd name="connsiteY27" fmla="*/ 9143 h 10000"/>
                <a:gd name="connsiteX28" fmla="*/ 10000 w 10000"/>
                <a:gd name="connsiteY28" fmla="*/ 8857 h 10000"/>
                <a:gd name="connsiteX29" fmla="*/ 10000 w 10000"/>
                <a:gd name="connsiteY29" fmla="*/ 8429 h 10000"/>
                <a:gd name="connsiteX30" fmla="*/ 9302 w 10000"/>
                <a:gd name="connsiteY30" fmla="*/ 7714 h 10000"/>
                <a:gd name="connsiteX31" fmla="*/ 9302 w 10000"/>
                <a:gd name="connsiteY31" fmla="*/ 7000 h 10000"/>
                <a:gd name="connsiteX32" fmla="*/ 9535 w 10000"/>
                <a:gd name="connsiteY32" fmla="*/ 7000 h 10000"/>
                <a:gd name="connsiteX33" fmla="*/ 9070 w 10000"/>
                <a:gd name="connsiteY33" fmla="*/ 6286 h 10000"/>
                <a:gd name="connsiteX34" fmla="*/ 8837 w 10000"/>
                <a:gd name="connsiteY34" fmla="*/ 6000 h 10000"/>
                <a:gd name="connsiteX35" fmla="*/ 7674 w 10000"/>
                <a:gd name="connsiteY35" fmla="*/ 5857 h 10000"/>
                <a:gd name="connsiteX36" fmla="*/ 6512 w 10000"/>
                <a:gd name="connsiteY36" fmla="*/ 5571 h 10000"/>
                <a:gd name="connsiteX37" fmla="*/ 6047 w 10000"/>
                <a:gd name="connsiteY37" fmla="*/ 4857 h 10000"/>
                <a:gd name="connsiteX38" fmla="*/ 5581 w 10000"/>
                <a:gd name="connsiteY38" fmla="*/ 3714 h 10000"/>
                <a:gd name="connsiteX39" fmla="*/ 6047 w 10000"/>
                <a:gd name="connsiteY39" fmla="*/ 3286 h 10000"/>
                <a:gd name="connsiteX40" fmla="*/ 5814 w 10000"/>
                <a:gd name="connsiteY40" fmla="*/ 2286 h 10000"/>
                <a:gd name="connsiteX41" fmla="*/ 6977 w 10000"/>
                <a:gd name="connsiteY41" fmla="*/ 2286 h 10000"/>
                <a:gd name="connsiteX42" fmla="*/ 7442 w 10000"/>
                <a:gd name="connsiteY42" fmla="*/ 2857 h 10000"/>
                <a:gd name="connsiteX43" fmla="*/ 8372 w 10000"/>
                <a:gd name="connsiteY43" fmla="*/ 2857 h 10000"/>
                <a:gd name="connsiteX44" fmla="*/ 8372 w 10000"/>
                <a:gd name="connsiteY44" fmla="*/ 2429 h 10000"/>
                <a:gd name="connsiteX45" fmla="*/ 8605 w 10000"/>
                <a:gd name="connsiteY45" fmla="*/ 2143 h 10000"/>
                <a:gd name="connsiteX46" fmla="*/ 8837 w 10000"/>
                <a:gd name="connsiteY46" fmla="*/ 2286 h 10000"/>
                <a:gd name="connsiteX47" fmla="*/ 8605 w 10000"/>
                <a:gd name="connsiteY47" fmla="*/ 1429 h 10000"/>
                <a:gd name="connsiteX48" fmla="*/ 9070 w 10000"/>
                <a:gd name="connsiteY48" fmla="*/ 857 h 10000"/>
                <a:gd name="connsiteX49" fmla="*/ 9070 w 10000"/>
                <a:gd name="connsiteY49" fmla="*/ 286 h 10000"/>
                <a:gd name="connsiteX50" fmla="*/ 8605 w 10000"/>
                <a:gd name="connsiteY50" fmla="*/ 0 h 10000"/>
                <a:gd name="connsiteX51" fmla="*/ 8140 w 10000"/>
                <a:gd name="connsiteY51" fmla="*/ 0 h 10000"/>
                <a:gd name="connsiteX52" fmla="*/ 6512 w 10000"/>
                <a:gd name="connsiteY52" fmla="*/ 143 h 10000"/>
                <a:gd name="connsiteX53" fmla="*/ 6279 w 10000"/>
                <a:gd name="connsiteY53" fmla="*/ 0 h 10000"/>
                <a:gd name="connsiteX54" fmla="*/ 6279 w 10000"/>
                <a:gd name="connsiteY54" fmla="*/ 714 h 10000"/>
                <a:gd name="connsiteX55" fmla="*/ 6279 w 10000"/>
                <a:gd name="connsiteY55" fmla="*/ 857 h 10000"/>
                <a:gd name="connsiteX0" fmla="*/ 6279 w 10000"/>
                <a:gd name="connsiteY0" fmla="*/ 857 h 10000"/>
                <a:gd name="connsiteX1" fmla="*/ 5349 w 10000"/>
                <a:gd name="connsiteY1" fmla="*/ 1857 h 10000"/>
                <a:gd name="connsiteX2" fmla="*/ 4884 w 10000"/>
                <a:gd name="connsiteY2" fmla="*/ 2857 h 10000"/>
                <a:gd name="connsiteX3" fmla="*/ 5116 w 10000"/>
                <a:gd name="connsiteY3" fmla="*/ 3714 h 10000"/>
                <a:gd name="connsiteX4" fmla="*/ 5349 w 10000"/>
                <a:gd name="connsiteY4" fmla="*/ 7714 h 10000"/>
                <a:gd name="connsiteX5" fmla="*/ 3953 w 10000"/>
                <a:gd name="connsiteY5" fmla="*/ 7286 h 10000"/>
                <a:gd name="connsiteX6" fmla="*/ 2558 w 10000"/>
                <a:gd name="connsiteY6" fmla="*/ 6857 h 10000"/>
                <a:gd name="connsiteX7" fmla="*/ 1395 w 10000"/>
                <a:gd name="connsiteY7" fmla="*/ 6857 h 10000"/>
                <a:gd name="connsiteX8" fmla="*/ 1395 w 10000"/>
                <a:gd name="connsiteY8" fmla="*/ 7429 h 10000"/>
                <a:gd name="connsiteX9" fmla="*/ 0 w 10000"/>
                <a:gd name="connsiteY9" fmla="*/ 7571 h 10000"/>
                <a:gd name="connsiteX10" fmla="*/ 0 w 10000"/>
                <a:gd name="connsiteY10" fmla="*/ 9143 h 10000"/>
                <a:gd name="connsiteX11" fmla="*/ 465 w 10000"/>
                <a:gd name="connsiteY11" fmla="*/ 9714 h 10000"/>
                <a:gd name="connsiteX12" fmla="*/ 1395 w 10000"/>
                <a:gd name="connsiteY12" fmla="*/ 9714 h 10000"/>
                <a:gd name="connsiteX13" fmla="*/ 1860 w 10000"/>
                <a:gd name="connsiteY13" fmla="*/ 9857 h 10000"/>
                <a:gd name="connsiteX14" fmla="*/ 1628 w 10000"/>
                <a:gd name="connsiteY14" fmla="*/ 9857 h 10000"/>
                <a:gd name="connsiteX15" fmla="*/ 2093 w 10000"/>
                <a:gd name="connsiteY15" fmla="*/ 10000 h 10000"/>
                <a:gd name="connsiteX16" fmla="*/ 2558 w 10000"/>
                <a:gd name="connsiteY16" fmla="*/ 9857 h 10000"/>
                <a:gd name="connsiteX17" fmla="*/ 3488 w 10000"/>
                <a:gd name="connsiteY17" fmla="*/ 10000 h 10000"/>
                <a:gd name="connsiteX18" fmla="*/ 4186 w 10000"/>
                <a:gd name="connsiteY18" fmla="*/ 9571 h 10000"/>
                <a:gd name="connsiteX19" fmla="*/ 5116 w 10000"/>
                <a:gd name="connsiteY19" fmla="*/ 9000 h 10000"/>
                <a:gd name="connsiteX20" fmla="*/ 5814 w 10000"/>
                <a:gd name="connsiteY20" fmla="*/ 8857 h 10000"/>
                <a:gd name="connsiteX21" fmla="*/ 5581 w 10000"/>
                <a:gd name="connsiteY21" fmla="*/ 8857 h 10000"/>
                <a:gd name="connsiteX22" fmla="*/ 5581 w 10000"/>
                <a:gd name="connsiteY22" fmla="*/ 8714 h 10000"/>
                <a:gd name="connsiteX23" fmla="*/ 7674 w 10000"/>
                <a:gd name="connsiteY23" fmla="*/ 8143 h 10000"/>
                <a:gd name="connsiteX24" fmla="*/ 8605 w 10000"/>
                <a:gd name="connsiteY24" fmla="*/ 8429 h 10000"/>
                <a:gd name="connsiteX25" fmla="*/ 9070 w 10000"/>
                <a:gd name="connsiteY25" fmla="*/ 8857 h 10000"/>
                <a:gd name="connsiteX26" fmla="*/ 9302 w 10000"/>
                <a:gd name="connsiteY26" fmla="*/ 9143 h 10000"/>
                <a:gd name="connsiteX27" fmla="*/ 10000 w 10000"/>
                <a:gd name="connsiteY27" fmla="*/ 8857 h 10000"/>
                <a:gd name="connsiteX28" fmla="*/ 10000 w 10000"/>
                <a:gd name="connsiteY28" fmla="*/ 8429 h 10000"/>
                <a:gd name="connsiteX29" fmla="*/ 9302 w 10000"/>
                <a:gd name="connsiteY29" fmla="*/ 7714 h 10000"/>
                <a:gd name="connsiteX30" fmla="*/ 9302 w 10000"/>
                <a:gd name="connsiteY30" fmla="*/ 7000 h 10000"/>
                <a:gd name="connsiteX31" fmla="*/ 9535 w 10000"/>
                <a:gd name="connsiteY31" fmla="*/ 7000 h 10000"/>
                <a:gd name="connsiteX32" fmla="*/ 9070 w 10000"/>
                <a:gd name="connsiteY32" fmla="*/ 6286 h 10000"/>
                <a:gd name="connsiteX33" fmla="*/ 8837 w 10000"/>
                <a:gd name="connsiteY33" fmla="*/ 6000 h 10000"/>
                <a:gd name="connsiteX34" fmla="*/ 7674 w 10000"/>
                <a:gd name="connsiteY34" fmla="*/ 5857 h 10000"/>
                <a:gd name="connsiteX35" fmla="*/ 6512 w 10000"/>
                <a:gd name="connsiteY35" fmla="*/ 5571 h 10000"/>
                <a:gd name="connsiteX36" fmla="*/ 6047 w 10000"/>
                <a:gd name="connsiteY36" fmla="*/ 4857 h 10000"/>
                <a:gd name="connsiteX37" fmla="*/ 5581 w 10000"/>
                <a:gd name="connsiteY37" fmla="*/ 3714 h 10000"/>
                <a:gd name="connsiteX38" fmla="*/ 6047 w 10000"/>
                <a:gd name="connsiteY38" fmla="*/ 3286 h 10000"/>
                <a:gd name="connsiteX39" fmla="*/ 5814 w 10000"/>
                <a:gd name="connsiteY39" fmla="*/ 2286 h 10000"/>
                <a:gd name="connsiteX40" fmla="*/ 6977 w 10000"/>
                <a:gd name="connsiteY40" fmla="*/ 2286 h 10000"/>
                <a:gd name="connsiteX41" fmla="*/ 7442 w 10000"/>
                <a:gd name="connsiteY41" fmla="*/ 2857 h 10000"/>
                <a:gd name="connsiteX42" fmla="*/ 8372 w 10000"/>
                <a:gd name="connsiteY42" fmla="*/ 2857 h 10000"/>
                <a:gd name="connsiteX43" fmla="*/ 8372 w 10000"/>
                <a:gd name="connsiteY43" fmla="*/ 2429 h 10000"/>
                <a:gd name="connsiteX44" fmla="*/ 8605 w 10000"/>
                <a:gd name="connsiteY44" fmla="*/ 2143 h 10000"/>
                <a:gd name="connsiteX45" fmla="*/ 8837 w 10000"/>
                <a:gd name="connsiteY45" fmla="*/ 2286 h 10000"/>
                <a:gd name="connsiteX46" fmla="*/ 8605 w 10000"/>
                <a:gd name="connsiteY46" fmla="*/ 1429 h 10000"/>
                <a:gd name="connsiteX47" fmla="*/ 9070 w 10000"/>
                <a:gd name="connsiteY47" fmla="*/ 857 h 10000"/>
                <a:gd name="connsiteX48" fmla="*/ 9070 w 10000"/>
                <a:gd name="connsiteY48" fmla="*/ 286 h 10000"/>
                <a:gd name="connsiteX49" fmla="*/ 8605 w 10000"/>
                <a:gd name="connsiteY49" fmla="*/ 0 h 10000"/>
                <a:gd name="connsiteX50" fmla="*/ 8140 w 10000"/>
                <a:gd name="connsiteY50" fmla="*/ 0 h 10000"/>
                <a:gd name="connsiteX51" fmla="*/ 6512 w 10000"/>
                <a:gd name="connsiteY51" fmla="*/ 143 h 10000"/>
                <a:gd name="connsiteX52" fmla="*/ 6279 w 10000"/>
                <a:gd name="connsiteY52" fmla="*/ 0 h 10000"/>
                <a:gd name="connsiteX53" fmla="*/ 6279 w 10000"/>
                <a:gd name="connsiteY53" fmla="*/ 714 h 10000"/>
                <a:gd name="connsiteX54" fmla="*/ 6279 w 10000"/>
                <a:gd name="connsiteY54" fmla="*/ 857 h 10000"/>
                <a:gd name="connsiteX0" fmla="*/ 6279 w 10000"/>
                <a:gd name="connsiteY0" fmla="*/ 857 h 10000"/>
                <a:gd name="connsiteX1" fmla="*/ 5349 w 10000"/>
                <a:gd name="connsiteY1" fmla="*/ 1857 h 10000"/>
                <a:gd name="connsiteX2" fmla="*/ 4884 w 10000"/>
                <a:gd name="connsiteY2" fmla="*/ 2857 h 10000"/>
                <a:gd name="connsiteX3" fmla="*/ 5116 w 10000"/>
                <a:gd name="connsiteY3" fmla="*/ 3714 h 10000"/>
                <a:gd name="connsiteX4" fmla="*/ 3953 w 10000"/>
                <a:gd name="connsiteY4" fmla="*/ 7286 h 10000"/>
                <a:gd name="connsiteX5" fmla="*/ 2558 w 10000"/>
                <a:gd name="connsiteY5" fmla="*/ 6857 h 10000"/>
                <a:gd name="connsiteX6" fmla="*/ 1395 w 10000"/>
                <a:gd name="connsiteY6" fmla="*/ 6857 h 10000"/>
                <a:gd name="connsiteX7" fmla="*/ 1395 w 10000"/>
                <a:gd name="connsiteY7" fmla="*/ 7429 h 10000"/>
                <a:gd name="connsiteX8" fmla="*/ 0 w 10000"/>
                <a:gd name="connsiteY8" fmla="*/ 7571 h 10000"/>
                <a:gd name="connsiteX9" fmla="*/ 0 w 10000"/>
                <a:gd name="connsiteY9" fmla="*/ 9143 h 10000"/>
                <a:gd name="connsiteX10" fmla="*/ 465 w 10000"/>
                <a:gd name="connsiteY10" fmla="*/ 9714 h 10000"/>
                <a:gd name="connsiteX11" fmla="*/ 1395 w 10000"/>
                <a:gd name="connsiteY11" fmla="*/ 9714 h 10000"/>
                <a:gd name="connsiteX12" fmla="*/ 1860 w 10000"/>
                <a:gd name="connsiteY12" fmla="*/ 9857 h 10000"/>
                <a:gd name="connsiteX13" fmla="*/ 1628 w 10000"/>
                <a:gd name="connsiteY13" fmla="*/ 9857 h 10000"/>
                <a:gd name="connsiteX14" fmla="*/ 2093 w 10000"/>
                <a:gd name="connsiteY14" fmla="*/ 10000 h 10000"/>
                <a:gd name="connsiteX15" fmla="*/ 2558 w 10000"/>
                <a:gd name="connsiteY15" fmla="*/ 9857 h 10000"/>
                <a:gd name="connsiteX16" fmla="*/ 3488 w 10000"/>
                <a:gd name="connsiteY16" fmla="*/ 10000 h 10000"/>
                <a:gd name="connsiteX17" fmla="*/ 4186 w 10000"/>
                <a:gd name="connsiteY17" fmla="*/ 9571 h 10000"/>
                <a:gd name="connsiteX18" fmla="*/ 5116 w 10000"/>
                <a:gd name="connsiteY18" fmla="*/ 9000 h 10000"/>
                <a:gd name="connsiteX19" fmla="*/ 5814 w 10000"/>
                <a:gd name="connsiteY19" fmla="*/ 8857 h 10000"/>
                <a:gd name="connsiteX20" fmla="*/ 5581 w 10000"/>
                <a:gd name="connsiteY20" fmla="*/ 8857 h 10000"/>
                <a:gd name="connsiteX21" fmla="*/ 5581 w 10000"/>
                <a:gd name="connsiteY21" fmla="*/ 8714 h 10000"/>
                <a:gd name="connsiteX22" fmla="*/ 7674 w 10000"/>
                <a:gd name="connsiteY22" fmla="*/ 8143 h 10000"/>
                <a:gd name="connsiteX23" fmla="*/ 8605 w 10000"/>
                <a:gd name="connsiteY23" fmla="*/ 8429 h 10000"/>
                <a:gd name="connsiteX24" fmla="*/ 9070 w 10000"/>
                <a:gd name="connsiteY24" fmla="*/ 8857 h 10000"/>
                <a:gd name="connsiteX25" fmla="*/ 9302 w 10000"/>
                <a:gd name="connsiteY25" fmla="*/ 9143 h 10000"/>
                <a:gd name="connsiteX26" fmla="*/ 10000 w 10000"/>
                <a:gd name="connsiteY26" fmla="*/ 8857 h 10000"/>
                <a:gd name="connsiteX27" fmla="*/ 10000 w 10000"/>
                <a:gd name="connsiteY27" fmla="*/ 8429 h 10000"/>
                <a:gd name="connsiteX28" fmla="*/ 9302 w 10000"/>
                <a:gd name="connsiteY28" fmla="*/ 7714 h 10000"/>
                <a:gd name="connsiteX29" fmla="*/ 9302 w 10000"/>
                <a:gd name="connsiteY29" fmla="*/ 7000 h 10000"/>
                <a:gd name="connsiteX30" fmla="*/ 9535 w 10000"/>
                <a:gd name="connsiteY30" fmla="*/ 7000 h 10000"/>
                <a:gd name="connsiteX31" fmla="*/ 9070 w 10000"/>
                <a:gd name="connsiteY31" fmla="*/ 6286 h 10000"/>
                <a:gd name="connsiteX32" fmla="*/ 8837 w 10000"/>
                <a:gd name="connsiteY32" fmla="*/ 6000 h 10000"/>
                <a:gd name="connsiteX33" fmla="*/ 7674 w 10000"/>
                <a:gd name="connsiteY33" fmla="*/ 5857 h 10000"/>
                <a:gd name="connsiteX34" fmla="*/ 6512 w 10000"/>
                <a:gd name="connsiteY34" fmla="*/ 5571 h 10000"/>
                <a:gd name="connsiteX35" fmla="*/ 6047 w 10000"/>
                <a:gd name="connsiteY35" fmla="*/ 4857 h 10000"/>
                <a:gd name="connsiteX36" fmla="*/ 5581 w 10000"/>
                <a:gd name="connsiteY36" fmla="*/ 3714 h 10000"/>
                <a:gd name="connsiteX37" fmla="*/ 6047 w 10000"/>
                <a:gd name="connsiteY37" fmla="*/ 3286 h 10000"/>
                <a:gd name="connsiteX38" fmla="*/ 5814 w 10000"/>
                <a:gd name="connsiteY38" fmla="*/ 2286 h 10000"/>
                <a:gd name="connsiteX39" fmla="*/ 6977 w 10000"/>
                <a:gd name="connsiteY39" fmla="*/ 2286 h 10000"/>
                <a:gd name="connsiteX40" fmla="*/ 7442 w 10000"/>
                <a:gd name="connsiteY40" fmla="*/ 2857 h 10000"/>
                <a:gd name="connsiteX41" fmla="*/ 8372 w 10000"/>
                <a:gd name="connsiteY41" fmla="*/ 2857 h 10000"/>
                <a:gd name="connsiteX42" fmla="*/ 8372 w 10000"/>
                <a:gd name="connsiteY42" fmla="*/ 2429 h 10000"/>
                <a:gd name="connsiteX43" fmla="*/ 8605 w 10000"/>
                <a:gd name="connsiteY43" fmla="*/ 2143 h 10000"/>
                <a:gd name="connsiteX44" fmla="*/ 8837 w 10000"/>
                <a:gd name="connsiteY44" fmla="*/ 2286 h 10000"/>
                <a:gd name="connsiteX45" fmla="*/ 8605 w 10000"/>
                <a:gd name="connsiteY45" fmla="*/ 1429 h 10000"/>
                <a:gd name="connsiteX46" fmla="*/ 9070 w 10000"/>
                <a:gd name="connsiteY46" fmla="*/ 857 h 10000"/>
                <a:gd name="connsiteX47" fmla="*/ 9070 w 10000"/>
                <a:gd name="connsiteY47" fmla="*/ 286 h 10000"/>
                <a:gd name="connsiteX48" fmla="*/ 8605 w 10000"/>
                <a:gd name="connsiteY48" fmla="*/ 0 h 10000"/>
                <a:gd name="connsiteX49" fmla="*/ 8140 w 10000"/>
                <a:gd name="connsiteY49" fmla="*/ 0 h 10000"/>
                <a:gd name="connsiteX50" fmla="*/ 6512 w 10000"/>
                <a:gd name="connsiteY50" fmla="*/ 143 h 10000"/>
                <a:gd name="connsiteX51" fmla="*/ 6279 w 10000"/>
                <a:gd name="connsiteY51" fmla="*/ 0 h 10000"/>
                <a:gd name="connsiteX52" fmla="*/ 6279 w 10000"/>
                <a:gd name="connsiteY52" fmla="*/ 714 h 10000"/>
                <a:gd name="connsiteX53" fmla="*/ 6279 w 10000"/>
                <a:gd name="connsiteY53" fmla="*/ 857 h 10000"/>
                <a:gd name="connsiteX0" fmla="*/ 6279 w 10000"/>
                <a:gd name="connsiteY0" fmla="*/ 857 h 10000"/>
                <a:gd name="connsiteX1" fmla="*/ 5349 w 10000"/>
                <a:gd name="connsiteY1" fmla="*/ 1857 h 10000"/>
                <a:gd name="connsiteX2" fmla="*/ 4884 w 10000"/>
                <a:gd name="connsiteY2" fmla="*/ 2857 h 10000"/>
                <a:gd name="connsiteX3" fmla="*/ 5116 w 10000"/>
                <a:gd name="connsiteY3" fmla="*/ 3714 h 10000"/>
                <a:gd name="connsiteX4" fmla="*/ 2558 w 10000"/>
                <a:gd name="connsiteY4" fmla="*/ 6857 h 10000"/>
                <a:gd name="connsiteX5" fmla="*/ 1395 w 10000"/>
                <a:gd name="connsiteY5" fmla="*/ 6857 h 10000"/>
                <a:gd name="connsiteX6" fmla="*/ 1395 w 10000"/>
                <a:gd name="connsiteY6" fmla="*/ 7429 h 10000"/>
                <a:gd name="connsiteX7" fmla="*/ 0 w 10000"/>
                <a:gd name="connsiteY7" fmla="*/ 7571 h 10000"/>
                <a:gd name="connsiteX8" fmla="*/ 0 w 10000"/>
                <a:gd name="connsiteY8" fmla="*/ 9143 h 10000"/>
                <a:gd name="connsiteX9" fmla="*/ 465 w 10000"/>
                <a:gd name="connsiteY9" fmla="*/ 9714 h 10000"/>
                <a:gd name="connsiteX10" fmla="*/ 1395 w 10000"/>
                <a:gd name="connsiteY10" fmla="*/ 9714 h 10000"/>
                <a:gd name="connsiteX11" fmla="*/ 1860 w 10000"/>
                <a:gd name="connsiteY11" fmla="*/ 9857 h 10000"/>
                <a:gd name="connsiteX12" fmla="*/ 1628 w 10000"/>
                <a:gd name="connsiteY12" fmla="*/ 9857 h 10000"/>
                <a:gd name="connsiteX13" fmla="*/ 2093 w 10000"/>
                <a:gd name="connsiteY13" fmla="*/ 10000 h 10000"/>
                <a:gd name="connsiteX14" fmla="*/ 2558 w 10000"/>
                <a:gd name="connsiteY14" fmla="*/ 9857 h 10000"/>
                <a:gd name="connsiteX15" fmla="*/ 3488 w 10000"/>
                <a:gd name="connsiteY15" fmla="*/ 10000 h 10000"/>
                <a:gd name="connsiteX16" fmla="*/ 4186 w 10000"/>
                <a:gd name="connsiteY16" fmla="*/ 9571 h 10000"/>
                <a:gd name="connsiteX17" fmla="*/ 5116 w 10000"/>
                <a:gd name="connsiteY17" fmla="*/ 9000 h 10000"/>
                <a:gd name="connsiteX18" fmla="*/ 5814 w 10000"/>
                <a:gd name="connsiteY18" fmla="*/ 8857 h 10000"/>
                <a:gd name="connsiteX19" fmla="*/ 5581 w 10000"/>
                <a:gd name="connsiteY19" fmla="*/ 8857 h 10000"/>
                <a:gd name="connsiteX20" fmla="*/ 5581 w 10000"/>
                <a:gd name="connsiteY20" fmla="*/ 8714 h 10000"/>
                <a:gd name="connsiteX21" fmla="*/ 7674 w 10000"/>
                <a:gd name="connsiteY21" fmla="*/ 8143 h 10000"/>
                <a:gd name="connsiteX22" fmla="*/ 8605 w 10000"/>
                <a:gd name="connsiteY22" fmla="*/ 8429 h 10000"/>
                <a:gd name="connsiteX23" fmla="*/ 9070 w 10000"/>
                <a:gd name="connsiteY23" fmla="*/ 8857 h 10000"/>
                <a:gd name="connsiteX24" fmla="*/ 9302 w 10000"/>
                <a:gd name="connsiteY24" fmla="*/ 9143 h 10000"/>
                <a:gd name="connsiteX25" fmla="*/ 10000 w 10000"/>
                <a:gd name="connsiteY25" fmla="*/ 8857 h 10000"/>
                <a:gd name="connsiteX26" fmla="*/ 10000 w 10000"/>
                <a:gd name="connsiteY26" fmla="*/ 8429 h 10000"/>
                <a:gd name="connsiteX27" fmla="*/ 9302 w 10000"/>
                <a:gd name="connsiteY27" fmla="*/ 7714 h 10000"/>
                <a:gd name="connsiteX28" fmla="*/ 9302 w 10000"/>
                <a:gd name="connsiteY28" fmla="*/ 7000 h 10000"/>
                <a:gd name="connsiteX29" fmla="*/ 9535 w 10000"/>
                <a:gd name="connsiteY29" fmla="*/ 7000 h 10000"/>
                <a:gd name="connsiteX30" fmla="*/ 9070 w 10000"/>
                <a:gd name="connsiteY30" fmla="*/ 6286 h 10000"/>
                <a:gd name="connsiteX31" fmla="*/ 8837 w 10000"/>
                <a:gd name="connsiteY31" fmla="*/ 6000 h 10000"/>
                <a:gd name="connsiteX32" fmla="*/ 7674 w 10000"/>
                <a:gd name="connsiteY32" fmla="*/ 5857 h 10000"/>
                <a:gd name="connsiteX33" fmla="*/ 6512 w 10000"/>
                <a:gd name="connsiteY33" fmla="*/ 5571 h 10000"/>
                <a:gd name="connsiteX34" fmla="*/ 6047 w 10000"/>
                <a:gd name="connsiteY34" fmla="*/ 4857 h 10000"/>
                <a:gd name="connsiteX35" fmla="*/ 5581 w 10000"/>
                <a:gd name="connsiteY35" fmla="*/ 3714 h 10000"/>
                <a:gd name="connsiteX36" fmla="*/ 6047 w 10000"/>
                <a:gd name="connsiteY36" fmla="*/ 3286 h 10000"/>
                <a:gd name="connsiteX37" fmla="*/ 5814 w 10000"/>
                <a:gd name="connsiteY37" fmla="*/ 2286 h 10000"/>
                <a:gd name="connsiteX38" fmla="*/ 6977 w 10000"/>
                <a:gd name="connsiteY38" fmla="*/ 2286 h 10000"/>
                <a:gd name="connsiteX39" fmla="*/ 7442 w 10000"/>
                <a:gd name="connsiteY39" fmla="*/ 2857 h 10000"/>
                <a:gd name="connsiteX40" fmla="*/ 8372 w 10000"/>
                <a:gd name="connsiteY40" fmla="*/ 2857 h 10000"/>
                <a:gd name="connsiteX41" fmla="*/ 8372 w 10000"/>
                <a:gd name="connsiteY41" fmla="*/ 2429 h 10000"/>
                <a:gd name="connsiteX42" fmla="*/ 8605 w 10000"/>
                <a:gd name="connsiteY42" fmla="*/ 2143 h 10000"/>
                <a:gd name="connsiteX43" fmla="*/ 8837 w 10000"/>
                <a:gd name="connsiteY43" fmla="*/ 2286 h 10000"/>
                <a:gd name="connsiteX44" fmla="*/ 8605 w 10000"/>
                <a:gd name="connsiteY44" fmla="*/ 1429 h 10000"/>
                <a:gd name="connsiteX45" fmla="*/ 9070 w 10000"/>
                <a:gd name="connsiteY45" fmla="*/ 857 h 10000"/>
                <a:gd name="connsiteX46" fmla="*/ 9070 w 10000"/>
                <a:gd name="connsiteY46" fmla="*/ 286 h 10000"/>
                <a:gd name="connsiteX47" fmla="*/ 8605 w 10000"/>
                <a:gd name="connsiteY47" fmla="*/ 0 h 10000"/>
                <a:gd name="connsiteX48" fmla="*/ 8140 w 10000"/>
                <a:gd name="connsiteY48" fmla="*/ 0 h 10000"/>
                <a:gd name="connsiteX49" fmla="*/ 6512 w 10000"/>
                <a:gd name="connsiteY49" fmla="*/ 143 h 10000"/>
                <a:gd name="connsiteX50" fmla="*/ 6279 w 10000"/>
                <a:gd name="connsiteY50" fmla="*/ 0 h 10000"/>
                <a:gd name="connsiteX51" fmla="*/ 6279 w 10000"/>
                <a:gd name="connsiteY51" fmla="*/ 714 h 10000"/>
                <a:gd name="connsiteX52" fmla="*/ 6279 w 10000"/>
                <a:gd name="connsiteY52" fmla="*/ 857 h 10000"/>
                <a:gd name="connsiteX0" fmla="*/ 6279 w 10000"/>
                <a:gd name="connsiteY0" fmla="*/ 857 h 10000"/>
                <a:gd name="connsiteX1" fmla="*/ 5349 w 10000"/>
                <a:gd name="connsiteY1" fmla="*/ 1857 h 10000"/>
                <a:gd name="connsiteX2" fmla="*/ 4884 w 10000"/>
                <a:gd name="connsiteY2" fmla="*/ 2857 h 10000"/>
                <a:gd name="connsiteX3" fmla="*/ 5116 w 10000"/>
                <a:gd name="connsiteY3" fmla="*/ 3714 h 10000"/>
                <a:gd name="connsiteX4" fmla="*/ 1395 w 10000"/>
                <a:gd name="connsiteY4" fmla="*/ 6857 h 10000"/>
                <a:gd name="connsiteX5" fmla="*/ 1395 w 10000"/>
                <a:gd name="connsiteY5" fmla="*/ 7429 h 10000"/>
                <a:gd name="connsiteX6" fmla="*/ 0 w 10000"/>
                <a:gd name="connsiteY6" fmla="*/ 7571 h 10000"/>
                <a:gd name="connsiteX7" fmla="*/ 0 w 10000"/>
                <a:gd name="connsiteY7" fmla="*/ 9143 h 10000"/>
                <a:gd name="connsiteX8" fmla="*/ 465 w 10000"/>
                <a:gd name="connsiteY8" fmla="*/ 9714 h 10000"/>
                <a:gd name="connsiteX9" fmla="*/ 1395 w 10000"/>
                <a:gd name="connsiteY9" fmla="*/ 9714 h 10000"/>
                <a:gd name="connsiteX10" fmla="*/ 1860 w 10000"/>
                <a:gd name="connsiteY10" fmla="*/ 9857 h 10000"/>
                <a:gd name="connsiteX11" fmla="*/ 1628 w 10000"/>
                <a:gd name="connsiteY11" fmla="*/ 9857 h 10000"/>
                <a:gd name="connsiteX12" fmla="*/ 2093 w 10000"/>
                <a:gd name="connsiteY12" fmla="*/ 10000 h 10000"/>
                <a:gd name="connsiteX13" fmla="*/ 2558 w 10000"/>
                <a:gd name="connsiteY13" fmla="*/ 9857 h 10000"/>
                <a:gd name="connsiteX14" fmla="*/ 3488 w 10000"/>
                <a:gd name="connsiteY14" fmla="*/ 10000 h 10000"/>
                <a:gd name="connsiteX15" fmla="*/ 4186 w 10000"/>
                <a:gd name="connsiteY15" fmla="*/ 9571 h 10000"/>
                <a:gd name="connsiteX16" fmla="*/ 5116 w 10000"/>
                <a:gd name="connsiteY16" fmla="*/ 9000 h 10000"/>
                <a:gd name="connsiteX17" fmla="*/ 5814 w 10000"/>
                <a:gd name="connsiteY17" fmla="*/ 8857 h 10000"/>
                <a:gd name="connsiteX18" fmla="*/ 5581 w 10000"/>
                <a:gd name="connsiteY18" fmla="*/ 8857 h 10000"/>
                <a:gd name="connsiteX19" fmla="*/ 5581 w 10000"/>
                <a:gd name="connsiteY19" fmla="*/ 8714 h 10000"/>
                <a:gd name="connsiteX20" fmla="*/ 7674 w 10000"/>
                <a:gd name="connsiteY20" fmla="*/ 8143 h 10000"/>
                <a:gd name="connsiteX21" fmla="*/ 8605 w 10000"/>
                <a:gd name="connsiteY21" fmla="*/ 8429 h 10000"/>
                <a:gd name="connsiteX22" fmla="*/ 9070 w 10000"/>
                <a:gd name="connsiteY22" fmla="*/ 8857 h 10000"/>
                <a:gd name="connsiteX23" fmla="*/ 9302 w 10000"/>
                <a:gd name="connsiteY23" fmla="*/ 9143 h 10000"/>
                <a:gd name="connsiteX24" fmla="*/ 10000 w 10000"/>
                <a:gd name="connsiteY24" fmla="*/ 8857 h 10000"/>
                <a:gd name="connsiteX25" fmla="*/ 10000 w 10000"/>
                <a:gd name="connsiteY25" fmla="*/ 8429 h 10000"/>
                <a:gd name="connsiteX26" fmla="*/ 9302 w 10000"/>
                <a:gd name="connsiteY26" fmla="*/ 7714 h 10000"/>
                <a:gd name="connsiteX27" fmla="*/ 9302 w 10000"/>
                <a:gd name="connsiteY27" fmla="*/ 7000 h 10000"/>
                <a:gd name="connsiteX28" fmla="*/ 9535 w 10000"/>
                <a:gd name="connsiteY28" fmla="*/ 7000 h 10000"/>
                <a:gd name="connsiteX29" fmla="*/ 9070 w 10000"/>
                <a:gd name="connsiteY29" fmla="*/ 6286 h 10000"/>
                <a:gd name="connsiteX30" fmla="*/ 8837 w 10000"/>
                <a:gd name="connsiteY30" fmla="*/ 6000 h 10000"/>
                <a:gd name="connsiteX31" fmla="*/ 7674 w 10000"/>
                <a:gd name="connsiteY31" fmla="*/ 5857 h 10000"/>
                <a:gd name="connsiteX32" fmla="*/ 6512 w 10000"/>
                <a:gd name="connsiteY32" fmla="*/ 5571 h 10000"/>
                <a:gd name="connsiteX33" fmla="*/ 6047 w 10000"/>
                <a:gd name="connsiteY33" fmla="*/ 4857 h 10000"/>
                <a:gd name="connsiteX34" fmla="*/ 5581 w 10000"/>
                <a:gd name="connsiteY34" fmla="*/ 3714 h 10000"/>
                <a:gd name="connsiteX35" fmla="*/ 6047 w 10000"/>
                <a:gd name="connsiteY35" fmla="*/ 3286 h 10000"/>
                <a:gd name="connsiteX36" fmla="*/ 5814 w 10000"/>
                <a:gd name="connsiteY36" fmla="*/ 2286 h 10000"/>
                <a:gd name="connsiteX37" fmla="*/ 6977 w 10000"/>
                <a:gd name="connsiteY37" fmla="*/ 2286 h 10000"/>
                <a:gd name="connsiteX38" fmla="*/ 7442 w 10000"/>
                <a:gd name="connsiteY38" fmla="*/ 2857 h 10000"/>
                <a:gd name="connsiteX39" fmla="*/ 8372 w 10000"/>
                <a:gd name="connsiteY39" fmla="*/ 2857 h 10000"/>
                <a:gd name="connsiteX40" fmla="*/ 8372 w 10000"/>
                <a:gd name="connsiteY40" fmla="*/ 2429 h 10000"/>
                <a:gd name="connsiteX41" fmla="*/ 8605 w 10000"/>
                <a:gd name="connsiteY41" fmla="*/ 2143 h 10000"/>
                <a:gd name="connsiteX42" fmla="*/ 8837 w 10000"/>
                <a:gd name="connsiteY42" fmla="*/ 2286 h 10000"/>
                <a:gd name="connsiteX43" fmla="*/ 8605 w 10000"/>
                <a:gd name="connsiteY43" fmla="*/ 1429 h 10000"/>
                <a:gd name="connsiteX44" fmla="*/ 9070 w 10000"/>
                <a:gd name="connsiteY44" fmla="*/ 857 h 10000"/>
                <a:gd name="connsiteX45" fmla="*/ 9070 w 10000"/>
                <a:gd name="connsiteY45" fmla="*/ 286 h 10000"/>
                <a:gd name="connsiteX46" fmla="*/ 8605 w 10000"/>
                <a:gd name="connsiteY46" fmla="*/ 0 h 10000"/>
                <a:gd name="connsiteX47" fmla="*/ 8140 w 10000"/>
                <a:gd name="connsiteY47" fmla="*/ 0 h 10000"/>
                <a:gd name="connsiteX48" fmla="*/ 6512 w 10000"/>
                <a:gd name="connsiteY48" fmla="*/ 143 h 10000"/>
                <a:gd name="connsiteX49" fmla="*/ 6279 w 10000"/>
                <a:gd name="connsiteY49" fmla="*/ 0 h 10000"/>
                <a:gd name="connsiteX50" fmla="*/ 6279 w 10000"/>
                <a:gd name="connsiteY50" fmla="*/ 714 h 10000"/>
                <a:gd name="connsiteX51" fmla="*/ 6279 w 10000"/>
                <a:gd name="connsiteY51" fmla="*/ 857 h 10000"/>
                <a:gd name="connsiteX0" fmla="*/ 6279 w 10000"/>
                <a:gd name="connsiteY0" fmla="*/ 857 h 10000"/>
                <a:gd name="connsiteX1" fmla="*/ 5349 w 10000"/>
                <a:gd name="connsiteY1" fmla="*/ 1857 h 10000"/>
                <a:gd name="connsiteX2" fmla="*/ 4884 w 10000"/>
                <a:gd name="connsiteY2" fmla="*/ 2857 h 10000"/>
                <a:gd name="connsiteX3" fmla="*/ 5116 w 10000"/>
                <a:gd name="connsiteY3" fmla="*/ 3714 h 10000"/>
                <a:gd name="connsiteX4" fmla="*/ 1395 w 10000"/>
                <a:gd name="connsiteY4" fmla="*/ 7429 h 10000"/>
                <a:gd name="connsiteX5" fmla="*/ 0 w 10000"/>
                <a:gd name="connsiteY5" fmla="*/ 7571 h 10000"/>
                <a:gd name="connsiteX6" fmla="*/ 0 w 10000"/>
                <a:gd name="connsiteY6" fmla="*/ 9143 h 10000"/>
                <a:gd name="connsiteX7" fmla="*/ 465 w 10000"/>
                <a:gd name="connsiteY7" fmla="*/ 9714 h 10000"/>
                <a:gd name="connsiteX8" fmla="*/ 1395 w 10000"/>
                <a:gd name="connsiteY8" fmla="*/ 9714 h 10000"/>
                <a:gd name="connsiteX9" fmla="*/ 1860 w 10000"/>
                <a:gd name="connsiteY9" fmla="*/ 9857 h 10000"/>
                <a:gd name="connsiteX10" fmla="*/ 1628 w 10000"/>
                <a:gd name="connsiteY10" fmla="*/ 9857 h 10000"/>
                <a:gd name="connsiteX11" fmla="*/ 2093 w 10000"/>
                <a:gd name="connsiteY11" fmla="*/ 10000 h 10000"/>
                <a:gd name="connsiteX12" fmla="*/ 2558 w 10000"/>
                <a:gd name="connsiteY12" fmla="*/ 9857 h 10000"/>
                <a:gd name="connsiteX13" fmla="*/ 3488 w 10000"/>
                <a:gd name="connsiteY13" fmla="*/ 10000 h 10000"/>
                <a:gd name="connsiteX14" fmla="*/ 4186 w 10000"/>
                <a:gd name="connsiteY14" fmla="*/ 9571 h 10000"/>
                <a:gd name="connsiteX15" fmla="*/ 5116 w 10000"/>
                <a:gd name="connsiteY15" fmla="*/ 9000 h 10000"/>
                <a:gd name="connsiteX16" fmla="*/ 5814 w 10000"/>
                <a:gd name="connsiteY16" fmla="*/ 8857 h 10000"/>
                <a:gd name="connsiteX17" fmla="*/ 5581 w 10000"/>
                <a:gd name="connsiteY17" fmla="*/ 8857 h 10000"/>
                <a:gd name="connsiteX18" fmla="*/ 5581 w 10000"/>
                <a:gd name="connsiteY18" fmla="*/ 8714 h 10000"/>
                <a:gd name="connsiteX19" fmla="*/ 7674 w 10000"/>
                <a:gd name="connsiteY19" fmla="*/ 8143 h 10000"/>
                <a:gd name="connsiteX20" fmla="*/ 8605 w 10000"/>
                <a:gd name="connsiteY20" fmla="*/ 8429 h 10000"/>
                <a:gd name="connsiteX21" fmla="*/ 9070 w 10000"/>
                <a:gd name="connsiteY21" fmla="*/ 8857 h 10000"/>
                <a:gd name="connsiteX22" fmla="*/ 9302 w 10000"/>
                <a:gd name="connsiteY22" fmla="*/ 9143 h 10000"/>
                <a:gd name="connsiteX23" fmla="*/ 10000 w 10000"/>
                <a:gd name="connsiteY23" fmla="*/ 8857 h 10000"/>
                <a:gd name="connsiteX24" fmla="*/ 10000 w 10000"/>
                <a:gd name="connsiteY24" fmla="*/ 8429 h 10000"/>
                <a:gd name="connsiteX25" fmla="*/ 9302 w 10000"/>
                <a:gd name="connsiteY25" fmla="*/ 7714 h 10000"/>
                <a:gd name="connsiteX26" fmla="*/ 9302 w 10000"/>
                <a:gd name="connsiteY26" fmla="*/ 7000 h 10000"/>
                <a:gd name="connsiteX27" fmla="*/ 9535 w 10000"/>
                <a:gd name="connsiteY27" fmla="*/ 7000 h 10000"/>
                <a:gd name="connsiteX28" fmla="*/ 9070 w 10000"/>
                <a:gd name="connsiteY28" fmla="*/ 6286 h 10000"/>
                <a:gd name="connsiteX29" fmla="*/ 8837 w 10000"/>
                <a:gd name="connsiteY29" fmla="*/ 6000 h 10000"/>
                <a:gd name="connsiteX30" fmla="*/ 7674 w 10000"/>
                <a:gd name="connsiteY30" fmla="*/ 5857 h 10000"/>
                <a:gd name="connsiteX31" fmla="*/ 6512 w 10000"/>
                <a:gd name="connsiteY31" fmla="*/ 5571 h 10000"/>
                <a:gd name="connsiteX32" fmla="*/ 6047 w 10000"/>
                <a:gd name="connsiteY32" fmla="*/ 4857 h 10000"/>
                <a:gd name="connsiteX33" fmla="*/ 5581 w 10000"/>
                <a:gd name="connsiteY33" fmla="*/ 3714 h 10000"/>
                <a:gd name="connsiteX34" fmla="*/ 6047 w 10000"/>
                <a:gd name="connsiteY34" fmla="*/ 3286 h 10000"/>
                <a:gd name="connsiteX35" fmla="*/ 5814 w 10000"/>
                <a:gd name="connsiteY35" fmla="*/ 2286 h 10000"/>
                <a:gd name="connsiteX36" fmla="*/ 6977 w 10000"/>
                <a:gd name="connsiteY36" fmla="*/ 2286 h 10000"/>
                <a:gd name="connsiteX37" fmla="*/ 7442 w 10000"/>
                <a:gd name="connsiteY37" fmla="*/ 2857 h 10000"/>
                <a:gd name="connsiteX38" fmla="*/ 8372 w 10000"/>
                <a:gd name="connsiteY38" fmla="*/ 2857 h 10000"/>
                <a:gd name="connsiteX39" fmla="*/ 8372 w 10000"/>
                <a:gd name="connsiteY39" fmla="*/ 2429 h 10000"/>
                <a:gd name="connsiteX40" fmla="*/ 8605 w 10000"/>
                <a:gd name="connsiteY40" fmla="*/ 2143 h 10000"/>
                <a:gd name="connsiteX41" fmla="*/ 8837 w 10000"/>
                <a:gd name="connsiteY41" fmla="*/ 2286 h 10000"/>
                <a:gd name="connsiteX42" fmla="*/ 8605 w 10000"/>
                <a:gd name="connsiteY42" fmla="*/ 1429 h 10000"/>
                <a:gd name="connsiteX43" fmla="*/ 9070 w 10000"/>
                <a:gd name="connsiteY43" fmla="*/ 857 h 10000"/>
                <a:gd name="connsiteX44" fmla="*/ 9070 w 10000"/>
                <a:gd name="connsiteY44" fmla="*/ 286 h 10000"/>
                <a:gd name="connsiteX45" fmla="*/ 8605 w 10000"/>
                <a:gd name="connsiteY45" fmla="*/ 0 h 10000"/>
                <a:gd name="connsiteX46" fmla="*/ 8140 w 10000"/>
                <a:gd name="connsiteY46" fmla="*/ 0 h 10000"/>
                <a:gd name="connsiteX47" fmla="*/ 6512 w 10000"/>
                <a:gd name="connsiteY47" fmla="*/ 143 h 10000"/>
                <a:gd name="connsiteX48" fmla="*/ 6279 w 10000"/>
                <a:gd name="connsiteY48" fmla="*/ 0 h 10000"/>
                <a:gd name="connsiteX49" fmla="*/ 6279 w 10000"/>
                <a:gd name="connsiteY49" fmla="*/ 714 h 10000"/>
                <a:gd name="connsiteX50" fmla="*/ 6279 w 10000"/>
                <a:gd name="connsiteY50" fmla="*/ 857 h 10000"/>
                <a:gd name="connsiteX0" fmla="*/ 6658 w 10379"/>
                <a:gd name="connsiteY0" fmla="*/ 857 h 10000"/>
                <a:gd name="connsiteX1" fmla="*/ 5728 w 10379"/>
                <a:gd name="connsiteY1" fmla="*/ 1857 h 10000"/>
                <a:gd name="connsiteX2" fmla="*/ 5263 w 10379"/>
                <a:gd name="connsiteY2" fmla="*/ 2857 h 10000"/>
                <a:gd name="connsiteX3" fmla="*/ 5495 w 10379"/>
                <a:gd name="connsiteY3" fmla="*/ 3714 h 10000"/>
                <a:gd name="connsiteX4" fmla="*/ 379 w 10379"/>
                <a:gd name="connsiteY4" fmla="*/ 7571 h 10000"/>
                <a:gd name="connsiteX5" fmla="*/ 379 w 10379"/>
                <a:gd name="connsiteY5" fmla="*/ 9143 h 10000"/>
                <a:gd name="connsiteX6" fmla="*/ 844 w 10379"/>
                <a:gd name="connsiteY6" fmla="*/ 9714 h 10000"/>
                <a:gd name="connsiteX7" fmla="*/ 1774 w 10379"/>
                <a:gd name="connsiteY7" fmla="*/ 9714 h 10000"/>
                <a:gd name="connsiteX8" fmla="*/ 2239 w 10379"/>
                <a:gd name="connsiteY8" fmla="*/ 9857 h 10000"/>
                <a:gd name="connsiteX9" fmla="*/ 2007 w 10379"/>
                <a:gd name="connsiteY9" fmla="*/ 9857 h 10000"/>
                <a:gd name="connsiteX10" fmla="*/ 2472 w 10379"/>
                <a:gd name="connsiteY10" fmla="*/ 10000 h 10000"/>
                <a:gd name="connsiteX11" fmla="*/ 2937 w 10379"/>
                <a:gd name="connsiteY11" fmla="*/ 9857 h 10000"/>
                <a:gd name="connsiteX12" fmla="*/ 3867 w 10379"/>
                <a:gd name="connsiteY12" fmla="*/ 10000 h 10000"/>
                <a:gd name="connsiteX13" fmla="*/ 4565 w 10379"/>
                <a:gd name="connsiteY13" fmla="*/ 9571 h 10000"/>
                <a:gd name="connsiteX14" fmla="*/ 5495 w 10379"/>
                <a:gd name="connsiteY14" fmla="*/ 9000 h 10000"/>
                <a:gd name="connsiteX15" fmla="*/ 6193 w 10379"/>
                <a:gd name="connsiteY15" fmla="*/ 8857 h 10000"/>
                <a:gd name="connsiteX16" fmla="*/ 5960 w 10379"/>
                <a:gd name="connsiteY16" fmla="*/ 8857 h 10000"/>
                <a:gd name="connsiteX17" fmla="*/ 5960 w 10379"/>
                <a:gd name="connsiteY17" fmla="*/ 8714 h 10000"/>
                <a:gd name="connsiteX18" fmla="*/ 8053 w 10379"/>
                <a:gd name="connsiteY18" fmla="*/ 8143 h 10000"/>
                <a:gd name="connsiteX19" fmla="*/ 8984 w 10379"/>
                <a:gd name="connsiteY19" fmla="*/ 8429 h 10000"/>
                <a:gd name="connsiteX20" fmla="*/ 9449 w 10379"/>
                <a:gd name="connsiteY20" fmla="*/ 8857 h 10000"/>
                <a:gd name="connsiteX21" fmla="*/ 9681 w 10379"/>
                <a:gd name="connsiteY21" fmla="*/ 9143 h 10000"/>
                <a:gd name="connsiteX22" fmla="*/ 10379 w 10379"/>
                <a:gd name="connsiteY22" fmla="*/ 8857 h 10000"/>
                <a:gd name="connsiteX23" fmla="*/ 10379 w 10379"/>
                <a:gd name="connsiteY23" fmla="*/ 8429 h 10000"/>
                <a:gd name="connsiteX24" fmla="*/ 9681 w 10379"/>
                <a:gd name="connsiteY24" fmla="*/ 7714 h 10000"/>
                <a:gd name="connsiteX25" fmla="*/ 9681 w 10379"/>
                <a:gd name="connsiteY25" fmla="*/ 7000 h 10000"/>
                <a:gd name="connsiteX26" fmla="*/ 9914 w 10379"/>
                <a:gd name="connsiteY26" fmla="*/ 7000 h 10000"/>
                <a:gd name="connsiteX27" fmla="*/ 9449 w 10379"/>
                <a:gd name="connsiteY27" fmla="*/ 6286 h 10000"/>
                <a:gd name="connsiteX28" fmla="*/ 9216 w 10379"/>
                <a:gd name="connsiteY28" fmla="*/ 6000 h 10000"/>
                <a:gd name="connsiteX29" fmla="*/ 8053 w 10379"/>
                <a:gd name="connsiteY29" fmla="*/ 5857 h 10000"/>
                <a:gd name="connsiteX30" fmla="*/ 6891 w 10379"/>
                <a:gd name="connsiteY30" fmla="*/ 5571 h 10000"/>
                <a:gd name="connsiteX31" fmla="*/ 6426 w 10379"/>
                <a:gd name="connsiteY31" fmla="*/ 4857 h 10000"/>
                <a:gd name="connsiteX32" fmla="*/ 5960 w 10379"/>
                <a:gd name="connsiteY32" fmla="*/ 3714 h 10000"/>
                <a:gd name="connsiteX33" fmla="*/ 6426 w 10379"/>
                <a:gd name="connsiteY33" fmla="*/ 3286 h 10000"/>
                <a:gd name="connsiteX34" fmla="*/ 6193 w 10379"/>
                <a:gd name="connsiteY34" fmla="*/ 2286 h 10000"/>
                <a:gd name="connsiteX35" fmla="*/ 7356 w 10379"/>
                <a:gd name="connsiteY35" fmla="*/ 2286 h 10000"/>
                <a:gd name="connsiteX36" fmla="*/ 7821 w 10379"/>
                <a:gd name="connsiteY36" fmla="*/ 2857 h 10000"/>
                <a:gd name="connsiteX37" fmla="*/ 8751 w 10379"/>
                <a:gd name="connsiteY37" fmla="*/ 2857 h 10000"/>
                <a:gd name="connsiteX38" fmla="*/ 8751 w 10379"/>
                <a:gd name="connsiteY38" fmla="*/ 2429 h 10000"/>
                <a:gd name="connsiteX39" fmla="*/ 8984 w 10379"/>
                <a:gd name="connsiteY39" fmla="*/ 2143 h 10000"/>
                <a:gd name="connsiteX40" fmla="*/ 9216 w 10379"/>
                <a:gd name="connsiteY40" fmla="*/ 2286 h 10000"/>
                <a:gd name="connsiteX41" fmla="*/ 8984 w 10379"/>
                <a:gd name="connsiteY41" fmla="*/ 1429 h 10000"/>
                <a:gd name="connsiteX42" fmla="*/ 9449 w 10379"/>
                <a:gd name="connsiteY42" fmla="*/ 857 h 10000"/>
                <a:gd name="connsiteX43" fmla="*/ 9449 w 10379"/>
                <a:gd name="connsiteY43" fmla="*/ 286 h 10000"/>
                <a:gd name="connsiteX44" fmla="*/ 8984 w 10379"/>
                <a:gd name="connsiteY44" fmla="*/ 0 h 10000"/>
                <a:gd name="connsiteX45" fmla="*/ 8519 w 10379"/>
                <a:gd name="connsiteY45" fmla="*/ 0 h 10000"/>
                <a:gd name="connsiteX46" fmla="*/ 6891 w 10379"/>
                <a:gd name="connsiteY46" fmla="*/ 143 h 10000"/>
                <a:gd name="connsiteX47" fmla="*/ 6658 w 10379"/>
                <a:gd name="connsiteY47" fmla="*/ 0 h 10000"/>
                <a:gd name="connsiteX48" fmla="*/ 6658 w 10379"/>
                <a:gd name="connsiteY48" fmla="*/ 714 h 10000"/>
                <a:gd name="connsiteX49" fmla="*/ 6658 w 10379"/>
                <a:gd name="connsiteY49" fmla="*/ 857 h 10000"/>
                <a:gd name="connsiteX0" fmla="*/ 6556 w 10277"/>
                <a:gd name="connsiteY0" fmla="*/ 857 h 10000"/>
                <a:gd name="connsiteX1" fmla="*/ 5626 w 10277"/>
                <a:gd name="connsiteY1" fmla="*/ 1857 h 10000"/>
                <a:gd name="connsiteX2" fmla="*/ 5161 w 10277"/>
                <a:gd name="connsiteY2" fmla="*/ 2857 h 10000"/>
                <a:gd name="connsiteX3" fmla="*/ 5393 w 10277"/>
                <a:gd name="connsiteY3" fmla="*/ 3714 h 10000"/>
                <a:gd name="connsiteX4" fmla="*/ 277 w 10277"/>
                <a:gd name="connsiteY4" fmla="*/ 9143 h 10000"/>
                <a:gd name="connsiteX5" fmla="*/ 742 w 10277"/>
                <a:gd name="connsiteY5" fmla="*/ 9714 h 10000"/>
                <a:gd name="connsiteX6" fmla="*/ 1672 w 10277"/>
                <a:gd name="connsiteY6" fmla="*/ 9714 h 10000"/>
                <a:gd name="connsiteX7" fmla="*/ 2137 w 10277"/>
                <a:gd name="connsiteY7" fmla="*/ 9857 h 10000"/>
                <a:gd name="connsiteX8" fmla="*/ 1905 w 10277"/>
                <a:gd name="connsiteY8" fmla="*/ 9857 h 10000"/>
                <a:gd name="connsiteX9" fmla="*/ 2370 w 10277"/>
                <a:gd name="connsiteY9" fmla="*/ 10000 h 10000"/>
                <a:gd name="connsiteX10" fmla="*/ 2835 w 10277"/>
                <a:gd name="connsiteY10" fmla="*/ 9857 h 10000"/>
                <a:gd name="connsiteX11" fmla="*/ 3765 w 10277"/>
                <a:gd name="connsiteY11" fmla="*/ 10000 h 10000"/>
                <a:gd name="connsiteX12" fmla="*/ 4463 w 10277"/>
                <a:gd name="connsiteY12" fmla="*/ 9571 h 10000"/>
                <a:gd name="connsiteX13" fmla="*/ 5393 w 10277"/>
                <a:gd name="connsiteY13" fmla="*/ 9000 h 10000"/>
                <a:gd name="connsiteX14" fmla="*/ 6091 w 10277"/>
                <a:gd name="connsiteY14" fmla="*/ 8857 h 10000"/>
                <a:gd name="connsiteX15" fmla="*/ 5858 w 10277"/>
                <a:gd name="connsiteY15" fmla="*/ 8857 h 10000"/>
                <a:gd name="connsiteX16" fmla="*/ 5858 w 10277"/>
                <a:gd name="connsiteY16" fmla="*/ 8714 h 10000"/>
                <a:gd name="connsiteX17" fmla="*/ 7951 w 10277"/>
                <a:gd name="connsiteY17" fmla="*/ 8143 h 10000"/>
                <a:gd name="connsiteX18" fmla="*/ 8882 w 10277"/>
                <a:gd name="connsiteY18" fmla="*/ 8429 h 10000"/>
                <a:gd name="connsiteX19" fmla="*/ 9347 w 10277"/>
                <a:gd name="connsiteY19" fmla="*/ 8857 h 10000"/>
                <a:gd name="connsiteX20" fmla="*/ 9579 w 10277"/>
                <a:gd name="connsiteY20" fmla="*/ 9143 h 10000"/>
                <a:gd name="connsiteX21" fmla="*/ 10277 w 10277"/>
                <a:gd name="connsiteY21" fmla="*/ 8857 h 10000"/>
                <a:gd name="connsiteX22" fmla="*/ 10277 w 10277"/>
                <a:gd name="connsiteY22" fmla="*/ 8429 h 10000"/>
                <a:gd name="connsiteX23" fmla="*/ 9579 w 10277"/>
                <a:gd name="connsiteY23" fmla="*/ 7714 h 10000"/>
                <a:gd name="connsiteX24" fmla="*/ 9579 w 10277"/>
                <a:gd name="connsiteY24" fmla="*/ 7000 h 10000"/>
                <a:gd name="connsiteX25" fmla="*/ 9812 w 10277"/>
                <a:gd name="connsiteY25" fmla="*/ 7000 h 10000"/>
                <a:gd name="connsiteX26" fmla="*/ 9347 w 10277"/>
                <a:gd name="connsiteY26" fmla="*/ 6286 h 10000"/>
                <a:gd name="connsiteX27" fmla="*/ 9114 w 10277"/>
                <a:gd name="connsiteY27" fmla="*/ 6000 h 10000"/>
                <a:gd name="connsiteX28" fmla="*/ 7951 w 10277"/>
                <a:gd name="connsiteY28" fmla="*/ 5857 h 10000"/>
                <a:gd name="connsiteX29" fmla="*/ 6789 w 10277"/>
                <a:gd name="connsiteY29" fmla="*/ 5571 h 10000"/>
                <a:gd name="connsiteX30" fmla="*/ 6324 w 10277"/>
                <a:gd name="connsiteY30" fmla="*/ 4857 h 10000"/>
                <a:gd name="connsiteX31" fmla="*/ 5858 w 10277"/>
                <a:gd name="connsiteY31" fmla="*/ 3714 h 10000"/>
                <a:gd name="connsiteX32" fmla="*/ 6324 w 10277"/>
                <a:gd name="connsiteY32" fmla="*/ 3286 h 10000"/>
                <a:gd name="connsiteX33" fmla="*/ 6091 w 10277"/>
                <a:gd name="connsiteY33" fmla="*/ 2286 h 10000"/>
                <a:gd name="connsiteX34" fmla="*/ 7254 w 10277"/>
                <a:gd name="connsiteY34" fmla="*/ 2286 h 10000"/>
                <a:gd name="connsiteX35" fmla="*/ 7719 w 10277"/>
                <a:gd name="connsiteY35" fmla="*/ 2857 h 10000"/>
                <a:gd name="connsiteX36" fmla="*/ 8649 w 10277"/>
                <a:gd name="connsiteY36" fmla="*/ 2857 h 10000"/>
                <a:gd name="connsiteX37" fmla="*/ 8649 w 10277"/>
                <a:gd name="connsiteY37" fmla="*/ 2429 h 10000"/>
                <a:gd name="connsiteX38" fmla="*/ 8882 w 10277"/>
                <a:gd name="connsiteY38" fmla="*/ 2143 h 10000"/>
                <a:gd name="connsiteX39" fmla="*/ 9114 w 10277"/>
                <a:gd name="connsiteY39" fmla="*/ 2286 h 10000"/>
                <a:gd name="connsiteX40" fmla="*/ 8882 w 10277"/>
                <a:gd name="connsiteY40" fmla="*/ 1429 h 10000"/>
                <a:gd name="connsiteX41" fmla="*/ 9347 w 10277"/>
                <a:gd name="connsiteY41" fmla="*/ 857 h 10000"/>
                <a:gd name="connsiteX42" fmla="*/ 9347 w 10277"/>
                <a:gd name="connsiteY42" fmla="*/ 286 h 10000"/>
                <a:gd name="connsiteX43" fmla="*/ 8882 w 10277"/>
                <a:gd name="connsiteY43" fmla="*/ 0 h 10000"/>
                <a:gd name="connsiteX44" fmla="*/ 8417 w 10277"/>
                <a:gd name="connsiteY44" fmla="*/ 0 h 10000"/>
                <a:gd name="connsiteX45" fmla="*/ 6789 w 10277"/>
                <a:gd name="connsiteY45" fmla="*/ 143 h 10000"/>
                <a:gd name="connsiteX46" fmla="*/ 6556 w 10277"/>
                <a:gd name="connsiteY46" fmla="*/ 0 h 10000"/>
                <a:gd name="connsiteX47" fmla="*/ 6556 w 10277"/>
                <a:gd name="connsiteY47" fmla="*/ 714 h 10000"/>
                <a:gd name="connsiteX48" fmla="*/ 6556 w 10277"/>
                <a:gd name="connsiteY48" fmla="*/ 857 h 10000"/>
                <a:gd name="connsiteX0" fmla="*/ 5986 w 9707"/>
                <a:gd name="connsiteY0" fmla="*/ 857 h 10158"/>
                <a:gd name="connsiteX1" fmla="*/ 5056 w 9707"/>
                <a:gd name="connsiteY1" fmla="*/ 1857 h 10158"/>
                <a:gd name="connsiteX2" fmla="*/ 4591 w 9707"/>
                <a:gd name="connsiteY2" fmla="*/ 2857 h 10158"/>
                <a:gd name="connsiteX3" fmla="*/ 4823 w 9707"/>
                <a:gd name="connsiteY3" fmla="*/ 3714 h 10158"/>
                <a:gd name="connsiteX4" fmla="*/ 172 w 9707"/>
                <a:gd name="connsiteY4" fmla="*/ 9714 h 10158"/>
                <a:gd name="connsiteX5" fmla="*/ 1102 w 9707"/>
                <a:gd name="connsiteY5" fmla="*/ 9714 h 10158"/>
                <a:gd name="connsiteX6" fmla="*/ 1567 w 9707"/>
                <a:gd name="connsiteY6" fmla="*/ 9857 h 10158"/>
                <a:gd name="connsiteX7" fmla="*/ 1335 w 9707"/>
                <a:gd name="connsiteY7" fmla="*/ 9857 h 10158"/>
                <a:gd name="connsiteX8" fmla="*/ 1800 w 9707"/>
                <a:gd name="connsiteY8" fmla="*/ 10000 h 10158"/>
                <a:gd name="connsiteX9" fmla="*/ 2265 w 9707"/>
                <a:gd name="connsiteY9" fmla="*/ 9857 h 10158"/>
                <a:gd name="connsiteX10" fmla="*/ 3195 w 9707"/>
                <a:gd name="connsiteY10" fmla="*/ 10000 h 10158"/>
                <a:gd name="connsiteX11" fmla="*/ 3893 w 9707"/>
                <a:gd name="connsiteY11" fmla="*/ 9571 h 10158"/>
                <a:gd name="connsiteX12" fmla="*/ 4823 w 9707"/>
                <a:gd name="connsiteY12" fmla="*/ 9000 h 10158"/>
                <a:gd name="connsiteX13" fmla="*/ 5521 w 9707"/>
                <a:gd name="connsiteY13" fmla="*/ 8857 h 10158"/>
                <a:gd name="connsiteX14" fmla="*/ 5288 w 9707"/>
                <a:gd name="connsiteY14" fmla="*/ 8857 h 10158"/>
                <a:gd name="connsiteX15" fmla="*/ 5288 w 9707"/>
                <a:gd name="connsiteY15" fmla="*/ 8714 h 10158"/>
                <a:gd name="connsiteX16" fmla="*/ 7381 w 9707"/>
                <a:gd name="connsiteY16" fmla="*/ 8143 h 10158"/>
                <a:gd name="connsiteX17" fmla="*/ 8312 w 9707"/>
                <a:gd name="connsiteY17" fmla="*/ 8429 h 10158"/>
                <a:gd name="connsiteX18" fmla="*/ 8777 w 9707"/>
                <a:gd name="connsiteY18" fmla="*/ 8857 h 10158"/>
                <a:gd name="connsiteX19" fmla="*/ 9009 w 9707"/>
                <a:gd name="connsiteY19" fmla="*/ 9143 h 10158"/>
                <a:gd name="connsiteX20" fmla="*/ 9707 w 9707"/>
                <a:gd name="connsiteY20" fmla="*/ 8857 h 10158"/>
                <a:gd name="connsiteX21" fmla="*/ 9707 w 9707"/>
                <a:gd name="connsiteY21" fmla="*/ 8429 h 10158"/>
                <a:gd name="connsiteX22" fmla="*/ 9009 w 9707"/>
                <a:gd name="connsiteY22" fmla="*/ 7714 h 10158"/>
                <a:gd name="connsiteX23" fmla="*/ 9009 w 9707"/>
                <a:gd name="connsiteY23" fmla="*/ 7000 h 10158"/>
                <a:gd name="connsiteX24" fmla="*/ 9242 w 9707"/>
                <a:gd name="connsiteY24" fmla="*/ 7000 h 10158"/>
                <a:gd name="connsiteX25" fmla="*/ 8777 w 9707"/>
                <a:gd name="connsiteY25" fmla="*/ 6286 h 10158"/>
                <a:gd name="connsiteX26" fmla="*/ 8544 w 9707"/>
                <a:gd name="connsiteY26" fmla="*/ 6000 h 10158"/>
                <a:gd name="connsiteX27" fmla="*/ 7381 w 9707"/>
                <a:gd name="connsiteY27" fmla="*/ 5857 h 10158"/>
                <a:gd name="connsiteX28" fmla="*/ 6219 w 9707"/>
                <a:gd name="connsiteY28" fmla="*/ 5571 h 10158"/>
                <a:gd name="connsiteX29" fmla="*/ 5754 w 9707"/>
                <a:gd name="connsiteY29" fmla="*/ 4857 h 10158"/>
                <a:gd name="connsiteX30" fmla="*/ 5288 w 9707"/>
                <a:gd name="connsiteY30" fmla="*/ 3714 h 10158"/>
                <a:gd name="connsiteX31" fmla="*/ 5754 w 9707"/>
                <a:gd name="connsiteY31" fmla="*/ 3286 h 10158"/>
                <a:gd name="connsiteX32" fmla="*/ 5521 w 9707"/>
                <a:gd name="connsiteY32" fmla="*/ 2286 h 10158"/>
                <a:gd name="connsiteX33" fmla="*/ 6684 w 9707"/>
                <a:gd name="connsiteY33" fmla="*/ 2286 h 10158"/>
                <a:gd name="connsiteX34" fmla="*/ 7149 w 9707"/>
                <a:gd name="connsiteY34" fmla="*/ 2857 h 10158"/>
                <a:gd name="connsiteX35" fmla="*/ 8079 w 9707"/>
                <a:gd name="connsiteY35" fmla="*/ 2857 h 10158"/>
                <a:gd name="connsiteX36" fmla="*/ 8079 w 9707"/>
                <a:gd name="connsiteY36" fmla="*/ 2429 h 10158"/>
                <a:gd name="connsiteX37" fmla="*/ 8312 w 9707"/>
                <a:gd name="connsiteY37" fmla="*/ 2143 h 10158"/>
                <a:gd name="connsiteX38" fmla="*/ 8544 w 9707"/>
                <a:gd name="connsiteY38" fmla="*/ 2286 h 10158"/>
                <a:gd name="connsiteX39" fmla="*/ 8312 w 9707"/>
                <a:gd name="connsiteY39" fmla="*/ 1429 h 10158"/>
                <a:gd name="connsiteX40" fmla="*/ 8777 w 9707"/>
                <a:gd name="connsiteY40" fmla="*/ 857 h 10158"/>
                <a:gd name="connsiteX41" fmla="*/ 8777 w 9707"/>
                <a:gd name="connsiteY41" fmla="*/ 286 h 10158"/>
                <a:gd name="connsiteX42" fmla="*/ 8312 w 9707"/>
                <a:gd name="connsiteY42" fmla="*/ 0 h 10158"/>
                <a:gd name="connsiteX43" fmla="*/ 7847 w 9707"/>
                <a:gd name="connsiteY43" fmla="*/ 0 h 10158"/>
                <a:gd name="connsiteX44" fmla="*/ 6219 w 9707"/>
                <a:gd name="connsiteY44" fmla="*/ 143 h 10158"/>
                <a:gd name="connsiteX45" fmla="*/ 5986 w 9707"/>
                <a:gd name="connsiteY45" fmla="*/ 0 h 10158"/>
                <a:gd name="connsiteX46" fmla="*/ 5986 w 9707"/>
                <a:gd name="connsiteY46" fmla="*/ 714 h 10158"/>
                <a:gd name="connsiteX47" fmla="*/ 5986 w 9707"/>
                <a:gd name="connsiteY47" fmla="*/ 857 h 10158"/>
                <a:gd name="connsiteX0" fmla="*/ 5032 w 8865"/>
                <a:gd name="connsiteY0" fmla="*/ 844 h 9844"/>
                <a:gd name="connsiteX1" fmla="*/ 4074 w 8865"/>
                <a:gd name="connsiteY1" fmla="*/ 1828 h 9844"/>
                <a:gd name="connsiteX2" fmla="*/ 3595 w 8865"/>
                <a:gd name="connsiteY2" fmla="*/ 2813 h 9844"/>
                <a:gd name="connsiteX3" fmla="*/ 3834 w 8865"/>
                <a:gd name="connsiteY3" fmla="*/ 3656 h 9844"/>
                <a:gd name="connsiteX4" fmla="*/ 0 w 8865"/>
                <a:gd name="connsiteY4" fmla="*/ 9563 h 9844"/>
                <a:gd name="connsiteX5" fmla="*/ 479 w 8865"/>
                <a:gd name="connsiteY5" fmla="*/ 9704 h 9844"/>
                <a:gd name="connsiteX6" fmla="*/ 240 w 8865"/>
                <a:gd name="connsiteY6" fmla="*/ 9704 h 9844"/>
                <a:gd name="connsiteX7" fmla="*/ 719 w 8865"/>
                <a:gd name="connsiteY7" fmla="*/ 9844 h 9844"/>
                <a:gd name="connsiteX8" fmla="*/ 1198 w 8865"/>
                <a:gd name="connsiteY8" fmla="*/ 9704 h 9844"/>
                <a:gd name="connsiteX9" fmla="*/ 2156 w 8865"/>
                <a:gd name="connsiteY9" fmla="*/ 9844 h 9844"/>
                <a:gd name="connsiteX10" fmla="*/ 2876 w 8865"/>
                <a:gd name="connsiteY10" fmla="*/ 9422 h 9844"/>
                <a:gd name="connsiteX11" fmla="*/ 3834 w 8865"/>
                <a:gd name="connsiteY11" fmla="*/ 8860 h 9844"/>
                <a:gd name="connsiteX12" fmla="*/ 4553 w 8865"/>
                <a:gd name="connsiteY12" fmla="*/ 8719 h 9844"/>
                <a:gd name="connsiteX13" fmla="*/ 4313 w 8865"/>
                <a:gd name="connsiteY13" fmla="*/ 8719 h 9844"/>
                <a:gd name="connsiteX14" fmla="*/ 4313 w 8865"/>
                <a:gd name="connsiteY14" fmla="*/ 8578 h 9844"/>
                <a:gd name="connsiteX15" fmla="*/ 6469 w 8865"/>
                <a:gd name="connsiteY15" fmla="*/ 8016 h 9844"/>
                <a:gd name="connsiteX16" fmla="*/ 7428 w 8865"/>
                <a:gd name="connsiteY16" fmla="*/ 8298 h 9844"/>
                <a:gd name="connsiteX17" fmla="*/ 7907 w 8865"/>
                <a:gd name="connsiteY17" fmla="*/ 8719 h 9844"/>
                <a:gd name="connsiteX18" fmla="*/ 8146 w 8865"/>
                <a:gd name="connsiteY18" fmla="*/ 9001 h 9844"/>
                <a:gd name="connsiteX19" fmla="*/ 8865 w 8865"/>
                <a:gd name="connsiteY19" fmla="*/ 8719 h 9844"/>
                <a:gd name="connsiteX20" fmla="*/ 8865 w 8865"/>
                <a:gd name="connsiteY20" fmla="*/ 8298 h 9844"/>
                <a:gd name="connsiteX21" fmla="*/ 8146 w 8865"/>
                <a:gd name="connsiteY21" fmla="*/ 7594 h 9844"/>
                <a:gd name="connsiteX22" fmla="*/ 8146 w 8865"/>
                <a:gd name="connsiteY22" fmla="*/ 6891 h 9844"/>
                <a:gd name="connsiteX23" fmla="*/ 8386 w 8865"/>
                <a:gd name="connsiteY23" fmla="*/ 6891 h 9844"/>
                <a:gd name="connsiteX24" fmla="*/ 7907 w 8865"/>
                <a:gd name="connsiteY24" fmla="*/ 6188 h 9844"/>
                <a:gd name="connsiteX25" fmla="*/ 7667 w 8865"/>
                <a:gd name="connsiteY25" fmla="*/ 5907 h 9844"/>
                <a:gd name="connsiteX26" fmla="*/ 6469 w 8865"/>
                <a:gd name="connsiteY26" fmla="*/ 5766 h 9844"/>
                <a:gd name="connsiteX27" fmla="*/ 5272 w 8865"/>
                <a:gd name="connsiteY27" fmla="*/ 5484 h 9844"/>
                <a:gd name="connsiteX28" fmla="*/ 4793 w 8865"/>
                <a:gd name="connsiteY28" fmla="*/ 4781 h 9844"/>
                <a:gd name="connsiteX29" fmla="*/ 4313 w 8865"/>
                <a:gd name="connsiteY29" fmla="*/ 3656 h 9844"/>
                <a:gd name="connsiteX30" fmla="*/ 4793 w 8865"/>
                <a:gd name="connsiteY30" fmla="*/ 3235 h 9844"/>
                <a:gd name="connsiteX31" fmla="*/ 4553 w 8865"/>
                <a:gd name="connsiteY31" fmla="*/ 2250 h 9844"/>
                <a:gd name="connsiteX32" fmla="*/ 5751 w 8865"/>
                <a:gd name="connsiteY32" fmla="*/ 2250 h 9844"/>
                <a:gd name="connsiteX33" fmla="*/ 6230 w 8865"/>
                <a:gd name="connsiteY33" fmla="*/ 2813 h 9844"/>
                <a:gd name="connsiteX34" fmla="*/ 7188 w 8865"/>
                <a:gd name="connsiteY34" fmla="*/ 2813 h 9844"/>
                <a:gd name="connsiteX35" fmla="*/ 7188 w 8865"/>
                <a:gd name="connsiteY35" fmla="*/ 2391 h 9844"/>
                <a:gd name="connsiteX36" fmla="*/ 7428 w 8865"/>
                <a:gd name="connsiteY36" fmla="*/ 2110 h 9844"/>
                <a:gd name="connsiteX37" fmla="*/ 7667 w 8865"/>
                <a:gd name="connsiteY37" fmla="*/ 2250 h 9844"/>
                <a:gd name="connsiteX38" fmla="*/ 7428 w 8865"/>
                <a:gd name="connsiteY38" fmla="*/ 1407 h 9844"/>
                <a:gd name="connsiteX39" fmla="*/ 7907 w 8865"/>
                <a:gd name="connsiteY39" fmla="*/ 844 h 9844"/>
                <a:gd name="connsiteX40" fmla="*/ 7907 w 8865"/>
                <a:gd name="connsiteY40" fmla="*/ 282 h 9844"/>
                <a:gd name="connsiteX41" fmla="*/ 7428 w 8865"/>
                <a:gd name="connsiteY41" fmla="*/ 0 h 9844"/>
                <a:gd name="connsiteX42" fmla="*/ 6949 w 8865"/>
                <a:gd name="connsiteY42" fmla="*/ 0 h 9844"/>
                <a:gd name="connsiteX43" fmla="*/ 5272 w 8865"/>
                <a:gd name="connsiteY43" fmla="*/ 141 h 9844"/>
                <a:gd name="connsiteX44" fmla="*/ 5032 w 8865"/>
                <a:gd name="connsiteY44" fmla="*/ 0 h 9844"/>
                <a:gd name="connsiteX45" fmla="*/ 5032 w 8865"/>
                <a:gd name="connsiteY45" fmla="*/ 703 h 9844"/>
                <a:gd name="connsiteX46" fmla="*/ 5032 w 8865"/>
                <a:gd name="connsiteY46" fmla="*/ 844 h 9844"/>
                <a:gd name="connsiteX0" fmla="*/ 5405 w 9729"/>
                <a:gd name="connsiteY0" fmla="*/ 857 h 10000"/>
                <a:gd name="connsiteX1" fmla="*/ 4325 w 9729"/>
                <a:gd name="connsiteY1" fmla="*/ 1857 h 10000"/>
                <a:gd name="connsiteX2" fmla="*/ 3784 w 9729"/>
                <a:gd name="connsiteY2" fmla="*/ 2858 h 10000"/>
                <a:gd name="connsiteX3" fmla="*/ 4054 w 9729"/>
                <a:gd name="connsiteY3" fmla="*/ 3714 h 10000"/>
                <a:gd name="connsiteX4" fmla="*/ 269 w 9729"/>
                <a:gd name="connsiteY4" fmla="*/ 9858 h 10000"/>
                <a:gd name="connsiteX5" fmla="*/ 0 w 9729"/>
                <a:gd name="connsiteY5" fmla="*/ 9858 h 10000"/>
                <a:gd name="connsiteX6" fmla="*/ 540 w 9729"/>
                <a:gd name="connsiteY6" fmla="*/ 10000 h 10000"/>
                <a:gd name="connsiteX7" fmla="*/ 1080 w 9729"/>
                <a:gd name="connsiteY7" fmla="*/ 9858 h 10000"/>
                <a:gd name="connsiteX8" fmla="*/ 2161 w 9729"/>
                <a:gd name="connsiteY8" fmla="*/ 10000 h 10000"/>
                <a:gd name="connsiteX9" fmla="*/ 2973 w 9729"/>
                <a:gd name="connsiteY9" fmla="*/ 9571 h 10000"/>
                <a:gd name="connsiteX10" fmla="*/ 4054 w 9729"/>
                <a:gd name="connsiteY10" fmla="*/ 9000 h 10000"/>
                <a:gd name="connsiteX11" fmla="*/ 4865 w 9729"/>
                <a:gd name="connsiteY11" fmla="*/ 8857 h 10000"/>
                <a:gd name="connsiteX12" fmla="*/ 4594 w 9729"/>
                <a:gd name="connsiteY12" fmla="*/ 8857 h 10000"/>
                <a:gd name="connsiteX13" fmla="*/ 4594 w 9729"/>
                <a:gd name="connsiteY13" fmla="*/ 8714 h 10000"/>
                <a:gd name="connsiteX14" fmla="*/ 7026 w 9729"/>
                <a:gd name="connsiteY14" fmla="*/ 8143 h 10000"/>
                <a:gd name="connsiteX15" fmla="*/ 8108 w 9729"/>
                <a:gd name="connsiteY15" fmla="*/ 8430 h 10000"/>
                <a:gd name="connsiteX16" fmla="*/ 8648 w 9729"/>
                <a:gd name="connsiteY16" fmla="*/ 8857 h 10000"/>
                <a:gd name="connsiteX17" fmla="*/ 8918 w 9729"/>
                <a:gd name="connsiteY17" fmla="*/ 9144 h 10000"/>
                <a:gd name="connsiteX18" fmla="*/ 9729 w 9729"/>
                <a:gd name="connsiteY18" fmla="*/ 8857 h 10000"/>
                <a:gd name="connsiteX19" fmla="*/ 9729 w 9729"/>
                <a:gd name="connsiteY19" fmla="*/ 8430 h 10000"/>
                <a:gd name="connsiteX20" fmla="*/ 8918 w 9729"/>
                <a:gd name="connsiteY20" fmla="*/ 7714 h 10000"/>
                <a:gd name="connsiteX21" fmla="*/ 8918 w 9729"/>
                <a:gd name="connsiteY21" fmla="*/ 7000 h 10000"/>
                <a:gd name="connsiteX22" fmla="*/ 9189 w 9729"/>
                <a:gd name="connsiteY22" fmla="*/ 7000 h 10000"/>
                <a:gd name="connsiteX23" fmla="*/ 8648 w 9729"/>
                <a:gd name="connsiteY23" fmla="*/ 6286 h 10000"/>
                <a:gd name="connsiteX24" fmla="*/ 8378 w 9729"/>
                <a:gd name="connsiteY24" fmla="*/ 6001 h 10000"/>
                <a:gd name="connsiteX25" fmla="*/ 7026 w 9729"/>
                <a:gd name="connsiteY25" fmla="*/ 5857 h 10000"/>
                <a:gd name="connsiteX26" fmla="*/ 5676 w 9729"/>
                <a:gd name="connsiteY26" fmla="*/ 5571 h 10000"/>
                <a:gd name="connsiteX27" fmla="*/ 5136 w 9729"/>
                <a:gd name="connsiteY27" fmla="*/ 4857 h 10000"/>
                <a:gd name="connsiteX28" fmla="*/ 4594 w 9729"/>
                <a:gd name="connsiteY28" fmla="*/ 3714 h 10000"/>
                <a:gd name="connsiteX29" fmla="*/ 5136 w 9729"/>
                <a:gd name="connsiteY29" fmla="*/ 3286 h 10000"/>
                <a:gd name="connsiteX30" fmla="*/ 4865 w 9729"/>
                <a:gd name="connsiteY30" fmla="*/ 2286 h 10000"/>
                <a:gd name="connsiteX31" fmla="*/ 6216 w 9729"/>
                <a:gd name="connsiteY31" fmla="*/ 2286 h 10000"/>
                <a:gd name="connsiteX32" fmla="*/ 6757 w 9729"/>
                <a:gd name="connsiteY32" fmla="*/ 2858 h 10000"/>
                <a:gd name="connsiteX33" fmla="*/ 7837 w 9729"/>
                <a:gd name="connsiteY33" fmla="*/ 2858 h 10000"/>
                <a:gd name="connsiteX34" fmla="*/ 7837 w 9729"/>
                <a:gd name="connsiteY34" fmla="*/ 2429 h 10000"/>
                <a:gd name="connsiteX35" fmla="*/ 8108 w 9729"/>
                <a:gd name="connsiteY35" fmla="*/ 2143 h 10000"/>
                <a:gd name="connsiteX36" fmla="*/ 8378 w 9729"/>
                <a:gd name="connsiteY36" fmla="*/ 2286 h 10000"/>
                <a:gd name="connsiteX37" fmla="*/ 8108 w 9729"/>
                <a:gd name="connsiteY37" fmla="*/ 1429 h 10000"/>
                <a:gd name="connsiteX38" fmla="*/ 8648 w 9729"/>
                <a:gd name="connsiteY38" fmla="*/ 857 h 10000"/>
                <a:gd name="connsiteX39" fmla="*/ 8648 w 9729"/>
                <a:gd name="connsiteY39" fmla="*/ 286 h 10000"/>
                <a:gd name="connsiteX40" fmla="*/ 8108 w 9729"/>
                <a:gd name="connsiteY40" fmla="*/ 0 h 10000"/>
                <a:gd name="connsiteX41" fmla="*/ 7568 w 9729"/>
                <a:gd name="connsiteY41" fmla="*/ 0 h 10000"/>
                <a:gd name="connsiteX42" fmla="*/ 5676 w 9729"/>
                <a:gd name="connsiteY42" fmla="*/ 143 h 10000"/>
                <a:gd name="connsiteX43" fmla="*/ 5405 w 9729"/>
                <a:gd name="connsiteY43" fmla="*/ 0 h 10000"/>
                <a:gd name="connsiteX44" fmla="*/ 5405 w 9729"/>
                <a:gd name="connsiteY44" fmla="*/ 714 h 10000"/>
                <a:gd name="connsiteX45" fmla="*/ 5405 w 9729"/>
                <a:gd name="connsiteY45" fmla="*/ 857 h 10000"/>
                <a:gd name="connsiteX0" fmla="*/ 5280 w 9724"/>
                <a:gd name="connsiteY0" fmla="*/ 857 h 10000"/>
                <a:gd name="connsiteX1" fmla="*/ 4169 w 9724"/>
                <a:gd name="connsiteY1" fmla="*/ 1857 h 10000"/>
                <a:gd name="connsiteX2" fmla="*/ 3613 w 9724"/>
                <a:gd name="connsiteY2" fmla="*/ 2858 h 10000"/>
                <a:gd name="connsiteX3" fmla="*/ 3891 w 9724"/>
                <a:gd name="connsiteY3" fmla="*/ 3714 h 10000"/>
                <a:gd name="connsiteX4" fmla="*/ 0 w 9724"/>
                <a:gd name="connsiteY4" fmla="*/ 9858 h 10000"/>
                <a:gd name="connsiteX5" fmla="*/ 279 w 9724"/>
                <a:gd name="connsiteY5" fmla="*/ 10000 h 10000"/>
                <a:gd name="connsiteX6" fmla="*/ 834 w 9724"/>
                <a:gd name="connsiteY6" fmla="*/ 9858 h 10000"/>
                <a:gd name="connsiteX7" fmla="*/ 1945 w 9724"/>
                <a:gd name="connsiteY7" fmla="*/ 10000 h 10000"/>
                <a:gd name="connsiteX8" fmla="*/ 2780 w 9724"/>
                <a:gd name="connsiteY8" fmla="*/ 9571 h 10000"/>
                <a:gd name="connsiteX9" fmla="*/ 3891 w 9724"/>
                <a:gd name="connsiteY9" fmla="*/ 9000 h 10000"/>
                <a:gd name="connsiteX10" fmla="*/ 4725 w 9724"/>
                <a:gd name="connsiteY10" fmla="*/ 8857 h 10000"/>
                <a:gd name="connsiteX11" fmla="*/ 4446 w 9724"/>
                <a:gd name="connsiteY11" fmla="*/ 8857 h 10000"/>
                <a:gd name="connsiteX12" fmla="*/ 4446 w 9724"/>
                <a:gd name="connsiteY12" fmla="*/ 8714 h 10000"/>
                <a:gd name="connsiteX13" fmla="*/ 6946 w 9724"/>
                <a:gd name="connsiteY13" fmla="*/ 8143 h 10000"/>
                <a:gd name="connsiteX14" fmla="*/ 8058 w 9724"/>
                <a:gd name="connsiteY14" fmla="*/ 8430 h 10000"/>
                <a:gd name="connsiteX15" fmla="*/ 8613 w 9724"/>
                <a:gd name="connsiteY15" fmla="*/ 8857 h 10000"/>
                <a:gd name="connsiteX16" fmla="*/ 8890 w 9724"/>
                <a:gd name="connsiteY16" fmla="*/ 9144 h 10000"/>
                <a:gd name="connsiteX17" fmla="*/ 9724 w 9724"/>
                <a:gd name="connsiteY17" fmla="*/ 8857 h 10000"/>
                <a:gd name="connsiteX18" fmla="*/ 9724 w 9724"/>
                <a:gd name="connsiteY18" fmla="*/ 8430 h 10000"/>
                <a:gd name="connsiteX19" fmla="*/ 8890 w 9724"/>
                <a:gd name="connsiteY19" fmla="*/ 7714 h 10000"/>
                <a:gd name="connsiteX20" fmla="*/ 8890 w 9724"/>
                <a:gd name="connsiteY20" fmla="*/ 7000 h 10000"/>
                <a:gd name="connsiteX21" fmla="*/ 9169 w 9724"/>
                <a:gd name="connsiteY21" fmla="*/ 7000 h 10000"/>
                <a:gd name="connsiteX22" fmla="*/ 8613 w 9724"/>
                <a:gd name="connsiteY22" fmla="*/ 6286 h 10000"/>
                <a:gd name="connsiteX23" fmla="*/ 8335 w 9724"/>
                <a:gd name="connsiteY23" fmla="*/ 6001 h 10000"/>
                <a:gd name="connsiteX24" fmla="*/ 6946 w 9724"/>
                <a:gd name="connsiteY24" fmla="*/ 5857 h 10000"/>
                <a:gd name="connsiteX25" fmla="*/ 5558 w 9724"/>
                <a:gd name="connsiteY25" fmla="*/ 5571 h 10000"/>
                <a:gd name="connsiteX26" fmla="*/ 5003 w 9724"/>
                <a:gd name="connsiteY26" fmla="*/ 4857 h 10000"/>
                <a:gd name="connsiteX27" fmla="*/ 4446 w 9724"/>
                <a:gd name="connsiteY27" fmla="*/ 3714 h 10000"/>
                <a:gd name="connsiteX28" fmla="*/ 5003 w 9724"/>
                <a:gd name="connsiteY28" fmla="*/ 3286 h 10000"/>
                <a:gd name="connsiteX29" fmla="*/ 4725 w 9724"/>
                <a:gd name="connsiteY29" fmla="*/ 2286 h 10000"/>
                <a:gd name="connsiteX30" fmla="*/ 6113 w 9724"/>
                <a:gd name="connsiteY30" fmla="*/ 2286 h 10000"/>
                <a:gd name="connsiteX31" fmla="*/ 6669 w 9724"/>
                <a:gd name="connsiteY31" fmla="*/ 2858 h 10000"/>
                <a:gd name="connsiteX32" fmla="*/ 7779 w 9724"/>
                <a:gd name="connsiteY32" fmla="*/ 2858 h 10000"/>
                <a:gd name="connsiteX33" fmla="*/ 7779 w 9724"/>
                <a:gd name="connsiteY33" fmla="*/ 2429 h 10000"/>
                <a:gd name="connsiteX34" fmla="*/ 8058 w 9724"/>
                <a:gd name="connsiteY34" fmla="*/ 2143 h 10000"/>
                <a:gd name="connsiteX35" fmla="*/ 8335 w 9724"/>
                <a:gd name="connsiteY35" fmla="*/ 2286 h 10000"/>
                <a:gd name="connsiteX36" fmla="*/ 8058 w 9724"/>
                <a:gd name="connsiteY36" fmla="*/ 1429 h 10000"/>
                <a:gd name="connsiteX37" fmla="*/ 8613 w 9724"/>
                <a:gd name="connsiteY37" fmla="*/ 857 h 10000"/>
                <a:gd name="connsiteX38" fmla="*/ 8613 w 9724"/>
                <a:gd name="connsiteY38" fmla="*/ 286 h 10000"/>
                <a:gd name="connsiteX39" fmla="*/ 8058 w 9724"/>
                <a:gd name="connsiteY39" fmla="*/ 0 h 10000"/>
                <a:gd name="connsiteX40" fmla="*/ 7503 w 9724"/>
                <a:gd name="connsiteY40" fmla="*/ 0 h 10000"/>
                <a:gd name="connsiteX41" fmla="*/ 5558 w 9724"/>
                <a:gd name="connsiteY41" fmla="*/ 143 h 10000"/>
                <a:gd name="connsiteX42" fmla="*/ 5280 w 9724"/>
                <a:gd name="connsiteY42" fmla="*/ 0 h 10000"/>
                <a:gd name="connsiteX43" fmla="*/ 5280 w 9724"/>
                <a:gd name="connsiteY43" fmla="*/ 714 h 10000"/>
                <a:gd name="connsiteX44" fmla="*/ 5280 w 9724"/>
                <a:gd name="connsiteY44" fmla="*/ 857 h 10000"/>
                <a:gd name="connsiteX0" fmla="*/ 5430 w 10000"/>
                <a:gd name="connsiteY0" fmla="*/ 857 h 10000"/>
                <a:gd name="connsiteX1" fmla="*/ 4287 w 10000"/>
                <a:gd name="connsiteY1" fmla="*/ 1857 h 10000"/>
                <a:gd name="connsiteX2" fmla="*/ 3716 w 10000"/>
                <a:gd name="connsiteY2" fmla="*/ 2858 h 10000"/>
                <a:gd name="connsiteX3" fmla="*/ 4001 w 10000"/>
                <a:gd name="connsiteY3" fmla="*/ 3714 h 10000"/>
                <a:gd name="connsiteX4" fmla="*/ 0 w 10000"/>
                <a:gd name="connsiteY4" fmla="*/ 9858 h 10000"/>
                <a:gd name="connsiteX5" fmla="*/ 858 w 10000"/>
                <a:gd name="connsiteY5" fmla="*/ 9858 h 10000"/>
                <a:gd name="connsiteX6" fmla="*/ 2000 w 10000"/>
                <a:gd name="connsiteY6" fmla="*/ 10000 h 10000"/>
                <a:gd name="connsiteX7" fmla="*/ 2859 w 10000"/>
                <a:gd name="connsiteY7" fmla="*/ 9571 h 10000"/>
                <a:gd name="connsiteX8" fmla="*/ 4001 w 10000"/>
                <a:gd name="connsiteY8" fmla="*/ 9000 h 10000"/>
                <a:gd name="connsiteX9" fmla="*/ 4859 w 10000"/>
                <a:gd name="connsiteY9" fmla="*/ 8857 h 10000"/>
                <a:gd name="connsiteX10" fmla="*/ 4572 w 10000"/>
                <a:gd name="connsiteY10" fmla="*/ 8857 h 10000"/>
                <a:gd name="connsiteX11" fmla="*/ 4572 w 10000"/>
                <a:gd name="connsiteY11" fmla="*/ 8714 h 10000"/>
                <a:gd name="connsiteX12" fmla="*/ 7143 w 10000"/>
                <a:gd name="connsiteY12" fmla="*/ 8143 h 10000"/>
                <a:gd name="connsiteX13" fmla="*/ 8287 w 10000"/>
                <a:gd name="connsiteY13" fmla="*/ 8430 h 10000"/>
                <a:gd name="connsiteX14" fmla="*/ 8857 w 10000"/>
                <a:gd name="connsiteY14" fmla="*/ 8857 h 10000"/>
                <a:gd name="connsiteX15" fmla="*/ 9142 w 10000"/>
                <a:gd name="connsiteY15" fmla="*/ 9144 h 10000"/>
                <a:gd name="connsiteX16" fmla="*/ 10000 w 10000"/>
                <a:gd name="connsiteY16" fmla="*/ 8857 h 10000"/>
                <a:gd name="connsiteX17" fmla="*/ 10000 w 10000"/>
                <a:gd name="connsiteY17" fmla="*/ 8430 h 10000"/>
                <a:gd name="connsiteX18" fmla="*/ 9142 w 10000"/>
                <a:gd name="connsiteY18" fmla="*/ 7714 h 10000"/>
                <a:gd name="connsiteX19" fmla="*/ 9142 w 10000"/>
                <a:gd name="connsiteY19" fmla="*/ 7000 h 10000"/>
                <a:gd name="connsiteX20" fmla="*/ 9429 w 10000"/>
                <a:gd name="connsiteY20" fmla="*/ 7000 h 10000"/>
                <a:gd name="connsiteX21" fmla="*/ 8857 w 10000"/>
                <a:gd name="connsiteY21" fmla="*/ 6286 h 10000"/>
                <a:gd name="connsiteX22" fmla="*/ 8572 w 10000"/>
                <a:gd name="connsiteY22" fmla="*/ 6001 h 10000"/>
                <a:gd name="connsiteX23" fmla="*/ 7143 w 10000"/>
                <a:gd name="connsiteY23" fmla="*/ 5857 h 10000"/>
                <a:gd name="connsiteX24" fmla="*/ 5716 w 10000"/>
                <a:gd name="connsiteY24" fmla="*/ 5571 h 10000"/>
                <a:gd name="connsiteX25" fmla="*/ 5145 w 10000"/>
                <a:gd name="connsiteY25" fmla="*/ 4857 h 10000"/>
                <a:gd name="connsiteX26" fmla="*/ 4572 w 10000"/>
                <a:gd name="connsiteY26" fmla="*/ 3714 h 10000"/>
                <a:gd name="connsiteX27" fmla="*/ 5145 w 10000"/>
                <a:gd name="connsiteY27" fmla="*/ 3286 h 10000"/>
                <a:gd name="connsiteX28" fmla="*/ 4859 w 10000"/>
                <a:gd name="connsiteY28" fmla="*/ 2286 h 10000"/>
                <a:gd name="connsiteX29" fmla="*/ 6287 w 10000"/>
                <a:gd name="connsiteY29" fmla="*/ 2286 h 10000"/>
                <a:gd name="connsiteX30" fmla="*/ 6858 w 10000"/>
                <a:gd name="connsiteY30" fmla="*/ 2858 h 10000"/>
                <a:gd name="connsiteX31" fmla="*/ 8000 w 10000"/>
                <a:gd name="connsiteY31" fmla="*/ 2858 h 10000"/>
                <a:gd name="connsiteX32" fmla="*/ 8000 w 10000"/>
                <a:gd name="connsiteY32" fmla="*/ 2429 h 10000"/>
                <a:gd name="connsiteX33" fmla="*/ 8287 w 10000"/>
                <a:gd name="connsiteY33" fmla="*/ 2143 h 10000"/>
                <a:gd name="connsiteX34" fmla="*/ 8572 w 10000"/>
                <a:gd name="connsiteY34" fmla="*/ 2286 h 10000"/>
                <a:gd name="connsiteX35" fmla="*/ 8287 w 10000"/>
                <a:gd name="connsiteY35" fmla="*/ 1429 h 10000"/>
                <a:gd name="connsiteX36" fmla="*/ 8857 w 10000"/>
                <a:gd name="connsiteY36" fmla="*/ 857 h 10000"/>
                <a:gd name="connsiteX37" fmla="*/ 8857 w 10000"/>
                <a:gd name="connsiteY37" fmla="*/ 286 h 10000"/>
                <a:gd name="connsiteX38" fmla="*/ 8287 w 10000"/>
                <a:gd name="connsiteY38" fmla="*/ 0 h 10000"/>
                <a:gd name="connsiteX39" fmla="*/ 7716 w 10000"/>
                <a:gd name="connsiteY39" fmla="*/ 0 h 10000"/>
                <a:gd name="connsiteX40" fmla="*/ 5716 w 10000"/>
                <a:gd name="connsiteY40" fmla="*/ 143 h 10000"/>
                <a:gd name="connsiteX41" fmla="*/ 5430 w 10000"/>
                <a:gd name="connsiteY41" fmla="*/ 0 h 10000"/>
                <a:gd name="connsiteX42" fmla="*/ 5430 w 10000"/>
                <a:gd name="connsiteY42" fmla="*/ 714 h 10000"/>
                <a:gd name="connsiteX43" fmla="*/ 5430 w 10000"/>
                <a:gd name="connsiteY43" fmla="*/ 857 h 10000"/>
                <a:gd name="connsiteX0" fmla="*/ 5430 w 10000"/>
                <a:gd name="connsiteY0" fmla="*/ 857 h 10000"/>
                <a:gd name="connsiteX1" fmla="*/ 4287 w 10000"/>
                <a:gd name="connsiteY1" fmla="*/ 1857 h 10000"/>
                <a:gd name="connsiteX2" fmla="*/ 3716 w 10000"/>
                <a:gd name="connsiteY2" fmla="*/ 2858 h 10000"/>
                <a:gd name="connsiteX3" fmla="*/ 4001 w 10000"/>
                <a:gd name="connsiteY3" fmla="*/ 3714 h 10000"/>
                <a:gd name="connsiteX4" fmla="*/ 0 w 10000"/>
                <a:gd name="connsiteY4" fmla="*/ 9858 h 10000"/>
                <a:gd name="connsiteX5" fmla="*/ 2000 w 10000"/>
                <a:gd name="connsiteY5" fmla="*/ 10000 h 10000"/>
                <a:gd name="connsiteX6" fmla="*/ 2859 w 10000"/>
                <a:gd name="connsiteY6" fmla="*/ 9571 h 10000"/>
                <a:gd name="connsiteX7" fmla="*/ 4001 w 10000"/>
                <a:gd name="connsiteY7" fmla="*/ 9000 h 10000"/>
                <a:gd name="connsiteX8" fmla="*/ 4859 w 10000"/>
                <a:gd name="connsiteY8" fmla="*/ 8857 h 10000"/>
                <a:gd name="connsiteX9" fmla="*/ 4572 w 10000"/>
                <a:gd name="connsiteY9" fmla="*/ 8857 h 10000"/>
                <a:gd name="connsiteX10" fmla="*/ 4572 w 10000"/>
                <a:gd name="connsiteY10" fmla="*/ 8714 h 10000"/>
                <a:gd name="connsiteX11" fmla="*/ 7143 w 10000"/>
                <a:gd name="connsiteY11" fmla="*/ 8143 h 10000"/>
                <a:gd name="connsiteX12" fmla="*/ 8287 w 10000"/>
                <a:gd name="connsiteY12" fmla="*/ 8430 h 10000"/>
                <a:gd name="connsiteX13" fmla="*/ 8857 w 10000"/>
                <a:gd name="connsiteY13" fmla="*/ 8857 h 10000"/>
                <a:gd name="connsiteX14" fmla="*/ 9142 w 10000"/>
                <a:gd name="connsiteY14" fmla="*/ 9144 h 10000"/>
                <a:gd name="connsiteX15" fmla="*/ 10000 w 10000"/>
                <a:gd name="connsiteY15" fmla="*/ 8857 h 10000"/>
                <a:gd name="connsiteX16" fmla="*/ 10000 w 10000"/>
                <a:gd name="connsiteY16" fmla="*/ 8430 h 10000"/>
                <a:gd name="connsiteX17" fmla="*/ 9142 w 10000"/>
                <a:gd name="connsiteY17" fmla="*/ 7714 h 10000"/>
                <a:gd name="connsiteX18" fmla="*/ 9142 w 10000"/>
                <a:gd name="connsiteY18" fmla="*/ 7000 h 10000"/>
                <a:gd name="connsiteX19" fmla="*/ 9429 w 10000"/>
                <a:gd name="connsiteY19" fmla="*/ 7000 h 10000"/>
                <a:gd name="connsiteX20" fmla="*/ 8857 w 10000"/>
                <a:gd name="connsiteY20" fmla="*/ 6286 h 10000"/>
                <a:gd name="connsiteX21" fmla="*/ 8572 w 10000"/>
                <a:gd name="connsiteY21" fmla="*/ 6001 h 10000"/>
                <a:gd name="connsiteX22" fmla="*/ 7143 w 10000"/>
                <a:gd name="connsiteY22" fmla="*/ 5857 h 10000"/>
                <a:gd name="connsiteX23" fmla="*/ 5716 w 10000"/>
                <a:gd name="connsiteY23" fmla="*/ 5571 h 10000"/>
                <a:gd name="connsiteX24" fmla="*/ 5145 w 10000"/>
                <a:gd name="connsiteY24" fmla="*/ 4857 h 10000"/>
                <a:gd name="connsiteX25" fmla="*/ 4572 w 10000"/>
                <a:gd name="connsiteY25" fmla="*/ 3714 h 10000"/>
                <a:gd name="connsiteX26" fmla="*/ 5145 w 10000"/>
                <a:gd name="connsiteY26" fmla="*/ 3286 h 10000"/>
                <a:gd name="connsiteX27" fmla="*/ 4859 w 10000"/>
                <a:gd name="connsiteY27" fmla="*/ 2286 h 10000"/>
                <a:gd name="connsiteX28" fmla="*/ 6287 w 10000"/>
                <a:gd name="connsiteY28" fmla="*/ 2286 h 10000"/>
                <a:gd name="connsiteX29" fmla="*/ 6858 w 10000"/>
                <a:gd name="connsiteY29" fmla="*/ 2858 h 10000"/>
                <a:gd name="connsiteX30" fmla="*/ 8000 w 10000"/>
                <a:gd name="connsiteY30" fmla="*/ 2858 h 10000"/>
                <a:gd name="connsiteX31" fmla="*/ 8000 w 10000"/>
                <a:gd name="connsiteY31" fmla="*/ 2429 h 10000"/>
                <a:gd name="connsiteX32" fmla="*/ 8287 w 10000"/>
                <a:gd name="connsiteY32" fmla="*/ 2143 h 10000"/>
                <a:gd name="connsiteX33" fmla="*/ 8572 w 10000"/>
                <a:gd name="connsiteY33" fmla="*/ 2286 h 10000"/>
                <a:gd name="connsiteX34" fmla="*/ 8287 w 10000"/>
                <a:gd name="connsiteY34" fmla="*/ 1429 h 10000"/>
                <a:gd name="connsiteX35" fmla="*/ 8857 w 10000"/>
                <a:gd name="connsiteY35" fmla="*/ 857 h 10000"/>
                <a:gd name="connsiteX36" fmla="*/ 8857 w 10000"/>
                <a:gd name="connsiteY36" fmla="*/ 286 h 10000"/>
                <a:gd name="connsiteX37" fmla="*/ 8287 w 10000"/>
                <a:gd name="connsiteY37" fmla="*/ 0 h 10000"/>
                <a:gd name="connsiteX38" fmla="*/ 7716 w 10000"/>
                <a:gd name="connsiteY38" fmla="*/ 0 h 10000"/>
                <a:gd name="connsiteX39" fmla="*/ 5716 w 10000"/>
                <a:gd name="connsiteY39" fmla="*/ 143 h 10000"/>
                <a:gd name="connsiteX40" fmla="*/ 5430 w 10000"/>
                <a:gd name="connsiteY40" fmla="*/ 0 h 10000"/>
                <a:gd name="connsiteX41" fmla="*/ 5430 w 10000"/>
                <a:gd name="connsiteY41" fmla="*/ 714 h 10000"/>
                <a:gd name="connsiteX42" fmla="*/ 5430 w 10000"/>
                <a:gd name="connsiteY42" fmla="*/ 857 h 10000"/>
                <a:gd name="connsiteX0" fmla="*/ 3430 w 8000"/>
                <a:gd name="connsiteY0" fmla="*/ 857 h 10000"/>
                <a:gd name="connsiteX1" fmla="*/ 2287 w 8000"/>
                <a:gd name="connsiteY1" fmla="*/ 1857 h 10000"/>
                <a:gd name="connsiteX2" fmla="*/ 1716 w 8000"/>
                <a:gd name="connsiteY2" fmla="*/ 2858 h 10000"/>
                <a:gd name="connsiteX3" fmla="*/ 2001 w 8000"/>
                <a:gd name="connsiteY3" fmla="*/ 3714 h 10000"/>
                <a:gd name="connsiteX4" fmla="*/ 0 w 8000"/>
                <a:gd name="connsiteY4" fmla="*/ 10000 h 10000"/>
                <a:gd name="connsiteX5" fmla="*/ 859 w 8000"/>
                <a:gd name="connsiteY5" fmla="*/ 9571 h 10000"/>
                <a:gd name="connsiteX6" fmla="*/ 2001 w 8000"/>
                <a:gd name="connsiteY6" fmla="*/ 9000 h 10000"/>
                <a:gd name="connsiteX7" fmla="*/ 2859 w 8000"/>
                <a:gd name="connsiteY7" fmla="*/ 8857 h 10000"/>
                <a:gd name="connsiteX8" fmla="*/ 2572 w 8000"/>
                <a:gd name="connsiteY8" fmla="*/ 8857 h 10000"/>
                <a:gd name="connsiteX9" fmla="*/ 2572 w 8000"/>
                <a:gd name="connsiteY9" fmla="*/ 8714 h 10000"/>
                <a:gd name="connsiteX10" fmla="*/ 5143 w 8000"/>
                <a:gd name="connsiteY10" fmla="*/ 8143 h 10000"/>
                <a:gd name="connsiteX11" fmla="*/ 6287 w 8000"/>
                <a:gd name="connsiteY11" fmla="*/ 8430 h 10000"/>
                <a:gd name="connsiteX12" fmla="*/ 6857 w 8000"/>
                <a:gd name="connsiteY12" fmla="*/ 8857 h 10000"/>
                <a:gd name="connsiteX13" fmla="*/ 7142 w 8000"/>
                <a:gd name="connsiteY13" fmla="*/ 9144 h 10000"/>
                <a:gd name="connsiteX14" fmla="*/ 8000 w 8000"/>
                <a:gd name="connsiteY14" fmla="*/ 8857 h 10000"/>
                <a:gd name="connsiteX15" fmla="*/ 8000 w 8000"/>
                <a:gd name="connsiteY15" fmla="*/ 8430 h 10000"/>
                <a:gd name="connsiteX16" fmla="*/ 7142 w 8000"/>
                <a:gd name="connsiteY16" fmla="*/ 7714 h 10000"/>
                <a:gd name="connsiteX17" fmla="*/ 7142 w 8000"/>
                <a:gd name="connsiteY17" fmla="*/ 7000 h 10000"/>
                <a:gd name="connsiteX18" fmla="*/ 7429 w 8000"/>
                <a:gd name="connsiteY18" fmla="*/ 7000 h 10000"/>
                <a:gd name="connsiteX19" fmla="*/ 6857 w 8000"/>
                <a:gd name="connsiteY19" fmla="*/ 6286 h 10000"/>
                <a:gd name="connsiteX20" fmla="*/ 6572 w 8000"/>
                <a:gd name="connsiteY20" fmla="*/ 6001 h 10000"/>
                <a:gd name="connsiteX21" fmla="*/ 5143 w 8000"/>
                <a:gd name="connsiteY21" fmla="*/ 5857 h 10000"/>
                <a:gd name="connsiteX22" fmla="*/ 3716 w 8000"/>
                <a:gd name="connsiteY22" fmla="*/ 5571 h 10000"/>
                <a:gd name="connsiteX23" fmla="*/ 3145 w 8000"/>
                <a:gd name="connsiteY23" fmla="*/ 4857 h 10000"/>
                <a:gd name="connsiteX24" fmla="*/ 2572 w 8000"/>
                <a:gd name="connsiteY24" fmla="*/ 3714 h 10000"/>
                <a:gd name="connsiteX25" fmla="*/ 3145 w 8000"/>
                <a:gd name="connsiteY25" fmla="*/ 3286 h 10000"/>
                <a:gd name="connsiteX26" fmla="*/ 2859 w 8000"/>
                <a:gd name="connsiteY26" fmla="*/ 2286 h 10000"/>
                <a:gd name="connsiteX27" fmla="*/ 4287 w 8000"/>
                <a:gd name="connsiteY27" fmla="*/ 2286 h 10000"/>
                <a:gd name="connsiteX28" fmla="*/ 4858 w 8000"/>
                <a:gd name="connsiteY28" fmla="*/ 2858 h 10000"/>
                <a:gd name="connsiteX29" fmla="*/ 6000 w 8000"/>
                <a:gd name="connsiteY29" fmla="*/ 2858 h 10000"/>
                <a:gd name="connsiteX30" fmla="*/ 6000 w 8000"/>
                <a:gd name="connsiteY30" fmla="*/ 2429 h 10000"/>
                <a:gd name="connsiteX31" fmla="*/ 6287 w 8000"/>
                <a:gd name="connsiteY31" fmla="*/ 2143 h 10000"/>
                <a:gd name="connsiteX32" fmla="*/ 6572 w 8000"/>
                <a:gd name="connsiteY32" fmla="*/ 2286 h 10000"/>
                <a:gd name="connsiteX33" fmla="*/ 6287 w 8000"/>
                <a:gd name="connsiteY33" fmla="*/ 1429 h 10000"/>
                <a:gd name="connsiteX34" fmla="*/ 6857 w 8000"/>
                <a:gd name="connsiteY34" fmla="*/ 857 h 10000"/>
                <a:gd name="connsiteX35" fmla="*/ 6857 w 8000"/>
                <a:gd name="connsiteY35" fmla="*/ 286 h 10000"/>
                <a:gd name="connsiteX36" fmla="*/ 6287 w 8000"/>
                <a:gd name="connsiteY36" fmla="*/ 0 h 10000"/>
                <a:gd name="connsiteX37" fmla="*/ 5716 w 8000"/>
                <a:gd name="connsiteY37" fmla="*/ 0 h 10000"/>
                <a:gd name="connsiteX38" fmla="*/ 3716 w 8000"/>
                <a:gd name="connsiteY38" fmla="*/ 143 h 10000"/>
                <a:gd name="connsiteX39" fmla="*/ 3430 w 8000"/>
                <a:gd name="connsiteY39" fmla="*/ 0 h 10000"/>
                <a:gd name="connsiteX40" fmla="*/ 3430 w 8000"/>
                <a:gd name="connsiteY40" fmla="*/ 714 h 10000"/>
                <a:gd name="connsiteX41" fmla="*/ 3430 w 8000"/>
                <a:gd name="connsiteY41" fmla="*/ 857 h 10000"/>
                <a:gd name="connsiteX0" fmla="*/ 3214 w 8926"/>
                <a:gd name="connsiteY0" fmla="*/ 857 h 9880"/>
                <a:gd name="connsiteX1" fmla="*/ 1785 w 8926"/>
                <a:gd name="connsiteY1" fmla="*/ 1857 h 9880"/>
                <a:gd name="connsiteX2" fmla="*/ 1071 w 8926"/>
                <a:gd name="connsiteY2" fmla="*/ 2858 h 9880"/>
                <a:gd name="connsiteX3" fmla="*/ 1427 w 8926"/>
                <a:gd name="connsiteY3" fmla="*/ 3714 h 9880"/>
                <a:gd name="connsiteX4" fmla="*/ 0 w 8926"/>
                <a:gd name="connsiteY4" fmla="*/ 9571 h 9880"/>
                <a:gd name="connsiteX5" fmla="*/ 1427 w 8926"/>
                <a:gd name="connsiteY5" fmla="*/ 9000 h 9880"/>
                <a:gd name="connsiteX6" fmla="*/ 2500 w 8926"/>
                <a:gd name="connsiteY6" fmla="*/ 8857 h 9880"/>
                <a:gd name="connsiteX7" fmla="*/ 2141 w 8926"/>
                <a:gd name="connsiteY7" fmla="*/ 8857 h 9880"/>
                <a:gd name="connsiteX8" fmla="*/ 2141 w 8926"/>
                <a:gd name="connsiteY8" fmla="*/ 8714 h 9880"/>
                <a:gd name="connsiteX9" fmla="*/ 5355 w 8926"/>
                <a:gd name="connsiteY9" fmla="*/ 8143 h 9880"/>
                <a:gd name="connsiteX10" fmla="*/ 6785 w 8926"/>
                <a:gd name="connsiteY10" fmla="*/ 8430 h 9880"/>
                <a:gd name="connsiteX11" fmla="*/ 7497 w 8926"/>
                <a:gd name="connsiteY11" fmla="*/ 8857 h 9880"/>
                <a:gd name="connsiteX12" fmla="*/ 7854 w 8926"/>
                <a:gd name="connsiteY12" fmla="*/ 9144 h 9880"/>
                <a:gd name="connsiteX13" fmla="*/ 8926 w 8926"/>
                <a:gd name="connsiteY13" fmla="*/ 8857 h 9880"/>
                <a:gd name="connsiteX14" fmla="*/ 8926 w 8926"/>
                <a:gd name="connsiteY14" fmla="*/ 8430 h 9880"/>
                <a:gd name="connsiteX15" fmla="*/ 7854 w 8926"/>
                <a:gd name="connsiteY15" fmla="*/ 7714 h 9880"/>
                <a:gd name="connsiteX16" fmla="*/ 7854 w 8926"/>
                <a:gd name="connsiteY16" fmla="*/ 7000 h 9880"/>
                <a:gd name="connsiteX17" fmla="*/ 8212 w 8926"/>
                <a:gd name="connsiteY17" fmla="*/ 7000 h 9880"/>
                <a:gd name="connsiteX18" fmla="*/ 7497 w 8926"/>
                <a:gd name="connsiteY18" fmla="*/ 6286 h 9880"/>
                <a:gd name="connsiteX19" fmla="*/ 7141 w 8926"/>
                <a:gd name="connsiteY19" fmla="*/ 6001 h 9880"/>
                <a:gd name="connsiteX20" fmla="*/ 5355 w 8926"/>
                <a:gd name="connsiteY20" fmla="*/ 5857 h 9880"/>
                <a:gd name="connsiteX21" fmla="*/ 3571 w 8926"/>
                <a:gd name="connsiteY21" fmla="*/ 5571 h 9880"/>
                <a:gd name="connsiteX22" fmla="*/ 2857 w 8926"/>
                <a:gd name="connsiteY22" fmla="*/ 4857 h 9880"/>
                <a:gd name="connsiteX23" fmla="*/ 2141 w 8926"/>
                <a:gd name="connsiteY23" fmla="*/ 3714 h 9880"/>
                <a:gd name="connsiteX24" fmla="*/ 2857 w 8926"/>
                <a:gd name="connsiteY24" fmla="*/ 3286 h 9880"/>
                <a:gd name="connsiteX25" fmla="*/ 2500 w 8926"/>
                <a:gd name="connsiteY25" fmla="*/ 2286 h 9880"/>
                <a:gd name="connsiteX26" fmla="*/ 4285 w 8926"/>
                <a:gd name="connsiteY26" fmla="*/ 2286 h 9880"/>
                <a:gd name="connsiteX27" fmla="*/ 4999 w 8926"/>
                <a:gd name="connsiteY27" fmla="*/ 2858 h 9880"/>
                <a:gd name="connsiteX28" fmla="*/ 6426 w 8926"/>
                <a:gd name="connsiteY28" fmla="*/ 2858 h 9880"/>
                <a:gd name="connsiteX29" fmla="*/ 6426 w 8926"/>
                <a:gd name="connsiteY29" fmla="*/ 2429 h 9880"/>
                <a:gd name="connsiteX30" fmla="*/ 6785 w 8926"/>
                <a:gd name="connsiteY30" fmla="*/ 2143 h 9880"/>
                <a:gd name="connsiteX31" fmla="*/ 7141 w 8926"/>
                <a:gd name="connsiteY31" fmla="*/ 2286 h 9880"/>
                <a:gd name="connsiteX32" fmla="*/ 6785 w 8926"/>
                <a:gd name="connsiteY32" fmla="*/ 1429 h 9880"/>
                <a:gd name="connsiteX33" fmla="*/ 7497 w 8926"/>
                <a:gd name="connsiteY33" fmla="*/ 857 h 9880"/>
                <a:gd name="connsiteX34" fmla="*/ 7497 w 8926"/>
                <a:gd name="connsiteY34" fmla="*/ 286 h 9880"/>
                <a:gd name="connsiteX35" fmla="*/ 6785 w 8926"/>
                <a:gd name="connsiteY35" fmla="*/ 0 h 9880"/>
                <a:gd name="connsiteX36" fmla="*/ 6071 w 8926"/>
                <a:gd name="connsiteY36" fmla="*/ 0 h 9880"/>
                <a:gd name="connsiteX37" fmla="*/ 3571 w 8926"/>
                <a:gd name="connsiteY37" fmla="*/ 143 h 9880"/>
                <a:gd name="connsiteX38" fmla="*/ 3214 w 8926"/>
                <a:gd name="connsiteY38" fmla="*/ 0 h 9880"/>
                <a:gd name="connsiteX39" fmla="*/ 3214 w 8926"/>
                <a:gd name="connsiteY39" fmla="*/ 714 h 9880"/>
                <a:gd name="connsiteX40" fmla="*/ 3214 w 8926"/>
                <a:gd name="connsiteY40" fmla="*/ 857 h 9880"/>
                <a:gd name="connsiteX0" fmla="*/ 2401 w 8800"/>
                <a:gd name="connsiteY0" fmla="*/ 867 h 9255"/>
                <a:gd name="connsiteX1" fmla="*/ 800 w 8800"/>
                <a:gd name="connsiteY1" fmla="*/ 1880 h 9255"/>
                <a:gd name="connsiteX2" fmla="*/ 0 w 8800"/>
                <a:gd name="connsiteY2" fmla="*/ 2893 h 9255"/>
                <a:gd name="connsiteX3" fmla="*/ 399 w 8800"/>
                <a:gd name="connsiteY3" fmla="*/ 3759 h 9255"/>
                <a:gd name="connsiteX4" fmla="*/ 399 w 8800"/>
                <a:gd name="connsiteY4" fmla="*/ 9109 h 9255"/>
                <a:gd name="connsiteX5" fmla="*/ 1601 w 8800"/>
                <a:gd name="connsiteY5" fmla="*/ 8965 h 9255"/>
                <a:gd name="connsiteX6" fmla="*/ 1199 w 8800"/>
                <a:gd name="connsiteY6" fmla="*/ 8965 h 9255"/>
                <a:gd name="connsiteX7" fmla="*/ 1199 w 8800"/>
                <a:gd name="connsiteY7" fmla="*/ 8820 h 9255"/>
                <a:gd name="connsiteX8" fmla="*/ 4799 w 8800"/>
                <a:gd name="connsiteY8" fmla="*/ 8242 h 9255"/>
                <a:gd name="connsiteX9" fmla="*/ 6401 w 8800"/>
                <a:gd name="connsiteY9" fmla="*/ 8532 h 9255"/>
                <a:gd name="connsiteX10" fmla="*/ 7199 w 8800"/>
                <a:gd name="connsiteY10" fmla="*/ 8965 h 9255"/>
                <a:gd name="connsiteX11" fmla="*/ 7599 w 8800"/>
                <a:gd name="connsiteY11" fmla="*/ 9255 h 9255"/>
                <a:gd name="connsiteX12" fmla="*/ 8800 w 8800"/>
                <a:gd name="connsiteY12" fmla="*/ 8965 h 9255"/>
                <a:gd name="connsiteX13" fmla="*/ 8800 w 8800"/>
                <a:gd name="connsiteY13" fmla="*/ 8532 h 9255"/>
                <a:gd name="connsiteX14" fmla="*/ 7599 w 8800"/>
                <a:gd name="connsiteY14" fmla="*/ 7808 h 9255"/>
                <a:gd name="connsiteX15" fmla="*/ 7599 w 8800"/>
                <a:gd name="connsiteY15" fmla="*/ 7085 h 9255"/>
                <a:gd name="connsiteX16" fmla="*/ 8000 w 8800"/>
                <a:gd name="connsiteY16" fmla="*/ 7085 h 9255"/>
                <a:gd name="connsiteX17" fmla="*/ 7199 w 8800"/>
                <a:gd name="connsiteY17" fmla="*/ 6362 h 9255"/>
                <a:gd name="connsiteX18" fmla="*/ 6800 w 8800"/>
                <a:gd name="connsiteY18" fmla="*/ 6074 h 9255"/>
                <a:gd name="connsiteX19" fmla="*/ 4799 w 8800"/>
                <a:gd name="connsiteY19" fmla="*/ 5928 h 9255"/>
                <a:gd name="connsiteX20" fmla="*/ 2801 w 8800"/>
                <a:gd name="connsiteY20" fmla="*/ 5639 h 9255"/>
                <a:gd name="connsiteX21" fmla="*/ 2001 w 8800"/>
                <a:gd name="connsiteY21" fmla="*/ 4916 h 9255"/>
                <a:gd name="connsiteX22" fmla="*/ 1199 w 8800"/>
                <a:gd name="connsiteY22" fmla="*/ 3759 h 9255"/>
                <a:gd name="connsiteX23" fmla="*/ 2001 w 8800"/>
                <a:gd name="connsiteY23" fmla="*/ 3326 h 9255"/>
                <a:gd name="connsiteX24" fmla="*/ 1601 w 8800"/>
                <a:gd name="connsiteY24" fmla="*/ 2314 h 9255"/>
                <a:gd name="connsiteX25" fmla="*/ 3601 w 8800"/>
                <a:gd name="connsiteY25" fmla="*/ 2314 h 9255"/>
                <a:gd name="connsiteX26" fmla="*/ 4400 w 8800"/>
                <a:gd name="connsiteY26" fmla="*/ 2893 h 9255"/>
                <a:gd name="connsiteX27" fmla="*/ 5999 w 8800"/>
                <a:gd name="connsiteY27" fmla="*/ 2893 h 9255"/>
                <a:gd name="connsiteX28" fmla="*/ 5999 w 8800"/>
                <a:gd name="connsiteY28" fmla="*/ 2459 h 9255"/>
                <a:gd name="connsiteX29" fmla="*/ 6401 w 8800"/>
                <a:gd name="connsiteY29" fmla="*/ 2169 h 9255"/>
                <a:gd name="connsiteX30" fmla="*/ 6800 w 8800"/>
                <a:gd name="connsiteY30" fmla="*/ 2314 h 9255"/>
                <a:gd name="connsiteX31" fmla="*/ 6401 w 8800"/>
                <a:gd name="connsiteY31" fmla="*/ 1446 h 9255"/>
                <a:gd name="connsiteX32" fmla="*/ 7199 w 8800"/>
                <a:gd name="connsiteY32" fmla="*/ 867 h 9255"/>
                <a:gd name="connsiteX33" fmla="*/ 7199 w 8800"/>
                <a:gd name="connsiteY33" fmla="*/ 289 h 9255"/>
                <a:gd name="connsiteX34" fmla="*/ 6401 w 8800"/>
                <a:gd name="connsiteY34" fmla="*/ 0 h 9255"/>
                <a:gd name="connsiteX35" fmla="*/ 5601 w 8800"/>
                <a:gd name="connsiteY35" fmla="*/ 0 h 9255"/>
                <a:gd name="connsiteX36" fmla="*/ 2801 w 8800"/>
                <a:gd name="connsiteY36" fmla="*/ 145 h 9255"/>
                <a:gd name="connsiteX37" fmla="*/ 2401 w 8800"/>
                <a:gd name="connsiteY37" fmla="*/ 0 h 9255"/>
                <a:gd name="connsiteX38" fmla="*/ 2401 w 8800"/>
                <a:gd name="connsiteY38" fmla="*/ 723 h 9255"/>
                <a:gd name="connsiteX39" fmla="*/ 2401 w 8800"/>
                <a:gd name="connsiteY39" fmla="*/ 867 h 9255"/>
                <a:gd name="connsiteX0" fmla="*/ 2728 w 10000"/>
                <a:gd name="connsiteY0" fmla="*/ 937 h 10000"/>
                <a:gd name="connsiteX1" fmla="*/ 909 w 10000"/>
                <a:gd name="connsiteY1" fmla="*/ 2031 h 10000"/>
                <a:gd name="connsiteX2" fmla="*/ 0 w 10000"/>
                <a:gd name="connsiteY2" fmla="*/ 3126 h 10000"/>
                <a:gd name="connsiteX3" fmla="*/ 453 w 10000"/>
                <a:gd name="connsiteY3" fmla="*/ 4062 h 10000"/>
                <a:gd name="connsiteX4" fmla="*/ 1819 w 10000"/>
                <a:gd name="connsiteY4" fmla="*/ 9687 h 10000"/>
                <a:gd name="connsiteX5" fmla="*/ 1363 w 10000"/>
                <a:gd name="connsiteY5" fmla="*/ 9687 h 10000"/>
                <a:gd name="connsiteX6" fmla="*/ 1363 w 10000"/>
                <a:gd name="connsiteY6" fmla="*/ 9530 h 10000"/>
                <a:gd name="connsiteX7" fmla="*/ 5453 w 10000"/>
                <a:gd name="connsiteY7" fmla="*/ 8905 h 10000"/>
                <a:gd name="connsiteX8" fmla="*/ 7274 w 10000"/>
                <a:gd name="connsiteY8" fmla="*/ 9219 h 10000"/>
                <a:gd name="connsiteX9" fmla="*/ 8181 w 10000"/>
                <a:gd name="connsiteY9" fmla="*/ 9687 h 10000"/>
                <a:gd name="connsiteX10" fmla="*/ 8635 w 10000"/>
                <a:gd name="connsiteY10" fmla="*/ 10000 h 10000"/>
                <a:gd name="connsiteX11" fmla="*/ 10000 w 10000"/>
                <a:gd name="connsiteY11" fmla="*/ 9687 h 10000"/>
                <a:gd name="connsiteX12" fmla="*/ 10000 w 10000"/>
                <a:gd name="connsiteY12" fmla="*/ 9219 h 10000"/>
                <a:gd name="connsiteX13" fmla="*/ 8635 w 10000"/>
                <a:gd name="connsiteY13" fmla="*/ 8437 h 10000"/>
                <a:gd name="connsiteX14" fmla="*/ 8635 w 10000"/>
                <a:gd name="connsiteY14" fmla="*/ 7655 h 10000"/>
                <a:gd name="connsiteX15" fmla="*/ 9091 w 10000"/>
                <a:gd name="connsiteY15" fmla="*/ 7655 h 10000"/>
                <a:gd name="connsiteX16" fmla="*/ 8181 w 10000"/>
                <a:gd name="connsiteY16" fmla="*/ 6874 h 10000"/>
                <a:gd name="connsiteX17" fmla="*/ 7727 w 10000"/>
                <a:gd name="connsiteY17" fmla="*/ 6563 h 10000"/>
                <a:gd name="connsiteX18" fmla="*/ 5453 w 10000"/>
                <a:gd name="connsiteY18" fmla="*/ 6405 h 10000"/>
                <a:gd name="connsiteX19" fmla="*/ 3183 w 10000"/>
                <a:gd name="connsiteY19" fmla="*/ 6093 h 10000"/>
                <a:gd name="connsiteX20" fmla="*/ 2274 w 10000"/>
                <a:gd name="connsiteY20" fmla="*/ 5312 h 10000"/>
                <a:gd name="connsiteX21" fmla="*/ 1363 w 10000"/>
                <a:gd name="connsiteY21" fmla="*/ 4062 h 10000"/>
                <a:gd name="connsiteX22" fmla="*/ 2274 w 10000"/>
                <a:gd name="connsiteY22" fmla="*/ 3594 h 10000"/>
                <a:gd name="connsiteX23" fmla="*/ 1819 w 10000"/>
                <a:gd name="connsiteY23" fmla="*/ 2500 h 10000"/>
                <a:gd name="connsiteX24" fmla="*/ 4092 w 10000"/>
                <a:gd name="connsiteY24" fmla="*/ 2500 h 10000"/>
                <a:gd name="connsiteX25" fmla="*/ 5000 w 10000"/>
                <a:gd name="connsiteY25" fmla="*/ 3126 h 10000"/>
                <a:gd name="connsiteX26" fmla="*/ 6817 w 10000"/>
                <a:gd name="connsiteY26" fmla="*/ 3126 h 10000"/>
                <a:gd name="connsiteX27" fmla="*/ 6817 w 10000"/>
                <a:gd name="connsiteY27" fmla="*/ 2657 h 10000"/>
                <a:gd name="connsiteX28" fmla="*/ 7274 w 10000"/>
                <a:gd name="connsiteY28" fmla="*/ 2344 h 10000"/>
                <a:gd name="connsiteX29" fmla="*/ 7727 w 10000"/>
                <a:gd name="connsiteY29" fmla="*/ 2500 h 10000"/>
                <a:gd name="connsiteX30" fmla="*/ 7274 w 10000"/>
                <a:gd name="connsiteY30" fmla="*/ 1562 h 10000"/>
                <a:gd name="connsiteX31" fmla="*/ 8181 w 10000"/>
                <a:gd name="connsiteY31" fmla="*/ 937 h 10000"/>
                <a:gd name="connsiteX32" fmla="*/ 8181 w 10000"/>
                <a:gd name="connsiteY32" fmla="*/ 312 h 10000"/>
                <a:gd name="connsiteX33" fmla="*/ 7274 w 10000"/>
                <a:gd name="connsiteY33" fmla="*/ 0 h 10000"/>
                <a:gd name="connsiteX34" fmla="*/ 6365 w 10000"/>
                <a:gd name="connsiteY34" fmla="*/ 0 h 10000"/>
                <a:gd name="connsiteX35" fmla="*/ 3183 w 10000"/>
                <a:gd name="connsiteY35" fmla="*/ 157 h 10000"/>
                <a:gd name="connsiteX36" fmla="*/ 2728 w 10000"/>
                <a:gd name="connsiteY36" fmla="*/ 0 h 10000"/>
                <a:gd name="connsiteX37" fmla="*/ 2728 w 10000"/>
                <a:gd name="connsiteY37" fmla="*/ 781 h 10000"/>
                <a:gd name="connsiteX38" fmla="*/ 2728 w 10000"/>
                <a:gd name="connsiteY38" fmla="*/ 937 h 10000"/>
                <a:gd name="connsiteX0" fmla="*/ 2728 w 10000"/>
                <a:gd name="connsiteY0" fmla="*/ 937 h 10000"/>
                <a:gd name="connsiteX1" fmla="*/ 909 w 10000"/>
                <a:gd name="connsiteY1" fmla="*/ 2031 h 10000"/>
                <a:gd name="connsiteX2" fmla="*/ 0 w 10000"/>
                <a:gd name="connsiteY2" fmla="*/ 3126 h 10000"/>
                <a:gd name="connsiteX3" fmla="*/ 453 w 10000"/>
                <a:gd name="connsiteY3" fmla="*/ 4062 h 10000"/>
                <a:gd name="connsiteX4" fmla="*/ 1819 w 10000"/>
                <a:gd name="connsiteY4" fmla="*/ 9687 h 10000"/>
                <a:gd name="connsiteX5" fmla="*/ 1363 w 10000"/>
                <a:gd name="connsiteY5" fmla="*/ 9530 h 10000"/>
                <a:gd name="connsiteX6" fmla="*/ 5453 w 10000"/>
                <a:gd name="connsiteY6" fmla="*/ 8905 h 10000"/>
                <a:gd name="connsiteX7" fmla="*/ 7274 w 10000"/>
                <a:gd name="connsiteY7" fmla="*/ 9219 h 10000"/>
                <a:gd name="connsiteX8" fmla="*/ 8181 w 10000"/>
                <a:gd name="connsiteY8" fmla="*/ 9687 h 10000"/>
                <a:gd name="connsiteX9" fmla="*/ 8635 w 10000"/>
                <a:gd name="connsiteY9" fmla="*/ 10000 h 10000"/>
                <a:gd name="connsiteX10" fmla="*/ 10000 w 10000"/>
                <a:gd name="connsiteY10" fmla="*/ 9687 h 10000"/>
                <a:gd name="connsiteX11" fmla="*/ 10000 w 10000"/>
                <a:gd name="connsiteY11" fmla="*/ 9219 h 10000"/>
                <a:gd name="connsiteX12" fmla="*/ 8635 w 10000"/>
                <a:gd name="connsiteY12" fmla="*/ 8437 h 10000"/>
                <a:gd name="connsiteX13" fmla="*/ 8635 w 10000"/>
                <a:gd name="connsiteY13" fmla="*/ 7655 h 10000"/>
                <a:gd name="connsiteX14" fmla="*/ 9091 w 10000"/>
                <a:gd name="connsiteY14" fmla="*/ 7655 h 10000"/>
                <a:gd name="connsiteX15" fmla="*/ 8181 w 10000"/>
                <a:gd name="connsiteY15" fmla="*/ 6874 h 10000"/>
                <a:gd name="connsiteX16" fmla="*/ 7727 w 10000"/>
                <a:gd name="connsiteY16" fmla="*/ 6563 h 10000"/>
                <a:gd name="connsiteX17" fmla="*/ 5453 w 10000"/>
                <a:gd name="connsiteY17" fmla="*/ 6405 h 10000"/>
                <a:gd name="connsiteX18" fmla="*/ 3183 w 10000"/>
                <a:gd name="connsiteY18" fmla="*/ 6093 h 10000"/>
                <a:gd name="connsiteX19" fmla="*/ 2274 w 10000"/>
                <a:gd name="connsiteY19" fmla="*/ 5312 h 10000"/>
                <a:gd name="connsiteX20" fmla="*/ 1363 w 10000"/>
                <a:gd name="connsiteY20" fmla="*/ 4062 h 10000"/>
                <a:gd name="connsiteX21" fmla="*/ 2274 w 10000"/>
                <a:gd name="connsiteY21" fmla="*/ 3594 h 10000"/>
                <a:gd name="connsiteX22" fmla="*/ 1819 w 10000"/>
                <a:gd name="connsiteY22" fmla="*/ 2500 h 10000"/>
                <a:gd name="connsiteX23" fmla="*/ 4092 w 10000"/>
                <a:gd name="connsiteY23" fmla="*/ 2500 h 10000"/>
                <a:gd name="connsiteX24" fmla="*/ 5000 w 10000"/>
                <a:gd name="connsiteY24" fmla="*/ 3126 h 10000"/>
                <a:gd name="connsiteX25" fmla="*/ 6817 w 10000"/>
                <a:gd name="connsiteY25" fmla="*/ 3126 h 10000"/>
                <a:gd name="connsiteX26" fmla="*/ 6817 w 10000"/>
                <a:gd name="connsiteY26" fmla="*/ 2657 h 10000"/>
                <a:gd name="connsiteX27" fmla="*/ 7274 w 10000"/>
                <a:gd name="connsiteY27" fmla="*/ 2344 h 10000"/>
                <a:gd name="connsiteX28" fmla="*/ 7727 w 10000"/>
                <a:gd name="connsiteY28" fmla="*/ 2500 h 10000"/>
                <a:gd name="connsiteX29" fmla="*/ 7274 w 10000"/>
                <a:gd name="connsiteY29" fmla="*/ 1562 h 10000"/>
                <a:gd name="connsiteX30" fmla="*/ 8181 w 10000"/>
                <a:gd name="connsiteY30" fmla="*/ 937 h 10000"/>
                <a:gd name="connsiteX31" fmla="*/ 8181 w 10000"/>
                <a:gd name="connsiteY31" fmla="*/ 312 h 10000"/>
                <a:gd name="connsiteX32" fmla="*/ 7274 w 10000"/>
                <a:gd name="connsiteY32" fmla="*/ 0 h 10000"/>
                <a:gd name="connsiteX33" fmla="*/ 6365 w 10000"/>
                <a:gd name="connsiteY33" fmla="*/ 0 h 10000"/>
                <a:gd name="connsiteX34" fmla="*/ 3183 w 10000"/>
                <a:gd name="connsiteY34" fmla="*/ 157 h 10000"/>
                <a:gd name="connsiteX35" fmla="*/ 2728 w 10000"/>
                <a:gd name="connsiteY35" fmla="*/ 0 h 10000"/>
                <a:gd name="connsiteX36" fmla="*/ 2728 w 10000"/>
                <a:gd name="connsiteY36" fmla="*/ 781 h 10000"/>
                <a:gd name="connsiteX37" fmla="*/ 2728 w 10000"/>
                <a:gd name="connsiteY37" fmla="*/ 937 h 10000"/>
                <a:gd name="connsiteX0" fmla="*/ 2728 w 10000"/>
                <a:gd name="connsiteY0" fmla="*/ 937 h 10000"/>
                <a:gd name="connsiteX1" fmla="*/ 909 w 10000"/>
                <a:gd name="connsiteY1" fmla="*/ 2031 h 10000"/>
                <a:gd name="connsiteX2" fmla="*/ 0 w 10000"/>
                <a:gd name="connsiteY2" fmla="*/ 3126 h 10000"/>
                <a:gd name="connsiteX3" fmla="*/ 453 w 10000"/>
                <a:gd name="connsiteY3" fmla="*/ 4062 h 10000"/>
                <a:gd name="connsiteX4" fmla="*/ 1819 w 10000"/>
                <a:gd name="connsiteY4" fmla="*/ 9687 h 10000"/>
                <a:gd name="connsiteX5" fmla="*/ 5453 w 10000"/>
                <a:gd name="connsiteY5" fmla="*/ 8905 h 10000"/>
                <a:gd name="connsiteX6" fmla="*/ 7274 w 10000"/>
                <a:gd name="connsiteY6" fmla="*/ 9219 h 10000"/>
                <a:gd name="connsiteX7" fmla="*/ 8181 w 10000"/>
                <a:gd name="connsiteY7" fmla="*/ 9687 h 10000"/>
                <a:gd name="connsiteX8" fmla="*/ 8635 w 10000"/>
                <a:gd name="connsiteY8" fmla="*/ 10000 h 10000"/>
                <a:gd name="connsiteX9" fmla="*/ 10000 w 10000"/>
                <a:gd name="connsiteY9" fmla="*/ 9687 h 10000"/>
                <a:gd name="connsiteX10" fmla="*/ 10000 w 10000"/>
                <a:gd name="connsiteY10" fmla="*/ 9219 h 10000"/>
                <a:gd name="connsiteX11" fmla="*/ 8635 w 10000"/>
                <a:gd name="connsiteY11" fmla="*/ 8437 h 10000"/>
                <a:gd name="connsiteX12" fmla="*/ 8635 w 10000"/>
                <a:gd name="connsiteY12" fmla="*/ 7655 h 10000"/>
                <a:gd name="connsiteX13" fmla="*/ 9091 w 10000"/>
                <a:gd name="connsiteY13" fmla="*/ 7655 h 10000"/>
                <a:gd name="connsiteX14" fmla="*/ 8181 w 10000"/>
                <a:gd name="connsiteY14" fmla="*/ 6874 h 10000"/>
                <a:gd name="connsiteX15" fmla="*/ 7727 w 10000"/>
                <a:gd name="connsiteY15" fmla="*/ 6563 h 10000"/>
                <a:gd name="connsiteX16" fmla="*/ 5453 w 10000"/>
                <a:gd name="connsiteY16" fmla="*/ 6405 h 10000"/>
                <a:gd name="connsiteX17" fmla="*/ 3183 w 10000"/>
                <a:gd name="connsiteY17" fmla="*/ 6093 h 10000"/>
                <a:gd name="connsiteX18" fmla="*/ 2274 w 10000"/>
                <a:gd name="connsiteY18" fmla="*/ 5312 h 10000"/>
                <a:gd name="connsiteX19" fmla="*/ 1363 w 10000"/>
                <a:gd name="connsiteY19" fmla="*/ 4062 h 10000"/>
                <a:gd name="connsiteX20" fmla="*/ 2274 w 10000"/>
                <a:gd name="connsiteY20" fmla="*/ 3594 h 10000"/>
                <a:gd name="connsiteX21" fmla="*/ 1819 w 10000"/>
                <a:gd name="connsiteY21" fmla="*/ 2500 h 10000"/>
                <a:gd name="connsiteX22" fmla="*/ 4092 w 10000"/>
                <a:gd name="connsiteY22" fmla="*/ 2500 h 10000"/>
                <a:gd name="connsiteX23" fmla="*/ 5000 w 10000"/>
                <a:gd name="connsiteY23" fmla="*/ 3126 h 10000"/>
                <a:gd name="connsiteX24" fmla="*/ 6817 w 10000"/>
                <a:gd name="connsiteY24" fmla="*/ 3126 h 10000"/>
                <a:gd name="connsiteX25" fmla="*/ 6817 w 10000"/>
                <a:gd name="connsiteY25" fmla="*/ 2657 h 10000"/>
                <a:gd name="connsiteX26" fmla="*/ 7274 w 10000"/>
                <a:gd name="connsiteY26" fmla="*/ 2344 h 10000"/>
                <a:gd name="connsiteX27" fmla="*/ 7727 w 10000"/>
                <a:gd name="connsiteY27" fmla="*/ 2500 h 10000"/>
                <a:gd name="connsiteX28" fmla="*/ 7274 w 10000"/>
                <a:gd name="connsiteY28" fmla="*/ 1562 h 10000"/>
                <a:gd name="connsiteX29" fmla="*/ 8181 w 10000"/>
                <a:gd name="connsiteY29" fmla="*/ 937 h 10000"/>
                <a:gd name="connsiteX30" fmla="*/ 8181 w 10000"/>
                <a:gd name="connsiteY30" fmla="*/ 312 h 10000"/>
                <a:gd name="connsiteX31" fmla="*/ 7274 w 10000"/>
                <a:gd name="connsiteY31" fmla="*/ 0 h 10000"/>
                <a:gd name="connsiteX32" fmla="*/ 6365 w 10000"/>
                <a:gd name="connsiteY32" fmla="*/ 0 h 10000"/>
                <a:gd name="connsiteX33" fmla="*/ 3183 w 10000"/>
                <a:gd name="connsiteY33" fmla="*/ 157 h 10000"/>
                <a:gd name="connsiteX34" fmla="*/ 2728 w 10000"/>
                <a:gd name="connsiteY34" fmla="*/ 0 h 10000"/>
                <a:gd name="connsiteX35" fmla="*/ 2728 w 10000"/>
                <a:gd name="connsiteY35" fmla="*/ 781 h 10000"/>
                <a:gd name="connsiteX36" fmla="*/ 2728 w 10000"/>
                <a:gd name="connsiteY36" fmla="*/ 937 h 10000"/>
                <a:gd name="connsiteX0" fmla="*/ 2788 w 10060"/>
                <a:gd name="connsiteY0" fmla="*/ 937 h 10000"/>
                <a:gd name="connsiteX1" fmla="*/ 969 w 10060"/>
                <a:gd name="connsiteY1" fmla="*/ 2031 h 10000"/>
                <a:gd name="connsiteX2" fmla="*/ 60 w 10060"/>
                <a:gd name="connsiteY2" fmla="*/ 3126 h 10000"/>
                <a:gd name="connsiteX3" fmla="*/ 513 w 10060"/>
                <a:gd name="connsiteY3" fmla="*/ 4062 h 10000"/>
                <a:gd name="connsiteX4" fmla="*/ 5513 w 10060"/>
                <a:gd name="connsiteY4" fmla="*/ 8905 h 10000"/>
                <a:gd name="connsiteX5" fmla="*/ 7334 w 10060"/>
                <a:gd name="connsiteY5" fmla="*/ 9219 h 10000"/>
                <a:gd name="connsiteX6" fmla="*/ 8241 w 10060"/>
                <a:gd name="connsiteY6" fmla="*/ 9687 h 10000"/>
                <a:gd name="connsiteX7" fmla="*/ 8695 w 10060"/>
                <a:gd name="connsiteY7" fmla="*/ 10000 h 10000"/>
                <a:gd name="connsiteX8" fmla="*/ 10060 w 10060"/>
                <a:gd name="connsiteY8" fmla="*/ 9687 h 10000"/>
                <a:gd name="connsiteX9" fmla="*/ 10060 w 10060"/>
                <a:gd name="connsiteY9" fmla="*/ 9219 h 10000"/>
                <a:gd name="connsiteX10" fmla="*/ 8695 w 10060"/>
                <a:gd name="connsiteY10" fmla="*/ 8437 h 10000"/>
                <a:gd name="connsiteX11" fmla="*/ 8695 w 10060"/>
                <a:gd name="connsiteY11" fmla="*/ 7655 h 10000"/>
                <a:gd name="connsiteX12" fmla="*/ 9151 w 10060"/>
                <a:gd name="connsiteY12" fmla="*/ 7655 h 10000"/>
                <a:gd name="connsiteX13" fmla="*/ 8241 w 10060"/>
                <a:gd name="connsiteY13" fmla="*/ 6874 h 10000"/>
                <a:gd name="connsiteX14" fmla="*/ 7787 w 10060"/>
                <a:gd name="connsiteY14" fmla="*/ 6563 h 10000"/>
                <a:gd name="connsiteX15" fmla="*/ 5513 w 10060"/>
                <a:gd name="connsiteY15" fmla="*/ 6405 h 10000"/>
                <a:gd name="connsiteX16" fmla="*/ 3243 w 10060"/>
                <a:gd name="connsiteY16" fmla="*/ 6093 h 10000"/>
                <a:gd name="connsiteX17" fmla="*/ 2334 w 10060"/>
                <a:gd name="connsiteY17" fmla="*/ 5312 h 10000"/>
                <a:gd name="connsiteX18" fmla="*/ 1423 w 10060"/>
                <a:gd name="connsiteY18" fmla="*/ 4062 h 10000"/>
                <a:gd name="connsiteX19" fmla="*/ 2334 w 10060"/>
                <a:gd name="connsiteY19" fmla="*/ 3594 h 10000"/>
                <a:gd name="connsiteX20" fmla="*/ 1879 w 10060"/>
                <a:gd name="connsiteY20" fmla="*/ 2500 h 10000"/>
                <a:gd name="connsiteX21" fmla="*/ 4152 w 10060"/>
                <a:gd name="connsiteY21" fmla="*/ 2500 h 10000"/>
                <a:gd name="connsiteX22" fmla="*/ 5060 w 10060"/>
                <a:gd name="connsiteY22" fmla="*/ 3126 h 10000"/>
                <a:gd name="connsiteX23" fmla="*/ 6877 w 10060"/>
                <a:gd name="connsiteY23" fmla="*/ 3126 h 10000"/>
                <a:gd name="connsiteX24" fmla="*/ 6877 w 10060"/>
                <a:gd name="connsiteY24" fmla="*/ 2657 h 10000"/>
                <a:gd name="connsiteX25" fmla="*/ 7334 w 10060"/>
                <a:gd name="connsiteY25" fmla="*/ 2344 h 10000"/>
                <a:gd name="connsiteX26" fmla="*/ 7787 w 10060"/>
                <a:gd name="connsiteY26" fmla="*/ 2500 h 10000"/>
                <a:gd name="connsiteX27" fmla="*/ 7334 w 10060"/>
                <a:gd name="connsiteY27" fmla="*/ 1562 h 10000"/>
                <a:gd name="connsiteX28" fmla="*/ 8241 w 10060"/>
                <a:gd name="connsiteY28" fmla="*/ 937 h 10000"/>
                <a:gd name="connsiteX29" fmla="*/ 8241 w 10060"/>
                <a:gd name="connsiteY29" fmla="*/ 312 h 10000"/>
                <a:gd name="connsiteX30" fmla="*/ 7334 w 10060"/>
                <a:gd name="connsiteY30" fmla="*/ 0 h 10000"/>
                <a:gd name="connsiteX31" fmla="*/ 6425 w 10060"/>
                <a:gd name="connsiteY31" fmla="*/ 0 h 10000"/>
                <a:gd name="connsiteX32" fmla="*/ 3243 w 10060"/>
                <a:gd name="connsiteY32" fmla="*/ 157 h 10000"/>
                <a:gd name="connsiteX33" fmla="*/ 2788 w 10060"/>
                <a:gd name="connsiteY33" fmla="*/ 0 h 10000"/>
                <a:gd name="connsiteX34" fmla="*/ 2788 w 10060"/>
                <a:gd name="connsiteY34" fmla="*/ 781 h 10000"/>
                <a:gd name="connsiteX35" fmla="*/ 2788 w 10060"/>
                <a:gd name="connsiteY35" fmla="*/ 937 h 10000"/>
                <a:gd name="connsiteX0" fmla="*/ 2915 w 10187"/>
                <a:gd name="connsiteY0" fmla="*/ 937 h 10000"/>
                <a:gd name="connsiteX1" fmla="*/ 1096 w 10187"/>
                <a:gd name="connsiteY1" fmla="*/ 2031 h 10000"/>
                <a:gd name="connsiteX2" fmla="*/ 187 w 10187"/>
                <a:gd name="connsiteY2" fmla="*/ 3126 h 10000"/>
                <a:gd name="connsiteX3" fmla="*/ 640 w 10187"/>
                <a:gd name="connsiteY3" fmla="*/ 4062 h 10000"/>
                <a:gd name="connsiteX4" fmla="*/ 7461 w 10187"/>
                <a:gd name="connsiteY4" fmla="*/ 9219 h 10000"/>
                <a:gd name="connsiteX5" fmla="*/ 8368 w 10187"/>
                <a:gd name="connsiteY5" fmla="*/ 9687 h 10000"/>
                <a:gd name="connsiteX6" fmla="*/ 8822 w 10187"/>
                <a:gd name="connsiteY6" fmla="*/ 10000 h 10000"/>
                <a:gd name="connsiteX7" fmla="*/ 10187 w 10187"/>
                <a:gd name="connsiteY7" fmla="*/ 9687 h 10000"/>
                <a:gd name="connsiteX8" fmla="*/ 10187 w 10187"/>
                <a:gd name="connsiteY8" fmla="*/ 9219 h 10000"/>
                <a:gd name="connsiteX9" fmla="*/ 8822 w 10187"/>
                <a:gd name="connsiteY9" fmla="*/ 8437 h 10000"/>
                <a:gd name="connsiteX10" fmla="*/ 8822 w 10187"/>
                <a:gd name="connsiteY10" fmla="*/ 7655 h 10000"/>
                <a:gd name="connsiteX11" fmla="*/ 9278 w 10187"/>
                <a:gd name="connsiteY11" fmla="*/ 7655 h 10000"/>
                <a:gd name="connsiteX12" fmla="*/ 8368 w 10187"/>
                <a:gd name="connsiteY12" fmla="*/ 6874 h 10000"/>
                <a:gd name="connsiteX13" fmla="*/ 7914 w 10187"/>
                <a:gd name="connsiteY13" fmla="*/ 6563 h 10000"/>
                <a:gd name="connsiteX14" fmla="*/ 5640 w 10187"/>
                <a:gd name="connsiteY14" fmla="*/ 6405 h 10000"/>
                <a:gd name="connsiteX15" fmla="*/ 3370 w 10187"/>
                <a:gd name="connsiteY15" fmla="*/ 6093 h 10000"/>
                <a:gd name="connsiteX16" fmla="*/ 2461 w 10187"/>
                <a:gd name="connsiteY16" fmla="*/ 5312 h 10000"/>
                <a:gd name="connsiteX17" fmla="*/ 1550 w 10187"/>
                <a:gd name="connsiteY17" fmla="*/ 4062 h 10000"/>
                <a:gd name="connsiteX18" fmla="*/ 2461 w 10187"/>
                <a:gd name="connsiteY18" fmla="*/ 3594 h 10000"/>
                <a:gd name="connsiteX19" fmla="*/ 2006 w 10187"/>
                <a:gd name="connsiteY19" fmla="*/ 2500 h 10000"/>
                <a:gd name="connsiteX20" fmla="*/ 4279 w 10187"/>
                <a:gd name="connsiteY20" fmla="*/ 2500 h 10000"/>
                <a:gd name="connsiteX21" fmla="*/ 5187 w 10187"/>
                <a:gd name="connsiteY21" fmla="*/ 3126 h 10000"/>
                <a:gd name="connsiteX22" fmla="*/ 7004 w 10187"/>
                <a:gd name="connsiteY22" fmla="*/ 3126 h 10000"/>
                <a:gd name="connsiteX23" fmla="*/ 7004 w 10187"/>
                <a:gd name="connsiteY23" fmla="*/ 2657 h 10000"/>
                <a:gd name="connsiteX24" fmla="*/ 7461 w 10187"/>
                <a:gd name="connsiteY24" fmla="*/ 2344 h 10000"/>
                <a:gd name="connsiteX25" fmla="*/ 7914 w 10187"/>
                <a:gd name="connsiteY25" fmla="*/ 2500 h 10000"/>
                <a:gd name="connsiteX26" fmla="*/ 7461 w 10187"/>
                <a:gd name="connsiteY26" fmla="*/ 1562 h 10000"/>
                <a:gd name="connsiteX27" fmla="*/ 8368 w 10187"/>
                <a:gd name="connsiteY27" fmla="*/ 937 h 10000"/>
                <a:gd name="connsiteX28" fmla="*/ 8368 w 10187"/>
                <a:gd name="connsiteY28" fmla="*/ 312 h 10000"/>
                <a:gd name="connsiteX29" fmla="*/ 7461 w 10187"/>
                <a:gd name="connsiteY29" fmla="*/ 0 h 10000"/>
                <a:gd name="connsiteX30" fmla="*/ 6552 w 10187"/>
                <a:gd name="connsiteY30" fmla="*/ 0 h 10000"/>
                <a:gd name="connsiteX31" fmla="*/ 3370 w 10187"/>
                <a:gd name="connsiteY31" fmla="*/ 157 h 10000"/>
                <a:gd name="connsiteX32" fmla="*/ 2915 w 10187"/>
                <a:gd name="connsiteY32" fmla="*/ 0 h 10000"/>
                <a:gd name="connsiteX33" fmla="*/ 2915 w 10187"/>
                <a:gd name="connsiteY33" fmla="*/ 781 h 10000"/>
                <a:gd name="connsiteX34" fmla="*/ 2915 w 10187"/>
                <a:gd name="connsiteY34" fmla="*/ 937 h 10000"/>
                <a:gd name="connsiteX0" fmla="*/ 2980 w 10252"/>
                <a:gd name="connsiteY0" fmla="*/ 937 h 10000"/>
                <a:gd name="connsiteX1" fmla="*/ 1161 w 10252"/>
                <a:gd name="connsiteY1" fmla="*/ 2031 h 10000"/>
                <a:gd name="connsiteX2" fmla="*/ 252 w 10252"/>
                <a:gd name="connsiteY2" fmla="*/ 3126 h 10000"/>
                <a:gd name="connsiteX3" fmla="*/ 705 w 10252"/>
                <a:gd name="connsiteY3" fmla="*/ 4062 h 10000"/>
                <a:gd name="connsiteX4" fmla="*/ 8433 w 10252"/>
                <a:gd name="connsiteY4" fmla="*/ 9687 h 10000"/>
                <a:gd name="connsiteX5" fmla="*/ 8887 w 10252"/>
                <a:gd name="connsiteY5" fmla="*/ 10000 h 10000"/>
                <a:gd name="connsiteX6" fmla="*/ 10252 w 10252"/>
                <a:gd name="connsiteY6" fmla="*/ 9687 h 10000"/>
                <a:gd name="connsiteX7" fmla="*/ 10252 w 10252"/>
                <a:gd name="connsiteY7" fmla="*/ 9219 h 10000"/>
                <a:gd name="connsiteX8" fmla="*/ 8887 w 10252"/>
                <a:gd name="connsiteY8" fmla="*/ 8437 h 10000"/>
                <a:gd name="connsiteX9" fmla="*/ 8887 w 10252"/>
                <a:gd name="connsiteY9" fmla="*/ 7655 h 10000"/>
                <a:gd name="connsiteX10" fmla="*/ 9343 w 10252"/>
                <a:gd name="connsiteY10" fmla="*/ 7655 h 10000"/>
                <a:gd name="connsiteX11" fmla="*/ 8433 w 10252"/>
                <a:gd name="connsiteY11" fmla="*/ 6874 h 10000"/>
                <a:gd name="connsiteX12" fmla="*/ 7979 w 10252"/>
                <a:gd name="connsiteY12" fmla="*/ 6563 h 10000"/>
                <a:gd name="connsiteX13" fmla="*/ 5705 w 10252"/>
                <a:gd name="connsiteY13" fmla="*/ 6405 h 10000"/>
                <a:gd name="connsiteX14" fmla="*/ 3435 w 10252"/>
                <a:gd name="connsiteY14" fmla="*/ 6093 h 10000"/>
                <a:gd name="connsiteX15" fmla="*/ 2526 w 10252"/>
                <a:gd name="connsiteY15" fmla="*/ 5312 h 10000"/>
                <a:gd name="connsiteX16" fmla="*/ 1615 w 10252"/>
                <a:gd name="connsiteY16" fmla="*/ 4062 h 10000"/>
                <a:gd name="connsiteX17" fmla="*/ 2526 w 10252"/>
                <a:gd name="connsiteY17" fmla="*/ 3594 h 10000"/>
                <a:gd name="connsiteX18" fmla="*/ 2071 w 10252"/>
                <a:gd name="connsiteY18" fmla="*/ 2500 h 10000"/>
                <a:gd name="connsiteX19" fmla="*/ 4344 w 10252"/>
                <a:gd name="connsiteY19" fmla="*/ 2500 h 10000"/>
                <a:gd name="connsiteX20" fmla="*/ 5252 w 10252"/>
                <a:gd name="connsiteY20" fmla="*/ 3126 h 10000"/>
                <a:gd name="connsiteX21" fmla="*/ 7069 w 10252"/>
                <a:gd name="connsiteY21" fmla="*/ 3126 h 10000"/>
                <a:gd name="connsiteX22" fmla="*/ 7069 w 10252"/>
                <a:gd name="connsiteY22" fmla="*/ 2657 h 10000"/>
                <a:gd name="connsiteX23" fmla="*/ 7526 w 10252"/>
                <a:gd name="connsiteY23" fmla="*/ 2344 h 10000"/>
                <a:gd name="connsiteX24" fmla="*/ 7979 w 10252"/>
                <a:gd name="connsiteY24" fmla="*/ 2500 h 10000"/>
                <a:gd name="connsiteX25" fmla="*/ 7526 w 10252"/>
                <a:gd name="connsiteY25" fmla="*/ 1562 h 10000"/>
                <a:gd name="connsiteX26" fmla="*/ 8433 w 10252"/>
                <a:gd name="connsiteY26" fmla="*/ 937 h 10000"/>
                <a:gd name="connsiteX27" fmla="*/ 8433 w 10252"/>
                <a:gd name="connsiteY27" fmla="*/ 312 h 10000"/>
                <a:gd name="connsiteX28" fmla="*/ 7526 w 10252"/>
                <a:gd name="connsiteY28" fmla="*/ 0 h 10000"/>
                <a:gd name="connsiteX29" fmla="*/ 6617 w 10252"/>
                <a:gd name="connsiteY29" fmla="*/ 0 h 10000"/>
                <a:gd name="connsiteX30" fmla="*/ 3435 w 10252"/>
                <a:gd name="connsiteY30" fmla="*/ 157 h 10000"/>
                <a:gd name="connsiteX31" fmla="*/ 2980 w 10252"/>
                <a:gd name="connsiteY31" fmla="*/ 0 h 10000"/>
                <a:gd name="connsiteX32" fmla="*/ 2980 w 10252"/>
                <a:gd name="connsiteY32" fmla="*/ 781 h 10000"/>
                <a:gd name="connsiteX33" fmla="*/ 2980 w 10252"/>
                <a:gd name="connsiteY33" fmla="*/ 937 h 10000"/>
                <a:gd name="connsiteX0" fmla="*/ 3012 w 10284"/>
                <a:gd name="connsiteY0" fmla="*/ 937 h 10000"/>
                <a:gd name="connsiteX1" fmla="*/ 1193 w 10284"/>
                <a:gd name="connsiteY1" fmla="*/ 2031 h 10000"/>
                <a:gd name="connsiteX2" fmla="*/ 284 w 10284"/>
                <a:gd name="connsiteY2" fmla="*/ 3126 h 10000"/>
                <a:gd name="connsiteX3" fmla="*/ 737 w 10284"/>
                <a:gd name="connsiteY3" fmla="*/ 4062 h 10000"/>
                <a:gd name="connsiteX4" fmla="*/ 8919 w 10284"/>
                <a:gd name="connsiteY4" fmla="*/ 10000 h 10000"/>
                <a:gd name="connsiteX5" fmla="*/ 10284 w 10284"/>
                <a:gd name="connsiteY5" fmla="*/ 9687 h 10000"/>
                <a:gd name="connsiteX6" fmla="*/ 10284 w 10284"/>
                <a:gd name="connsiteY6" fmla="*/ 9219 h 10000"/>
                <a:gd name="connsiteX7" fmla="*/ 8919 w 10284"/>
                <a:gd name="connsiteY7" fmla="*/ 8437 h 10000"/>
                <a:gd name="connsiteX8" fmla="*/ 8919 w 10284"/>
                <a:gd name="connsiteY8" fmla="*/ 7655 h 10000"/>
                <a:gd name="connsiteX9" fmla="*/ 9375 w 10284"/>
                <a:gd name="connsiteY9" fmla="*/ 7655 h 10000"/>
                <a:gd name="connsiteX10" fmla="*/ 8465 w 10284"/>
                <a:gd name="connsiteY10" fmla="*/ 6874 h 10000"/>
                <a:gd name="connsiteX11" fmla="*/ 8011 w 10284"/>
                <a:gd name="connsiteY11" fmla="*/ 6563 h 10000"/>
                <a:gd name="connsiteX12" fmla="*/ 5737 w 10284"/>
                <a:gd name="connsiteY12" fmla="*/ 6405 h 10000"/>
                <a:gd name="connsiteX13" fmla="*/ 3467 w 10284"/>
                <a:gd name="connsiteY13" fmla="*/ 6093 h 10000"/>
                <a:gd name="connsiteX14" fmla="*/ 2558 w 10284"/>
                <a:gd name="connsiteY14" fmla="*/ 5312 h 10000"/>
                <a:gd name="connsiteX15" fmla="*/ 1647 w 10284"/>
                <a:gd name="connsiteY15" fmla="*/ 4062 h 10000"/>
                <a:gd name="connsiteX16" fmla="*/ 2558 w 10284"/>
                <a:gd name="connsiteY16" fmla="*/ 3594 h 10000"/>
                <a:gd name="connsiteX17" fmla="*/ 2103 w 10284"/>
                <a:gd name="connsiteY17" fmla="*/ 2500 h 10000"/>
                <a:gd name="connsiteX18" fmla="*/ 4376 w 10284"/>
                <a:gd name="connsiteY18" fmla="*/ 2500 h 10000"/>
                <a:gd name="connsiteX19" fmla="*/ 5284 w 10284"/>
                <a:gd name="connsiteY19" fmla="*/ 3126 h 10000"/>
                <a:gd name="connsiteX20" fmla="*/ 7101 w 10284"/>
                <a:gd name="connsiteY20" fmla="*/ 3126 h 10000"/>
                <a:gd name="connsiteX21" fmla="*/ 7101 w 10284"/>
                <a:gd name="connsiteY21" fmla="*/ 2657 h 10000"/>
                <a:gd name="connsiteX22" fmla="*/ 7558 w 10284"/>
                <a:gd name="connsiteY22" fmla="*/ 2344 h 10000"/>
                <a:gd name="connsiteX23" fmla="*/ 8011 w 10284"/>
                <a:gd name="connsiteY23" fmla="*/ 2500 h 10000"/>
                <a:gd name="connsiteX24" fmla="*/ 7558 w 10284"/>
                <a:gd name="connsiteY24" fmla="*/ 1562 h 10000"/>
                <a:gd name="connsiteX25" fmla="*/ 8465 w 10284"/>
                <a:gd name="connsiteY25" fmla="*/ 937 h 10000"/>
                <a:gd name="connsiteX26" fmla="*/ 8465 w 10284"/>
                <a:gd name="connsiteY26" fmla="*/ 312 h 10000"/>
                <a:gd name="connsiteX27" fmla="*/ 7558 w 10284"/>
                <a:gd name="connsiteY27" fmla="*/ 0 h 10000"/>
                <a:gd name="connsiteX28" fmla="*/ 6649 w 10284"/>
                <a:gd name="connsiteY28" fmla="*/ 0 h 10000"/>
                <a:gd name="connsiteX29" fmla="*/ 3467 w 10284"/>
                <a:gd name="connsiteY29" fmla="*/ 157 h 10000"/>
                <a:gd name="connsiteX30" fmla="*/ 3012 w 10284"/>
                <a:gd name="connsiteY30" fmla="*/ 0 h 10000"/>
                <a:gd name="connsiteX31" fmla="*/ 3012 w 10284"/>
                <a:gd name="connsiteY31" fmla="*/ 781 h 10000"/>
                <a:gd name="connsiteX32" fmla="*/ 3012 w 10284"/>
                <a:gd name="connsiteY32" fmla="*/ 937 h 10000"/>
                <a:gd name="connsiteX0" fmla="*/ 3111 w 10383"/>
                <a:gd name="connsiteY0" fmla="*/ 937 h 9687"/>
                <a:gd name="connsiteX1" fmla="*/ 1292 w 10383"/>
                <a:gd name="connsiteY1" fmla="*/ 2031 h 9687"/>
                <a:gd name="connsiteX2" fmla="*/ 383 w 10383"/>
                <a:gd name="connsiteY2" fmla="*/ 3126 h 9687"/>
                <a:gd name="connsiteX3" fmla="*/ 836 w 10383"/>
                <a:gd name="connsiteY3" fmla="*/ 4062 h 9687"/>
                <a:gd name="connsiteX4" fmla="*/ 10383 w 10383"/>
                <a:gd name="connsiteY4" fmla="*/ 9687 h 9687"/>
                <a:gd name="connsiteX5" fmla="*/ 10383 w 10383"/>
                <a:gd name="connsiteY5" fmla="*/ 9219 h 9687"/>
                <a:gd name="connsiteX6" fmla="*/ 9018 w 10383"/>
                <a:gd name="connsiteY6" fmla="*/ 8437 h 9687"/>
                <a:gd name="connsiteX7" fmla="*/ 9018 w 10383"/>
                <a:gd name="connsiteY7" fmla="*/ 7655 h 9687"/>
                <a:gd name="connsiteX8" fmla="*/ 9474 w 10383"/>
                <a:gd name="connsiteY8" fmla="*/ 7655 h 9687"/>
                <a:gd name="connsiteX9" fmla="*/ 8564 w 10383"/>
                <a:gd name="connsiteY9" fmla="*/ 6874 h 9687"/>
                <a:gd name="connsiteX10" fmla="*/ 8110 w 10383"/>
                <a:gd name="connsiteY10" fmla="*/ 6563 h 9687"/>
                <a:gd name="connsiteX11" fmla="*/ 5836 w 10383"/>
                <a:gd name="connsiteY11" fmla="*/ 6405 h 9687"/>
                <a:gd name="connsiteX12" fmla="*/ 3566 w 10383"/>
                <a:gd name="connsiteY12" fmla="*/ 6093 h 9687"/>
                <a:gd name="connsiteX13" fmla="*/ 2657 w 10383"/>
                <a:gd name="connsiteY13" fmla="*/ 5312 h 9687"/>
                <a:gd name="connsiteX14" fmla="*/ 1746 w 10383"/>
                <a:gd name="connsiteY14" fmla="*/ 4062 h 9687"/>
                <a:gd name="connsiteX15" fmla="*/ 2657 w 10383"/>
                <a:gd name="connsiteY15" fmla="*/ 3594 h 9687"/>
                <a:gd name="connsiteX16" fmla="*/ 2202 w 10383"/>
                <a:gd name="connsiteY16" fmla="*/ 2500 h 9687"/>
                <a:gd name="connsiteX17" fmla="*/ 4475 w 10383"/>
                <a:gd name="connsiteY17" fmla="*/ 2500 h 9687"/>
                <a:gd name="connsiteX18" fmla="*/ 5383 w 10383"/>
                <a:gd name="connsiteY18" fmla="*/ 3126 h 9687"/>
                <a:gd name="connsiteX19" fmla="*/ 7200 w 10383"/>
                <a:gd name="connsiteY19" fmla="*/ 3126 h 9687"/>
                <a:gd name="connsiteX20" fmla="*/ 7200 w 10383"/>
                <a:gd name="connsiteY20" fmla="*/ 2657 h 9687"/>
                <a:gd name="connsiteX21" fmla="*/ 7657 w 10383"/>
                <a:gd name="connsiteY21" fmla="*/ 2344 h 9687"/>
                <a:gd name="connsiteX22" fmla="*/ 8110 w 10383"/>
                <a:gd name="connsiteY22" fmla="*/ 2500 h 9687"/>
                <a:gd name="connsiteX23" fmla="*/ 7657 w 10383"/>
                <a:gd name="connsiteY23" fmla="*/ 1562 h 9687"/>
                <a:gd name="connsiteX24" fmla="*/ 8564 w 10383"/>
                <a:gd name="connsiteY24" fmla="*/ 937 h 9687"/>
                <a:gd name="connsiteX25" fmla="*/ 8564 w 10383"/>
                <a:gd name="connsiteY25" fmla="*/ 312 h 9687"/>
                <a:gd name="connsiteX26" fmla="*/ 7657 w 10383"/>
                <a:gd name="connsiteY26" fmla="*/ 0 h 9687"/>
                <a:gd name="connsiteX27" fmla="*/ 6748 w 10383"/>
                <a:gd name="connsiteY27" fmla="*/ 0 h 9687"/>
                <a:gd name="connsiteX28" fmla="*/ 3566 w 10383"/>
                <a:gd name="connsiteY28" fmla="*/ 157 h 9687"/>
                <a:gd name="connsiteX29" fmla="*/ 3111 w 10383"/>
                <a:gd name="connsiteY29" fmla="*/ 0 h 9687"/>
                <a:gd name="connsiteX30" fmla="*/ 3111 w 10383"/>
                <a:gd name="connsiteY30" fmla="*/ 781 h 9687"/>
                <a:gd name="connsiteX31" fmla="*/ 3111 w 10383"/>
                <a:gd name="connsiteY31" fmla="*/ 937 h 9687"/>
                <a:gd name="connsiteX0" fmla="*/ 2996 w 10414"/>
                <a:gd name="connsiteY0" fmla="*/ 967 h 9749"/>
                <a:gd name="connsiteX1" fmla="*/ 1244 w 10414"/>
                <a:gd name="connsiteY1" fmla="*/ 2097 h 9749"/>
                <a:gd name="connsiteX2" fmla="*/ 369 w 10414"/>
                <a:gd name="connsiteY2" fmla="*/ 3227 h 9749"/>
                <a:gd name="connsiteX3" fmla="*/ 805 w 10414"/>
                <a:gd name="connsiteY3" fmla="*/ 4193 h 9749"/>
                <a:gd name="connsiteX4" fmla="*/ 10000 w 10414"/>
                <a:gd name="connsiteY4" fmla="*/ 9517 h 9749"/>
                <a:gd name="connsiteX5" fmla="*/ 8685 w 10414"/>
                <a:gd name="connsiteY5" fmla="*/ 8710 h 9749"/>
                <a:gd name="connsiteX6" fmla="*/ 8685 w 10414"/>
                <a:gd name="connsiteY6" fmla="*/ 7902 h 9749"/>
                <a:gd name="connsiteX7" fmla="*/ 9125 w 10414"/>
                <a:gd name="connsiteY7" fmla="*/ 7902 h 9749"/>
                <a:gd name="connsiteX8" fmla="*/ 8248 w 10414"/>
                <a:gd name="connsiteY8" fmla="*/ 7096 h 9749"/>
                <a:gd name="connsiteX9" fmla="*/ 7811 w 10414"/>
                <a:gd name="connsiteY9" fmla="*/ 6775 h 9749"/>
                <a:gd name="connsiteX10" fmla="*/ 5621 w 10414"/>
                <a:gd name="connsiteY10" fmla="*/ 6612 h 9749"/>
                <a:gd name="connsiteX11" fmla="*/ 3434 w 10414"/>
                <a:gd name="connsiteY11" fmla="*/ 6290 h 9749"/>
                <a:gd name="connsiteX12" fmla="*/ 2559 w 10414"/>
                <a:gd name="connsiteY12" fmla="*/ 5484 h 9749"/>
                <a:gd name="connsiteX13" fmla="*/ 1682 w 10414"/>
                <a:gd name="connsiteY13" fmla="*/ 4193 h 9749"/>
                <a:gd name="connsiteX14" fmla="*/ 2559 w 10414"/>
                <a:gd name="connsiteY14" fmla="*/ 3710 h 9749"/>
                <a:gd name="connsiteX15" fmla="*/ 2121 w 10414"/>
                <a:gd name="connsiteY15" fmla="*/ 2581 h 9749"/>
                <a:gd name="connsiteX16" fmla="*/ 4310 w 10414"/>
                <a:gd name="connsiteY16" fmla="*/ 2581 h 9749"/>
                <a:gd name="connsiteX17" fmla="*/ 5184 w 10414"/>
                <a:gd name="connsiteY17" fmla="*/ 3227 h 9749"/>
                <a:gd name="connsiteX18" fmla="*/ 6934 w 10414"/>
                <a:gd name="connsiteY18" fmla="*/ 3227 h 9749"/>
                <a:gd name="connsiteX19" fmla="*/ 6934 w 10414"/>
                <a:gd name="connsiteY19" fmla="*/ 2743 h 9749"/>
                <a:gd name="connsiteX20" fmla="*/ 7375 w 10414"/>
                <a:gd name="connsiteY20" fmla="*/ 2420 h 9749"/>
                <a:gd name="connsiteX21" fmla="*/ 7811 w 10414"/>
                <a:gd name="connsiteY21" fmla="*/ 2581 h 9749"/>
                <a:gd name="connsiteX22" fmla="*/ 7375 w 10414"/>
                <a:gd name="connsiteY22" fmla="*/ 1612 h 9749"/>
                <a:gd name="connsiteX23" fmla="*/ 8248 w 10414"/>
                <a:gd name="connsiteY23" fmla="*/ 967 h 9749"/>
                <a:gd name="connsiteX24" fmla="*/ 8248 w 10414"/>
                <a:gd name="connsiteY24" fmla="*/ 322 h 9749"/>
                <a:gd name="connsiteX25" fmla="*/ 7375 w 10414"/>
                <a:gd name="connsiteY25" fmla="*/ 0 h 9749"/>
                <a:gd name="connsiteX26" fmla="*/ 6499 w 10414"/>
                <a:gd name="connsiteY26" fmla="*/ 0 h 9749"/>
                <a:gd name="connsiteX27" fmla="*/ 3434 w 10414"/>
                <a:gd name="connsiteY27" fmla="*/ 162 h 9749"/>
                <a:gd name="connsiteX28" fmla="*/ 2996 w 10414"/>
                <a:gd name="connsiteY28" fmla="*/ 0 h 9749"/>
                <a:gd name="connsiteX29" fmla="*/ 2996 w 10414"/>
                <a:gd name="connsiteY29" fmla="*/ 806 h 9749"/>
                <a:gd name="connsiteX30" fmla="*/ 2996 w 10414"/>
                <a:gd name="connsiteY30" fmla="*/ 967 h 9749"/>
                <a:gd name="connsiteX0" fmla="*/ 2787 w 8810"/>
                <a:gd name="connsiteY0" fmla="*/ 992 h 9117"/>
                <a:gd name="connsiteX1" fmla="*/ 1105 w 8810"/>
                <a:gd name="connsiteY1" fmla="*/ 2151 h 9117"/>
                <a:gd name="connsiteX2" fmla="*/ 264 w 8810"/>
                <a:gd name="connsiteY2" fmla="*/ 3310 h 9117"/>
                <a:gd name="connsiteX3" fmla="*/ 683 w 8810"/>
                <a:gd name="connsiteY3" fmla="*/ 4301 h 9117"/>
                <a:gd name="connsiteX4" fmla="*/ 8250 w 8810"/>
                <a:gd name="connsiteY4" fmla="*/ 8934 h 9117"/>
                <a:gd name="connsiteX5" fmla="*/ 8250 w 8810"/>
                <a:gd name="connsiteY5" fmla="*/ 8105 h 9117"/>
                <a:gd name="connsiteX6" fmla="*/ 8672 w 8810"/>
                <a:gd name="connsiteY6" fmla="*/ 8105 h 9117"/>
                <a:gd name="connsiteX7" fmla="*/ 7830 w 8810"/>
                <a:gd name="connsiteY7" fmla="*/ 7279 h 9117"/>
                <a:gd name="connsiteX8" fmla="*/ 7410 w 8810"/>
                <a:gd name="connsiteY8" fmla="*/ 6949 h 9117"/>
                <a:gd name="connsiteX9" fmla="*/ 5308 w 8810"/>
                <a:gd name="connsiteY9" fmla="*/ 6782 h 9117"/>
                <a:gd name="connsiteX10" fmla="*/ 3207 w 8810"/>
                <a:gd name="connsiteY10" fmla="*/ 6452 h 9117"/>
                <a:gd name="connsiteX11" fmla="*/ 2367 w 8810"/>
                <a:gd name="connsiteY11" fmla="*/ 5625 h 9117"/>
                <a:gd name="connsiteX12" fmla="*/ 1525 w 8810"/>
                <a:gd name="connsiteY12" fmla="*/ 4301 h 9117"/>
                <a:gd name="connsiteX13" fmla="*/ 2367 w 8810"/>
                <a:gd name="connsiteY13" fmla="*/ 3806 h 9117"/>
                <a:gd name="connsiteX14" fmla="*/ 1947 w 8810"/>
                <a:gd name="connsiteY14" fmla="*/ 2647 h 9117"/>
                <a:gd name="connsiteX15" fmla="*/ 4049 w 8810"/>
                <a:gd name="connsiteY15" fmla="*/ 2647 h 9117"/>
                <a:gd name="connsiteX16" fmla="*/ 4888 w 8810"/>
                <a:gd name="connsiteY16" fmla="*/ 3310 h 9117"/>
                <a:gd name="connsiteX17" fmla="*/ 6568 w 8810"/>
                <a:gd name="connsiteY17" fmla="*/ 3310 h 9117"/>
                <a:gd name="connsiteX18" fmla="*/ 6568 w 8810"/>
                <a:gd name="connsiteY18" fmla="*/ 2814 h 9117"/>
                <a:gd name="connsiteX19" fmla="*/ 6992 w 8810"/>
                <a:gd name="connsiteY19" fmla="*/ 2482 h 9117"/>
                <a:gd name="connsiteX20" fmla="*/ 7410 w 8810"/>
                <a:gd name="connsiteY20" fmla="*/ 2647 h 9117"/>
                <a:gd name="connsiteX21" fmla="*/ 6992 w 8810"/>
                <a:gd name="connsiteY21" fmla="*/ 1654 h 9117"/>
                <a:gd name="connsiteX22" fmla="*/ 7830 w 8810"/>
                <a:gd name="connsiteY22" fmla="*/ 992 h 9117"/>
                <a:gd name="connsiteX23" fmla="*/ 7830 w 8810"/>
                <a:gd name="connsiteY23" fmla="*/ 330 h 9117"/>
                <a:gd name="connsiteX24" fmla="*/ 6992 w 8810"/>
                <a:gd name="connsiteY24" fmla="*/ 0 h 9117"/>
                <a:gd name="connsiteX25" fmla="*/ 6151 w 8810"/>
                <a:gd name="connsiteY25" fmla="*/ 0 h 9117"/>
                <a:gd name="connsiteX26" fmla="*/ 3207 w 8810"/>
                <a:gd name="connsiteY26" fmla="*/ 166 h 9117"/>
                <a:gd name="connsiteX27" fmla="*/ 2787 w 8810"/>
                <a:gd name="connsiteY27" fmla="*/ 0 h 9117"/>
                <a:gd name="connsiteX28" fmla="*/ 2787 w 8810"/>
                <a:gd name="connsiteY28" fmla="*/ 827 h 9117"/>
                <a:gd name="connsiteX29" fmla="*/ 2787 w 8810"/>
                <a:gd name="connsiteY29" fmla="*/ 992 h 9117"/>
                <a:gd name="connsiteX0" fmla="*/ 3163 w 9843"/>
                <a:gd name="connsiteY0" fmla="*/ 1088 h 8890"/>
                <a:gd name="connsiteX1" fmla="*/ 1254 w 9843"/>
                <a:gd name="connsiteY1" fmla="*/ 2359 h 8890"/>
                <a:gd name="connsiteX2" fmla="*/ 300 w 9843"/>
                <a:gd name="connsiteY2" fmla="*/ 3631 h 8890"/>
                <a:gd name="connsiteX3" fmla="*/ 775 w 9843"/>
                <a:gd name="connsiteY3" fmla="*/ 4718 h 8890"/>
                <a:gd name="connsiteX4" fmla="*/ 9364 w 9843"/>
                <a:gd name="connsiteY4" fmla="*/ 8890 h 8890"/>
                <a:gd name="connsiteX5" fmla="*/ 9843 w 9843"/>
                <a:gd name="connsiteY5" fmla="*/ 8890 h 8890"/>
                <a:gd name="connsiteX6" fmla="*/ 8888 w 9843"/>
                <a:gd name="connsiteY6" fmla="*/ 7984 h 8890"/>
                <a:gd name="connsiteX7" fmla="*/ 8411 w 9843"/>
                <a:gd name="connsiteY7" fmla="*/ 7622 h 8890"/>
                <a:gd name="connsiteX8" fmla="*/ 6025 w 9843"/>
                <a:gd name="connsiteY8" fmla="*/ 7439 h 8890"/>
                <a:gd name="connsiteX9" fmla="*/ 3640 w 9843"/>
                <a:gd name="connsiteY9" fmla="*/ 7077 h 8890"/>
                <a:gd name="connsiteX10" fmla="*/ 2687 w 9843"/>
                <a:gd name="connsiteY10" fmla="*/ 6170 h 8890"/>
                <a:gd name="connsiteX11" fmla="*/ 1731 w 9843"/>
                <a:gd name="connsiteY11" fmla="*/ 4718 h 8890"/>
                <a:gd name="connsiteX12" fmla="*/ 2687 w 9843"/>
                <a:gd name="connsiteY12" fmla="*/ 4175 h 8890"/>
                <a:gd name="connsiteX13" fmla="*/ 2210 w 9843"/>
                <a:gd name="connsiteY13" fmla="*/ 2903 h 8890"/>
                <a:gd name="connsiteX14" fmla="*/ 4596 w 9843"/>
                <a:gd name="connsiteY14" fmla="*/ 2903 h 8890"/>
                <a:gd name="connsiteX15" fmla="*/ 5548 w 9843"/>
                <a:gd name="connsiteY15" fmla="*/ 3631 h 8890"/>
                <a:gd name="connsiteX16" fmla="*/ 7455 w 9843"/>
                <a:gd name="connsiteY16" fmla="*/ 3631 h 8890"/>
                <a:gd name="connsiteX17" fmla="*/ 7455 w 9843"/>
                <a:gd name="connsiteY17" fmla="*/ 3087 h 8890"/>
                <a:gd name="connsiteX18" fmla="*/ 7936 w 9843"/>
                <a:gd name="connsiteY18" fmla="*/ 2722 h 8890"/>
                <a:gd name="connsiteX19" fmla="*/ 8411 w 9843"/>
                <a:gd name="connsiteY19" fmla="*/ 2903 h 8890"/>
                <a:gd name="connsiteX20" fmla="*/ 7936 w 9843"/>
                <a:gd name="connsiteY20" fmla="*/ 1814 h 8890"/>
                <a:gd name="connsiteX21" fmla="*/ 8888 w 9843"/>
                <a:gd name="connsiteY21" fmla="*/ 1088 h 8890"/>
                <a:gd name="connsiteX22" fmla="*/ 8888 w 9843"/>
                <a:gd name="connsiteY22" fmla="*/ 362 h 8890"/>
                <a:gd name="connsiteX23" fmla="*/ 7936 w 9843"/>
                <a:gd name="connsiteY23" fmla="*/ 0 h 8890"/>
                <a:gd name="connsiteX24" fmla="*/ 6982 w 9843"/>
                <a:gd name="connsiteY24" fmla="*/ 0 h 8890"/>
                <a:gd name="connsiteX25" fmla="*/ 3640 w 9843"/>
                <a:gd name="connsiteY25" fmla="*/ 182 h 8890"/>
                <a:gd name="connsiteX26" fmla="*/ 3163 w 9843"/>
                <a:gd name="connsiteY26" fmla="*/ 0 h 8890"/>
                <a:gd name="connsiteX27" fmla="*/ 3163 w 9843"/>
                <a:gd name="connsiteY27" fmla="*/ 907 h 8890"/>
                <a:gd name="connsiteX28" fmla="*/ 3163 w 9843"/>
                <a:gd name="connsiteY28" fmla="*/ 1088 h 8890"/>
                <a:gd name="connsiteX0" fmla="*/ 3213 w 9513"/>
                <a:gd name="connsiteY0" fmla="*/ 1224 h 10000"/>
                <a:gd name="connsiteX1" fmla="*/ 1274 w 9513"/>
                <a:gd name="connsiteY1" fmla="*/ 2654 h 10000"/>
                <a:gd name="connsiteX2" fmla="*/ 305 w 9513"/>
                <a:gd name="connsiteY2" fmla="*/ 4084 h 10000"/>
                <a:gd name="connsiteX3" fmla="*/ 787 w 9513"/>
                <a:gd name="connsiteY3" fmla="*/ 5307 h 10000"/>
                <a:gd name="connsiteX4" fmla="*/ 9513 w 9513"/>
                <a:gd name="connsiteY4" fmla="*/ 10000 h 10000"/>
                <a:gd name="connsiteX5" fmla="*/ 9030 w 9513"/>
                <a:gd name="connsiteY5" fmla="*/ 8981 h 10000"/>
                <a:gd name="connsiteX6" fmla="*/ 8545 w 9513"/>
                <a:gd name="connsiteY6" fmla="*/ 8574 h 10000"/>
                <a:gd name="connsiteX7" fmla="*/ 6121 w 9513"/>
                <a:gd name="connsiteY7" fmla="*/ 8368 h 10000"/>
                <a:gd name="connsiteX8" fmla="*/ 3698 w 9513"/>
                <a:gd name="connsiteY8" fmla="*/ 7961 h 10000"/>
                <a:gd name="connsiteX9" fmla="*/ 2730 w 9513"/>
                <a:gd name="connsiteY9" fmla="*/ 6940 h 10000"/>
                <a:gd name="connsiteX10" fmla="*/ 1759 w 9513"/>
                <a:gd name="connsiteY10" fmla="*/ 5307 h 10000"/>
                <a:gd name="connsiteX11" fmla="*/ 2730 w 9513"/>
                <a:gd name="connsiteY11" fmla="*/ 4696 h 10000"/>
                <a:gd name="connsiteX12" fmla="*/ 2245 w 9513"/>
                <a:gd name="connsiteY12" fmla="*/ 3265 h 10000"/>
                <a:gd name="connsiteX13" fmla="*/ 4669 w 9513"/>
                <a:gd name="connsiteY13" fmla="*/ 3265 h 10000"/>
                <a:gd name="connsiteX14" fmla="*/ 5636 w 9513"/>
                <a:gd name="connsiteY14" fmla="*/ 4084 h 10000"/>
                <a:gd name="connsiteX15" fmla="*/ 7574 w 9513"/>
                <a:gd name="connsiteY15" fmla="*/ 4084 h 10000"/>
                <a:gd name="connsiteX16" fmla="*/ 7574 w 9513"/>
                <a:gd name="connsiteY16" fmla="*/ 3472 h 10000"/>
                <a:gd name="connsiteX17" fmla="*/ 8063 w 9513"/>
                <a:gd name="connsiteY17" fmla="*/ 3062 h 10000"/>
                <a:gd name="connsiteX18" fmla="*/ 8545 w 9513"/>
                <a:gd name="connsiteY18" fmla="*/ 3265 h 10000"/>
                <a:gd name="connsiteX19" fmla="*/ 8063 w 9513"/>
                <a:gd name="connsiteY19" fmla="*/ 2040 h 10000"/>
                <a:gd name="connsiteX20" fmla="*/ 9030 w 9513"/>
                <a:gd name="connsiteY20" fmla="*/ 1224 h 10000"/>
                <a:gd name="connsiteX21" fmla="*/ 9030 w 9513"/>
                <a:gd name="connsiteY21" fmla="*/ 407 h 10000"/>
                <a:gd name="connsiteX22" fmla="*/ 8063 w 9513"/>
                <a:gd name="connsiteY22" fmla="*/ 0 h 10000"/>
                <a:gd name="connsiteX23" fmla="*/ 7093 w 9513"/>
                <a:gd name="connsiteY23" fmla="*/ 0 h 10000"/>
                <a:gd name="connsiteX24" fmla="*/ 3698 w 9513"/>
                <a:gd name="connsiteY24" fmla="*/ 205 h 10000"/>
                <a:gd name="connsiteX25" fmla="*/ 3213 w 9513"/>
                <a:gd name="connsiteY25" fmla="*/ 0 h 10000"/>
                <a:gd name="connsiteX26" fmla="*/ 3213 w 9513"/>
                <a:gd name="connsiteY26" fmla="*/ 1020 h 10000"/>
                <a:gd name="connsiteX27" fmla="*/ 3213 w 9513"/>
                <a:gd name="connsiteY27" fmla="*/ 1224 h 10000"/>
                <a:gd name="connsiteX0" fmla="*/ 3377 w 10000"/>
                <a:gd name="connsiteY0" fmla="*/ 1224 h 10000"/>
                <a:gd name="connsiteX1" fmla="*/ 1339 w 10000"/>
                <a:gd name="connsiteY1" fmla="*/ 2654 h 10000"/>
                <a:gd name="connsiteX2" fmla="*/ 321 w 10000"/>
                <a:gd name="connsiteY2" fmla="*/ 4084 h 10000"/>
                <a:gd name="connsiteX3" fmla="*/ 827 w 10000"/>
                <a:gd name="connsiteY3" fmla="*/ 5307 h 10000"/>
                <a:gd name="connsiteX4" fmla="*/ 10000 w 10000"/>
                <a:gd name="connsiteY4" fmla="*/ 10000 h 10000"/>
                <a:gd name="connsiteX5" fmla="*/ 8982 w 10000"/>
                <a:gd name="connsiteY5" fmla="*/ 8574 h 10000"/>
                <a:gd name="connsiteX6" fmla="*/ 6434 w 10000"/>
                <a:gd name="connsiteY6" fmla="*/ 8368 h 10000"/>
                <a:gd name="connsiteX7" fmla="*/ 3887 w 10000"/>
                <a:gd name="connsiteY7" fmla="*/ 7961 h 10000"/>
                <a:gd name="connsiteX8" fmla="*/ 2870 w 10000"/>
                <a:gd name="connsiteY8" fmla="*/ 6940 h 10000"/>
                <a:gd name="connsiteX9" fmla="*/ 1849 w 10000"/>
                <a:gd name="connsiteY9" fmla="*/ 5307 h 10000"/>
                <a:gd name="connsiteX10" fmla="*/ 2870 w 10000"/>
                <a:gd name="connsiteY10" fmla="*/ 4696 h 10000"/>
                <a:gd name="connsiteX11" fmla="*/ 2360 w 10000"/>
                <a:gd name="connsiteY11" fmla="*/ 3265 h 10000"/>
                <a:gd name="connsiteX12" fmla="*/ 4908 w 10000"/>
                <a:gd name="connsiteY12" fmla="*/ 3265 h 10000"/>
                <a:gd name="connsiteX13" fmla="*/ 5925 w 10000"/>
                <a:gd name="connsiteY13" fmla="*/ 4084 h 10000"/>
                <a:gd name="connsiteX14" fmla="*/ 7962 w 10000"/>
                <a:gd name="connsiteY14" fmla="*/ 4084 h 10000"/>
                <a:gd name="connsiteX15" fmla="*/ 7962 w 10000"/>
                <a:gd name="connsiteY15" fmla="*/ 3472 h 10000"/>
                <a:gd name="connsiteX16" fmla="*/ 8476 w 10000"/>
                <a:gd name="connsiteY16" fmla="*/ 3062 h 10000"/>
                <a:gd name="connsiteX17" fmla="*/ 8982 w 10000"/>
                <a:gd name="connsiteY17" fmla="*/ 3265 h 10000"/>
                <a:gd name="connsiteX18" fmla="*/ 8476 w 10000"/>
                <a:gd name="connsiteY18" fmla="*/ 2040 h 10000"/>
                <a:gd name="connsiteX19" fmla="*/ 9492 w 10000"/>
                <a:gd name="connsiteY19" fmla="*/ 1224 h 10000"/>
                <a:gd name="connsiteX20" fmla="*/ 9492 w 10000"/>
                <a:gd name="connsiteY20" fmla="*/ 407 h 10000"/>
                <a:gd name="connsiteX21" fmla="*/ 8476 w 10000"/>
                <a:gd name="connsiteY21" fmla="*/ 0 h 10000"/>
                <a:gd name="connsiteX22" fmla="*/ 7456 w 10000"/>
                <a:gd name="connsiteY22" fmla="*/ 0 h 10000"/>
                <a:gd name="connsiteX23" fmla="*/ 3887 w 10000"/>
                <a:gd name="connsiteY23" fmla="*/ 205 h 10000"/>
                <a:gd name="connsiteX24" fmla="*/ 3377 w 10000"/>
                <a:gd name="connsiteY24" fmla="*/ 0 h 10000"/>
                <a:gd name="connsiteX25" fmla="*/ 3377 w 10000"/>
                <a:gd name="connsiteY25" fmla="*/ 1020 h 10000"/>
                <a:gd name="connsiteX26" fmla="*/ 3377 w 10000"/>
                <a:gd name="connsiteY26" fmla="*/ 1224 h 10000"/>
                <a:gd name="connsiteX0" fmla="*/ 3377 w 10000"/>
                <a:gd name="connsiteY0" fmla="*/ 1224 h 10000"/>
                <a:gd name="connsiteX1" fmla="*/ 1339 w 10000"/>
                <a:gd name="connsiteY1" fmla="*/ 2654 h 10000"/>
                <a:gd name="connsiteX2" fmla="*/ 321 w 10000"/>
                <a:gd name="connsiteY2" fmla="*/ 4084 h 10000"/>
                <a:gd name="connsiteX3" fmla="*/ 827 w 10000"/>
                <a:gd name="connsiteY3" fmla="*/ 5307 h 10000"/>
                <a:gd name="connsiteX4" fmla="*/ 10000 w 10000"/>
                <a:gd name="connsiteY4" fmla="*/ 10000 h 10000"/>
                <a:gd name="connsiteX5" fmla="*/ 6434 w 10000"/>
                <a:gd name="connsiteY5" fmla="*/ 8368 h 10000"/>
                <a:gd name="connsiteX6" fmla="*/ 3887 w 10000"/>
                <a:gd name="connsiteY6" fmla="*/ 7961 h 10000"/>
                <a:gd name="connsiteX7" fmla="*/ 2870 w 10000"/>
                <a:gd name="connsiteY7" fmla="*/ 6940 h 10000"/>
                <a:gd name="connsiteX8" fmla="*/ 1849 w 10000"/>
                <a:gd name="connsiteY8" fmla="*/ 5307 h 10000"/>
                <a:gd name="connsiteX9" fmla="*/ 2870 w 10000"/>
                <a:gd name="connsiteY9" fmla="*/ 4696 h 10000"/>
                <a:gd name="connsiteX10" fmla="*/ 2360 w 10000"/>
                <a:gd name="connsiteY10" fmla="*/ 3265 h 10000"/>
                <a:gd name="connsiteX11" fmla="*/ 4908 w 10000"/>
                <a:gd name="connsiteY11" fmla="*/ 3265 h 10000"/>
                <a:gd name="connsiteX12" fmla="*/ 5925 w 10000"/>
                <a:gd name="connsiteY12" fmla="*/ 4084 h 10000"/>
                <a:gd name="connsiteX13" fmla="*/ 7962 w 10000"/>
                <a:gd name="connsiteY13" fmla="*/ 4084 h 10000"/>
                <a:gd name="connsiteX14" fmla="*/ 7962 w 10000"/>
                <a:gd name="connsiteY14" fmla="*/ 3472 h 10000"/>
                <a:gd name="connsiteX15" fmla="*/ 8476 w 10000"/>
                <a:gd name="connsiteY15" fmla="*/ 3062 h 10000"/>
                <a:gd name="connsiteX16" fmla="*/ 8982 w 10000"/>
                <a:gd name="connsiteY16" fmla="*/ 3265 h 10000"/>
                <a:gd name="connsiteX17" fmla="*/ 8476 w 10000"/>
                <a:gd name="connsiteY17" fmla="*/ 2040 h 10000"/>
                <a:gd name="connsiteX18" fmla="*/ 9492 w 10000"/>
                <a:gd name="connsiteY18" fmla="*/ 1224 h 10000"/>
                <a:gd name="connsiteX19" fmla="*/ 9492 w 10000"/>
                <a:gd name="connsiteY19" fmla="*/ 407 h 10000"/>
                <a:gd name="connsiteX20" fmla="*/ 8476 w 10000"/>
                <a:gd name="connsiteY20" fmla="*/ 0 h 10000"/>
                <a:gd name="connsiteX21" fmla="*/ 7456 w 10000"/>
                <a:gd name="connsiteY21" fmla="*/ 0 h 10000"/>
                <a:gd name="connsiteX22" fmla="*/ 3887 w 10000"/>
                <a:gd name="connsiteY22" fmla="*/ 205 h 10000"/>
                <a:gd name="connsiteX23" fmla="*/ 3377 w 10000"/>
                <a:gd name="connsiteY23" fmla="*/ 0 h 10000"/>
                <a:gd name="connsiteX24" fmla="*/ 3377 w 10000"/>
                <a:gd name="connsiteY24" fmla="*/ 1020 h 10000"/>
                <a:gd name="connsiteX25" fmla="*/ 3377 w 10000"/>
                <a:gd name="connsiteY25" fmla="*/ 1224 h 10000"/>
                <a:gd name="connsiteX0" fmla="*/ 3377 w 10000"/>
                <a:gd name="connsiteY0" fmla="*/ 1224 h 10000"/>
                <a:gd name="connsiteX1" fmla="*/ 1339 w 10000"/>
                <a:gd name="connsiteY1" fmla="*/ 2654 h 10000"/>
                <a:gd name="connsiteX2" fmla="*/ 321 w 10000"/>
                <a:gd name="connsiteY2" fmla="*/ 4084 h 10000"/>
                <a:gd name="connsiteX3" fmla="*/ 827 w 10000"/>
                <a:gd name="connsiteY3" fmla="*/ 5307 h 10000"/>
                <a:gd name="connsiteX4" fmla="*/ 10000 w 10000"/>
                <a:gd name="connsiteY4" fmla="*/ 10000 h 10000"/>
                <a:gd name="connsiteX5" fmla="*/ 3887 w 10000"/>
                <a:gd name="connsiteY5" fmla="*/ 7961 h 10000"/>
                <a:gd name="connsiteX6" fmla="*/ 2870 w 10000"/>
                <a:gd name="connsiteY6" fmla="*/ 6940 h 10000"/>
                <a:gd name="connsiteX7" fmla="*/ 1849 w 10000"/>
                <a:gd name="connsiteY7" fmla="*/ 5307 h 10000"/>
                <a:gd name="connsiteX8" fmla="*/ 2870 w 10000"/>
                <a:gd name="connsiteY8" fmla="*/ 4696 h 10000"/>
                <a:gd name="connsiteX9" fmla="*/ 2360 w 10000"/>
                <a:gd name="connsiteY9" fmla="*/ 3265 h 10000"/>
                <a:gd name="connsiteX10" fmla="*/ 4908 w 10000"/>
                <a:gd name="connsiteY10" fmla="*/ 3265 h 10000"/>
                <a:gd name="connsiteX11" fmla="*/ 5925 w 10000"/>
                <a:gd name="connsiteY11" fmla="*/ 4084 h 10000"/>
                <a:gd name="connsiteX12" fmla="*/ 7962 w 10000"/>
                <a:gd name="connsiteY12" fmla="*/ 4084 h 10000"/>
                <a:gd name="connsiteX13" fmla="*/ 7962 w 10000"/>
                <a:gd name="connsiteY13" fmla="*/ 3472 h 10000"/>
                <a:gd name="connsiteX14" fmla="*/ 8476 w 10000"/>
                <a:gd name="connsiteY14" fmla="*/ 3062 h 10000"/>
                <a:gd name="connsiteX15" fmla="*/ 8982 w 10000"/>
                <a:gd name="connsiteY15" fmla="*/ 3265 h 10000"/>
                <a:gd name="connsiteX16" fmla="*/ 8476 w 10000"/>
                <a:gd name="connsiteY16" fmla="*/ 2040 h 10000"/>
                <a:gd name="connsiteX17" fmla="*/ 9492 w 10000"/>
                <a:gd name="connsiteY17" fmla="*/ 1224 h 10000"/>
                <a:gd name="connsiteX18" fmla="*/ 9492 w 10000"/>
                <a:gd name="connsiteY18" fmla="*/ 407 h 10000"/>
                <a:gd name="connsiteX19" fmla="*/ 8476 w 10000"/>
                <a:gd name="connsiteY19" fmla="*/ 0 h 10000"/>
                <a:gd name="connsiteX20" fmla="*/ 7456 w 10000"/>
                <a:gd name="connsiteY20" fmla="*/ 0 h 10000"/>
                <a:gd name="connsiteX21" fmla="*/ 3887 w 10000"/>
                <a:gd name="connsiteY21" fmla="*/ 205 h 10000"/>
                <a:gd name="connsiteX22" fmla="*/ 3377 w 10000"/>
                <a:gd name="connsiteY22" fmla="*/ 0 h 10000"/>
                <a:gd name="connsiteX23" fmla="*/ 3377 w 10000"/>
                <a:gd name="connsiteY23" fmla="*/ 1020 h 10000"/>
                <a:gd name="connsiteX24" fmla="*/ 3377 w 10000"/>
                <a:gd name="connsiteY24" fmla="*/ 1224 h 10000"/>
                <a:gd name="connsiteX0" fmla="*/ 3377 w 10000"/>
                <a:gd name="connsiteY0" fmla="*/ 1224 h 10000"/>
                <a:gd name="connsiteX1" fmla="*/ 1339 w 10000"/>
                <a:gd name="connsiteY1" fmla="*/ 2654 h 10000"/>
                <a:gd name="connsiteX2" fmla="*/ 321 w 10000"/>
                <a:gd name="connsiteY2" fmla="*/ 4084 h 10000"/>
                <a:gd name="connsiteX3" fmla="*/ 827 w 10000"/>
                <a:gd name="connsiteY3" fmla="*/ 5307 h 10000"/>
                <a:gd name="connsiteX4" fmla="*/ 10000 w 10000"/>
                <a:gd name="connsiteY4" fmla="*/ 10000 h 10000"/>
                <a:gd name="connsiteX5" fmla="*/ 3887 w 10000"/>
                <a:gd name="connsiteY5" fmla="*/ 7961 h 10000"/>
                <a:gd name="connsiteX6" fmla="*/ 1849 w 10000"/>
                <a:gd name="connsiteY6" fmla="*/ 5307 h 10000"/>
                <a:gd name="connsiteX7" fmla="*/ 2870 w 10000"/>
                <a:gd name="connsiteY7" fmla="*/ 4696 h 10000"/>
                <a:gd name="connsiteX8" fmla="*/ 2360 w 10000"/>
                <a:gd name="connsiteY8" fmla="*/ 3265 h 10000"/>
                <a:gd name="connsiteX9" fmla="*/ 4908 w 10000"/>
                <a:gd name="connsiteY9" fmla="*/ 3265 h 10000"/>
                <a:gd name="connsiteX10" fmla="*/ 5925 w 10000"/>
                <a:gd name="connsiteY10" fmla="*/ 4084 h 10000"/>
                <a:gd name="connsiteX11" fmla="*/ 7962 w 10000"/>
                <a:gd name="connsiteY11" fmla="*/ 4084 h 10000"/>
                <a:gd name="connsiteX12" fmla="*/ 7962 w 10000"/>
                <a:gd name="connsiteY12" fmla="*/ 3472 h 10000"/>
                <a:gd name="connsiteX13" fmla="*/ 8476 w 10000"/>
                <a:gd name="connsiteY13" fmla="*/ 3062 h 10000"/>
                <a:gd name="connsiteX14" fmla="*/ 8982 w 10000"/>
                <a:gd name="connsiteY14" fmla="*/ 3265 h 10000"/>
                <a:gd name="connsiteX15" fmla="*/ 8476 w 10000"/>
                <a:gd name="connsiteY15" fmla="*/ 2040 h 10000"/>
                <a:gd name="connsiteX16" fmla="*/ 9492 w 10000"/>
                <a:gd name="connsiteY16" fmla="*/ 1224 h 10000"/>
                <a:gd name="connsiteX17" fmla="*/ 9492 w 10000"/>
                <a:gd name="connsiteY17" fmla="*/ 407 h 10000"/>
                <a:gd name="connsiteX18" fmla="*/ 8476 w 10000"/>
                <a:gd name="connsiteY18" fmla="*/ 0 h 10000"/>
                <a:gd name="connsiteX19" fmla="*/ 7456 w 10000"/>
                <a:gd name="connsiteY19" fmla="*/ 0 h 10000"/>
                <a:gd name="connsiteX20" fmla="*/ 3887 w 10000"/>
                <a:gd name="connsiteY20" fmla="*/ 205 h 10000"/>
                <a:gd name="connsiteX21" fmla="*/ 3377 w 10000"/>
                <a:gd name="connsiteY21" fmla="*/ 0 h 10000"/>
                <a:gd name="connsiteX22" fmla="*/ 3377 w 10000"/>
                <a:gd name="connsiteY22" fmla="*/ 1020 h 10000"/>
                <a:gd name="connsiteX23" fmla="*/ 3377 w 10000"/>
                <a:gd name="connsiteY23" fmla="*/ 1224 h 10000"/>
                <a:gd name="connsiteX0" fmla="*/ 3377 w 10000"/>
                <a:gd name="connsiteY0" fmla="*/ 1224 h 10000"/>
                <a:gd name="connsiteX1" fmla="*/ 1339 w 10000"/>
                <a:gd name="connsiteY1" fmla="*/ 2654 h 10000"/>
                <a:gd name="connsiteX2" fmla="*/ 321 w 10000"/>
                <a:gd name="connsiteY2" fmla="*/ 4084 h 10000"/>
                <a:gd name="connsiteX3" fmla="*/ 827 w 10000"/>
                <a:gd name="connsiteY3" fmla="*/ 5307 h 10000"/>
                <a:gd name="connsiteX4" fmla="*/ 10000 w 10000"/>
                <a:gd name="connsiteY4" fmla="*/ 10000 h 10000"/>
                <a:gd name="connsiteX5" fmla="*/ 1849 w 10000"/>
                <a:gd name="connsiteY5" fmla="*/ 5307 h 10000"/>
                <a:gd name="connsiteX6" fmla="*/ 2870 w 10000"/>
                <a:gd name="connsiteY6" fmla="*/ 4696 h 10000"/>
                <a:gd name="connsiteX7" fmla="*/ 2360 w 10000"/>
                <a:gd name="connsiteY7" fmla="*/ 3265 h 10000"/>
                <a:gd name="connsiteX8" fmla="*/ 4908 w 10000"/>
                <a:gd name="connsiteY8" fmla="*/ 3265 h 10000"/>
                <a:gd name="connsiteX9" fmla="*/ 5925 w 10000"/>
                <a:gd name="connsiteY9" fmla="*/ 4084 h 10000"/>
                <a:gd name="connsiteX10" fmla="*/ 7962 w 10000"/>
                <a:gd name="connsiteY10" fmla="*/ 4084 h 10000"/>
                <a:gd name="connsiteX11" fmla="*/ 7962 w 10000"/>
                <a:gd name="connsiteY11" fmla="*/ 3472 h 10000"/>
                <a:gd name="connsiteX12" fmla="*/ 8476 w 10000"/>
                <a:gd name="connsiteY12" fmla="*/ 3062 h 10000"/>
                <a:gd name="connsiteX13" fmla="*/ 8982 w 10000"/>
                <a:gd name="connsiteY13" fmla="*/ 3265 h 10000"/>
                <a:gd name="connsiteX14" fmla="*/ 8476 w 10000"/>
                <a:gd name="connsiteY14" fmla="*/ 2040 h 10000"/>
                <a:gd name="connsiteX15" fmla="*/ 9492 w 10000"/>
                <a:gd name="connsiteY15" fmla="*/ 1224 h 10000"/>
                <a:gd name="connsiteX16" fmla="*/ 9492 w 10000"/>
                <a:gd name="connsiteY16" fmla="*/ 407 h 10000"/>
                <a:gd name="connsiteX17" fmla="*/ 8476 w 10000"/>
                <a:gd name="connsiteY17" fmla="*/ 0 h 10000"/>
                <a:gd name="connsiteX18" fmla="*/ 7456 w 10000"/>
                <a:gd name="connsiteY18" fmla="*/ 0 h 10000"/>
                <a:gd name="connsiteX19" fmla="*/ 3887 w 10000"/>
                <a:gd name="connsiteY19" fmla="*/ 205 h 10000"/>
                <a:gd name="connsiteX20" fmla="*/ 3377 w 10000"/>
                <a:gd name="connsiteY20" fmla="*/ 0 h 10000"/>
                <a:gd name="connsiteX21" fmla="*/ 3377 w 10000"/>
                <a:gd name="connsiteY21" fmla="*/ 1020 h 10000"/>
                <a:gd name="connsiteX22" fmla="*/ 3377 w 10000"/>
                <a:gd name="connsiteY22" fmla="*/ 1224 h 10000"/>
                <a:gd name="connsiteX0" fmla="*/ 3056 w 9171"/>
                <a:gd name="connsiteY0" fmla="*/ 1224 h 5424"/>
                <a:gd name="connsiteX1" fmla="*/ 1018 w 9171"/>
                <a:gd name="connsiteY1" fmla="*/ 2654 h 5424"/>
                <a:gd name="connsiteX2" fmla="*/ 0 w 9171"/>
                <a:gd name="connsiteY2" fmla="*/ 4084 h 5424"/>
                <a:gd name="connsiteX3" fmla="*/ 506 w 9171"/>
                <a:gd name="connsiteY3" fmla="*/ 5307 h 5424"/>
                <a:gd name="connsiteX4" fmla="*/ 1528 w 9171"/>
                <a:gd name="connsiteY4" fmla="*/ 5307 h 5424"/>
                <a:gd name="connsiteX5" fmla="*/ 2549 w 9171"/>
                <a:gd name="connsiteY5" fmla="*/ 4696 h 5424"/>
                <a:gd name="connsiteX6" fmla="*/ 2039 w 9171"/>
                <a:gd name="connsiteY6" fmla="*/ 3265 h 5424"/>
                <a:gd name="connsiteX7" fmla="*/ 4587 w 9171"/>
                <a:gd name="connsiteY7" fmla="*/ 3265 h 5424"/>
                <a:gd name="connsiteX8" fmla="*/ 5604 w 9171"/>
                <a:gd name="connsiteY8" fmla="*/ 4084 h 5424"/>
                <a:gd name="connsiteX9" fmla="*/ 7641 w 9171"/>
                <a:gd name="connsiteY9" fmla="*/ 4084 h 5424"/>
                <a:gd name="connsiteX10" fmla="*/ 7641 w 9171"/>
                <a:gd name="connsiteY10" fmla="*/ 3472 h 5424"/>
                <a:gd name="connsiteX11" fmla="*/ 8155 w 9171"/>
                <a:gd name="connsiteY11" fmla="*/ 3062 h 5424"/>
                <a:gd name="connsiteX12" fmla="*/ 8661 w 9171"/>
                <a:gd name="connsiteY12" fmla="*/ 3265 h 5424"/>
                <a:gd name="connsiteX13" fmla="*/ 8155 w 9171"/>
                <a:gd name="connsiteY13" fmla="*/ 2040 h 5424"/>
                <a:gd name="connsiteX14" fmla="*/ 9171 w 9171"/>
                <a:gd name="connsiteY14" fmla="*/ 1224 h 5424"/>
                <a:gd name="connsiteX15" fmla="*/ 9171 w 9171"/>
                <a:gd name="connsiteY15" fmla="*/ 407 h 5424"/>
                <a:gd name="connsiteX16" fmla="*/ 8155 w 9171"/>
                <a:gd name="connsiteY16" fmla="*/ 0 h 5424"/>
                <a:gd name="connsiteX17" fmla="*/ 7135 w 9171"/>
                <a:gd name="connsiteY17" fmla="*/ 0 h 5424"/>
                <a:gd name="connsiteX18" fmla="*/ 3566 w 9171"/>
                <a:gd name="connsiteY18" fmla="*/ 205 h 5424"/>
                <a:gd name="connsiteX19" fmla="*/ 3056 w 9171"/>
                <a:gd name="connsiteY19" fmla="*/ 0 h 5424"/>
                <a:gd name="connsiteX20" fmla="*/ 3056 w 9171"/>
                <a:gd name="connsiteY20" fmla="*/ 1020 h 5424"/>
                <a:gd name="connsiteX21" fmla="*/ 3056 w 9171"/>
                <a:gd name="connsiteY21" fmla="*/ 1224 h 5424"/>
                <a:gd name="connsiteX0" fmla="*/ 3332 w 10000"/>
                <a:gd name="connsiteY0" fmla="*/ 1881 h 10001"/>
                <a:gd name="connsiteX1" fmla="*/ 1110 w 10000"/>
                <a:gd name="connsiteY1" fmla="*/ 4893 h 10001"/>
                <a:gd name="connsiteX2" fmla="*/ 0 w 10000"/>
                <a:gd name="connsiteY2" fmla="*/ 7529 h 10001"/>
                <a:gd name="connsiteX3" fmla="*/ 552 w 10000"/>
                <a:gd name="connsiteY3" fmla="*/ 9784 h 10001"/>
                <a:gd name="connsiteX4" fmla="*/ 1666 w 10000"/>
                <a:gd name="connsiteY4" fmla="*/ 9784 h 10001"/>
                <a:gd name="connsiteX5" fmla="*/ 2779 w 10000"/>
                <a:gd name="connsiteY5" fmla="*/ 8658 h 10001"/>
                <a:gd name="connsiteX6" fmla="*/ 2223 w 10000"/>
                <a:gd name="connsiteY6" fmla="*/ 6020 h 10001"/>
                <a:gd name="connsiteX7" fmla="*/ 5002 w 10000"/>
                <a:gd name="connsiteY7" fmla="*/ 6020 h 10001"/>
                <a:gd name="connsiteX8" fmla="*/ 6111 w 10000"/>
                <a:gd name="connsiteY8" fmla="*/ 7529 h 10001"/>
                <a:gd name="connsiteX9" fmla="*/ 8332 w 10000"/>
                <a:gd name="connsiteY9" fmla="*/ 7529 h 10001"/>
                <a:gd name="connsiteX10" fmla="*/ 8332 w 10000"/>
                <a:gd name="connsiteY10" fmla="*/ 6401 h 10001"/>
                <a:gd name="connsiteX11" fmla="*/ 8892 w 10000"/>
                <a:gd name="connsiteY11" fmla="*/ 5645 h 10001"/>
                <a:gd name="connsiteX12" fmla="*/ 9444 w 10000"/>
                <a:gd name="connsiteY12" fmla="*/ 6020 h 10001"/>
                <a:gd name="connsiteX13" fmla="*/ 8892 w 10000"/>
                <a:gd name="connsiteY13" fmla="*/ 3761 h 10001"/>
                <a:gd name="connsiteX14" fmla="*/ 10000 w 10000"/>
                <a:gd name="connsiteY14" fmla="*/ 2257 h 10001"/>
                <a:gd name="connsiteX15" fmla="*/ 10000 w 10000"/>
                <a:gd name="connsiteY15" fmla="*/ 750 h 10001"/>
                <a:gd name="connsiteX16" fmla="*/ 8892 w 10000"/>
                <a:gd name="connsiteY16" fmla="*/ 0 h 10001"/>
                <a:gd name="connsiteX17" fmla="*/ 7780 w 10000"/>
                <a:gd name="connsiteY17" fmla="*/ 0 h 10001"/>
                <a:gd name="connsiteX18" fmla="*/ 3888 w 10000"/>
                <a:gd name="connsiteY18" fmla="*/ 378 h 10001"/>
                <a:gd name="connsiteX19" fmla="*/ 3332 w 10000"/>
                <a:gd name="connsiteY19" fmla="*/ 0 h 10001"/>
                <a:gd name="connsiteX20" fmla="*/ 3332 w 10000"/>
                <a:gd name="connsiteY20" fmla="*/ 1881 h 10001"/>
                <a:gd name="connsiteX0" fmla="*/ 1110 w 10000"/>
                <a:gd name="connsiteY0" fmla="*/ 4893 h 10001"/>
                <a:gd name="connsiteX1" fmla="*/ 0 w 10000"/>
                <a:gd name="connsiteY1" fmla="*/ 7529 h 10001"/>
                <a:gd name="connsiteX2" fmla="*/ 552 w 10000"/>
                <a:gd name="connsiteY2" fmla="*/ 9784 h 10001"/>
                <a:gd name="connsiteX3" fmla="*/ 1666 w 10000"/>
                <a:gd name="connsiteY3" fmla="*/ 9784 h 10001"/>
                <a:gd name="connsiteX4" fmla="*/ 2779 w 10000"/>
                <a:gd name="connsiteY4" fmla="*/ 8658 h 10001"/>
                <a:gd name="connsiteX5" fmla="*/ 2223 w 10000"/>
                <a:gd name="connsiteY5" fmla="*/ 6020 h 10001"/>
                <a:gd name="connsiteX6" fmla="*/ 5002 w 10000"/>
                <a:gd name="connsiteY6" fmla="*/ 6020 h 10001"/>
                <a:gd name="connsiteX7" fmla="*/ 6111 w 10000"/>
                <a:gd name="connsiteY7" fmla="*/ 7529 h 10001"/>
                <a:gd name="connsiteX8" fmla="*/ 8332 w 10000"/>
                <a:gd name="connsiteY8" fmla="*/ 7529 h 10001"/>
                <a:gd name="connsiteX9" fmla="*/ 8332 w 10000"/>
                <a:gd name="connsiteY9" fmla="*/ 6401 h 10001"/>
                <a:gd name="connsiteX10" fmla="*/ 8892 w 10000"/>
                <a:gd name="connsiteY10" fmla="*/ 5645 h 10001"/>
                <a:gd name="connsiteX11" fmla="*/ 9444 w 10000"/>
                <a:gd name="connsiteY11" fmla="*/ 6020 h 10001"/>
                <a:gd name="connsiteX12" fmla="*/ 8892 w 10000"/>
                <a:gd name="connsiteY12" fmla="*/ 3761 h 10001"/>
                <a:gd name="connsiteX13" fmla="*/ 10000 w 10000"/>
                <a:gd name="connsiteY13" fmla="*/ 2257 h 10001"/>
                <a:gd name="connsiteX14" fmla="*/ 10000 w 10000"/>
                <a:gd name="connsiteY14" fmla="*/ 750 h 10001"/>
                <a:gd name="connsiteX15" fmla="*/ 8892 w 10000"/>
                <a:gd name="connsiteY15" fmla="*/ 0 h 10001"/>
                <a:gd name="connsiteX16" fmla="*/ 7780 w 10000"/>
                <a:gd name="connsiteY16" fmla="*/ 0 h 10001"/>
                <a:gd name="connsiteX17" fmla="*/ 3888 w 10000"/>
                <a:gd name="connsiteY17" fmla="*/ 378 h 10001"/>
                <a:gd name="connsiteX18" fmla="*/ 3332 w 10000"/>
                <a:gd name="connsiteY18" fmla="*/ 0 h 10001"/>
                <a:gd name="connsiteX19" fmla="*/ 9846 w 10000"/>
                <a:gd name="connsiteY19" fmla="*/ 6305 h 10001"/>
                <a:gd name="connsiteX0" fmla="*/ 1110 w 10000"/>
                <a:gd name="connsiteY0" fmla="*/ 4893 h 10001"/>
                <a:gd name="connsiteX1" fmla="*/ 0 w 10000"/>
                <a:gd name="connsiteY1" fmla="*/ 7529 h 10001"/>
                <a:gd name="connsiteX2" fmla="*/ 552 w 10000"/>
                <a:gd name="connsiteY2" fmla="*/ 9784 h 10001"/>
                <a:gd name="connsiteX3" fmla="*/ 1666 w 10000"/>
                <a:gd name="connsiteY3" fmla="*/ 9784 h 10001"/>
                <a:gd name="connsiteX4" fmla="*/ 2779 w 10000"/>
                <a:gd name="connsiteY4" fmla="*/ 8658 h 10001"/>
                <a:gd name="connsiteX5" fmla="*/ 2223 w 10000"/>
                <a:gd name="connsiteY5" fmla="*/ 6020 h 10001"/>
                <a:gd name="connsiteX6" fmla="*/ 5002 w 10000"/>
                <a:gd name="connsiteY6" fmla="*/ 6020 h 10001"/>
                <a:gd name="connsiteX7" fmla="*/ 6111 w 10000"/>
                <a:gd name="connsiteY7" fmla="*/ 7529 h 10001"/>
                <a:gd name="connsiteX8" fmla="*/ 8332 w 10000"/>
                <a:gd name="connsiteY8" fmla="*/ 7529 h 10001"/>
                <a:gd name="connsiteX9" fmla="*/ 8332 w 10000"/>
                <a:gd name="connsiteY9" fmla="*/ 6401 h 10001"/>
                <a:gd name="connsiteX10" fmla="*/ 8892 w 10000"/>
                <a:gd name="connsiteY10" fmla="*/ 5645 h 10001"/>
                <a:gd name="connsiteX11" fmla="*/ 9444 w 10000"/>
                <a:gd name="connsiteY11" fmla="*/ 6020 h 10001"/>
                <a:gd name="connsiteX12" fmla="*/ 8892 w 10000"/>
                <a:gd name="connsiteY12" fmla="*/ 3761 h 10001"/>
                <a:gd name="connsiteX13" fmla="*/ 10000 w 10000"/>
                <a:gd name="connsiteY13" fmla="*/ 2257 h 10001"/>
                <a:gd name="connsiteX14" fmla="*/ 10000 w 10000"/>
                <a:gd name="connsiteY14" fmla="*/ 750 h 10001"/>
                <a:gd name="connsiteX15" fmla="*/ 8892 w 10000"/>
                <a:gd name="connsiteY15" fmla="*/ 0 h 10001"/>
                <a:gd name="connsiteX16" fmla="*/ 7780 w 10000"/>
                <a:gd name="connsiteY16" fmla="*/ 0 h 10001"/>
                <a:gd name="connsiteX17" fmla="*/ 3888 w 10000"/>
                <a:gd name="connsiteY17" fmla="*/ 378 h 10001"/>
                <a:gd name="connsiteX18" fmla="*/ 9846 w 10000"/>
                <a:gd name="connsiteY18" fmla="*/ 6305 h 10001"/>
                <a:gd name="connsiteX0" fmla="*/ 1110 w 10000"/>
                <a:gd name="connsiteY0" fmla="*/ 4893 h 10001"/>
                <a:gd name="connsiteX1" fmla="*/ 0 w 10000"/>
                <a:gd name="connsiteY1" fmla="*/ 7529 h 10001"/>
                <a:gd name="connsiteX2" fmla="*/ 552 w 10000"/>
                <a:gd name="connsiteY2" fmla="*/ 9784 h 10001"/>
                <a:gd name="connsiteX3" fmla="*/ 1666 w 10000"/>
                <a:gd name="connsiteY3" fmla="*/ 9784 h 10001"/>
                <a:gd name="connsiteX4" fmla="*/ 2779 w 10000"/>
                <a:gd name="connsiteY4" fmla="*/ 8658 h 10001"/>
                <a:gd name="connsiteX5" fmla="*/ 2223 w 10000"/>
                <a:gd name="connsiteY5" fmla="*/ 6020 h 10001"/>
                <a:gd name="connsiteX6" fmla="*/ 5002 w 10000"/>
                <a:gd name="connsiteY6" fmla="*/ 6020 h 10001"/>
                <a:gd name="connsiteX7" fmla="*/ 6111 w 10000"/>
                <a:gd name="connsiteY7" fmla="*/ 7529 h 10001"/>
                <a:gd name="connsiteX8" fmla="*/ 8332 w 10000"/>
                <a:gd name="connsiteY8" fmla="*/ 7529 h 10001"/>
                <a:gd name="connsiteX9" fmla="*/ 8332 w 10000"/>
                <a:gd name="connsiteY9" fmla="*/ 6401 h 10001"/>
                <a:gd name="connsiteX10" fmla="*/ 8892 w 10000"/>
                <a:gd name="connsiteY10" fmla="*/ 5645 h 10001"/>
                <a:gd name="connsiteX11" fmla="*/ 9444 w 10000"/>
                <a:gd name="connsiteY11" fmla="*/ 6020 h 10001"/>
                <a:gd name="connsiteX12" fmla="*/ 8892 w 10000"/>
                <a:gd name="connsiteY12" fmla="*/ 3761 h 10001"/>
                <a:gd name="connsiteX13" fmla="*/ 10000 w 10000"/>
                <a:gd name="connsiteY13" fmla="*/ 2257 h 10001"/>
                <a:gd name="connsiteX14" fmla="*/ 10000 w 10000"/>
                <a:gd name="connsiteY14" fmla="*/ 750 h 10001"/>
                <a:gd name="connsiteX15" fmla="*/ 8892 w 10000"/>
                <a:gd name="connsiteY15" fmla="*/ 0 h 10001"/>
                <a:gd name="connsiteX16" fmla="*/ 7780 w 10000"/>
                <a:gd name="connsiteY16" fmla="*/ 0 h 10001"/>
                <a:gd name="connsiteX17" fmla="*/ 9846 w 10000"/>
                <a:gd name="connsiteY17" fmla="*/ 6305 h 10001"/>
                <a:gd name="connsiteX0" fmla="*/ 1110 w 10041"/>
                <a:gd name="connsiteY0" fmla="*/ 4893 h 10001"/>
                <a:gd name="connsiteX1" fmla="*/ 0 w 10041"/>
                <a:gd name="connsiteY1" fmla="*/ 7529 h 10001"/>
                <a:gd name="connsiteX2" fmla="*/ 552 w 10041"/>
                <a:gd name="connsiteY2" fmla="*/ 9784 h 10001"/>
                <a:gd name="connsiteX3" fmla="*/ 1666 w 10041"/>
                <a:gd name="connsiteY3" fmla="*/ 9784 h 10001"/>
                <a:gd name="connsiteX4" fmla="*/ 2779 w 10041"/>
                <a:gd name="connsiteY4" fmla="*/ 8658 h 10001"/>
                <a:gd name="connsiteX5" fmla="*/ 2223 w 10041"/>
                <a:gd name="connsiteY5" fmla="*/ 6020 h 10001"/>
                <a:gd name="connsiteX6" fmla="*/ 5002 w 10041"/>
                <a:gd name="connsiteY6" fmla="*/ 6020 h 10001"/>
                <a:gd name="connsiteX7" fmla="*/ 6111 w 10041"/>
                <a:gd name="connsiteY7" fmla="*/ 7529 h 10001"/>
                <a:gd name="connsiteX8" fmla="*/ 8332 w 10041"/>
                <a:gd name="connsiteY8" fmla="*/ 7529 h 10001"/>
                <a:gd name="connsiteX9" fmla="*/ 8332 w 10041"/>
                <a:gd name="connsiteY9" fmla="*/ 6401 h 10001"/>
                <a:gd name="connsiteX10" fmla="*/ 8892 w 10041"/>
                <a:gd name="connsiteY10" fmla="*/ 5645 h 10001"/>
                <a:gd name="connsiteX11" fmla="*/ 9444 w 10041"/>
                <a:gd name="connsiteY11" fmla="*/ 6020 h 10001"/>
                <a:gd name="connsiteX12" fmla="*/ 10000 w 10041"/>
                <a:gd name="connsiteY12" fmla="*/ 2257 h 10001"/>
                <a:gd name="connsiteX13" fmla="*/ 10000 w 10041"/>
                <a:gd name="connsiteY13" fmla="*/ 750 h 10001"/>
                <a:gd name="connsiteX14" fmla="*/ 8892 w 10041"/>
                <a:gd name="connsiteY14" fmla="*/ 0 h 10001"/>
                <a:gd name="connsiteX15" fmla="*/ 7780 w 10041"/>
                <a:gd name="connsiteY15" fmla="*/ 0 h 10001"/>
                <a:gd name="connsiteX16" fmla="*/ 9846 w 10041"/>
                <a:gd name="connsiteY16" fmla="*/ 6305 h 10001"/>
                <a:gd name="connsiteX0" fmla="*/ 1110 w 10011"/>
                <a:gd name="connsiteY0" fmla="*/ 4893 h 10001"/>
                <a:gd name="connsiteX1" fmla="*/ 0 w 10011"/>
                <a:gd name="connsiteY1" fmla="*/ 7529 h 10001"/>
                <a:gd name="connsiteX2" fmla="*/ 552 w 10011"/>
                <a:gd name="connsiteY2" fmla="*/ 9784 h 10001"/>
                <a:gd name="connsiteX3" fmla="*/ 1666 w 10011"/>
                <a:gd name="connsiteY3" fmla="*/ 9784 h 10001"/>
                <a:gd name="connsiteX4" fmla="*/ 2779 w 10011"/>
                <a:gd name="connsiteY4" fmla="*/ 8658 h 10001"/>
                <a:gd name="connsiteX5" fmla="*/ 2223 w 10011"/>
                <a:gd name="connsiteY5" fmla="*/ 6020 h 10001"/>
                <a:gd name="connsiteX6" fmla="*/ 5002 w 10011"/>
                <a:gd name="connsiteY6" fmla="*/ 6020 h 10001"/>
                <a:gd name="connsiteX7" fmla="*/ 6111 w 10011"/>
                <a:gd name="connsiteY7" fmla="*/ 7529 h 10001"/>
                <a:gd name="connsiteX8" fmla="*/ 8332 w 10011"/>
                <a:gd name="connsiteY8" fmla="*/ 7529 h 10001"/>
                <a:gd name="connsiteX9" fmla="*/ 8332 w 10011"/>
                <a:gd name="connsiteY9" fmla="*/ 6401 h 10001"/>
                <a:gd name="connsiteX10" fmla="*/ 8892 w 10011"/>
                <a:gd name="connsiteY10" fmla="*/ 5645 h 10001"/>
                <a:gd name="connsiteX11" fmla="*/ 9444 w 10011"/>
                <a:gd name="connsiteY11" fmla="*/ 6020 h 10001"/>
                <a:gd name="connsiteX12" fmla="*/ 10000 w 10011"/>
                <a:gd name="connsiteY12" fmla="*/ 2257 h 10001"/>
                <a:gd name="connsiteX13" fmla="*/ 8892 w 10011"/>
                <a:gd name="connsiteY13" fmla="*/ 0 h 10001"/>
                <a:gd name="connsiteX14" fmla="*/ 7780 w 10011"/>
                <a:gd name="connsiteY14" fmla="*/ 0 h 10001"/>
                <a:gd name="connsiteX15" fmla="*/ 9846 w 10011"/>
                <a:gd name="connsiteY15" fmla="*/ 6305 h 10001"/>
                <a:gd name="connsiteX0" fmla="*/ 1110 w 10067"/>
                <a:gd name="connsiteY0" fmla="*/ 5033 h 10141"/>
                <a:gd name="connsiteX1" fmla="*/ 0 w 10067"/>
                <a:gd name="connsiteY1" fmla="*/ 7669 h 10141"/>
                <a:gd name="connsiteX2" fmla="*/ 552 w 10067"/>
                <a:gd name="connsiteY2" fmla="*/ 9924 h 10141"/>
                <a:gd name="connsiteX3" fmla="*/ 1666 w 10067"/>
                <a:gd name="connsiteY3" fmla="*/ 9924 h 10141"/>
                <a:gd name="connsiteX4" fmla="*/ 2779 w 10067"/>
                <a:gd name="connsiteY4" fmla="*/ 8798 h 10141"/>
                <a:gd name="connsiteX5" fmla="*/ 2223 w 10067"/>
                <a:gd name="connsiteY5" fmla="*/ 6160 h 10141"/>
                <a:gd name="connsiteX6" fmla="*/ 5002 w 10067"/>
                <a:gd name="connsiteY6" fmla="*/ 6160 h 10141"/>
                <a:gd name="connsiteX7" fmla="*/ 6111 w 10067"/>
                <a:gd name="connsiteY7" fmla="*/ 7669 h 10141"/>
                <a:gd name="connsiteX8" fmla="*/ 8332 w 10067"/>
                <a:gd name="connsiteY8" fmla="*/ 7669 h 10141"/>
                <a:gd name="connsiteX9" fmla="*/ 8332 w 10067"/>
                <a:gd name="connsiteY9" fmla="*/ 6541 h 10141"/>
                <a:gd name="connsiteX10" fmla="*/ 8892 w 10067"/>
                <a:gd name="connsiteY10" fmla="*/ 5785 h 10141"/>
                <a:gd name="connsiteX11" fmla="*/ 9444 w 10067"/>
                <a:gd name="connsiteY11" fmla="*/ 6160 h 10141"/>
                <a:gd name="connsiteX12" fmla="*/ 10000 w 10067"/>
                <a:gd name="connsiteY12" fmla="*/ 2397 h 10141"/>
                <a:gd name="connsiteX13" fmla="*/ 7780 w 10067"/>
                <a:gd name="connsiteY13" fmla="*/ 140 h 10141"/>
                <a:gd name="connsiteX14" fmla="*/ 9846 w 10067"/>
                <a:gd name="connsiteY14" fmla="*/ 6445 h 10141"/>
                <a:gd name="connsiteX0" fmla="*/ 1110 w 10067"/>
                <a:gd name="connsiteY0" fmla="*/ 5033 h 10141"/>
                <a:gd name="connsiteX1" fmla="*/ 0 w 10067"/>
                <a:gd name="connsiteY1" fmla="*/ 7669 h 10141"/>
                <a:gd name="connsiteX2" fmla="*/ 552 w 10067"/>
                <a:gd name="connsiteY2" fmla="*/ 9924 h 10141"/>
                <a:gd name="connsiteX3" fmla="*/ 1666 w 10067"/>
                <a:gd name="connsiteY3" fmla="*/ 9924 h 10141"/>
                <a:gd name="connsiteX4" fmla="*/ 2779 w 10067"/>
                <a:gd name="connsiteY4" fmla="*/ 8798 h 10141"/>
                <a:gd name="connsiteX5" fmla="*/ 2223 w 10067"/>
                <a:gd name="connsiteY5" fmla="*/ 6160 h 10141"/>
                <a:gd name="connsiteX6" fmla="*/ 5002 w 10067"/>
                <a:gd name="connsiteY6" fmla="*/ 6160 h 10141"/>
                <a:gd name="connsiteX7" fmla="*/ 6111 w 10067"/>
                <a:gd name="connsiteY7" fmla="*/ 7669 h 10141"/>
                <a:gd name="connsiteX8" fmla="*/ 8332 w 10067"/>
                <a:gd name="connsiteY8" fmla="*/ 7669 h 10141"/>
                <a:gd name="connsiteX9" fmla="*/ 8332 w 10067"/>
                <a:gd name="connsiteY9" fmla="*/ 6541 h 10141"/>
                <a:gd name="connsiteX10" fmla="*/ 8892 w 10067"/>
                <a:gd name="connsiteY10" fmla="*/ 5785 h 10141"/>
                <a:gd name="connsiteX11" fmla="*/ 9444 w 10067"/>
                <a:gd name="connsiteY11" fmla="*/ 6160 h 10141"/>
                <a:gd name="connsiteX12" fmla="*/ 10000 w 10067"/>
                <a:gd name="connsiteY12" fmla="*/ 2397 h 10141"/>
                <a:gd name="connsiteX13" fmla="*/ 7780 w 10067"/>
                <a:gd name="connsiteY13" fmla="*/ 140 h 10141"/>
                <a:gd name="connsiteX14" fmla="*/ 9846 w 10067"/>
                <a:gd name="connsiteY14" fmla="*/ 6445 h 10141"/>
                <a:gd name="connsiteX15" fmla="*/ 1110 w 10067"/>
                <a:gd name="connsiteY15" fmla="*/ 5033 h 10141"/>
                <a:gd name="connsiteX0" fmla="*/ 7780 w 16514"/>
                <a:gd name="connsiteY0" fmla="*/ 0 h 10001"/>
                <a:gd name="connsiteX1" fmla="*/ 9846 w 16514"/>
                <a:gd name="connsiteY1" fmla="*/ 6305 h 10001"/>
                <a:gd name="connsiteX2" fmla="*/ 1110 w 16514"/>
                <a:gd name="connsiteY2" fmla="*/ 4893 h 10001"/>
                <a:gd name="connsiteX3" fmla="*/ 0 w 16514"/>
                <a:gd name="connsiteY3" fmla="*/ 7529 h 10001"/>
                <a:gd name="connsiteX4" fmla="*/ 552 w 16514"/>
                <a:gd name="connsiteY4" fmla="*/ 9784 h 10001"/>
                <a:gd name="connsiteX5" fmla="*/ 1666 w 16514"/>
                <a:gd name="connsiteY5" fmla="*/ 9784 h 10001"/>
                <a:gd name="connsiteX6" fmla="*/ 2779 w 16514"/>
                <a:gd name="connsiteY6" fmla="*/ 8658 h 10001"/>
                <a:gd name="connsiteX7" fmla="*/ 2223 w 16514"/>
                <a:gd name="connsiteY7" fmla="*/ 6020 h 10001"/>
                <a:gd name="connsiteX8" fmla="*/ 5002 w 16514"/>
                <a:gd name="connsiteY8" fmla="*/ 6020 h 10001"/>
                <a:gd name="connsiteX9" fmla="*/ 6111 w 16514"/>
                <a:gd name="connsiteY9" fmla="*/ 7529 h 10001"/>
                <a:gd name="connsiteX10" fmla="*/ 8332 w 16514"/>
                <a:gd name="connsiteY10" fmla="*/ 7529 h 10001"/>
                <a:gd name="connsiteX11" fmla="*/ 8332 w 16514"/>
                <a:gd name="connsiteY11" fmla="*/ 6401 h 10001"/>
                <a:gd name="connsiteX12" fmla="*/ 8892 w 16514"/>
                <a:gd name="connsiteY12" fmla="*/ 5645 h 10001"/>
                <a:gd name="connsiteX13" fmla="*/ 9444 w 16514"/>
                <a:gd name="connsiteY13" fmla="*/ 6020 h 10001"/>
                <a:gd name="connsiteX14" fmla="*/ 16514 w 16514"/>
                <a:gd name="connsiteY14" fmla="*/ 6681 h 10001"/>
                <a:gd name="connsiteX0" fmla="*/ 7780 w 16514"/>
                <a:gd name="connsiteY0" fmla="*/ 445 h 10446"/>
                <a:gd name="connsiteX1" fmla="*/ 7465 w 16514"/>
                <a:gd name="connsiteY1" fmla="*/ 473 h 10446"/>
                <a:gd name="connsiteX2" fmla="*/ 9846 w 16514"/>
                <a:gd name="connsiteY2" fmla="*/ 6750 h 10446"/>
                <a:gd name="connsiteX3" fmla="*/ 1110 w 16514"/>
                <a:gd name="connsiteY3" fmla="*/ 5338 h 10446"/>
                <a:gd name="connsiteX4" fmla="*/ 0 w 16514"/>
                <a:gd name="connsiteY4" fmla="*/ 7974 h 10446"/>
                <a:gd name="connsiteX5" fmla="*/ 552 w 16514"/>
                <a:gd name="connsiteY5" fmla="*/ 10229 h 10446"/>
                <a:gd name="connsiteX6" fmla="*/ 1666 w 16514"/>
                <a:gd name="connsiteY6" fmla="*/ 10229 h 10446"/>
                <a:gd name="connsiteX7" fmla="*/ 2779 w 16514"/>
                <a:gd name="connsiteY7" fmla="*/ 9103 h 10446"/>
                <a:gd name="connsiteX8" fmla="*/ 2223 w 16514"/>
                <a:gd name="connsiteY8" fmla="*/ 6465 h 10446"/>
                <a:gd name="connsiteX9" fmla="*/ 5002 w 16514"/>
                <a:gd name="connsiteY9" fmla="*/ 6465 h 10446"/>
                <a:gd name="connsiteX10" fmla="*/ 6111 w 16514"/>
                <a:gd name="connsiteY10" fmla="*/ 7974 h 10446"/>
                <a:gd name="connsiteX11" fmla="*/ 8332 w 16514"/>
                <a:gd name="connsiteY11" fmla="*/ 7974 h 10446"/>
                <a:gd name="connsiteX12" fmla="*/ 8332 w 16514"/>
                <a:gd name="connsiteY12" fmla="*/ 6846 h 10446"/>
                <a:gd name="connsiteX13" fmla="*/ 8892 w 16514"/>
                <a:gd name="connsiteY13" fmla="*/ 6090 h 10446"/>
                <a:gd name="connsiteX14" fmla="*/ 9444 w 16514"/>
                <a:gd name="connsiteY14" fmla="*/ 6465 h 10446"/>
                <a:gd name="connsiteX15" fmla="*/ 16514 w 16514"/>
                <a:gd name="connsiteY15" fmla="*/ 7126 h 10446"/>
                <a:gd name="connsiteX0" fmla="*/ 7465 w 16514"/>
                <a:gd name="connsiteY0" fmla="*/ 0 h 9973"/>
                <a:gd name="connsiteX1" fmla="*/ 9846 w 16514"/>
                <a:gd name="connsiteY1" fmla="*/ 6277 h 9973"/>
                <a:gd name="connsiteX2" fmla="*/ 1110 w 16514"/>
                <a:gd name="connsiteY2" fmla="*/ 4865 h 9973"/>
                <a:gd name="connsiteX3" fmla="*/ 0 w 16514"/>
                <a:gd name="connsiteY3" fmla="*/ 7501 h 9973"/>
                <a:gd name="connsiteX4" fmla="*/ 552 w 16514"/>
                <a:gd name="connsiteY4" fmla="*/ 9756 h 9973"/>
                <a:gd name="connsiteX5" fmla="*/ 1666 w 16514"/>
                <a:gd name="connsiteY5" fmla="*/ 9756 h 9973"/>
                <a:gd name="connsiteX6" fmla="*/ 2779 w 16514"/>
                <a:gd name="connsiteY6" fmla="*/ 8630 h 9973"/>
                <a:gd name="connsiteX7" fmla="*/ 2223 w 16514"/>
                <a:gd name="connsiteY7" fmla="*/ 5992 h 9973"/>
                <a:gd name="connsiteX8" fmla="*/ 5002 w 16514"/>
                <a:gd name="connsiteY8" fmla="*/ 5992 h 9973"/>
                <a:gd name="connsiteX9" fmla="*/ 6111 w 16514"/>
                <a:gd name="connsiteY9" fmla="*/ 7501 h 9973"/>
                <a:gd name="connsiteX10" fmla="*/ 8332 w 16514"/>
                <a:gd name="connsiteY10" fmla="*/ 7501 h 9973"/>
                <a:gd name="connsiteX11" fmla="*/ 8332 w 16514"/>
                <a:gd name="connsiteY11" fmla="*/ 6373 h 9973"/>
                <a:gd name="connsiteX12" fmla="*/ 8892 w 16514"/>
                <a:gd name="connsiteY12" fmla="*/ 5617 h 9973"/>
                <a:gd name="connsiteX13" fmla="*/ 9444 w 16514"/>
                <a:gd name="connsiteY13" fmla="*/ 5992 h 9973"/>
                <a:gd name="connsiteX14" fmla="*/ 16514 w 16514"/>
                <a:gd name="connsiteY14" fmla="*/ 6653 h 9973"/>
                <a:gd name="connsiteX0" fmla="*/ 5962 w 10000"/>
                <a:gd name="connsiteY0" fmla="*/ 1504 h 5209"/>
                <a:gd name="connsiteX1" fmla="*/ 672 w 10000"/>
                <a:gd name="connsiteY1" fmla="*/ 88 h 5209"/>
                <a:gd name="connsiteX2" fmla="*/ 0 w 10000"/>
                <a:gd name="connsiteY2" fmla="*/ 2731 h 5209"/>
                <a:gd name="connsiteX3" fmla="*/ 334 w 10000"/>
                <a:gd name="connsiteY3" fmla="*/ 4992 h 5209"/>
                <a:gd name="connsiteX4" fmla="*/ 1009 w 10000"/>
                <a:gd name="connsiteY4" fmla="*/ 4992 h 5209"/>
                <a:gd name="connsiteX5" fmla="*/ 1683 w 10000"/>
                <a:gd name="connsiteY5" fmla="*/ 3863 h 5209"/>
                <a:gd name="connsiteX6" fmla="*/ 1346 w 10000"/>
                <a:gd name="connsiteY6" fmla="*/ 1218 h 5209"/>
                <a:gd name="connsiteX7" fmla="*/ 3029 w 10000"/>
                <a:gd name="connsiteY7" fmla="*/ 1218 h 5209"/>
                <a:gd name="connsiteX8" fmla="*/ 3700 w 10000"/>
                <a:gd name="connsiteY8" fmla="*/ 2731 h 5209"/>
                <a:gd name="connsiteX9" fmla="*/ 5045 w 10000"/>
                <a:gd name="connsiteY9" fmla="*/ 2731 h 5209"/>
                <a:gd name="connsiteX10" fmla="*/ 5045 w 10000"/>
                <a:gd name="connsiteY10" fmla="*/ 1600 h 5209"/>
                <a:gd name="connsiteX11" fmla="*/ 5385 w 10000"/>
                <a:gd name="connsiteY11" fmla="*/ 842 h 5209"/>
                <a:gd name="connsiteX12" fmla="*/ 5719 w 10000"/>
                <a:gd name="connsiteY12" fmla="*/ 1218 h 5209"/>
                <a:gd name="connsiteX13" fmla="*/ 10000 w 10000"/>
                <a:gd name="connsiteY13" fmla="*/ 1881 h 5209"/>
                <a:gd name="connsiteX0" fmla="*/ 5962 w 5962"/>
                <a:gd name="connsiteY0" fmla="*/ 2718 h 9832"/>
                <a:gd name="connsiteX1" fmla="*/ 672 w 5962"/>
                <a:gd name="connsiteY1" fmla="*/ 0 h 9832"/>
                <a:gd name="connsiteX2" fmla="*/ 0 w 5962"/>
                <a:gd name="connsiteY2" fmla="*/ 5074 h 9832"/>
                <a:gd name="connsiteX3" fmla="*/ 334 w 5962"/>
                <a:gd name="connsiteY3" fmla="*/ 9414 h 9832"/>
                <a:gd name="connsiteX4" fmla="*/ 1009 w 5962"/>
                <a:gd name="connsiteY4" fmla="*/ 9414 h 9832"/>
                <a:gd name="connsiteX5" fmla="*/ 1683 w 5962"/>
                <a:gd name="connsiteY5" fmla="*/ 7247 h 9832"/>
                <a:gd name="connsiteX6" fmla="*/ 1346 w 5962"/>
                <a:gd name="connsiteY6" fmla="*/ 2169 h 9832"/>
                <a:gd name="connsiteX7" fmla="*/ 3029 w 5962"/>
                <a:gd name="connsiteY7" fmla="*/ 2169 h 9832"/>
                <a:gd name="connsiteX8" fmla="*/ 3700 w 5962"/>
                <a:gd name="connsiteY8" fmla="*/ 5074 h 9832"/>
                <a:gd name="connsiteX9" fmla="*/ 5045 w 5962"/>
                <a:gd name="connsiteY9" fmla="*/ 5074 h 9832"/>
                <a:gd name="connsiteX10" fmla="*/ 5045 w 5962"/>
                <a:gd name="connsiteY10" fmla="*/ 2903 h 9832"/>
                <a:gd name="connsiteX11" fmla="*/ 5385 w 5962"/>
                <a:gd name="connsiteY11" fmla="*/ 1447 h 9832"/>
                <a:gd name="connsiteX12" fmla="*/ 5719 w 5962"/>
                <a:gd name="connsiteY12" fmla="*/ 2169 h 9832"/>
                <a:gd name="connsiteX0" fmla="*/ 10000 w 10000"/>
                <a:gd name="connsiteY0" fmla="*/ 2764 h 10000"/>
                <a:gd name="connsiteX1" fmla="*/ 1127 w 10000"/>
                <a:gd name="connsiteY1" fmla="*/ 0 h 10000"/>
                <a:gd name="connsiteX2" fmla="*/ 0 w 10000"/>
                <a:gd name="connsiteY2" fmla="*/ 5161 h 10000"/>
                <a:gd name="connsiteX3" fmla="*/ 560 w 10000"/>
                <a:gd name="connsiteY3" fmla="*/ 9575 h 10000"/>
                <a:gd name="connsiteX4" fmla="*/ 1692 w 10000"/>
                <a:gd name="connsiteY4" fmla="*/ 9575 h 10000"/>
                <a:gd name="connsiteX5" fmla="*/ 2823 w 10000"/>
                <a:gd name="connsiteY5" fmla="*/ 7371 h 10000"/>
                <a:gd name="connsiteX6" fmla="*/ 2258 w 10000"/>
                <a:gd name="connsiteY6" fmla="*/ 2206 h 10000"/>
                <a:gd name="connsiteX7" fmla="*/ 5081 w 10000"/>
                <a:gd name="connsiteY7" fmla="*/ 2206 h 10000"/>
                <a:gd name="connsiteX8" fmla="*/ 6206 w 10000"/>
                <a:gd name="connsiteY8" fmla="*/ 5161 h 10000"/>
                <a:gd name="connsiteX9" fmla="*/ 8462 w 10000"/>
                <a:gd name="connsiteY9" fmla="*/ 5161 h 10000"/>
                <a:gd name="connsiteX10" fmla="*/ 8462 w 10000"/>
                <a:gd name="connsiteY10" fmla="*/ 2953 h 10000"/>
                <a:gd name="connsiteX11" fmla="*/ 9032 w 10000"/>
                <a:gd name="connsiteY11" fmla="*/ 1472 h 10000"/>
                <a:gd name="connsiteX0" fmla="*/ 10000 w 10000"/>
                <a:gd name="connsiteY0" fmla="*/ 2764 h 10000"/>
                <a:gd name="connsiteX1" fmla="*/ 1127 w 10000"/>
                <a:gd name="connsiteY1" fmla="*/ 0 h 10000"/>
                <a:gd name="connsiteX2" fmla="*/ 0 w 10000"/>
                <a:gd name="connsiteY2" fmla="*/ 5161 h 10000"/>
                <a:gd name="connsiteX3" fmla="*/ 560 w 10000"/>
                <a:gd name="connsiteY3" fmla="*/ 9575 h 10000"/>
                <a:gd name="connsiteX4" fmla="*/ 1692 w 10000"/>
                <a:gd name="connsiteY4" fmla="*/ 9575 h 10000"/>
                <a:gd name="connsiteX5" fmla="*/ 2823 w 10000"/>
                <a:gd name="connsiteY5" fmla="*/ 7371 h 10000"/>
                <a:gd name="connsiteX6" fmla="*/ 2258 w 10000"/>
                <a:gd name="connsiteY6" fmla="*/ 2206 h 10000"/>
                <a:gd name="connsiteX7" fmla="*/ 5081 w 10000"/>
                <a:gd name="connsiteY7" fmla="*/ 2206 h 10000"/>
                <a:gd name="connsiteX8" fmla="*/ 6206 w 10000"/>
                <a:gd name="connsiteY8" fmla="*/ 5161 h 10000"/>
                <a:gd name="connsiteX9" fmla="*/ 8462 w 10000"/>
                <a:gd name="connsiteY9" fmla="*/ 5161 h 10000"/>
                <a:gd name="connsiteX10" fmla="*/ 8462 w 10000"/>
                <a:gd name="connsiteY10" fmla="*/ 2953 h 10000"/>
                <a:gd name="connsiteX0" fmla="*/ 1127 w 8462"/>
                <a:gd name="connsiteY0" fmla="*/ 0 h 10000"/>
                <a:gd name="connsiteX1" fmla="*/ 0 w 8462"/>
                <a:gd name="connsiteY1" fmla="*/ 5161 h 10000"/>
                <a:gd name="connsiteX2" fmla="*/ 560 w 8462"/>
                <a:gd name="connsiteY2" fmla="*/ 9575 h 10000"/>
                <a:gd name="connsiteX3" fmla="*/ 1692 w 8462"/>
                <a:gd name="connsiteY3" fmla="*/ 9575 h 10000"/>
                <a:gd name="connsiteX4" fmla="*/ 2823 w 8462"/>
                <a:gd name="connsiteY4" fmla="*/ 7371 h 10000"/>
                <a:gd name="connsiteX5" fmla="*/ 2258 w 8462"/>
                <a:gd name="connsiteY5" fmla="*/ 2206 h 10000"/>
                <a:gd name="connsiteX6" fmla="*/ 5081 w 8462"/>
                <a:gd name="connsiteY6" fmla="*/ 2206 h 10000"/>
                <a:gd name="connsiteX7" fmla="*/ 6206 w 8462"/>
                <a:gd name="connsiteY7" fmla="*/ 5161 h 10000"/>
                <a:gd name="connsiteX8" fmla="*/ 8462 w 8462"/>
                <a:gd name="connsiteY8" fmla="*/ 5161 h 10000"/>
                <a:gd name="connsiteX9" fmla="*/ 8462 w 8462"/>
                <a:gd name="connsiteY9" fmla="*/ 2953 h 10000"/>
                <a:gd name="connsiteX0" fmla="*/ 1332 w 10000"/>
                <a:gd name="connsiteY0" fmla="*/ 0 h 10000"/>
                <a:gd name="connsiteX1" fmla="*/ 0 w 10000"/>
                <a:gd name="connsiteY1" fmla="*/ 5161 h 10000"/>
                <a:gd name="connsiteX2" fmla="*/ 662 w 10000"/>
                <a:gd name="connsiteY2" fmla="*/ 9575 h 10000"/>
                <a:gd name="connsiteX3" fmla="*/ 2000 w 10000"/>
                <a:gd name="connsiteY3" fmla="*/ 9575 h 10000"/>
                <a:gd name="connsiteX4" fmla="*/ 3336 w 10000"/>
                <a:gd name="connsiteY4" fmla="*/ 7371 h 10000"/>
                <a:gd name="connsiteX5" fmla="*/ 2668 w 10000"/>
                <a:gd name="connsiteY5" fmla="*/ 2206 h 10000"/>
                <a:gd name="connsiteX6" fmla="*/ 6004 w 10000"/>
                <a:gd name="connsiteY6" fmla="*/ 2206 h 10000"/>
                <a:gd name="connsiteX7" fmla="*/ 7334 w 10000"/>
                <a:gd name="connsiteY7" fmla="*/ 5161 h 10000"/>
                <a:gd name="connsiteX8" fmla="*/ 10000 w 10000"/>
                <a:gd name="connsiteY8" fmla="*/ 5161 h 10000"/>
                <a:gd name="connsiteX0" fmla="*/ 1332 w 7334"/>
                <a:gd name="connsiteY0" fmla="*/ 0 h 10000"/>
                <a:gd name="connsiteX1" fmla="*/ 0 w 7334"/>
                <a:gd name="connsiteY1" fmla="*/ 5161 h 10000"/>
                <a:gd name="connsiteX2" fmla="*/ 662 w 7334"/>
                <a:gd name="connsiteY2" fmla="*/ 9575 h 10000"/>
                <a:gd name="connsiteX3" fmla="*/ 2000 w 7334"/>
                <a:gd name="connsiteY3" fmla="*/ 9575 h 10000"/>
                <a:gd name="connsiteX4" fmla="*/ 3336 w 7334"/>
                <a:gd name="connsiteY4" fmla="*/ 7371 h 10000"/>
                <a:gd name="connsiteX5" fmla="*/ 2668 w 7334"/>
                <a:gd name="connsiteY5" fmla="*/ 2206 h 10000"/>
                <a:gd name="connsiteX6" fmla="*/ 6004 w 7334"/>
                <a:gd name="connsiteY6" fmla="*/ 2206 h 10000"/>
                <a:gd name="connsiteX7" fmla="*/ 7334 w 7334"/>
                <a:gd name="connsiteY7" fmla="*/ 5161 h 10000"/>
                <a:gd name="connsiteX0" fmla="*/ 1816 w 8187"/>
                <a:gd name="connsiteY0" fmla="*/ 0 h 10000"/>
                <a:gd name="connsiteX1" fmla="*/ 0 w 8187"/>
                <a:gd name="connsiteY1" fmla="*/ 5161 h 10000"/>
                <a:gd name="connsiteX2" fmla="*/ 903 w 8187"/>
                <a:gd name="connsiteY2" fmla="*/ 9575 h 10000"/>
                <a:gd name="connsiteX3" fmla="*/ 2727 w 8187"/>
                <a:gd name="connsiteY3" fmla="*/ 9575 h 10000"/>
                <a:gd name="connsiteX4" fmla="*/ 4549 w 8187"/>
                <a:gd name="connsiteY4" fmla="*/ 7371 h 10000"/>
                <a:gd name="connsiteX5" fmla="*/ 3638 w 8187"/>
                <a:gd name="connsiteY5" fmla="*/ 2206 h 10000"/>
                <a:gd name="connsiteX6" fmla="*/ 8187 w 8187"/>
                <a:gd name="connsiteY6" fmla="*/ 2206 h 10000"/>
                <a:gd name="connsiteX0" fmla="*/ 2218 w 5556"/>
                <a:gd name="connsiteY0" fmla="*/ 0 h 10000"/>
                <a:gd name="connsiteX1" fmla="*/ 0 w 5556"/>
                <a:gd name="connsiteY1" fmla="*/ 5161 h 10000"/>
                <a:gd name="connsiteX2" fmla="*/ 1103 w 5556"/>
                <a:gd name="connsiteY2" fmla="*/ 9575 h 10000"/>
                <a:gd name="connsiteX3" fmla="*/ 3331 w 5556"/>
                <a:gd name="connsiteY3" fmla="*/ 9575 h 10000"/>
                <a:gd name="connsiteX4" fmla="*/ 5556 w 5556"/>
                <a:gd name="connsiteY4" fmla="*/ 7371 h 10000"/>
                <a:gd name="connsiteX5" fmla="*/ 4444 w 5556"/>
                <a:gd name="connsiteY5" fmla="*/ 2206 h 10000"/>
                <a:gd name="connsiteX0" fmla="*/ 2781 w 10010"/>
                <a:gd name="connsiteY0" fmla="*/ 50 h 7794"/>
                <a:gd name="connsiteX1" fmla="*/ 10 w 10010"/>
                <a:gd name="connsiteY1" fmla="*/ 2955 h 7794"/>
                <a:gd name="connsiteX2" fmla="*/ 1995 w 10010"/>
                <a:gd name="connsiteY2" fmla="*/ 7369 h 7794"/>
                <a:gd name="connsiteX3" fmla="*/ 6005 w 10010"/>
                <a:gd name="connsiteY3" fmla="*/ 7369 h 7794"/>
                <a:gd name="connsiteX4" fmla="*/ 10010 w 10010"/>
                <a:gd name="connsiteY4" fmla="*/ 5165 h 7794"/>
                <a:gd name="connsiteX5" fmla="*/ 8009 w 10010"/>
                <a:gd name="connsiteY5" fmla="*/ 0 h 7794"/>
                <a:gd name="connsiteX0" fmla="*/ 2778 w 10000"/>
                <a:gd name="connsiteY0" fmla="*/ 64 h 10000"/>
                <a:gd name="connsiteX1" fmla="*/ 10 w 10000"/>
                <a:gd name="connsiteY1" fmla="*/ 3791 h 10000"/>
                <a:gd name="connsiteX2" fmla="*/ 1993 w 10000"/>
                <a:gd name="connsiteY2" fmla="*/ 9455 h 10000"/>
                <a:gd name="connsiteX3" fmla="*/ 5999 w 10000"/>
                <a:gd name="connsiteY3" fmla="*/ 9455 h 10000"/>
                <a:gd name="connsiteX4" fmla="*/ 10000 w 10000"/>
                <a:gd name="connsiteY4" fmla="*/ 6627 h 10000"/>
                <a:gd name="connsiteX5" fmla="*/ 8001 w 10000"/>
                <a:gd name="connsiteY5" fmla="*/ 0 h 10000"/>
                <a:gd name="connsiteX6" fmla="*/ 2778 w 10000"/>
                <a:gd name="connsiteY6" fmla="*/ 64 h 10000"/>
                <a:gd name="connsiteX0" fmla="*/ 4039 w 10042"/>
                <a:gd name="connsiteY0" fmla="*/ 3050 h 10092"/>
                <a:gd name="connsiteX1" fmla="*/ 52 w 10042"/>
                <a:gd name="connsiteY1" fmla="*/ 3883 h 10092"/>
                <a:gd name="connsiteX2" fmla="*/ 2035 w 10042"/>
                <a:gd name="connsiteY2" fmla="*/ 9547 h 10092"/>
                <a:gd name="connsiteX3" fmla="*/ 6041 w 10042"/>
                <a:gd name="connsiteY3" fmla="*/ 9547 h 10092"/>
                <a:gd name="connsiteX4" fmla="*/ 10042 w 10042"/>
                <a:gd name="connsiteY4" fmla="*/ 6719 h 10092"/>
                <a:gd name="connsiteX5" fmla="*/ 8043 w 10042"/>
                <a:gd name="connsiteY5" fmla="*/ 92 h 10092"/>
                <a:gd name="connsiteX6" fmla="*/ 4039 w 10042"/>
                <a:gd name="connsiteY6" fmla="*/ 3050 h 10092"/>
                <a:gd name="connsiteX0" fmla="*/ 4039 w 10094"/>
                <a:gd name="connsiteY0" fmla="*/ 332 h 7374"/>
                <a:gd name="connsiteX1" fmla="*/ 52 w 10094"/>
                <a:gd name="connsiteY1" fmla="*/ 1165 h 7374"/>
                <a:gd name="connsiteX2" fmla="*/ 2035 w 10094"/>
                <a:gd name="connsiteY2" fmla="*/ 6829 h 7374"/>
                <a:gd name="connsiteX3" fmla="*/ 6041 w 10094"/>
                <a:gd name="connsiteY3" fmla="*/ 6829 h 7374"/>
                <a:gd name="connsiteX4" fmla="*/ 10042 w 10094"/>
                <a:gd name="connsiteY4" fmla="*/ 4001 h 7374"/>
                <a:gd name="connsiteX5" fmla="*/ 8043 w 10094"/>
                <a:gd name="connsiteY5" fmla="*/ 1425 h 7374"/>
                <a:gd name="connsiteX6" fmla="*/ 4039 w 10094"/>
                <a:gd name="connsiteY6" fmla="*/ 332 h 7374"/>
                <a:gd name="connsiteX0" fmla="*/ 4001 w 9999"/>
                <a:gd name="connsiteY0" fmla="*/ 1057 h 8645"/>
                <a:gd name="connsiteX1" fmla="*/ 52 w 9999"/>
                <a:gd name="connsiteY1" fmla="*/ 225 h 8645"/>
                <a:gd name="connsiteX2" fmla="*/ 2016 w 9999"/>
                <a:gd name="connsiteY2" fmla="*/ 7906 h 8645"/>
                <a:gd name="connsiteX3" fmla="*/ 5985 w 9999"/>
                <a:gd name="connsiteY3" fmla="*/ 7906 h 8645"/>
                <a:gd name="connsiteX4" fmla="*/ 9948 w 9999"/>
                <a:gd name="connsiteY4" fmla="*/ 4071 h 8645"/>
                <a:gd name="connsiteX5" fmla="*/ 7968 w 9999"/>
                <a:gd name="connsiteY5" fmla="*/ 577 h 8645"/>
                <a:gd name="connsiteX6" fmla="*/ 4001 w 9999"/>
                <a:gd name="connsiteY6" fmla="*/ 1057 h 8645"/>
                <a:gd name="connsiteX0" fmla="*/ 2875 w 8874"/>
                <a:gd name="connsiteY0" fmla="*/ 1077 h 9666"/>
                <a:gd name="connsiteX1" fmla="*/ 134 w 8874"/>
                <a:gd name="connsiteY1" fmla="*/ 2838 h 9666"/>
                <a:gd name="connsiteX2" fmla="*/ 890 w 8874"/>
                <a:gd name="connsiteY2" fmla="*/ 8999 h 9666"/>
                <a:gd name="connsiteX3" fmla="*/ 4860 w 8874"/>
                <a:gd name="connsiteY3" fmla="*/ 8999 h 9666"/>
                <a:gd name="connsiteX4" fmla="*/ 8823 w 8874"/>
                <a:gd name="connsiteY4" fmla="*/ 4563 h 9666"/>
                <a:gd name="connsiteX5" fmla="*/ 6843 w 8874"/>
                <a:gd name="connsiteY5" fmla="*/ 521 h 9666"/>
                <a:gd name="connsiteX6" fmla="*/ 2875 w 8874"/>
                <a:gd name="connsiteY6" fmla="*/ 1077 h 9666"/>
                <a:gd name="connsiteX0" fmla="*/ 603 w 10105"/>
                <a:gd name="connsiteY0" fmla="*/ 1114 h 10000"/>
                <a:gd name="connsiteX1" fmla="*/ 237 w 10105"/>
                <a:gd name="connsiteY1" fmla="*/ 2936 h 10000"/>
                <a:gd name="connsiteX2" fmla="*/ 1089 w 10105"/>
                <a:gd name="connsiteY2" fmla="*/ 9310 h 10000"/>
                <a:gd name="connsiteX3" fmla="*/ 5563 w 10105"/>
                <a:gd name="connsiteY3" fmla="*/ 9310 h 10000"/>
                <a:gd name="connsiteX4" fmla="*/ 10029 w 10105"/>
                <a:gd name="connsiteY4" fmla="*/ 4721 h 10000"/>
                <a:gd name="connsiteX5" fmla="*/ 7797 w 10105"/>
                <a:gd name="connsiteY5" fmla="*/ 539 h 10000"/>
                <a:gd name="connsiteX6" fmla="*/ 603 w 10105"/>
                <a:gd name="connsiteY6" fmla="*/ 1114 h 10000"/>
                <a:gd name="connsiteX0" fmla="*/ 403 w 9905"/>
                <a:gd name="connsiteY0" fmla="*/ 1114 h 9908"/>
                <a:gd name="connsiteX1" fmla="*/ 718 w 9905"/>
                <a:gd name="connsiteY1" fmla="*/ 4345 h 9908"/>
                <a:gd name="connsiteX2" fmla="*/ 889 w 9905"/>
                <a:gd name="connsiteY2" fmla="*/ 9310 h 9908"/>
                <a:gd name="connsiteX3" fmla="*/ 5363 w 9905"/>
                <a:gd name="connsiteY3" fmla="*/ 9310 h 9908"/>
                <a:gd name="connsiteX4" fmla="*/ 9829 w 9905"/>
                <a:gd name="connsiteY4" fmla="*/ 4721 h 9908"/>
                <a:gd name="connsiteX5" fmla="*/ 7597 w 9905"/>
                <a:gd name="connsiteY5" fmla="*/ 539 h 9908"/>
                <a:gd name="connsiteX6" fmla="*/ 403 w 9905"/>
                <a:gd name="connsiteY6" fmla="*/ 1114 h 9908"/>
                <a:gd name="connsiteX0" fmla="*/ 407 w 9934"/>
                <a:gd name="connsiteY0" fmla="*/ 1124 h 10302"/>
                <a:gd name="connsiteX1" fmla="*/ 725 w 9934"/>
                <a:gd name="connsiteY1" fmla="*/ 4385 h 10302"/>
                <a:gd name="connsiteX2" fmla="*/ 898 w 9934"/>
                <a:gd name="connsiteY2" fmla="*/ 9396 h 10302"/>
                <a:gd name="connsiteX3" fmla="*/ 8163 w 9934"/>
                <a:gd name="connsiteY3" fmla="*/ 9870 h 10302"/>
                <a:gd name="connsiteX4" fmla="*/ 9923 w 9934"/>
                <a:gd name="connsiteY4" fmla="*/ 4765 h 10302"/>
                <a:gd name="connsiteX5" fmla="*/ 7670 w 9934"/>
                <a:gd name="connsiteY5" fmla="*/ 544 h 10302"/>
                <a:gd name="connsiteX6" fmla="*/ 407 w 9934"/>
                <a:gd name="connsiteY6" fmla="*/ 1124 h 10302"/>
                <a:gd name="connsiteX0" fmla="*/ 409 w 8907"/>
                <a:gd name="connsiteY0" fmla="*/ 1429 h 10338"/>
                <a:gd name="connsiteX1" fmla="*/ 729 w 8907"/>
                <a:gd name="connsiteY1" fmla="*/ 4594 h 10338"/>
                <a:gd name="connsiteX2" fmla="*/ 903 w 8907"/>
                <a:gd name="connsiteY2" fmla="*/ 9459 h 10338"/>
                <a:gd name="connsiteX3" fmla="*/ 8216 w 8907"/>
                <a:gd name="connsiteY3" fmla="*/ 9919 h 10338"/>
                <a:gd name="connsiteX4" fmla="*/ 7720 w 8907"/>
                <a:gd name="connsiteY4" fmla="*/ 866 h 10338"/>
                <a:gd name="connsiteX5" fmla="*/ 409 w 8907"/>
                <a:gd name="connsiteY5" fmla="*/ 1429 h 10338"/>
                <a:gd name="connsiteX0" fmla="*/ 459 w 10577"/>
                <a:gd name="connsiteY0" fmla="*/ 1227 h 9088"/>
                <a:gd name="connsiteX1" fmla="*/ 818 w 10577"/>
                <a:gd name="connsiteY1" fmla="*/ 4289 h 9088"/>
                <a:gd name="connsiteX2" fmla="*/ 1014 w 10577"/>
                <a:gd name="connsiteY2" fmla="*/ 8995 h 9088"/>
                <a:gd name="connsiteX3" fmla="*/ 10001 w 10577"/>
                <a:gd name="connsiteY3" fmla="*/ 7215 h 9088"/>
                <a:gd name="connsiteX4" fmla="*/ 8667 w 10577"/>
                <a:gd name="connsiteY4" fmla="*/ 683 h 9088"/>
                <a:gd name="connsiteX5" fmla="*/ 459 w 10577"/>
                <a:gd name="connsiteY5" fmla="*/ 1227 h 9088"/>
                <a:gd name="connsiteX0" fmla="*/ 456 w 9967"/>
                <a:gd name="connsiteY0" fmla="*/ 1350 h 8428"/>
                <a:gd name="connsiteX1" fmla="*/ 795 w 9967"/>
                <a:gd name="connsiteY1" fmla="*/ 4719 h 8428"/>
                <a:gd name="connsiteX2" fmla="*/ 1715 w 9967"/>
                <a:gd name="connsiteY2" fmla="*/ 7449 h 8428"/>
                <a:gd name="connsiteX3" fmla="*/ 9477 w 9967"/>
                <a:gd name="connsiteY3" fmla="*/ 7939 h 8428"/>
                <a:gd name="connsiteX4" fmla="*/ 8216 w 9967"/>
                <a:gd name="connsiteY4" fmla="*/ 752 h 8428"/>
                <a:gd name="connsiteX5" fmla="*/ 456 w 9967"/>
                <a:gd name="connsiteY5" fmla="*/ 1350 h 8428"/>
                <a:gd name="connsiteX0" fmla="*/ 492 w 10034"/>
                <a:gd name="connsiteY0" fmla="*/ 1602 h 10162"/>
                <a:gd name="connsiteX1" fmla="*/ 1755 w 10034"/>
                <a:gd name="connsiteY1" fmla="*/ 8838 h 10162"/>
                <a:gd name="connsiteX2" fmla="*/ 9542 w 10034"/>
                <a:gd name="connsiteY2" fmla="*/ 9420 h 10162"/>
                <a:gd name="connsiteX3" fmla="*/ 8277 w 10034"/>
                <a:gd name="connsiteY3" fmla="*/ 892 h 10162"/>
                <a:gd name="connsiteX4" fmla="*/ 492 w 10034"/>
                <a:gd name="connsiteY4" fmla="*/ 1602 h 10162"/>
                <a:gd name="connsiteX0" fmla="*/ 492 w 9542"/>
                <a:gd name="connsiteY0" fmla="*/ 1602 h 10162"/>
                <a:gd name="connsiteX1" fmla="*/ 1755 w 9542"/>
                <a:gd name="connsiteY1" fmla="*/ 8838 h 10162"/>
                <a:gd name="connsiteX2" fmla="*/ 9542 w 9542"/>
                <a:gd name="connsiteY2" fmla="*/ 9420 h 10162"/>
                <a:gd name="connsiteX3" fmla="*/ 8277 w 9542"/>
                <a:gd name="connsiteY3" fmla="*/ 892 h 10162"/>
                <a:gd name="connsiteX4" fmla="*/ 492 w 9542"/>
                <a:gd name="connsiteY4" fmla="*/ 1602 h 10162"/>
                <a:gd name="connsiteX0" fmla="*/ 516 w 10000"/>
                <a:gd name="connsiteY0" fmla="*/ 698 h 9122"/>
                <a:gd name="connsiteX1" fmla="*/ 1839 w 10000"/>
                <a:gd name="connsiteY1" fmla="*/ 7819 h 9122"/>
                <a:gd name="connsiteX2" fmla="*/ 10000 w 10000"/>
                <a:gd name="connsiteY2" fmla="*/ 8392 h 9122"/>
                <a:gd name="connsiteX3" fmla="*/ 8674 w 10000"/>
                <a:gd name="connsiteY3" fmla="*/ 0 h 9122"/>
                <a:gd name="connsiteX4" fmla="*/ 516 w 10000"/>
                <a:gd name="connsiteY4" fmla="*/ 698 h 9122"/>
                <a:gd name="connsiteX0" fmla="*/ 516 w 10990"/>
                <a:gd name="connsiteY0" fmla="*/ 138 h 9328"/>
                <a:gd name="connsiteX1" fmla="*/ 1839 w 10990"/>
                <a:gd name="connsiteY1" fmla="*/ 7945 h 9328"/>
                <a:gd name="connsiteX2" fmla="*/ 10000 w 10990"/>
                <a:gd name="connsiteY2" fmla="*/ 8573 h 9328"/>
                <a:gd name="connsiteX3" fmla="*/ 10990 w 10990"/>
                <a:gd name="connsiteY3" fmla="*/ 0 h 9328"/>
                <a:gd name="connsiteX4" fmla="*/ 516 w 10990"/>
                <a:gd name="connsiteY4" fmla="*/ 138 h 9328"/>
                <a:gd name="connsiteX0" fmla="*/ 470 w 10715"/>
                <a:gd name="connsiteY0" fmla="*/ 642 h 9505"/>
                <a:gd name="connsiteX1" fmla="*/ 1673 w 10715"/>
                <a:gd name="connsiteY1" fmla="*/ 9011 h 9505"/>
                <a:gd name="connsiteX2" fmla="*/ 9099 w 10715"/>
                <a:gd name="connsiteY2" fmla="*/ 7669 h 9505"/>
                <a:gd name="connsiteX3" fmla="*/ 10000 w 10715"/>
                <a:gd name="connsiteY3" fmla="*/ 494 h 9505"/>
                <a:gd name="connsiteX4" fmla="*/ 470 w 10715"/>
                <a:gd name="connsiteY4" fmla="*/ 642 h 9505"/>
                <a:gd name="connsiteX0" fmla="*/ 439 w 10000"/>
                <a:gd name="connsiteY0" fmla="*/ 675 h 8452"/>
                <a:gd name="connsiteX1" fmla="*/ 1561 w 10000"/>
                <a:gd name="connsiteY1" fmla="*/ 6652 h 8452"/>
                <a:gd name="connsiteX2" fmla="*/ 8492 w 10000"/>
                <a:gd name="connsiteY2" fmla="*/ 8068 h 8452"/>
                <a:gd name="connsiteX3" fmla="*/ 9333 w 10000"/>
                <a:gd name="connsiteY3" fmla="*/ 520 h 8452"/>
                <a:gd name="connsiteX4" fmla="*/ 439 w 10000"/>
                <a:gd name="connsiteY4" fmla="*/ 675 h 8452"/>
                <a:gd name="connsiteX0" fmla="*/ 1438 w 11084"/>
                <a:gd name="connsiteY0" fmla="*/ 799 h 10649"/>
                <a:gd name="connsiteX1" fmla="*/ 593 w 11084"/>
                <a:gd name="connsiteY1" fmla="*/ 9543 h 10649"/>
                <a:gd name="connsiteX2" fmla="*/ 9491 w 11084"/>
                <a:gd name="connsiteY2" fmla="*/ 9546 h 10649"/>
                <a:gd name="connsiteX3" fmla="*/ 10332 w 11084"/>
                <a:gd name="connsiteY3" fmla="*/ 615 h 10649"/>
                <a:gd name="connsiteX4" fmla="*/ 1438 w 11084"/>
                <a:gd name="connsiteY4" fmla="*/ 799 h 10649"/>
                <a:gd name="connsiteX0" fmla="*/ 2458 w 10698"/>
                <a:gd name="connsiteY0" fmla="*/ 2134 h 10210"/>
                <a:gd name="connsiteX1" fmla="*/ 302 w 10698"/>
                <a:gd name="connsiteY1" fmla="*/ 9205 h 10210"/>
                <a:gd name="connsiteX2" fmla="*/ 9200 w 10698"/>
                <a:gd name="connsiteY2" fmla="*/ 9208 h 10210"/>
                <a:gd name="connsiteX3" fmla="*/ 10041 w 10698"/>
                <a:gd name="connsiteY3" fmla="*/ 277 h 10210"/>
                <a:gd name="connsiteX4" fmla="*/ 2458 w 10698"/>
                <a:gd name="connsiteY4" fmla="*/ 2134 h 10210"/>
                <a:gd name="connsiteX0" fmla="*/ 892 w 9046"/>
                <a:gd name="connsiteY0" fmla="*/ 2134 h 9622"/>
                <a:gd name="connsiteX1" fmla="*/ 703 w 9046"/>
                <a:gd name="connsiteY1" fmla="*/ 7532 h 9622"/>
                <a:gd name="connsiteX2" fmla="*/ 7634 w 9046"/>
                <a:gd name="connsiteY2" fmla="*/ 9208 h 9622"/>
                <a:gd name="connsiteX3" fmla="*/ 8475 w 9046"/>
                <a:gd name="connsiteY3" fmla="*/ 277 h 9622"/>
                <a:gd name="connsiteX4" fmla="*/ 892 w 9046"/>
                <a:gd name="connsiteY4" fmla="*/ 2134 h 9622"/>
                <a:gd name="connsiteX0" fmla="*/ 986 w 10000"/>
                <a:gd name="connsiteY0" fmla="*/ 310 h 10764"/>
                <a:gd name="connsiteX1" fmla="*/ 777 w 10000"/>
                <a:gd name="connsiteY1" fmla="*/ 8528 h 10764"/>
                <a:gd name="connsiteX2" fmla="*/ 8439 w 10000"/>
                <a:gd name="connsiteY2" fmla="*/ 10270 h 10764"/>
                <a:gd name="connsiteX3" fmla="*/ 9369 w 10000"/>
                <a:gd name="connsiteY3" fmla="*/ 988 h 10764"/>
                <a:gd name="connsiteX4" fmla="*/ 986 w 10000"/>
                <a:gd name="connsiteY4" fmla="*/ 310 h 10764"/>
                <a:gd name="connsiteX0" fmla="*/ 986 w 10000"/>
                <a:gd name="connsiteY0" fmla="*/ 310 h 10764"/>
                <a:gd name="connsiteX1" fmla="*/ 777 w 10000"/>
                <a:gd name="connsiteY1" fmla="*/ 8528 h 10764"/>
                <a:gd name="connsiteX2" fmla="*/ 8439 w 10000"/>
                <a:gd name="connsiteY2" fmla="*/ 10270 h 10764"/>
                <a:gd name="connsiteX3" fmla="*/ 9369 w 10000"/>
                <a:gd name="connsiteY3" fmla="*/ 988 h 10764"/>
                <a:gd name="connsiteX4" fmla="*/ 986 w 10000"/>
                <a:gd name="connsiteY4" fmla="*/ 310 h 10764"/>
                <a:gd name="connsiteX0" fmla="*/ 986 w 10000"/>
                <a:gd name="connsiteY0" fmla="*/ 1490 h 11944"/>
                <a:gd name="connsiteX1" fmla="*/ 777 w 10000"/>
                <a:gd name="connsiteY1" fmla="*/ 9708 h 11944"/>
                <a:gd name="connsiteX2" fmla="*/ 8439 w 10000"/>
                <a:gd name="connsiteY2" fmla="*/ 11450 h 11944"/>
                <a:gd name="connsiteX3" fmla="*/ 9369 w 10000"/>
                <a:gd name="connsiteY3" fmla="*/ 2168 h 11944"/>
                <a:gd name="connsiteX4" fmla="*/ 986 w 10000"/>
                <a:gd name="connsiteY4" fmla="*/ 1490 h 11944"/>
                <a:gd name="connsiteX0" fmla="*/ 986 w 10000"/>
                <a:gd name="connsiteY0" fmla="*/ 1490 h 11944"/>
                <a:gd name="connsiteX1" fmla="*/ 777 w 10000"/>
                <a:gd name="connsiteY1" fmla="*/ 9708 h 11944"/>
                <a:gd name="connsiteX2" fmla="*/ 8439 w 10000"/>
                <a:gd name="connsiteY2" fmla="*/ 11450 h 11944"/>
                <a:gd name="connsiteX3" fmla="*/ 9369 w 10000"/>
                <a:gd name="connsiteY3" fmla="*/ 2168 h 11944"/>
                <a:gd name="connsiteX4" fmla="*/ 986 w 10000"/>
                <a:gd name="connsiteY4" fmla="*/ 1490 h 11944"/>
                <a:gd name="connsiteX0" fmla="*/ 986 w 10000"/>
                <a:gd name="connsiteY0" fmla="*/ 1490 h 11944"/>
                <a:gd name="connsiteX1" fmla="*/ 777 w 10000"/>
                <a:gd name="connsiteY1" fmla="*/ 9708 h 11944"/>
                <a:gd name="connsiteX2" fmla="*/ 8439 w 10000"/>
                <a:gd name="connsiteY2" fmla="*/ 11450 h 11944"/>
                <a:gd name="connsiteX3" fmla="*/ 9369 w 10000"/>
                <a:gd name="connsiteY3" fmla="*/ 2168 h 11944"/>
                <a:gd name="connsiteX4" fmla="*/ 986 w 10000"/>
                <a:gd name="connsiteY4" fmla="*/ 1490 h 11944"/>
                <a:gd name="connsiteX0" fmla="*/ 986 w 10000"/>
                <a:gd name="connsiteY0" fmla="*/ 0 h 10454"/>
                <a:gd name="connsiteX1" fmla="*/ 777 w 10000"/>
                <a:gd name="connsiteY1" fmla="*/ 8218 h 10454"/>
                <a:gd name="connsiteX2" fmla="*/ 8439 w 10000"/>
                <a:gd name="connsiteY2" fmla="*/ 9960 h 10454"/>
                <a:gd name="connsiteX3" fmla="*/ 9369 w 10000"/>
                <a:gd name="connsiteY3" fmla="*/ 678 h 10454"/>
                <a:gd name="connsiteX4" fmla="*/ 986 w 10000"/>
                <a:gd name="connsiteY4" fmla="*/ 0 h 10454"/>
                <a:gd name="connsiteX0" fmla="*/ 209 w 9223"/>
                <a:gd name="connsiteY0" fmla="*/ 0 h 10454"/>
                <a:gd name="connsiteX1" fmla="*/ 0 w 9223"/>
                <a:gd name="connsiteY1" fmla="*/ 8218 h 10454"/>
                <a:gd name="connsiteX2" fmla="*/ 7662 w 9223"/>
                <a:gd name="connsiteY2" fmla="*/ 9960 h 10454"/>
                <a:gd name="connsiteX3" fmla="*/ 8592 w 9223"/>
                <a:gd name="connsiteY3" fmla="*/ 678 h 10454"/>
                <a:gd name="connsiteX4" fmla="*/ 209 w 9223"/>
                <a:gd name="connsiteY4" fmla="*/ 0 h 10454"/>
                <a:gd name="connsiteX0" fmla="*/ 227 w 9316"/>
                <a:gd name="connsiteY0" fmla="*/ 0 h 10000"/>
                <a:gd name="connsiteX1" fmla="*/ 0 w 9316"/>
                <a:gd name="connsiteY1" fmla="*/ 7861 h 10000"/>
                <a:gd name="connsiteX2" fmla="*/ 8307 w 9316"/>
                <a:gd name="connsiteY2" fmla="*/ 9527 h 10000"/>
                <a:gd name="connsiteX3" fmla="*/ 9316 w 9316"/>
                <a:gd name="connsiteY3" fmla="*/ 649 h 10000"/>
                <a:gd name="connsiteX4" fmla="*/ 227 w 9316"/>
                <a:gd name="connsiteY4" fmla="*/ 0 h 10000"/>
                <a:gd name="connsiteX0" fmla="*/ 244 w 10000"/>
                <a:gd name="connsiteY0" fmla="*/ 0 h 9527"/>
                <a:gd name="connsiteX1" fmla="*/ 0 w 10000"/>
                <a:gd name="connsiteY1" fmla="*/ 7861 h 9527"/>
                <a:gd name="connsiteX2" fmla="*/ 8917 w 10000"/>
                <a:gd name="connsiteY2" fmla="*/ 9527 h 9527"/>
                <a:gd name="connsiteX3" fmla="*/ 10000 w 10000"/>
                <a:gd name="connsiteY3" fmla="*/ 649 h 9527"/>
                <a:gd name="connsiteX4" fmla="*/ 244 w 10000"/>
                <a:gd name="connsiteY4" fmla="*/ 0 h 9527"/>
                <a:gd name="connsiteX0" fmla="*/ 244 w 8940"/>
                <a:gd name="connsiteY0" fmla="*/ 4556 h 15266"/>
                <a:gd name="connsiteX1" fmla="*/ 0 w 8940"/>
                <a:gd name="connsiteY1" fmla="*/ 12807 h 15266"/>
                <a:gd name="connsiteX2" fmla="*/ 8917 w 8940"/>
                <a:gd name="connsiteY2" fmla="*/ 14556 h 15266"/>
                <a:gd name="connsiteX3" fmla="*/ 2407 w 8940"/>
                <a:gd name="connsiteY3" fmla="*/ 0 h 15266"/>
                <a:gd name="connsiteX4" fmla="*/ 244 w 8940"/>
                <a:gd name="connsiteY4" fmla="*/ 4556 h 15266"/>
                <a:gd name="connsiteX0" fmla="*/ 1300 w 14791"/>
                <a:gd name="connsiteY0" fmla="*/ 3206 h 9881"/>
                <a:gd name="connsiteX1" fmla="*/ 1027 w 14791"/>
                <a:gd name="connsiteY1" fmla="*/ 8611 h 9881"/>
                <a:gd name="connsiteX2" fmla="*/ 14776 w 14791"/>
                <a:gd name="connsiteY2" fmla="*/ 9185 h 9881"/>
                <a:gd name="connsiteX3" fmla="*/ 3719 w 14791"/>
                <a:gd name="connsiteY3" fmla="*/ 222 h 9881"/>
                <a:gd name="connsiteX4" fmla="*/ 1300 w 14791"/>
                <a:gd name="connsiteY4" fmla="*/ 3206 h 9881"/>
                <a:gd name="connsiteX0" fmla="*/ 28 w 9141"/>
                <a:gd name="connsiteY0" fmla="*/ 3278 h 11974"/>
                <a:gd name="connsiteX1" fmla="*/ 2395 w 9141"/>
                <a:gd name="connsiteY1" fmla="*/ 11641 h 11974"/>
                <a:gd name="connsiteX2" fmla="*/ 9139 w 9141"/>
                <a:gd name="connsiteY2" fmla="*/ 9329 h 11974"/>
                <a:gd name="connsiteX3" fmla="*/ 1663 w 9141"/>
                <a:gd name="connsiteY3" fmla="*/ 258 h 11974"/>
                <a:gd name="connsiteX4" fmla="*/ 28 w 9141"/>
                <a:gd name="connsiteY4" fmla="*/ 3278 h 11974"/>
                <a:gd name="connsiteX0" fmla="*/ 2 w 15555"/>
                <a:gd name="connsiteY0" fmla="*/ 1963 h 10258"/>
                <a:gd name="connsiteX1" fmla="*/ 8175 w 15555"/>
                <a:gd name="connsiteY1" fmla="*/ 9914 h 10258"/>
                <a:gd name="connsiteX2" fmla="*/ 15553 w 15555"/>
                <a:gd name="connsiteY2" fmla="*/ 7983 h 10258"/>
                <a:gd name="connsiteX3" fmla="*/ 7374 w 15555"/>
                <a:gd name="connsiteY3" fmla="*/ 407 h 10258"/>
                <a:gd name="connsiteX4" fmla="*/ 2 w 15555"/>
                <a:gd name="connsiteY4" fmla="*/ 1963 h 10258"/>
                <a:gd name="connsiteX0" fmla="*/ 4 w 14161"/>
                <a:gd name="connsiteY0" fmla="*/ 3163 h 9910"/>
                <a:gd name="connsiteX1" fmla="*/ 6781 w 14161"/>
                <a:gd name="connsiteY1" fmla="*/ 9664 h 9910"/>
                <a:gd name="connsiteX2" fmla="*/ 14159 w 14161"/>
                <a:gd name="connsiteY2" fmla="*/ 7733 h 9910"/>
                <a:gd name="connsiteX3" fmla="*/ 5980 w 14161"/>
                <a:gd name="connsiteY3" fmla="*/ 157 h 9910"/>
                <a:gd name="connsiteX4" fmla="*/ 4 w 14161"/>
                <a:gd name="connsiteY4" fmla="*/ 3163 h 9910"/>
                <a:gd name="connsiteX0" fmla="*/ 3 w 10000"/>
                <a:gd name="connsiteY0" fmla="*/ 3192 h 10000"/>
                <a:gd name="connsiteX1" fmla="*/ 4789 w 10000"/>
                <a:gd name="connsiteY1" fmla="*/ 9752 h 10000"/>
                <a:gd name="connsiteX2" fmla="*/ 9999 w 10000"/>
                <a:gd name="connsiteY2" fmla="*/ 7803 h 10000"/>
                <a:gd name="connsiteX3" fmla="*/ 4223 w 10000"/>
                <a:gd name="connsiteY3" fmla="*/ 158 h 10000"/>
                <a:gd name="connsiteX4" fmla="*/ 3 w 10000"/>
                <a:gd name="connsiteY4" fmla="*/ 3192 h 10000"/>
                <a:gd name="connsiteX0" fmla="*/ 0 w 9997"/>
                <a:gd name="connsiteY0" fmla="*/ 3034 h 9842"/>
                <a:gd name="connsiteX1" fmla="*/ 4786 w 9997"/>
                <a:gd name="connsiteY1" fmla="*/ 9594 h 9842"/>
                <a:gd name="connsiteX2" fmla="*/ 9996 w 9997"/>
                <a:gd name="connsiteY2" fmla="*/ 7645 h 9842"/>
                <a:gd name="connsiteX3" fmla="*/ 4220 w 9997"/>
                <a:gd name="connsiteY3" fmla="*/ 0 h 9842"/>
                <a:gd name="connsiteX4" fmla="*/ 0 w 9997"/>
                <a:gd name="connsiteY4" fmla="*/ 3034 h 9842"/>
                <a:gd name="connsiteX0" fmla="*/ 0 w 10000"/>
                <a:gd name="connsiteY0" fmla="*/ 3083 h 10000"/>
                <a:gd name="connsiteX1" fmla="*/ 4787 w 10000"/>
                <a:gd name="connsiteY1" fmla="*/ 9748 h 10000"/>
                <a:gd name="connsiteX2" fmla="*/ 9999 w 10000"/>
                <a:gd name="connsiteY2" fmla="*/ 7768 h 10000"/>
                <a:gd name="connsiteX3" fmla="*/ 4221 w 10000"/>
                <a:gd name="connsiteY3" fmla="*/ 0 h 10000"/>
                <a:gd name="connsiteX4" fmla="*/ 0 w 10000"/>
                <a:gd name="connsiteY4" fmla="*/ 3083 h 10000"/>
                <a:gd name="connsiteX0" fmla="*/ 0 w 8521"/>
                <a:gd name="connsiteY0" fmla="*/ 1877 h 10381"/>
                <a:gd name="connsiteX1" fmla="*/ 3308 w 8521"/>
                <a:gd name="connsiteY1" fmla="*/ 10028 h 10381"/>
                <a:gd name="connsiteX2" fmla="*/ 8520 w 8521"/>
                <a:gd name="connsiteY2" fmla="*/ 8048 h 10381"/>
                <a:gd name="connsiteX3" fmla="*/ 2742 w 8521"/>
                <a:gd name="connsiteY3" fmla="*/ 280 h 10381"/>
                <a:gd name="connsiteX4" fmla="*/ 0 w 8521"/>
                <a:gd name="connsiteY4" fmla="*/ 1877 h 10381"/>
                <a:gd name="connsiteX0" fmla="*/ 292 w 10308"/>
                <a:gd name="connsiteY0" fmla="*/ 1954 h 10573"/>
                <a:gd name="connsiteX1" fmla="*/ 1281 w 10308"/>
                <a:gd name="connsiteY1" fmla="*/ 10283 h 10573"/>
                <a:gd name="connsiteX2" fmla="*/ 10291 w 10308"/>
                <a:gd name="connsiteY2" fmla="*/ 7899 h 10573"/>
                <a:gd name="connsiteX3" fmla="*/ 3510 w 10308"/>
                <a:gd name="connsiteY3" fmla="*/ 416 h 10573"/>
                <a:gd name="connsiteX4" fmla="*/ 292 w 10308"/>
                <a:gd name="connsiteY4" fmla="*/ 1954 h 10573"/>
                <a:gd name="connsiteX0" fmla="*/ 292 w 10291"/>
                <a:gd name="connsiteY0" fmla="*/ 1954 h 10573"/>
                <a:gd name="connsiteX1" fmla="*/ 1281 w 10291"/>
                <a:gd name="connsiteY1" fmla="*/ 10283 h 10573"/>
                <a:gd name="connsiteX2" fmla="*/ 10291 w 10291"/>
                <a:gd name="connsiteY2" fmla="*/ 7899 h 10573"/>
                <a:gd name="connsiteX3" fmla="*/ 3510 w 10291"/>
                <a:gd name="connsiteY3" fmla="*/ 416 h 10573"/>
                <a:gd name="connsiteX4" fmla="*/ 292 w 10291"/>
                <a:gd name="connsiteY4" fmla="*/ 1954 h 10573"/>
                <a:gd name="connsiteX0" fmla="*/ 292 w 10291"/>
                <a:gd name="connsiteY0" fmla="*/ 1954 h 10283"/>
                <a:gd name="connsiteX1" fmla="*/ 1281 w 10291"/>
                <a:gd name="connsiteY1" fmla="*/ 10283 h 10283"/>
                <a:gd name="connsiteX2" fmla="*/ 10291 w 10291"/>
                <a:gd name="connsiteY2" fmla="*/ 7899 h 10283"/>
                <a:gd name="connsiteX3" fmla="*/ 3510 w 10291"/>
                <a:gd name="connsiteY3" fmla="*/ 416 h 10283"/>
                <a:gd name="connsiteX4" fmla="*/ 292 w 10291"/>
                <a:gd name="connsiteY4" fmla="*/ 1954 h 10283"/>
                <a:gd name="connsiteX0" fmla="*/ 0 w 9999"/>
                <a:gd name="connsiteY0" fmla="*/ 1954 h 10283"/>
                <a:gd name="connsiteX1" fmla="*/ 989 w 9999"/>
                <a:gd name="connsiteY1" fmla="*/ 10283 h 10283"/>
                <a:gd name="connsiteX2" fmla="*/ 9999 w 9999"/>
                <a:gd name="connsiteY2" fmla="*/ 7899 h 10283"/>
                <a:gd name="connsiteX3" fmla="*/ 3218 w 9999"/>
                <a:gd name="connsiteY3" fmla="*/ 416 h 10283"/>
                <a:gd name="connsiteX4" fmla="*/ 0 w 9999"/>
                <a:gd name="connsiteY4" fmla="*/ 1954 h 102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99" h="10283">
                  <a:moveTo>
                    <a:pt x="0" y="1954"/>
                  </a:moveTo>
                  <a:lnTo>
                    <a:pt x="989" y="10283"/>
                  </a:lnTo>
                  <a:lnTo>
                    <a:pt x="9999" y="7899"/>
                  </a:lnTo>
                  <a:lnTo>
                    <a:pt x="3218" y="416"/>
                  </a:lnTo>
                  <a:cubicBezTo>
                    <a:pt x="1551" y="-575"/>
                    <a:pt x="371" y="310"/>
                    <a:pt x="0" y="1954"/>
                  </a:cubicBezTo>
                  <a:close/>
                </a:path>
              </a:pathLst>
            </a:custGeom>
            <a:solidFill>
              <a:srgbClr val="00B9E4"/>
            </a:solidFill>
            <a:ln w="9525">
              <a:solidFill>
                <a:schemeClr val="bg1"/>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286"/>
            </a:p>
          </p:txBody>
        </p:sp>
      </p:grpSp>
      <p:sp>
        <p:nvSpPr>
          <p:cNvPr id="4" name="Text Placeholder 3"/>
          <p:cNvSpPr>
            <a:spLocks noGrp="1"/>
          </p:cNvSpPr>
          <p:nvPr>
            <p:ph type="body" idx="10"/>
          </p:nvPr>
        </p:nvSpPr>
        <p:spPr>
          <a:xfrm>
            <a:off x="5643324" y="6632696"/>
            <a:ext cx="4899286" cy="459414"/>
          </a:xfrm>
        </p:spPr>
        <p:txBody>
          <a:bodyPr/>
          <a:lstStyle/>
          <a:p>
            <a:r>
              <a:rPr lang="en-GB" dirty="0" smtClean="0"/>
              <a:t>Source: Bloomberg New Energy Finance</a:t>
            </a:r>
            <a:endParaRPr lang="en-GB" dirty="0"/>
          </a:p>
        </p:txBody>
      </p:sp>
      <p:grpSp>
        <p:nvGrpSpPr>
          <p:cNvPr id="7" name="Group 6"/>
          <p:cNvGrpSpPr/>
          <p:nvPr/>
        </p:nvGrpSpPr>
        <p:grpSpPr>
          <a:xfrm>
            <a:off x="404423" y="1998348"/>
            <a:ext cx="8526477" cy="3554648"/>
            <a:chOff x="345876" y="1048160"/>
            <a:chExt cx="7292132" cy="3040055"/>
          </a:xfrm>
        </p:grpSpPr>
        <p:grpSp>
          <p:nvGrpSpPr>
            <p:cNvPr id="17" name="Group 16"/>
            <p:cNvGrpSpPr/>
            <p:nvPr/>
          </p:nvGrpSpPr>
          <p:grpSpPr>
            <a:xfrm>
              <a:off x="1477282" y="1899451"/>
              <a:ext cx="6160726" cy="2188764"/>
              <a:chOff x="1477282" y="1899451"/>
              <a:chExt cx="6160726" cy="2188764"/>
            </a:xfrm>
          </p:grpSpPr>
          <p:pic>
            <p:nvPicPr>
              <p:cNvPr id="14" name="Picture 13"/>
              <p:cNvPicPr>
                <a:picLocks noChangeAspect="1"/>
              </p:cNvPicPr>
              <p:nvPr/>
            </p:nvPicPr>
            <p:blipFill>
              <a:blip r:embed="rId3" cstate="print">
                <a:extLst>
                  <a:ext uri="{BEBA8EAE-BF5A-486C-A8C5-ECC9F3942E4B}">
                    <a14:imgProps xmlns:a14="http://schemas.microsoft.com/office/drawing/2010/main">
                      <a14:imgLayer r:embed="rId4">
                        <a14:imgEffect>
                          <a14:backgroundRemoval t="0" b="100000" l="0" r="100000"/>
                        </a14:imgEffect>
                      </a14:imgLayer>
                    </a14:imgProps>
                  </a:ext>
                  <a:ext uri="{28A0092B-C50C-407E-A947-70E740481C1C}">
                    <a14:useLocalDpi xmlns:a14="http://schemas.microsoft.com/office/drawing/2010/main" val="0"/>
                  </a:ext>
                </a:extLst>
              </a:blip>
              <a:stretch>
                <a:fillRect/>
              </a:stretch>
            </p:blipFill>
            <p:spPr>
              <a:xfrm>
                <a:off x="1477282" y="2414979"/>
                <a:ext cx="360000" cy="360000"/>
              </a:xfrm>
              <a:prstGeom prst="rect">
                <a:avLst/>
              </a:prstGeom>
            </p:spPr>
          </p:pic>
          <p:pic>
            <p:nvPicPr>
              <p:cNvPr id="331" name="Picture 330"/>
              <p:cNvPicPr>
                <a:picLocks noChangeAspect="1"/>
              </p:cNvPicPr>
              <p:nvPr/>
            </p:nvPicPr>
            <p:blipFill>
              <a:blip r:embed="rId3" cstate="print">
                <a:extLst>
                  <a:ext uri="{BEBA8EAE-BF5A-486C-A8C5-ECC9F3942E4B}">
                    <a14:imgProps xmlns:a14="http://schemas.microsoft.com/office/drawing/2010/main">
                      <a14:imgLayer r:embed="rId4">
                        <a14:imgEffect>
                          <a14:backgroundRemoval t="0" b="100000" l="0" r="100000"/>
                        </a14:imgEffect>
                      </a14:imgLayer>
                    </a14:imgProps>
                  </a:ext>
                  <a:ext uri="{28A0092B-C50C-407E-A947-70E740481C1C}">
                    <a14:useLocalDpi xmlns:a14="http://schemas.microsoft.com/office/drawing/2010/main" val="0"/>
                  </a:ext>
                </a:extLst>
              </a:blip>
              <a:stretch>
                <a:fillRect/>
              </a:stretch>
            </p:blipFill>
            <p:spPr>
              <a:xfrm>
                <a:off x="2846543" y="3662095"/>
                <a:ext cx="360000" cy="360000"/>
              </a:xfrm>
              <a:prstGeom prst="rect">
                <a:avLst/>
              </a:prstGeom>
            </p:spPr>
          </p:pic>
          <p:pic>
            <p:nvPicPr>
              <p:cNvPr id="332" name="Picture 331"/>
              <p:cNvPicPr>
                <a:picLocks noChangeAspect="1"/>
              </p:cNvPicPr>
              <p:nvPr/>
            </p:nvPicPr>
            <p:blipFill>
              <a:blip r:embed="rId3" cstate="print">
                <a:extLst>
                  <a:ext uri="{BEBA8EAE-BF5A-486C-A8C5-ECC9F3942E4B}">
                    <a14:imgProps xmlns:a14="http://schemas.microsoft.com/office/drawing/2010/main">
                      <a14:imgLayer r:embed="rId4">
                        <a14:imgEffect>
                          <a14:backgroundRemoval t="0" b="100000" l="0" r="100000"/>
                        </a14:imgEffect>
                      </a14:imgLayer>
                    </a14:imgProps>
                  </a:ext>
                  <a:ext uri="{28A0092B-C50C-407E-A947-70E740481C1C}">
                    <a14:useLocalDpi xmlns:a14="http://schemas.microsoft.com/office/drawing/2010/main" val="0"/>
                  </a:ext>
                </a:extLst>
              </a:blip>
              <a:stretch>
                <a:fillRect/>
              </a:stretch>
            </p:blipFill>
            <p:spPr>
              <a:xfrm>
                <a:off x="3730200" y="1899451"/>
                <a:ext cx="360000" cy="360000"/>
              </a:xfrm>
              <a:prstGeom prst="rect">
                <a:avLst/>
              </a:prstGeom>
            </p:spPr>
          </p:pic>
          <p:pic>
            <p:nvPicPr>
              <p:cNvPr id="333" name="Picture 332"/>
              <p:cNvPicPr>
                <a:picLocks noChangeAspect="1"/>
              </p:cNvPicPr>
              <p:nvPr/>
            </p:nvPicPr>
            <p:blipFill>
              <a:blip r:embed="rId3" cstate="print">
                <a:extLst>
                  <a:ext uri="{BEBA8EAE-BF5A-486C-A8C5-ECC9F3942E4B}">
                    <a14:imgProps xmlns:a14="http://schemas.microsoft.com/office/drawing/2010/main">
                      <a14:imgLayer r:embed="rId4">
                        <a14:imgEffect>
                          <a14:backgroundRemoval t="0" b="100000" l="0" r="100000"/>
                        </a14:imgEffect>
                      </a14:imgLayer>
                    </a14:imgProps>
                  </a:ext>
                  <a:ext uri="{28A0092B-C50C-407E-A947-70E740481C1C}">
                    <a14:useLocalDpi xmlns:a14="http://schemas.microsoft.com/office/drawing/2010/main" val="0"/>
                  </a:ext>
                </a:extLst>
              </a:blip>
              <a:stretch>
                <a:fillRect/>
              </a:stretch>
            </p:blipFill>
            <p:spPr>
              <a:xfrm>
                <a:off x="5803032" y="2964819"/>
                <a:ext cx="360000" cy="360000"/>
              </a:xfrm>
              <a:prstGeom prst="rect">
                <a:avLst/>
              </a:prstGeom>
            </p:spPr>
          </p:pic>
          <p:pic>
            <p:nvPicPr>
              <p:cNvPr id="334" name="Picture 333"/>
              <p:cNvPicPr>
                <a:picLocks noChangeAspect="1"/>
              </p:cNvPicPr>
              <p:nvPr/>
            </p:nvPicPr>
            <p:blipFill>
              <a:blip r:embed="rId3" cstate="print">
                <a:extLst>
                  <a:ext uri="{BEBA8EAE-BF5A-486C-A8C5-ECC9F3942E4B}">
                    <a14:imgProps xmlns:a14="http://schemas.microsoft.com/office/drawing/2010/main">
                      <a14:imgLayer r:embed="rId4">
                        <a14:imgEffect>
                          <a14:backgroundRemoval t="0" b="100000" l="0" r="100000"/>
                        </a14:imgEffect>
                      </a14:imgLayer>
                    </a14:imgProps>
                  </a:ext>
                  <a:ext uri="{28A0092B-C50C-407E-A947-70E740481C1C}">
                    <a14:useLocalDpi xmlns:a14="http://schemas.microsoft.com/office/drawing/2010/main" val="0"/>
                  </a:ext>
                </a:extLst>
              </a:blip>
              <a:stretch>
                <a:fillRect/>
              </a:stretch>
            </p:blipFill>
            <p:spPr>
              <a:xfrm>
                <a:off x="6662892" y="2558892"/>
                <a:ext cx="360000" cy="360000"/>
              </a:xfrm>
              <a:prstGeom prst="rect">
                <a:avLst/>
              </a:prstGeom>
            </p:spPr>
          </p:pic>
          <p:pic>
            <p:nvPicPr>
              <p:cNvPr id="335" name="Picture 334"/>
              <p:cNvPicPr>
                <a:picLocks noChangeAspect="1"/>
              </p:cNvPicPr>
              <p:nvPr/>
            </p:nvPicPr>
            <p:blipFill>
              <a:blip r:embed="rId3" cstate="print">
                <a:extLst>
                  <a:ext uri="{BEBA8EAE-BF5A-486C-A8C5-ECC9F3942E4B}">
                    <a14:imgProps xmlns:a14="http://schemas.microsoft.com/office/drawing/2010/main">
                      <a14:imgLayer r:embed="rId4">
                        <a14:imgEffect>
                          <a14:backgroundRemoval t="0" b="100000" l="0" r="100000"/>
                        </a14:imgEffect>
                      </a14:imgLayer>
                    </a14:imgProps>
                  </a:ext>
                  <a:ext uri="{28A0092B-C50C-407E-A947-70E740481C1C}">
                    <a14:useLocalDpi xmlns:a14="http://schemas.microsoft.com/office/drawing/2010/main" val="0"/>
                  </a:ext>
                </a:extLst>
              </a:blip>
              <a:stretch>
                <a:fillRect/>
              </a:stretch>
            </p:blipFill>
            <p:spPr>
              <a:xfrm>
                <a:off x="7278008" y="3728215"/>
                <a:ext cx="360000" cy="360000"/>
              </a:xfrm>
              <a:prstGeom prst="rect">
                <a:avLst/>
              </a:prstGeom>
            </p:spPr>
          </p:pic>
        </p:grpSp>
        <p:sp>
          <p:nvSpPr>
            <p:cNvPr id="5" name="Oval 4"/>
            <p:cNvSpPr/>
            <p:nvPr/>
          </p:nvSpPr>
          <p:spPr>
            <a:xfrm>
              <a:off x="345876" y="1048160"/>
              <a:ext cx="2340000" cy="936000"/>
            </a:xfrm>
            <a:prstGeom prst="ellipse">
              <a:avLst/>
            </a:prstGeom>
            <a:solidFill>
              <a:srgbClr val="0018A8"/>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buNone/>
              </a:pPr>
              <a:r>
                <a:rPr lang="en-GB" sz="1637" dirty="0" smtClean="0"/>
                <a:t>$37/</a:t>
              </a:r>
              <a:r>
                <a:rPr lang="en-GB" sz="1637" dirty="0" err="1" smtClean="0"/>
                <a:t>MWh</a:t>
              </a:r>
              <a:r>
                <a:rPr lang="en-GB" sz="1637" dirty="0" smtClean="0"/>
                <a:t> </a:t>
              </a:r>
              <a:r>
                <a:rPr lang="en-GB" sz="1637" dirty="0"/>
                <a:t>onshore wind</a:t>
              </a:r>
              <a:endParaRPr lang="en-US" sz="1637" dirty="0"/>
            </a:p>
          </p:txBody>
        </p:sp>
      </p:grpSp>
      <p:grpSp>
        <p:nvGrpSpPr>
          <p:cNvPr id="8" name="Group 7"/>
          <p:cNvGrpSpPr/>
          <p:nvPr/>
        </p:nvGrpSpPr>
        <p:grpSpPr>
          <a:xfrm>
            <a:off x="317436" y="3287745"/>
            <a:ext cx="5566330" cy="2630104"/>
            <a:chOff x="271482" y="2150896"/>
            <a:chExt cx="4760514" cy="2249354"/>
          </a:xfrm>
        </p:grpSpPr>
        <p:grpSp>
          <p:nvGrpSpPr>
            <p:cNvPr id="11" name="Group 10"/>
            <p:cNvGrpSpPr/>
            <p:nvPr/>
          </p:nvGrpSpPr>
          <p:grpSpPr>
            <a:xfrm>
              <a:off x="1895583" y="2150896"/>
              <a:ext cx="3136413" cy="2249354"/>
              <a:chOff x="1895583" y="2150896"/>
              <a:chExt cx="3136413" cy="2249354"/>
            </a:xfrm>
          </p:grpSpPr>
          <p:pic>
            <p:nvPicPr>
              <p:cNvPr id="3" name="Picture 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430788" y="3620406"/>
                <a:ext cx="360000" cy="360000"/>
              </a:xfrm>
              <a:prstGeom prst="rect">
                <a:avLst/>
              </a:prstGeom>
            </p:spPr>
          </p:pic>
          <p:pic>
            <p:nvPicPr>
              <p:cNvPr id="338" name="Picture 33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895583" y="2488997"/>
                <a:ext cx="360000" cy="360000"/>
              </a:xfrm>
              <a:prstGeom prst="rect">
                <a:avLst/>
              </a:prstGeom>
            </p:spPr>
          </p:pic>
          <p:pic>
            <p:nvPicPr>
              <p:cNvPr id="339" name="Picture 33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023281" y="2150896"/>
                <a:ext cx="360000" cy="360000"/>
              </a:xfrm>
              <a:prstGeom prst="rect">
                <a:avLst/>
              </a:prstGeom>
            </p:spPr>
          </p:pic>
          <p:pic>
            <p:nvPicPr>
              <p:cNvPr id="340" name="Picture 33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567174" y="4040250"/>
                <a:ext cx="360000" cy="360000"/>
              </a:xfrm>
              <a:prstGeom prst="rect">
                <a:avLst/>
              </a:prstGeom>
            </p:spPr>
          </p:pic>
          <p:pic>
            <p:nvPicPr>
              <p:cNvPr id="341" name="Picture 34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671996" y="2470675"/>
                <a:ext cx="360000" cy="360000"/>
              </a:xfrm>
              <a:prstGeom prst="rect">
                <a:avLst/>
              </a:prstGeom>
            </p:spPr>
          </p:pic>
        </p:grpSp>
        <p:sp>
          <p:nvSpPr>
            <p:cNvPr id="330" name="Oval 329"/>
            <p:cNvSpPr/>
            <p:nvPr/>
          </p:nvSpPr>
          <p:spPr>
            <a:xfrm>
              <a:off x="271482" y="3291557"/>
              <a:ext cx="2340000" cy="936000"/>
            </a:xfrm>
            <a:prstGeom prst="ellipse">
              <a:avLst/>
            </a:prstGeom>
            <a:solidFill>
              <a:srgbClr val="FFDF1A"/>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buNone/>
              </a:pPr>
              <a:r>
                <a:rPr lang="en-GB" sz="1637" dirty="0" smtClean="0">
                  <a:solidFill>
                    <a:schemeClr val="tx1"/>
                  </a:solidFill>
                </a:rPr>
                <a:t>$80/</a:t>
              </a:r>
              <a:r>
                <a:rPr lang="en-GB" sz="1637" dirty="0" err="1" smtClean="0">
                  <a:solidFill>
                    <a:schemeClr val="tx1"/>
                  </a:solidFill>
                </a:rPr>
                <a:t>MWh</a:t>
              </a:r>
              <a:r>
                <a:rPr lang="en-GB" sz="1637" dirty="0" smtClean="0">
                  <a:solidFill>
                    <a:schemeClr val="tx1"/>
                  </a:solidFill>
                </a:rPr>
                <a:t> </a:t>
              </a:r>
              <a:r>
                <a:rPr lang="en-GB" sz="1637" dirty="0">
                  <a:solidFill>
                    <a:schemeClr val="tx1"/>
                  </a:solidFill>
                </a:rPr>
                <a:t>solar</a:t>
              </a:r>
              <a:endParaRPr lang="en-US" sz="1637" dirty="0">
                <a:solidFill>
                  <a:schemeClr val="tx1"/>
                </a:solidFill>
              </a:endParaRPr>
            </a:p>
          </p:txBody>
        </p:sp>
      </p:grpSp>
      <p:grpSp>
        <p:nvGrpSpPr>
          <p:cNvPr id="10" name="Group 9"/>
          <p:cNvGrpSpPr/>
          <p:nvPr/>
        </p:nvGrpSpPr>
        <p:grpSpPr>
          <a:xfrm>
            <a:off x="4423243" y="1888530"/>
            <a:ext cx="6008836" cy="2928429"/>
            <a:chOff x="3782907" y="954240"/>
            <a:chExt cx="5138960" cy="2504492"/>
          </a:xfrm>
        </p:grpSpPr>
        <p:sp>
          <p:nvSpPr>
            <p:cNvPr id="342" name="Oval 341"/>
            <p:cNvSpPr/>
            <p:nvPr/>
          </p:nvSpPr>
          <p:spPr>
            <a:xfrm>
              <a:off x="6581867" y="954240"/>
              <a:ext cx="2340000" cy="936000"/>
            </a:xfrm>
            <a:prstGeom prst="ellipse">
              <a:avLst/>
            </a:prstGeom>
            <a:solidFill>
              <a:schemeClr val="accent3"/>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buNone/>
              </a:pPr>
              <a:r>
                <a:rPr lang="en-GB" sz="1637" dirty="0" smtClean="0"/>
                <a:t>$37/</a:t>
              </a:r>
              <a:r>
                <a:rPr lang="en-GB" sz="1637" dirty="0" err="1" smtClean="0"/>
                <a:t>MWh</a:t>
              </a:r>
              <a:r>
                <a:rPr lang="en-GB" sz="1637" dirty="0" smtClean="0"/>
                <a:t> </a:t>
              </a:r>
              <a:r>
                <a:rPr lang="en-GB" sz="1637" dirty="0"/>
                <a:t>geothermal</a:t>
              </a:r>
            </a:p>
          </p:txBody>
        </p:sp>
        <p:pic>
          <p:nvPicPr>
            <p:cNvPr id="6" name="Picture 5"/>
            <p:cNvPicPr>
              <a:picLocks noChangeAspect="1"/>
            </p:cNvPicPr>
            <p:nvPr/>
          </p:nvPicPr>
          <p:blipFill>
            <a:blip r:embed="rId6" cstate="print">
              <a:extLst>
                <a:ext uri="{BEBA8EAE-BF5A-486C-A8C5-ECC9F3942E4B}">
                  <a14:imgProps xmlns:a14="http://schemas.microsoft.com/office/drawing/2010/main">
                    <a14:imgLayer r:embed="rId7">
                      <a14:imgEffect>
                        <a14:backgroundRemoval t="0" b="100000" l="0" r="100000"/>
                      </a14:imgEffect>
                    </a14:imgLayer>
                  </a14:imgProps>
                </a:ext>
                <a:ext uri="{28A0092B-C50C-407E-A947-70E740481C1C}">
                  <a14:useLocalDpi xmlns:a14="http://schemas.microsoft.com/office/drawing/2010/main" val="0"/>
                </a:ext>
              </a:extLst>
            </a:blip>
            <a:stretch>
              <a:fillRect/>
            </a:stretch>
          </p:blipFill>
          <p:spPr>
            <a:xfrm>
              <a:off x="3782907" y="1204845"/>
              <a:ext cx="360000" cy="360000"/>
            </a:xfrm>
            <a:prstGeom prst="rect">
              <a:avLst/>
            </a:prstGeom>
          </p:spPr>
        </p:pic>
        <p:pic>
          <p:nvPicPr>
            <p:cNvPr id="343" name="Picture 342"/>
            <p:cNvPicPr>
              <a:picLocks noChangeAspect="1"/>
            </p:cNvPicPr>
            <p:nvPr/>
          </p:nvPicPr>
          <p:blipFill>
            <a:blip r:embed="rId6" cstate="print">
              <a:extLst>
                <a:ext uri="{BEBA8EAE-BF5A-486C-A8C5-ECC9F3942E4B}">
                  <a14:imgProps xmlns:a14="http://schemas.microsoft.com/office/drawing/2010/main">
                    <a14:imgLayer r:embed="rId7">
                      <a14:imgEffect>
                        <a14:backgroundRemoval t="0" b="100000" l="0" r="100000"/>
                      </a14:imgEffect>
                    </a14:imgLayer>
                  </a14:imgProps>
                </a:ext>
                <a:ext uri="{28A0092B-C50C-407E-A947-70E740481C1C}">
                  <a14:useLocalDpi xmlns:a14="http://schemas.microsoft.com/office/drawing/2010/main" val="0"/>
                </a:ext>
              </a:extLst>
            </a:blip>
            <a:stretch>
              <a:fillRect/>
            </a:stretch>
          </p:blipFill>
          <p:spPr>
            <a:xfrm>
              <a:off x="7183025" y="3065976"/>
              <a:ext cx="360000" cy="360000"/>
            </a:xfrm>
            <a:prstGeom prst="rect">
              <a:avLst/>
            </a:prstGeom>
          </p:spPr>
        </p:pic>
        <p:pic>
          <p:nvPicPr>
            <p:cNvPr id="344" name="Picture 343"/>
            <p:cNvPicPr>
              <a:picLocks noChangeAspect="1"/>
            </p:cNvPicPr>
            <p:nvPr/>
          </p:nvPicPr>
          <p:blipFill>
            <a:blip r:embed="rId6" cstate="print">
              <a:extLst>
                <a:ext uri="{BEBA8EAE-BF5A-486C-A8C5-ECC9F3942E4B}">
                  <a14:imgProps xmlns:a14="http://schemas.microsoft.com/office/drawing/2010/main">
                    <a14:imgLayer r:embed="rId7">
                      <a14:imgEffect>
                        <a14:backgroundRemoval t="0" b="100000" l="0" r="100000"/>
                      </a14:imgEffect>
                    </a14:imgLayer>
                  </a14:imgProps>
                </a:ext>
                <a:ext uri="{28A0092B-C50C-407E-A947-70E740481C1C}">
                  <a14:useLocalDpi xmlns:a14="http://schemas.microsoft.com/office/drawing/2010/main" val="0"/>
                </a:ext>
              </a:extLst>
            </a:blip>
            <a:stretch>
              <a:fillRect/>
            </a:stretch>
          </p:blipFill>
          <p:spPr>
            <a:xfrm>
              <a:off x="5168613" y="3098732"/>
              <a:ext cx="360000" cy="360000"/>
            </a:xfrm>
            <a:prstGeom prst="rect">
              <a:avLst/>
            </a:prstGeom>
          </p:spPr>
        </p:pic>
      </p:grpSp>
      <p:sp>
        <p:nvSpPr>
          <p:cNvPr id="336" name="Text Placeholder 3"/>
          <p:cNvSpPr>
            <a:spLocks noGrp="1"/>
          </p:cNvSpPr>
          <p:nvPr>
            <p:ph type="body" idx="10"/>
          </p:nvPr>
        </p:nvSpPr>
        <p:spPr>
          <a:xfrm>
            <a:off x="147804" y="6651633"/>
            <a:ext cx="4899286" cy="459414"/>
          </a:xfrm>
        </p:spPr>
        <p:txBody>
          <a:bodyPr/>
          <a:lstStyle/>
          <a:p>
            <a:pPr algn="l"/>
            <a:r>
              <a:rPr lang="en-GB" dirty="0" smtClean="0"/>
              <a:t>Note: </a:t>
            </a:r>
            <a:r>
              <a:rPr lang="en-GB" dirty="0" err="1" smtClean="0"/>
              <a:t>Levelised</a:t>
            </a:r>
            <a:r>
              <a:rPr lang="en-GB" dirty="0" smtClean="0"/>
              <a:t> cost of electricity excludes impact of subsidies. </a:t>
            </a:r>
            <a:endParaRPr lang="en-GB" dirty="0"/>
          </a:p>
        </p:txBody>
      </p:sp>
    </p:spTree>
    <p:extLst>
      <p:ext uri="{BB962C8B-B14F-4D97-AF65-F5344CB8AC3E}">
        <p14:creationId xmlns:p14="http://schemas.microsoft.com/office/powerpoint/2010/main" val="226659085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quarter" idx="18"/>
          </p:nvPr>
        </p:nvSpPr>
        <p:spPr/>
        <p:txBody>
          <a:bodyPr/>
          <a:lstStyle/>
          <a:p>
            <a:r>
              <a:rPr lang="en-GB" dirty="0" smtClean="0"/>
              <a:t>Source: Bloomberg New Energy Finance</a:t>
            </a:r>
            <a:endParaRPr lang="en-GB" dirty="0"/>
          </a:p>
        </p:txBody>
      </p:sp>
      <p:sp>
        <p:nvSpPr>
          <p:cNvPr id="5" name="Date Placeholder 4"/>
          <p:cNvSpPr>
            <a:spLocks noGrp="1"/>
          </p:cNvSpPr>
          <p:nvPr>
            <p:ph type="dt" sz="half" idx="19"/>
          </p:nvPr>
        </p:nvSpPr>
        <p:spPr/>
        <p:txBody>
          <a:bodyPr/>
          <a:lstStyle/>
          <a:p>
            <a:r>
              <a:rPr lang="en-US" smtClean="0"/>
              <a:t>20 June 2014</a:t>
            </a:r>
            <a:endParaRPr lang="en-GB" dirty="0"/>
          </a:p>
        </p:txBody>
      </p:sp>
      <p:sp>
        <p:nvSpPr>
          <p:cNvPr id="6" name="Title 5"/>
          <p:cNvSpPr>
            <a:spLocks noGrp="1"/>
          </p:cNvSpPr>
          <p:nvPr>
            <p:ph type="title"/>
          </p:nvPr>
        </p:nvSpPr>
        <p:spPr>
          <a:xfrm>
            <a:off x="523869" y="107950"/>
            <a:ext cx="7918456" cy="828050"/>
          </a:xfrm>
        </p:spPr>
        <p:txBody>
          <a:bodyPr/>
          <a:lstStyle/>
          <a:p>
            <a:r>
              <a:rPr lang="en-GB" dirty="0" smtClean="0"/>
              <a:t>Even solar does not always need subsidies</a:t>
            </a:r>
            <a:endParaRPr lang="en-GB" dirty="0"/>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228314" y="1650645"/>
            <a:ext cx="8000746" cy="5217324"/>
          </a:xfrm>
          <a:prstGeom prst="rect">
            <a:avLst/>
          </a:prstGeom>
          <a:noFill/>
          <a:ln>
            <a:noFill/>
          </a:ln>
        </p:spPr>
      </p:pic>
      <p:cxnSp>
        <p:nvCxnSpPr>
          <p:cNvPr id="8" name="Straight Arrow Connector 7"/>
          <p:cNvCxnSpPr/>
          <p:nvPr/>
        </p:nvCxnSpPr>
        <p:spPr>
          <a:xfrm flipH="1">
            <a:off x="6911164" y="3296093"/>
            <a:ext cx="594982" cy="701749"/>
          </a:xfrm>
          <a:prstGeom prst="straightConnector1">
            <a:avLst/>
          </a:prstGeom>
          <a:ln w="50800">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8"/>
          <p:cNvCxnSpPr/>
          <p:nvPr/>
        </p:nvCxnSpPr>
        <p:spPr>
          <a:xfrm flipH="1">
            <a:off x="7772621" y="3997842"/>
            <a:ext cx="424316" cy="505046"/>
          </a:xfrm>
          <a:prstGeom prst="straightConnector1">
            <a:avLst/>
          </a:prstGeom>
          <a:ln w="50800">
            <a:tailEnd type="triangle"/>
          </a:ln>
        </p:spPr>
        <p:style>
          <a:lnRef idx="1">
            <a:schemeClr val="accent1"/>
          </a:lnRef>
          <a:fillRef idx="0">
            <a:schemeClr val="accent1"/>
          </a:fillRef>
          <a:effectRef idx="0">
            <a:schemeClr val="accent1"/>
          </a:effectRef>
          <a:fontRef idx="minor">
            <a:schemeClr val="tx1"/>
          </a:fontRef>
        </p:style>
      </p:cxnSp>
      <p:sp>
        <p:nvSpPr>
          <p:cNvPr id="2" name="Up-Down Arrow 1"/>
          <p:cNvSpPr/>
          <p:nvPr/>
        </p:nvSpPr>
        <p:spPr>
          <a:xfrm>
            <a:off x="2768958" y="2794503"/>
            <a:ext cx="360608" cy="1532586"/>
          </a:xfrm>
          <a:prstGeom prst="up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marL="0" indent="0" algn="ctr">
              <a:buNone/>
            </a:pPr>
            <a:endParaRPr lang="en-US" dirty="0" err="1" smtClean="0"/>
          </a:p>
        </p:txBody>
      </p:sp>
      <p:sp>
        <p:nvSpPr>
          <p:cNvPr id="10" name="Title 5"/>
          <p:cNvSpPr txBox="1">
            <a:spLocks/>
          </p:cNvSpPr>
          <p:nvPr/>
        </p:nvSpPr>
        <p:spPr>
          <a:xfrm>
            <a:off x="883319" y="1193378"/>
            <a:ext cx="8750696" cy="414025"/>
          </a:xfrm>
          <a:prstGeom prst="rect">
            <a:avLst/>
          </a:prstGeom>
          <a:solidFill>
            <a:schemeClr val="accent1"/>
          </a:solidFill>
          <a:ln>
            <a:solidFill>
              <a:schemeClr val="accent1"/>
            </a:solidFill>
          </a:ln>
        </p:spPr>
        <p:txBody>
          <a:bodyPr wrap="square" rtlCol="0">
            <a:spAutoFit/>
          </a:bodyPr>
          <a:lstStyle>
            <a:defPPr>
              <a:defRPr lang="en-GB"/>
            </a:defPPr>
            <a:lvl1pPr marL="0" indent="0" algn="ctr">
              <a:buNone/>
              <a:defRPr sz="2000" b="1">
                <a:solidFill>
                  <a:schemeClr val="bg1"/>
                </a:solidFill>
              </a:defRPr>
            </a:lvl1pPr>
          </a:lstStyle>
          <a:p>
            <a:r>
              <a:rPr lang="en-GB" dirty="0" smtClean="0"/>
              <a:t>Germany: PV subsidies versus electricity prices</a:t>
            </a:r>
            <a:endParaRPr lang="en-GB" dirty="0"/>
          </a:p>
        </p:txBody>
      </p:sp>
    </p:spTree>
    <p:extLst>
      <p:ext uri="{BB962C8B-B14F-4D97-AF65-F5344CB8AC3E}">
        <p14:creationId xmlns:p14="http://schemas.microsoft.com/office/powerpoint/2010/main" val="30395990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GB" dirty="0"/>
              <a:t>Global residential-scale PV system </a:t>
            </a:r>
            <a:r>
              <a:rPr lang="en-GB" dirty="0" smtClean="0"/>
              <a:t>economics: now and in a decade</a:t>
            </a:r>
            <a:endParaRPr lang="en-GB" dirty="0"/>
          </a:p>
        </p:txBody>
      </p:sp>
      <p:sp>
        <p:nvSpPr>
          <p:cNvPr id="9" name="Content Placeholder 8"/>
          <p:cNvSpPr>
            <a:spLocks noGrp="1"/>
          </p:cNvSpPr>
          <p:nvPr>
            <p:ph sz="quarter" idx="15"/>
          </p:nvPr>
        </p:nvSpPr>
        <p:spPr/>
        <p:txBody>
          <a:bodyPr/>
          <a:lstStyle/>
          <a:p>
            <a:r>
              <a:rPr lang="en-GB" dirty="0" smtClean="0"/>
              <a:t>Note: </a:t>
            </a:r>
            <a:r>
              <a:rPr lang="en-GB" dirty="0"/>
              <a:t>NJ, New Jersey; CA, California</a:t>
            </a:r>
            <a:r>
              <a:rPr lang="en-GB" dirty="0" smtClean="0"/>
              <a:t>. Source: Bloomberg New Energy Finance</a:t>
            </a:r>
            <a:endParaRPr lang="en-GB" dirty="0"/>
          </a:p>
        </p:txBody>
      </p:sp>
      <p:sp>
        <p:nvSpPr>
          <p:cNvPr id="10" name="Content Placeholder 9"/>
          <p:cNvSpPr>
            <a:spLocks noGrp="1"/>
          </p:cNvSpPr>
          <p:nvPr>
            <p:ph sz="quarter" idx="18"/>
          </p:nvPr>
        </p:nvSpPr>
        <p:spPr/>
        <p:txBody>
          <a:bodyPr/>
          <a:lstStyle/>
          <a:p>
            <a:r>
              <a:rPr lang="en-GB" dirty="0"/>
              <a:t>Note: NJ, New Jersey; CA, California. Source: Bloomberg New Energy </a:t>
            </a:r>
            <a:r>
              <a:rPr lang="en-GB" dirty="0" smtClean="0"/>
              <a:t>Finance</a:t>
            </a:r>
            <a:endParaRPr lang="en-GB" dirty="0"/>
          </a:p>
        </p:txBody>
      </p:sp>
      <p:sp>
        <p:nvSpPr>
          <p:cNvPr id="5" name="Date Placeholder 4"/>
          <p:cNvSpPr>
            <a:spLocks noGrp="1"/>
          </p:cNvSpPr>
          <p:nvPr>
            <p:ph type="dt" sz="half" idx="19"/>
          </p:nvPr>
        </p:nvSpPr>
        <p:spPr/>
        <p:txBody>
          <a:bodyPr/>
          <a:lstStyle/>
          <a:p>
            <a:fld id="{0E5B9C7B-785D-42D6-AAD8-A1944145DFD7}" type="datetime1">
              <a:rPr lang="en-US" smtClean="0"/>
              <a:t>8/6/2014</a:t>
            </a:fld>
            <a:endParaRPr lang="en-GB" dirty="0"/>
          </a:p>
        </p:txBody>
      </p:sp>
      <p:pic>
        <p:nvPicPr>
          <p:cNvPr id="11" name="Content Placeholder 10"/>
          <p:cNvPicPr>
            <a:picLocks noGrp="1" noChangeAspect="1"/>
          </p:cNvPicPr>
          <p:nvPr>
            <p:ph idx="1"/>
          </p:nvPr>
        </p:nvPicPr>
        <p:blipFill>
          <a:blip r:embed="rId3"/>
          <a:stretch>
            <a:fillRect/>
          </a:stretch>
        </p:blipFill>
        <p:spPr>
          <a:xfrm>
            <a:off x="264852" y="1651111"/>
            <a:ext cx="4865030" cy="4865030"/>
          </a:xfrm>
          <a:prstGeom prst="rect">
            <a:avLst/>
          </a:prstGeom>
        </p:spPr>
      </p:pic>
      <p:pic>
        <p:nvPicPr>
          <p:cNvPr id="12" name="Picture 11"/>
          <p:cNvPicPr>
            <a:picLocks noChangeAspect="1"/>
          </p:cNvPicPr>
          <p:nvPr/>
        </p:nvPicPr>
        <p:blipFill>
          <a:blip r:embed="rId4"/>
          <a:stretch>
            <a:fillRect/>
          </a:stretch>
        </p:blipFill>
        <p:spPr>
          <a:xfrm>
            <a:off x="5744480" y="1651111"/>
            <a:ext cx="4947333" cy="4865030"/>
          </a:xfrm>
          <a:prstGeom prst="rect">
            <a:avLst/>
          </a:prstGeom>
        </p:spPr>
      </p:pic>
      <p:sp>
        <p:nvSpPr>
          <p:cNvPr id="13" name="TextBox 12"/>
          <p:cNvSpPr txBox="1"/>
          <p:nvPr/>
        </p:nvSpPr>
        <p:spPr>
          <a:xfrm>
            <a:off x="2178977" y="1368601"/>
            <a:ext cx="1368152" cy="282510"/>
          </a:xfrm>
          <a:prstGeom prst="rect">
            <a:avLst/>
          </a:prstGeom>
          <a:noFill/>
        </p:spPr>
        <p:txBody>
          <a:bodyPr wrap="square" lIns="0" tIns="0" rIns="0" bIns="0" rtlCol="0">
            <a:noAutofit/>
          </a:bodyPr>
          <a:lstStyle/>
          <a:p>
            <a:pPr marL="0" indent="0" algn="ctr">
              <a:buNone/>
            </a:pPr>
            <a:r>
              <a:rPr lang="en-GB" sz="1800" b="1" dirty="0" smtClean="0"/>
              <a:t>2014</a:t>
            </a:r>
          </a:p>
        </p:txBody>
      </p:sp>
      <p:sp>
        <p:nvSpPr>
          <p:cNvPr id="14" name="TextBox 13"/>
          <p:cNvSpPr txBox="1"/>
          <p:nvPr/>
        </p:nvSpPr>
        <p:spPr>
          <a:xfrm>
            <a:off x="7758248" y="1368601"/>
            <a:ext cx="1368152" cy="282510"/>
          </a:xfrm>
          <a:prstGeom prst="rect">
            <a:avLst/>
          </a:prstGeom>
          <a:noFill/>
        </p:spPr>
        <p:txBody>
          <a:bodyPr wrap="square" lIns="0" tIns="0" rIns="0" bIns="0" rtlCol="0">
            <a:noAutofit/>
          </a:bodyPr>
          <a:lstStyle/>
          <a:p>
            <a:pPr marL="0" indent="0" algn="ctr">
              <a:buNone/>
            </a:pPr>
            <a:r>
              <a:rPr lang="en-GB" sz="1800" b="1" dirty="0" smtClean="0"/>
              <a:t>2025</a:t>
            </a:r>
          </a:p>
        </p:txBody>
      </p:sp>
    </p:spTree>
    <p:extLst>
      <p:ext uri="{BB962C8B-B14F-4D97-AF65-F5344CB8AC3E}">
        <p14:creationId xmlns:p14="http://schemas.microsoft.com/office/powerpoint/2010/main" val="17473119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6518" y="107950"/>
            <a:ext cx="7965806" cy="828050"/>
          </a:xfrm>
        </p:spPr>
        <p:txBody>
          <a:bodyPr/>
          <a:lstStyle/>
          <a:p>
            <a:r>
              <a:rPr lang="en-GB" dirty="0" smtClean="0"/>
              <a:t>In </a:t>
            </a:r>
            <a:r>
              <a:rPr lang="en-GB" dirty="0" err="1" smtClean="0"/>
              <a:t>brunei</a:t>
            </a:r>
            <a:r>
              <a:rPr lang="en-GB" dirty="0" smtClean="0"/>
              <a:t> renewables are still relatively more expensive than other sources</a:t>
            </a:r>
            <a:endParaRPr lang="en-GB" dirty="0"/>
          </a:p>
        </p:txBody>
      </p:sp>
      <p:sp>
        <p:nvSpPr>
          <p:cNvPr id="4" name="Text Placeholder 3"/>
          <p:cNvSpPr>
            <a:spLocks noGrp="1"/>
          </p:cNvSpPr>
          <p:nvPr>
            <p:ph type="body" idx="10"/>
          </p:nvPr>
        </p:nvSpPr>
        <p:spPr>
          <a:xfrm>
            <a:off x="6614577" y="6588258"/>
            <a:ext cx="3917888" cy="577475"/>
          </a:xfrm>
        </p:spPr>
        <p:txBody>
          <a:bodyPr/>
          <a:lstStyle/>
          <a:p>
            <a:r>
              <a:rPr lang="en-GB" dirty="0" smtClean="0"/>
              <a:t>Source: Bloomberg New Energy Finance.</a:t>
            </a:r>
            <a:endParaRPr lang="en-GB" dirty="0"/>
          </a:p>
        </p:txBody>
      </p:sp>
      <p:graphicFrame>
        <p:nvGraphicFramePr>
          <p:cNvPr id="9" name="Chart 8"/>
          <p:cNvGraphicFramePr>
            <a:graphicFrameLocks noGrp="1"/>
          </p:cNvGraphicFramePr>
          <p:nvPr>
            <p:extLst>
              <p:ext uri="{D42A27DB-BD31-4B8C-83A1-F6EECF244321}">
                <p14:modId xmlns:p14="http://schemas.microsoft.com/office/powerpoint/2010/main" val="1947979980"/>
              </p:ext>
            </p:extLst>
          </p:nvPr>
        </p:nvGraphicFramePr>
        <p:xfrm>
          <a:off x="883319" y="1607403"/>
          <a:ext cx="8340190" cy="5276591"/>
        </p:xfrm>
        <a:graphic>
          <a:graphicData uri="http://schemas.openxmlformats.org/drawingml/2006/chart">
            <c:chart xmlns:c="http://schemas.openxmlformats.org/drawingml/2006/chart" xmlns:r="http://schemas.openxmlformats.org/officeDocument/2006/relationships" r:id="rId3"/>
          </a:graphicData>
        </a:graphic>
      </p:graphicFrame>
      <p:sp>
        <p:nvSpPr>
          <p:cNvPr id="5" name="Rectangle 4"/>
          <p:cNvSpPr/>
          <p:nvPr/>
        </p:nvSpPr>
        <p:spPr>
          <a:xfrm>
            <a:off x="8289561" y="4991720"/>
            <a:ext cx="569626" cy="254833"/>
          </a:xfrm>
          <a:prstGeom prst="rect">
            <a:avLst/>
          </a:prstGeom>
          <a:solidFill>
            <a:srgbClr val="BCA6D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marL="0" indent="0" algn="ctr">
              <a:buNone/>
            </a:pPr>
            <a:endParaRPr lang="en-US" dirty="0" err="1" smtClean="0"/>
          </a:p>
        </p:txBody>
      </p:sp>
      <p:sp>
        <p:nvSpPr>
          <p:cNvPr id="6" name="TextBox 5"/>
          <p:cNvSpPr txBox="1"/>
          <p:nvPr/>
        </p:nvSpPr>
        <p:spPr>
          <a:xfrm>
            <a:off x="8159715" y="6001224"/>
            <a:ext cx="872098" cy="592470"/>
          </a:xfrm>
          <a:prstGeom prst="rect">
            <a:avLst/>
          </a:prstGeom>
          <a:noFill/>
        </p:spPr>
        <p:txBody>
          <a:bodyPr wrap="none" lIns="0" tIns="0" rIns="0" bIns="0" rtlCol="0">
            <a:spAutoFit/>
          </a:bodyPr>
          <a:lstStyle/>
          <a:p>
            <a:pPr marL="0" indent="0">
              <a:buNone/>
            </a:pPr>
            <a:r>
              <a:rPr lang="en-US" sz="1800" dirty="0" smtClean="0"/>
              <a:t>SE Asia </a:t>
            </a:r>
          </a:p>
          <a:p>
            <a:pPr marL="0" indent="0">
              <a:buNone/>
            </a:pPr>
            <a:r>
              <a:rPr lang="en-US" sz="1800" dirty="0" smtClean="0"/>
              <a:t>gas/coal</a:t>
            </a:r>
            <a:endParaRPr lang="en-US" sz="1800" dirty="0" smtClean="0"/>
          </a:p>
        </p:txBody>
      </p:sp>
      <p:sp>
        <p:nvSpPr>
          <p:cNvPr id="7" name="Isosceles Triangle 6"/>
          <p:cNvSpPr/>
          <p:nvPr/>
        </p:nvSpPr>
        <p:spPr>
          <a:xfrm>
            <a:off x="8454453" y="4976730"/>
            <a:ext cx="239842" cy="247336"/>
          </a:xfrm>
          <a:prstGeom prst="triangle">
            <a:avLst/>
          </a:prstGeom>
          <a:solidFill>
            <a:srgbClr val="72549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marL="0" indent="0" algn="ctr">
              <a:buNone/>
            </a:pPr>
            <a:endParaRPr lang="en-US" dirty="0" err="1" smtClean="0"/>
          </a:p>
        </p:txBody>
      </p:sp>
      <p:sp>
        <p:nvSpPr>
          <p:cNvPr id="10" name="Title 5"/>
          <p:cNvSpPr txBox="1">
            <a:spLocks/>
          </p:cNvSpPr>
          <p:nvPr/>
        </p:nvSpPr>
        <p:spPr>
          <a:xfrm>
            <a:off x="883319" y="1193378"/>
            <a:ext cx="8750696" cy="414025"/>
          </a:xfrm>
          <a:prstGeom prst="rect">
            <a:avLst/>
          </a:prstGeom>
          <a:solidFill>
            <a:schemeClr val="accent1"/>
          </a:solidFill>
          <a:ln>
            <a:solidFill>
              <a:schemeClr val="accent1"/>
            </a:solidFill>
          </a:ln>
        </p:spPr>
        <p:txBody>
          <a:bodyPr wrap="square" rtlCol="0">
            <a:spAutoFit/>
          </a:bodyPr>
          <a:lstStyle>
            <a:defPPr>
              <a:defRPr lang="en-GB"/>
            </a:defPPr>
            <a:lvl1pPr marL="0" indent="0" algn="ctr">
              <a:buNone/>
              <a:defRPr sz="2000" b="1">
                <a:solidFill>
                  <a:schemeClr val="bg1"/>
                </a:solidFill>
              </a:defRPr>
            </a:lvl1pPr>
          </a:lstStyle>
          <a:p>
            <a:r>
              <a:rPr lang="en-GB" dirty="0"/>
              <a:t>Brunei </a:t>
            </a:r>
            <a:r>
              <a:rPr lang="en-GB" dirty="0" err="1"/>
              <a:t>levelised</a:t>
            </a:r>
            <a:r>
              <a:rPr lang="en-GB" dirty="0"/>
              <a:t> cost of electricity for renewables ($/</a:t>
            </a:r>
            <a:r>
              <a:rPr lang="en-GB" dirty="0" err="1"/>
              <a:t>MWh</a:t>
            </a:r>
            <a:r>
              <a:rPr lang="en-GB" dirty="0"/>
              <a:t>)</a:t>
            </a:r>
          </a:p>
        </p:txBody>
      </p:sp>
    </p:spTree>
    <p:extLst>
      <p:ext uri="{BB962C8B-B14F-4D97-AF65-F5344CB8AC3E}">
        <p14:creationId xmlns:p14="http://schemas.microsoft.com/office/powerpoint/2010/main" val="2124120834"/>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idx="10"/>
          </p:nvPr>
        </p:nvSpPr>
        <p:spPr>
          <a:xfrm>
            <a:off x="6279455" y="6423368"/>
            <a:ext cx="3917888" cy="577475"/>
          </a:xfrm>
        </p:spPr>
        <p:txBody>
          <a:bodyPr/>
          <a:lstStyle/>
          <a:p>
            <a:r>
              <a:rPr lang="en-GB" dirty="0" smtClean="0"/>
              <a:t>Source: Bloomberg New Energy Finance</a:t>
            </a:r>
            <a:endParaRPr lang="en-GB" dirty="0"/>
          </a:p>
        </p:txBody>
      </p:sp>
      <p:sp>
        <p:nvSpPr>
          <p:cNvPr id="2" name="Title 1"/>
          <p:cNvSpPr>
            <a:spLocks noGrp="1"/>
          </p:cNvSpPr>
          <p:nvPr>
            <p:ph type="title"/>
          </p:nvPr>
        </p:nvSpPr>
        <p:spPr>
          <a:xfrm>
            <a:off x="412511" y="107950"/>
            <a:ext cx="8029813" cy="828050"/>
          </a:xfrm>
        </p:spPr>
        <p:txBody>
          <a:bodyPr/>
          <a:lstStyle/>
          <a:p>
            <a:r>
              <a:rPr lang="en-US" dirty="0" smtClean="0">
                <a:solidFill>
                  <a:schemeClr val="bg1"/>
                </a:solidFill>
              </a:rPr>
              <a:t>Technology dependence will lead to lower costs while fuel dependence to higher</a:t>
            </a:r>
            <a:endParaRPr lang="en-US" dirty="0">
              <a:solidFill>
                <a:schemeClr val="bg1"/>
              </a:solidFill>
            </a:endParaRPr>
          </a:p>
        </p:txBody>
      </p:sp>
      <p:sp>
        <p:nvSpPr>
          <p:cNvPr id="18" name="TextBox 17"/>
          <p:cNvSpPr txBox="1"/>
          <p:nvPr/>
        </p:nvSpPr>
        <p:spPr>
          <a:xfrm>
            <a:off x="412512" y="1220922"/>
            <a:ext cx="9866788" cy="400110"/>
          </a:xfrm>
          <a:prstGeom prst="rect">
            <a:avLst/>
          </a:prstGeom>
          <a:solidFill>
            <a:schemeClr val="accent1"/>
          </a:solidFill>
          <a:ln>
            <a:solidFill>
              <a:schemeClr val="accent1"/>
            </a:solidFill>
          </a:ln>
        </p:spPr>
        <p:txBody>
          <a:bodyPr wrap="square" rtlCol="0">
            <a:spAutoFit/>
          </a:bodyPr>
          <a:lstStyle/>
          <a:p>
            <a:pPr marL="0" indent="0" algn="ctr">
              <a:buNone/>
            </a:pPr>
            <a:r>
              <a:rPr lang="en-US" sz="2000" dirty="0">
                <a:solidFill>
                  <a:schemeClr val="bg1"/>
                </a:solidFill>
              </a:rPr>
              <a:t>Evolution of solar PV LCOE relative to alternatives, 2012-30 ($ </a:t>
            </a:r>
            <a:r>
              <a:rPr lang="en-US" sz="2000" dirty="0" smtClean="0">
                <a:solidFill>
                  <a:schemeClr val="bg1"/>
                </a:solidFill>
              </a:rPr>
              <a:t>nominal/MWh)</a:t>
            </a:r>
            <a:endParaRPr lang="en-US" sz="2000" b="1" dirty="0">
              <a:solidFill>
                <a:schemeClr val="bg1"/>
              </a:solidFill>
            </a:endParaRPr>
          </a:p>
        </p:txBody>
      </p:sp>
      <p:grpSp>
        <p:nvGrpSpPr>
          <p:cNvPr id="54" name="Group 53"/>
          <p:cNvGrpSpPr/>
          <p:nvPr/>
        </p:nvGrpSpPr>
        <p:grpSpPr>
          <a:xfrm>
            <a:off x="539375" y="1997605"/>
            <a:ext cx="7902950" cy="4425763"/>
            <a:chOff x="0" y="0"/>
            <a:chExt cx="7924801" cy="4572000"/>
          </a:xfrm>
        </p:grpSpPr>
        <p:graphicFrame>
          <p:nvGraphicFramePr>
            <p:cNvPr id="55" name="Chart 54"/>
            <p:cNvGraphicFramePr/>
            <p:nvPr>
              <p:extLst>
                <p:ext uri="{D42A27DB-BD31-4B8C-83A1-F6EECF244321}">
                  <p14:modId xmlns:p14="http://schemas.microsoft.com/office/powerpoint/2010/main" val="2251436645"/>
                </p:ext>
              </p:extLst>
            </p:nvPr>
          </p:nvGraphicFramePr>
          <p:xfrm>
            <a:off x="0" y="0"/>
            <a:ext cx="7924801" cy="4572000"/>
          </p:xfrm>
          <a:graphic>
            <a:graphicData uri="http://schemas.openxmlformats.org/drawingml/2006/chart">
              <c:chart xmlns:c="http://schemas.openxmlformats.org/drawingml/2006/chart" xmlns:r="http://schemas.openxmlformats.org/officeDocument/2006/relationships" r:id="rId3"/>
            </a:graphicData>
          </a:graphic>
        </p:graphicFrame>
        <p:sp>
          <p:nvSpPr>
            <p:cNvPr id="56" name="TextBox 33"/>
            <p:cNvSpPr txBox="1"/>
            <p:nvPr/>
          </p:nvSpPr>
          <p:spPr>
            <a:xfrm rot="352137">
              <a:off x="1098730" y="2480694"/>
              <a:ext cx="1553104" cy="270254"/>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buNone/>
              </a:pPr>
              <a:r>
                <a:rPr lang="en-US" sz="1100" dirty="0"/>
                <a:t>Utility PV: 16-18%</a:t>
              </a:r>
              <a:r>
                <a:rPr lang="en-US" sz="1100" baseline="0" dirty="0"/>
                <a:t> CF</a:t>
              </a:r>
              <a:endParaRPr lang="en-US" sz="1100" dirty="0"/>
            </a:p>
          </p:txBody>
        </p:sp>
        <p:cxnSp>
          <p:nvCxnSpPr>
            <p:cNvPr id="57" name="Straight Arrow Connector 56"/>
            <p:cNvCxnSpPr/>
            <p:nvPr/>
          </p:nvCxnSpPr>
          <p:spPr>
            <a:xfrm flipV="1">
              <a:off x="6367090" y="2628900"/>
              <a:ext cx="0" cy="857250"/>
            </a:xfrm>
            <a:prstGeom prst="straightConnector1">
              <a:avLst/>
            </a:prstGeom>
            <a:ln w="19050">
              <a:solidFill>
                <a:schemeClr val="bg1">
                  <a:lumMod val="50000"/>
                </a:schemeClr>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58" name="TextBox 37"/>
            <p:cNvSpPr txBox="1"/>
            <p:nvPr/>
          </p:nvSpPr>
          <p:spPr>
            <a:xfrm>
              <a:off x="6376615" y="2714624"/>
              <a:ext cx="1200150" cy="746643"/>
            </a:xfrm>
            <a:prstGeom prst="rect">
              <a:avLst/>
            </a:prstGeom>
            <a:noFill/>
          </p:spPr>
          <p:style>
            <a:lnRef idx="0">
              <a:scrgbClr r="0" g="0" b="0"/>
            </a:lnRef>
            <a:fillRef idx="0">
              <a:scrgbClr r="0" g="0" b="0"/>
            </a:fillRef>
            <a:effectRef idx="0">
              <a:scrgbClr r="0" g="0" b="0"/>
            </a:effectRef>
            <a:fontRef idx="minor">
              <a:schemeClr val="tx1"/>
            </a:fontRef>
          </p:style>
          <p:txBody>
            <a:bodyPr wrap="square" rtlCol="0" anchor="t">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buNone/>
              </a:pPr>
              <a:r>
                <a:rPr lang="en-US" sz="1100"/>
                <a:t>Wholesale market competitiveness</a:t>
              </a:r>
            </a:p>
          </p:txBody>
        </p:sp>
        <p:sp>
          <p:nvSpPr>
            <p:cNvPr id="59" name="TextBox 38"/>
            <p:cNvSpPr txBox="1"/>
            <p:nvPr/>
          </p:nvSpPr>
          <p:spPr>
            <a:xfrm>
              <a:off x="594940" y="2695575"/>
              <a:ext cx="971550" cy="270254"/>
            </a:xfrm>
            <a:prstGeom prst="rect">
              <a:avLst/>
            </a:prstGeom>
            <a:noFill/>
          </p:spPr>
          <p:style>
            <a:lnRef idx="0">
              <a:scrgbClr r="0" g="0" b="0"/>
            </a:lnRef>
            <a:fillRef idx="0">
              <a:scrgbClr r="0" g="0" b="0"/>
            </a:fillRef>
            <a:effectRef idx="0">
              <a:scrgbClr r="0" g="0" b="0"/>
            </a:effectRef>
            <a:fontRef idx="minor">
              <a:schemeClr val="tx1"/>
            </a:fontRef>
          </p:style>
          <p:txBody>
            <a:bodyPr wrap="square"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buNone/>
              </a:pPr>
              <a:r>
                <a:rPr lang="en-US" sz="1100"/>
                <a:t>SE Asia gas</a:t>
              </a:r>
            </a:p>
          </p:txBody>
        </p:sp>
        <p:sp>
          <p:nvSpPr>
            <p:cNvPr id="60" name="TextBox 39"/>
            <p:cNvSpPr txBox="1"/>
            <p:nvPr/>
          </p:nvSpPr>
          <p:spPr>
            <a:xfrm>
              <a:off x="1814140" y="1924050"/>
              <a:ext cx="1066051" cy="270254"/>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buNone/>
              </a:pPr>
              <a:r>
                <a:rPr lang="en-US" sz="1100"/>
                <a:t>NE Asia LNG </a:t>
              </a:r>
            </a:p>
          </p:txBody>
        </p:sp>
        <p:sp>
          <p:nvSpPr>
            <p:cNvPr id="61" name="TextBox 40"/>
            <p:cNvSpPr txBox="1"/>
            <p:nvPr/>
          </p:nvSpPr>
          <p:spPr>
            <a:xfrm>
              <a:off x="594940" y="2886075"/>
              <a:ext cx="988894" cy="270254"/>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buNone/>
              </a:pPr>
              <a:r>
                <a:rPr lang="en-US" sz="1100" dirty="0"/>
                <a:t>SE Asia</a:t>
              </a:r>
              <a:r>
                <a:rPr lang="en-US" sz="1100" baseline="0" dirty="0"/>
                <a:t> </a:t>
              </a:r>
              <a:r>
                <a:rPr lang="en-US" sz="1100" dirty="0"/>
                <a:t>coal</a:t>
              </a:r>
            </a:p>
          </p:txBody>
        </p:sp>
      </p:grpSp>
      <p:sp>
        <p:nvSpPr>
          <p:cNvPr id="62" name="TextBox 40"/>
          <p:cNvSpPr txBox="1"/>
          <p:nvPr/>
        </p:nvSpPr>
        <p:spPr>
          <a:xfrm>
            <a:off x="1366165" y="4961327"/>
            <a:ext cx="647934" cy="261610"/>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buNone/>
            </a:pPr>
            <a:r>
              <a:rPr lang="en-US" sz="1100" dirty="0" smtClean="0"/>
              <a:t>US gas</a:t>
            </a:r>
            <a:endParaRPr lang="en-US" sz="1100" dirty="0"/>
          </a:p>
        </p:txBody>
      </p:sp>
      <p:sp>
        <p:nvSpPr>
          <p:cNvPr id="63" name="Rectangle 62"/>
          <p:cNvSpPr/>
          <p:nvPr/>
        </p:nvSpPr>
        <p:spPr>
          <a:xfrm>
            <a:off x="8011502" y="2161957"/>
            <a:ext cx="2411874" cy="1336413"/>
          </a:xfrm>
          <a:prstGeom prst="rect">
            <a:avLst/>
          </a:prstGeom>
        </p:spPr>
        <p:txBody>
          <a:bodyPr wrap="square" lIns="104287" tIns="52144" rIns="104287" bIns="52144">
            <a:spAutoFit/>
          </a:bodyPr>
          <a:lstStyle/>
          <a:p>
            <a:pPr marL="0" indent="0">
              <a:spcBef>
                <a:spcPts val="684"/>
              </a:spcBef>
              <a:spcAft>
                <a:spcPts val="684"/>
              </a:spcAft>
              <a:buNone/>
            </a:pPr>
            <a:r>
              <a:rPr lang="en-US" sz="2000" dirty="0" smtClean="0">
                <a:solidFill>
                  <a:schemeClr val="accent6"/>
                </a:solidFill>
              </a:rPr>
              <a:t>PV capacity factor in SE Asia is relatively low at 16%</a:t>
            </a:r>
            <a:endParaRPr lang="en-US" sz="2000" dirty="0">
              <a:solidFill>
                <a:schemeClr val="accent6"/>
              </a:solidFill>
            </a:endParaRPr>
          </a:p>
        </p:txBody>
      </p:sp>
    </p:spTree>
    <p:extLst>
      <p:ext uri="{BB962C8B-B14F-4D97-AF65-F5344CB8AC3E}">
        <p14:creationId xmlns:p14="http://schemas.microsoft.com/office/powerpoint/2010/main" val="19861786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3"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Myth 3: power systems cannot deal with variable renewables</a:t>
            </a:r>
            <a:endParaRPr lang="en-US" dirty="0"/>
          </a:p>
        </p:txBody>
      </p:sp>
    </p:spTree>
    <p:extLst>
      <p:ext uri="{BB962C8B-B14F-4D97-AF65-F5344CB8AC3E}">
        <p14:creationId xmlns:p14="http://schemas.microsoft.com/office/powerpoint/2010/main" val="81761066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idx="10"/>
          </p:nvPr>
        </p:nvSpPr>
        <p:spPr>
          <a:xfrm>
            <a:off x="5432934" y="6411648"/>
            <a:ext cx="4987642" cy="577475"/>
          </a:xfrm>
        </p:spPr>
        <p:txBody>
          <a:bodyPr/>
          <a:lstStyle/>
          <a:p>
            <a:r>
              <a:rPr lang="en-GB" dirty="0"/>
              <a:t>Source: Bloomberg New Energy Finance, Federal Network Agency, BMWI. </a:t>
            </a:r>
          </a:p>
        </p:txBody>
      </p:sp>
      <p:sp>
        <p:nvSpPr>
          <p:cNvPr id="5" name="Text Placeholder 4"/>
          <p:cNvSpPr>
            <a:spLocks noGrp="1"/>
          </p:cNvSpPr>
          <p:nvPr>
            <p:ph type="body" idx="11"/>
          </p:nvPr>
        </p:nvSpPr>
        <p:spPr/>
        <p:txBody>
          <a:bodyPr/>
          <a:lstStyle/>
          <a:p>
            <a:r>
              <a:rPr lang="en-GB" dirty="0"/>
              <a:t>Note: “Hydro” includes pump storage, run of river and dam storage. </a:t>
            </a:r>
          </a:p>
        </p:txBody>
      </p:sp>
      <p:sp>
        <p:nvSpPr>
          <p:cNvPr id="2" name="Title 1"/>
          <p:cNvSpPr>
            <a:spLocks noGrp="1"/>
          </p:cNvSpPr>
          <p:nvPr>
            <p:ph type="title"/>
          </p:nvPr>
        </p:nvSpPr>
        <p:spPr>
          <a:xfrm>
            <a:off x="704538" y="107950"/>
            <a:ext cx="7737786" cy="828050"/>
          </a:xfrm>
        </p:spPr>
        <p:txBody>
          <a:bodyPr/>
          <a:lstStyle/>
          <a:p>
            <a:r>
              <a:rPr lang="en-GB" dirty="0" smtClean="0"/>
              <a:t>Many countries are successfully dealing with high shares of variable renewables</a:t>
            </a:r>
            <a:endParaRPr lang="en-GB" dirty="0"/>
          </a:p>
        </p:txBody>
      </p:sp>
      <p:pic>
        <p:nvPicPr>
          <p:cNvPr id="1027"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4970" y="2533338"/>
            <a:ext cx="8334531" cy="32860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TextBox 5"/>
          <p:cNvSpPr txBox="1"/>
          <p:nvPr/>
        </p:nvSpPr>
        <p:spPr>
          <a:xfrm>
            <a:off x="254833" y="1464173"/>
            <a:ext cx="7809875" cy="746358"/>
          </a:xfrm>
          <a:prstGeom prst="rect">
            <a:avLst/>
          </a:prstGeom>
          <a:solidFill>
            <a:schemeClr val="accent1"/>
          </a:solidFill>
          <a:ln>
            <a:solidFill>
              <a:schemeClr val="accent1"/>
            </a:solidFill>
          </a:ln>
        </p:spPr>
        <p:txBody>
          <a:bodyPr wrap="square" rtlCol="0">
            <a:spAutoFit/>
          </a:bodyPr>
          <a:lstStyle/>
          <a:p>
            <a:pPr marL="0" indent="0" algn="ctr">
              <a:buNone/>
            </a:pPr>
            <a:r>
              <a:rPr lang="en-US" sz="2000" b="1" dirty="0" smtClean="0">
                <a:solidFill>
                  <a:schemeClr val="bg1"/>
                </a:solidFill>
              </a:rPr>
              <a:t>Germany: installed capacity 2013 (GW) and </a:t>
            </a:r>
          </a:p>
          <a:p>
            <a:pPr marL="0" indent="0" algn="ctr">
              <a:buNone/>
            </a:pPr>
            <a:r>
              <a:rPr lang="en-US" sz="2000" b="1" dirty="0" smtClean="0">
                <a:solidFill>
                  <a:schemeClr val="bg1"/>
                </a:solidFill>
              </a:rPr>
              <a:t>electricity consumption 1991–2012 (</a:t>
            </a:r>
            <a:r>
              <a:rPr lang="en-US" sz="2000" b="1" dirty="0" err="1">
                <a:solidFill>
                  <a:schemeClr val="bg1"/>
                </a:solidFill>
              </a:rPr>
              <a:t>TWh</a:t>
            </a:r>
            <a:r>
              <a:rPr lang="en-US" sz="2000" b="1" dirty="0">
                <a:solidFill>
                  <a:schemeClr val="bg1"/>
                </a:solidFill>
              </a:rPr>
              <a:t>)</a:t>
            </a:r>
            <a:endParaRPr lang="en-US" sz="2000" b="1" dirty="0">
              <a:solidFill>
                <a:schemeClr val="bg1"/>
              </a:solidFill>
            </a:endParaRPr>
          </a:p>
        </p:txBody>
      </p:sp>
      <p:sp>
        <p:nvSpPr>
          <p:cNvPr id="7" name="TextBox 6"/>
          <p:cNvSpPr txBox="1"/>
          <p:nvPr/>
        </p:nvSpPr>
        <p:spPr>
          <a:xfrm>
            <a:off x="8229601" y="1402647"/>
            <a:ext cx="2323475" cy="1752600"/>
          </a:xfrm>
          <a:prstGeom prst="rect">
            <a:avLst/>
          </a:prstGeom>
          <a:noFill/>
        </p:spPr>
        <p:txBody>
          <a:bodyPr wrap="square" lIns="0" tIns="0" rIns="0" bIns="0" rtlCol="0">
            <a:noAutofit/>
          </a:bodyPr>
          <a:lstStyle/>
          <a:p>
            <a:r>
              <a:rPr lang="en-GB" sz="1800" b="1" dirty="0" smtClean="0"/>
              <a:t>Germany </a:t>
            </a:r>
            <a:r>
              <a:rPr lang="en-GB" sz="1800" dirty="0" smtClean="0"/>
              <a:t>H1 2014: 17% of power from wind &amp; solar</a:t>
            </a:r>
          </a:p>
          <a:p>
            <a:r>
              <a:rPr lang="en-GB" sz="1800" b="1" dirty="0" smtClean="0"/>
              <a:t>Spain </a:t>
            </a:r>
            <a:r>
              <a:rPr lang="en-GB" sz="1800" dirty="0" smtClean="0"/>
              <a:t>2013: 24% from wind &amp; solar</a:t>
            </a:r>
          </a:p>
          <a:p>
            <a:r>
              <a:rPr lang="en-US" sz="1800" b="1" dirty="0" smtClean="0"/>
              <a:t>Italy</a:t>
            </a:r>
            <a:r>
              <a:rPr lang="en-US" sz="1800" dirty="0" smtClean="0"/>
              <a:t> 2013:</a:t>
            </a:r>
            <a:r>
              <a:rPr lang="en-US" sz="1800" dirty="0"/>
              <a:t> </a:t>
            </a:r>
            <a:r>
              <a:rPr lang="en-US" sz="1800" dirty="0" smtClean="0"/>
              <a:t>13% from wind and solar</a:t>
            </a:r>
          </a:p>
          <a:p>
            <a:r>
              <a:rPr lang="en-US" sz="1800" b="1" dirty="0" smtClean="0"/>
              <a:t>Texas </a:t>
            </a:r>
            <a:r>
              <a:rPr lang="en-US" sz="1800" dirty="0" smtClean="0"/>
              <a:t>2013: 10% from wind</a:t>
            </a:r>
          </a:p>
          <a:p>
            <a:r>
              <a:rPr lang="en-US" sz="1800" b="1" dirty="0" smtClean="0"/>
              <a:t>Tamil Nadu, India </a:t>
            </a:r>
            <a:r>
              <a:rPr lang="en-US" sz="1800" dirty="0" smtClean="0"/>
              <a:t>2012: 12% from wind</a:t>
            </a:r>
          </a:p>
          <a:p>
            <a:endParaRPr lang="en-US" sz="1800" dirty="0" smtClean="0"/>
          </a:p>
          <a:p>
            <a:r>
              <a:rPr lang="en-US" sz="1800" dirty="0" smtClean="0"/>
              <a:t>Note that some days this can be 30-50% of power</a:t>
            </a:r>
          </a:p>
        </p:txBody>
      </p:sp>
    </p:spTree>
    <p:extLst>
      <p:ext uri="{BB962C8B-B14F-4D97-AF65-F5344CB8AC3E}">
        <p14:creationId xmlns:p14="http://schemas.microsoft.com/office/powerpoint/2010/main" val="308800797"/>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idx="10"/>
          </p:nvPr>
        </p:nvSpPr>
        <p:spPr/>
        <p:txBody>
          <a:bodyPr/>
          <a:lstStyle/>
          <a:p>
            <a:r>
              <a:rPr lang="en-US" dirty="0" smtClean="0"/>
              <a:t>Source: Bloomberg New Energy Finance </a:t>
            </a:r>
            <a:endParaRPr lang="en-US" dirty="0"/>
          </a:p>
        </p:txBody>
      </p:sp>
      <p:sp>
        <p:nvSpPr>
          <p:cNvPr id="5" name="Text Placeholder 4"/>
          <p:cNvSpPr>
            <a:spLocks noGrp="1"/>
          </p:cNvSpPr>
          <p:nvPr>
            <p:ph type="body" idx="11"/>
          </p:nvPr>
        </p:nvSpPr>
        <p:spPr/>
        <p:txBody>
          <a:bodyPr/>
          <a:lstStyle/>
          <a:p>
            <a:endParaRPr lang="en-US" dirty="0"/>
          </a:p>
        </p:txBody>
      </p:sp>
      <p:sp>
        <p:nvSpPr>
          <p:cNvPr id="2" name="Title 1"/>
          <p:cNvSpPr>
            <a:spLocks noGrp="1"/>
          </p:cNvSpPr>
          <p:nvPr>
            <p:ph type="title"/>
          </p:nvPr>
        </p:nvSpPr>
        <p:spPr>
          <a:xfrm>
            <a:off x="592428" y="107950"/>
            <a:ext cx="7849896" cy="828050"/>
          </a:xfrm>
        </p:spPr>
        <p:txBody>
          <a:bodyPr/>
          <a:lstStyle/>
          <a:p>
            <a:r>
              <a:rPr lang="en-US" dirty="0" smtClean="0">
                <a:solidFill>
                  <a:schemeClr val="bg1"/>
                </a:solidFill>
              </a:rPr>
              <a:t>From </a:t>
            </a:r>
            <a:r>
              <a:rPr lang="en-US" dirty="0" err="1" smtClean="0">
                <a:solidFill>
                  <a:schemeClr val="bg1"/>
                </a:solidFill>
              </a:rPr>
              <a:t>centralised</a:t>
            </a:r>
            <a:r>
              <a:rPr lang="en-US" dirty="0" smtClean="0">
                <a:solidFill>
                  <a:schemeClr val="bg1"/>
                </a:solidFill>
              </a:rPr>
              <a:t> power to distributed power</a:t>
            </a:r>
            <a:endParaRPr lang="en-US" dirty="0">
              <a:solidFill>
                <a:schemeClr val="bg1"/>
              </a:solidFill>
            </a:endParaRPr>
          </a:p>
        </p:txBody>
      </p:sp>
      <p:sp>
        <p:nvSpPr>
          <p:cNvPr id="11" name="TextBox 13"/>
          <p:cNvSpPr txBox="1"/>
          <p:nvPr/>
        </p:nvSpPr>
        <p:spPr>
          <a:xfrm>
            <a:off x="2994625" y="4392515"/>
            <a:ext cx="1313477" cy="305361"/>
          </a:xfrm>
          <a:prstGeom prst="rect">
            <a:avLst/>
          </a:prstGeom>
          <a:noFill/>
        </p:spPr>
        <p:style>
          <a:lnRef idx="0">
            <a:scrgbClr r="0" g="0" b="0"/>
          </a:lnRef>
          <a:fillRef idx="0">
            <a:scrgbClr r="0" g="0" b="0"/>
          </a:fillRef>
          <a:effectRef idx="0">
            <a:scrgbClr r="0" g="0" b="0"/>
          </a:effectRef>
          <a:fontRef idx="minor">
            <a:schemeClr val="tx1"/>
          </a:fontRef>
        </p:style>
        <p:txBody>
          <a:bodyPr wrap="none" lIns="104287" tIns="52144" rIns="104287" bIns="52144"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r>
              <a:rPr lang="en-US" sz="1300">
                <a:solidFill>
                  <a:schemeClr val="bg1"/>
                </a:solidFill>
                <a:latin typeface="Arial" pitchFamily="34" charset="0"/>
                <a:cs typeface="Arial" pitchFamily="34" charset="0"/>
              </a:rPr>
              <a:t>Asset finance</a:t>
            </a:r>
          </a:p>
        </p:txBody>
      </p:sp>
      <p:sp>
        <p:nvSpPr>
          <p:cNvPr id="9" name="TextBox 8"/>
          <p:cNvSpPr txBox="1"/>
          <p:nvPr/>
        </p:nvSpPr>
        <p:spPr>
          <a:xfrm>
            <a:off x="432118" y="1209343"/>
            <a:ext cx="9866788" cy="400110"/>
          </a:xfrm>
          <a:prstGeom prst="rect">
            <a:avLst/>
          </a:prstGeom>
          <a:solidFill>
            <a:schemeClr val="accent1"/>
          </a:solidFill>
          <a:ln>
            <a:solidFill>
              <a:schemeClr val="accent1"/>
            </a:solidFill>
          </a:ln>
        </p:spPr>
        <p:txBody>
          <a:bodyPr wrap="square" rtlCol="0">
            <a:spAutoFit/>
          </a:bodyPr>
          <a:lstStyle/>
          <a:p>
            <a:pPr marL="0" indent="0" algn="ctr">
              <a:buNone/>
            </a:pPr>
            <a:r>
              <a:rPr lang="en-US" sz="2000" b="1" dirty="0" smtClean="0">
                <a:solidFill>
                  <a:schemeClr val="bg1"/>
                </a:solidFill>
              </a:rPr>
              <a:t>APAC: investment by type 2003–H1 2014 </a:t>
            </a:r>
            <a:r>
              <a:rPr lang="en-US" sz="2000" b="1" dirty="0">
                <a:solidFill>
                  <a:schemeClr val="bg1"/>
                </a:solidFill>
              </a:rPr>
              <a:t>($</a:t>
            </a:r>
            <a:r>
              <a:rPr lang="en-US" sz="2000" b="1" dirty="0" err="1">
                <a:solidFill>
                  <a:schemeClr val="bg1"/>
                </a:solidFill>
              </a:rPr>
              <a:t>bn</a:t>
            </a:r>
            <a:r>
              <a:rPr lang="en-US" sz="2000" b="1" dirty="0">
                <a:solidFill>
                  <a:schemeClr val="bg1"/>
                </a:solidFill>
              </a:rPr>
              <a:t>)</a:t>
            </a:r>
          </a:p>
        </p:txBody>
      </p:sp>
      <p:graphicFrame>
        <p:nvGraphicFramePr>
          <p:cNvPr id="8" name="Chart 7"/>
          <p:cNvGraphicFramePr>
            <a:graphicFrameLocks noGrp="1"/>
          </p:cNvGraphicFramePr>
          <p:nvPr>
            <p:extLst>
              <p:ext uri="{D42A27DB-BD31-4B8C-83A1-F6EECF244321}">
                <p14:modId xmlns:p14="http://schemas.microsoft.com/office/powerpoint/2010/main" val="2981921363"/>
              </p:ext>
            </p:extLst>
          </p:nvPr>
        </p:nvGraphicFramePr>
        <p:xfrm>
          <a:off x="1378039" y="1807601"/>
          <a:ext cx="7804598" cy="4904503"/>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285512546"/>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essons from other countries</a:t>
            </a:r>
            <a:endParaRPr lang="en-US" dirty="0"/>
          </a:p>
        </p:txBody>
      </p:sp>
      <p:sp>
        <p:nvSpPr>
          <p:cNvPr id="3" name="Content Placeholder 2"/>
          <p:cNvSpPr>
            <a:spLocks noGrp="1"/>
          </p:cNvSpPr>
          <p:nvPr>
            <p:ph idx="1"/>
          </p:nvPr>
        </p:nvSpPr>
        <p:spPr>
          <a:xfrm>
            <a:off x="529069" y="1618938"/>
            <a:ext cx="9648000" cy="5545450"/>
          </a:xfrm>
        </p:spPr>
        <p:txBody>
          <a:bodyPr/>
          <a:lstStyle/>
          <a:p>
            <a:pPr>
              <a:spcBef>
                <a:spcPts val="1200"/>
              </a:spcBef>
              <a:spcAft>
                <a:spcPts val="1200"/>
              </a:spcAft>
            </a:pPr>
            <a:r>
              <a:rPr lang="en-US" sz="2400" dirty="0" smtClean="0"/>
              <a:t>Subsidies can initially be useful to create awareness and kick-start a country’s renewable sector </a:t>
            </a:r>
          </a:p>
          <a:p>
            <a:pPr>
              <a:spcBef>
                <a:spcPts val="1200"/>
              </a:spcBef>
              <a:spcAft>
                <a:spcPts val="1200"/>
              </a:spcAft>
            </a:pPr>
            <a:r>
              <a:rPr lang="en-US" sz="2400" dirty="0" smtClean="0"/>
              <a:t>With subsidies it is essential to put limits in place: capacity cap, auction limits, competitive process</a:t>
            </a:r>
          </a:p>
          <a:p>
            <a:pPr>
              <a:spcBef>
                <a:spcPts val="1200"/>
              </a:spcBef>
              <a:spcAft>
                <a:spcPts val="1200"/>
              </a:spcAft>
            </a:pPr>
            <a:r>
              <a:rPr lang="en-US" sz="2400" dirty="0" smtClean="0"/>
              <a:t>Create the conditions so that companies can generate their own electricity rather than relying solely on the utilities</a:t>
            </a:r>
          </a:p>
          <a:p>
            <a:pPr>
              <a:spcBef>
                <a:spcPts val="1200"/>
              </a:spcBef>
              <a:spcAft>
                <a:spcPts val="1200"/>
              </a:spcAft>
            </a:pPr>
            <a:r>
              <a:rPr lang="en-US" sz="2400" dirty="0" smtClean="0"/>
              <a:t>Phase out any subsidies (including those for fossil and power) over time so that technologies compete in their own right</a:t>
            </a:r>
          </a:p>
          <a:p>
            <a:pPr>
              <a:spcBef>
                <a:spcPts val="1200"/>
              </a:spcBef>
              <a:spcAft>
                <a:spcPts val="1200"/>
              </a:spcAft>
            </a:pPr>
            <a:r>
              <a:rPr lang="en-US" sz="2400" dirty="0" smtClean="0"/>
              <a:t>Integrate renewable build into the country’s overall generation and transmission plan</a:t>
            </a:r>
          </a:p>
          <a:p>
            <a:pPr>
              <a:spcBef>
                <a:spcPts val="1200"/>
              </a:spcBef>
              <a:spcAft>
                <a:spcPts val="1200"/>
              </a:spcAft>
            </a:pPr>
            <a:endParaRPr lang="en-US" sz="2400" dirty="0"/>
          </a:p>
        </p:txBody>
      </p:sp>
      <p:sp>
        <p:nvSpPr>
          <p:cNvPr id="4" name="Date Placeholder 3"/>
          <p:cNvSpPr>
            <a:spLocks noGrp="1"/>
          </p:cNvSpPr>
          <p:nvPr>
            <p:ph type="dt" sz="half" idx="10"/>
          </p:nvPr>
        </p:nvSpPr>
        <p:spPr/>
        <p:txBody>
          <a:bodyPr/>
          <a:lstStyle/>
          <a:p>
            <a:fld id="{7913BA85-6548-49B0-97CB-3C11ED806E99}" type="datetime1">
              <a:rPr lang="en-US" smtClean="0"/>
              <a:t>8/6/2014</a:t>
            </a:fld>
            <a:endParaRPr lang="en-GB" dirty="0"/>
          </a:p>
        </p:txBody>
      </p:sp>
    </p:spTree>
    <p:extLst>
      <p:ext uri="{BB962C8B-B14F-4D97-AF65-F5344CB8AC3E}">
        <p14:creationId xmlns:p14="http://schemas.microsoft.com/office/powerpoint/2010/main" val="1795454438"/>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ean energy deployment: drivers and barriers</a:t>
            </a:r>
            <a:endParaRPr lang="en-US" dirty="0"/>
          </a:p>
        </p:txBody>
      </p:sp>
      <p:sp>
        <p:nvSpPr>
          <p:cNvPr id="3" name="Content Placeholder 2"/>
          <p:cNvSpPr>
            <a:spLocks noGrp="1"/>
          </p:cNvSpPr>
          <p:nvPr>
            <p:ph idx="1"/>
          </p:nvPr>
        </p:nvSpPr>
        <p:spPr>
          <a:xfrm>
            <a:off x="539868" y="2328530"/>
            <a:ext cx="4680000" cy="4923886"/>
          </a:xfrm>
        </p:spPr>
        <p:txBody>
          <a:bodyPr/>
          <a:lstStyle/>
          <a:p>
            <a:pPr>
              <a:spcBef>
                <a:spcPts val="1200"/>
              </a:spcBef>
              <a:spcAft>
                <a:spcPts val="600"/>
              </a:spcAft>
            </a:pPr>
            <a:r>
              <a:rPr lang="en-US" sz="2400" dirty="0" smtClean="0"/>
              <a:t>Policy incentives: feed-in tariffs, renewable targets, tax breaks</a:t>
            </a:r>
          </a:p>
          <a:p>
            <a:pPr>
              <a:spcBef>
                <a:spcPts val="1200"/>
              </a:spcBef>
              <a:spcAft>
                <a:spcPts val="600"/>
              </a:spcAft>
            </a:pPr>
            <a:r>
              <a:rPr lang="en-US" sz="2400" dirty="0" smtClean="0"/>
              <a:t>Technology cost reductions</a:t>
            </a:r>
          </a:p>
          <a:p>
            <a:pPr>
              <a:spcBef>
                <a:spcPts val="1200"/>
              </a:spcBef>
              <a:spcAft>
                <a:spcPts val="600"/>
              </a:spcAft>
            </a:pPr>
            <a:r>
              <a:rPr lang="en-US" sz="2400" dirty="0" smtClean="0"/>
              <a:t>Carbon emission and local air pollution reductions</a:t>
            </a:r>
          </a:p>
          <a:p>
            <a:pPr>
              <a:spcBef>
                <a:spcPts val="1200"/>
              </a:spcBef>
              <a:spcAft>
                <a:spcPts val="600"/>
              </a:spcAft>
            </a:pPr>
            <a:r>
              <a:rPr lang="en-US" sz="2400" dirty="0" smtClean="0"/>
              <a:t>Energy security concerns</a:t>
            </a:r>
          </a:p>
          <a:p>
            <a:pPr>
              <a:spcBef>
                <a:spcPts val="1200"/>
              </a:spcBef>
              <a:spcAft>
                <a:spcPts val="600"/>
              </a:spcAft>
            </a:pPr>
            <a:r>
              <a:rPr lang="en-US" sz="2400" dirty="0" smtClean="0"/>
              <a:t>Domestic manufacturing</a:t>
            </a:r>
          </a:p>
          <a:p>
            <a:pPr>
              <a:spcBef>
                <a:spcPts val="1200"/>
              </a:spcBef>
              <a:spcAft>
                <a:spcPts val="600"/>
              </a:spcAft>
            </a:pPr>
            <a:endParaRPr lang="en-US" sz="2400" dirty="0"/>
          </a:p>
        </p:txBody>
      </p:sp>
      <p:sp>
        <p:nvSpPr>
          <p:cNvPr id="4" name="Content Placeholder 3"/>
          <p:cNvSpPr>
            <a:spLocks noGrp="1"/>
          </p:cNvSpPr>
          <p:nvPr>
            <p:ph idx="14"/>
          </p:nvPr>
        </p:nvSpPr>
        <p:spPr>
          <a:xfrm>
            <a:off x="5502290" y="2328530"/>
            <a:ext cx="4681538" cy="4923886"/>
          </a:xfrm>
        </p:spPr>
        <p:txBody>
          <a:bodyPr/>
          <a:lstStyle/>
          <a:p>
            <a:pPr>
              <a:spcBef>
                <a:spcPts val="1200"/>
              </a:spcBef>
              <a:spcAft>
                <a:spcPts val="600"/>
              </a:spcAft>
            </a:pPr>
            <a:r>
              <a:rPr lang="en-US" sz="2400" dirty="0" smtClean="0"/>
              <a:t>Perception of technology risk</a:t>
            </a:r>
          </a:p>
          <a:p>
            <a:pPr>
              <a:spcBef>
                <a:spcPts val="1200"/>
              </a:spcBef>
              <a:spcAft>
                <a:spcPts val="600"/>
              </a:spcAft>
            </a:pPr>
            <a:r>
              <a:rPr lang="en-US" sz="2400" dirty="0" smtClean="0"/>
              <a:t>Perception of high cost</a:t>
            </a:r>
          </a:p>
          <a:p>
            <a:pPr>
              <a:spcBef>
                <a:spcPts val="1200"/>
              </a:spcBef>
              <a:spcAft>
                <a:spcPts val="600"/>
              </a:spcAft>
            </a:pPr>
            <a:r>
              <a:rPr lang="en-US" sz="2400" dirty="0" smtClean="0"/>
              <a:t>High upfront cost</a:t>
            </a:r>
          </a:p>
          <a:p>
            <a:pPr>
              <a:spcBef>
                <a:spcPts val="1200"/>
              </a:spcBef>
              <a:spcAft>
                <a:spcPts val="600"/>
              </a:spcAft>
            </a:pPr>
            <a:r>
              <a:rPr lang="en-US" sz="2400" dirty="0" smtClean="0"/>
              <a:t>Lack of expertise (in some countries)</a:t>
            </a:r>
          </a:p>
          <a:p>
            <a:pPr>
              <a:spcBef>
                <a:spcPts val="1200"/>
              </a:spcBef>
              <a:spcAft>
                <a:spcPts val="600"/>
              </a:spcAft>
            </a:pPr>
            <a:r>
              <a:rPr lang="en-US" sz="2400" dirty="0" smtClean="0"/>
              <a:t>Small project size (on average)</a:t>
            </a:r>
          </a:p>
          <a:p>
            <a:pPr>
              <a:spcBef>
                <a:spcPts val="1200"/>
              </a:spcBef>
              <a:spcAft>
                <a:spcPts val="600"/>
              </a:spcAft>
            </a:pPr>
            <a:endParaRPr lang="en-US" sz="2400" dirty="0"/>
          </a:p>
        </p:txBody>
      </p:sp>
      <p:sp>
        <p:nvSpPr>
          <p:cNvPr id="5" name="Content Placeholder 4"/>
          <p:cNvSpPr>
            <a:spLocks noGrp="1"/>
          </p:cNvSpPr>
          <p:nvPr>
            <p:ph sz="quarter" idx="17"/>
          </p:nvPr>
        </p:nvSpPr>
        <p:spPr/>
        <p:txBody>
          <a:bodyPr/>
          <a:lstStyle/>
          <a:p>
            <a:endParaRPr lang="en-US"/>
          </a:p>
        </p:txBody>
      </p:sp>
      <p:sp>
        <p:nvSpPr>
          <p:cNvPr id="6" name="Content Placeholder 5"/>
          <p:cNvSpPr>
            <a:spLocks noGrp="1"/>
          </p:cNvSpPr>
          <p:nvPr>
            <p:ph sz="quarter" idx="18"/>
          </p:nvPr>
        </p:nvSpPr>
        <p:spPr/>
        <p:txBody>
          <a:bodyPr/>
          <a:lstStyle/>
          <a:p>
            <a:endParaRPr lang="en-US"/>
          </a:p>
        </p:txBody>
      </p:sp>
      <p:sp>
        <p:nvSpPr>
          <p:cNvPr id="7" name="Text Placeholder 6"/>
          <p:cNvSpPr>
            <a:spLocks noGrp="1"/>
          </p:cNvSpPr>
          <p:nvPr>
            <p:ph type="body" sz="quarter" idx="19"/>
          </p:nvPr>
        </p:nvSpPr>
        <p:spPr>
          <a:xfrm>
            <a:off x="533110" y="1492417"/>
            <a:ext cx="4680000" cy="576000"/>
          </a:xfrm>
        </p:spPr>
        <p:txBody>
          <a:bodyPr/>
          <a:lstStyle/>
          <a:p>
            <a:r>
              <a:rPr lang="en-US" sz="2400" b="1" dirty="0" smtClean="0"/>
              <a:t>drivers</a:t>
            </a:r>
            <a:endParaRPr lang="en-US" sz="2400" b="1" dirty="0"/>
          </a:p>
        </p:txBody>
      </p:sp>
      <p:sp>
        <p:nvSpPr>
          <p:cNvPr id="8" name="Text Placeholder 7"/>
          <p:cNvSpPr>
            <a:spLocks noGrp="1"/>
          </p:cNvSpPr>
          <p:nvPr>
            <p:ph type="body" sz="quarter" idx="20"/>
          </p:nvPr>
        </p:nvSpPr>
        <p:spPr>
          <a:xfrm>
            <a:off x="5497070" y="1492417"/>
            <a:ext cx="4680000" cy="576000"/>
          </a:xfrm>
        </p:spPr>
        <p:txBody>
          <a:bodyPr/>
          <a:lstStyle/>
          <a:p>
            <a:r>
              <a:rPr lang="en-US" sz="2400" b="1" dirty="0" smtClean="0"/>
              <a:t>barriers</a:t>
            </a:r>
            <a:endParaRPr lang="en-US" sz="2400" b="1" dirty="0"/>
          </a:p>
        </p:txBody>
      </p:sp>
      <p:sp>
        <p:nvSpPr>
          <p:cNvPr id="9" name="Date Placeholder 8"/>
          <p:cNvSpPr>
            <a:spLocks noGrp="1"/>
          </p:cNvSpPr>
          <p:nvPr>
            <p:ph type="dt" sz="half" idx="21"/>
          </p:nvPr>
        </p:nvSpPr>
        <p:spPr/>
        <p:txBody>
          <a:bodyPr/>
          <a:lstStyle/>
          <a:p>
            <a:fld id="{4A486F0B-7E26-40D9-9DBF-056F6F6E9824}" type="datetime1">
              <a:rPr lang="en-US" smtClean="0"/>
              <a:t>8/11/2014</a:t>
            </a:fld>
            <a:endParaRPr lang="en-GB" dirty="0"/>
          </a:p>
        </p:txBody>
      </p:sp>
    </p:spTree>
    <p:extLst>
      <p:ext uri="{BB962C8B-B14F-4D97-AF65-F5344CB8AC3E}">
        <p14:creationId xmlns:p14="http://schemas.microsoft.com/office/powerpoint/2010/main" val="209140214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0913" y="107950"/>
            <a:ext cx="7901411" cy="828050"/>
          </a:xfrm>
        </p:spPr>
        <p:txBody>
          <a:bodyPr/>
          <a:lstStyle/>
          <a:p>
            <a:r>
              <a:rPr lang="en-GB" dirty="0"/>
              <a:t>Phase change </a:t>
            </a:r>
            <a:r>
              <a:rPr lang="en-GB" dirty="0" smtClean="0"/>
              <a:t>– a past example: newspapers…</a:t>
            </a:r>
            <a:endParaRPr lang="en-US" dirty="0"/>
          </a:p>
        </p:txBody>
      </p:sp>
      <p:sp>
        <p:nvSpPr>
          <p:cNvPr id="4" name="Text Placeholder 3"/>
          <p:cNvSpPr>
            <a:spLocks noGrp="1"/>
          </p:cNvSpPr>
          <p:nvPr>
            <p:ph type="body" idx="10"/>
          </p:nvPr>
        </p:nvSpPr>
        <p:spPr/>
        <p:txBody>
          <a:bodyPr/>
          <a:lstStyle/>
          <a:p>
            <a:r>
              <a:rPr lang="en-GB" dirty="0"/>
              <a:t>Source: Bloomberg L.P. Bloomberg New Energy </a:t>
            </a:r>
            <a:r>
              <a:rPr lang="en-GB" dirty="0" smtClean="0"/>
              <a:t>Finance</a:t>
            </a:r>
            <a:endParaRPr lang="en-GB" dirty="0"/>
          </a:p>
        </p:txBody>
      </p:sp>
      <p:pic>
        <p:nvPicPr>
          <p:cNvPr id="22532" name="Picture 4"/>
          <p:cNvPicPr>
            <a:picLocks noGrp="1" noChangeAspect="1" noChangeArrowheads="1"/>
          </p:cNvPicPr>
          <p:nvPr>
            <p:ph idx="1"/>
          </p:nvPr>
        </p:nvPicPr>
        <p:blipFill>
          <a:blip r:embed="rId2" cstate="print">
            <a:extLst>
              <a:ext uri="{28A0092B-C50C-407E-A947-70E740481C1C}">
                <a14:useLocalDpi xmlns:a14="http://schemas.microsoft.com/office/drawing/2010/main" val="0"/>
              </a:ext>
            </a:extLst>
          </a:blip>
          <a:srcRect/>
          <a:stretch>
            <a:fillRect/>
          </a:stretch>
        </p:blipFill>
        <p:spPr bwMode="auto">
          <a:xfrm>
            <a:off x="143722" y="1667756"/>
            <a:ext cx="10359818" cy="44129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7" name="Group 16"/>
          <p:cNvGrpSpPr/>
          <p:nvPr/>
        </p:nvGrpSpPr>
        <p:grpSpPr>
          <a:xfrm>
            <a:off x="4060183" y="3595888"/>
            <a:ext cx="2354914" cy="1131367"/>
            <a:chOff x="3472406" y="2414430"/>
            <a:chExt cx="2014002" cy="967583"/>
          </a:xfrm>
        </p:grpSpPr>
        <p:sp>
          <p:nvSpPr>
            <p:cNvPr id="8" name="TextBox 7"/>
            <p:cNvSpPr txBox="1"/>
            <p:nvPr/>
          </p:nvSpPr>
          <p:spPr>
            <a:xfrm>
              <a:off x="3472406" y="2414430"/>
              <a:ext cx="2014002" cy="509881"/>
            </a:xfrm>
            <a:prstGeom prst="rect">
              <a:avLst/>
            </a:prstGeom>
            <a:noFill/>
          </p:spPr>
          <p:txBody>
            <a:bodyPr wrap="square" rtlCol="0">
              <a:spAutoFit/>
            </a:bodyPr>
            <a:lstStyle/>
            <a:p>
              <a:pPr marL="0" indent="0" algn="ctr">
                <a:buNone/>
              </a:pPr>
              <a:r>
                <a:rPr lang="en-GB" sz="1637" dirty="0"/>
                <a:t>1982 Invention of the internet</a:t>
              </a:r>
              <a:endParaRPr lang="en-US" sz="1637" dirty="0"/>
            </a:p>
          </p:txBody>
        </p:sp>
        <p:cxnSp>
          <p:nvCxnSpPr>
            <p:cNvPr id="20" name="Straight Arrow Connector 19"/>
            <p:cNvCxnSpPr/>
            <p:nvPr/>
          </p:nvCxnSpPr>
          <p:spPr>
            <a:xfrm>
              <a:off x="4767936" y="3046342"/>
              <a:ext cx="0" cy="335671"/>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grpSp>
      <p:grpSp>
        <p:nvGrpSpPr>
          <p:cNvPr id="21" name="Group 20"/>
          <p:cNvGrpSpPr/>
          <p:nvPr/>
        </p:nvGrpSpPr>
        <p:grpSpPr>
          <a:xfrm>
            <a:off x="5396840" y="2701894"/>
            <a:ext cx="2061992" cy="1134376"/>
            <a:chOff x="4615560" y="1649856"/>
            <a:chExt cx="1763485" cy="970157"/>
          </a:xfrm>
        </p:grpSpPr>
        <p:sp>
          <p:nvSpPr>
            <p:cNvPr id="13" name="TextBox 12"/>
            <p:cNvSpPr txBox="1"/>
            <p:nvPr/>
          </p:nvSpPr>
          <p:spPr>
            <a:xfrm>
              <a:off x="4615560" y="1649856"/>
              <a:ext cx="1763485" cy="509881"/>
            </a:xfrm>
            <a:prstGeom prst="rect">
              <a:avLst/>
            </a:prstGeom>
            <a:noFill/>
          </p:spPr>
          <p:txBody>
            <a:bodyPr wrap="square" rtlCol="0">
              <a:spAutoFit/>
            </a:bodyPr>
            <a:lstStyle/>
            <a:p>
              <a:pPr marL="0" indent="0" algn="ctr">
                <a:buNone/>
              </a:pPr>
              <a:r>
                <a:rPr lang="en-GB" sz="1637" dirty="0"/>
                <a:t>1992 Invention of the browser</a:t>
              </a:r>
              <a:endParaRPr lang="en-US" sz="1637" dirty="0"/>
            </a:p>
          </p:txBody>
        </p:sp>
        <p:cxnSp>
          <p:nvCxnSpPr>
            <p:cNvPr id="19" name="Straight Arrow Connector 18"/>
            <p:cNvCxnSpPr/>
            <p:nvPr/>
          </p:nvCxnSpPr>
          <p:spPr>
            <a:xfrm>
              <a:off x="6226622" y="2252380"/>
              <a:ext cx="0" cy="367633"/>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grpSp>
      <p:grpSp>
        <p:nvGrpSpPr>
          <p:cNvPr id="22" name="Group 21"/>
          <p:cNvGrpSpPr/>
          <p:nvPr/>
        </p:nvGrpSpPr>
        <p:grpSpPr>
          <a:xfrm>
            <a:off x="6427835" y="1995918"/>
            <a:ext cx="2418378" cy="1358009"/>
            <a:chOff x="5497302" y="988207"/>
            <a:chExt cx="2068279" cy="1161415"/>
          </a:xfrm>
        </p:grpSpPr>
        <p:sp>
          <p:nvSpPr>
            <p:cNvPr id="14" name="TextBox 13"/>
            <p:cNvSpPr txBox="1"/>
            <p:nvPr/>
          </p:nvSpPr>
          <p:spPr>
            <a:xfrm>
              <a:off x="5497302" y="988207"/>
              <a:ext cx="2068279" cy="509881"/>
            </a:xfrm>
            <a:prstGeom prst="rect">
              <a:avLst/>
            </a:prstGeom>
            <a:noFill/>
          </p:spPr>
          <p:txBody>
            <a:bodyPr wrap="square" rtlCol="0">
              <a:spAutoFit/>
            </a:bodyPr>
            <a:lstStyle/>
            <a:p>
              <a:pPr marL="0" indent="0" algn="ctr">
                <a:buNone/>
              </a:pPr>
              <a:r>
                <a:rPr lang="en-GB" sz="1637" dirty="0"/>
                <a:t>1997 Invention of the smartphone</a:t>
              </a:r>
              <a:endParaRPr lang="en-US" sz="1637" dirty="0"/>
            </a:p>
          </p:txBody>
        </p:sp>
        <p:cxnSp>
          <p:nvCxnSpPr>
            <p:cNvPr id="18" name="Straight Arrow Connector 17"/>
            <p:cNvCxnSpPr/>
            <p:nvPr/>
          </p:nvCxnSpPr>
          <p:spPr>
            <a:xfrm>
              <a:off x="6857993" y="1678328"/>
              <a:ext cx="0" cy="471294"/>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grpSp>
      <p:grpSp>
        <p:nvGrpSpPr>
          <p:cNvPr id="26" name="Group 25"/>
          <p:cNvGrpSpPr/>
          <p:nvPr/>
        </p:nvGrpSpPr>
        <p:grpSpPr>
          <a:xfrm>
            <a:off x="8426168" y="1648675"/>
            <a:ext cx="2061992" cy="1345048"/>
            <a:chOff x="7206344" y="749107"/>
            <a:chExt cx="1763485" cy="1150331"/>
          </a:xfrm>
        </p:grpSpPr>
        <p:sp>
          <p:nvSpPr>
            <p:cNvPr id="15" name="TextBox 14"/>
            <p:cNvSpPr txBox="1"/>
            <p:nvPr/>
          </p:nvSpPr>
          <p:spPr>
            <a:xfrm>
              <a:off x="7206344" y="749107"/>
              <a:ext cx="1763485" cy="509881"/>
            </a:xfrm>
            <a:prstGeom prst="rect">
              <a:avLst/>
            </a:prstGeom>
            <a:noFill/>
          </p:spPr>
          <p:txBody>
            <a:bodyPr wrap="square" rtlCol="0">
              <a:spAutoFit/>
            </a:bodyPr>
            <a:lstStyle/>
            <a:p>
              <a:pPr marL="0" indent="0" algn="ctr">
                <a:buNone/>
              </a:pPr>
              <a:r>
                <a:rPr lang="en-GB" sz="1637" dirty="0"/>
                <a:t>2006 Founding of Twitter</a:t>
              </a:r>
              <a:endParaRPr lang="en-US" sz="1637" dirty="0"/>
            </a:p>
          </p:txBody>
        </p:sp>
        <p:cxnSp>
          <p:nvCxnSpPr>
            <p:cNvPr id="10" name="Straight Arrow Connector 9"/>
            <p:cNvCxnSpPr/>
            <p:nvPr/>
          </p:nvCxnSpPr>
          <p:spPr>
            <a:xfrm>
              <a:off x="7957453" y="1395438"/>
              <a:ext cx="0" cy="504000"/>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grpSp>
      <p:grpSp>
        <p:nvGrpSpPr>
          <p:cNvPr id="40" name="Group 39"/>
          <p:cNvGrpSpPr/>
          <p:nvPr/>
        </p:nvGrpSpPr>
        <p:grpSpPr>
          <a:xfrm>
            <a:off x="5575009" y="3135092"/>
            <a:ext cx="3729409" cy="2399344"/>
            <a:chOff x="4767936" y="2020342"/>
            <a:chExt cx="3189517" cy="2052000"/>
          </a:xfrm>
        </p:grpSpPr>
        <p:cxnSp>
          <p:nvCxnSpPr>
            <p:cNvPr id="35" name="Straight Connector 34"/>
            <p:cNvCxnSpPr/>
            <p:nvPr/>
          </p:nvCxnSpPr>
          <p:spPr>
            <a:xfrm>
              <a:off x="7957453" y="2020342"/>
              <a:ext cx="0" cy="2052000"/>
            </a:xfrm>
            <a:prstGeom prst="line">
              <a:avLst/>
            </a:prstGeom>
            <a:ln w="19050">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a:off x="4767936" y="3495554"/>
              <a:ext cx="0" cy="576788"/>
            </a:xfrm>
            <a:prstGeom prst="line">
              <a:avLst/>
            </a:prstGeom>
            <a:ln w="19050">
              <a:solidFill>
                <a:schemeClr val="tx1"/>
              </a:solidFill>
              <a:prstDash val="sysDash"/>
            </a:ln>
          </p:spPr>
          <p:style>
            <a:lnRef idx="1">
              <a:schemeClr val="accent1"/>
            </a:lnRef>
            <a:fillRef idx="0">
              <a:schemeClr val="accent1"/>
            </a:fillRef>
            <a:effectRef idx="0">
              <a:schemeClr val="accent1"/>
            </a:effectRef>
            <a:fontRef idx="minor">
              <a:schemeClr val="tx1"/>
            </a:fontRef>
          </p:style>
        </p:cxnSp>
      </p:grpSp>
      <p:grpSp>
        <p:nvGrpSpPr>
          <p:cNvPr id="41" name="Group 40"/>
          <p:cNvGrpSpPr/>
          <p:nvPr/>
        </p:nvGrpSpPr>
        <p:grpSpPr>
          <a:xfrm>
            <a:off x="5575009" y="4740787"/>
            <a:ext cx="3729409" cy="456438"/>
            <a:chOff x="4767936" y="3393587"/>
            <a:chExt cx="3189517" cy="390361"/>
          </a:xfrm>
        </p:grpSpPr>
        <p:cxnSp>
          <p:nvCxnSpPr>
            <p:cNvPr id="9" name="Straight Arrow Connector 8"/>
            <p:cNvCxnSpPr/>
            <p:nvPr/>
          </p:nvCxnSpPr>
          <p:spPr>
            <a:xfrm>
              <a:off x="4767936" y="3783948"/>
              <a:ext cx="3189517" cy="0"/>
            </a:xfrm>
            <a:prstGeom prst="straightConnector1">
              <a:avLst/>
            </a:prstGeom>
            <a:ln w="44450">
              <a:tailEnd type="arrow"/>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5983879" y="3393587"/>
              <a:ext cx="846145" cy="294423"/>
            </a:xfrm>
            <a:prstGeom prst="rect">
              <a:avLst/>
            </a:prstGeom>
            <a:noFill/>
          </p:spPr>
          <p:txBody>
            <a:bodyPr wrap="none" rtlCol="0">
              <a:spAutoFit/>
            </a:bodyPr>
            <a:lstStyle/>
            <a:p>
              <a:pPr marL="0" indent="0">
                <a:buNone/>
              </a:pPr>
              <a:r>
                <a:rPr lang="en-GB" sz="1637" dirty="0"/>
                <a:t>26 years</a:t>
              </a:r>
            </a:p>
          </p:txBody>
        </p:sp>
      </p:grpSp>
    </p:spTree>
    <p:extLst>
      <p:ext uri="{BB962C8B-B14F-4D97-AF65-F5344CB8AC3E}">
        <p14:creationId xmlns:p14="http://schemas.microsoft.com/office/powerpoint/2010/main" val="308340527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1"/>
                                        </p:tgtEl>
                                        <p:attrNameLst>
                                          <p:attrName>style.visibility</p:attrName>
                                        </p:attrNameLst>
                                      </p:cBhvr>
                                      <p:to>
                                        <p:strVal val="visible"/>
                                      </p:to>
                                    </p:set>
                                    <p:animEffect transition="in" filter="fade">
                                      <p:cBhvr>
                                        <p:cTn id="12" dur="500"/>
                                        <p:tgtEl>
                                          <p:spTgt spid="21"/>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2"/>
                                        </p:tgtEl>
                                        <p:attrNameLst>
                                          <p:attrName>style.visibility</p:attrName>
                                        </p:attrNameLst>
                                      </p:cBhvr>
                                      <p:to>
                                        <p:strVal val="visible"/>
                                      </p:to>
                                    </p:set>
                                    <p:animEffect transition="in" filter="fade">
                                      <p:cBhvr>
                                        <p:cTn id="17" dur="500"/>
                                        <p:tgtEl>
                                          <p:spTgt spid="22"/>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6"/>
                                        </p:tgtEl>
                                        <p:attrNameLst>
                                          <p:attrName>style.visibility</p:attrName>
                                        </p:attrNameLst>
                                      </p:cBhvr>
                                      <p:to>
                                        <p:strVal val="visible"/>
                                      </p:to>
                                    </p:set>
                                    <p:animEffect transition="in" filter="fade">
                                      <p:cBhvr>
                                        <p:cTn id="22" dur="500"/>
                                        <p:tgtEl>
                                          <p:spTgt spid="26"/>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40"/>
                                        </p:tgtEl>
                                        <p:attrNameLst>
                                          <p:attrName>style.visibility</p:attrName>
                                        </p:attrNameLst>
                                      </p:cBhvr>
                                      <p:to>
                                        <p:strVal val="visible"/>
                                      </p:to>
                                    </p:set>
                                    <p:animEffect transition="in" filter="fade">
                                      <p:cBhvr>
                                        <p:cTn id="27" dur="500"/>
                                        <p:tgtEl>
                                          <p:spTgt spid="40"/>
                                        </p:tgtEl>
                                      </p:cBhvr>
                                    </p:animEffect>
                                  </p:childTnLst>
                                </p:cTn>
                              </p:par>
                            </p:childTnLst>
                          </p:cTn>
                        </p:par>
                        <p:par>
                          <p:cTn id="28" fill="hold">
                            <p:stCondLst>
                              <p:cond delay="500"/>
                            </p:stCondLst>
                            <p:childTnLst>
                              <p:par>
                                <p:cTn id="29" presetID="10" presetClass="entr" presetSubtype="0" fill="hold" nodeType="afterEffect">
                                  <p:stCondLst>
                                    <p:cond delay="0"/>
                                  </p:stCondLst>
                                  <p:childTnLst>
                                    <p:set>
                                      <p:cBhvr>
                                        <p:cTn id="30" dur="1" fill="hold">
                                          <p:stCondLst>
                                            <p:cond delay="0"/>
                                          </p:stCondLst>
                                        </p:cTn>
                                        <p:tgtEl>
                                          <p:spTgt spid="41"/>
                                        </p:tgtEl>
                                        <p:attrNameLst>
                                          <p:attrName>style.visibility</p:attrName>
                                        </p:attrNameLst>
                                      </p:cBhvr>
                                      <p:to>
                                        <p:strVal val="visible"/>
                                      </p:to>
                                    </p:set>
                                    <p:animEffect transition="in" filter="fade">
                                      <p:cBhvr>
                                        <p:cTn id="31" dur="50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5202237" y="1763713"/>
            <a:ext cx="5019449" cy="2487771"/>
          </a:xfrm>
        </p:spPr>
        <p:txBody>
          <a:bodyPr/>
          <a:lstStyle/>
          <a:p>
            <a:r>
              <a:rPr lang="en-GB" dirty="0" smtClean="0"/>
              <a:t>conclusion</a:t>
            </a:r>
            <a:endParaRPr lang="en-GB" dirty="0"/>
          </a:p>
        </p:txBody>
      </p:sp>
    </p:spTree>
    <p:extLst>
      <p:ext uri="{BB962C8B-B14F-4D97-AF65-F5344CB8AC3E}">
        <p14:creationId xmlns:p14="http://schemas.microsoft.com/office/powerpoint/2010/main" val="2189030136"/>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p:cNvSpPr>
            <a:spLocks noGrp="1"/>
          </p:cNvSpPr>
          <p:nvPr>
            <p:ph sz="quarter" idx="14"/>
          </p:nvPr>
        </p:nvSpPr>
        <p:spPr/>
        <p:txBody>
          <a:bodyPr/>
          <a:lstStyle/>
          <a:p>
            <a:endParaRPr lang="en-GB"/>
          </a:p>
        </p:txBody>
      </p:sp>
      <p:sp>
        <p:nvSpPr>
          <p:cNvPr id="9" name="Content Placeholder 8"/>
          <p:cNvSpPr>
            <a:spLocks noGrp="1"/>
          </p:cNvSpPr>
          <p:nvPr>
            <p:ph sz="quarter" idx="18"/>
          </p:nvPr>
        </p:nvSpPr>
        <p:spPr/>
        <p:txBody>
          <a:bodyPr/>
          <a:lstStyle/>
          <a:p>
            <a:endParaRPr lang="en-GB"/>
          </a:p>
        </p:txBody>
      </p:sp>
      <p:sp>
        <p:nvSpPr>
          <p:cNvPr id="2" name="Title 1"/>
          <p:cNvSpPr>
            <a:spLocks noGrp="1"/>
          </p:cNvSpPr>
          <p:nvPr>
            <p:ph type="title"/>
          </p:nvPr>
        </p:nvSpPr>
        <p:spPr/>
        <p:txBody>
          <a:bodyPr/>
          <a:lstStyle/>
          <a:p>
            <a:r>
              <a:rPr lang="en-US" dirty="0" smtClean="0"/>
              <a:t>Conclusions </a:t>
            </a:r>
            <a:endParaRPr lang="en-GB" dirty="0"/>
          </a:p>
        </p:txBody>
      </p:sp>
      <p:grpSp>
        <p:nvGrpSpPr>
          <p:cNvPr id="7" name="Group 6"/>
          <p:cNvGrpSpPr/>
          <p:nvPr/>
        </p:nvGrpSpPr>
        <p:grpSpPr>
          <a:xfrm>
            <a:off x="520700" y="3251930"/>
            <a:ext cx="9650413" cy="1412904"/>
            <a:chOff x="520700" y="1116013"/>
            <a:chExt cx="9650413" cy="1412904"/>
          </a:xfrm>
        </p:grpSpPr>
        <p:sp>
          <p:nvSpPr>
            <p:cNvPr id="21" name="Pentagon 20"/>
            <p:cNvSpPr/>
            <p:nvPr/>
          </p:nvSpPr>
          <p:spPr>
            <a:xfrm>
              <a:off x="520700" y="1116013"/>
              <a:ext cx="1440830" cy="1412904"/>
            </a:xfrm>
            <a:prstGeom prst="homePlate">
              <a:avLst>
                <a:gd name="adj" fmla="val 29822"/>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0" indent="0" algn="ctr">
                <a:buNone/>
              </a:pPr>
              <a:endParaRPr lang="en-GB" sz="1600" dirty="0"/>
            </a:p>
          </p:txBody>
        </p:sp>
        <p:sp>
          <p:nvSpPr>
            <p:cNvPr id="22" name="Text Placeholder 5"/>
            <p:cNvSpPr txBox="1">
              <a:spLocks/>
            </p:cNvSpPr>
            <p:nvPr/>
          </p:nvSpPr>
          <p:spPr>
            <a:xfrm>
              <a:off x="1758206" y="1116013"/>
              <a:ext cx="8412907" cy="1412904"/>
            </a:xfrm>
            <a:prstGeom prst="chevron">
              <a:avLst>
                <a:gd name="adj" fmla="val 29841"/>
              </a:avLst>
            </a:prstGeom>
            <a:solidFill>
              <a:schemeClr val="bg1"/>
            </a:solidFill>
            <a:ln>
              <a:solidFill>
                <a:schemeClr val="accent1"/>
              </a:solidFill>
            </a:ln>
          </p:spPr>
          <p:txBody>
            <a:bodyPr lIns="180000" tIns="54000" rIns="54000" bIns="54000" anchor="ctr"/>
            <a:lstStyle>
              <a:lvl1pPr marL="0" indent="0" algn="l" defTabSz="1007943" rtl="0" eaLnBrk="1" latinLnBrk="0" hangingPunct="1">
                <a:lnSpc>
                  <a:spcPct val="100000"/>
                </a:lnSpc>
                <a:spcBef>
                  <a:spcPts val="600"/>
                </a:spcBef>
                <a:buClr>
                  <a:schemeClr val="accent1"/>
                </a:buClr>
                <a:buFont typeface="Arial" panose="020B0604020202020204" pitchFamily="34" charset="0"/>
                <a:buNone/>
                <a:defRPr sz="1800" kern="1200" cap="none" baseline="0">
                  <a:solidFill>
                    <a:schemeClr val="tx1"/>
                  </a:solidFill>
                  <a:latin typeface="+mn-lt"/>
                  <a:ea typeface="+mn-ea"/>
                  <a:cs typeface="+mn-cs"/>
                </a:defRPr>
              </a:lvl1pPr>
              <a:lvl2pPr marL="723900" indent="-368300" algn="l" defTabSz="1007943"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n-lt"/>
                  <a:ea typeface="+mn-ea"/>
                  <a:cs typeface="+mn-cs"/>
                </a:defRPr>
              </a:lvl2pPr>
              <a:lvl3pPr marL="1079500" indent="-355600" algn="l" defTabSz="1007943" rtl="0" eaLnBrk="1" latinLnBrk="0" hangingPunct="1">
                <a:lnSpc>
                  <a:spcPct val="100000"/>
                </a:lnSpc>
                <a:spcBef>
                  <a:spcPts val="300"/>
                </a:spcBef>
                <a:buClr>
                  <a:schemeClr val="accent1"/>
                </a:buClr>
                <a:buFont typeface="Arial" panose="020B0604020202020204" pitchFamily="34" charset="0"/>
                <a:buChar char="●"/>
                <a:defRPr sz="1400" kern="1200">
                  <a:solidFill>
                    <a:schemeClr val="tx1"/>
                  </a:solidFill>
                  <a:latin typeface="+mn-lt"/>
                  <a:ea typeface="+mn-ea"/>
                  <a:cs typeface="+mn-cs"/>
                </a:defRPr>
              </a:lvl3pPr>
              <a:lvl4pPr marL="1435100" indent="-355600" algn="l" defTabSz="1007943" rtl="0" eaLnBrk="1" latinLnBrk="0" hangingPunct="1">
                <a:lnSpc>
                  <a:spcPct val="100000"/>
                </a:lnSpc>
                <a:spcBef>
                  <a:spcPts val="30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790700" indent="-387350" algn="l" defTabSz="1007943" rtl="0" eaLnBrk="1" latinLnBrk="0" hangingPunct="1">
                <a:lnSpc>
                  <a:spcPct val="100000"/>
                </a:lnSpc>
                <a:spcBef>
                  <a:spcPts val="300"/>
                </a:spcBef>
                <a:buClr>
                  <a:schemeClr val="accent1"/>
                </a:buClr>
                <a:buFont typeface="Arial" panose="020B0604020202020204" pitchFamily="34" charset="0"/>
                <a:buChar char="●"/>
                <a:defRPr sz="1200" kern="1200">
                  <a:solidFill>
                    <a:schemeClr val="tx1"/>
                  </a:solidFill>
                  <a:latin typeface="+mn-lt"/>
                  <a:ea typeface="+mn-ea"/>
                  <a:cs typeface="+mn-cs"/>
                </a:defRPr>
              </a:lvl5pPr>
              <a:lvl6pPr marL="2771844" indent="-251986" algn="l" defTabSz="1007943"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6pPr>
              <a:lvl7pPr marL="3275815" indent="-251986" algn="l" defTabSz="1007943"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7pPr>
              <a:lvl8pPr marL="3779787" indent="-251986" algn="l" defTabSz="1007943"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8pPr>
              <a:lvl9pPr marL="4283758" indent="-251986" algn="l" defTabSz="1007943"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9pPr>
            </a:lstStyle>
            <a:p>
              <a:r>
                <a:rPr lang="en-US" sz="2000" dirty="0" smtClean="0"/>
                <a:t>Renewable are not expensive anymore with onshore wind available at the same cost as coal and gas and PV costs rapidly coming down such that it is already at retail power parity</a:t>
              </a:r>
              <a:endParaRPr lang="en-US" sz="2000" dirty="0"/>
            </a:p>
          </p:txBody>
        </p:sp>
      </p:grpSp>
      <p:grpSp>
        <p:nvGrpSpPr>
          <p:cNvPr id="4" name="Group 3"/>
          <p:cNvGrpSpPr/>
          <p:nvPr/>
        </p:nvGrpSpPr>
        <p:grpSpPr>
          <a:xfrm>
            <a:off x="520700" y="4811986"/>
            <a:ext cx="9650413" cy="1412904"/>
            <a:chOff x="520700" y="2661170"/>
            <a:chExt cx="9650413" cy="1412904"/>
          </a:xfrm>
        </p:grpSpPr>
        <p:sp>
          <p:nvSpPr>
            <p:cNvPr id="23" name="Pentagon 22"/>
            <p:cNvSpPr/>
            <p:nvPr/>
          </p:nvSpPr>
          <p:spPr>
            <a:xfrm>
              <a:off x="520700" y="2661170"/>
              <a:ext cx="1440830" cy="1412904"/>
            </a:xfrm>
            <a:prstGeom prst="homePlate">
              <a:avLst>
                <a:gd name="adj" fmla="val 29822"/>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0" indent="0" algn="ctr">
                <a:buNone/>
              </a:pPr>
              <a:endParaRPr lang="en-GB" sz="1600" dirty="0"/>
            </a:p>
          </p:txBody>
        </p:sp>
        <p:sp>
          <p:nvSpPr>
            <p:cNvPr id="24" name="Text Placeholder 5"/>
            <p:cNvSpPr txBox="1">
              <a:spLocks/>
            </p:cNvSpPr>
            <p:nvPr/>
          </p:nvSpPr>
          <p:spPr>
            <a:xfrm>
              <a:off x="1758206" y="2661170"/>
              <a:ext cx="8412907" cy="1412904"/>
            </a:xfrm>
            <a:prstGeom prst="chevron">
              <a:avLst>
                <a:gd name="adj" fmla="val 29841"/>
              </a:avLst>
            </a:prstGeom>
            <a:solidFill>
              <a:schemeClr val="bg1"/>
            </a:solidFill>
            <a:ln>
              <a:solidFill>
                <a:schemeClr val="accent1"/>
              </a:solidFill>
            </a:ln>
          </p:spPr>
          <p:txBody>
            <a:bodyPr lIns="180000" tIns="54000" rIns="54000" bIns="54000" anchor="ctr"/>
            <a:lstStyle>
              <a:lvl1pPr marL="0" indent="0" algn="l" defTabSz="1007943" rtl="0" eaLnBrk="1" latinLnBrk="0" hangingPunct="1">
                <a:lnSpc>
                  <a:spcPct val="100000"/>
                </a:lnSpc>
                <a:spcBef>
                  <a:spcPts val="600"/>
                </a:spcBef>
                <a:buClr>
                  <a:schemeClr val="accent1"/>
                </a:buClr>
                <a:buFont typeface="Arial" panose="020B0604020202020204" pitchFamily="34" charset="0"/>
                <a:buNone/>
                <a:defRPr sz="1800" kern="1200" cap="none" baseline="0">
                  <a:solidFill>
                    <a:schemeClr val="tx1"/>
                  </a:solidFill>
                  <a:latin typeface="+mn-lt"/>
                  <a:ea typeface="+mn-ea"/>
                  <a:cs typeface="+mn-cs"/>
                </a:defRPr>
              </a:lvl1pPr>
              <a:lvl2pPr marL="723900" indent="-368300" algn="l" defTabSz="1007943"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n-lt"/>
                  <a:ea typeface="+mn-ea"/>
                  <a:cs typeface="+mn-cs"/>
                </a:defRPr>
              </a:lvl2pPr>
              <a:lvl3pPr marL="1079500" indent="-355600" algn="l" defTabSz="1007943" rtl="0" eaLnBrk="1" latinLnBrk="0" hangingPunct="1">
                <a:lnSpc>
                  <a:spcPct val="100000"/>
                </a:lnSpc>
                <a:spcBef>
                  <a:spcPts val="300"/>
                </a:spcBef>
                <a:buClr>
                  <a:schemeClr val="accent1"/>
                </a:buClr>
                <a:buFont typeface="Arial" panose="020B0604020202020204" pitchFamily="34" charset="0"/>
                <a:buChar char="●"/>
                <a:defRPr sz="1400" kern="1200">
                  <a:solidFill>
                    <a:schemeClr val="tx1"/>
                  </a:solidFill>
                  <a:latin typeface="+mn-lt"/>
                  <a:ea typeface="+mn-ea"/>
                  <a:cs typeface="+mn-cs"/>
                </a:defRPr>
              </a:lvl3pPr>
              <a:lvl4pPr marL="1435100" indent="-355600" algn="l" defTabSz="1007943" rtl="0" eaLnBrk="1" latinLnBrk="0" hangingPunct="1">
                <a:lnSpc>
                  <a:spcPct val="100000"/>
                </a:lnSpc>
                <a:spcBef>
                  <a:spcPts val="30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790700" indent="-387350" algn="l" defTabSz="1007943" rtl="0" eaLnBrk="1" latinLnBrk="0" hangingPunct="1">
                <a:lnSpc>
                  <a:spcPct val="100000"/>
                </a:lnSpc>
                <a:spcBef>
                  <a:spcPts val="300"/>
                </a:spcBef>
                <a:buClr>
                  <a:schemeClr val="accent1"/>
                </a:buClr>
                <a:buFont typeface="Arial" panose="020B0604020202020204" pitchFamily="34" charset="0"/>
                <a:buChar char="●"/>
                <a:defRPr sz="1200" kern="1200">
                  <a:solidFill>
                    <a:schemeClr val="tx1"/>
                  </a:solidFill>
                  <a:latin typeface="+mn-lt"/>
                  <a:ea typeface="+mn-ea"/>
                  <a:cs typeface="+mn-cs"/>
                </a:defRPr>
              </a:lvl5pPr>
              <a:lvl6pPr marL="2771844" indent="-251986" algn="l" defTabSz="1007943"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6pPr>
              <a:lvl7pPr marL="3275815" indent="-251986" algn="l" defTabSz="1007943"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7pPr>
              <a:lvl8pPr marL="3779787" indent="-251986" algn="l" defTabSz="1007943"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8pPr>
              <a:lvl9pPr marL="4283758" indent="-251986" algn="l" defTabSz="1007943"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9pPr>
            </a:lstStyle>
            <a:p>
              <a:r>
                <a:rPr lang="en-US" sz="2000" dirty="0" smtClean="0"/>
                <a:t>Renewables are not difficult to integrate, but it requires planning and a different way of operating the power system</a:t>
              </a:r>
              <a:endParaRPr lang="en-US" sz="2000" dirty="0"/>
            </a:p>
          </p:txBody>
        </p:sp>
      </p:grpSp>
      <p:grpSp>
        <p:nvGrpSpPr>
          <p:cNvPr id="19" name="Group 18"/>
          <p:cNvGrpSpPr/>
          <p:nvPr/>
        </p:nvGrpSpPr>
        <p:grpSpPr>
          <a:xfrm>
            <a:off x="520700" y="1691875"/>
            <a:ext cx="9620433" cy="1412904"/>
            <a:chOff x="520700" y="1116013"/>
            <a:chExt cx="9620433" cy="1412904"/>
          </a:xfrm>
        </p:grpSpPr>
        <p:sp>
          <p:nvSpPr>
            <p:cNvPr id="20" name="Pentagon 19"/>
            <p:cNvSpPr/>
            <p:nvPr/>
          </p:nvSpPr>
          <p:spPr>
            <a:xfrm>
              <a:off x="520700" y="1116013"/>
              <a:ext cx="1440830" cy="1412904"/>
            </a:xfrm>
            <a:prstGeom prst="homePlate">
              <a:avLst>
                <a:gd name="adj" fmla="val 29822"/>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0" indent="0" algn="ctr">
                <a:buNone/>
              </a:pPr>
              <a:endParaRPr lang="en-GB" sz="1600" dirty="0"/>
            </a:p>
          </p:txBody>
        </p:sp>
        <p:sp>
          <p:nvSpPr>
            <p:cNvPr id="29" name="Text Placeholder 5"/>
            <p:cNvSpPr txBox="1">
              <a:spLocks/>
            </p:cNvSpPr>
            <p:nvPr/>
          </p:nvSpPr>
          <p:spPr>
            <a:xfrm>
              <a:off x="1728226" y="1116013"/>
              <a:ext cx="8412907" cy="1412904"/>
            </a:xfrm>
            <a:prstGeom prst="chevron">
              <a:avLst>
                <a:gd name="adj" fmla="val 29841"/>
              </a:avLst>
            </a:prstGeom>
            <a:solidFill>
              <a:schemeClr val="bg1"/>
            </a:solidFill>
            <a:ln>
              <a:solidFill>
                <a:schemeClr val="accent1"/>
              </a:solidFill>
            </a:ln>
          </p:spPr>
          <p:txBody>
            <a:bodyPr lIns="180000" tIns="54000" rIns="54000" bIns="54000" anchor="ctr"/>
            <a:lstStyle>
              <a:lvl1pPr marL="0" indent="0" algn="l" defTabSz="1007943" rtl="0" eaLnBrk="1" latinLnBrk="0" hangingPunct="1">
                <a:lnSpc>
                  <a:spcPct val="100000"/>
                </a:lnSpc>
                <a:spcBef>
                  <a:spcPts val="600"/>
                </a:spcBef>
                <a:buClr>
                  <a:schemeClr val="accent1"/>
                </a:buClr>
                <a:buFont typeface="Arial" panose="020B0604020202020204" pitchFamily="34" charset="0"/>
                <a:buNone/>
                <a:defRPr sz="1800" kern="1200" cap="none" baseline="0">
                  <a:solidFill>
                    <a:schemeClr val="tx1"/>
                  </a:solidFill>
                  <a:latin typeface="+mn-lt"/>
                  <a:ea typeface="+mn-ea"/>
                  <a:cs typeface="+mn-cs"/>
                </a:defRPr>
              </a:lvl1pPr>
              <a:lvl2pPr marL="723900" indent="-368300" algn="l" defTabSz="1007943"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n-lt"/>
                  <a:ea typeface="+mn-ea"/>
                  <a:cs typeface="+mn-cs"/>
                </a:defRPr>
              </a:lvl2pPr>
              <a:lvl3pPr marL="1079500" indent="-355600" algn="l" defTabSz="1007943" rtl="0" eaLnBrk="1" latinLnBrk="0" hangingPunct="1">
                <a:lnSpc>
                  <a:spcPct val="100000"/>
                </a:lnSpc>
                <a:spcBef>
                  <a:spcPts val="300"/>
                </a:spcBef>
                <a:buClr>
                  <a:schemeClr val="accent1"/>
                </a:buClr>
                <a:buFont typeface="Arial" panose="020B0604020202020204" pitchFamily="34" charset="0"/>
                <a:buChar char="●"/>
                <a:defRPr sz="1400" kern="1200">
                  <a:solidFill>
                    <a:schemeClr val="tx1"/>
                  </a:solidFill>
                  <a:latin typeface="+mn-lt"/>
                  <a:ea typeface="+mn-ea"/>
                  <a:cs typeface="+mn-cs"/>
                </a:defRPr>
              </a:lvl3pPr>
              <a:lvl4pPr marL="1435100" indent="-355600" algn="l" defTabSz="1007943" rtl="0" eaLnBrk="1" latinLnBrk="0" hangingPunct="1">
                <a:lnSpc>
                  <a:spcPct val="100000"/>
                </a:lnSpc>
                <a:spcBef>
                  <a:spcPts val="30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790700" indent="-387350" algn="l" defTabSz="1007943" rtl="0" eaLnBrk="1" latinLnBrk="0" hangingPunct="1">
                <a:lnSpc>
                  <a:spcPct val="100000"/>
                </a:lnSpc>
                <a:spcBef>
                  <a:spcPts val="300"/>
                </a:spcBef>
                <a:buClr>
                  <a:schemeClr val="accent1"/>
                </a:buClr>
                <a:buFont typeface="Arial" panose="020B0604020202020204" pitchFamily="34" charset="0"/>
                <a:buChar char="●"/>
                <a:defRPr sz="1200" kern="1200">
                  <a:solidFill>
                    <a:schemeClr val="tx1"/>
                  </a:solidFill>
                  <a:latin typeface="+mn-lt"/>
                  <a:ea typeface="+mn-ea"/>
                  <a:cs typeface="+mn-cs"/>
                </a:defRPr>
              </a:lvl5pPr>
              <a:lvl6pPr marL="2771844" indent="-251986" algn="l" defTabSz="1007943"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6pPr>
              <a:lvl7pPr marL="3275815" indent="-251986" algn="l" defTabSz="1007943"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7pPr>
              <a:lvl8pPr marL="3779787" indent="-251986" algn="l" defTabSz="1007943"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8pPr>
              <a:lvl9pPr marL="4283758" indent="-251986" algn="l" defTabSz="1007943"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9pPr>
            </a:lstStyle>
            <a:p>
              <a:r>
                <a:rPr lang="en-US" sz="2000" dirty="0" smtClean="0"/>
                <a:t>Renewables are not marginal anymore with more renewable capacity being installed than fossil </a:t>
              </a:r>
              <a:r>
                <a:rPr lang="en-US" sz="2000" dirty="0" smtClean="0"/>
                <a:t>power </a:t>
              </a:r>
              <a:r>
                <a:rPr lang="en-US" sz="2000" dirty="0" smtClean="0"/>
                <a:t>and a projected 67% of future investments</a:t>
              </a:r>
              <a:endParaRPr lang="en-US" sz="2000" dirty="0"/>
            </a:p>
          </p:txBody>
        </p:sp>
      </p:grpSp>
      <p:sp>
        <p:nvSpPr>
          <p:cNvPr id="3" name="Date Placeholder 2"/>
          <p:cNvSpPr>
            <a:spLocks noGrp="1"/>
          </p:cNvSpPr>
          <p:nvPr>
            <p:ph type="dt" sz="half" idx="19"/>
          </p:nvPr>
        </p:nvSpPr>
        <p:spPr/>
        <p:txBody>
          <a:bodyPr/>
          <a:lstStyle/>
          <a:p>
            <a:fld id="{913C856A-86A2-4EE1-9DDB-A7770CBC82D2}" type="datetime1">
              <a:rPr lang="en-US" smtClean="0"/>
              <a:t>8/4/2014</a:t>
            </a:fld>
            <a:endParaRPr lang="en-GB" dirty="0"/>
          </a:p>
        </p:txBody>
      </p:sp>
    </p:spTree>
    <p:extLst>
      <p:ext uri="{BB962C8B-B14F-4D97-AF65-F5344CB8AC3E}">
        <p14:creationId xmlns:p14="http://schemas.microsoft.com/office/powerpoint/2010/main" val="2530354548"/>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40" name="Group 339"/>
          <p:cNvGrpSpPr/>
          <p:nvPr/>
        </p:nvGrpSpPr>
        <p:grpSpPr>
          <a:xfrm>
            <a:off x="347953" y="1475581"/>
            <a:ext cx="9969908" cy="5400600"/>
            <a:chOff x="4589643" y="7799274"/>
            <a:chExt cx="8472488" cy="4589462"/>
          </a:xfrm>
          <a:gradFill>
            <a:gsLst>
              <a:gs pos="0">
                <a:srgbClr val="B2B2B2"/>
              </a:gs>
              <a:gs pos="100000">
                <a:schemeClr val="bg1">
                  <a:lumMod val="85000"/>
                </a:schemeClr>
              </a:gs>
            </a:gsLst>
            <a:lin ang="13500000" scaled="1"/>
          </a:gradFill>
        </p:grpSpPr>
        <p:grpSp>
          <p:nvGrpSpPr>
            <p:cNvPr id="6" name="Group 205"/>
            <p:cNvGrpSpPr>
              <a:grpSpLocks/>
            </p:cNvGrpSpPr>
            <p:nvPr/>
          </p:nvGrpSpPr>
          <p:grpSpPr bwMode="auto">
            <a:xfrm>
              <a:off x="4589643" y="7880236"/>
              <a:ext cx="8472488" cy="4508500"/>
              <a:chOff x="542" y="-2487"/>
              <a:chExt cx="5337" cy="2840"/>
            </a:xfrm>
            <a:grpFill/>
          </p:grpSpPr>
          <p:sp>
            <p:nvSpPr>
              <p:cNvPr id="140" name="Freeform 5"/>
              <p:cNvSpPr>
                <a:spLocks/>
              </p:cNvSpPr>
              <p:nvPr/>
            </p:nvSpPr>
            <p:spPr bwMode="auto">
              <a:xfrm>
                <a:off x="5762" y="78"/>
                <a:ext cx="8" cy="6"/>
              </a:xfrm>
              <a:custGeom>
                <a:avLst/>
                <a:gdLst>
                  <a:gd name="T0" fmla="*/ 3 w 8"/>
                  <a:gd name="T1" fmla="*/ 2 h 6"/>
                  <a:gd name="T2" fmla="*/ 5 w 8"/>
                  <a:gd name="T3" fmla="*/ 6 h 6"/>
                  <a:gd name="T4" fmla="*/ 8 w 8"/>
                  <a:gd name="T5" fmla="*/ 0 h 6"/>
                  <a:gd name="T6" fmla="*/ 0 w 8"/>
                  <a:gd name="T7" fmla="*/ 2 h 6"/>
                  <a:gd name="T8" fmla="*/ 3 w 8"/>
                  <a:gd name="T9" fmla="*/ 2 h 6"/>
                </a:gdLst>
                <a:ahLst/>
                <a:cxnLst>
                  <a:cxn ang="0">
                    <a:pos x="T0" y="T1"/>
                  </a:cxn>
                  <a:cxn ang="0">
                    <a:pos x="T2" y="T3"/>
                  </a:cxn>
                  <a:cxn ang="0">
                    <a:pos x="T4" y="T5"/>
                  </a:cxn>
                  <a:cxn ang="0">
                    <a:pos x="T6" y="T7"/>
                  </a:cxn>
                  <a:cxn ang="0">
                    <a:pos x="T8" y="T9"/>
                  </a:cxn>
                </a:cxnLst>
                <a:rect l="0" t="0" r="r" b="b"/>
                <a:pathLst>
                  <a:path w="8" h="6">
                    <a:moveTo>
                      <a:pt x="3" y="2"/>
                    </a:moveTo>
                    <a:lnTo>
                      <a:pt x="5" y="6"/>
                    </a:lnTo>
                    <a:lnTo>
                      <a:pt x="8" y="0"/>
                    </a:lnTo>
                    <a:lnTo>
                      <a:pt x="0" y="2"/>
                    </a:lnTo>
                    <a:lnTo>
                      <a:pt x="3" y="2"/>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1" name="Freeform 6"/>
              <p:cNvSpPr>
                <a:spLocks/>
              </p:cNvSpPr>
              <p:nvPr/>
            </p:nvSpPr>
            <p:spPr bwMode="auto">
              <a:xfrm>
                <a:off x="5606" y="-101"/>
                <a:ext cx="86" cy="134"/>
              </a:xfrm>
              <a:custGeom>
                <a:avLst/>
                <a:gdLst>
                  <a:gd name="T0" fmla="*/ 65 w 86"/>
                  <a:gd name="T1" fmla="*/ 65 h 134"/>
                  <a:gd name="T2" fmla="*/ 49 w 86"/>
                  <a:gd name="T3" fmla="*/ 59 h 134"/>
                  <a:gd name="T4" fmla="*/ 45 w 86"/>
                  <a:gd name="T5" fmla="*/ 41 h 134"/>
                  <a:gd name="T6" fmla="*/ 40 w 86"/>
                  <a:gd name="T7" fmla="*/ 39 h 134"/>
                  <a:gd name="T8" fmla="*/ 40 w 86"/>
                  <a:gd name="T9" fmla="*/ 52 h 134"/>
                  <a:gd name="T10" fmla="*/ 38 w 86"/>
                  <a:gd name="T11" fmla="*/ 46 h 134"/>
                  <a:gd name="T12" fmla="*/ 30 w 86"/>
                  <a:gd name="T13" fmla="*/ 46 h 134"/>
                  <a:gd name="T14" fmla="*/ 32 w 86"/>
                  <a:gd name="T15" fmla="*/ 37 h 134"/>
                  <a:gd name="T16" fmla="*/ 24 w 86"/>
                  <a:gd name="T17" fmla="*/ 27 h 134"/>
                  <a:gd name="T18" fmla="*/ 27 w 86"/>
                  <a:gd name="T19" fmla="*/ 27 h 134"/>
                  <a:gd name="T20" fmla="*/ 24 w 86"/>
                  <a:gd name="T21" fmla="*/ 16 h 134"/>
                  <a:gd name="T22" fmla="*/ 10 w 86"/>
                  <a:gd name="T23" fmla="*/ 8 h 134"/>
                  <a:gd name="T24" fmla="*/ 7 w 86"/>
                  <a:gd name="T25" fmla="*/ 9 h 134"/>
                  <a:gd name="T26" fmla="*/ 3 w 86"/>
                  <a:gd name="T27" fmla="*/ 0 h 134"/>
                  <a:gd name="T28" fmla="*/ 0 w 86"/>
                  <a:gd name="T29" fmla="*/ 1 h 134"/>
                  <a:gd name="T30" fmla="*/ 7 w 86"/>
                  <a:gd name="T31" fmla="*/ 16 h 134"/>
                  <a:gd name="T32" fmla="*/ 10 w 86"/>
                  <a:gd name="T33" fmla="*/ 18 h 134"/>
                  <a:gd name="T34" fmla="*/ 12 w 86"/>
                  <a:gd name="T35" fmla="*/ 16 h 134"/>
                  <a:gd name="T36" fmla="*/ 11 w 86"/>
                  <a:gd name="T37" fmla="*/ 20 h 134"/>
                  <a:gd name="T38" fmla="*/ 12 w 86"/>
                  <a:gd name="T39" fmla="*/ 23 h 134"/>
                  <a:gd name="T40" fmla="*/ 21 w 86"/>
                  <a:gd name="T41" fmla="*/ 35 h 134"/>
                  <a:gd name="T42" fmla="*/ 19 w 86"/>
                  <a:gd name="T43" fmla="*/ 32 h 134"/>
                  <a:gd name="T44" fmla="*/ 24 w 86"/>
                  <a:gd name="T45" fmla="*/ 32 h 134"/>
                  <a:gd name="T46" fmla="*/ 24 w 86"/>
                  <a:gd name="T47" fmla="*/ 41 h 134"/>
                  <a:gd name="T48" fmla="*/ 26 w 86"/>
                  <a:gd name="T49" fmla="*/ 47 h 134"/>
                  <a:gd name="T50" fmla="*/ 31 w 86"/>
                  <a:gd name="T51" fmla="*/ 46 h 134"/>
                  <a:gd name="T52" fmla="*/ 29 w 86"/>
                  <a:gd name="T53" fmla="*/ 49 h 134"/>
                  <a:gd name="T54" fmla="*/ 32 w 86"/>
                  <a:gd name="T55" fmla="*/ 54 h 134"/>
                  <a:gd name="T56" fmla="*/ 32 w 86"/>
                  <a:gd name="T57" fmla="*/ 67 h 134"/>
                  <a:gd name="T58" fmla="*/ 30 w 86"/>
                  <a:gd name="T59" fmla="*/ 68 h 134"/>
                  <a:gd name="T60" fmla="*/ 27 w 86"/>
                  <a:gd name="T61" fmla="*/ 81 h 134"/>
                  <a:gd name="T62" fmla="*/ 19 w 86"/>
                  <a:gd name="T63" fmla="*/ 86 h 134"/>
                  <a:gd name="T64" fmla="*/ 16 w 86"/>
                  <a:gd name="T65" fmla="*/ 92 h 134"/>
                  <a:gd name="T66" fmla="*/ 37 w 86"/>
                  <a:gd name="T67" fmla="*/ 106 h 134"/>
                  <a:gd name="T68" fmla="*/ 37 w 86"/>
                  <a:gd name="T69" fmla="*/ 117 h 134"/>
                  <a:gd name="T70" fmla="*/ 30 w 86"/>
                  <a:gd name="T71" fmla="*/ 128 h 134"/>
                  <a:gd name="T72" fmla="*/ 42 w 86"/>
                  <a:gd name="T73" fmla="*/ 134 h 134"/>
                  <a:gd name="T74" fmla="*/ 59 w 86"/>
                  <a:gd name="T75" fmla="*/ 112 h 134"/>
                  <a:gd name="T76" fmla="*/ 64 w 86"/>
                  <a:gd name="T77" fmla="*/ 100 h 134"/>
                  <a:gd name="T78" fmla="*/ 60 w 86"/>
                  <a:gd name="T79" fmla="*/ 93 h 134"/>
                  <a:gd name="T80" fmla="*/ 66 w 86"/>
                  <a:gd name="T81" fmla="*/ 87 h 134"/>
                  <a:gd name="T82" fmla="*/ 78 w 86"/>
                  <a:gd name="T83" fmla="*/ 87 h 134"/>
                  <a:gd name="T84" fmla="*/ 78 w 86"/>
                  <a:gd name="T85" fmla="*/ 79 h 134"/>
                  <a:gd name="T86" fmla="*/ 83 w 86"/>
                  <a:gd name="T87" fmla="*/ 76 h 134"/>
                  <a:gd name="T88" fmla="*/ 86 w 86"/>
                  <a:gd name="T89" fmla="*/ 60 h 134"/>
                  <a:gd name="T90" fmla="*/ 79 w 86"/>
                  <a:gd name="T91" fmla="*/ 56 h 134"/>
                  <a:gd name="T92" fmla="*/ 65 w 86"/>
                  <a:gd name="T93" fmla="*/ 65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6" h="134">
                    <a:moveTo>
                      <a:pt x="65" y="65"/>
                    </a:moveTo>
                    <a:lnTo>
                      <a:pt x="49" y="59"/>
                    </a:lnTo>
                    <a:lnTo>
                      <a:pt x="45" y="41"/>
                    </a:lnTo>
                    <a:lnTo>
                      <a:pt x="40" y="39"/>
                    </a:lnTo>
                    <a:lnTo>
                      <a:pt x="40" y="52"/>
                    </a:lnTo>
                    <a:lnTo>
                      <a:pt x="38" y="46"/>
                    </a:lnTo>
                    <a:lnTo>
                      <a:pt x="30" y="46"/>
                    </a:lnTo>
                    <a:lnTo>
                      <a:pt x="32" y="37"/>
                    </a:lnTo>
                    <a:lnTo>
                      <a:pt x="24" y="27"/>
                    </a:lnTo>
                    <a:lnTo>
                      <a:pt x="27" y="27"/>
                    </a:lnTo>
                    <a:lnTo>
                      <a:pt x="24" y="16"/>
                    </a:lnTo>
                    <a:lnTo>
                      <a:pt x="10" y="8"/>
                    </a:lnTo>
                    <a:lnTo>
                      <a:pt x="7" y="9"/>
                    </a:lnTo>
                    <a:lnTo>
                      <a:pt x="3" y="0"/>
                    </a:lnTo>
                    <a:lnTo>
                      <a:pt x="0" y="1"/>
                    </a:lnTo>
                    <a:lnTo>
                      <a:pt x="7" y="16"/>
                    </a:lnTo>
                    <a:lnTo>
                      <a:pt x="10" y="18"/>
                    </a:lnTo>
                    <a:lnTo>
                      <a:pt x="12" y="16"/>
                    </a:lnTo>
                    <a:lnTo>
                      <a:pt x="11" y="20"/>
                    </a:lnTo>
                    <a:lnTo>
                      <a:pt x="12" y="23"/>
                    </a:lnTo>
                    <a:lnTo>
                      <a:pt x="21" y="35"/>
                    </a:lnTo>
                    <a:lnTo>
                      <a:pt x="19" y="32"/>
                    </a:lnTo>
                    <a:lnTo>
                      <a:pt x="24" y="32"/>
                    </a:lnTo>
                    <a:lnTo>
                      <a:pt x="24" y="41"/>
                    </a:lnTo>
                    <a:lnTo>
                      <a:pt x="26" y="47"/>
                    </a:lnTo>
                    <a:lnTo>
                      <a:pt x="31" y="46"/>
                    </a:lnTo>
                    <a:lnTo>
                      <a:pt x="29" y="49"/>
                    </a:lnTo>
                    <a:lnTo>
                      <a:pt x="32" y="54"/>
                    </a:lnTo>
                    <a:lnTo>
                      <a:pt x="32" y="67"/>
                    </a:lnTo>
                    <a:lnTo>
                      <a:pt x="30" y="68"/>
                    </a:lnTo>
                    <a:lnTo>
                      <a:pt x="27" y="81"/>
                    </a:lnTo>
                    <a:lnTo>
                      <a:pt x="19" y="86"/>
                    </a:lnTo>
                    <a:lnTo>
                      <a:pt x="16" y="92"/>
                    </a:lnTo>
                    <a:lnTo>
                      <a:pt x="37" y="106"/>
                    </a:lnTo>
                    <a:lnTo>
                      <a:pt x="37" y="117"/>
                    </a:lnTo>
                    <a:lnTo>
                      <a:pt x="30" y="128"/>
                    </a:lnTo>
                    <a:lnTo>
                      <a:pt x="42" y="134"/>
                    </a:lnTo>
                    <a:lnTo>
                      <a:pt x="59" y="112"/>
                    </a:lnTo>
                    <a:lnTo>
                      <a:pt x="64" y="100"/>
                    </a:lnTo>
                    <a:lnTo>
                      <a:pt x="60" y="93"/>
                    </a:lnTo>
                    <a:lnTo>
                      <a:pt x="66" y="87"/>
                    </a:lnTo>
                    <a:lnTo>
                      <a:pt x="78" y="87"/>
                    </a:lnTo>
                    <a:lnTo>
                      <a:pt x="78" y="79"/>
                    </a:lnTo>
                    <a:lnTo>
                      <a:pt x="83" y="76"/>
                    </a:lnTo>
                    <a:lnTo>
                      <a:pt x="86" y="60"/>
                    </a:lnTo>
                    <a:lnTo>
                      <a:pt x="79" y="56"/>
                    </a:lnTo>
                    <a:lnTo>
                      <a:pt x="65" y="65"/>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2" name="Freeform 7"/>
              <p:cNvSpPr>
                <a:spLocks/>
              </p:cNvSpPr>
              <p:nvPr/>
            </p:nvSpPr>
            <p:spPr bwMode="auto">
              <a:xfrm>
                <a:off x="5515" y="13"/>
                <a:ext cx="114" cy="127"/>
              </a:xfrm>
              <a:custGeom>
                <a:avLst/>
                <a:gdLst>
                  <a:gd name="T0" fmla="*/ 110 w 114"/>
                  <a:gd name="T1" fmla="*/ 10 h 127"/>
                  <a:gd name="T2" fmla="*/ 109 w 114"/>
                  <a:gd name="T3" fmla="*/ 14 h 127"/>
                  <a:gd name="T4" fmla="*/ 109 w 114"/>
                  <a:gd name="T5" fmla="*/ 9 h 127"/>
                  <a:gd name="T6" fmla="*/ 109 w 114"/>
                  <a:gd name="T7" fmla="*/ 9 h 127"/>
                  <a:gd name="T8" fmla="*/ 98 w 114"/>
                  <a:gd name="T9" fmla="*/ 14 h 127"/>
                  <a:gd name="T10" fmla="*/ 90 w 114"/>
                  <a:gd name="T11" fmla="*/ 0 h 127"/>
                  <a:gd name="T12" fmla="*/ 83 w 114"/>
                  <a:gd name="T13" fmla="*/ 10 h 127"/>
                  <a:gd name="T14" fmla="*/ 79 w 114"/>
                  <a:gd name="T15" fmla="*/ 20 h 127"/>
                  <a:gd name="T16" fmla="*/ 72 w 114"/>
                  <a:gd name="T17" fmla="*/ 25 h 127"/>
                  <a:gd name="T18" fmla="*/ 65 w 114"/>
                  <a:gd name="T19" fmla="*/ 45 h 127"/>
                  <a:gd name="T20" fmla="*/ 38 w 114"/>
                  <a:gd name="T21" fmla="*/ 67 h 127"/>
                  <a:gd name="T22" fmla="*/ 24 w 114"/>
                  <a:gd name="T23" fmla="*/ 71 h 127"/>
                  <a:gd name="T24" fmla="*/ 14 w 114"/>
                  <a:gd name="T25" fmla="*/ 85 h 127"/>
                  <a:gd name="T26" fmla="*/ 14 w 114"/>
                  <a:gd name="T27" fmla="*/ 90 h 127"/>
                  <a:gd name="T28" fmla="*/ 11 w 114"/>
                  <a:gd name="T29" fmla="*/ 88 h 127"/>
                  <a:gd name="T30" fmla="*/ 8 w 114"/>
                  <a:gd name="T31" fmla="*/ 90 h 127"/>
                  <a:gd name="T32" fmla="*/ 7 w 114"/>
                  <a:gd name="T33" fmla="*/ 94 h 127"/>
                  <a:gd name="T34" fmla="*/ 11 w 114"/>
                  <a:gd name="T35" fmla="*/ 96 h 127"/>
                  <a:gd name="T36" fmla="*/ 5 w 114"/>
                  <a:gd name="T37" fmla="*/ 96 h 127"/>
                  <a:gd name="T38" fmla="*/ 4 w 114"/>
                  <a:gd name="T39" fmla="*/ 101 h 127"/>
                  <a:gd name="T40" fmla="*/ 6 w 114"/>
                  <a:gd name="T41" fmla="*/ 102 h 127"/>
                  <a:gd name="T42" fmla="*/ 5 w 114"/>
                  <a:gd name="T43" fmla="*/ 106 h 127"/>
                  <a:gd name="T44" fmla="*/ 0 w 114"/>
                  <a:gd name="T45" fmla="*/ 109 h 127"/>
                  <a:gd name="T46" fmla="*/ 3 w 114"/>
                  <a:gd name="T47" fmla="*/ 109 h 127"/>
                  <a:gd name="T48" fmla="*/ 1 w 114"/>
                  <a:gd name="T49" fmla="*/ 113 h 127"/>
                  <a:gd name="T50" fmla="*/ 5 w 114"/>
                  <a:gd name="T51" fmla="*/ 109 h 127"/>
                  <a:gd name="T52" fmla="*/ 3 w 114"/>
                  <a:gd name="T53" fmla="*/ 115 h 127"/>
                  <a:gd name="T54" fmla="*/ 17 w 114"/>
                  <a:gd name="T55" fmla="*/ 115 h 127"/>
                  <a:gd name="T56" fmla="*/ 19 w 114"/>
                  <a:gd name="T57" fmla="*/ 120 h 127"/>
                  <a:gd name="T58" fmla="*/ 37 w 114"/>
                  <a:gd name="T59" fmla="*/ 127 h 127"/>
                  <a:gd name="T60" fmla="*/ 46 w 114"/>
                  <a:gd name="T61" fmla="*/ 123 h 127"/>
                  <a:gd name="T62" fmla="*/ 62 w 114"/>
                  <a:gd name="T63" fmla="*/ 111 h 127"/>
                  <a:gd name="T64" fmla="*/ 73 w 114"/>
                  <a:gd name="T65" fmla="*/ 70 h 127"/>
                  <a:gd name="T66" fmla="*/ 77 w 114"/>
                  <a:gd name="T67" fmla="*/ 71 h 127"/>
                  <a:gd name="T68" fmla="*/ 88 w 114"/>
                  <a:gd name="T69" fmla="*/ 64 h 127"/>
                  <a:gd name="T70" fmla="*/ 97 w 114"/>
                  <a:gd name="T71" fmla="*/ 68 h 127"/>
                  <a:gd name="T72" fmla="*/ 91 w 114"/>
                  <a:gd name="T73" fmla="*/ 63 h 127"/>
                  <a:gd name="T74" fmla="*/ 94 w 114"/>
                  <a:gd name="T75" fmla="*/ 52 h 127"/>
                  <a:gd name="T76" fmla="*/ 101 w 114"/>
                  <a:gd name="T77" fmla="*/ 46 h 127"/>
                  <a:gd name="T78" fmla="*/ 114 w 114"/>
                  <a:gd name="T79" fmla="*/ 25 h 127"/>
                  <a:gd name="T80" fmla="*/ 112 w 114"/>
                  <a:gd name="T81" fmla="*/ 14 h 127"/>
                  <a:gd name="T82" fmla="*/ 114 w 114"/>
                  <a:gd name="T83" fmla="*/ 11 h 127"/>
                  <a:gd name="T84" fmla="*/ 110 w 114"/>
                  <a:gd name="T85" fmla="*/ 1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14" h="127">
                    <a:moveTo>
                      <a:pt x="110" y="10"/>
                    </a:moveTo>
                    <a:lnTo>
                      <a:pt x="109" y="14"/>
                    </a:lnTo>
                    <a:lnTo>
                      <a:pt x="109" y="9"/>
                    </a:lnTo>
                    <a:lnTo>
                      <a:pt x="109" y="9"/>
                    </a:lnTo>
                    <a:lnTo>
                      <a:pt x="98" y="14"/>
                    </a:lnTo>
                    <a:lnTo>
                      <a:pt x="90" y="0"/>
                    </a:lnTo>
                    <a:lnTo>
                      <a:pt x="83" y="10"/>
                    </a:lnTo>
                    <a:lnTo>
                      <a:pt x="79" y="20"/>
                    </a:lnTo>
                    <a:lnTo>
                      <a:pt x="72" y="25"/>
                    </a:lnTo>
                    <a:lnTo>
                      <a:pt x="65" y="45"/>
                    </a:lnTo>
                    <a:lnTo>
                      <a:pt x="38" y="67"/>
                    </a:lnTo>
                    <a:lnTo>
                      <a:pt x="24" y="71"/>
                    </a:lnTo>
                    <a:lnTo>
                      <a:pt x="14" y="85"/>
                    </a:lnTo>
                    <a:lnTo>
                      <a:pt x="14" y="90"/>
                    </a:lnTo>
                    <a:lnTo>
                      <a:pt x="11" y="88"/>
                    </a:lnTo>
                    <a:lnTo>
                      <a:pt x="8" y="90"/>
                    </a:lnTo>
                    <a:lnTo>
                      <a:pt x="7" y="94"/>
                    </a:lnTo>
                    <a:lnTo>
                      <a:pt x="11" y="96"/>
                    </a:lnTo>
                    <a:lnTo>
                      <a:pt x="5" y="96"/>
                    </a:lnTo>
                    <a:lnTo>
                      <a:pt x="4" y="101"/>
                    </a:lnTo>
                    <a:lnTo>
                      <a:pt x="6" y="102"/>
                    </a:lnTo>
                    <a:lnTo>
                      <a:pt x="5" y="106"/>
                    </a:lnTo>
                    <a:lnTo>
                      <a:pt x="0" y="109"/>
                    </a:lnTo>
                    <a:lnTo>
                      <a:pt x="3" y="109"/>
                    </a:lnTo>
                    <a:lnTo>
                      <a:pt x="1" y="113"/>
                    </a:lnTo>
                    <a:lnTo>
                      <a:pt x="5" y="109"/>
                    </a:lnTo>
                    <a:lnTo>
                      <a:pt x="3" y="115"/>
                    </a:lnTo>
                    <a:lnTo>
                      <a:pt x="17" y="115"/>
                    </a:lnTo>
                    <a:lnTo>
                      <a:pt x="19" y="120"/>
                    </a:lnTo>
                    <a:lnTo>
                      <a:pt x="37" y="127"/>
                    </a:lnTo>
                    <a:lnTo>
                      <a:pt x="46" y="123"/>
                    </a:lnTo>
                    <a:lnTo>
                      <a:pt x="62" y="111"/>
                    </a:lnTo>
                    <a:lnTo>
                      <a:pt x="73" y="70"/>
                    </a:lnTo>
                    <a:lnTo>
                      <a:pt x="77" y="71"/>
                    </a:lnTo>
                    <a:lnTo>
                      <a:pt x="88" y="64"/>
                    </a:lnTo>
                    <a:lnTo>
                      <a:pt x="97" y="68"/>
                    </a:lnTo>
                    <a:lnTo>
                      <a:pt x="91" y="63"/>
                    </a:lnTo>
                    <a:lnTo>
                      <a:pt x="94" y="52"/>
                    </a:lnTo>
                    <a:lnTo>
                      <a:pt x="101" y="46"/>
                    </a:lnTo>
                    <a:lnTo>
                      <a:pt x="114" y="25"/>
                    </a:lnTo>
                    <a:lnTo>
                      <a:pt x="112" y="14"/>
                    </a:lnTo>
                    <a:lnTo>
                      <a:pt x="114" y="11"/>
                    </a:lnTo>
                    <a:lnTo>
                      <a:pt x="110" y="1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3" name="Freeform 8"/>
              <p:cNvSpPr>
                <a:spLocks/>
              </p:cNvSpPr>
              <p:nvPr/>
            </p:nvSpPr>
            <p:spPr bwMode="auto">
              <a:xfrm>
                <a:off x="5529" y="140"/>
                <a:ext cx="9" cy="12"/>
              </a:xfrm>
              <a:custGeom>
                <a:avLst/>
                <a:gdLst>
                  <a:gd name="T0" fmla="*/ 4 w 9"/>
                  <a:gd name="T1" fmla="*/ 0 h 12"/>
                  <a:gd name="T2" fmla="*/ 0 w 9"/>
                  <a:gd name="T3" fmla="*/ 12 h 12"/>
                  <a:gd name="T4" fmla="*/ 9 w 9"/>
                  <a:gd name="T5" fmla="*/ 8 h 12"/>
                  <a:gd name="T6" fmla="*/ 6 w 9"/>
                  <a:gd name="T7" fmla="*/ 0 h 12"/>
                  <a:gd name="T8" fmla="*/ 4 w 9"/>
                  <a:gd name="T9" fmla="*/ 0 h 12"/>
                </a:gdLst>
                <a:ahLst/>
                <a:cxnLst>
                  <a:cxn ang="0">
                    <a:pos x="T0" y="T1"/>
                  </a:cxn>
                  <a:cxn ang="0">
                    <a:pos x="T2" y="T3"/>
                  </a:cxn>
                  <a:cxn ang="0">
                    <a:pos x="T4" y="T5"/>
                  </a:cxn>
                  <a:cxn ang="0">
                    <a:pos x="T6" y="T7"/>
                  </a:cxn>
                  <a:cxn ang="0">
                    <a:pos x="T8" y="T9"/>
                  </a:cxn>
                </a:cxnLst>
                <a:rect l="0" t="0" r="r" b="b"/>
                <a:pathLst>
                  <a:path w="9" h="12">
                    <a:moveTo>
                      <a:pt x="4" y="0"/>
                    </a:moveTo>
                    <a:lnTo>
                      <a:pt x="0" y="12"/>
                    </a:lnTo>
                    <a:lnTo>
                      <a:pt x="9" y="8"/>
                    </a:lnTo>
                    <a:lnTo>
                      <a:pt x="6" y="0"/>
                    </a:lnTo>
                    <a:lnTo>
                      <a:pt x="4"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4" name="Freeform 9"/>
              <p:cNvSpPr>
                <a:spLocks/>
              </p:cNvSpPr>
              <p:nvPr/>
            </p:nvSpPr>
            <p:spPr bwMode="auto">
              <a:xfrm>
                <a:off x="4223" y="-791"/>
                <a:ext cx="33" cy="58"/>
              </a:xfrm>
              <a:custGeom>
                <a:avLst/>
                <a:gdLst>
                  <a:gd name="T0" fmla="*/ 11 w 33"/>
                  <a:gd name="T1" fmla="*/ 2 h 58"/>
                  <a:gd name="T2" fmla="*/ 7 w 33"/>
                  <a:gd name="T3" fmla="*/ 0 h 58"/>
                  <a:gd name="T4" fmla="*/ 5 w 33"/>
                  <a:gd name="T5" fmla="*/ 2 h 58"/>
                  <a:gd name="T6" fmla="*/ 10 w 33"/>
                  <a:gd name="T7" fmla="*/ 6 h 58"/>
                  <a:gd name="T8" fmla="*/ 7 w 33"/>
                  <a:gd name="T9" fmla="*/ 7 h 58"/>
                  <a:gd name="T10" fmla="*/ 3 w 33"/>
                  <a:gd name="T11" fmla="*/ 26 h 58"/>
                  <a:gd name="T12" fmla="*/ 0 w 33"/>
                  <a:gd name="T13" fmla="*/ 26 h 58"/>
                  <a:gd name="T14" fmla="*/ 3 w 33"/>
                  <a:gd name="T15" fmla="*/ 46 h 58"/>
                  <a:gd name="T16" fmla="*/ 9 w 33"/>
                  <a:gd name="T17" fmla="*/ 57 h 58"/>
                  <a:gd name="T18" fmla="*/ 17 w 33"/>
                  <a:gd name="T19" fmla="*/ 58 h 58"/>
                  <a:gd name="T20" fmla="*/ 32 w 33"/>
                  <a:gd name="T21" fmla="*/ 47 h 58"/>
                  <a:gd name="T22" fmla="*/ 33 w 33"/>
                  <a:gd name="T23" fmla="*/ 34 h 58"/>
                  <a:gd name="T24" fmla="*/ 19 w 33"/>
                  <a:gd name="T25" fmla="*/ 11 h 58"/>
                  <a:gd name="T26" fmla="*/ 11 w 33"/>
                  <a:gd name="T27" fmla="*/ 2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 h="58">
                    <a:moveTo>
                      <a:pt x="11" y="2"/>
                    </a:moveTo>
                    <a:lnTo>
                      <a:pt x="7" y="0"/>
                    </a:lnTo>
                    <a:lnTo>
                      <a:pt x="5" y="2"/>
                    </a:lnTo>
                    <a:lnTo>
                      <a:pt x="10" y="6"/>
                    </a:lnTo>
                    <a:lnTo>
                      <a:pt x="7" y="7"/>
                    </a:lnTo>
                    <a:lnTo>
                      <a:pt x="3" y="26"/>
                    </a:lnTo>
                    <a:lnTo>
                      <a:pt x="0" y="26"/>
                    </a:lnTo>
                    <a:lnTo>
                      <a:pt x="3" y="46"/>
                    </a:lnTo>
                    <a:lnTo>
                      <a:pt x="9" y="57"/>
                    </a:lnTo>
                    <a:lnTo>
                      <a:pt x="17" y="58"/>
                    </a:lnTo>
                    <a:lnTo>
                      <a:pt x="32" y="47"/>
                    </a:lnTo>
                    <a:lnTo>
                      <a:pt x="33" y="34"/>
                    </a:lnTo>
                    <a:lnTo>
                      <a:pt x="19" y="11"/>
                    </a:lnTo>
                    <a:lnTo>
                      <a:pt x="11" y="2"/>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5" name="Freeform 10"/>
              <p:cNvSpPr>
                <a:spLocks/>
              </p:cNvSpPr>
              <p:nvPr/>
            </p:nvSpPr>
            <p:spPr bwMode="auto">
              <a:xfrm>
                <a:off x="2041" y="-923"/>
                <a:ext cx="22" cy="8"/>
              </a:xfrm>
              <a:custGeom>
                <a:avLst/>
                <a:gdLst>
                  <a:gd name="T0" fmla="*/ 0 w 22"/>
                  <a:gd name="T1" fmla="*/ 3 h 8"/>
                  <a:gd name="T2" fmla="*/ 3 w 22"/>
                  <a:gd name="T3" fmla="*/ 8 h 8"/>
                  <a:gd name="T4" fmla="*/ 14 w 22"/>
                  <a:gd name="T5" fmla="*/ 8 h 8"/>
                  <a:gd name="T6" fmla="*/ 22 w 22"/>
                  <a:gd name="T7" fmla="*/ 4 h 8"/>
                  <a:gd name="T8" fmla="*/ 21 w 22"/>
                  <a:gd name="T9" fmla="*/ 1 h 8"/>
                  <a:gd name="T10" fmla="*/ 2 w 22"/>
                  <a:gd name="T11" fmla="*/ 0 h 8"/>
                  <a:gd name="T12" fmla="*/ 0 w 22"/>
                  <a:gd name="T13" fmla="*/ 3 h 8"/>
                </a:gdLst>
                <a:ahLst/>
                <a:cxnLst>
                  <a:cxn ang="0">
                    <a:pos x="T0" y="T1"/>
                  </a:cxn>
                  <a:cxn ang="0">
                    <a:pos x="T2" y="T3"/>
                  </a:cxn>
                  <a:cxn ang="0">
                    <a:pos x="T4" y="T5"/>
                  </a:cxn>
                  <a:cxn ang="0">
                    <a:pos x="T6" y="T7"/>
                  </a:cxn>
                  <a:cxn ang="0">
                    <a:pos x="T8" y="T9"/>
                  </a:cxn>
                  <a:cxn ang="0">
                    <a:pos x="T10" y="T11"/>
                  </a:cxn>
                  <a:cxn ang="0">
                    <a:pos x="T12" y="T13"/>
                  </a:cxn>
                </a:cxnLst>
                <a:rect l="0" t="0" r="r" b="b"/>
                <a:pathLst>
                  <a:path w="22" h="8">
                    <a:moveTo>
                      <a:pt x="0" y="3"/>
                    </a:moveTo>
                    <a:lnTo>
                      <a:pt x="3" y="8"/>
                    </a:lnTo>
                    <a:lnTo>
                      <a:pt x="14" y="8"/>
                    </a:lnTo>
                    <a:lnTo>
                      <a:pt x="22" y="4"/>
                    </a:lnTo>
                    <a:lnTo>
                      <a:pt x="21" y="1"/>
                    </a:lnTo>
                    <a:lnTo>
                      <a:pt x="2" y="0"/>
                    </a:lnTo>
                    <a:lnTo>
                      <a:pt x="0" y="3"/>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6" name="Freeform 11"/>
              <p:cNvSpPr>
                <a:spLocks/>
              </p:cNvSpPr>
              <p:nvPr/>
            </p:nvSpPr>
            <p:spPr bwMode="auto">
              <a:xfrm>
                <a:off x="588" y="-1859"/>
                <a:ext cx="9" cy="11"/>
              </a:xfrm>
              <a:custGeom>
                <a:avLst/>
                <a:gdLst>
                  <a:gd name="T0" fmla="*/ 9 w 9"/>
                  <a:gd name="T1" fmla="*/ 1 h 11"/>
                  <a:gd name="T2" fmla="*/ 6 w 9"/>
                  <a:gd name="T3" fmla="*/ 0 h 11"/>
                  <a:gd name="T4" fmla="*/ 0 w 9"/>
                  <a:gd name="T5" fmla="*/ 6 h 11"/>
                  <a:gd name="T6" fmla="*/ 1 w 9"/>
                  <a:gd name="T7" fmla="*/ 11 h 11"/>
                  <a:gd name="T8" fmla="*/ 9 w 9"/>
                  <a:gd name="T9" fmla="*/ 9 h 11"/>
                  <a:gd name="T10" fmla="*/ 9 w 9"/>
                  <a:gd name="T11" fmla="*/ 1 h 11"/>
                </a:gdLst>
                <a:ahLst/>
                <a:cxnLst>
                  <a:cxn ang="0">
                    <a:pos x="T0" y="T1"/>
                  </a:cxn>
                  <a:cxn ang="0">
                    <a:pos x="T2" y="T3"/>
                  </a:cxn>
                  <a:cxn ang="0">
                    <a:pos x="T4" y="T5"/>
                  </a:cxn>
                  <a:cxn ang="0">
                    <a:pos x="T6" y="T7"/>
                  </a:cxn>
                  <a:cxn ang="0">
                    <a:pos x="T8" y="T9"/>
                  </a:cxn>
                  <a:cxn ang="0">
                    <a:pos x="T10" y="T11"/>
                  </a:cxn>
                </a:cxnLst>
                <a:rect l="0" t="0" r="r" b="b"/>
                <a:pathLst>
                  <a:path w="9" h="11">
                    <a:moveTo>
                      <a:pt x="9" y="1"/>
                    </a:moveTo>
                    <a:lnTo>
                      <a:pt x="6" y="0"/>
                    </a:lnTo>
                    <a:lnTo>
                      <a:pt x="0" y="6"/>
                    </a:lnTo>
                    <a:lnTo>
                      <a:pt x="1" y="11"/>
                    </a:lnTo>
                    <a:lnTo>
                      <a:pt x="9" y="9"/>
                    </a:lnTo>
                    <a:lnTo>
                      <a:pt x="9" y="1"/>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7" name="Freeform 12"/>
              <p:cNvSpPr>
                <a:spLocks/>
              </p:cNvSpPr>
              <p:nvPr/>
            </p:nvSpPr>
            <p:spPr bwMode="auto">
              <a:xfrm>
                <a:off x="1942" y="-1314"/>
                <a:ext cx="26" cy="12"/>
              </a:xfrm>
              <a:custGeom>
                <a:avLst/>
                <a:gdLst>
                  <a:gd name="T0" fmla="*/ 26 w 26"/>
                  <a:gd name="T1" fmla="*/ 0 h 12"/>
                  <a:gd name="T2" fmla="*/ 5 w 26"/>
                  <a:gd name="T3" fmla="*/ 6 h 12"/>
                  <a:gd name="T4" fmla="*/ 0 w 26"/>
                  <a:gd name="T5" fmla="*/ 12 h 12"/>
                  <a:gd name="T6" fmla="*/ 23 w 26"/>
                  <a:gd name="T7" fmla="*/ 5 h 12"/>
                  <a:gd name="T8" fmla="*/ 26 w 26"/>
                  <a:gd name="T9" fmla="*/ 0 h 12"/>
                </a:gdLst>
                <a:ahLst/>
                <a:cxnLst>
                  <a:cxn ang="0">
                    <a:pos x="T0" y="T1"/>
                  </a:cxn>
                  <a:cxn ang="0">
                    <a:pos x="T2" y="T3"/>
                  </a:cxn>
                  <a:cxn ang="0">
                    <a:pos x="T4" y="T5"/>
                  </a:cxn>
                  <a:cxn ang="0">
                    <a:pos x="T6" y="T7"/>
                  </a:cxn>
                  <a:cxn ang="0">
                    <a:pos x="T8" y="T9"/>
                  </a:cxn>
                </a:cxnLst>
                <a:rect l="0" t="0" r="r" b="b"/>
                <a:pathLst>
                  <a:path w="26" h="12">
                    <a:moveTo>
                      <a:pt x="26" y="0"/>
                    </a:moveTo>
                    <a:lnTo>
                      <a:pt x="5" y="6"/>
                    </a:lnTo>
                    <a:lnTo>
                      <a:pt x="0" y="12"/>
                    </a:lnTo>
                    <a:lnTo>
                      <a:pt x="23" y="5"/>
                    </a:lnTo>
                    <a:lnTo>
                      <a:pt x="26"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8" name="Freeform 13"/>
              <p:cNvSpPr>
                <a:spLocks/>
              </p:cNvSpPr>
              <p:nvPr/>
            </p:nvSpPr>
            <p:spPr bwMode="auto">
              <a:xfrm>
                <a:off x="763" y="-1717"/>
                <a:ext cx="16" cy="10"/>
              </a:xfrm>
              <a:custGeom>
                <a:avLst/>
                <a:gdLst>
                  <a:gd name="T0" fmla="*/ 12 w 16"/>
                  <a:gd name="T1" fmla="*/ 2 h 10"/>
                  <a:gd name="T2" fmla="*/ 13 w 16"/>
                  <a:gd name="T3" fmla="*/ 0 h 10"/>
                  <a:gd name="T4" fmla="*/ 7 w 16"/>
                  <a:gd name="T5" fmla="*/ 0 h 10"/>
                  <a:gd name="T6" fmla="*/ 5 w 16"/>
                  <a:gd name="T7" fmla="*/ 2 h 10"/>
                  <a:gd name="T8" fmla="*/ 7 w 16"/>
                  <a:gd name="T9" fmla="*/ 5 h 10"/>
                  <a:gd name="T10" fmla="*/ 0 w 16"/>
                  <a:gd name="T11" fmla="*/ 6 h 10"/>
                  <a:gd name="T12" fmla="*/ 5 w 16"/>
                  <a:gd name="T13" fmla="*/ 10 h 10"/>
                  <a:gd name="T14" fmla="*/ 16 w 16"/>
                  <a:gd name="T15" fmla="*/ 6 h 10"/>
                  <a:gd name="T16" fmla="*/ 15 w 16"/>
                  <a:gd name="T17" fmla="*/ 1 h 10"/>
                  <a:gd name="T18" fmla="*/ 12 w 16"/>
                  <a:gd name="T19"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0">
                    <a:moveTo>
                      <a:pt x="12" y="2"/>
                    </a:moveTo>
                    <a:lnTo>
                      <a:pt x="13" y="0"/>
                    </a:lnTo>
                    <a:lnTo>
                      <a:pt x="7" y="0"/>
                    </a:lnTo>
                    <a:lnTo>
                      <a:pt x="5" y="2"/>
                    </a:lnTo>
                    <a:lnTo>
                      <a:pt x="7" y="5"/>
                    </a:lnTo>
                    <a:lnTo>
                      <a:pt x="0" y="6"/>
                    </a:lnTo>
                    <a:lnTo>
                      <a:pt x="5" y="10"/>
                    </a:lnTo>
                    <a:lnTo>
                      <a:pt x="16" y="6"/>
                    </a:lnTo>
                    <a:lnTo>
                      <a:pt x="15" y="1"/>
                    </a:lnTo>
                    <a:lnTo>
                      <a:pt x="12" y="2"/>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9" name="Freeform 14"/>
              <p:cNvSpPr>
                <a:spLocks/>
              </p:cNvSpPr>
              <p:nvPr/>
            </p:nvSpPr>
            <p:spPr bwMode="auto">
              <a:xfrm>
                <a:off x="739" y="-1704"/>
                <a:ext cx="39" cy="33"/>
              </a:xfrm>
              <a:custGeom>
                <a:avLst/>
                <a:gdLst>
                  <a:gd name="T0" fmla="*/ 33 w 39"/>
                  <a:gd name="T1" fmla="*/ 2 h 33"/>
                  <a:gd name="T2" fmla="*/ 29 w 39"/>
                  <a:gd name="T3" fmla="*/ 5 h 33"/>
                  <a:gd name="T4" fmla="*/ 24 w 39"/>
                  <a:gd name="T5" fmla="*/ 0 h 33"/>
                  <a:gd name="T6" fmla="*/ 24 w 39"/>
                  <a:gd name="T7" fmla="*/ 3 h 33"/>
                  <a:gd name="T8" fmla="*/ 18 w 39"/>
                  <a:gd name="T9" fmla="*/ 8 h 33"/>
                  <a:gd name="T10" fmla="*/ 14 w 39"/>
                  <a:gd name="T11" fmla="*/ 2 h 33"/>
                  <a:gd name="T12" fmla="*/ 16 w 39"/>
                  <a:gd name="T13" fmla="*/ 9 h 33"/>
                  <a:gd name="T14" fmla="*/ 16 w 39"/>
                  <a:gd name="T15" fmla="*/ 15 h 33"/>
                  <a:gd name="T16" fmla="*/ 10 w 39"/>
                  <a:gd name="T17" fmla="*/ 8 h 33"/>
                  <a:gd name="T18" fmla="*/ 0 w 39"/>
                  <a:gd name="T19" fmla="*/ 16 h 33"/>
                  <a:gd name="T20" fmla="*/ 7 w 39"/>
                  <a:gd name="T21" fmla="*/ 29 h 33"/>
                  <a:gd name="T22" fmla="*/ 10 w 39"/>
                  <a:gd name="T23" fmla="*/ 22 h 33"/>
                  <a:gd name="T24" fmla="*/ 6 w 39"/>
                  <a:gd name="T25" fmla="*/ 22 h 33"/>
                  <a:gd name="T26" fmla="*/ 11 w 39"/>
                  <a:gd name="T27" fmla="*/ 22 h 33"/>
                  <a:gd name="T28" fmla="*/ 14 w 39"/>
                  <a:gd name="T29" fmla="*/ 27 h 33"/>
                  <a:gd name="T30" fmla="*/ 13 w 39"/>
                  <a:gd name="T31" fmla="*/ 33 h 33"/>
                  <a:gd name="T32" fmla="*/ 24 w 39"/>
                  <a:gd name="T33" fmla="*/ 18 h 33"/>
                  <a:gd name="T34" fmla="*/ 32 w 39"/>
                  <a:gd name="T35" fmla="*/ 19 h 33"/>
                  <a:gd name="T36" fmla="*/ 27 w 39"/>
                  <a:gd name="T37" fmla="*/ 12 h 33"/>
                  <a:gd name="T38" fmla="*/ 37 w 39"/>
                  <a:gd name="T39" fmla="*/ 14 h 33"/>
                  <a:gd name="T40" fmla="*/ 39 w 39"/>
                  <a:gd name="T41" fmla="*/ 11 h 33"/>
                  <a:gd name="T42" fmla="*/ 33 w 39"/>
                  <a:gd name="T43" fmla="*/ 11 h 33"/>
                  <a:gd name="T44" fmla="*/ 33 w 39"/>
                  <a:gd name="T45" fmla="*/ 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9" h="33">
                    <a:moveTo>
                      <a:pt x="33" y="2"/>
                    </a:moveTo>
                    <a:lnTo>
                      <a:pt x="29" y="5"/>
                    </a:lnTo>
                    <a:lnTo>
                      <a:pt x="24" y="0"/>
                    </a:lnTo>
                    <a:lnTo>
                      <a:pt x="24" y="3"/>
                    </a:lnTo>
                    <a:lnTo>
                      <a:pt x="18" y="8"/>
                    </a:lnTo>
                    <a:lnTo>
                      <a:pt x="14" y="2"/>
                    </a:lnTo>
                    <a:lnTo>
                      <a:pt x="16" y="9"/>
                    </a:lnTo>
                    <a:lnTo>
                      <a:pt x="16" y="15"/>
                    </a:lnTo>
                    <a:lnTo>
                      <a:pt x="10" y="8"/>
                    </a:lnTo>
                    <a:lnTo>
                      <a:pt x="0" y="16"/>
                    </a:lnTo>
                    <a:lnTo>
                      <a:pt x="7" y="29"/>
                    </a:lnTo>
                    <a:lnTo>
                      <a:pt x="10" y="22"/>
                    </a:lnTo>
                    <a:lnTo>
                      <a:pt x="6" y="22"/>
                    </a:lnTo>
                    <a:lnTo>
                      <a:pt x="11" y="22"/>
                    </a:lnTo>
                    <a:lnTo>
                      <a:pt x="14" y="27"/>
                    </a:lnTo>
                    <a:lnTo>
                      <a:pt x="13" y="33"/>
                    </a:lnTo>
                    <a:lnTo>
                      <a:pt x="24" y="18"/>
                    </a:lnTo>
                    <a:lnTo>
                      <a:pt x="32" y="19"/>
                    </a:lnTo>
                    <a:lnTo>
                      <a:pt x="27" y="12"/>
                    </a:lnTo>
                    <a:lnTo>
                      <a:pt x="37" y="14"/>
                    </a:lnTo>
                    <a:lnTo>
                      <a:pt x="39" y="11"/>
                    </a:lnTo>
                    <a:lnTo>
                      <a:pt x="33" y="11"/>
                    </a:lnTo>
                    <a:lnTo>
                      <a:pt x="33" y="2"/>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0" name="Freeform 15"/>
              <p:cNvSpPr>
                <a:spLocks/>
              </p:cNvSpPr>
              <p:nvPr/>
            </p:nvSpPr>
            <p:spPr bwMode="auto">
              <a:xfrm>
                <a:off x="740" y="-1664"/>
                <a:ext cx="3" cy="2"/>
              </a:xfrm>
              <a:custGeom>
                <a:avLst/>
                <a:gdLst>
                  <a:gd name="T0" fmla="*/ 0 w 3"/>
                  <a:gd name="T1" fmla="*/ 2 h 2"/>
                  <a:gd name="T2" fmla="*/ 3 w 3"/>
                  <a:gd name="T3" fmla="*/ 0 h 2"/>
                  <a:gd name="T4" fmla="*/ 0 w 3"/>
                  <a:gd name="T5" fmla="*/ 0 h 2"/>
                  <a:gd name="T6" fmla="*/ 0 w 3"/>
                  <a:gd name="T7" fmla="*/ 2 h 2"/>
                </a:gdLst>
                <a:ahLst/>
                <a:cxnLst>
                  <a:cxn ang="0">
                    <a:pos x="T0" y="T1"/>
                  </a:cxn>
                  <a:cxn ang="0">
                    <a:pos x="T2" y="T3"/>
                  </a:cxn>
                  <a:cxn ang="0">
                    <a:pos x="T4" y="T5"/>
                  </a:cxn>
                  <a:cxn ang="0">
                    <a:pos x="T6" y="T7"/>
                  </a:cxn>
                </a:cxnLst>
                <a:rect l="0" t="0" r="r" b="b"/>
                <a:pathLst>
                  <a:path w="3" h="2">
                    <a:moveTo>
                      <a:pt x="0" y="2"/>
                    </a:moveTo>
                    <a:lnTo>
                      <a:pt x="3" y="0"/>
                    </a:lnTo>
                    <a:lnTo>
                      <a:pt x="0" y="0"/>
                    </a:lnTo>
                    <a:lnTo>
                      <a:pt x="0" y="2"/>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1" name="Freeform 16"/>
              <p:cNvSpPr>
                <a:spLocks/>
              </p:cNvSpPr>
              <p:nvPr/>
            </p:nvSpPr>
            <p:spPr bwMode="auto">
              <a:xfrm>
                <a:off x="684" y="-1658"/>
                <a:ext cx="2" cy="8"/>
              </a:xfrm>
              <a:custGeom>
                <a:avLst/>
                <a:gdLst>
                  <a:gd name="T0" fmla="*/ 1 w 2"/>
                  <a:gd name="T1" fmla="*/ 8 h 8"/>
                  <a:gd name="T2" fmla="*/ 2 w 2"/>
                  <a:gd name="T3" fmla="*/ 2 h 8"/>
                  <a:gd name="T4" fmla="*/ 0 w 2"/>
                  <a:gd name="T5" fmla="*/ 0 h 8"/>
                  <a:gd name="T6" fmla="*/ 1 w 2"/>
                  <a:gd name="T7" fmla="*/ 8 h 8"/>
                </a:gdLst>
                <a:ahLst/>
                <a:cxnLst>
                  <a:cxn ang="0">
                    <a:pos x="T0" y="T1"/>
                  </a:cxn>
                  <a:cxn ang="0">
                    <a:pos x="T2" y="T3"/>
                  </a:cxn>
                  <a:cxn ang="0">
                    <a:pos x="T4" y="T5"/>
                  </a:cxn>
                  <a:cxn ang="0">
                    <a:pos x="T6" y="T7"/>
                  </a:cxn>
                </a:cxnLst>
                <a:rect l="0" t="0" r="r" b="b"/>
                <a:pathLst>
                  <a:path w="2" h="8">
                    <a:moveTo>
                      <a:pt x="1" y="8"/>
                    </a:moveTo>
                    <a:lnTo>
                      <a:pt x="2" y="2"/>
                    </a:lnTo>
                    <a:lnTo>
                      <a:pt x="0" y="0"/>
                    </a:lnTo>
                    <a:lnTo>
                      <a:pt x="1" y="8"/>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2" name="Freeform 17"/>
              <p:cNvSpPr>
                <a:spLocks/>
              </p:cNvSpPr>
              <p:nvPr/>
            </p:nvSpPr>
            <p:spPr bwMode="auto">
              <a:xfrm>
                <a:off x="649" y="-1634"/>
                <a:ext cx="4" cy="6"/>
              </a:xfrm>
              <a:custGeom>
                <a:avLst/>
                <a:gdLst>
                  <a:gd name="T0" fmla="*/ 0 w 4"/>
                  <a:gd name="T1" fmla="*/ 0 h 6"/>
                  <a:gd name="T2" fmla="*/ 0 w 4"/>
                  <a:gd name="T3" fmla="*/ 4 h 6"/>
                  <a:gd name="T4" fmla="*/ 4 w 4"/>
                  <a:gd name="T5" fmla="*/ 6 h 6"/>
                  <a:gd name="T6" fmla="*/ 2 w 4"/>
                  <a:gd name="T7" fmla="*/ 1 h 6"/>
                  <a:gd name="T8" fmla="*/ 0 w 4"/>
                  <a:gd name="T9" fmla="*/ 0 h 6"/>
                </a:gdLst>
                <a:ahLst/>
                <a:cxnLst>
                  <a:cxn ang="0">
                    <a:pos x="T0" y="T1"/>
                  </a:cxn>
                  <a:cxn ang="0">
                    <a:pos x="T2" y="T3"/>
                  </a:cxn>
                  <a:cxn ang="0">
                    <a:pos x="T4" y="T5"/>
                  </a:cxn>
                  <a:cxn ang="0">
                    <a:pos x="T6" y="T7"/>
                  </a:cxn>
                  <a:cxn ang="0">
                    <a:pos x="T8" y="T9"/>
                  </a:cxn>
                </a:cxnLst>
                <a:rect l="0" t="0" r="r" b="b"/>
                <a:pathLst>
                  <a:path w="4" h="6">
                    <a:moveTo>
                      <a:pt x="0" y="0"/>
                    </a:moveTo>
                    <a:lnTo>
                      <a:pt x="0" y="4"/>
                    </a:lnTo>
                    <a:lnTo>
                      <a:pt x="4" y="6"/>
                    </a:lnTo>
                    <a:lnTo>
                      <a:pt x="2" y="1"/>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3" name="Freeform 18"/>
              <p:cNvSpPr>
                <a:spLocks/>
              </p:cNvSpPr>
              <p:nvPr/>
            </p:nvSpPr>
            <p:spPr bwMode="auto">
              <a:xfrm>
                <a:off x="587" y="-1627"/>
                <a:ext cx="27" cy="19"/>
              </a:xfrm>
              <a:custGeom>
                <a:avLst/>
                <a:gdLst>
                  <a:gd name="T0" fmla="*/ 7 w 27"/>
                  <a:gd name="T1" fmla="*/ 3 h 19"/>
                  <a:gd name="T2" fmla="*/ 0 w 27"/>
                  <a:gd name="T3" fmla="*/ 13 h 19"/>
                  <a:gd name="T4" fmla="*/ 6 w 27"/>
                  <a:gd name="T5" fmla="*/ 19 h 19"/>
                  <a:gd name="T6" fmla="*/ 12 w 27"/>
                  <a:gd name="T7" fmla="*/ 10 h 19"/>
                  <a:gd name="T8" fmla="*/ 27 w 27"/>
                  <a:gd name="T9" fmla="*/ 9 h 19"/>
                  <a:gd name="T10" fmla="*/ 19 w 27"/>
                  <a:gd name="T11" fmla="*/ 0 h 19"/>
                  <a:gd name="T12" fmla="*/ 7 w 27"/>
                  <a:gd name="T13" fmla="*/ 3 h 19"/>
                </a:gdLst>
                <a:ahLst/>
                <a:cxnLst>
                  <a:cxn ang="0">
                    <a:pos x="T0" y="T1"/>
                  </a:cxn>
                  <a:cxn ang="0">
                    <a:pos x="T2" y="T3"/>
                  </a:cxn>
                  <a:cxn ang="0">
                    <a:pos x="T4" y="T5"/>
                  </a:cxn>
                  <a:cxn ang="0">
                    <a:pos x="T6" y="T7"/>
                  </a:cxn>
                  <a:cxn ang="0">
                    <a:pos x="T8" y="T9"/>
                  </a:cxn>
                  <a:cxn ang="0">
                    <a:pos x="T10" y="T11"/>
                  </a:cxn>
                  <a:cxn ang="0">
                    <a:pos x="T12" y="T13"/>
                  </a:cxn>
                </a:cxnLst>
                <a:rect l="0" t="0" r="r" b="b"/>
                <a:pathLst>
                  <a:path w="27" h="19">
                    <a:moveTo>
                      <a:pt x="7" y="3"/>
                    </a:moveTo>
                    <a:lnTo>
                      <a:pt x="0" y="13"/>
                    </a:lnTo>
                    <a:lnTo>
                      <a:pt x="6" y="19"/>
                    </a:lnTo>
                    <a:lnTo>
                      <a:pt x="12" y="10"/>
                    </a:lnTo>
                    <a:lnTo>
                      <a:pt x="27" y="9"/>
                    </a:lnTo>
                    <a:lnTo>
                      <a:pt x="19" y="0"/>
                    </a:lnTo>
                    <a:lnTo>
                      <a:pt x="7" y="3"/>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4" name="Freeform 19"/>
              <p:cNvSpPr>
                <a:spLocks/>
              </p:cNvSpPr>
              <p:nvPr/>
            </p:nvSpPr>
            <p:spPr bwMode="auto">
              <a:xfrm>
                <a:off x="570" y="-1606"/>
                <a:ext cx="5" cy="5"/>
              </a:xfrm>
              <a:custGeom>
                <a:avLst/>
                <a:gdLst>
                  <a:gd name="T0" fmla="*/ 0 w 5"/>
                  <a:gd name="T1" fmla="*/ 5 h 5"/>
                  <a:gd name="T2" fmla="*/ 5 w 5"/>
                  <a:gd name="T3" fmla="*/ 4 h 5"/>
                  <a:gd name="T4" fmla="*/ 1 w 5"/>
                  <a:gd name="T5" fmla="*/ 0 h 5"/>
                  <a:gd name="T6" fmla="*/ 0 w 5"/>
                  <a:gd name="T7" fmla="*/ 5 h 5"/>
                </a:gdLst>
                <a:ahLst/>
                <a:cxnLst>
                  <a:cxn ang="0">
                    <a:pos x="T0" y="T1"/>
                  </a:cxn>
                  <a:cxn ang="0">
                    <a:pos x="T2" y="T3"/>
                  </a:cxn>
                  <a:cxn ang="0">
                    <a:pos x="T4" y="T5"/>
                  </a:cxn>
                  <a:cxn ang="0">
                    <a:pos x="T6" y="T7"/>
                  </a:cxn>
                </a:cxnLst>
                <a:rect l="0" t="0" r="r" b="b"/>
                <a:pathLst>
                  <a:path w="5" h="5">
                    <a:moveTo>
                      <a:pt x="0" y="5"/>
                    </a:moveTo>
                    <a:lnTo>
                      <a:pt x="5" y="4"/>
                    </a:lnTo>
                    <a:lnTo>
                      <a:pt x="1" y="0"/>
                    </a:lnTo>
                    <a:lnTo>
                      <a:pt x="0" y="5"/>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5" name="Freeform 20"/>
              <p:cNvSpPr>
                <a:spLocks/>
              </p:cNvSpPr>
              <p:nvPr/>
            </p:nvSpPr>
            <p:spPr bwMode="auto">
              <a:xfrm>
                <a:off x="545" y="-1598"/>
                <a:ext cx="22" cy="17"/>
              </a:xfrm>
              <a:custGeom>
                <a:avLst/>
                <a:gdLst>
                  <a:gd name="T0" fmla="*/ 9 w 22"/>
                  <a:gd name="T1" fmla="*/ 1 h 17"/>
                  <a:gd name="T2" fmla="*/ 12 w 22"/>
                  <a:gd name="T3" fmla="*/ 6 h 17"/>
                  <a:gd name="T4" fmla="*/ 0 w 22"/>
                  <a:gd name="T5" fmla="*/ 17 h 17"/>
                  <a:gd name="T6" fmla="*/ 15 w 22"/>
                  <a:gd name="T7" fmla="*/ 12 h 17"/>
                  <a:gd name="T8" fmla="*/ 19 w 22"/>
                  <a:gd name="T9" fmla="*/ 7 h 17"/>
                  <a:gd name="T10" fmla="*/ 18 w 22"/>
                  <a:gd name="T11" fmla="*/ 6 h 17"/>
                  <a:gd name="T12" fmla="*/ 22 w 22"/>
                  <a:gd name="T13" fmla="*/ 0 h 17"/>
                  <a:gd name="T14" fmla="*/ 9 w 22"/>
                  <a:gd name="T15" fmla="*/ 1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7">
                    <a:moveTo>
                      <a:pt x="9" y="1"/>
                    </a:moveTo>
                    <a:lnTo>
                      <a:pt x="12" y="6"/>
                    </a:lnTo>
                    <a:lnTo>
                      <a:pt x="0" y="17"/>
                    </a:lnTo>
                    <a:lnTo>
                      <a:pt x="15" y="12"/>
                    </a:lnTo>
                    <a:lnTo>
                      <a:pt x="19" y="7"/>
                    </a:lnTo>
                    <a:lnTo>
                      <a:pt x="18" y="6"/>
                    </a:lnTo>
                    <a:lnTo>
                      <a:pt x="22" y="0"/>
                    </a:lnTo>
                    <a:lnTo>
                      <a:pt x="9" y="1"/>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6" name="Freeform 21"/>
              <p:cNvSpPr>
                <a:spLocks/>
              </p:cNvSpPr>
              <p:nvPr/>
            </p:nvSpPr>
            <p:spPr bwMode="auto">
              <a:xfrm>
                <a:off x="1600" y="-1081"/>
                <a:ext cx="8" cy="11"/>
              </a:xfrm>
              <a:custGeom>
                <a:avLst/>
                <a:gdLst>
                  <a:gd name="T0" fmla="*/ 8 w 8"/>
                  <a:gd name="T1" fmla="*/ 0 h 11"/>
                  <a:gd name="T2" fmla="*/ 1 w 8"/>
                  <a:gd name="T3" fmla="*/ 6 h 11"/>
                  <a:gd name="T4" fmla="*/ 0 w 8"/>
                  <a:gd name="T5" fmla="*/ 11 h 11"/>
                  <a:gd name="T6" fmla="*/ 8 w 8"/>
                  <a:gd name="T7" fmla="*/ 0 h 11"/>
                </a:gdLst>
                <a:ahLst/>
                <a:cxnLst>
                  <a:cxn ang="0">
                    <a:pos x="T0" y="T1"/>
                  </a:cxn>
                  <a:cxn ang="0">
                    <a:pos x="T2" y="T3"/>
                  </a:cxn>
                  <a:cxn ang="0">
                    <a:pos x="T4" y="T5"/>
                  </a:cxn>
                  <a:cxn ang="0">
                    <a:pos x="T6" y="T7"/>
                  </a:cxn>
                </a:cxnLst>
                <a:rect l="0" t="0" r="r" b="b"/>
                <a:pathLst>
                  <a:path w="8" h="11">
                    <a:moveTo>
                      <a:pt x="8" y="0"/>
                    </a:moveTo>
                    <a:lnTo>
                      <a:pt x="1" y="6"/>
                    </a:lnTo>
                    <a:lnTo>
                      <a:pt x="0" y="11"/>
                    </a:lnTo>
                    <a:lnTo>
                      <a:pt x="8"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7" name="Freeform 22"/>
              <p:cNvSpPr>
                <a:spLocks/>
              </p:cNvSpPr>
              <p:nvPr/>
            </p:nvSpPr>
            <p:spPr bwMode="auto">
              <a:xfrm>
                <a:off x="841" y="-1775"/>
                <a:ext cx="14" cy="18"/>
              </a:xfrm>
              <a:custGeom>
                <a:avLst/>
                <a:gdLst>
                  <a:gd name="T0" fmla="*/ 2 w 14"/>
                  <a:gd name="T1" fmla="*/ 13 h 18"/>
                  <a:gd name="T2" fmla="*/ 0 w 14"/>
                  <a:gd name="T3" fmla="*/ 18 h 18"/>
                  <a:gd name="T4" fmla="*/ 6 w 14"/>
                  <a:gd name="T5" fmla="*/ 15 h 18"/>
                  <a:gd name="T6" fmla="*/ 14 w 14"/>
                  <a:gd name="T7" fmla="*/ 3 h 18"/>
                  <a:gd name="T8" fmla="*/ 12 w 14"/>
                  <a:gd name="T9" fmla="*/ 0 h 18"/>
                  <a:gd name="T10" fmla="*/ 2 w 14"/>
                  <a:gd name="T11" fmla="*/ 13 h 18"/>
                </a:gdLst>
                <a:ahLst/>
                <a:cxnLst>
                  <a:cxn ang="0">
                    <a:pos x="T0" y="T1"/>
                  </a:cxn>
                  <a:cxn ang="0">
                    <a:pos x="T2" y="T3"/>
                  </a:cxn>
                  <a:cxn ang="0">
                    <a:pos x="T4" y="T5"/>
                  </a:cxn>
                  <a:cxn ang="0">
                    <a:pos x="T6" y="T7"/>
                  </a:cxn>
                  <a:cxn ang="0">
                    <a:pos x="T8" y="T9"/>
                  </a:cxn>
                  <a:cxn ang="0">
                    <a:pos x="T10" y="T11"/>
                  </a:cxn>
                </a:cxnLst>
                <a:rect l="0" t="0" r="r" b="b"/>
                <a:pathLst>
                  <a:path w="14" h="18">
                    <a:moveTo>
                      <a:pt x="2" y="13"/>
                    </a:moveTo>
                    <a:lnTo>
                      <a:pt x="0" y="18"/>
                    </a:lnTo>
                    <a:lnTo>
                      <a:pt x="6" y="15"/>
                    </a:lnTo>
                    <a:lnTo>
                      <a:pt x="14" y="3"/>
                    </a:lnTo>
                    <a:lnTo>
                      <a:pt x="12" y="0"/>
                    </a:lnTo>
                    <a:lnTo>
                      <a:pt x="2" y="13"/>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8" name="Freeform 23"/>
              <p:cNvSpPr>
                <a:spLocks/>
              </p:cNvSpPr>
              <p:nvPr/>
            </p:nvSpPr>
            <p:spPr bwMode="auto">
              <a:xfrm>
                <a:off x="1061" y="-1631"/>
                <a:ext cx="6" cy="13"/>
              </a:xfrm>
              <a:custGeom>
                <a:avLst/>
                <a:gdLst>
                  <a:gd name="T0" fmla="*/ 2 w 6"/>
                  <a:gd name="T1" fmla="*/ 6 h 13"/>
                  <a:gd name="T2" fmla="*/ 0 w 6"/>
                  <a:gd name="T3" fmla="*/ 0 h 13"/>
                  <a:gd name="T4" fmla="*/ 0 w 6"/>
                  <a:gd name="T5" fmla="*/ 6 h 13"/>
                  <a:gd name="T6" fmla="*/ 6 w 6"/>
                  <a:gd name="T7" fmla="*/ 13 h 13"/>
                  <a:gd name="T8" fmla="*/ 2 w 6"/>
                  <a:gd name="T9" fmla="*/ 6 h 13"/>
                </a:gdLst>
                <a:ahLst/>
                <a:cxnLst>
                  <a:cxn ang="0">
                    <a:pos x="T0" y="T1"/>
                  </a:cxn>
                  <a:cxn ang="0">
                    <a:pos x="T2" y="T3"/>
                  </a:cxn>
                  <a:cxn ang="0">
                    <a:pos x="T4" y="T5"/>
                  </a:cxn>
                  <a:cxn ang="0">
                    <a:pos x="T6" y="T7"/>
                  </a:cxn>
                  <a:cxn ang="0">
                    <a:pos x="T8" y="T9"/>
                  </a:cxn>
                </a:cxnLst>
                <a:rect l="0" t="0" r="r" b="b"/>
                <a:pathLst>
                  <a:path w="6" h="13">
                    <a:moveTo>
                      <a:pt x="2" y="6"/>
                    </a:moveTo>
                    <a:lnTo>
                      <a:pt x="0" y="0"/>
                    </a:lnTo>
                    <a:lnTo>
                      <a:pt x="0" y="6"/>
                    </a:lnTo>
                    <a:lnTo>
                      <a:pt x="6" y="13"/>
                    </a:lnTo>
                    <a:lnTo>
                      <a:pt x="2" y="6"/>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9" name="Freeform 24"/>
              <p:cNvSpPr>
                <a:spLocks/>
              </p:cNvSpPr>
              <p:nvPr/>
            </p:nvSpPr>
            <p:spPr bwMode="auto">
              <a:xfrm>
                <a:off x="1082" y="-1649"/>
                <a:ext cx="12" cy="21"/>
              </a:xfrm>
              <a:custGeom>
                <a:avLst/>
                <a:gdLst>
                  <a:gd name="T0" fmla="*/ 12 w 12"/>
                  <a:gd name="T1" fmla="*/ 21 h 21"/>
                  <a:gd name="T2" fmla="*/ 8 w 12"/>
                  <a:gd name="T3" fmla="*/ 0 h 21"/>
                  <a:gd name="T4" fmla="*/ 1 w 12"/>
                  <a:gd name="T5" fmla="*/ 3 h 21"/>
                  <a:gd name="T6" fmla="*/ 0 w 12"/>
                  <a:gd name="T7" fmla="*/ 13 h 21"/>
                  <a:gd name="T8" fmla="*/ 2 w 12"/>
                  <a:gd name="T9" fmla="*/ 16 h 21"/>
                  <a:gd name="T10" fmla="*/ 6 w 12"/>
                  <a:gd name="T11" fmla="*/ 9 h 21"/>
                  <a:gd name="T12" fmla="*/ 6 w 12"/>
                  <a:gd name="T13" fmla="*/ 17 h 21"/>
                  <a:gd name="T14" fmla="*/ 12 w 1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21">
                    <a:moveTo>
                      <a:pt x="12" y="21"/>
                    </a:moveTo>
                    <a:lnTo>
                      <a:pt x="8" y="0"/>
                    </a:lnTo>
                    <a:lnTo>
                      <a:pt x="1" y="3"/>
                    </a:lnTo>
                    <a:lnTo>
                      <a:pt x="0" y="13"/>
                    </a:lnTo>
                    <a:lnTo>
                      <a:pt x="2" y="16"/>
                    </a:lnTo>
                    <a:lnTo>
                      <a:pt x="6" y="9"/>
                    </a:lnTo>
                    <a:lnTo>
                      <a:pt x="6" y="17"/>
                    </a:lnTo>
                    <a:lnTo>
                      <a:pt x="12" y="21"/>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0" name="Freeform 25"/>
              <p:cNvSpPr>
                <a:spLocks/>
              </p:cNvSpPr>
              <p:nvPr/>
            </p:nvSpPr>
            <p:spPr bwMode="auto">
              <a:xfrm>
                <a:off x="1053" y="-1660"/>
                <a:ext cx="26" cy="42"/>
              </a:xfrm>
              <a:custGeom>
                <a:avLst/>
                <a:gdLst>
                  <a:gd name="T0" fmla="*/ 11 w 26"/>
                  <a:gd name="T1" fmla="*/ 21 h 42"/>
                  <a:gd name="T2" fmla="*/ 11 w 26"/>
                  <a:gd name="T3" fmla="*/ 26 h 42"/>
                  <a:gd name="T4" fmla="*/ 8 w 26"/>
                  <a:gd name="T5" fmla="*/ 27 h 42"/>
                  <a:gd name="T6" fmla="*/ 16 w 26"/>
                  <a:gd name="T7" fmla="*/ 30 h 42"/>
                  <a:gd name="T8" fmla="*/ 21 w 26"/>
                  <a:gd name="T9" fmla="*/ 42 h 42"/>
                  <a:gd name="T10" fmla="*/ 26 w 26"/>
                  <a:gd name="T11" fmla="*/ 42 h 42"/>
                  <a:gd name="T12" fmla="*/ 26 w 26"/>
                  <a:gd name="T13" fmla="*/ 35 h 42"/>
                  <a:gd name="T14" fmla="*/ 23 w 26"/>
                  <a:gd name="T15" fmla="*/ 36 h 42"/>
                  <a:gd name="T16" fmla="*/ 26 w 26"/>
                  <a:gd name="T17" fmla="*/ 30 h 42"/>
                  <a:gd name="T18" fmla="*/ 20 w 26"/>
                  <a:gd name="T19" fmla="*/ 26 h 42"/>
                  <a:gd name="T20" fmla="*/ 18 w 26"/>
                  <a:gd name="T21" fmla="*/ 20 h 42"/>
                  <a:gd name="T22" fmla="*/ 22 w 26"/>
                  <a:gd name="T23" fmla="*/ 23 h 42"/>
                  <a:gd name="T24" fmla="*/ 14 w 26"/>
                  <a:gd name="T25" fmla="*/ 8 h 42"/>
                  <a:gd name="T26" fmla="*/ 9 w 26"/>
                  <a:gd name="T27" fmla="*/ 8 h 42"/>
                  <a:gd name="T28" fmla="*/ 8 w 26"/>
                  <a:gd name="T29" fmla="*/ 1 h 42"/>
                  <a:gd name="T30" fmla="*/ 2 w 26"/>
                  <a:gd name="T31" fmla="*/ 0 h 42"/>
                  <a:gd name="T32" fmla="*/ 3 w 26"/>
                  <a:gd name="T33" fmla="*/ 4 h 42"/>
                  <a:gd name="T34" fmla="*/ 0 w 26"/>
                  <a:gd name="T35" fmla="*/ 11 h 42"/>
                  <a:gd name="T36" fmla="*/ 5 w 26"/>
                  <a:gd name="T37" fmla="*/ 6 h 42"/>
                  <a:gd name="T38" fmla="*/ 4 w 26"/>
                  <a:gd name="T39" fmla="*/ 19 h 42"/>
                  <a:gd name="T40" fmla="*/ 11 w 26"/>
                  <a:gd name="T41" fmla="*/ 2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42">
                    <a:moveTo>
                      <a:pt x="11" y="21"/>
                    </a:moveTo>
                    <a:lnTo>
                      <a:pt x="11" y="26"/>
                    </a:lnTo>
                    <a:lnTo>
                      <a:pt x="8" y="27"/>
                    </a:lnTo>
                    <a:lnTo>
                      <a:pt x="16" y="30"/>
                    </a:lnTo>
                    <a:lnTo>
                      <a:pt x="21" y="42"/>
                    </a:lnTo>
                    <a:lnTo>
                      <a:pt x="26" y="42"/>
                    </a:lnTo>
                    <a:lnTo>
                      <a:pt x="26" y="35"/>
                    </a:lnTo>
                    <a:lnTo>
                      <a:pt x="23" y="36"/>
                    </a:lnTo>
                    <a:lnTo>
                      <a:pt x="26" y="30"/>
                    </a:lnTo>
                    <a:lnTo>
                      <a:pt x="20" y="26"/>
                    </a:lnTo>
                    <a:lnTo>
                      <a:pt x="18" y="20"/>
                    </a:lnTo>
                    <a:lnTo>
                      <a:pt x="22" y="23"/>
                    </a:lnTo>
                    <a:lnTo>
                      <a:pt x="14" y="8"/>
                    </a:lnTo>
                    <a:lnTo>
                      <a:pt x="9" y="8"/>
                    </a:lnTo>
                    <a:lnTo>
                      <a:pt x="8" y="1"/>
                    </a:lnTo>
                    <a:lnTo>
                      <a:pt x="2" y="0"/>
                    </a:lnTo>
                    <a:lnTo>
                      <a:pt x="3" y="4"/>
                    </a:lnTo>
                    <a:lnTo>
                      <a:pt x="0" y="11"/>
                    </a:lnTo>
                    <a:lnTo>
                      <a:pt x="5" y="6"/>
                    </a:lnTo>
                    <a:lnTo>
                      <a:pt x="4" y="19"/>
                    </a:lnTo>
                    <a:lnTo>
                      <a:pt x="11" y="21"/>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1" name="Freeform 26"/>
              <p:cNvSpPr>
                <a:spLocks/>
              </p:cNvSpPr>
              <p:nvPr/>
            </p:nvSpPr>
            <p:spPr bwMode="auto">
              <a:xfrm>
                <a:off x="1014" y="-1715"/>
                <a:ext cx="20" cy="26"/>
              </a:xfrm>
              <a:custGeom>
                <a:avLst/>
                <a:gdLst>
                  <a:gd name="T0" fmla="*/ 20 w 20"/>
                  <a:gd name="T1" fmla="*/ 25 h 26"/>
                  <a:gd name="T2" fmla="*/ 20 w 20"/>
                  <a:gd name="T3" fmla="*/ 17 h 26"/>
                  <a:gd name="T4" fmla="*/ 9 w 20"/>
                  <a:gd name="T5" fmla="*/ 13 h 26"/>
                  <a:gd name="T6" fmla="*/ 20 w 20"/>
                  <a:gd name="T7" fmla="*/ 16 h 26"/>
                  <a:gd name="T8" fmla="*/ 16 w 20"/>
                  <a:gd name="T9" fmla="*/ 11 h 26"/>
                  <a:gd name="T10" fmla="*/ 20 w 20"/>
                  <a:gd name="T11" fmla="*/ 11 h 26"/>
                  <a:gd name="T12" fmla="*/ 17 w 20"/>
                  <a:gd name="T13" fmla="*/ 7 h 26"/>
                  <a:gd name="T14" fmla="*/ 5 w 20"/>
                  <a:gd name="T15" fmla="*/ 0 h 26"/>
                  <a:gd name="T16" fmla="*/ 0 w 20"/>
                  <a:gd name="T17" fmla="*/ 6 h 26"/>
                  <a:gd name="T18" fmla="*/ 2 w 20"/>
                  <a:gd name="T19" fmla="*/ 11 h 26"/>
                  <a:gd name="T20" fmla="*/ 1 w 20"/>
                  <a:gd name="T21" fmla="*/ 16 h 26"/>
                  <a:gd name="T22" fmla="*/ 8 w 20"/>
                  <a:gd name="T23" fmla="*/ 26 h 26"/>
                  <a:gd name="T24" fmla="*/ 9 w 20"/>
                  <a:gd name="T25" fmla="*/ 24 h 26"/>
                  <a:gd name="T26" fmla="*/ 9 w 20"/>
                  <a:gd name="T27" fmla="*/ 16 h 26"/>
                  <a:gd name="T28" fmla="*/ 20 w 20"/>
                  <a:gd name="T29"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26">
                    <a:moveTo>
                      <a:pt x="20" y="25"/>
                    </a:moveTo>
                    <a:lnTo>
                      <a:pt x="20" y="17"/>
                    </a:lnTo>
                    <a:lnTo>
                      <a:pt x="9" y="13"/>
                    </a:lnTo>
                    <a:lnTo>
                      <a:pt x="20" y="16"/>
                    </a:lnTo>
                    <a:lnTo>
                      <a:pt x="16" y="11"/>
                    </a:lnTo>
                    <a:lnTo>
                      <a:pt x="20" y="11"/>
                    </a:lnTo>
                    <a:lnTo>
                      <a:pt x="17" y="7"/>
                    </a:lnTo>
                    <a:lnTo>
                      <a:pt x="5" y="0"/>
                    </a:lnTo>
                    <a:lnTo>
                      <a:pt x="0" y="6"/>
                    </a:lnTo>
                    <a:lnTo>
                      <a:pt x="2" y="11"/>
                    </a:lnTo>
                    <a:lnTo>
                      <a:pt x="1" y="16"/>
                    </a:lnTo>
                    <a:lnTo>
                      <a:pt x="8" y="26"/>
                    </a:lnTo>
                    <a:lnTo>
                      <a:pt x="9" y="24"/>
                    </a:lnTo>
                    <a:lnTo>
                      <a:pt x="9" y="16"/>
                    </a:lnTo>
                    <a:lnTo>
                      <a:pt x="20" y="25"/>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2" name="Freeform 27"/>
              <p:cNvSpPr>
                <a:spLocks/>
              </p:cNvSpPr>
              <p:nvPr/>
            </p:nvSpPr>
            <p:spPr bwMode="auto">
              <a:xfrm>
                <a:off x="1074" y="-1663"/>
                <a:ext cx="3" cy="7"/>
              </a:xfrm>
              <a:custGeom>
                <a:avLst/>
                <a:gdLst>
                  <a:gd name="T0" fmla="*/ 3 w 3"/>
                  <a:gd name="T1" fmla="*/ 4 h 7"/>
                  <a:gd name="T2" fmla="*/ 0 w 3"/>
                  <a:gd name="T3" fmla="*/ 0 h 7"/>
                  <a:gd name="T4" fmla="*/ 3 w 3"/>
                  <a:gd name="T5" fmla="*/ 7 h 7"/>
                  <a:gd name="T6" fmla="*/ 3 w 3"/>
                  <a:gd name="T7" fmla="*/ 4 h 7"/>
                </a:gdLst>
                <a:ahLst/>
                <a:cxnLst>
                  <a:cxn ang="0">
                    <a:pos x="T0" y="T1"/>
                  </a:cxn>
                  <a:cxn ang="0">
                    <a:pos x="T2" y="T3"/>
                  </a:cxn>
                  <a:cxn ang="0">
                    <a:pos x="T4" y="T5"/>
                  </a:cxn>
                  <a:cxn ang="0">
                    <a:pos x="T6" y="T7"/>
                  </a:cxn>
                </a:cxnLst>
                <a:rect l="0" t="0" r="r" b="b"/>
                <a:pathLst>
                  <a:path w="3" h="7">
                    <a:moveTo>
                      <a:pt x="3" y="4"/>
                    </a:moveTo>
                    <a:lnTo>
                      <a:pt x="0" y="0"/>
                    </a:lnTo>
                    <a:lnTo>
                      <a:pt x="3" y="7"/>
                    </a:lnTo>
                    <a:lnTo>
                      <a:pt x="3" y="4"/>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3" name="Freeform 28"/>
              <p:cNvSpPr>
                <a:spLocks/>
              </p:cNvSpPr>
              <p:nvPr/>
            </p:nvSpPr>
            <p:spPr bwMode="auto">
              <a:xfrm>
                <a:off x="1063" y="-1663"/>
                <a:ext cx="5" cy="5"/>
              </a:xfrm>
              <a:custGeom>
                <a:avLst/>
                <a:gdLst>
                  <a:gd name="T0" fmla="*/ 4 w 5"/>
                  <a:gd name="T1" fmla="*/ 5 h 5"/>
                  <a:gd name="T2" fmla="*/ 5 w 5"/>
                  <a:gd name="T3" fmla="*/ 0 h 5"/>
                  <a:gd name="T4" fmla="*/ 0 w 5"/>
                  <a:gd name="T5" fmla="*/ 1 h 5"/>
                  <a:gd name="T6" fmla="*/ 4 w 5"/>
                  <a:gd name="T7" fmla="*/ 5 h 5"/>
                </a:gdLst>
                <a:ahLst/>
                <a:cxnLst>
                  <a:cxn ang="0">
                    <a:pos x="T0" y="T1"/>
                  </a:cxn>
                  <a:cxn ang="0">
                    <a:pos x="T2" y="T3"/>
                  </a:cxn>
                  <a:cxn ang="0">
                    <a:pos x="T4" y="T5"/>
                  </a:cxn>
                  <a:cxn ang="0">
                    <a:pos x="T6" y="T7"/>
                  </a:cxn>
                </a:cxnLst>
                <a:rect l="0" t="0" r="r" b="b"/>
                <a:pathLst>
                  <a:path w="5" h="5">
                    <a:moveTo>
                      <a:pt x="4" y="5"/>
                    </a:moveTo>
                    <a:lnTo>
                      <a:pt x="5" y="0"/>
                    </a:lnTo>
                    <a:lnTo>
                      <a:pt x="0" y="1"/>
                    </a:lnTo>
                    <a:lnTo>
                      <a:pt x="4" y="5"/>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4" name="Freeform 29"/>
              <p:cNvSpPr>
                <a:spLocks/>
              </p:cNvSpPr>
              <p:nvPr/>
            </p:nvSpPr>
            <p:spPr bwMode="auto">
              <a:xfrm>
                <a:off x="1066" y="-1671"/>
                <a:ext cx="3" cy="5"/>
              </a:xfrm>
              <a:custGeom>
                <a:avLst/>
                <a:gdLst>
                  <a:gd name="T0" fmla="*/ 0 w 3"/>
                  <a:gd name="T1" fmla="*/ 0 h 5"/>
                  <a:gd name="T2" fmla="*/ 0 w 3"/>
                  <a:gd name="T3" fmla="*/ 5 h 5"/>
                  <a:gd name="T4" fmla="*/ 3 w 3"/>
                  <a:gd name="T5" fmla="*/ 5 h 5"/>
                  <a:gd name="T6" fmla="*/ 0 w 3"/>
                  <a:gd name="T7" fmla="*/ 0 h 5"/>
                </a:gdLst>
                <a:ahLst/>
                <a:cxnLst>
                  <a:cxn ang="0">
                    <a:pos x="T0" y="T1"/>
                  </a:cxn>
                  <a:cxn ang="0">
                    <a:pos x="T2" y="T3"/>
                  </a:cxn>
                  <a:cxn ang="0">
                    <a:pos x="T4" y="T5"/>
                  </a:cxn>
                  <a:cxn ang="0">
                    <a:pos x="T6" y="T7"/>
                  </a:cxn>
                </a:cxnLst>
                <a:rect l="0" t="0" r="r" b="b"/>
                <a:pathLst>
                  <a:path w="3" h="5">
                    <a:moveTo>
                      <a:pt x="0" y="0"/>
                    </a:moveTo>
                    <a:lnTo>
                      <a:pt x="0" y="5"/>
                    </a:lnTo>
                    <a:lnTo>
                      <a:pt x="3" y="5"/>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5" name="Freeform 30"/>
              <p:cNvSpPr>
                <a:spLocks/>
              </p:cNvSpPr>
              <p:nvPr/>
            </p:nvSpPr>
            <p:spPr bwMode="auto">
              <a:xfrm>
                <a:off x="1050" y="-1679"/>
                <a:ext cx="13" cy="16"/>
              </a:xfrm>
              <a:custGeom>
                <a:avLst/>
                <a:gdLst>
                  <a:gd name="T0" fmla="*/ 11 w 13"/>
                  <a:gd name="T1" fmla="*/ 15 h 16"/>
                  <a:gd name="T2" fmla="*/ 8 w 13"/>
                  <a:gd name="T3" fmla="*/ 6 h 16"/>
                  <a:gd name="T4" fmla="*/ 13 w 13"/>
                  <a:gd name="T5" fmla="*/ 10 h 16"/>
                  <a:gd name="T6" fmla="*/ 11 w 13"/>
                  <a:gd name="T7" fmla="*/ 2 h 16"/>
                  <a:gd name="T8" fmla="*/ 0 w 13"/>
                  <a:gd name="T9" fmla="*/ 0 h 16"/>
                  <a:gd name="T10" fmla="*/ 1 w 13"/>
                  <a:gd name="T11" fmla="*/ 4 h 16"/>
                  <a:gd name="T12" fmla="*/ 5 w 13"/>
                  <a:gd name="T13" fmla="*/ 16 h 16"/>
                  <a:gd name="T14" fmla="*/ 11 w 13"/>
                  <a:gd name="T15" fmla="*/ 15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16">
                    <a:moveTo>
                      <a:pt x="11" y="15"/>
                    </a:moveTo>
                    <a:lnTo>
                      <a:pt x="8" y="6"/>
                    </a:lnTo>
                    <a:lnTo>
                      <a:pt x="13" y="10"/>
                    </a:lnTo>
                    <a:lnTo>
                      <a:pt x="11" y="2"/>
                    </a:lnTo>
                    <a:lnTo>
                      <a:pt x="0" y="0"/>
                    </a:lnTo>
                    <a:lnTo>
                      <a:pt x="1" y="4"/>
                    </a:lnTo>
                    <a:lnTo>
                      <a:pt x="5" y="16"/>
                    </a:lnTo>
                    <a:lnTo>
                      <a:pt x="11" y="15"/>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6" name="Freeform 31"/>
              <p:cNvSpPr>
                <a:spLocks/>
              </p:cNvSpPr>
              <p:nvPr/>
            </p:nvSpPr>
            <p:spPr bwMode="auto">
              <a:xfrm>
                <a:off x="1042" y="-1675"/>
                <a:ext cx="9" cy="21"/>
              </a:xfrm>
              <a:custGeom>
                <a:avLst/>
                <a:gdLst>
                  <a:gd name="T0" fmla="*/ 0 w 9"/>
                  <a:gd name="T1" fmla="*/ 0 h 21"/>
                  <a:gd name="T2" fmla="*/ 5 w 9"/>
                  <a:gd name="T3" fmla="*/ 8 h 21"/>
                  <a:gd name="T4" fmla="*/ 6 w 9"/>
                  <a:gd name="T5" fmla="*/ 11 h 21"/>
                  <a:gd name="T6" fmla="*/ 3 w 9"/>
                  <a:gd name="T7" fmla="*/ 12 h 21"/>
                  <a:gd name="T8" fmla="*/ 3 w 9"/>
                  <a:gd name="T9" fmla="*/ 17 h 21"/>
                  <a:gd name="T10" fmla="*/ 7 w 9"/>
                  <a:gd name="T11" fmla="*/ 21 h 21"/>
                  <a:gd name="T12" fmla="*/ 7 w 9"/>
                  <a:gd name="T13" fmla="*/ 8 h 21"/>
                  <a:gd name="T14" fmla="*/ 9 w 9"/>
                  <a:gd name="T15" fmla="*/ 8 h 21"/>
                  <a:gd name="T16" fmla="*/ 8 w 9"/>
                  <a:gd name="T17" fmla="*/ 3 h 21"/>
                  <a:gd name="T18" fmla="*/ 0 w 9"/>
                  <a:gd name="T1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21">
                    <a:moveTo>
                      <a:pt x="0" y="0"/>
                    </a:moveTo>
                    <a:lnTo>
                      <a:pt x="5" y="8"/>
                    </a:lnTo>
                    <a:lnTo>
                      <a:pt x="6" y="11"/>
                    </a:lnTo>
                    <a:lnTo>
                      <a:pt x="3" y="12"/>
                    </a:lnTo>
                    <a:lnTo>
                      <a:pt x="3" y="17"/>
                    </a:lnTo>
                    <a:lnTo>
                      <a:pt x="7" y="21"/>
                    </a:lnTo>
                    <a:lnTo>
                      <a:pt x="7" y="8"/>
                    </a:lnTo>
                    <a:lnTo>
                      <a:pt x="9" y="8"/>
                    </a:lnTo>
                    <a:lnTo>
                      <a:pt x="8" y="3"/>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7" name="Freeform 32"/>
              <p:cNvSpPr>
                <a:spLocks/>
              </p:cNvSpPr>
              <p:nvPr/>
            </p:nvSpPr>
            <p:spPr bwMode="auto">
              <a:xfrm>
                <a:off x="1037" y="-1710"/>
                <a:ext cx="13" cy="31"/>
              </a:xfrm>
              <a:custGeom>
                <a:avLst/>
                <a:gdLst>
                  <a:gd name="T0" fmla="*/ 4 w 13"/>
                  <a:gd name="T1" fmla="*/ 31 h 31"/>
                  <a:gd name="T2" fmla="*/ 10 w 13"/>
                  <a:gd name="T3" fmla="*/ 26 h 31"/>
                  <a:gd name="T4" fmla="*/ 10 w 13"/>
                  <a:gd name="T5" fmla="*/ 21 h 31"/>
                  <a:gd name="T6" fmla="*/ 13 w 13"/>
                  <a:gd name="T7" fmla="*/ 22 h 31"/>
                  <a:gd name="T8" fmla="*/ 7 w 13"/>
                  <a:gd name="T9" fmla="*/ 3 h 31"/>
                  <a:gd name="T10" fmla="*/ 5 w 13"/>
                  <a:gd name="T11" fmla="*/ 0 h 31"/>
                  <a:gd name="T12" fmla="*/ 0 w 13"/>
                  <a:gd name="T13" fmla="*/ 3 h 31"/>
                  <a:gd name="T14" fmla="*/ 3 w 13"/>
                  <a:gd name="T15" fmla="*/ 17 h 31"/>
                  <a:gd name="T16" fmla="*/ 6 w 13"/>
                  <a:gd name="T17" fmla="*/ 17 h 31"/>
                  <a:gd name="T18" fmla="*/ 4 w 13"/>
                  <a:gd name="T19" fmla="*/ 19 h 31"/>
                  <a:gd name="T20" fmla="*/ 6 w 13"/>
                  <a:gd name="T21" fmla="*/ 21 h 31"/>
                  <a:gd name="T22" fmla="*/ 4 w 13"/>
                  <a:gd name="T23" fmla="*/ 22 h 31"/>
                  <a:gd name="T24" fmla="*/ 4 w 13"/>
                  <a:gd name="T2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 h="31">
                    <a:moveTo>
                      <a:pt x="4" y="31"/>
                    </a:moveTo>
                    <a:lnTo>
                      <a:pt x="10" y="26"/>
                    </a:lnTo>
                    <a:lnTo>
                      <a:pt x="10" y="21"/>
                    </a:lnTo>
                    <a:lnTo>
                      <a:pt x="13" y="22"/>
                    </a:lnTo>
                    <a:lnTo>
                      <a:pt x="7" y="3"/>
                    </a:lnTo>
                    <a:lnTo>
                      <a:pt x="5" y="0"/>
                    </a:lnTo>
                    <a:lnTo>
                      <a:pt x="0" y="3"/>
                    </a:lnTo>
                    <a:lnTo>
                      <a:pt x="3" y="17"/>
                    </a:lnTo>
                    <a:lnTo>
                      <a:pt x="6" y="17"/>
                    </a:lnTo>
                    <a:lnTo>
                      <a:pt x="4" y="19"/>
                    </a:lnTo>
                    <a:lnTo>
                      <a:pt x="6" y="21"/>
                    </a:lnTo>
                    <a:lnTo>
                      <a:pt x="4" y="22"/>
                    </a:lnTo>
                    <a:lnTo>
                      <a:pt x="4" y="31"/>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8" name="Freeform 33"/>
              <p:cNvSpPr>
                <a:spLocks/>
              </p:cNvSpPr>
              <p:nvPr/>
            </p:nvSpPr>
            <p:spPr bwMode="auto">
              <a:xfrm>
                <a:off x="1024" y="-1692"/>
                <a:ext cx="14" cy="36"/>
              </a:xfrm>
              <a:custGeom>
                <a:avLst/>
                <a:gdLst>
                  <a:gd name="T0" fmla="*/ 3 w 14"/>
                  <a:gd name="T1" fmla="*/ 0 h 36"/>
                  <a:gd name="T2" fmla="*/ 0 w 14"/>
                  <a:gd name="T3" fmla="*/ 6 h 36"/>
                  <a:gd name="T4" fmla="*/ 6 w 14"/>
                  <a:gd name="T5" fmla="*/ 13 h 36"/>
                  <a:gd name="T6" fmla="*/ 4 w 14"/>
                  <a:gd name="T7" fmla="*/ 17 h 36"/>
                  <a:gd name="T8" fmla="*/ 10 w 14"/>
                  <a:gd name="T9" fmla="*/ 22 h 36"/>
                  <a:gd name="T10" fmla="*/ 12 w 14"/>
                  <a:gd name="T11" fmla="*/ 19 h 36"/>
                  <a:gd name="T12" fmla="*/ 10 w 14"/>
                  <a:gd name="T13" fmla="*/ 26 h 36"/>
                  <a:gd name="T14" fmla="*/ 14 w 14"/>
                  <a:gd name="T15" fmla="*/ 36 h 36"/>
                  <a:gd name="T16" fmla="*/ 14 w 14"/>
                  <a:gd name="T17" fmla="*/ 26 h 36"/>
                  <a:gd name="T18" fmla="*/ 11 w 14"/>
                  <a:gd name="T19" fmla="*/ 7 h 36"/>
                  <a:gd name="T20" fmla="*/ 3 w 14"/>
                  <a:gd name="T2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 h="36">
                    <a:moveTo>
                      <a:pt x="3" y="0"/>
                    </a:moveTo>
                    <a:lnTo>
                      <a:pt x="0" y="6"/>
                    </a:lnTo>
                    <a:lnTo>
                      <a:pt x="6" y="13"/>
                    </a:lnTo>
                    <a:lnTo>
                      <a:pt x="4" y="17"/>
                    </a:lnTo>
                    <a:lnTo>
                      <a:pt x="10" y="22"/>
                    </a:lnTo>
                    <a:lnTo>
                      <a:pt x="12" y="19"/>
                    </a:lnTo>
                    <a:lnTo>
                      <a:pt x="10" y="26"/>
                    </a:lnTo>
                    <a:lnTo>
                      <a:pt x="14" y="36"/>
                    </a:lnTo>
                    <a:lnTo>
                      <a:pt x="14" y="26"/>
                    </a:lnTo>
                    <a:lnTo>
                      <a:pt x="11" y="7"/>
                    </a:lnTo>
                    <a:lnTo>
                      <a:pt x="3"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9" name="Freeform 34"/>
              <p:cNvSpPr>
                <a:spLocks/>
              </p:cNvSpPr>
              <p:nvPr/>
            </p:nvSpPr>
            <p:spPr bwMode="auto">
              <a:xfrm>
                <a:off x="859" y="-1777"/>
                <a:ext cx="8" cy="2"/>
              </a:xfrm>
              <a:custGeom>
                <a:avLst/>
                <a:gdLst>
                  <a:gd name="T0" fmla="*/ 0 w 8"/>
                  <a:gd name="T1" fmla="*/ 2 h 2"/>
                  <a:gd name="T2" fmla="*/ 8 w 8"/>
                  <a:gd name="T3" fmla="*/ 2 h 2"/>
                  <a:gd name="T4" fmla="*/ 2 w 8"/>
                  <a:gd name="T5" fmla="*/ 0 h 2"/>
                  <a:gd name="T6" fmla="*/ 0 w 8"/>
                  <a:gd name="T7" fmla="*/ 2 h 2"/>
                </a:gdLst>
                <a:ahLst/>
                <a:cxnLst>
                  <a:cxn ang="0">
                    <a:pos x="T0" y="T1"/>
                  </a:cxn>
                  <a:cxn ang="0">
                    <a:pos x="T2" y="T3"/>
                  </a:cxn>
                  <a:cxn ang="0">
                    <a:pos x="T4" y="T5"/>
                  </a:cxn>
                  <a:cxn ang="0">
                    <a:pos x="T6" y="T7"/>
                  </a:cxn>
                </a:cxnLst>
                <a:rect l="0" t="0" r="r" b="b"/>
                <a:pathLst>
                  <a:path w="8" h="2">
                    <a:moveTo>
                      <a:pt x="0" y="2"/>
                    </a:moveTo>
                    <a:lnTo>
                      <a:pt x="8" y="2"/>
                    </a:lnTo>
                    <a:lnTo>
                      <a:pt x="2" y="0"/>
                    </a:lnTo>
                    <a:lnTo>
                      <a:pt x="0" y="2"/>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0" name="Freeform 35"/>
              <p:cNvSpPr>
                <a:spLocks/>
              </p:cNvSpPr>
              <p:nvPr/>
            </p:nvSpPr>
            <p:spPr bwMode="auto">
              <a:xfrm>
                <a:off x="626" y="-1994"/>
                <a:ext cx="7" cy="6"/>
              </a:xfrm>
              <a:custGeom>
                <a:avLst/>
                <a:gdLst>
                  <a:gd name="T0" fmla="*/ 0 w 7"/>
                  <a:gd name="T1" fmla="*/ 0 h 6"/>
                  <a:gd name="T2" fmla="*/ 2 w 7"/>
                  <a:gd name="T3" fmla="*/ 6 h 6"/>
                  <a:gd name="T4" fmla="*/ 7 w 7"/>
                  <a:gd name="T5" fmla="*/ 6 h 6"/>
                  <a:gd name="T6" fmla="*/ 0 w 7"/>
                  <a:gd name="T7" fmla="*/ 0 h 6"/>
                </a:gdLst>
                <a:ahLst/>
                <a:cxnLst>
                  <a:cxn ang="0">
                    <a:pos x="T0" y="T1"/>
                  </a:cxn>
                  <a:cxn ang="0">
                    <a:pos x="T2" y="T3"/>
                  </a:cxn>
                  <a:cxn ang="0">
                    <a:pos x="T4" y="T5"/>
                  </a:cxn>
                  <a:cxn ang="0">
                    <a:pos x="T6" y="T7"/>
                  </a:cxn>
                </a:cxnLst>
                <a:rect l="0" t="0" r="r" b="b"/>
                <a:pathLst>
                  <a:path w="7" h="6">
                    <a:moveTo>
                      <a:pt x="0" y="0"/>
                    </a:moveTo>
                    <a:lnTo>
                      <a:pt x="2" y="6"/>
                    </a:lnTo>
                    <a:lnTo>
                      <a:pt x="7" y="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1" name="Freeform 36"/>
              <p:cNvSpPr>
                <a:spLocks/>
              </p:cNvSpPr>
              <p:nvPr/>
            </p:nvSpPr>
            <p:spPr bwMode="auto">
              <a:xfrm>
                <a:off x="549" y="-1775"/>
                <a:ext cx="30" cy="19"/>
              </a:xfrm>
              <a:custGeom>
                <a:avLst/>
                <a:gdLst>
                  <a:gd name="T0" fmla="*/ 20 w 30"/>
                  <a:gd name="T1" fmla="*/ 0 h 19"/>
                  <a:gd name="T2" fmla="*/ 0 w 30"/>
                  <a:gd name="T3" fmla="*/ 5 h 19"/>
                  <a:gd name="T4" fmla="*/ 6 w 30"/>
                  <a:gd name="T5" fmla="*/ 13 h 19"/>
                  <a:gd name="T6" fmla="*/ 21 w 30"/>
                  <a:gd name="T7" fmla="*/ 19 h 19"/>
                  <a:gd name="T8" fmla="*/ 30 w 30"/>
                  <a:gd name="T9" fmla="*/ 11 h 19"/>
                  <a:gd name="T10" fmla="*/ 30 w 30"/>
                  <a:gd name="T11" fmla="*/ 3 h 19"/>
                  <a:gd name="T12" fmla="*/ 20 w 30"/>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30" h="19">
                    <a:moveTo>
                      <a:pt x="20" y="0"/>
                    </a:moveTo>
                    <a:lnTo>
                      <a:pt x="0" y="5"/>
                    </a:lnTo>
                    <a:lnTo>
                      <a:pt x="6" y="13"/>
                    </a:lnTo>
                    <a:lnTo>
                      <a:pt x="21" y="19"/>
                    </a:lnTo>
                    <a:lnTo>
                      <a:pt x="30" y="11"/>
                    </a:lnTo>
                    <a:lnTo>
                      <a:pt x="30" y="3"/>
                    </a:lnTo>
                    <a:lnTo>
                      <a:pt x="2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2" name="Freeform 37"/>
              <p:cNvSpPr>
                <a:spLocks/>
              </p:cNvSpPr>
              <p:nvPr/>
            </p:nvSpPr>
            <p:spPr bwMode="auto">
              <a:xfrm>
                <a:off x="582" y="-1788"/>
                <a:ext cx="17" cy="13"/>
              </a:xfrm>
              <a:custGeom>
                <a:avLst/>
                <a:gdLst>
                  <a:gd name="T0" fmla="*/ 17 w 17"/>
                  <a:gd name="T1" fmla="*/ 7 h 13"/>
                  <a:gd name="T2" fmla="*/ 6 w 17"/>
                  <a:gd name="T3" fmla="*/ 0 h 13"/>
                  <a:gd name="T4" fmla="*/ 0 w 17"/>
                  <a:gd name="T5" fmla="*/ 5 h 13"/>
                  <a:gd name="T6" fmla="*/ 10 w 17"/>
                  <a:gd name="T7" fmla="*/ 13 h 13"/>
                  <a:gd name="T8" fmla="*/ 17 w 17"/>
                  <a:gd name="T9" fmla="*/ 7 h 13"/>
                </a:gdLst>
                <a:ahLst/>
                <a:cxnLst>
                  <a:cxn ang="0">
                    <a:pos x="T0" y="T1"/>
                  </a:cxn>
                  <a:cxn ang="0">
                    <a:pos x="T2" y="T3"/>
                  </a:cxn>
                  <a:cxn ang="0">
                    <a:pos x="T4" y="T5"/>
                  </a:cxn>
                  <a:cxn ang="0">
                    <a:pos x="T6" y="T7"/>
                  </a:cxn>
                  <a:cxn ang="0">
                    <a:pos x="T8" y="T9"/>
                  </a:cxn>
                </a:cxnLst>
                <a:rect l="0" t="0" r="r" b="b"/>
                <a:pathLst>
                  <a:path w="17" h="13">
                    <a:moveTo>
                      <a:pt x="17" y="7"/>
                    </a:moveTo>
                    <a:lnTo>
                      <a:pt x="6" y="0"/>
                    </a:lnTo>
                    <a:lnTo>
                      <a:pt x="0" y="5"/>
                    </a:lnTo>
                    <a:lnTo>
                      <a:pt x="10" y="13"/>
                    </a:lnTo>
                    <a:lnTo>
                      <a:pt x="17" y="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3" name="Freeform 38"/>
              <p:cNvSpPr>
                <a:spLocks/>
              </p:cNvSpPr>
              <p:nvPr/>
            </p:nvSpPr>
            <p:spPr bwMode="auto">
              <a:xfrm>
                <a:off x="5835" y="-1882"/>
                <a:ext cx="44" cy="24"/>
              </a:xfrm>
              <a:custGeom>
                <a:avLst/>
                <a:gdLst>
                  <a:gd name="T0" fmla="*/ 36 w 44"/>
                  <a:gd name="T1" fmla="*/ 15 h 24"/>
                  <a:gd name="T2" fmla="*/ 24 w 44"/>
                  <a:gd name="T3" fmla="*/ 4 h 24"/>
                  <a:gd name="T4" fmla="*/ 15 w 44"/>
                  <a:gd name="T5" fmla="*/ 6 h 24"/>
                  <a:gd name="T6" fmla="*/ 2 w 44"/>
                  <a:gd name="T7" fmla="*/ 0 h 24"/>
                  <a:gd name="T8" fmla="*/ 0 w 44"/>
                  <a:gd name="T9" fmla="*/ 9 h 24"/>
                  <a:gd name="T10" fmla="*/ 31 w 44"/>
                  <a:gd name="T11" fmla="*/ 24 h 24"/>
                  <a:gd name="T12" fmla="*/ 44 w 44"/>
                  <a:gd name="T13" fmla="*/ 17 h 24"/>
                  <a:gd name="T14" fmla="*/ 44 w 44"/>
                  <a:gd name="T15" fmla="*/ 16 h 24"/>
                  <a:gd name="T16" fmla="*/ 36 w 44"/>
                  <a:gd name="T17" fmla="*/ 15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24">
                    <a:moveTo>
                      <a:pt x="36" y="15"/>
                    </a:moveTo>
                    <a:lnTo>
                      <a:pt x="24" y="4"/>
                    </a:lnTo>
                    <a:lnTo>
                      <a:pt x="15" y="6"/>
                    </a:lnTo>
                    <a:lnTo>
                      <a:pt x="2" y="0"/>
                    </a:lnTo>
                    <a:lnTo>
                      <a:pt x="0" y="9"/>
                    </a:lnTo>
                    <a:lnTo>
                      <a:pt x="31" y="24"/>
                    </a:lnTo>
                    <a:lnTo>
                      <a:pt x="44" y="17"/>
                    </a:lnTo>
                    <a:lnTo>
                      <a:pt x="44" y="16"/>
                    </a:lnTo>
                    <a:lnTo>
                      <a:pt x="36" y="15"/>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4" name="Freeform 39"/>
              <p:cNvSpPr>
                <a:spLocks/>
              </p:cNvSpPr>
              <p:nvPr/>
            </p:nvSpPr>
            <p:spPr bwMode="auto">
              <a:xfrm>
                <a:off x="1699" y="-2298"/>
                <a:ext cx="429" cy="478"/>
              </a:xfrm>
              <a:custGeom>
                <a:avLst/>
                <a:gdLst>
                  <a:gd name="T0" fmla="*/ 13 w 429"/>
                  <a:gd name="T1" fmla="*/ 135 h 478"/>
                  <a:gd name="T2" fmla="*/ 54 w 429"/>
                  <a:gd name="T3" fmla="*/ 168 h 478"/>
                  <a:gd name="T4" fmla="*/ 136 w 429"/>
                  <a:gd name="T5" fmla="*/ 189 h 478"/>
                  <a:gd name="T6" fmla="*/ 156 w 429"/>
                  <a:gd name="T7" fmla="*/ 187 h 478"/>
                  <a:gd name="T8" fmla="*/ 169 w 429"/>
                  <a:gd name="T9" fmla="*/ 162 h 478"/>
                  <a:gd name="T10" fmla="*/ 199 w 429"/>
                  <a:gd name="T11" fmla="*/ 193 h 478"/>
                  <a:gd name="T12" fmla="*/ 202 w 429"/>
                  <a:gd name="T13" fmla="*/ 220 h 478"/>
                  <a:gd name="T14" fmla="*/ 238 w 429"/>
                  <a:gd name="T15" fmla="*/ 241 h 478"/>
                  <a:gd name="T16" fmla="*/ 266 w 429"/>
                  <a:gd name="T17" fmla="*/ 291 h 478"/>
                  <a:gd name="T18" fmla="*/ 248 w 429"/>
                  <a:gd name="T19" fmla="*/ 358 h 478"/>
                  <a:gd name="T20" fmla="*/ 190 w 429"/>
                  <a:gd name="T21" fmla="*/ 362 h 478"/>
                  <a:gd name="T22" fmla="*/ 201 w 429"/>
                  <a:gd name="T23" fmla="*/ 401 h 478"/>
                  <a:gd name="T24" fmla="*/ 233 w 429"/>
                  <a:gd name="T25" fmla="*/ 392 h 478"/>
                  <a:gd name="T26" fmla="*/ 258 w 429"/>
                  <a:gd name="T27" fmla="*/ 409 h 478"/>
                  <a:gd name="T28" fmla="*/ 297 w 429"/>
                  <a:gd name="T29" fmla="*/ 450 h 478"/>
                  <a:gd name="T30" fmla="*/ 319 w 429"/>
                  <a:gd name="T31" fmla="*/ 459 h 478"/>
                  <a:gd name="T32" fmla="*/ 360 w 429"/>
                  <a:gd name="T33" fmla="*/ 477 h 478"/>
                  <a:gd name="T34" fmla="*/ 321 w 429"/>
                  <a:gd name="T35" fmla="*/ 416 h 478"/>
                  <a:gd name="T36" fmla="*/ 378 w 429"/>
                  <a:gd name="T37" fmla="*/ 457 h 478"/>
                  <a:gd name="T38" fmla="*/ 376 w 429"/>
                  <a:gd name="T39" fmla="*/ 433 h 478"/>
                  <a:gd name="T40" fmla="*/ 372 w 429"/>
                  <a:gd name="T41" fmla="*/ 405 h 478"/>
                  <a:gd name="T42" fmla="*/ 356 w 429"/>
                  <a:gd name="T43" fmla="*/ 381 h 478"/>
                  <a:gd name="T44" fmla="*/ 342 w 429"/>
                  <a:gd name="T45" fmla="*/ 367 h 478"/>
                  <a:gd name="T46" fmla="*/ 329 w 429"/>
                  <a:gd name="T47" fmla="*/ 324 h 478"/>
                  <a:gd name="T48" fmla="*/ 346 w 429"/>
                  <a:gd name="T49" fmla="*/ 327 h 478"/>
                  <a:gd name="T50" fmla="*/ 377 w 429"/>
                  <a:gd name="T51" fmla="*/ 360 h 478"/>
                  <a:gd name="T52" fmla="*/ 397 w 429"/>
                  <a:gd name="T53" fmla="*/ 377 h 478"/>
                  <a:gd name="T54" fmla="*/ 420 w 429"/>
                  <a:gd name="T55" fmla="*/ 337 h 478"/>
                  <a:gd name="T56" fmla="*/ 427 w 429"/>
                  <a:gd name="T57" fmla="*/ 328 h 478"/>
                  <a:gd name="T58" fmla="*/ 405 w 429"/>
                  <a:gd name="T59" fmla="*/ 291 h 478"/>
                  <a:gd name="T60" fmla="*/ 376 w 429"/>
                  <a:gd name="T61" fmla="*/ 260 h 478"/>
                  <a:gd name="T62" fmla="*/ 347 w 429"/>
                  <a:gd name="T63" fmla="*/ 254 h 478"/>
                  <a:gd name="T64" fmla="*/ 334 w 429"/>
                  <a:gd name="T65" fmla="*/ 221 h 478"/>
                  <a:gd name="T66" fmla="*/ 345 w 429"/>
                  <a:gd name="T67" fmla="*/ 187 h 478"/>
                  <a:gd name="T68" fmla="*/ 321 w 429"/>
                  <a:gd name="T69" fmla="*/ 172 h 478"/>
                  <a:gd name="T70" fmla="*/ 295 w 429"/>
                  <a:gd name="T71" fmla="*/ 159 h 478"/>
                  <a:gd name="T72" fmla="*/ 269 w 429"/>
                  <a:gd name="T73" fmla="*/ 134 h 478"/>
                  <a:gd name="T74" fmla="*/ 258 w 429"/>
                  <a:gd name="T75" fmla="*/ 110 h 478"/>
                  <a:gd name="T76" fmla="*/ 240 w 429"/>
                  <a:gd name="T77" fmla="*/ 115 h 478"/>
                  <a:gd name="T78" fmla="*/ 223 w 429"/>
                  <a:gd name="T79" fmla="*/ 83 h 478"/>
                  <a:gd name="T80" fmla="*/ 176 w 429"/>
                  <a:gd name="T81" fmla="*/ 71 h 478"/>
                  <a:gd name="T82" fmla="*/ 137 w 429"/>
                  <a:gd name="T83" fmla="*/ 92 h 478"/>
                  <a:gd name="T84" fmla="*/ 139 w 429"/>
                  <a:gd name="T85" fmla="*/ 44 h 478"/>
                  <a:gd name="T86" fmla="*/ 98 w 429"/>
                  <a:gd name="T87" fmla="*/ 8 h 478"/>
                  <a:gd name="T88" fmla="*/ 86 w 429"/>
                  <a:gd name="T89" fmla="*/ 27 h 478"/>
                  <a:gd name="T90" fmla="*/ 69 w 429"/>
                  <a:gd name="T91" fmla="*/ 36 h 478"/>
                  <a:gd name="T92" fmla="*/ 63 w 429"/>
                  <a:gd name="T93" fmla="*/ 89 h 478"/>
                  <a:gd name="T94" fmla="*/ 76 w 429"/>
                  <a:gd name="T95" fmla="*/ 128 h 478"/>
                  <a:gd name="T96" fmla="*/ 58 w 429"/>
                  <a:gd name="T97" fmla="*/ 70 h 478"/>
                  <a:gd name="T98" fmla="*/ 15 w 429"/>
                  <a:gd name="T99" fmla="*/ 32 h 478"/>
                  <a:gd name="T100" fmla="*/ 5 w 429"/>
                  <a:gd name="T101" fmla="*/ 79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29" h="478">
                    <a:moveTo>
                      <a:pt x="5" y="99"/>
                    </a:moveTo>
                    <a:lnTo>
                      <a:pt x="2" y="115"/>
                    </a:lnTo>
                    <a:lnTo>
                      <a:pt x="45" y="135"/>
                    </a:lnTo>
                    <a:lnTo>
                      <a:pt x="11" y="133"/>
                    </a:lnTo>
                    <a:lnTo>
                      <a:pt x="13" y="135"/>
                    </a:lnTo>
                    <a:lnTo>
                      <a:pt x="11" y="140"/>
                    </a:lnTo>
                    <a:lnTo>
                      <a:pt x="30" y="166"/>
                    </a:lnTo>
                    <a:lnTo>
                      <a:pt x="46" y="167"/>
                    </a:lnTo>
                    <a:lnTo>
                      <a:pt x="53" y="160"/>
                    </a:lnTo>
                    <a:lnTo>
                      <a:pt x="54" y="168"/>
                    </a:lnTo>
                    <a:lnTo>
                      <a:pt x="63" y="179"/>
                    </a:lnTo>
                    <a:lnTo>
                      <a:pt x="105" y="179"/>
                    </a:lnTo>
                    <a:lnTo>
                      <a:pt x="123" y="188"/>
                    </a:lnTo>
                    <a:lnTo>
                      <a:pt x="128" y="181"/>
                    </a:lnTo>
                    <a:lnTo>
                      <a:pt x="136" y="189"/>
                    </a:lnTo>
                    <a:lnTo>
                      <a:pt x="138" y="189"/>
                    </a:lnTo>
                    <a:lnTo>
                      <a:pt x="136" y="187"/>
                    </a:lnTo>
                    <a:lnTo>
                      <a:pt x="128" y="174"/>
                    </a:lnTo>
                    <a:lnTo>
                      <a:pt x="152" y="181"/>
                    </a:lnTo>
                    <a:lnTo>
                      <a:pt x="156" y="187"/>
                    </a:lnTo>
                    <a:lnTo>
                      <a:pt x="169" y="183"/>
                    </a:lnTo>
                    <a:lnTo>
                      <a:pt x="171" y="181"/>
                    </a:lnTo>
                    <a:lnTo>
                      <a:pt x="164" y="166"/>
                    </a:lnTo>
                    <a:lnTo>
                      <a:pt x="158" y="163"/>
                    </a:lnTo>
                    <a:lnTo>
                      <a:pt x="169" y="162"/>
                    </a:lnTo>
                    <a:lnTo>
                      <a:pt x="178" y="172"/>
                    </a:lnTo>
                    <a:lnTo>
                      <a:pt x="187" y="170"/>
                    </a:lnTo>
                    <a:lnTo>
                      <a:pt x="188" y="187"/>
                    </a:lnTo>
                    <a:lnTo>
                      <a:pt x="197" y="187"/>
                    </a:lnTo>
                    <a:lnTo>
                      <a:pt x="199" y="193"/>
                    </a:lnTo>
                    <a:lnTo>
                      <a:pt x="195" y="196"/>
                    </a:lnTo>
                    <a:lnTo>
                      <a:pt x="214" y="211"/>
                    </a:lnTo>
                    <a:lnTo>
                      <a:pt x="216" y="217"/>
                    </a:lnTo>
                    <a:lnTo>
                      <a:pt x="210" y="221"/>
                    </a:lnTo>
                    <a:lnTo>
                      <a:pt x="202" y="220"/>
                    </a:lnTo>
                    <a:lnTo>
                      <a:pt x="202" y="235"/>
                    </a:lnTo>
                    <a:lnTo>
                      <a:pt x="217" y="225"/>
                    </a:lnTo>
                    <a:lnTo>
                      <a:pt x="228" y="224"/>
                    </a:lnTo>
                    <a:lnTo>
                      <a:pt x="228" y="230"/>
                    </a:lnTo>
                    <a:lnTo>
                      <a:pt x="238" y="241"/>
                    </a:lnTo>
                    <a:lnTo>
                      <a:pt x="238" y="233"/>
                    </a:lnTo>
                    <a:lnTo>
                      <a:pt x="243" y="235"/>
                    </a:lnTo>
                    <a:lnTo>
                      <a:pt x="243" y="250"/>
                    </a:lnTo>
                    <a:lnTo>
                      <a:pt x="256" y="257"/>
                    </a:lnTo>
                    <a:lnTo>
                      <a:pt x="266" y="291"/>
                    </a:lnTo>
                    <a:lnTo>
                      <a:pt x="258" y="302"/>
                    </a:lnTo>
                    <a:lnTo>
                      <a:pt x="256" y="311"/>
                    </a:lnTo>
                    <a:lnTo>
                      <a:pt x="235" y="332"/>
                    </a:lnTo>
                    <a:lnTo>
                      <a:pt x="248" y="353"/>
                    </a:lnTo>
                    <a:lnTo>
                      <a:pt x="248" y="358"/>
                    </a:lnTo>
                    <a:lnTo>
                      <a:pt x="239" y="355"/>
                    </a:lnTo>
                    <a:lnTo>
                      <a:pt x="221" y="364"/>
                    </a:lnTo>
                    <a:lnTo>
                      <a:pt x="191" y="358"/>
                    </a:lnTo>
                    <a:lnTo>
                      <a:pt x="194" y="362"/>
                    </a:lnTo>
                    <a:lnTo>
                      <a:pt x="190" y="362"/>
                    </a:lnTo>
                    <a:lnTo>
                      <a:pt x="191" y="368"/>
                    </a:lnTo>
                    <a:lnTo>
                      <a:pt x="183" y="374"/>
                    </a:lnTo>
                    <a:lnTo>
                      <a:pt x="180" y="386"/>
                    </a:lnTo>
                    <a:lnTo>
                      <a:pt x="186" y="395"/>
                    </a:lnTo>
                    <a:lnTo>
                      <a:pt x="201" y="401"/>
                    </a:lnTo>
                    <a:lnTo>
                      <a:pt x="214" y="395"/>
                    </a:lnTo>
                    <a:lnTo>
                      <a:pt x="213" y="389"/>
                    </a:lnTo>
                    <a:lnTo>
                      <a:pt x="216" y="388"/>
                    </a:lnTo>
                    <a:lnTo>
                      <a:pt x="232" y="394"/>
                    </a:lnTo>
                    <a:lnTo>
                      <a:pt x="233" y="392"/>
                    </a:lnTo>
                    <a:lnTo>
                      <a:pt x="227" y="381"/>
                    </a:lnTo>
                    <a:lnTo>
                      <a:pt x="232" y="379"/>
                    </a:lnTo>
                    <a:lnTo>
                      <a:pt x="233" y="386"/>
                    </a:lnTo>
                    <a:lnTo>
                      <a:pt x="248" y="388"/>
                    </a:lnTo>
                    <a:lnTo>
                      <a:pt x="258" y="409"/>
                    </a:lnTo>
                    <a:lnTo>
                      <a:pt x="281" y="422"/>
                    </a:lnTo>
                    <a:lnTo>
                      <a:pt x="273" y="427"/>
                    </a:lnTo>
                    <a:lnTo>
                      <a:pt x="271" y="424"/>
                    </a:lnTo>
                    <a:lnTo>
                      <a:pt x="282" y="441"/>
                    </a:lnTo>
                    <a:lnTo>
                      <a:pt x="297" y="450"/>
                    </a:lnTo>
                    <a:lnTo>
                      <a:pt x="303" y="445"/>
                    </a:lnTo>
                    <a:lnTo>
                      <a:pt x="304" y="450"/>
                    </a:lnTo>
                    <a:lnTo>
                      <a:pt x="310" y="448"/>
                    </a:lnTo>
                    <a:lnTo>
                      <a:pt x="316" y="460"/>
                    </a:lnTo>
                    <a:lnTo>
                      <a:pt x="319" y="459"/>
                    </a:lnTo>
                    <a:lnTo>
                      <a:pt x="323" y="465"/>
                    </a:lnTo>
                    <a:lnTo>
                      <a:pt x="342" y="473"/>
                    </a:lnTo>
                    <a:lnTo>
                      <a:pt x="349" y="470"/>
                    </a:lnTo>
                    <a:lnTo>
                      <a:pt x="356" y="478"/>
                    </a:lnTo>
                    <a:lnTo>
                      <a:pt x="360" y="477"/>
                    </a:lnTo>
                    <a:lnTo>
                      <a:pt x="359" y="463"/>
                    </a:lnTo>
                    <a:lnTo>
                      <a:pt x="337" y="441"/>
                    </a:lnTo>
                    <a:lnTo>
                      <a:pt x="321" y="424"/>
                    </a:lnTo>
                    <a:lnTo>
                      <a:pt x="318" y="418"/>
                    </a:lnTo>
                    <a:lnTo>
                      <a:pt x="321" y="416"/>
                    </a:lnTo>
                    <a:lnTo>
                      <a:pt x="331" y="427"/>
                    </a:lnTo>
                    <a:lnTo>
                      <a:pt x="337" y="424"/>
                    </a:lnTo>
                    <a:lnTo>
                      <a:pt x="350" y="440"/>
                    </a:lnTo>
                    <a:lnTo>
                      <a:pt x="369" y="442"/>
                    </a:lnTo>
                    <a:lnTo>
                      <a:pt x="378" y="457"/>
                    </a:lnTo>
                    <a:lnTo>
                      <a:pt x="379" y="455"/>
                    </a:lnTo>
                    <a:lnTo>
                      <a:pt x="376" y="446"/>
                    </a:lnTo>
                    <a:lnTo>
                      <a:pt x="383" y="447"/>
                    </a:lnTo>
                    <a:lnTo>
                      <a:pt x="382" y="440"/>
                    </a:lnTo>
                    <a:lnTo>
                      <a:pt x="376" y="433"/>
                    </a:lnTo>
                    <a:lnTo>
                      <a:pt x="376" y="427"/>
                    </a:lnTo>
                    <a:lnTo>
                      <a:pt x="383" y="432"/>
                    </a:lnTo>
                    <a:lnTo>
                      <a:pt x="384" y="418"/>
                    </a:lnTo>
                    <a:lnTo>
                      <a:pt x="382" y="408"/>
                    </a:lnTo>
                    <a:lnTo>
                      <a:pt x="372" y="405"/>
                    </a:lnTo>
                    <a:lnTo>
                      <a:pt x="376" y="389"/>
                    </a:lnTo>
                    <a:lnTo>
                      <a:pt x="370" y="385"/>
                    </a:lnTo>
                    <a:lnTo>
                      <a:pt x="366" y="388"/>
                    </a:lnTo>
                    <a:lnTo>
                      <a:pt x="365" y="380"/>
                    </a:lnTo>
                    <a:lnTo>
                      <a:pt x="356" y="381"/>
                    </a:lnTo>
                    <a:lnTo>
                      <a:pt x="359" y="377"/>
                    </a:lnTo>
                    <a:lnTo>
                      <a:pt x="352" y="377"/>
                    </a:lnTo>
                    <a:lnTo>
                      <a:pt x="350" y="381"/>
                    </a:lnTo>
                    <a:lnTo>
                      <a:pt x="345" y="367"/>
                    </a:lnTo>
                    <a:lnTo>
                      <a:pt x="342" y="367"/>
                    </a:lnTo>
                    <a:lnTo>
                      <a:pt x="342" y="353"/>
                    </a:lnTo>
                    <a:lnTo>
                      <a:pt x="331" y="353"/>
                    </a:lnTo>
                    <a:lnTo>
                      <a:pt x="333" y="342"/>
                    </a:lnTo>
                    <a:lnTo>
                      <a:pt x="344" y="340"/>
                    </a:lnTo>
                    <a:lnTo>
                      <a:pt x="329" y="324"/>
                    </a:lnTo>
                    <a:lnTo>
                      <a:pt x="334" y="321"/>
                    </a:lnTo>
                    <a:lnTo>
                      <a:pt x="343" y="328"/>
                    </a:lnTo>
                    <a:lnTo>
                      <a:pt x="339" y="318"/>
                    </a:lnTo>
                    <a:lnTo>
                      <a:pt x="347" y="318"/>
                    </a:lnTo>
                    <a:lnTo>
                      <a:pt x="346" y="327"/>
                    </a:lnTo>
                    <a:lnTo>
                      <a:pt x="362" y="335"/>
                    </a:lnTo>
                    <a:lnTo>
                      <a:pt x="363" y="340"/>
                    </a:lnTo>
                    <a:lnTo>
                      <a:pt x="370" y="340"/>
                    </a:lnTo>
                    <a:lnTo>
                      <a:pt x="370" y="350"/>
                    </a:lnTo>
                    <a:lnTo>
                      <a:pt x="377" y="360"/>
                    </a:lnTo>
                    <a:lnTo>
                      <a:pt x="381" y="356"/>
                    </a:lnTo>
                    <a:lnTo>
                      <a:pt x="379" y="364"/>
                    </a:lnTo>
                    <a:lnTo>
                      <a:pt x="383" y="368"/>
                    </a:lnTo>
                    <a:lnTo>
                      <a:pt x="388" y="367"/>
                    </a:lnTo>
                    <a:lnTo>
                      <a:pt x="397" y="377"/>
                    </a:lnTo>
                    <a:lnTo>
                      <a:pt x="402" y="363"/>
                    </a:lnTo>
                    <a:lnTo>
                      <a:pt x="399" y="348"/>
                    </a:lnTo>
                    <a:lnTo>
                      <a:pt x="410" y="354"/>
                    </a:lnTo>
                    <a:lnTo>
                      <a:pt x="414" y="340"/>
                    </a:lnTo>
                    <a:lnTo>
                      <a:pt x="420" y="337"/>
                    </a:lnTo>
                    <a:lnTo>
                      <a:pt x="412" y="336"/>
                    </a:lnTo>
                    <a:lnTo>
                      <a:pt x="416" y="329"/>
                    </a:lnTo>
                    <a:lnTo>
                      <a:pt x="412" y="328"/>
                    </a:lnTo>
                    <a:lnTo>
                      <a:pt x="424" y="329"/>
                    </a:lnTo>
                    <a:lnTo>
                      <a:pt x="427" y="328"/>
                    </a:lnTo>
                    <a:lnTo>
                      <a:pt x="424" y="324"/>
                    </a:lnTo>
                    <a:lnTo>
                      <a:pt x="429" y="317"/>
                    </a:lnTo>
                    <a:lnTo>
                      <a:pt x="417" y="302"/>
                    </a:lnTo>
                    <a:lnTo>
                      <a:pt x="401" y="306"/>
                    </a:lnTo>
                    <a:lnTo>
                      <a:pt x="405" y="291"/>
                    </a:lnTo>
                    <a:lnTo>
                      <a:pt x="388" y="293"/>
                    </a:lnTo>
                    <a:lnTo>
                      <a:pt x="391" y="286"/>
                    </a:lnTo>
                    <a:lnTo>
                      <a:pt x="383" y="271"/>
                    </a:lnTo>
                    <a:lnTo>
                      <a:pt x="375" y="269"/>
                    </a:lnTo>
                    <a:lnTo>
                      <a:pt x="376" y="260"/>
                    </a:lnTo>
                    <a:lnTo>
                      <a:pt x="362" y="266"/>
                    </a:lnTo>
                    <a:lnTo>
                      <a:pt x="357" y="263"/>
                    </a:lnTo>
                    <a:lnTo>
                      <a:pt x="360" y="258"/>
                    </a:lnTo>
                    <a:lnTo>
                      <a:pt x="358" y="254"/>
                    </a:lnTo>
                    <a:lnTo>
                      <a:pt x="347" y="254"/>
                    </a:lnTo>
                    <a:lnTo>
                      <a:pt x="350" y="247"/>
                    </a:lnTo>
                    <a:lnTo>
                      <a:pt x="326" y="238"/>
                    </a:lnTo>
                    <a:lnTo>
                      <a:pt x="336" y="235"/>
                    </a:lnTo>
                    <a:lnTo>
                      <a:pt x="329" y="227"/>
                    </a:lnTo>
                    <a:lnTo>
                      <a:pt x="334" y="221"/>
                    </a:lnTo>
                    <a:lnTo>
                      <a:pt x="323" y="214"/>
                    </a:lnTo>
                    <a:lnTo>
                      <a:pt x="353" y="211"/>
                    </a:lnTo>
                    <a:lnTo>
                      <a:pt x="318" y="199"/>
                    </a:lnTo>
                    <a:lnTo>
                      <a:pt x="342" y="192"/>
                    </a:lnTo>
                    <a:lnTo>
                      <a:pt x="345" y="187"/>
                    </a:lnTo>
                    <a:lnTo>
                      <a:pt x="343" y="183"/>
                    </a:lnTo>
                    <a:lnTo>
                      <a:pt x="329" y="167"/>
                    </a:lnTo>
                    <a:lnTo>
                      <a:pt x="326" y="175"/>
                    </a:lnTo>
                    <a:lnTo>
                      <a:pt x="316" y="181"/>
                    </a:lnTo>
                    <a:lnTo>
                      <a:pt x="321" y="172"/>
                    </a:lnTo>
                    <a:lnTo>
                      <a:pt x="306" y="173"/>
                    </a:lnTo>
                    <a:lnTo>
                      <a:pt x="323" y="163"/>
                    </a:lnTo>
                    <a:lnTo>
                      <a:pt x="324" y="154"/>
                    </a:lnTo>
                    <a:lnTo>
                      <a:pt x="308" y="146"/>
                    </a:lnTo>
                    <a:lnTo>
                      <a:pt x="295" y="159"/>
                    </a:lnTo>
                    <a:lnTo>
                      <a:pt x="303" y="143"/>
                    </a:lnTo>
                    <a:lnTo>
                      <a:pt x="288" y="151"/>
                    </a:lnTo>
                    <a:lnTo>
                      <a:pt x="293" y="138"/>
                    </a:lnTo>
                    <a:lnTo>
                      <a:pt x="292" y="134"/>
                    </a:lnTo>
                    <a:lnTo>
                      <a:pt x="269" y="134"/>
                    </a:lnTo>
                    <a:lnTo>
                      <a:pt x="284" y="129"/>
                    </a:lnTo>
                    <a:lnTo>
                      <a:pt x="285" y="125"/>
                    </a:lnTo>
                    <a:lnTo>
                      <a:pt x="280" y="112"/>
                    </a:lnTo>
                    <a:lnTo>
                      <a:pt x="262" y="102"/>
                    </a:lnTo>
                    <a:lnTo>
                      <a:pt x="258" y="110"/>
                    </a:lnTo>
                    <a:lnTo>
                      <a:pt x="252" y="110"/>
                    </a:lnTo>
                    <a:lnTo>
                      <a:pt x="252" y="121"/>
                    </a:lnTo>
                    <a:lnTo>
                      <a:pt x="247" y="115"/>
                    </a:lnTo>
                    <a:lnTo>
                      <a:pt x="247" y="110"/>
                    </a:lnTo>
                    <a:lnTo>
                      <a:pt x="240" y="115"/>
                    </a:lnTo>
                    <a:lnTo>
                      <a:pt x="248" y="98"/>
                    </a:lnTo>
                    <a:lnTo>
                      <a:pt x="226" y="104"/>
                    </a:lnTo>
                    <a:lnTo>
                      <a:pt x="235" y="96"/>
                    </a:lnTo>
                    <a:lnTo>
                      <a:pt x="236" y="85"/>
                    </a:lnTo>
                    <a:lnTo>
                      <a:pt x="223" y="83"/>
                    </a:lnTo>
                    <a:lnTo>
                      <a:pt x="226" y="73"/>
                    </a:lnTo>
                    <a:lnTo>
                      <a:pt x="216" y="60"/>
                    </a:lnTo>
                    <a:lnTo>
                      <a:pt x="188" y="52"/>
                    </a:lnTo>
                    <a:lnTo>
                      <a:pt x="173" y="62"/>
                    </a:lnTo>
                    <a:lnTo>
                      <a:pt x="176" y="71"/>
                    </a:lnTo>
                    <a:lnTo>
                      <a:pt x="165" y="77"/>
                    </a:lnTo>
                    <a:lnTo>
                      <a:pt x="154" y="72"/>
                    </a:lnTo>
                    <a:lnTo>
                      <a:pt x="154" y="63"/>
                    </a:lnTo>
                    <a:lnTo>
                      <a:pt x="150" y="78"/>
                    </a:lnTo>
                    <a:lnTo>
                      <a:pt x="137" y="92"/>
                    </a:lnTo>
                    <a:lnTo>
                      <a:pt x="136" y="85"/>
                    </a:lnTo>
                    <a:lnTo>
                      <a:pt x="142" y="83"/>
                    </a:lnTo>
                    <a:lnTo>
                      <a:pt x="138" y="81"/>
                    </a:lnTo>
                    <a:lnTo>
                      <a:pt x="145" y="53"/>
                    </a:lnTo>
                    <a:lnTo>
                      <a:pt x="139" y="44"/>
                    </a:lnTo>
                    <a:lnTo>
                      <a:pt x="142" y="36"/>
                    </a:lnTo>
                    <a:lnTo>
                      <a:pt x="130" y="27"/>
                    </a:lnTo>
                    <a:lnTo>
                      <a:pt x="134" y="23"/>
                    </a:lnTo>
                    <a:lnTo>
                      <a:pt x="129" y="1"/>
                    </a:lnTo>
                    <a:lnTo>
                      <a:pt x="98" y="8"/>
                    </a:lnTo>
                    <a:lnTo>
                      <a:pt x="93" y="14"/>
                    </a:lnTo>
                    <a:lnTo>
                      <a:pt x="97" y="18"/>
                    </a:lnTo>
                    <a:lnTo>
                      <a:pt x="97" y="24"/>
                    </a:lnTo>
                    <a:lnTo>
                      <a:pt x="85" y="17"/>
                    </a:lnTo>
                    <a:lnTo>
                      <a:pt x="86" y="27"/>
                    </a:lnTo>
                    <a:lnTo>
                      <a:pt x="76" y="23"/>
                    </a:lnTo>
                    <a:lnTo>
                      <a:pt x="76" y="27"/>
                    </a:lnTo>
                    <a:lnTo>
                      <a:pt x="78" y="31"/>
                    </a:lnTo>
                    <a:lnTo>
                      <a:pt x="93" y="38"/>
                    </a:lnTo>
                    <a:lnTo>
                      <a:pt x="69" y="36"/>
                    </a:lnTo>
                    <a:lnTo>
                      <a:pt x="91" y="51"/>
                    </a:lnTo>
                    <a:lnTo>
                      <a:pt x="66" y="45"/>
                    </a:lnTo>
                    <a:lnTo>
                      <a:pt x="69" y="68"/>
                    </a:lnTo>
                    <a:lnTo>
                      <a:pt x="79" y="70"/>
                    </a:lnTo>
                    <a:lnTo>
                      <a:pt x="63" y="89"/>
                    </a:lnTo>
                    <a:lnTo>
                      <a:pt x="71" y="103"/>
                    </a:lnTo>
                    <a:lnTo>
                      <a:pt x="82" y="105"/>
                    </a:lnTo>
                    <a:lnTo>
                      <a:pt x="79" y="133"/>
                    </a:lnTo>
                    <a:lnTo>
                      <a:pt x="77" y="137"/>
                    </a:lnTo>
                    <a:lnTo>
                      <a:pt x="76" y="128"/>
                    </a:lnTo>
                    <a:lnTo>
                      <a:pt x="52" y="134"/>
                    </a:lnTo>
                    <a:lnTo>
                      <a:pt x="77" y="122"/>
                    </a:lnTo>
                    <a:lnTo>
                      <a:pt x="58" y="94"/>
                    </a:lnTo>
                    <a:lnTo>
                      <a:pt x="54" y="85"/>
                    </a:lnTo>
                    <a:lnTo>
                      <a:pt x="58" y="70"/>
                    </a:lnTo>
                    <a:lnTo>
                      <a:pt x="52" y="58"/>
                    </a:lnTo>
                    <a:lnTo>
                      <a:pt x="59" y="30"/>
                    </a:lnTo>
                    <a:lnTo>
                      <a:pt x="77" y="0"/>
                    </a:lnTo>
                    <a:lnTo>
                      <a:pt x="40" y="1"/>
                    </a:lnTo>
                    <a:lnTo>
                      <a:pt x="15" y="32"/>
                    </a:lnTo>
                    <a:lnTo>
                      <a:pt x="11" y="50"/>
                    </a:lnTo>
                    <a:lnTo>
                      <a:pt x="14" y="51"/>
                    </a:lnTo>
                    <a:lnTo>
                      <a:pt x="9" y="51"/>
                    </a:lnTo>
                    <a:lnTo>
                      <a:pt x="4" y="70"/>
                    </a:lnTo>
                    <a:lnTo>
                      <a:pt x="5" y="79"/>
                    </a:lnTo>
                    <a:lnTo>
                      <a:pt x="8" y="79"/>
                    </a:lnTo>
                    <a:lnTo>
                      <a:pt x="0" y="89"/>
                    </a:lnTo>
                    <a:lnTo>
                      <a:pt x="5" y="99"/>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5" name="Freeform 40"/>
              <p:cNvSpPr>
                <a:spLocks/>
              </p:cNvSpPr>
              <p:nvPr/>
            </p:nvSpPr>
            <p:spPr bwMode="auto">
              <a:xfrm>
                <a:off x="2160" y="-1539"/>
                <a:ext cx="98" cy="113"/>
              </a:xfrm>
              <a:custGeom>
                <a:avLst/>
                <a:gdLst>
                  <a:gd name="T0" fmla="*/ 46 w 98"/>
                  <a:gd name="T1" fmla="*/ 2 h 113"/>
                  <a:gd name="T2" fmla="*/ 39 w 98"/>
                  <a:gd name="T3" fmla="*/ 5 h 113"/>
                  <a:gd name="T4" fmla="*/ 28 w 98"/>
                  <a:gd name="T5" fmla="*/ 21 h 113"/>
                  <a:gd name="T6" fmla="*/ 31 w 98"/>
                  <a:gd name="T7" fmla="*/ 23 h 113"/>
                  <a:gd name="T8" fmla="*/ 27 w 98"/>
                  <a:gd name="T9" fmla="*/ 31 h 113"/>
                  <a:gd name="T10" fmla="*/ 28 w 98"/>
                  <a:gd name="T11" fmla="*/ 32 h 113"/>
                  <a:gd name="T12" fmla="*/ 24 w 98"/>
                  <a:gd name="T13" fmla="*/ 35 h 113"/>
                  <a:gd name="T14" fmla="*/ 21 w 98"/>
                  <a:gd name="T15" fmla="*/ 48 h 113"/>
                  <a:gd name="T16" fmla="*/ 16 w 98"/>
                  <a:gd name="T17" fmla="*/ 50 h 113"/>
                  <a:gd name="T18" fmla="*/ 19 w 98"/>
                  <a:gd name="T19" fmla="*/ 58 h 113"/>
                  <a:gd name="T20" fmla="*/ 13 w 98"/>
                  <a:gd name="T21" fmla="*/ 58 h 113"/>
                  <a:gd name="T22" fmla="*/ 9 w 98"/>
                  <a:gd name="T23" fmla="*/ 68 h 113"/>
                  <a:gd name="T24" fmla="*/ 1 w 98"/>
                  <a:gd name="T25" fmla="*/ 70 h 113"/>
                  <a:gd name="T26" fmla="*/ 12 w 98"/>
                  <a:gd name="T27" fmla="*/ 73 h 113"/>
                  <a:gd name="T28" fmla="*/ 0 w 98"/>
                  <a:gd name="T29" fmla="*/ 84 h 113"/>
                  <a:gd name="T30" fmla="*/ 0 w 98"/>
                  <a:gd name="T31" fmla="*/ 88 h 113"/>
                  <a:gd name="T32" fmla="*/ 5 w 98"/>
                  <a:gd name="T33" fmla="*/ 92 h 113"/>
                  <a:gd name="T34" fmla="*/ 38 w 98"/>
                  <a:gd name="T35" fmla="*/ 92 h 113"/>
                  <a:gd name="T36" fmla="*/ 53 w 98"/>
                  <a:gd name="T37" fmla="*/ 86 h 113"/>
                  <a:gd name="T38" fmla="*/ 51 w 98"/>
                  <a:gd name="T39" fmla="*/ 90 h 113"/>
                  <a:gd name="T40" fmla="*/ 47 w 98"/>
                  <a:gd name="T41" fmla="*/ 94 h 113"/>
                  <a:gd name="T42" fmla="*/ 57 w 98"/>
                  <a:gd name="T43" fmla="*/ 94 h 113"/>
                  <a:gd name="T44" fmla="*/ 59 w 98"/>
                  <a:gd name="T45" fmla="*/ 89 h 113"/>
                  <a:gd name="T46" fmla="*/ 66 w 98"/>
                  <a:gd name="T47" fmla="*/ 92 h 113"/>
                  <a:gd name="T48" fmla="*/ 51 w 98"/>
                  <a:gd name="T49" fmla="*/ 103 h 113"/>
                  <a:gd name="T50" fmla="*/ 53 w 98"/>
                  <a:gd name="T51" fmla="*/ 107 h 113"/>
                  <a:gd name="T52" fmla="*/ 72 w 98"/>
                  <a:gd name="T53" fmla="*/ 95 h 113"/>
                  <a:gd name="T54" fmla="*/ 76 w 98"/>
                  <a:gd name="T55" fmla="*/ 83 h 113"/>
                  <a:gd name="T56" fmla="*/ 78 w 98"/>
                  <a:gd name="T57" fmla="*/ 83 h 113"/>
                  <a:gd name="T58" fmla="*/ 80 w 98"/>
                  <a:gd name="T59" fmla="*/ 96 h 113"/>
                  <a:gd name="T60" fmla="*/ 77 w 98"/>
                  <a:gd name="T61" fmla="*/ 107 h 113"/>
                  <a:gd name="T62" fmla="*/ 84 w 98"/>
                  <a:gd name="T63" fmla="*/ 101 h 113"/>
                  <a:gd name="T64" fmla="*/ 86 w 98"/>
                  <a:gd name="T65" fmla="*/ 113 h 113"/>
                  <a:gd name="T66" fmla="*/ 92 w 98"/>
                  <a:gd name="T67" fmla="*/ 110 h 113"/>
                  <a:gd name="T68" fmla="*/ 98 w 98"/>
                  <a:gd name="T69" fmla="*/ 95 h 113"/>
                  <a:gd name="T70" fmla="*/ 96 w 98"/>
                  <a:gd name="T71" fmla="*/ 88 h 113"/>
                  <a:gd name="T72" fmla="*/ 91 w 98"/>
                  <a:gd name="T73" fmla="*/ 94 h 113"/>
                  <a:gd name="T74" fmla="*/ 94 w 98"/>
                  <a:gd name="T75" fmla="*/ 79 h 113"/>
                  <a:gd name="T76" fmla="*/ 84 w 98"/>
                  <a:gd name="T77" fmla="*/ 90 h 113"/>
                  <a:gd name="T78" fmla="*/ 81 w 98"/>
                  <a:gd name="T79" fmla="*/ 87 h 113"/>
                  <a:gd name="T80" fmla="*/ 84 w 98"/>
                  <a:gd name="T81" fmla="*/ 81 h 113"/>
                  <a:gd name="T82" fmla="*/ 80 w 98"/>
                  <a:gd name="T83" fmla="*/ 79 h 113"/>
                  <a:gd name="T84" fmla="*/ 91 w 98"/>
                  <a:gd name="T85" fmla="*/ 73 h 113"/>
                  <a:gd name="T86" fmla="*/ 92 w 98"/>
                  <a:gd name="T87" fmla="*/ 68 h 113"/>
                  <a:gd name="T88" fmla="*/ 78 w 98"/>
                  <a:gd name="T89" fmla="*/ 71 h 113"/>
                  <a:gd name="T90" fmla="*/ 85 w 98"/>
                  <a:gd name="T91" fmla="*/ 51 h 113"/>
                  <a:gd name="T92" fmla="*/ 72 w 98"/>
                  <a:gd name="T93" fmla="*/ 49 h 113"/>
                  <a:gd name="T94" fmla="*/ 58 w 98"/>
                  <a:gd name="T95" fmla="*/ 54 h 113"/>
                  <a:gd name="T96" fmla="*/ 61 w 98"/>
                  <a:gd name="T97" fmla="*/ 47 h 113"/>
                  <a:gd name="T98" fmla="*/ 51 w 98"/>
                  <a:gd name="T99" fmla="*/ 49 h 113"/>
                  <a:gd name="T100" fmla="*/ 47 w 98"/>
                  <a:gd name="T101" fmla="*/ 43 h 113"/>
                  <a:gd name="T102" fmla="*/ 57 w 98"/>
                  <a:gd name="T103" fmla="*/ 39 h 113"/>
                  <a:gd name="T104" fmla="*/ 47 w 98"/>
                  <a:gd name="T105" fmla="*/ 37 h 113"/>
                  <a:gd name="T106" fmla="*/ 47 w 98"/>
                  <a:gd name="T107" fmla="*/ 35 h 113"/>
                  <a:gd name="T108" fmla="*/ 38 w 98"/>
                  <a:gd name="T109" fmla="*/ 45 h 113"/>
                  <a:gd name="T110" fmla="*/ 38 w 98"/>
                  <a:gd name="T111" fmla="*/ 35 h 113"/>
                  <a:gd name="T112" fmla="*/ 46 w 98"/>
                  <a:gd name="T113" fmla="*/ 23 h 113"/>
                  <a:gd name="T114" fmla="*/ 46 w 98"/>
                  <a:gd name="T115" fmla="*/ 16 h 113"/>
                  <a:gd name="T116" fmla="*/ 51 w 98"/>
                  <a:gd name="T117" fmla="*/ 16 h 113"/>
                  <a:gd name="T118" fmla="*/ 51 w 98"/>
                  <a:gd name="T119" fmla="*/ 10 h 113"/>
                  <a:gd name="T120" fmla="*/ 50 w 98"/>
                  <a:gd name="T121" fmla="*/ 5 h 113"/>
                  <a:gd name="T122" fmla="*/ 55 w 98"/>
                  <a:gd name="T123" fmla="*/ 0 h 113"/>
                  <a:gd name="T124" fmla="*/ 46 w 98"/>
                  <a:gd name="T125" fmla="*/ 2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8" h="113">
                    <a:moveTo>
                      <a:pt x="46" y="2"/>
                    </a:moveTo>
                    <a:lnTo>
                      <a:pt x="39" y="5"/>
                    </a:lnTo>
                    <a:lnTo>
                      <a:pt x="28" y="21"/>
                    </a:lnTo>
                    <a:lnTo>
                      <a:pt x="31" y="23"/>
                    </a:lnTo>
                    <a:lnTo>
                      <a:pt x="27" y="31"/>
                    </a:lnTo>
                    <a:lnTo>
                      <a:pt x="28" y="32"/>
                    </a:lnTo>
                    <a:lnTo>
                      <a:pt x="24" y="35"/>
                    </a:lnTo>
                    <a:lnTo>
                      <a:pt x="21" y="48"/>
                    </a:lnTo>
                    <a:lnTo>
                      <a:pt x="16" y="50"/>
                    </a:lnTo>
                    <a:lnTo>
                      <a:pt x="19" y="58"/>
                    </a:lnTo>
                    <a:lnTo>
                      <a:pt x="13" y="58"/>
                    </a:lnTo>
                    <a:lnTo>
                      <a:pt x="9" y="68"/>
                    </a:lnTo>
                    <a:lnTo>
                      <a:pt x="1" y="70"/>
                    </a:lnTo>
                    <a:lnTo>
                      <a:pt x="12" y="73"/>
                    </a:lnTo>
                    <a:lnTo>
                      <a:pt x="0" y="84"/>
                    </a:lnTo>
                    <a:lnTo>
                      <a:pt x="0" y="88"/>
                    </a:lnTo>
                    <a:lnTo>
                      <a:pt x="5" y="92"/>
                    </a:lnTo>
                    <a:lnTo>
                      <a:pt x="38" y="92"/>
                    </a:lnTo>
                    <a:lnTo>
                      <a:pt x="53" y="86"/>
                    </a:lnTo>
                    <a:lnTo>
                      <a:pt x="51" y="90"/>
                    </a:lnTo>
                    <a:lnTo>
                      <a:pt x="47" y="94"/>
                    </a:lnTo>
                    <a:lnTo>
                      <a:pt x="57" y="94"/>
                    </a:lnTo>
                    <a:lnTo>
                      <a:pt x="59" y="89"/>
                    </a:lnTo>
                    <a:lnTo>
                      <a:pt x="66" y="92"/>
                    </a:lnTo>
                    <a:lnTo>
                      <a:pt x="51" y="103"/>
                    </a:lnTo>
                    <a:lnTo>
                      <a:pt x="53" y="107"/>
                    </a:lnTo>
                    <a:lnTo>
                      <a:pt x="72" y="95"/>
                    </a:lnTo>
                    <a:lnTo>
                      <a:pt x="76" y="83"/>
                    </a:lnTo>
                    <a:lnTo>
                      <a:pt x="78" y="83"/>
                    </a:lnTo>
                    <a:lnTo>
                      <a:pt x="80" y="96"/>
                    </a:lnTo>
                    <a:lnTo>
                      <a:pt x="77" y="107"/>
                    </a:lnTo>
                    <a:lnTo>
                      <a:pt x="84" y="101"/>
                    </a:lnTo>
                    <a:lnTo>
                      <a:pt x="86" y="113"/>
                    </a:lnTo>
                    <a:lnTo>
                      <a:pt x="92" y="110"/>
                    </a:lnTo>
                    <a:lnTo>
                      <a:pt x="98" y="95"/>
                    </a:lnTo>
                    <a:lnTo>
                      <a:pt x="96" y="88"/>
                    </a:lnTo>
                    <a:lnTo>
                      <a:pt x="91" y="94"/>
                    </a:lnTo>
                    <a:lnTo>
                      <a:pt x="94" y="79"/>
                    </a:lnTo>
                    <a:lnTo>
                      <a:pt x="84" y="90"/>
                    </a:lnTo>
                    <a:lnTo>
                      <a:pt x="81" y="87"/>
                    </a:lnTo>
                    <a:lnTo>
                      <a:pt x="84" y="81"/>
                    </a:lnTo>
                    <a:lnTo>
                      <a:pt x="80" y="79"/>
                    </a:lnTo>
                    <a:lnTo>
                      <a:pt x="91" y="73"/>
                    </a:lnTo>
                    <a:lnTo>
                      <a:pt x="92" y="68"/>
                    </a:lnTo>
                    <a:lnTo>
                      <a:pt x="78" y="71"/>
                    </a:lnTo>
                    <a:lnTo>
                      <a:pt x="85" y="51"/>
                    </a:lnTo>
                    <a:lnTo>
                      <a:pt x="72" y="49"/>
                    </a:lnTo>
                    <a:lnTo>
                      <a:pt x="58" y="54"/>
                    </a:lnTo>
                    <a:lnTo>
                      <a:pt x="61" y="47"/>
                    </a:lnTo>
                    <a:lnTo>
                      <a:pt x="51" y="49"/>
                    </a:lnTo>
                    <a:lnTo>
                      <a:pt x="47" y="43"/>
                    </a:lnTo>
                    <a:lnTo>
                      <a:pt x="57" y="39"/>
                    </a:lnTo>
                    <a:lnTo>
                      <a:pt x="47" y="37"/>
                    </a:lnTo>
                    <a:lnTo>
                      <a:pt x="47" y="35"/>
                    </a:lnTo>
                    <a:lnTo>
                      <a:pt x="38" y="45"/>
                    </a:lnTo>
                    <a:lnTo>
                      <a:pt x="38" y="35"/>
                    </a:lnTo>
                    <a:lnTo>
                      <a:pt x="46" y="23"/>
                    </a:lnTo>
                    <a:lnTo>
                      <a:pt x="46" y="16"/>
                    </a:lnTo>
                    <a:lnTo>
                      <a:pt x="51" y="16"/>
                    </a:lnTo>
                    <a:lnTo>
                      <a:pt x="51" y="10"/>
                    </a:lnTo>
                    <a:lnTo>
                      <a:pt x="50" y="5"/>
                    </a:lnTo>
                    <a:lnTo>
                      <a:pt x="55" y="0"/>
                    </a:lnTo>
                    <a:lnTo>
                      <a:pt x="46" y="2"/>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6" name="Freeform 41"/>
              <p:cNvSpPr>
                <a:spLocks/>
              </p:cNvSpPr>
              <p:nvPr/>
            </p:nvSpPr>
            <p:spPr bwMode="auto">
              <a:xfrm>
                <a:off x="1779" y="-998"/>
                <a:ext cx="159" cy="53"/>
              </a:xfrm>
              <a:custGeom>
                <a:avLst/>
                <a:gdLst>
                  <a:gd name="T0" fmla="*/ 159 w 159"/>
                  <a:gd name="T1" fmla="*/ 48 h 53"/>
                  <a:gd name="T2" fmla="*/ 148 w 159"/>
                  <a:gd name="T3" fmla="*/ 40 h 53"/>
                  <a:gd name="T4" fmla="*/ 136 w 159"/>
                  <a:gd name="T5" fmla="*/ 40 h 53"/>
                  <a:gd name="T6" fmla="*/ 136 w 159"/>
                  <a:gd name="T7" fmla="*/ 34 h 53"/>
                  <a:gd name="T8" fmla="*/ 121 w 159"/>
                  <a:gd name="T9" fmla="*/ 30 h 53"/>
                  <a:gd name="T10" fmla="*/ 114 w 159"/>
                  <a:gd name="T11" fmla="*/ 25 h 53"/>
                  <a:gd name="T12" fmla="*/ 101 w 159"/>
                  <a:gd name="T13" fmla="*/ 21 h 53"/>
                  <a:gd name="T14" fmla="*/ 93 w 159"/>
                  <a:gd name="T15" fmla="*/ 14 h 53"/>
                  <a:gd name="T16" fmla="*/ 81 w 159"/>
                  <a:gd name="T17" fmla="*/ 13 h 53"/>
                  <a:gd name="T18" fmla="*/ 70 w 159"/>
                  <a:gd name="T19" fmla="*/ 4 h 53"/>
                  <a:gd name="T20" fmla="*/ 48 w 159"/>
                  <a:gd name="T21" fmla="*/ 0 h 53"/>
                  <a:gd name="T22" fmla="*/ 35 w 159"/>
                  <a:gd name="T23" fmla="*/ 0 h 53"/>
                  <a:gd name="T24" fmla="*/ 16 w 159"/>
                  <a:gd name="T25" fmla="*/ 7 h 53"/>
                  <a:gd name="T26" fmla="*/ 7 w 159"/>
                  <a:gd name="T27" fmla="*/ 11 h 53"/>
                  <a:gd name="T28" fmla="*/ 5 w 159"/>
                  <a:gd name="T29" fmla="*/ 20 h 53"/>
                  <a:gd name="T30" fmla="*/ 0 w 159"/>
                  <a:gd name="T31" fmla="*/ 21 h 53"/>
                  <a:gd name="T32" fmla="*/ 5 w 159"/>
                  <a:gd name="T33" fmla="*/ 24 h 53"/>
                  <a:gd name="T34" fmla="*/ 16 w 159"/>
                  <a:gd name="T35" fmla="*/ 18 h 53"/>
                  <a:gd name="T36" fmla="*/ 24 w 159"/>
                  <a:gd name="T37" fmla="*/ 15 h 53"/>
                  <a:gd name="T38" fmla="*/ 31 w 159"/>
                  <a:gd name="T39" fmla="*/ 9 h 53"/>
                  <a:gd name="T40" fmla="*/ 43 w 159"/>
                  <a:gd name="T41" fmla="*/ 9 h 53"/>
                  <a:gd name="T42" fmla="*/ 46 w 159"/>
                  <a:gd name="T43" fmla="*/ 11 h 53"/>
                  <a:gd name="T44" fmla="*/ 41 w 159"/>
                  <a:gd name="T45" fmla="*/ 14 h 53"/>
                  <a:gd name="T46" fmla="*/ 43 w 159"/>
                  <a:gd name="T47" fmla="*/ 18 h 53"/>
                  <a:gd name="T48" fmla="*/ 64 w 159"/>
                  <a:gd name="T49" fmla="*/ 19 h 53"/>
                  <a:gd name="T50" fmla="*/ 74 w 159"/>
                  <a:gd name="T51" fmla="*/ 26 h 53"/>
                  <a:gd name="T52" fmla="*/ 91 w 159"/>
                  <a:gd name="T53" fmla="*/ 27 h 53"/>
                  <a:gd name="T54" fmla="*/ 101 w 159"/>
                  <a:gd name="T55" fmla="*/ 40 h 53"/>
                  <a:gd name="T56" fmla="*/ 116 w 159"/>
                  <a:gd name="T57" fmla="*/ 44 h 53"/>
                  <a:gd name="T58" fmla="*/ 106 w 159"/>
                  <a:gd name="T59" fmla="*/ 52 h 53"/>
                  <a:gd name="T60" fmla="*/ 108 w 159"/>
                  <a:gd name="T61" fmla="*/ 53 h 53"/>
                  <a:gd name="T62" fmla="*/ 141 w 159"/>
                  <a:gd name="T63" fmla="*/ 53 h 53"/>
                  <a:gd name="T64" fmla="*/ 159 w 159"/>
                  <a:gd name="T65" fmla="*/ 48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9" h="53">
                    <a:moveTo>
                      <a:pt x="159" y="48"/>
                    </a:moveTo>
                    <a:lnTo>
                      <a:pt x="148" y="40"/>
                    </a:lnTo>
                    <a:lnTo>
                      <a:pt x="136" y="40"/>
                    </a:lnTo>
                    <a:lnTo>
                      <a:pt x="136" y="34"/>
                    </a:lnTo>
                    <a:lnTo>
                      <a:pt x="121" y="30"/>
                    </a:lnTo>
                    <a:lnTo>
                      <a:pt x="114" y="25"/>
                    </a:lnTo>
                    <a:lnTo>
                      <a:pt x="101" y="21"/>
                    </a:lnTo>
                    <a:lnTo>
                      <a:pt x="93" y="14"/>
                    </a:lnTo>
                    <a:lnTo>
                      <a:pt x="81" y="13"/>
                    </a:lnTo>
                    <a:lnTo>
                      <a:pt x="70" y="4"/>
                    </a:lnTo>
                    <a:lnTo>
                      <a:pt x="48" y="0"/>
                    </a:lnTo>
                    <a:lnTo>
                      <a:pt x="35" y="0"/>
                    </a:lnTo>
                    <a:lnTo>
                      <a:pt x="16" y="7"/>
                    </a:lnTo>
                    <a:lnTo>
                      <a:pt x="7" y="11"/>
                    </a:lnTo>
                    <a:lnTo>
                      <a:pt x="5" y="20"/>
                    </a:lnTo>
                    <a:lnTo>
                      <a:pt x="0" y="21"/>
                    </a:lnTo>
                    <a:lnTo>
                      <a:pt x="5" y="24"/>
                    </a:lnTo>
                    <a:lnTo>
                      <a:pt x="16" y="18"/>
                    </a:lnTo>
                    <a:lnTo>
                      <a:pt x="24" y="15"/>
                    </a:lnTo>
                    <a:lnTo>
                      <a:pt x="31" y="9"/>
                    </a:lnTo>
                    <a:lnTo>
                      <a:pt x="43" y="9"/>
                    </a:lnTo>
                    <a:lnTo>
                      <a:pt x="46" y="11"/>
                    </a:lnTo>
                    <a:lnTo>
                      <a:pt x="41" y="14"/>
                    </a:lnTo>
                    <a:lnTo>
                      <a:pt x="43" y="18"/>
                    </a:lnTo>
                    <a:lnTo>
                      <a:pt x="64" y="19"/>
                    </a:lnTo>
                    <a:lnTo>
                      <a:pt x="74" y="26"/>
                    </a:lnTo>
                    <a:lnTo>
                      <a:pt x="91" y="27"/>
                    </a:lnTo>
                    <a:lnTo>
                      <a:pt x="101" y="40"/>
                    </a:lnTo>
                    <a:lnTo>
                      <a:pt x="116" y="44"/>
                    </a:lnTo>
                    <a:lnTo>
                      <a:pt x="106" y="52"/>
                    </a:lnTo>
                    <a:lnTo>
                      <a:pt x="108" y="53"/>
                    </a:lnTo>
                    <a:lnTo>
                      <a:pt x="141" y="53"/>
                    </a:lnTo>
                    <a:lnTo>
                      <a:pt x="159" y="48"/>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7" name="Freeform 42"/>
              <p:cNvSpPr>
                <a:spLocks/>
              </p:cNvSpPr>
              <p:nvPr/>
            </p:nvSpPr>
            <p:spPr bwMode="auto">
              <a:xfrm>
                <a:off x="1870" y="-987"/>
                <a:ext cx="16" cy="10"/>
              </a:xfrm>
              <a:custGeom>
                <a:avLst/>
                <a:gdLst>
                  <a:gd name="T0" fmla="*/ 16 w 16"/>
                  <a:gd name="T1" fmla="*/ 10 h 10"/>
                  <a:gd name="T2" fmla="*/ 16 w 16"/>
                  <a:gd name="T3" fmla="*/ 7 h 10"/>
                  <a:gd name="T4" fmla="*/ 10 w 16"/>
                  <a:gd name="T5" fmla="*/ 4 h 10"/>
                  <a:gd name="T6" fmla="*/ 0 w 16"/>
                  <a:gd name="T7" fmla="*/ 0 h 10"/>
                  <a:gd name="T8" fmla="*/ 13 w 16"/>
                  <a:gd name="T9" fmla="*/ 10 h 10"/>
                  <a:gd name="T10" fmla="*/ 16 w 16"/>
                  <a:gd name="T11" fmla="*/ 10 h 10"/>
                </a:gdLst>
                <a:ahLst/>
                <a:cxnLst>
                  <a:cxn ang="0">
                    <a:pos x="T0" y="T1"/>
                  </a:cxn>
                  <a:cxn ang="0">
                    <a:pos x="T2" y="T3"/>
                  </a:cxn>
                  <a:cxn ang="0">
                    <a:pos x="T4" y="T5"/>
                  </a:cxn>
                  <a:cxn ang="0">
                    <a:pos x="T6" y="T7"/>
                  </a:cxn>
                  <a:cxn ang="0">
                    <a:pos x="T8" y="T9"/>
                  </a:cxn>
                  <a:cxn ang="0">
                    <a:pos x="T10" y="T11"/>
                  </a:cxn>
                </a:cxnLst>
                <a:rect l="0" t="0" r="r" b="b"/>
                <a:pathLst>
                  <a:path w="16" h="10">
                    <a:moveTo>
                      <a:pt x="16" y="10"/>
                    </a:moveTo>
                    <a:lnTo>
                      <a:pt x="16" y="7"/>
                    </a:lnTo>
                    <a:lnTo>
                      <a:pt x="10" y="4"/>
                    </a:lnTo>
                    <a:lnTo>
                      <a:pt x="0" y="0"/>
                    </a:lnTo>
                    <a:lnTo>
                      <a:pt x="13" y="10"/>
                    </a:lnTo>
                    <a:lnTo>
                      <a:pt x="16" y="1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8" name="Freeform 43"/>
              <p:cNvSpPr>
                <a:spLocks/>
              </p:cNvSpPr>
              <p:nvPr/>
            </p:nvSpPr>
            <p:spPr bwMode="auto">
              <a:xfrm>
                <a:off x="1804" y="-977"/>
                <a:ext cx="7" cy="7"/>
              </a:xfrm>
              <a:custGeom>
                <a:avLst/>
                <a:gdLst>
                  <a:gd name="T0" fmla="*/ 3 w 7"/>
                  <a:gd name="T1" fmla="*/ 0 h 7"/>
                  <a:gd name="T2" fmla="*/ 0 w 7"/>
                  <a:gd name="T3" fmla="*/ 7 h 7"/>
                  <a:gd name="T4" fmla="*/ 7 w 7"/>
                  <a:gd name="T5" fmla="*/ 6 h 7"/>
                  <a:gd name="T6" fmla="*/ 5 w 7"/>
                  <a:gd name="T7" fmla="*/ 0 h 7"/>
                  <a:gd name="T8" fmla="*/ 3 w 7"/>
                  <a:gd name="T9" fmla="*/ 0 h 7"/>
                </a:gdLst>
                <a:ahLst/>
                <a:cxnLst>
                  <a:cxn ang="0">
                    <a:pos x="T0" y="T1"/>
                  </a:cxn>
                  <a:cxn ang="0">
                    <a:pos x="T2" y="T3"/>
                  </a:cxn>
                  <a:cxn ang="0">
                    <a:pos x="T4" y="T5"/>
                  </a:cxn>
                  <a:cxn ang="0">
                    <a:pos x="T6" y="T7"/>
                  </a:cxn>
                  <a:cxn ang="0">
                    <a:pos x="T8" y="T9"/>
                  </a:cxn>
                </a:cxnLst>
                <a:rect l="0" t="0" r="r" b="b"/>
                <a:pathLst>
                  <a:path w="7" h="7">
                    <a:moveTo>
                      <a:pt x="3" y="0"/>
                    </a:moveTo>
                    <a:lnTo>
                      <a:pt x="0" y="7"/>
                    </a:lnTo>
                    <a:lnTo>
                      <a:pt x="7" y="6"/>
                    </a:lnTo>
                    <a:lnTo>
                      <a:pt x="5" y="0"/>
                    </a:lnTo>
                    <a:lnTo>
                      <a:pt x="3"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9" name="Freeform 44"/>
              <p:cNvSpPr>
                <a:spLocks/>
              </p:cNvSpPr>
              <p:nvPr/>
            </p:nvSpPr>
            <p:spPr bwMode="auto">
              <a:xfrm>
                <a:off x="1951" y="-931"/>
                <a:ext cx="7" cy="4"/>
              </a:xfrm>
              <a:custGeom>
                <a:avLst/>
                <a:gdLst>
                  <a:gd name="T0" fmla="*/ 4 w 7"/>
                  <a:gd name="T1" fmla="*/ 0 h 4"/>
                  <a:gd name="T2" fmla="*/ 0 w 7"/>
                  <a:gd name="T3" fmla="*/ 0 h 4"/>
                  <a:gd name="T4" fmla="*/ 2 w 7"/>
                  <a:gd name="T5" fmla="*/ 3 h 4"/>
                  <a:gd name="T6" fmla="*/ 7 w 7"/>
                  <a:gd name="T7" fmla="*/ 4 h 4"/>
                  <a:gd name="T8" fmla="*/ 4 w 7"/>
                  <a:gd name="T9" fmla="*/ 0 h 4"/>
                </a:gdLst>
                <a:ahLst/>
                <a:cxnLst>
                  <a:cxn ang="0">
                    <a:pos x="T0" y="T1"/>
                  </a:cxn>
                  <a:cxn ang="0">
                    <a:pos x="T2" y="T3"/>
                  </a:cxn>
                  <a:cxn ang="0">
                    <a:pos x="T4" y="T5"/>
                  </a:cxn>
                  <a:cxn ang="0">
                    <a:pos x="T6" y="T7"/>
                  </a:cxn>
                  <a:cxn ang="0">
                    <a:pos x="T8" y="T9"/>
                  </a:cxn>
                </a:cxnLst>
                <a:rect l="0" t="0" r="r" b="b"/>
                <a:pathLst>
                  <a:path w="7" h="4">
                    <a:moveTo>
                      <a:pt x="4" y="0"/>
                    </a:moveTo>
                    <a:lnTo>
                      <a:pt x="0" y="0"/>
                    </a:lnTo>
                    <a:lnTo>
                      <a:pt x="2" y="3"/>
                    </a:lnTo>
                    <a:lnTo>
                      <a:pt x="7" y="4"/>
                    </a:lnTo>
                    <a:lnTo>
                      <a:pt x="4"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0" name="Freeform 45"/>
              <p:cNvSpPr>
                <a:spLocks/>
              </p:cNvSpPr>
              <p:nvPr/>
            </p:nvSpPr>
            <p:spPr bwMode="auto">
              <a:xfrm>
                <a:off x="1957" y="-947"/>
                <a:ext cx="3" cy="1"/>
              </a:xfrm>
              <a:custGeom>
                <a:avLst/>
                <a:gdLst>
                  <a:gd name="T0" fmla="*/ 3 w 3"/>
                  <a:gd name="T1" fmla="*/ 1 h 1"/>
                  <a:gd name="T2" fmla="*/ 1 w 3"/>
                  <a:gd name="T3" fmla="*/ 0 h 1"/>
                  <a:gd name="T4" fmla="*/ 0 w 3"/>
                  <a:gd name="T5" fmla="*/ 0 h 1"/>
                  <a:gd name="T6" fmla="*/ 3 w 3"/>
                  <a:gd name="T7" fmla="*/ 1 h 1"/>
                </a:gdLst>
                <a:ahLst/>
                <a:cxnLst>
                  <a:cxn ang="0">
                    <a:pos x="T0" y="T1"/>
                  </a:cxn>
                  <a:cxn ang="0">
                    <a:pos x="T2" y="T3"/>
                  </a:cxn>
                  <a:cxn ang="0">
                    <a:pos x="T4" y="T5"/>
                  </a:cxn>
                  <a:cxn ang="0">
                    <a:pos x="T6" y="T7"/>
                  </a:cxn>
                </a:cxnLst>
                <a:rect l="0" t="0" r="r" b="b"/>
                <a:pathLst>
                  <a:path w="3" h="1">
                    <a:moveTo>
                      <a:pt x="3" y="1"/>
                    </a:moveTo>
                    <a:lnTo>
                      <a:pt x="1" y="0"/>
                    </a:lnTo>
                    <a:lnTo>
                      <a:pt x="0" y="0"/>
                    </a:lnTo>
                    <a:lnTo>
                      <a:pt x="3" y="1"/>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1" name="Freeform 46"/>
              <p:cNvSpPr>
                <a:spLocks/>
              </p:cNvSpPr>
              <p:nvPr/>
            </p:nvSpPr>
            <p:spPr bwMode="auto">
              <a:xfrm>
                <a:off x="1935" y="-946"/>
                <a:ext cx="89" cy="36"/>
              </a:xfrm>
              <a:custGeom>
                <a:avLst/>
                <a:gdLst>
                  <a:gd name="T0" fmla="*/ 12 w 89"/>
                  <a:gd name="T1" fmla="*/ 26 h 36"/>
                  <a:gd name="T2" fmla="*/ 24 w 89"/>
                  <a:gd name="T3" fmla="*/ 30 h 36"/>
                  <a:gd name="T4" fmla="*/ 32 w 89"/>
                  <a:gd name="T5" fmla="*/ 27 h 36"/>
                  <a:gd name="T6" fmla="*/ 39 w 89"/>
                  <a:gd name="T7" fmla="*/ 30 h 36"/>
                  <a:gd name="T8" fmla="*/ 43 w 89"/>
                  <a:gd name="T9" fmla="*/ 36 h 36"/>
                  <a:gd name="T10" fmla="*/ 54 w 89"/>
                  <a:gd name="T11" fmla="*/ 24 h 36"/>
                  <a:gd name="T12" fmla="*/ 57 w 89"/>
                  <a:gd name="T13" fmla="*/ 28 h 36"/>
                  <a:gd name="T14" fmla="*/ 71 w 89"/>
                  <a:gd name="T15" fmla="*/ 24 h 36"/>
                  <a:gd name="T16" fmla="*/ 87 w 89"/>
                  <a:gd name="T17" fmla="*/ 26 h 36"/>
                  <a:gd name="T18" fmla="*/ 89 w 89"/>
                  <a:gd name="T19" fmla="*/ 21 h 36"/>
                  <a:gd name="T20" fmla="*/ 82 w 89"/>
                  <a:gd name="T21" fmla="*/ 15 h 36"/>
                  <a:gd name="T22" fmla="*/ 72 w 89"/>
                  <a:gd name="T23" fmla="*/ 13 h 36"/>
                  <a:gd name="T24" fmla="*/ 76 w 89"/>
                  <a:gd name="T25" fmla="*/ 11 h 36"/>
                  <a:gd name="T26" fmla="*/ 68 w 89"/>
                  <a:gd name="T27" fmla="*/ 10 h 36"/>
                  <a:gd name="T28" fmla="*/ 65 w 89"/>
                  <a:gd name="T29" fmla="*/ 5 h 36"/>
                  <a:gd name="T30" fmla="*/ 54 w 89"/>
                  <a:gd name="T31" fmla="*/ 0 h 36"/>
                  <a:gd name="T32" fmla="*/ 38 w 89"/>
                  <a:gd name="T33" fmla="*/ 1 h 36"/>
                  <a:gd name="T34" fmla="*/ 30 w 89"/>
                  <a:gd name="T35" fmla="*/ 4 h 36"/>
                  <a:gd name="T36" fmla="*/ 22 w 89"/>
                  <a:gd name="T37" fmla="*/ 0 h 36"/>
                  <a:gd name="T38" fmla="*/ 13 w 89"/>
                  <a:gd name="T39" fmla="*/ 4 h 36"/>
                  <a:gd name="T40" fmla="*/ 23 w 89"/>
                  <a:gd name="T41" fmla="*/ 7 h 36"/>
                  <a:gd name="T42" fmla="*/ 24 w 89"/>
                  <a:gd name="T43" fmla="*/ 15 h 36"/>
                  <a:gd name="T44" fmla="*/ 30 w 89"/>
                  <a:gd name="T45" fmla="*/ 19 h 36"/>
                  <a:gd name="T46" fmla="*/ 29 w 89"/>
                  <a:gd name="T47" fmla="*/ 23 h 36"/>
                  <a:gd name="T48" fmla="*/ 0 w 89"/>
                  <a:gd name="T49" fmla="*/ 21 h 36"/>
                  <a:gd name="T50" fmla="*/ 0 w 89"/>
                  <a:gd name="T51" fmla="*/ 24 h 36"/>
                  <a:gd name="T52" fmla="*/ 7 w 89"/>
                  <a:gd name="T53" fmla="*/ 30 h 36"/>
                  <a:gd name="T54" fmla="*/ 12 w 89"/>
                  <a:gd name="T55" fmla="*/ 2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9" h="36">
                    <a:moveTo>
                      <a:pt x="12" y="26"/>
                    </a:moveTo>
                    <a:lnTo>
                      <a:pt x="24" y="30"/>
                    </a:lnTo>
                    <a:lnTo>
                      <a:pt x="32" y="27"/>
                    </a:lnTo>
                    <a:lnTo>
                      <a:pt x="39" y="30"/>
                    </a:lnTo>
                    <a:lnTo>
                      <a:pt x="43" y="36"/>
                    </a:lnTo>
                    <a:lnTo>
                      <a:pt x="54" y="24"/>
                    </a:lnTo>
                    <a:lnTo>
                      <a:pt x="57" y="28"/>
                    </a:lnTo>
                    <a:lnTo>
                      <a:pt x="71" y="24"/>
                    </a:lnTo>
                    <a:lnTo>
                      <a:pt x="87" y="26"/>
                    </a:lnTo>
                    <a:lnTo>
                      <a:pt x="89" y="21"/>
                    </a:lnTo>
                    <a:lnTo>
                      <a:pt x="82" y="15"/>
                    </a:lnTo>
                    <a:lnTo>
                      <a:pt x="72" y="13"/>
                    </a:lnTo>
                    <a:lnTo>
                      <a:pt x="76" y="11"/>
                    </a:lnTo>
                    <a:lnTo>
                      <a:pt x="68" y="10"/>
                    </a:lnTo>
                    <a:lnTo>
                      <a:pt x="65" y="5"/>
                    </a:lnTo>
                    <a:lnTo>
                      <a:pt x="54" y="0"/>
                    </a:lnTo>
                    <a:lnTo>
                      <a:pt x="38" y="1"/>
                    </a:lnTo>
                    <a:lnTo>
                      <a:pt x="30" y="4"/>
                    </a:lnTo>
                    <a:lnTo>
                      <a:pt x="22" y="0"/>
                    </a:lnTo>
                    <a:lnTo>
                      <a:pt x="13" y="4"/>
                    </a:lnTo>
                    <a:lnTo>
                      <a:pt x="23" y="7"/>
                    </a:lnTo>
                    <a:lnTo>
                      <a:pt x="24" y="15"/>
                    </a:lnTo>
                    <a:lnTo>
                      <a:pt x="30" y="19"/>
                    </a:lnTo>
                    <a:lnTo>
                      <a:pt x="29" y="23"/>
                    </a:lnTo>
                    <a:lnTo>
                      <a:pt x="0" y="21"/>
                    </a:lnTo>
                    <a:lnTo>
                      <a:pt x="0" y="24"/>
                    </a:lnTo>
                    <a:lnTo>
                      <a:pt x="7" y="30"/>
                    </a:lnTo>
                    <a:lnTo>
                      <a:pt x="12" y="26"/>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2" name="Freeform 47"/>
              <p:cNvSpPr>
                <a:spLocks/>
              </p:cNvSpPr>
              <p:nvPr/>
            </p:nvSpPr>
            <p:spPr bwMode="auto">
              <a:xfrm>
                <a:off x="1876" y="-925"/>
                <a:ext cx="31" cy="13"/>
              </a:xfrm>
              <a:custGeom>
                <a:avLst/>
                <a:gdLst>
                  <a:gd name="T0" fmla="*/ 6 w 31"/>
                  <a:gd name="T1" fmla="*/ 0 h 13"/>
                  <a:gd name="T2" fmla="*/ 0 w 31"/>
                  <a:gd name="T3" fmla="*/ 5 h 13"/>
                  <a:gd name="T4" fmla="*/ 10 w 31"/>
                  <a:gd name="T5" fmla="*/ 12 h 13"/>
                  <a:gd name="T6" fmla="*/ 18 w 31"/>
                  <a:gd name="T7" fmla="*/ 13 h 13"/>
                  <a:gd name="T8" fmla="*/ 25 w 31"/>
                  <a:gd name="T9" fmla="*/ 10 h 13"/>
                  <a:gd name="T10" fmla="*/ 31 w 31"/>
                  <a:gd name="T11" fmla="*/ 11 h 13"/>
                  <a:gd name="T12" fmla="*/ 29 w 31"/>
                  <a:gd name="T13" fmla="*/ 6 h 13"/>
                  <a:gd name="T14" fmla="*/ 18 w 31"/>
                  <a:gd name="T15" fmla="*/ 3 h 13"/>
                  <a:gd name="T16" fmla="*/ 6 w 31"/>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13">
                    <a:moveTo>
                      <a:pt x="6" y="0"/>
                    </a:moveTo>
                    <a:lnTo>
                      <a:pt x="0" y="5"/>
                    </a:lnTo>
                    <a:lnTo>
                      <a:pt x="10" y="12"/>
                    </a:lnTo>
                    <a:lnTo>
                      <a:pt x="18" y="13"/>
                    </a:lnTo>
                    <a:lnTo>
                      <a:pt x="25" y="10"/>
                    </a:lnTo>
                    <a:lnTo>
                      <a:pt x="31" y="11"/>
                    </a:lnTo>
                    <a:lnTo>
                      <a:pt x="29" y="6"/>
                    </a:lnTo>
                    <a:lnTo>
                      <a:pt x="18" y="3"/>
                    </a:lnTo>
                    <a:lnTo>
                      <a:pt x="6"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3" name="Freeform 48"/>
              <p:cNvSpPr>
                <a:spLocks/>
              </p:cNvSpPr>
              <p:nvPr/>
            </p:nvSpPr>
            <p:spPr bwMode="auto">
              <a:xfrm>
                <a:off x="1370" y="-1095"/>
                <a:ext cx="4" cy="6"/>
              </a:xfrm>
              <a:custGeom>
                <a:avLst/>
                <a:gdLst>
                  <a:gd name="T0" fmla="*/ 0 w 4"/>
                  <a:gd name="T1" fmla="*/ 6 h 6"/>
                  <a:gd name="T2" fmla="*/ 4 w 4"/>
                  <a:gd name="T3" fmla="*/ 6 h 6"/>
                  <a:gd name="T4" fmla="*/ 3 w 4"/>
                  <a:gd name="T5" fmla="*/ 0 h 6"/>
                  <a:gd name="T6" fmla="*/ 0 w 4"/>
                  <a:gd name="T7" fmla="*/ 2 h 6"/>
                  <a:gd name="T8" fmla="*/ 0 w 4"/>
                  <a:gd name="T9" fmla="*/ 6 h 6"/>
                </a:gdLst>
                <a:ahLst/>
                <a:cxnLst>
                  <a:cxn ang="0">
                    <a:pos x="T0" y="T1"/>
                  </a:cxn>
                  <a:cxn ang="0">
                    <a:pos x="T2" y="T3"/>
                  </a:cxn>
                  <a:cxn ang="0">
                    <a:pos x="T4" y="T5"/>
                  </a:cxn>
                  <a:cxn ang="0">
                    <a:pos x="T6" y="T7"/>
                  </a:cxn>
                  <a:cxn ang="0">
                    <a:pos x="T8" y="T9"/>
                  </a:cxn>
                </a:cxnLst>
                <a:rect l="0" t="0" r="r" b="b"/>
                <a:pathLst>
                  <a:path w="4" h="6">
                    <a:moveTo>
                      <a:pt x="0" y="6"/>
                    </a:moveTo>
                    <a:lnTo>
                      <a:pt x="4" y="6"/>
                    </a:lnTo>
                    <a:lnTo>
                      <a:pt x="3" y="0"/>
                    </a:lnTo>
                    <a:lnTo>
                      <a:pt x="0" y="2"/>
                    </a:lnTo>
                    <a:lnTo>
                      <a:pt x="0" y="6"/>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4" name="Freeform 49"/>
              <p:cNvSpPr>
                <a:spLocks/>
              </p:cNvSpPr>
              <p:nvPr/>
            </p:nvSpPr>
            <p:spPr bwMode="auto">
              <a:xfrm>
                <a:off x="1823" y="-758"/>
                <a:ext cx="4" cy="5"/>
              </a:xfrm>
              <a:custGeom>
                <a:avLst/>
                <a:gdLst>
                  <a:gd name="T0" fmla="*/ 0 w 4"/>
                  <a:gd name="T1" fmla="*/ 4 h 5"/>
                  <a:gd name="T2" fmla="*/ 4 w 4"/>
                  <a:gd name="T3" fmla="*/ 5 h 5"/>
                  <a:gd name="T4" fmla="*/ 2 w 4"/>
                  <a:gd name="T5" fmla="*/ 0 h 5"/>
                  <a:gd name="T6" fmla="*/ 0 w 4"/>
                  <a:gd name="T7" fmla="*/ 4 h 5"/>
                </a:gdLst>
                <a:ahLst/>
                <a:cxnLst>
                  <a:cxn ang="0">
                    <a:pos x="T0" y="T1"/>
                  </a:cxn>
                  <a:cxn ang="0">
                    <a:pos x="T2" y="T3"/>
                  </a:cxn>
                  <a:cxn ang="0">
                    <a:pos x="T4" y="T5"/>
                  </a:cxn>
                  <a:cxn ang="0">
                    <a:pos x="T6" y="T7"/>
                  </a:cxn>
                </a:cxnLst>
                <a:rect l="0" t="0" r="r" b="b"/>
                <a:pathLst>
                  <a:path w="4" h="5">
                    <a:moveTo>
                      <a:pt x="0" y="4"/>
                    </a:moveTo>
                    <a:lnTo>
                      <a:pt x="4" y="5"/>
                    </a:lnTo>
                    <a:lnTo>
                      <a:pt x="2" y="0"/>
                    </a:lnTo>
                    <a:lnTo>
                      <a:pt x="0" y="4"/>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5" name="Freeform 50"/>
              <p:cNvSpPr>
                <a:spLocks/>
              </p:cNvSpPr>
              <p:nvPr/>
            </p:nvSpPr>
            <p:spPr bwMode="auto">
              <a:xfrm>
                <a:off x="2081" y="329"/>
                <a:ext cx="14" cy="4"/>
              </a:xfrm>
              <a:custGeom>
                <a:avLst/>
                <a:gdLst>
                  <a:gd name="T0" fmla="*/ 0 w 14"/>
                  <a:gd name="T1" fmla="*/ 4 h 4"/>
                  <a:gd name="T2" fmla="*/ 2 w 14"/>
                  <a:gd name="T3" fmla="*/ 4 h 4"/>
                  <a:gd name="T4" fmla="*/ 14 w 14"/>
                  <a:gd name="T5" fmla="*/ 0 h 4"/>
                  <a:gd name="T6" fmla="*/ 2 w 14"/>
                  <a:gd name="T7" fmla="*/ 1 h 4"/>
                  <a:gd name="T8" fmla="*/ 0 w 14"/>
                  <a:gd name="T9" fmla="*/ 4 h 4"/>
                </a:gdLst>
                <a:ahLst/>
                <a:cxnLst>
                  <a:cxn ang="0">
                    <a:pos x="T0" y="T1"/>
                  </a:cxn>
                  <a:cxn ang="0">
                    <a:pos x="T2" y="T3"/>
                  </a:cxn>
                  <a:cxn ang="0">
                    <a:pos x="T4" y="T5"/>
                  </a:cxn>
                  <a:cxn ang="0">
                    <a:pos x="T6" y="T7"/>
                  </a:cxn>
                  <a:cxn ang="0">
                    <a:pos x="T8" y="T9"/>
                  </a:cxn>
                </a:cxnLst>
                <a:rect l="0" t="0" r="r" b="b"/>
                <a:pathLst>
                  <a:path w="14" h="4">
                    <a:moveTo>
                      <a:pt x="0" y="4"/>
                    </a:moveTo>
                    <a:lnTo>
                      <a:pt x="2" y="4"/>
                    </a:lnTo>
                    <a:lnTo>
                      <a:pt x="14" y="0"/>
                    </a:lnTo>
                    <a:lnTo>
                      <a:pt x="2" y="1"/>
                    </a:lnTo>
                    <a:lnTo>
                      <a:pt x="0" y="4"/>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6" name="Freeform 51"/>
              <p:cNvSpPr>
                <a:spLocks/>
              </p:cNvSpPr>
              <p:nvPr/>
            </p:nvSpPr>
            <p:spPr bwMode="auto">
              <a:xfrm>
                <a:off x="1980" y="272"/>
                <a:ext cx="94" cy="64"/>
              </a:xfrm>
              <a:custGeom>
                <a:avLst/>
                <a:gdLst>
                  <a:gd name="T0" fmla="*/ 52 w 94"/>
                  <a:gd name="T1" fmla="*/ 31 h 64"/>
                  <a:gd name="T2" fmla="*/ 43 w 94"/>
                  <a:gd name="T3" fmla="*/ 17 h 64"/>
                  <a:gd name="T4" fmla="*/ 48 w 94"/>
                  <a:gd name="T5" fmla="*/ 16 h 64"/>
                  <a:gd name="T6" fmla="*/ 40 w 94"/>
                  <a:gd name="T7" fmla="*/ 4 h 64"/>
                  <a:gd name="T8" fmla="*/ 31 w 94"/>
                  <a:gd name="T9" fmla="*/ 4 h 64"/>
                  <a:gd name="T10" fmla="*/ 29 w 94"/>
                  <a:gd name="T11" fmla="*/ 0 h 64"/>
                  <a:gd name="T12" fmla="*/ 24 w 94"/>
                  <a:gd name="T13" fmla="*/ 6 h 64"/>
                  <a:gd name="T14" fmla="*/ 14 w 94"/>
                  <a:gd name="T15" fmla="*/ 7 h 64"/>
                  <a:gd name="T16" fmla="*/ 19 w 94"/>
                  <a:gd name="T17" fmla="*/ 11 h 64"/>
                  <a:gd name="T18" fmla="*/ 14 w 94"/>
                  <a:gd name="T19" fmla="*/ 12 h 64"/>
                  <a:gd name="T20" fmla="*/ 14 w 94"/>
                  <a:gd name="T21" fmla="*/ 20 h 64"/>
                  <a:gd name="T22" fmla="*/ 31 w 94"/>
                  <a:gd name="T23" fmla="*/ 23 h 64"/>
                  <a:gd name="T24" fmla="*/ 19 w 94"/>
                  <a:gd name="T25" fmla="*/ 31 h 64"/>
                  <a:gd name="T26" fmla="*/ 20 w 94"/>
                  <a:gd name="T27" fmla="*/ 42 h 64"/>
                  <a:gd name="T28" fmla="*/ 30 w 94"/>
                  <a:gd name="T29" fmla="*/ 46 h 64"/>
                  <a:gd name="T30" fmla="*/ 19 w 94"/>
                  <a:gd name="T31" fmla="*/ 44 h 64"/>
                  <a:gd name="T32" fmla="*/ 18 w 94"/>
                  <a:gd name="T33" fmla="*/ 45 h 64"/>
                  <a:gd name="T34" fmla="*/ 20 w 94"/>
                  <a:gd name="T35" fmla="*/ 48 h 64"/>
                  <a:gd name="T36" fmla="*/ 18 w 94"/>
                  <a:gd name="T37" fmla="*/ 50 h 64"/>
                  <a:gd name="T38" fmla="*/ 6 w 94"/>
                  <a:gd name="T39" fmla="*/ 39 h 64"/>
                  <a:gd name="T40" fmla="*/ 11 w 94"/>
                  <a:gd name="T41" fmla="*/ 46 h 64"/>
                  <a:gd name="T42" fmla="*/ 0 w 94"/>
                  <a:gd name="T43" fmla="*/ 50 h 64"/>
                  <a:gd name="T44" fmla="*/ 0 w 94"/>
                  <a:gd name="T45" fmla="*/ 55 h 64"/>
                  <a:gd name="T46" fmla="*/ 9 w 94"/>
                  <a:gd name="T47" fmla="*/ 55 h 64"/>
                  <a:gd name="T48" fmla="*/ 7 w 94"/>
                  <a:gd name="T49" fmla="*/ 58 h 64"/>
                  <a:gd name="T50" fmla="*/ 35 w 94"/>
                  <a:gd name="T51" fmla="*/ 62 h 64"/>
                  <a:gd name="T52" fmla="*/ 42 w 94"/>
                  <a:gd name="T53" fmla="*/ 61 h 64"/>
                  <a:gd name="T54" fmla="*/ 50 w 94"/>
                  <a:gd name="T55" fmla="*/ 58 h 64"/>
                  <a:gd name="T56" fmla="*/ 75 w 94"/>
                  <a:gd name="T57" fmla="*/ 64 h 64"/>
                  <a:gd name="T58" fmla="*/ 88 w 94"/>
                  <a:gd name="T59" fmla="*/ 62 h 64"/>
                  <a:gd name="T60" fmla="*/ 94 w 94"/>
                  <a:gd name="T61" fmla="*/ 56 h 64"/>
                  <a:gd name="T62" fmla="*/ 79 w 94"/>
                  <a:gd name="T63" fmla="*/ 52 h 64"/>
                  <a:gd name="T64" fmla="*/ 52 w 94"/>
                  <a:gd name="T65" fmla="*/ 3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4" h="64">
                    <a:moveTo>
                      <a:pt x="52" y="31"/>
                    </a:moveTo>
                    <a:lnTo>
                      <a:pt x="43" y="17"/>
                    </a:lnTo>
                    <a:lnTo>
                      <a:pt x="48" y="16"/>
                    </a:lnTo>
                    <a:lnTo>
                      <a:pt x="40" y="4"/>
                    </a:lnTo>
                    <a:lnTo>
                      <a:pt x="31" y="4"/>
                    </a:lnTo>
                    <a:lnTo>
                      <a:pt x="29" y="0"/>
                    </a:lnTo>
                    <a:lnTo>
                      <a:pt x="24" y="6"/>
                    </a:lnTo>
                    <a:lnTo>
                      <a:pt x="14" y="7"/>
                    </a:lnTo>
                    <a:lnTo>
                      <a:pt x="19" y="11"/>
                    </a:lnTo>
                    <a:lnTo>
                      <a:pt x="14" y="12"/>
                    </a:lnTo>
                    <a:lnTo>
                      <a:pt x="14" y="20"/>
                    </a:lnTo>
                    <a:lnTo>
                      <a:pt x="31" y="23"/>
                    </a:lnTo>
                    <a:lnTo>
                      <a:pt x="19" y="31"/>
                    </a:lnTo>
                    <a:lnTo>
                      <a:pt x="20" y="42"/>
                    </a:lnTo>
                    <a:lnTo>
                      <a:pt x="30" y="46"/>
                    </a:lnTo>
                    <a:lnTo>
                      <a:pt x="19" y="44"/>
                    </a:lnTo>
                    <a:lnTo>
                      <a:pt x="18" y="45"/>
                    </a:lnTo>
                    <a:lnTo>
                      <a:pt x="20" y="48"/>
                    </a:lnTo>
                    <a:lnTo>
                      <a:pt x="18" y="50"/>
                    </a:lnTo>
                    <a:lnTo>
                      <a:pt x="6" y="39"/>
                    </a:lnTo>
                    <a:lnTo>
                      <a:pt x="11" y="46"/>
                    </a:lnTo>
                    <a:lnTo>
                      <a:pt x="0" y="50"/>
                    </a:lnTo>
                    <a:lnTo>
                      <a:pt x="0" y="55"/>
                    </a:lnTo>
                    <a:lnTo>
                      <a:pt x="9" y="55"/>
                    </a:lnTo>
                    <a:lnTo>
                      <a:pt x="7" y="58"/>
                    </a:lnTo>
                    <a:lnTo>
                      <a:pt x="35" y="62"/>
                    </a:lnTo>
                    <a:lnTo>
                      <a:pt x="42" y="61"/>
                    </a:lnTo>
                    <a:lnTo>
                      <a:pt x="50" y="58"/>
                    </a:lnTo>
                    <a:lnTo>
                      <a:pt x="75" y="64"/>
                    </a:lnTo>
                    <a:lnTo>
                      <a:pt x="88" y="62"/>
                    </a:lnTo>
                    <a:lnTo>
                      <a:pt x="94" y="56"/>
                    </a:lnTo>
                    <a:lnTo>
                      <a:pt x="79" y="52"/>
                    </a:lnTo>
                    <a:lnTo>
                      <a:pt x="52" y="31"/>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7" name="Freeform 52"/>
              <p:cNvSpPr>
                <a:spLocks/>
              </p:cNvSpPr>
              <p:nvPr/>
            </p:nvSpPr>
            <p:spPr bwMode="auto">
              <a:xfrm>
                <a:off x="2290" y="-642"/>
                <a:ext cx="32" cy="24"/>
              </a:xfrm>
              <a:custGeom>
                <a:avLst/>
                <a:gdLst>
                  <a:gd name="T0" fmla="*/ 0 w 32"/>
                  <a:gd name="T1" fmla="*/ 5 h 24"/>
                  <a:gd name="T2" fmla="*/ 0 w 32"/>
                  <a:gd name="T3" fmla="*/ 21 h 24"/>
                  <a:gd name="T4" fmla="*/ 11 w 32"/>
                  <a:gd name="T5" fmla="*/ 24 h 24"/>
                  <a:gd name="T6" fmla="*/ 22 w 32"/>
                  <a:gd name="T7" fmla="*/ 20 h 24"/>
                  <a:gd name="T8" fmla="*/ 31 w 32"/>
                  <a:gd name="T9" fmla="*/ 9 h 24"/>
                  <a:gd name="T10" fmla="*/ 32 w 32"/>
                  <a:gd name="T11" fmla="*/ 2 h 24"/>
                  <a:gd name="T12" fmla="*/ 25 w 32"/>
                  <a:gd name="T13" fmla="*/ 0 h 24"/>
                  <a:gd name="T14" fmla="*/ 3 w 32"/>
                  <a:gd name="T15" fmla="*/ 1 h 24"/>
                  <a:gd name="T16" fmla="*/ 0 w 32"/>
                  <a:gd name="T17" fmla="*/ 5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4">
                    <a:moveTo>
                      <a:pt x="0" y="5"/>
                    </a:moveTo>
                    <a:lnTo>
                      <a:pt x="0" y="21"/>
                    </a:lnTo>
                    <a:lnTo>
                      <a:pt x="11" y="24"/>
                    </a:lnTo>
                    <a:lnTo>
                      <a:pt x="22" y="20"/>
                    </a:lnTo>
                    <a:lnTo>
                      <a:pt x="31" y="9"/>
                    </a:lnTo>
                    <a:lnTo>
                      <a:pt x="32" y="2"/>
                    </a:lnTo>
                    <a:lnTo>
                      <a:pt x="25" y="0"/>
                    </a:lnTo>
                    <a:lnTo>
                      <a:pt x="3" y="1"/>
                    </a:lnTo>
                    <a:lnTo>
                      <a:pt x="0" y="5"/>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8" name="Freeform 53"/>
              <p:cNvSpPr>
                <a:spLocks noEditPoints="1"/>
              </p:cNvSpPr>
              <p:nvPr/>
            </p:nvSpPr>
            <p:spPr bwMode="auto">
              <a:xfrm>
                <a:off x="542" y="-2208"/>
                <a:ext cx="1981" cy="2512"/>
              </a:xfrm>
              <a:custGeom>
                <a:avLst/>
                <a:gdLst>
                  <a:gd name="T0" fmla="*/ 1746 w 1981"/>
                  <a:gd name="T1" fmla="*/ 1575 h 2512"/>
                  <a:gd name="T2" fmla="*/ 1581 w 1981"/>
                  <a:gd name="T3" fmla="*/ 1419 h 2512"/>
                  <a:gd name="T4" fmla="*/ 1435 w 1981"/>
                  <a:gd name="T5" fmla="*/ 1404 h 2512"/>
                  <a:gd name="T6" fmla="*/ 1261 w 1981"/>
                  <a:gd name="T7" fmla="*/ 1412 h 2512"/>
                  <a:gd name="T8" fmla="*/ 1149 w 1981"/>
                  <a:gd name="T9" fmla="*/ 1273 h 2512"/>
                  <a:gd name="T10" fmla="*/ 1085 w 1981"/>
                  <a:gd name="T11" fmla="*/ 1117 h 2512"/>
                  <a:gd name="T12" fmla="*/ 1272 w 1981"/>
                  <a:gd name="T13" fmla="*/ 1133 h 2512"/>
                  <a:gd name="T14" fmla="*/ 1373 w 1981"/>
                  <a:gd name="T15" fmla="*/ 998 h 2512"/>
                  <a:gd name="T16" fmla="*/ 1384 w 1981"/>
                  <a:gd name="T17" fmla="*/ 944 h 2512"/>
                  <a:gd name="T18" fmla="*/ 1540 w 1981"/>
                  <a:gd name="T19" fmla="*/ 796 h 2512"/>
                  <a:gd name="T20" fmla="*/ 1538 w 1981"/>
                  <a:gd name="T21" fmla="*/ 783 h 2512"/>
                  <a:gd name="T22" fmla="*/ 1575 w 1981"/>
                  <a:gd name="T23" fmla="*/ 700 h 2512"/>
                  <a:gd name="T24" fmla="*/ 1595 w 1981"/>
                  <a:gd name="T25" fmla="*/ 614 h 2512"/>
                  <a:gd name="T26" fmla="*/ 1581 w 1981"/>
                  <a:gd name="T27" fmla="*/ 536 h 2512"/>
                  <a:gd name="T28" fmla="*/ 1529 w 1981"/>
                  <a:gd name="T29" fmla="*/ 461 h 2512"/>
                  <a:gd name="T30" fmla="*/ 1463 w 1981"/>
                  <a:gd name="T31" fmla="*/ 465 h 2512"/>
                  <a:gd name="T32" fmla="*/ 1341 w 1981"/>
                  <a:gd name="T33" fmla="*/ 425 h 2512"/>
                  <a:gd name="T34" fmla="*/ 1326 w 1981"/>
                  <a:gd name="T35" fmla="*/ 677 h 2512"/>
                  <a:gd name="T36" fmla="*/ 1124 w 1981"/>
                  <a:gd name="T37" fmla="*/ 518 h 2512"/>
                  <a:gd name="T38" fmla="*/ 1112 w 1981"/>
                  <a:gd name="T39" fmla="*/ 321 h 2512"/>
                  <a:gd name="T40" fmla="*/ 1242 w 1981"/>
                  <a:gd name="T41" fmla="*/ 240 h 2512"/>
                  <a:gd name="T42" fmla="*/ 1240 w 1981"/>
                  <a:gd name="T43" fmla="*/ 130 h 2512"/>
                  <a:gd name="T44" fmla="*/ 1138 w 1981"/>
                  <a:gd name="T45" fmla="*/ 84 h 2512"/>
                  <a:gd name="T46" fmla="*/ 1103 w 1981"/>
                  <a:gd name="T47" fmla="*/ 137 h 2512"/>
                  <a:gd name="T48" fmla="*/ 1052 w 1981"/>
                  <a:gd name="T49" fmla="*/ 187 h 2512"/>
                  <a:gd name="T50" fmla="*/ 924 w 1981"/>
                  <a:gd name="T51" fmla="*/ 144 h 2512"/>
                  <a:gd name="T52" fmla="*/ 788 w 1981"/>
                  <a:gd name="T53" fmla="*/ 160 h 2512"/>
                  <a:gd name="T54" fmla="*/ 592 w 1981"/>
                  <a:gd name="T55" fmla="*/ 71 h 2512"/>
                  <a:gd name="T56" fmla="*/ 369 w 1981"/>
                  <a:gd name="T57" fmla="*/ 84 h 2512"/>
                  <a:gd name="T58" fmla="*/ 123 w 1981"/>
                  <a:gd name="T59" fmla="*/ 69 h 2512"/>
                  <a:gd name="T60" fmla="*/ 85 w 1981"/>
                  <a:gd name="T61" fmla="*/ 205 h 2512"/>
                  <a:gd name="T62" fmla="*/ 28 w 1981"/>
                  <a:gd name="T63" fmla="*/ 273 h 2512"/>
                  <a:gd name="T64" fmla="*/ 27 w 1981"/>
                  <a:gd name="T65" fmla="*/ 400 h 2512"/>
                  <a:gd name="T66" fmla="*/ 97 w 1981"/>
                  <a:gd name="T67" fmla="*/ 480 h 2512"/>
                  <a:gd name="T68" fmla="*/ 72 w 1981"/>
                  <a:gd name="T69" fmla="*/ 580 h 2512"/>
                  <a:gd name="T70" fmla="*/ 204 w 1981"/>
                  <a:gd name="T71" fmla="*/ 493 h 2512"/>
                  <a:gd name="T72" fmla="*/ 240 w 1981"/>
                  <a:gd name="T73" fmla="*/ 466 h 2512"/>
                  <a:gd name="T74" fmla="*/ 331 w 1981"/>
                  <a:gd name="T75" fmla="*/ 425 h 2512"/>
                  <a:gd name="T76" fmla="*/ 461 w 1981"/>
                  <a:gd name="T77" fmla="*/ 477 h 2512"/>
                  <a:gd name="T78" fmla="*/ 515 w 1981"/>
                  <a:gd name="T79" fmla="*/ 525 h 2512"/>
                  <a:gd name="T80" fmla="*/ 579 w 1981"/>
                  <a:gd name="T81" fmla="*/ 634 h 2512"/>
                  <a:gd name="T82" fmla="*/ 668 w 1981"/>
                  <a:gd name="T83" fmla="*/ 712 h 2512"/>
                  <a:gd name="T84" fmla="*/ 654 w 1981"/>
                  <a:gd name="T85" fmla="*/ 880 h 2512"/>
                  <a:gd name="T86" fmla="*/ 781 w 1981"/>
                  <a:gd name="T87" fmla="*/ 1102 h 2512"/>
                  <a:gd name="T88" fmla="*/ 814 w 1981"/>
                  <a:gd name="T89" fmla="*/ 1118 h 2512"/>
                  <a:gd name="T90" fmla="*/ 937 w 1981"/>
                  <a:gd name="T91" fmla="*/ 1254 h 2512"/>
                  <a:gd name="T92" fmla="*/ 1226 w 1981"/>
                  <a:gd name="T93" fmla="*/ 1415 h 2512"/>
                  <a:gd name="T94" fmla="*/ 1348 w 1981"/>
                  <a:gd name="T95" fmla="*/ 1468 h 2512"/>
                  <a:gd name="T96" fmla="*/ 1345 w 1981"/>
                  <a:gd name="T97" fmla="*/ 1734 h 2512"/>
                  <a:gd name="T98" fmla="*/ 1404 w 1981"/>
                  <a:gd name="T99" fmla="*/ 2208 h 2512"/>
                  <a:gd name="T100" fmla="*/ 1405 w 1981"/>
                  <a:gd name="T101" fmla="*/ 2330 h 2512"/>
                  <a:gd name="T102" fmla="*/ 1409 w 1981"/>
                  <a:gd name="T103" fmla="*/ 2380 h 2512"/>
                  <a:gd name="T104" fmla="*/ 1415 w 1981"/>
                  <a:gd name="T105" fmla="*/ 2465 h 2512"/>
                  <a:gd name="T106" fmla="*/ 1481 w 1981"/>
                  <a:gd name="T107" fmla="*/ 2426 h 2512"/>
                  <a:gd name="T108" fmla="*/ 1551 w 1981"/>
                  <a:gd name="T109" fmla="*/ 2251 h 2512"/>
                  <a:gd name="T110" fmla="*/ 1630 w 1981"/>
                  <a:gd name="T111" fmla="*/ 2099 h 2512"/>
                  <a:gd name="T112" fmla="*/ 1910 w 1981"/>
                  <a:gd name="T113" fmla="*/ 1838 h 2512"/>
                  <a:gd name="T114" fmla="*/ 1311 w 1981"/>
                  <a:gd name="T115" fmla="*/ 873 h 2512"/>
                  <a:gd name="T116" fmla="*/ 1314 w 1981"/>
                  <a:gd name="T117" fmla="*/ 820 h 2512"/>
                  <a:gd name="T118" fmla="*/ 1216 w 1981"/>
                  <a:gd name="T119" fmla="*/ 823 h 2512"/>
                  <a:gd name="T120" fmla="*/ 1179 w 1981"/>
                  <a:gd name="T121" fmla="*/ 743 h 2512"/>
                  <a:gd name="T122" fmla="*/ 1146 w 1981"/>
                  <a:gd name="T123" fmla="*/ 775 h 2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81" h="2512">
                    <a:moveTo>
                      <a:pt x="1971" y="1642"/>
                    </a:moveTo>
                    <a:lnTo>
                      <a:pt x="1948" y="1638"/>
                    </a:lnTo>
                    <a:lnTo>
                      <a:pt x="1912" y="1610"/>
                    </a:lnTo>
                    <a:lnTo>
                      <a:pt x="1906" y="1607"/>
                    </a:lnTo>
                    <a:lnTo>
                      <a:pt x="1877" y="1607"/>
                    </a:lnTo>
                    <a:lnTo>
                      <a:pt x="1852" y="1598"/>
                    </a:lnTo>
                    <a:lnTo>
                      <a:pt x="1839" y="1604"/>
                    </a:lnTo>
                    <a:lnTo>
                      <a:pt x="1841" y="1598"/>
                    </a:lnTo>
                    <a:lnTo>
                      <a:pt x="1835" y="1596"/>
                    </a:lnTo>
                    <a:lnTo>
                      <a:pt x="1838" y="1592"/>
                    </a:lnTo>
                    <a:lnTo>
                      <a:pt x="1833" y="1586"/>
                    </a:lnTo>
                    <a:lnTo>
                      <a:pt x="1826" y="1590"/>
                    </a:lnTo>
                    <a:lnTo>
                      <a:pt x="1824" y="1584"/>
                    </a:lnTo>
                    <a:lnTo>
                      <a:pt x="1800" y="1574"/>
                    </a:lnTo>
                    <a:lnTo>
                      <a:pt x="1786" y="1575"/>
                    </a:lnTo>
                    <a:lnTo>
                      <a:pt x="1780" y="1586"/>
                    </a:lnTo>
                    <a:lnTo>
                      <a:pt x="1773" y="1590"/>
                    </a:lnTo>
                    <a:lnTo>
                      <a:pt x="1767" y="1600"/>
                    </a:lnTo>
                    <a:lnTo>
                      <a:pt x="1766" y="1591"/>
                    </a:lnTo>
                    <a:lnTo>
                      <a:pt x="1736" y="1592"/>
                    </a:lnTo>
                    <a:lnTo>
                      <a:pt x="1735" y="1594"/>
                    </a:lnTo>
                    <a:lnTo>
                      <a:pt x="1735" y="1590"/>
                    </a:lnTo>
                    <a:lnTo>
                      <a:pt x="1747" y="1590"/>
                    </a:lnTo>
                    <a:lnTo>
                      <a:pt x="1747" y="1583"/>
                    </a:lnTo>
                    <a:lnTo>
                      <a:pt x="1743" y="1579"/>
                    </a:lnTo>
                    <a:lnTo>
                      <a:pt x="1746" y="1575"/>
                    </a:lnTo>
                    <a:lnTo>
                      <a:pt x="1737" y="1581"/>
                    </a:lnTo>
                    <a:lnTo>
                      <a:pt x="1735" y="1571"/>
                    </a:lnTo>
                    <a:lnTo>
                      <a:pt x="1755" y="1549"/>
                    </a:lnTo>
                    <a:lnTo>
                      <a:pt x="1759" y="1540"/>
                    </a:lnTo>
                    <a:lnTo>
                      <a:pt x="1750" y="1538"/>
                    </a:lnTo>
                    <a:lnTo>
                      <a:pt x="1740" y="1506"/>
                    </a:lnTo>
                    <a:lnTo>
                      <a:pt x="1735" y="1502"/>
                    </a:lnTo>
                    <a:lnTo>
                      <a:pt x="1734" y="1505"/>
                    </a:lnTo>
                    <a:lnTo>
                      <a:pt x="1729" y="1499"/>
                    </a:lnTo>
                    <a:lnTo>
                      <a:pt x="1717" y="1488"/>
                    </a:lnTo>
                    <a:lnTo>
                      <a:pt x="1699" y="1481"/>
                    </a:lnTo>
                    <a:lnTo>
                      <a:pt x="1697" y="1483"/>
                    </a:lnTo>
                    <a:lnTo>
                      <a:pt x="1697" y="1480"/>
                    </a:lnTo>
                    <a:lnTo>
                      <a:pt x="1683" y="1476"/>
                    </a:lnTo>
                    <a:lnTo>
                      <a:pt x="1652" y="1477"/>
                    </a:lnTo>
                    <a:lnTo>
                      <a:pt x="1642" y="1465"/>
                    </a:lnTo>
                    <a:lnTo>
                      <a:pt x="1630" y="1463"/>
                    </a:lnTo>
                    <a:lnTo>
                      <a:pt x="1627" y="1451"/>
                    </a:lnTo>
                    <a:lnTo>
                      <a:pt x="1614" y="1442"/>
                    </a:lnTo>
                    <a:lnTo>
                      <a:pt x="1611" y="1442"/>
                    </a:lnTo>
                    <a:lnTo>
                      <a:pt x="1605" y="1436"/>
                    </a:lnTo>
                    <a:lnTo>
                      <a:pt x="1599" y="1439"/>
                    </a:lnTo>
                    <a:lnTo>
                      <a:pt x="1593" y="1438"/>
                    </a:lnTo>
                    <a:lnTo>
                      <a:pt x="1597" y="1435"/>
                    </a:lnTo>
                    <a:lnTo>
                      <a:pt x="1593" y="1425"/>
                    </a:lnTo>
                    <a:lnTo>
                      <a:pt x="1581" y="1419"/>
                    </a:lnTo>
                    <a:lnTo>
                      <a:pt x="1573" y="1419"/>
                    </a:lnTo>
                    <a:lnTo>
                      <a:pt x="1569" y="1412"/>
                    </a:lnTo>
                    <a:lnTo>
                      <a:pt x="1564" y="1410"/>
                    </a:lnTo>
                    <a:lnTo>
                      <a:pt x="1578" y="1405"/>
                    </a:lnTo>
                    <a:lnTo>
                      <a:pt x="1546" y="1405"/>
                    </a:lnTo>
                    <a:lnTo>
                      <a:pt x="1545" y="1406"/>
                    </a:lnTo>
                    <a:lnTo>
                      <a:pt x="1551" y="1409"/>
                    </a:lnTo>
                    <a:lnTo>
                      <a:pt x="1532" y="1412"/>
                    </a:lnTo>
                    <a:lnTo>
                      <a:pt x="1523" y="1412"/>
                    </a:lnTo>
                    <a:lnTo>
                      <a:pt x="1516" y="1406"/>
                    </a:lnTo>
                    <a:lnTo>
                      <a:pt x="1488" y="1409"/>
                    </a:lnTo>
                    <a:lnTo>
                      <a:pt x="1483" y="1397"/>
                    </a:lnTo>
                    <a:lnTo>
                      <a:pt x="1465" y="1393"/>
                    </a:lnTo>
                    <a:lnTo>
                      <a:pt x="1460" y="1382"/>
                    </a:lnTo>
                    <a:lnTo>
                      <a:pt x="1455" y="1390"/>
                    </a:lnTo>
                    <a:lnTo>
                      <a:pt x="1461" y="1391"/>
                    </a:lnTo>
                    <a:lnTo>
                      <a:pt x="1462" y="1393"/>
                    </a:lnTo>
                    <a:lnTo>
                      <a:pt x="1447" y="1397"/>
                    </a:lnTo>
                    <a:lnTo>
                      <a:pt x="1437" y="1404"/>
                    </a:lnTo>
                    <a:lnTo>
                      <a:pt x="1437" y="1410"/>
                    </a:lnTo>
                    <a:lnTo>
                      <a:pt x="1442" y="1419"/>
                    </a:lnTo>
                    <a:lnTo>
                      <a:pt x="1443" y="1425"/>
                    </a:lnTo>
                    <a:lnTo>
                      <a:pt x="1435" y="1430"/>
                    </a:lnTo>
                    <a:lnTo>
                      <a:pt x="1430" y="1421"/>
                    </a:lnTo>
                    <a:lnTo>
                      <a:pt x="1430" y="1415"/>
                    </a:lnTo>
                    <a:lnTo>
                      <a:pt x="1435" y="1404"/>
                    </a:lnTo>
                    <a:lnTo>
                      <a:pt x="1431" y="1391"/>
                    </a:lnTo>
                    <a:lnTo>
                      <a:pt x="1438" y="1387"/>
                    </a:lnTo>
                    <a:lnTo>
                      <a:pt x="1441" y="1383"/>
                    </a:lnTo>
                    <a:lnTo>
                      <a:pt x="1434" y="1379"/>
                    </a:lnTo>
                    <a:lnTo>
                      <a:pt x="1428" y="1383"/>
                    </a:lnTo>
                    <a:lnTo>
                      <a:pt x="1424" y="1389"/>
                    </a:lnTo>
                    <a:lnTo>
                      <a:pt x="1411" y="1395"/>
                    </a:lnTo>
                    <a:lnTo>
                      <a:pt x="1397" y="1396"/>
                    </a:lnTo>
                    <a:lnTo>
                      <a:pt x="1392" y="1404"/>
                    </a:lnTo>
                    <a:lnTo>
                      <a:pt x="1390" y="1400"/>
                    </a:lnTo>
                    <a:lnTo>
                      <a:pt x="1384" y="1400"/>
                    </a:lnTo>
                    <a:lnTo>
                      <a:pt x="1374" y="1409"/>
                    </a:lnTo>
                    <a:lnTo>
                      <a:pt x="1373" y="1423"/>
                    </a:lnTo>
                    <a:lnTo>
                      <a:pt x="1357" y="1436"/>
                    </a:lnTo>
                    <a:lnTo>
                      <a:pt x="1357" y="1445"/>
                    </a:lnTo>
                    <a:lnTo>
                      <a:pt x="1348" y="1436"/>
                    </a:lnTo>
                    <a:lnTo>
                      <a:pt x="1337" y="1425"/>
                    </a:lnTo>
                    <a:lnTo>
                      <a:pt x="1321" y="1421"/>
                    </a:lnTo>
                    <a:lnTo>
                      <a:pt x="1314" y="1421"/>
                    </a:lnTo>
                    <a:lnTo>
                      <a:pt x="1311" y="1429"/>
                    </a:lnTo>
                    <a:lnTo>
                      <a:pt x="1307" y="1426"/>
                    </a:lnTo>
                    <a:lnTo>
                      <a:pt x="1292" y="1432"/>
                    </a:lnTo>
                    <a:lnTo>
                      <a:pt x="1278" y="1430"/>
                    </a:lnTo>
                    <a:lnTo>
                      <a:pt x="1275" y="1423"/>
                    </a:lnTo>
                    <a:lnTo>
                      <a:pt x="1270" y="1421"/>
                    </a:lnTo>
                    <a:lnTo>
                      <a:pt x="1261" y="1412"/>
                    </a:lnTo>
                    <a:lnTo>
                      <a:pt x="1255" y="1400"/>
                    </a:lnTo>
                    <a:lnTo>
                      <a:pt x="1253" y="1393"/>
                    </a:lnTo>
                    <a:lnTo>
                      <a:pt x="1261" y="1340"/>
                    </a:lnTo>
                    <a:lnTo>
                      <a:pt x="1248" y="1329"/>
                    </a:lnTo>
                    <a:lnTo>
                      <a:pt x="1234" y="1324"/>
                    </a:lnTo>
                    <a:lnTo>
                      <a:pt x="1185" y="1327"/>
                    </a:lnTo>
                    <a:lnTo>
                      <a:pt x="1178" y="1324"/>
                    </a:lnTo>
                    <a:lnTo>
                      <a:pt x="1187" y="1308"/>
                    </a:lnTo>
                    <a:lnTo>
                      <a:pt x="1189" y="1289"/>
                    </a:lnTo>
                    <a:lnTo>
                      <a:pt x="1184" y="1286"/>
                    </a:lnTo>
                    <a:lnTo>
                      <a:pt x="1188" y="1280"/>
                    </a:lnTo>
                    <a:lnTo>
                      <a:pt x="1190" y="1280"/>
                    </a:lnTo>
                    <a:lnTo>
                      <a:pt x="1189" y="1285"/>
                    </a:lnTo>
                    <a:lnTo>
                      <a:pt x="1192" y="1292"/>
                    </a:lnTo>
                    <a:lnTo>
                      <a:pt x="1197" y="1273"/>
                    </a:lnTo>
                    <a:lnTo>
                      <a:pt x="1195" y="1270"/>
                    </a:lnTo>
                    <a:lnTo>
                      <a:pt x="1197" y="1268"/>
                    </a:lnTo>
                    <a:lnTo>
                      <a:pt x="1195" y="1267"/>
                    </a:lnTo>
                    <a:lnTo>
                      <a:pt x="1208" y="1242"/>
                    </a:lnTo>
                    <a:lnTo>
                      <a:pt x="1205" y="1237"/>
                    </a:lnTo>
                    <a:lnTo>
                      <a:pt x="1197" y="1236"/>
                    </a:lnTo>
                    <a:lnTo>
                      <a:pt x="1194" y="1240"/>
                    </a:lnTo>
                    <a:lnTo>
                      <a:pt x="1194" y="1236"/>
                    </a:lnTo>
                    <a:lnTo>
                      <a:pt x="1189" y="1235"/>
                    </a:lnTo>
                    <a:lnTo>
                      <a:pt x="1155" y="1244"/>
                    </a:lnTo>
                    <a:lnTo>
                      <a:pt x="1149" y="1273"/>
                    </a:lnTo>
                    <a:lnTo>
                      <a:pt x="1140" y="1277"/>
                    </a:lnTo>
                    <a:lnTo>
                      <a:pt x="1142" y="1281"/>
                    </a:lnTo>
                    <a:lnTo>
                      <a:pt x="1137" y="1285"/>
                    </a:lnTo>
                    <a:lnTo>
                      <a:pt x="1125" y="1281"/>
                    </a:lnTo>
                    <a:lnTo>
                      <a:pt x="1094" y="1289"/>
                    </a:lnTo>
                    <a:lnTo>
                      <a:pt x="1086" y="1283"/>
                    </a:lnTo>
                    <a:lnTo>
                      <a:pt x="1077" y="1280"/>
                    </a:lnTo>
                    <a:lnTo>
                      <a:pt x="1070" y="1274"/>
                    </a:lnTo>
                    <a:lnTo>
                      <a:pt x="1065" y="1262"/>
                    </a:lnTo>
                    <a:lnTo>
                      <a:pt x="1053" y="1245"/>
                    </a:lnTo>
                    <a:lnTo>
                      <a:pt x="1054" y="1237"/>
                    </a:lnTo>
                    <a:lnTo>
                      <a:pt x="1047" y="1228"/>
                    </a:lnTo>
                    <a:lnTo>
                      <a:pt x="1047" y="1208"/>
                    </a:lnTo>
                    <a:lnTo>
                      <a:pt x="1045" y="1186"/>
                    </a:lnTo>
                    <a:lnTo>
                      <a:pt x="1049" y="1176"/>
                    </a:lnTo>
                    <a:lnTo>
                      <a:pt x="1057" y="1173"/>
                    </a:lnTo>
                    <a:lnTo>
                      <a:pt x="1057" y="1167"/>
                    </a:lnTo>
                    <a:lnTo>
                      <a:pt x="1052" y="1153"/>
                    </a:lnTo>
                    <a:lnTo>
                      <a:pt x="1052" y="1147"/>
                    </a:lnTo>
                    <a:lnTo>
                      <a:pt x="1049" y="1145"/>
                    </a:lnTo>
                    <a:lnTo>
                      <a:pt x="1053" y="1144"/>
                    </a:lnTo>
                    <a:lnTo>
                      <a:pt x="1052" y="1135"/>
                    </a:lnTo>
                    <a:lnTo>
                      <a:pt x="1066" y="1125"/>
                    </a:lnTo>
                    <a:lnTo>
                      <a:pt x="1065" y="1120"/>
                    </a:lnTo>
                    <a:lnTo>
                      <a:pt x="1077" y="1120"/>
                    </a:lnTo>
                    <a:lnTo>
                      <a:pt x="1085" y="1117"/>
                    </a:lnTo>
                    <a:lnTo>
                      <a:pt x="1088" y="1102"/>
                    </a:lnTo>
                    <a:lnTo>
                      <a:pt x="1092" y="1105"/>
                    </a:lnTo>
                    <a:lnTo>
                      <a:pt x="1090" y="1107"/>
                    </a:lnTo>
                    <a:lnTo>
                      <a:pt x="1103" y="1102"/>
                    </a:lnTo>
                    <a:lnTo>
                      <a:pt x="1126" y="1105"/>
                    </a:lnTo>
                    <a:lnTo>
                      <a:pt x="1132" y="1102"/>
                    </a:lnTo>
                    <a:lnTo>
                      <a:pt x="1149" y="1112"/>
                    </a:lnTo>
                    <a:lnTo>
                      <a:pt x="1157" y="1112"/>
                    </a:lnTo>
                    <a:lnTo>
                      <a:pt x="1161" y="1107"/>
                    </a:lnTo>
                    <a:lnTo>
                      <a:pt x="1170" y="1114"/>
                    </a:lnTo>
                    <a:lnTo>
                      <a:pt x="1172" y="1113"/>
                    </a:lnTo>
                    <a:lnTo>
                      <a:pt x="1165" y="1105"/>
                    </a:lnTo>
                    <a:lnTo>
                      <a:pt x="1170" y="1096"/>
                    </a:lnTo>
                    <a:lnTo>
                      <a:pt x="1156" y="1096"/>
                    </a:lnTo>
                    <a:lnTo>
                      <a:pt x="1155" y="1092"/>
                    </a:lnTo>
                    <a:lnTo>
                      <a:pt x="1187" y="1092"/>
                    </a:lnTo>
                    <a:lnTo>
                      <a:pt x="1190" y="1081"/>
                    </a:lnTo>
                    <a:lnTo>
                      <a:pt x="1190" y="1093"/>
                    </a:lnTo>
                    <a:lnTo>
                      <a:pt x="1204" y="1088"/>
                    </a:lnTo>
                    <a:lnTo>
                      <a:pt x="1204" y="1089"/>
                    </a:lnTo>
                    <a:lnTo>
                      <a:pt x="1215" y="1089"/>
                    </a:lnTo>
                    <a:lnTo>
                      <a:pt x="1230" y="1102"/>
                    </a:lnTo>
                    <a:lnTo>
                      <a:pt x="1249" y="1096"/>
                    </a:lnTo>
                    <a:lnTo>
                      <a:pt x="1267" y="1112"/>
                    </a:lnTo>
                    <a:lnTo>
                      <a:pt x="1268" y="1134"/>
                    </a:lnTo>
                    <a:lnTo>
                      <a:pt x="1272" y="1133"/>
                    </a:lnTo>
                    <a:lnTo>
                      <a:pt x="1269" y="1141"/>
                    </a:lnTo>
                    <a:lnTo>
                      <a:pt x="1276" y="1150"/>
                    </a:lnTo>
                    <a:lnTo>
                      <a:pt x="1278" y="1150"/>
                    </a:lnTo>
                    <a:lnTo>
                      <a:pt x="1283" y="1165"/>
                    </a:lnTo>
                    <a:lnTo>
                      <a:pt x="1288" y="1169"/>
                    </a:lnTo>
                    <a:lnTo>
                      <a:pt x="1293" y="1179"/>
                    </a:lnTo>
                    <a:lnTo>
                      <a:pt x="1304" y="1175"/>
                    </a:lnTo>
                    <a:lnTo>
                      <a:pt x="1307" y="1164"/>
                    </a:lnTo>
                    <a:lnTo>
                      <a:pt x="1307" y="1150"/>
                    </a:lnTo>
                    <a:lnTo>
                      <a:pt x="1286" y="1087"/>
                    </a:lnTo>
                    <a:lnTo>
                      <a:pt x="1295" y="1061"/>
                    </a:lnTo>
                    <a:lnTo>
                      <a:pt x="1301" y="1059"/>
                    </a:lnTo>
                    <a:lnTo>
                      <a:pt x="1299" y="1054"/>
                    </a:lnTo>
                    <a:lnTo>
                      <a:pt x="1308" y="1054"/>
                    </a:lnTo>
                    <a:lnTo>
                      <a:pt x="1321" y="1043"/>
                    </a:lnTo>
                    <a:lnTo>
                      <a:pt x="1326" y="1034"/>
                    </a:lnTo>
                    <a:lnTo>
                      <a:pt x="1343" y="1027"/>
                    </a:lnTo>
                    <a:lnTo>
                      <a:pt x="1348" y="1020"/>
                    </a:lnTo>
                    <a:lnTo>
                      <a:pt x="1363" y="1014"/>
                    </a:lnTo>
                    <a:lnTo>
                      <a:pt x="1363" y="1010"/>
                    </a:lnTo>
                    <a:lnTo>
                      <a:pt x="1359" y="1010"/>
                    </a:lnTo>
                    <a:lnTo>
                      <a:pt x="1363" y="1005"/>
                    </a:lnTo>
                    <a:lnTo>
                      <a:pt x="1358" y="1002"/>
                    </a:lnTo>
                    <a:lnTo>
                      <a:pt x="1363" y="1001"/>
                    </a:lnTo>
                    <a:lnTo>
                      <a:pt x="1367" y="1004"/>
                    </a:lnTo>
                    <a:lnTo>
                      <a:pt x="1373" y="998"/>
                    </a:lnTo>
                    <a:lnTo>
                      <a:pt x="1371" y="994"/>
                    </a:lnTo>
                    <a:lnTo>
                      <a:pt x="1370" y="998"/>
                    </a:lnTo>
                    <a:lnTo>
                      <a:pt x="1367" y="994"/>
                    </a:lnTo>
                    <a:lnTo>
                      <a:pt x="1359" y="994"/>
                    </a:lnTo>
                    <a:lnTo>
                      <a:pt x="1360" y="986"/>
                    </a:lnTo>
                    <a:lnTo>
                      <a:pt x="1363" y="991"/>
                    </a:lnTo>
                    <a:lnTo>
                      <a:pt x="1367" y="989"/>
                    </a:lnTo>
                    <a:lnTo>
                      <a:pt x="1373" y="990"/>
                    </a:lnTo>
                    <a:lnTo>
                      <a:pt x="1370" y="975"/>
                    </a:lnTo>
                    <a:lnTo>
                      <a:pt x="1363" y="975"/>
                    </a:lnTo>
                    <a:lnTo>
                      <a:pt x="1366" y="972"/>
                    </a:lnTo>
                    <a:lnTo>
                      <a:pt x="1363" y="962"/>
                    </a:lnTo>
                    <a:lnTo>
                      <a:pt x="1365" y="958"/>
                    </a:lnTo>
                    <a:lnTo>
                      <a:pt x="1351" y="946"/>
                    </a:lnTo>
                    <a:lnTo>
                      <a:pt x="1351" y="944"/>
                    </a:lnTo>
                    <a:lnTo>
                      <a:pt x="1364" y="952"/>
                    </a:lnTo>
                    <a:lnTo>
                      <a:pt x="1361" y="946"/>
                    </a:lnTo>
                    <a:lnTo>
                      <a:pt x="1361" y="931"/>
                    </a:lnTo>
                    <a:lnTo>
                      <a:pt x="1371" y="925"/>
                    </a:lnTo>
                    <a:lnTo>
                      <a:pt x="1365" y="938"/>
                    </a:lnTo>
                    <a:lnTo>
                      <a:pt x="1367" y="938"/>
                    </a:lnTo>
                    <a:lnTo>
                      <a:pt x="1366" y="946"/>
                    </a:lnTo>
                    <a:lnTo>
                      <a:pt x="1374" y="956"/>
                    </a:lnTo>
                    <a:lnTo>
                      <a:pt x="1370" y="965"/>
                    </a:lnTo>
                    <a:lnTo>
                      <a:pt x="1371" y="971"/>
                    </a:lnTo>
                    <a:lnTo>
                      <a:pt x="1384" y="944"/>
                    </a:lnTo>
                    <a:lnTo>
                      <a:pt x="1377" y="924"/>
                    </a:lnTo>
                    <a:lnTo>
                      <a:pt x="1386" y="931"/>
                    </a:lnTo>
                    <a:lnTo>
                      <a:pt x="1386" y="937"/>
                    </a:lnTo>
                    <a:lnTo>
                      <a:pt x="1397" y="923"/>
                    </a:lnTo>
                    <a:lnTo>
                      <a:pt x="1400" y="913"/>
                    </a:lnTo>
                    <a:lnTo>
                      <a:pt x="1397" y="907"/>
                    </a:lnTo>
                    <a:lnTo>
                      <a:pt x="1397" y="904"/>
                    </a:lnTo>
                    <a:lnTo>
                      <a:pt x="1415" y="892"/>
                    </a:lnTo>
                    <a:lnTo>
                      <a:pt x="1436" y="889"/>
                    </a:lnTo>
                    <a:lnTo>
                      <a:pt x="1441" y="884"/>
                    </a:lnTo>
                    <a:lnTo>
                      <a:pt x="1443" y="886"/>
                    </a:lnTo>
                    <a:lnTo>
                      <a:pt x="1461" y="884"/>
                    </a:lnTo>
                    <a:lnTo>
                      <a:pt x="1460" y="878"/>
                    </a:lnTo>
                    <a:lnTo>
                      <a:pt x="1458" y="884"/>
                    </a:lnTo>
                    <a:lnTo>
                      <a:pt x="1454" y="884"/>
                    </a:lnTo>
                    <a:lnTo>
                      <a:pt x="1444" y="871"/>
                    </a:lnTo>
                    <a:lnTo>
                      <a:pt x="1456" y="843"/>
                    </a:lnTo>
                    <a:lnTo>
                      <a:pt x="1471" y="836"/>
                    </a:lnTo>
                    <a:lnTo>
                      <a:pt x="1476" y="826"/>
                    </a:lnTo>
                    <a:lnTo>
                      <a:pt x="1483" y="832"/>
                    </a:lnTo>
                    <a:lnTo>
                      <a:pt x="1502" y="823"/>
                    </a:lnTo>
                    <a:lnTo>
                      <a:pt x="1503" y="821"/>
                    </a:lnTo>
                    <a:lnTo>
                      <a:pt x="1502" y="818"/>
                    </a:lnTo>
                    <a:lnTo>
                      <a:pt x="1502" y="813"/>
                    </a:lnTo>
                    <a:lnTo>
                      <a:pt x="1523" y="810"/>
                    </a:lnTo>
                    <a:lnTo>
                      <a:pt x="1540" y="796"/>
                    </a:lnTo>
                    <a:lnTo>
                      <a:pt x="1543" y="798"/>
                    </a:lnTo>
                    <a:lnTo>
                      <a:pt x="1535" y="805"/>
                    </a:lnTo>
                    <a:lnTo>
                      <a:pt x="1536" y="808"/>
                    </a:lnTo>
                    <a:lnTo>
                      <a:pt x="1559" y="808"/>
                    </a:lnTo>
                    <a:lnTo>
                      <a:pt x="1546" y="814"/>
                    </a:lnTo>
                    <a:lnTo>
                      <a:pt x="1542" y="809"/>
                    </a:lnTo>
                    <a:lnTo>
                      <a:pt x="1517" y="824"/>
                    </a:lnTo>
                    <a:lnTo>
                      <a:pt x="1521" y="824"/>
                    </a:lnTo>
                    <a:lnTo>
                      <a:pt x="1517" y="833"/>
                    </a:lnTo>
                    <a:lnTo>
                      <a:pt x="1517" y="840"/>
                    </a:lnTo>
                    <a:lnTo>
                      <a:pt x="1527" y="847"/>
                    </a:lnTo>
                    <a:lnTo>
                      <a:pt x="1545" y="830"/>
                    </a:lnTo>
                    <a:lnTo>
                      <a:pt x="1547" y="824"/>
                    </a:lnTo>
                    <a:lnTo>
                      <a:pt x="1554" y="826"/>
                    </a:lnTo>
                    <a:lnTo>
                      <a:pt x="1554" y="821"/>
                    </a:lnTo>
                    <a:lnTo>
                      <a:pt x="1565" y="821"/>
                    </a:lnTo>
                    <a:lnTo>
                      <a:pt x="1593" y="809"/>
                    </a:lnTo>
                    <a:lnTo>
                      <a:pt x="1587" y="808"/>
                    </a:lnTo>
                    <a:lnTo>
                      <a:pt x="1588" y="803"/>
                    </a:lnTo>
                    <a:lnTo>
                      <a:pt x="1580" y="802"/>
                    </a:lnTo>
                    <a:lnTo>
                      <a:pt x="1579" y="797"/>
                    </a:lnTo>
                    <a:lnTo>
                      <a:pt x="1567" y="802"/>
                    </a:lnTo>
                    <a:lnTo>
                      <a:pt x="1548" y="795"/>
                    </a:lnTo>
                    <a:lnTo>
                      <a:pt x="1552" y="792"/>
                    </a:lnTo>
                    <a:lnTo>
                      <a:pt x="1540" y="788"/>
                    </a:lnTo>
                    <a:lnTo>
                      <a:pt x="1538" y="783"/>
                    </a:lnTo>
                    <a:lnTo>
                      <a:pt x="1535" y="771"/>
                    </a:lnTo>
                    <a:lnTo>
                      <a:pt x="1529" y="771"/>
                    </a:lnTo>
                    <a:lnTo>
                      <a:pt x="1536" y="756"/>
                    </a:lnTo>
                    <a:lnTo>
                      <a:pt x="1532" y="753"/>
                    </a:lnTo>
                    <a:lnTo>
                      <a:pt x="1523" y="757"/>
                    </a:lnTo>
                    <a:lnTo>
                      <a:pt x="1521" y="752"/>
                    </a:lnTo>
                    <a:lnTo>
                      <a:pt x="1510" y="750"/>
                    </a:lnTo>
                    <a:lnTo>
                      <a:pt x="1521" y="748"/>
                    </a:lnTo>
                    <a:lnTo>
                      <a:pt x="1529" y="750"/>
                    </a:lnTo>
                    <a:lnTo>
                      <a:pt x="1545" y="738"/>
                    </a:lnTo>
                    <a:lnTo>
                      <a:pt x="1543" y="729"/>
                    </a:lnTo>
                    <a:lnTo>
                      <a:pt x="1533" y="723"/>
                    </a:lnTo>
                    <a:lnTo>
                      <a:pt x="1509" y="725"/>
                    </a:lnTo>
                    <a:lnTo>
                      <a:pt x="1483" y="737"/>
                    </a:lnTo>
                    <a:lnTo>
                      <a:pt x="1465" y="752"/>
                    </a:lnTo>
                    <a:lnTo>
                      <a:pt x="1449" y="772"/>
                    </a:lnTo>
                    <a:lnTo>
                      <a:pt x="1442" y="776"/>
                    </a:lnTo>
                    <a:lnTo>
                      <a:pt x="1455" y="763"/>
                    </a:lnTo>
                    <a:lnTo>
                      <a:pt x="1462" y="748"/>
                    </a:lnTo>
                    <a:lnTo>
                      <a:pt x="1468" y="744"/>
                    </a:lnTo>
                    <a:lnTo>
                      <a:pt x="1475" y="732"/>
                    </a:lnTo>
                    <a:lnTo>
                      <a:pt x="1488" y="721"/>
                    </a:lnTo>
                    <a:lnTo>
                      <a:pt x="1499" y="720"/>
                    </a:lnTo>
                    <a:lnTo>
                      <a:pt x="1506" y="706"/>
                    </a:lnTo>
                    <a:lnTo>
                      <a:pt x="1514" y="700"/>
                    </a:lnTo>
                    <a:lnTo>
                      <a:pt x="1575" y="700"/>
                    </a:lnTo>
                    <a:lnTo>
                      <a:pt x="1584" y="704"/>
                    </a:lnTo>
                    <a:lnTo>
                      <a:pt x="1605" y="695"/>
                    </a:lnTo>
                    <a:lnTo>
                      <a:pt x="1605" y="699"/>
                    </a:lnTo>
                    <a:lnTo>
                      <a:pt x="1607" y="700"/>
                    </a:lnTo>
                    <a:lnTo>
                      <a:pt x="1631" y="675"/>
                    </a:lnTo>
                    <a:lnTo>
                      <a:pt x="1658" y="669"/>
                    </a:lnTo>
                    <a:lnTo>
                      <a:pt x="1672" y="654"/>
                    </a:lnTo>
                    <a:lnTo>
                      <a:pt x="1666" y="649"/>
                    </a:lnTo>
                    <a:lnTo>
                      <a:pt x="1672" y="649"/>
                    </a:lnTo>
                    <a:lnTo>
                      <a:pt x="1666" y="645"/>
                    </a:lnTo>
                    <a:lnTo>
                      <a:pt x="1671" y="643"/>
                    </a:lnTo>
                    <a:lnTo>
                      <a:pt x="1669" y="634"/>
                    </a:lnTo>
                    <a:lnTo>
                      <a:pt x="1662" y="629"/>
                    </a:lnTo>
                    <a:lnTo>
                      <a:pt x="1671" y="629"/>
                    </a:lnTo>
                    <a:lnTo>
                      <a:pt x="1666" y="622"/>
                    </a:lnTo>
                    <a:lnTo>
                      <a:pt x="1669" y="621"/>
                    </a:lnTo>
                    <a:lnTo>
                      <a:pt x="1653" y="614"/>
                    </a:lnTo>
                    <a:lnTo>
                      <a:pt x="1647" y="625"/>
                    </a:lnTo>
                    <a:lnTo>
                      <a:pt x="1647" y="604"/>
                    </a:lnTo>
                    <a:lnTo>
                      <a:pt x="1636" y="606"/>
                    </a:lnTo>
                    <a:lnTo>
                      <a:pt x="1642" y="607"/>
                    </a:lnTo>
                    <a:lnTo>
                      <a:pt x="1627" y="609"/>
                    </a:lnTo>
                    <a:lnTo>
                      <a:pt x="1603" y="628"/>
                    </a:lnTo>
                    <a:lnTo>
                      <a:pt x="1604" y="621"/>
                    </a:lnTo>
                    <a:lnTo>
                      <a:pt x="1592" y="616"/>
                    </a:lnTo>
                    <a:lnTo>
                      <a:pt x="1595" y="614"/>
                    </a:lnTo>
                    <a:lnTo>
                      <a:pt x="1605" y="619"/>
                    </a:lnTo>
                    <a:lnTo>
                      <a:pt x="1608" y="613"/>
                    </a:lnTo>
                    <a:lnTo>
                      <a:pt x="1627" y="606"/>
                    </a:lnTo>
                    <a:lnTo>
                      <a:pt x="1617" y="607"/>
                    </a:lnTo>
                    <a:lnTo>
                      <a:pt x="1646" y="595"/>
                    </a:lnTo>
                    <a:lnTo>
                      <a:pt x="1637" y="584"/>
                    </a:lnTo>
                    <a:lnTo>
                      <a:pt x="1631" y="589"/>
                    </a:lnTo>
                    <a:lnTo>
                      <a:pt x="1625" y="588"/>
                    </a:lnTo>
                    <a:lnTo>
                      <a:pt x="1619" y="578"/>
                    </a:lnTo>
                    <a:lnTo>
                      <a:pt x="1612" y="587"/>
                    </a:lnTo>
                    <a:lnTo>
                      <a:pt x="1614" y="578"/>
                    </a:lnTo>
                    <a:lnTo>
                      <a:pt x="1612" y="575"/>
                    </a:lnTo>
                    <a:lnTo>
                      <a:pt x="1600" y="577"/>
                    </a:lnTo>
                    <a:lnTo>
                      <a:pt x="1604" y="572"/>
                    </a:lnTo>
                    <a:lnTo>
                      <a:pt x="1603" y="564"/>
                    </a:lnTo>
                    <a:lnTo>
                      <a:pt x="1588" y="561"/>
                    </a:lnTo>
                    <a:lnTo>
                      <a:pt x="1587" y="552"/>
                    </a:lnTo>
                    <a:lnTo>
                      <a:pt x="1579" y="552"/>
                    </a:lnTo>
                    <a:lnTo>
                      <a:pt x="1581" y="550"/>
                    </a:lnTo>
                    <a:lnTo>
                      <a:pt x="1578" y="545"/>
                    </a:lnTo>
                    <a:lnTo>
                      <a:pt x="1581" y="542"/>
                    </a:lnTo>
                    <a:lnTo>
                      <a:pt x="1564" y="541"/>
                    </a:lnTo>
                    <a:lnTo>
                      <a:pt x="1575" y="538"/>
                    </a:lnTo>
                    <a:lnTo>
                      <a:pt x="1573" y="536"/>
                    </a:lnTo>
                    <a:lnTo>
                      <a:pt x="1581" y="539"/>
                    </a:lnTo>
                    <a:lnTo>
                      <a:pt x="1581" y="536"/>
                    </a:lnTo>
                    <a:lnTo>
                      <a:pt x="1586" y="530"/>
                    </a:lnTo>
                    <a:lnTo>
                      <a:pt x="1579" y="518"/>
                    </a:lnTo>
                    <a:lnTo>
                      <a:pt x="1571" y="519"/>
                    </a:lnTo>
                    <a:lnTo>
                      <a:pt x="1580" y="515"/>
                    </a:lnTo>
                    <a:lnTo>
                      <a:pt x="1574" y="506"/>
                    </a:lnTo>
                    <a:lnTo>
                      <a:pt x="1569" y="506"/>
                    </a:lnTo>
                    <a:lnTo>
                      <a:pt x="1573" y="503"/>
                    </a:lnTo>
                    <a:lnTo>
                      <a:pt x="1569" y="499"/>
                    </a:lnTo>
                    <a:lnTo>
                      <a:pt x="1560" y="501"/>
                    </a:lnTo>
                    <a:lnTo>
                      <a:pt x="1569" y="492"/>
                    </a:lnTo>
                    <a:lnTo>
                      <a:pt x="1554" y="490"/>
                    </a:lnTo>
                    <a:lnTo>
                      <a:pt x="1565" y="485"/>
                    </a:lnTo>
                    <a:lnTo>
                      <a:pt x="1559" y="480"/>
                    </a:lnTo>
                    <a:lnTo>
                      <a:pt x="1560" y="473"/>
                    </a:lnTo>
                    <a:lnTo>
                      <a:pt x="1545" y="475"/>
                    </a:lnTo>
                    <a:lnTo>
                      <a:pt x="1558" y="468"/>
                    </a:lnTo>
                    <a:lnTo>
                      <a:pt x="1548" y="462"/>
                    </a:lnTo>
                    <a:lnTo>
                      <a:pt x="1552" y="459"/>
                    </a:lnTo>
                    <a:lnTo>
                      <a:pt x="1546" y="458"/>
                    </a:lnTo>
                    <a:lnTo>
                      <a:pt x="1545" y="448"/>
                    </a:lnTo>
                    <a:lnTo>
                      <a:pt x="1540" y="448"/>
                    </a:lnTo>
                    <a:lnTo>
                      <a:pt x="1542" y="444"/>
                    </a:lnTo>
                    <a:lnTo>
                      <a:pt x="1540" y="436"/>
                    </a:lnTo>
                    <a:lnTo>
                      <a:pt x="1535" y="436"/>
                    </a:lnTo>
                    <a:lnTo>
                      <a:pt x="1525" y="453"/>
                    </a:lnTo>
                    <a:lnTo>
                      <a:pt x="1529" y="461"/>
                    </a:lnTo>
                    <a:lnTo>
                      <a:pt x="1522" y="466"/>
                    </a:lnTo>
                    <a:lnTo>
                      <a:pt x="1523" y="470"/>
                    </a:lnTo>
                    <a:lnTo>
                      <a:pt x="1521" y="477"/>
                    </a:lnTo>
                    <a:lnTo>
                      <a:pt x="1516" y="477"/>
                    </a:lnTo>
                    <a:lnTo>
                      <a:pt x="1521" y="484"/>
                    </a:lnTo>
                    <a:lnTo>
                      <a:pt x="1517" y="491"/>
                    </a:lnTo>
                    <a:lnTo>
                      <a:pt x="1517" y="483"/>
                    </a:lnTo>
                    <a:lnTo>
                      <a:pt x="1510" y="479"/>
                    </a:lnTo>
                    <a:lnTo>
                      <a:pt x="1507" y="490"/>
                    </a:lnTo>
                    <a:lnTo>
                      <a:pt x="1493" y="500"/>
                    </a:lnTo>
                    <a:lnTo>
                      <a:pt x="1490" y="491"/>
                    </a:lnTo>
                    <a:lnTo>
                      <a:pt x="1488" y="493"/>
                    </a:lnTo>
                    <a:lnTo>
                      <a:pt x="1490" y="485"/>
                    </a:lnTo>
                    <a:lnTo>
                      <a:pt x="1483" y="500"/>
                    </a:lnTo>
                    <a:lnTo>
                      <a:pt x="1474" y="501"/>
                    </a:lnTo>
                    <a:lnTo>
                      <a:pt x="1483" y="499"/>
                    </a:lnTo>
                    <a:lnTo>
                      <a:pt x="1484" y="491"/>
                    </a:lnTo>
                    <a:lnTo>
                      <a:pt x="1481" y="478"/>
                    </a:lnTo>
                    <a:lnTo>
                      <a:pt x="1452" y="484"/>
                    </a:lnTo>
                    <a:lnTo>
                      <a:pt x="1460" y="480"/>
                    </a:lnTo>
                    <a:lnTo>
                      <a:pt x="1457" y="475"/>
                    </a:lnTo>
                    <a:lnTo>
                      <a:pt x="1463" y="479"/>
                    </a:lnTo>
                    <a:lnTo>
                      <a:pt x="1469" y="475"/>
                    </a:lnTo>
                    <a:lnTo>
                      <a:pt x="1465" y="470"/>
                    </a:lnTo>
                    <a:lnTo>
                      <a:pt x="1469" y="466"/>
                    </a:lnTo>
                    <a:lnTo>
                      <a:pt x="1463" y="465"/>
                    </a:lnTo>
                    <a:lnTo>
                      <a:pt x="1467" y="457"/>
                    </a:lnTo>
                    <a:lnTo>
                      <a:pt x="1463" y="448"/>
                    </a:lnTo>
                    <a:lnTo>
                      <a:pt x="1439" y="444"/>
                    </a:lnTo>
                    <a:lnTo>
                      <a:pt x="1467" y="444"/>
                    </a:lnTo>
                    <a:lnTo>
                      <a:pt x="1462" y="431"/>
                    </a:lnTo>
                    <a:lnTo>
                      <a:pt x="1467" y="418"/>
                    </a:lnTo>
                    <a:lnTo>
                      <a:pt x="1463" y="413"/>
                    </a:lnTo>
                    <a:lnTo>
                      <a:pt x="1457" y="420"/>
                    </a:lnTo>
                    <a:lnTo>
                      <a:pt x="1454" y="413"/>
                    </a:lnTo>
                    <a:lnTo>
                      <a:pt x="1434" y="410"/>
                    </a:lnTo>
                    <a:lnTo>
                      <a:pt x="1430" y="401"/>
                    </a:lnTo>
                    <a:lnTo>
                      <a:pt x="1435" y="397"/>
                    </a:lnTo>
                    <a:lnTo>
                      <a:pt x="1424" y="399"/>
                    </a:lnTo>
                    <a:lnTo>
                      <a:pt x="1426" y="395"/>
                    </a:lnTo>
                    <a:lnTo>
                      <a:pt x="1424" y="387"/>
                    </a:lnTo>
                    <a:lnTo>
                      <a:pt x="1416" y="390"/>
                    </a:lnTo>
                    <a:lnTo>
                      <a:pt x="1419" y="378"/>
                    </a:lnTo>
                    <a:lnTo>
                      <a:pt x="1400" y="369"/>
                    </a:lnTo>
                    <a:lnTo>
                      <a:pt x="1382" y="378"/>
                    </a:lnTo>
                    <a:lnTo>
                      <a:pt x="1346" y="365"/>
                    </a:lnTo>
                    <a:lnTo>
                      <a:pt x="1337" y="376"/>
                    </a:lnTo>
                    <a:lnTo>
                      <a:pt x="1338" y="390"/>
                    </a:lnTo>
                    <a:lnTo>
                      <a:pt x="1347" y="393"/>
                    </a:lnTo>
                    <a:lnTo>
                      <a:pt x="1337" y="421"/>
                    </a:lnTo>
                    <a:lnTo>
                      <a:pt x="1346" y="423"/>
                    </a:lnTo>
                    <a:lnTo>
                      <a:pt x="1341" y="425"/>
                    </a:lnTo>
                    <a:lnTo>
                      <a:pt x="1343" y="433"/>
                    </a:lnTo>
                    <a:lnTo>
                      <a:pt x="1346" y="440"/>
                    </a:lnTo>
                    <a:lnTo>
                      <a:pt x="1344" y="446"/>
                    </a:lnTo>
                    <a:lnTo>
                      <a:pt x="1351" y="446"/>
                    </a:lnTo>
                    <a:lnTo>
                      <a:pt x="1347" y="454"/>
                    </a:lnTo>
                    <a:lnTo>
                      <a:pt x="1353" y="458"/>
                    </a:lnTo>
                    <a:lnTo>
                      <a:pt x="1344" y="457"/>
                    </a:lnTo>
                    <a:lnTo>
                      <a:pt x="1344" y="466"/>
                    </a:lnTo>
                    <a:lnTo>
                      <a:pt x="1328" y="473"/>
                    </a:lnTo>
                    <a:lnTo>
                      <a:pt x="1328" y="480"/>
                    </a:lnTo>
                    <a:lnTo>
                      <a:pt x="1346" y="496"/>
                    </a:lnTo>
                    <a:lnTo>
                      <a:pt x="1356" y="531"/>
                    </a:lnTo>
                    <a:lnTo>
                      <a:pt x="1358" y="550"/>
                    </a:lnTo>
                    <a:lnTo>
                      <a:pt x="1363" y="542"/>
                    </a:lnTo>
                    <a:lnTo>
                      <a:pt x="1366" y="551"/>
                    </a:lnTo>
                    <a:lnTo>
                      <a:pt x="1358" y="552"/>
                    </a:lnTo>
                    <a:lnTo>
                      <a:pt x="1345" y="575"/>
                    </a:lnTo>
                    <a:lnTo>
                      <a:pt x="1315" y="596"/>
                    </a:lnTo>
                    <a:lnTo>
                      <a:pt x="1325" y="611"/>
                    </a:lnTo>
                    <a:lnTo>
                      <a:pt x="1328" y="647"/>
                    </a:lnTo>
                    <a:lnTo>
                      <a:pt x="1334" y="652"/>
                    </a:lnTo>
                    <a:lnTo>
                      <a:pt x="1340" y="654"/>
                    </a:lnTo>
                    <a:lnTo>
                      <a:pt x="1333" y="654"/>
                    </a:lnTo>
                    <a:lnTo>
                      <a:pt x="1324" y="662"/>
                    </a:lnTo>
                    <a:lnTo>
                      <a:pt x="1330" y="671"/>
                    </a:lnTo>
                    <a:lnTo>
                      <a:pt x="1326" y="677"/>
                    </a:lnTo>
                    <a:lnTo>
                      <a:pt x="1318" y="671"/>
                    </a:lnTo>
                    <a:lnTo>
                      <a:pt x="1315" y="673"/>
                    </a:lnTo>
                    <a:lnTo>
                      <a:pt x="1313" y="673"/>
                    </a:lnTo>
                    <a:lnTo>
                      <a:pt x="1314" y="681"/>
                    </a:lnTo>
                    <a:lnTo>
                      <a:pt x="1304" y="675"/>
                    </a:lnTo>
                    <a:lnTo>
                      <a:pt x="1293" y="682"/>
                    </a:lnTo>
                    <a:lnTo>
                      <a:pt x="1301" y="673"/>
                    </a:lnTo>
                    <a:lnTo>
                      <a:pt x="1299" y="665"/>
                    </a:lnTo>
                    <a:lnTo>
                      <a:pt x="1292" y="658"/>
                    </a:lnTo>
                    <a:lnTo>
                      <a:pt x="1278" y="658"/>
                    </a:lnTo>
                    <a:lnTo>
                      <a:pt x="1288" y="652"/>
                    </a:lnTo>
                    <a:lnTo>
                      <a:pt x="1275" y="635"/>
                    </a:lnTo>
                    <a:lnTo>
                      <a:pt x="1276" y="628"/>
                    </a:lnTo>
                    <a:lnTo>
                      <a:pt x="1274" y="606"/>
                    </a:lnTo>
                    <a:lnTo>
                      <a:pt x="1275" y="581"/>
                    </a:lnTo>
                    <a:lnTo>
                      <a:pt x="1230" y="577"/>
                    </a:lnTo>
                    <a:lnTo>
                      <a:pt x="1224" y="589"/>
                    </a:lnTo>
                    <a:lnTo>
                      <a:pt x="1230" y="575"/>
                    </a:lnTo>
                    <a:lnTo>
                      <a:pt x="1221" y="567"/>
                    </a:lnTo>
                    <a:lnTo>
                      <a:pt x="1197" y="559"/>
                    </a:lnTo>
                    <a:lnTo>
                      <a:pt x="1188" y="545"/>
                    </a:lnTo>
                    <a:lnTo>
                      <a:pt x="1172" y="537"/>
                    </a:lnTo>
                    <a:lnTo>
                      <a:pt x="1144" y="523"/>
                    </a:lnTo>
                    <a:lnTo>
                      <a:pt x="1118" y="533"/>
                    </a:lnTo>
                    <a:lnTo>
                      <a:pt x="1124" y="526"/>
                    </a:lnTo>
                    <a:lnTo>
                      <a:pt x="1124" y="518"/>
                    </a:lnTo>
                    <a:lnTo>
                      <a:pt x="1112" y="483"/>
                    </a:lnTo>
                    <a:lnTo>
                      <a:pt x="1099" y="481"/>
                    </a:lnTo>
                    <a:lnTo>
                      <a:pt x="1097" y="490"/>
                    </a:lnTo>
                    <a:lnTo>
                      <a:pt x="1094" y="479"/>
                    </a:lnTo>
                    <a:lnTo>
                      <a:pt x="1087" y="473"/>
                    </a:lnTo>
                    <a:lnTo>
                      <a:pt x="1088" y="468"/>
                    </a:lnTo>
                    <a:lnTo>
                      <a:pt x="1090" y="431"/>
                    </a:lnTo>
                    <a:lnTo>
                      <a:pt x="1099" y="410"/>
                    </a:lnTo>
                    <a:lnTo>
                      <a:pt x="1093" y="403"/>
                    </a:lnTo>
                    <a:lnTo>
                      <a:pt x="1107" y="395"/>
                    </a:lnTo>
                    <a:lnTo>
                      <a:pt x="1111" y="390"/>
                    </a:lnTo>
                    <a:lnTo>
                      <a:pt x="1110" y="387"/>
                    </a:lnTo>
                    <a:lnTo>
                      <a:pt x="1112" y="387"/>
                    </a:lnTo>
                    <a:lnTo>
                      <a:pt x="1117" y="378"/>
                    </a:lnTo>
                    <a:lnTo>
                      <a:pt x="1122" y="382"/>
                    </a:lnTo>
                    <a:lnTo>
                      <a:pt x="1122" y="365"/>
                    </a:lnTo>
                    <a:lnTo>
                      <a:pt x="1132" y="365"/>
                    </a:lnTo>
                    <a:lnTo>
                      <a:pt x="1126" y="364"/>
                    </a:lnTo>
                    <a:lnTo>
                      <a:pt x="1125" y="357"/>
                    </a:lnTo>
                    <a:lnTo>
                      <a:pt x="1139" y="358"/>
                    </a:lnTo>
                    <a:lnTo>
                      <a:pt x="1151" y="351"/>
                    </a:lnTo>
                    <a:lnTo>
                      <a:pt x="1148" y="335"/>
                    </a:lnTo>
                    <a:lnTo>
                      <a:pt x="1135" y="328"/>
                    </a:lnTo>
                    <a:lnTo>
                      <a:pt x="1126" y="334"/>
                    </a:lnTo>
                    <a:lnTo>
                      <a:pt x="1129" y="329"/>
                    </a:lnTo>
                    <a:lnTo>
                      <a:pt x="1112" y="321"/>
                    </a:lnTo>
                    <a:lnTo>
                      <a:pt x="1111" y="325"/>
                    </a:lnTo>
                    <a:lnTo>
                      <a:pt x="1107" y="321"/>
                    </a:lnTo>
                    <a:lnTo>
                      <a:pt x="1110" y="317"/>
                    </a:lnTo>
                    <a:lnTo>
                      <a:pt x="1129" y="326"/>
                    </a:lnTo>
                    <a:lnTo>
                      <a:pt x="1138" y="325"/>
                    </a:lnTo>
                    <a:lnTo>
                      <a:pt x="1151" y="335"/>
                    </a:lnTo>
                    <a:lnTo>
                      <a:pt x="1159" y="329"/>
                    </a:lnTo>
                    <a:lnTo>
                      <a:pt x="1161" y="319"/>
                    </a:lnTo>
                    <a:lnTo>
                      <a:pt x="1164" y="319"/>
                    </a:lnTo>
                    <a:lnTo>
                      <a:pt x="1163" y="315"/>
                    </a:lnTo>
                    <a:lnTo>
                      <a:pt x="1174" y="318"/>
                    </a:lnTo>
                    <a:lnTo>
                      <a:pt x="1189" y="312"/>
                    </a:lnTo>
                    <a:lnTo>
                      <a:pt x="1207" y="277"/>
                    </a:lnTo>
                    <a:lnTo>
                      <a:pt x="1175" y="272"/>
                    </a:lnTo>
                    <a:lnTo>
                      <a:pt x="1157" y="254"/>
                    </a:lnTo>
                    <a:lnTo>
                      <a:pt x="1159" y="252"/>
                    </a:lnTo>
                    <a:lnTo>
                      <a:pt x="1181" y="259"/>
                    </a:lnTo>
                    <a:lnTo>
                      <a:pt x="1190" y="272"/>
                    </a:lnTo>
                    <a:lnTo>
                      <a:pt x="1201" y="271"/>
                    </a:lnTo>
                    <a:lnTo>
                      <a:pt x="1220" y="245"/>
                    </a:lnTo>
                    <a:lnTo>
                      <a:pt x="1220" y="238"/>
                    </a:lnTo>
                    <a:lnTo>
                      <a:pt x="1210" y="235"/>
                    </a:lnTo>
                    <a:lnTo>
                      <a:pt x="1214" y="227"/>
                    </a:lnTo>
                    <a:lnTo>
                      <a:pt x="1230" y="227"/>
                    </a:lnTo>
                    <a:lnTo>
                      <a:pt x="1233" y="239"/>
                    </a:lnTo>
                    <a:lnTo>
                      <a:pt x="1242" y="240"/>
                    </a:lnTo>
                    <a:lnTo>
                      <a:pt x="1243" y="234"/>
                    </a:lnTo>
                    <a:lnTo>
                      <a:pt x="1254" y="241"/>
                    </a:lnTo>
                    <a:lnTo>
                      <a:pt x="1248" y="227"/>
                    </a:lnTo>
                    <a:lnTo>
                      <a:pt x="1250" y="222"/>
                    </a:lnTo>
                    <a:lnTo>
                      <a:pt x="1260" y="234"/>
                    </a:lnTo>
                    <a:lnTo>
                      <a:pt x="1270" y="227"/>
                    </a:lnTo>
                    <a:lnTo>
                      <a:pt x="1291" y="202"/>
                    </a:lnTo>
                    <a:lnTo>
                      <a:pt x="1291" y="192"/>
                    </a:lnTo>
                    <a:lnTo>
                      <a:pt x="1278" y="176"/>
                    </a:lnTo>
                    <a:lnTo>
                      <a:pt x="1280" y="164"/>
                    </a:lnTo>
                    <a:lnTo>
                      <a:pt x="1276" y="167"/>
                    </a:lnTo>
                    <a:lnTo>
                      <a:pt x="1276" y="160"/>
                    </a:lnTo>
                    <a:lnTo>
                      <a:pt x="1270" y="154"/>
                    </a:lnTo>
                    <a:lnTo>
                      <a:pt x="1278" y="151"/>
                    </a:lnTo>
                    <a:lnTo>
                      <a:pt x="1281" y="156"/>
                    </a:lnTo>
                    <a:lnTo>
                      <a:pt x="1288" y="149"/>
                    </a:lnTo>
                    <a:lnTo>
                      <a:pt x="1291" y="140"/>
                    </a:lnTo>
                    <a:lnTo>
                      <a:pt x="1280" y="137"/>
                    </a:lnTo>
                    <a:lnTo>
                      <a:pt x="1291" y="127"/>
                    </a:lnTo>
                    <a:lnTo>
                      <a:pt x="1276" y="123"/>
                    </a:lnTo>
                    <a:lnTo>
                      <a:pt x="1269" y="114"/>
                    </a:lnTo>
                    <a:lnTo>
                      <a:pt x="1272" y="111"/>
                    </a:lnTo>
                    <a:lnTo>
                      <a:pt x="1269" y="103"/>
                    </a:lnTo>
                    <a:lnTo>
                      <a:pt x="1228" y="98"/>
                    </a:lnTo>
                    <a:lnTo>
                      <a:pt x="1228" y="119"/>
                    </a:lnTo>
                    <a:lnTo>
                      <a:pt x="1240" y="130"/>
                    </a:lnTo>
                    <a:lnTo>
                      <a:pt x="1233" y="137"/>
                    </a:lnTo>
                    <a:lnTo>
                      <a:pt x="1240" y="141"/>
                    </a:lnTo>
                    <a:lnTo>
                      <a:pt x="1224" y="145"/>
                    </a:lnTo>
                    <a:lnTo>
                      <a:pt x="1223" y="158"/>
                    </a:lnTo>
                    <a:lnTo>
                      <a:pt x="1213" y="183"/>
                    </a:lnTo>
                    <a:lnTo>
                      <a:pt x="1211" y="195"/>
                    </a:lnTo>
                    <a:lnTo>
                      <a:pt x="1201" y="202"/>
                    </a:lnTo>
                    <a:lnTo>
                      <a:pt x="1184" y="175"/>
                    </a:lnTo>
                    <a:lnTo>
                      <a:pt x="1187" y="156"/>
                    </a:lnTo>
                    <a:lnTo>
                      <a:pt x="1188" y="161"/>
                    </a:lnTo>
                    <a:lnTo>
                      <a:pt x="1192" y="160"/>
                    </a:lnTo>
                    <a:lnTo>
                      <a:pt x="1187" y="137"/>
                    </a:lnTo>
                    <a:lnTo>
                      <a:pt x="1175" y="121"/>
                    </a:lnTo>
                    <a:lnTo>
                      <a:pt x="1168" y="122"/>
                    </a:lnTo>
                    <a:lnTo>
                      <a:pt x="1164" y="130"/>
                    </a:lnTo>
                    <a:lnTo>
                      <a:pt x="1164" y="144"/>
                    </a:lnTo>
                    <a:lnTo>
                      <a:pt x="1156" y="160"/>
                    </a:lnTo>
                    <a:lnTo>
                      <a:pt x="1152" y="151"/>
                    </a:lnTo>
                    <a:lnTo>
                      <a:pt x="1155" y="140"/>
                    </a:lnTo>
                    <a:lnTo>
                      <a:pt x="1140" y="116"/>
                    </a:lnTo>
                    <a:lnTo>
                      <a:pt x="1146" y="118"/>
                    </a:lnTo>
                    <a:lnTo>
                      <a:pt x="1148" y="110"/>
                    </a:lnTo>
                    <a:lnTo>
                      <a:pt x="1120" y="104"/>
                    </a:lnTo>
                    <a:lnTo>
                      <a:pt x="1132" y="91"/>
                    </a:lnTo>
                    <a:lnTo>
                      <a:pt x="1125" y="82"/>
                    </a:lnTo>
                    <a:lnTo>
                      <a:pt x="1138" y="84"/>
                    </a:lnTo>
                    <a:lnTo>
                      <a:pt x="1117" y="53"/>
                    </a:lnTo>
                    <a:lnTo>
                      <a:pt x="1116" y="31"/>
                    </a:lnTo>
                    <a:lnTo>
                      <a:pt x="1106" y="20"/>
                    </a:lnTo>
                    <a:lnTo>
                      <a:pt x="1105" y="9"/>
                    </a:lnTo>
                    <a:lnTo>
                      <a:pt x="1094" y="13"/>
                    </a:lnTo>
                    <a:lnTo>
                      <a:pt x="1092" y="8"/>
                    </a:lnTo>
                    <a:lnTo>
                      <a:pt x="1094" y="2"/>
                    </a:lnTo>
                    <a:lnTo>
                      <a:pt x="1086" y="0"/>
                    </a:lnTo>
                    <a:lnTo>
                      <a:pt x="1074" y="18"/>
                    </a:lnTo>
                    <a:lnTo>
                      <a:pt x="1079" y="24"/>
                    </a:lnTo>
                    <a:lnTo>
                      <a:pt x="1078" y="33"/>
                    </a:lnTo>
                    <a:lnTo>
                      <a:pt x="1072" y="27"/>
                    </a:lnTo>
                    <a:lnTo>
                      <a:pt x="1066" y="33"/>
                    </a:lnTo>
                    <a:lnTo>
                      <a:pt x="1065" y="53"/>
                    </a:lnTo>
                    <a:lnTo>
                      <a:pt x="1072" y="60"/>
                    </a:lnTo>
                    <a:lnTo>
                      <a:pt x="1062" y="72"/>
                    </a:lnTo>
                    <a:lnTo>
                      <a:pt x="1062" y="85"/>
                    </a:lnTo>
                    <a:lnTo>
                      <a:pt x="1094" y="114"/>
                    </a:lnTo>
                    <a:lnTo>
                      <a:pt x="1105" y="110"/>
                    </a:lnTo>
                    <a:lnTo>
                      <a:pt x="1106" y="121"/>
                    </a:lnTo>
                    <a:lnTo>
                      <a:pt x="1103" y="123"/>
                    </a:lnTo>
                    <a:lnTo>
                      <a:pt x="1104" y="115"/>
                    </a:lnTo>
                    <a:lnTo>
                      <a:pt x="1099" y="116"/>
                    </a:lnTo>
                    <a:lnTo>
                      <a:pt x="1091" y="142"/>
                    </a:lnTo>
                    <a:lnTo>
                      <a:pt x="1099" y="141"/>
                    </a:lnTo>
                    <a:lnTo>
                      <a:pt x="1103" y="137"/>
                    </a:lnTo>
                    <a:lnTo>
                      <a:pt x="1099" y="137"/>
                    </a:lnTo>
                    <a:lnTo>
                      <a:pt x="1101" y="131"/>
                    </a:lnTo>
                    <a:lnTo>
                      <a:pt x="1107" y="148"/>
                    </a:lnTo>
                    <a:lnTo>
                      <a:pt x="1091" y="169"/>
                    </a:lnTo>
                    <a:lnTo>
                      <a:pt x="1077" y="168"/>
                    </a:lnTo>
                    <a:lnTo>
                      <a:pt x="1079" y="173"/>
                    </a:lnTo>
                    <a:lnTo>
                      <a:pt x="1077" y="182"/>
                    </a:lnTo>
                    <a:lnTo>
                      <a:pt x="1081" y="189"/>
                    </a:lnTo>
                    <a:lnTo>
                      <a:pt x="1081" y="202"/>
                    </a:lnTo>
                    <a:lnTo>
                      <a:pt x="1077" y="199"/>
                    </a:lnTo>
                    <a:lnTo>
                      <a:pt x="1079" y="195"/>
                    </a:lnTo>
                    <a:lnTo>
                      <a:pt x="1072" y="199"/>
                    </a:lnTo>
                    <a:lnTo>
                      <a:pt x="1072" y="192"/>
                    </a:lnTo>
                    <a:lnTo>
                      <a:pt x="1066" y="189"/>
                    </a:lnTo>
                    <a:lnTo>
                      <a:pt x="1072" y="185"/>
                    </a:lnTo>
                    <a:lnTo>
                      <a:pt x="1070" y="181"/>
                    </a:lnTo>
                    <a:lnTo>
                      <a:pt x="1072" y="162"/>
                    </a:lnTo>
                    <a:lnTo>
                      <a:pt x="1061" y="170"/>
                    </a:lnTo>
                    <a:lnTo>
                      <a:pt x="1064" y="160"/>
                    </a:lnTo>
                    <a:lnTo>
                      <a:pt x="1058" y="160"/>
                    </a:lnTo>
                    <a:lnTo>
                      <a:pt x="1052" y="151"/>
                    </a:lnTo>
                    <a:lnTo>
                      <a:pt x="1032" y="156"/>
                    </a:lnTo>
                    <a:lnTo>
                      <a:pt x="1041" y="176"/>
                    </a:lnTo>
                    <a:lnTo>
                      <a:pt x="1054" y="175"/>
                    </a:lnTo>
                    <a:lnTo>
                      <a:pt x="1054" y="183"/>
                    </a:lnTo>
                    <a:lnTo>
                      <a:pt x="1052" y="187"/>
                    </a:lnTo>
                    <a:lnTo>
                      <a:pt x="1039" y="181"/>
                    </a:lnTo>
                    <a:lnTo>
                      <a:pt x="1034" y="168"/>
                    </a:lnTo>
                    <a:lnTo>
                      <a:pt x="1031" y="170"/>
                    </a:lnTo>
                    <a:lnTo>
                      <a:pt x="1036" y="181"/>
                    </a:lnTo>
                    <a:lnTo>
                      <a:pt x="1007" y="176"/>
                    </a:lnTo>
                    <a:lnTo>
                      <a:pt x="979" y="183"/>
                    </a:lnTo>
                    <a:lnTo>
                      <a:pt x="963" y="167"/>
                    </a:lnTo>
                    <a:lnTo>
                      <a:pt x="942" y="167"/>
                    </a:lnTo>
                    <a:lnTo>
                      <a:pt x="942" y="162"/>
                    </a:lnTo>
                    <a:lnTo>
                      <a:pt x="929" y="153"/>
                    </a:lnTo>
                    <a:lnTo>
                      <a:pt x="931" y="151"/>
                    </a:lnTo>
                    <a:lnTo>
                      <a:pt x="927" y="143"/>
                    </a:lnTo>
                    <a:lnTo>
                      <a:pt x="929" y="141"/>
                    </a:lnTo>
                    <a:lnTo>
                      <a:pt x="919" y="131"/>
                    </a:lnTo>
                    <a:lnTo>
                      <a:pt x="888" y="145"/>
                    </a:lnTo>
                    <a:lnTo>
                      <a:pt x="880" y="156"/>
                    </a:lnTo>
                    <a:lnTo>
                      <a:pt x="893" y="167"/>
                    </a:lnTo>
                    <a:lnTo>
                      <a:pt x="898" y="164"/>
                    </a:lnTo>
                    <a:lnTo>
                      <a:pt x="893" y="160"/>
                    </a:lnTo>
                    <a:lnTo>
                      <a:pt x="899" y="156"/>
                    </a:lnTo>
                    <a:lnTo>
                      <a:pt x="912" y="160"/>
                    </a:lnTo>
                    <a:lnTo>
                      <a:pt x="914" y="154"/>
                    </a:lnTo>
                    <a:lnTo>
                      <a:pt x="911" y="151"/>
                    </a:lnTo>
                    <a:lnTo>
                      <a:pt x="915" y="151"/>
                    </a:lnTo>
                    <a:lnTo>
                      <a:pt x="914" y="148"/>
                    </a:lnTo>
                    <a:lnTo>
                      <a:pt x="924" y="144"/>
                    </a:lnTo>
                    <a:lnTo>
                      <a:pt x="916" y="162"/>
                    </a:lnTo>
                    <a:lnTo>
                      <a:pt x="898" y="168"/>
                    </a:lnTo>
                    <a:lnTo>
                      <a:pt x="896" y="173"/>
                    </a:lnTo>
                    <a:lnTo>
                      <a:pt x="898" y="174"/>
                    </a:lnTo>
                    <a:lnTo>
                      <a:pt x="891" y="181"/>
                    </a:lnTo>
                    <a:lnTo>
                      <a:pt x="904" y="206"/>
                    </a:lnTo>
                    <a:lnTo>
                      <a:pt x="902" y="207"/>
                    </a:lnTo>
                    <a:lnTo>
                      <a:pt x="904" y="213"/>
                    </a:lnTo>
                    <a:lnTo>
                      <a:pt x="896" y="214"/>
                    </a:lnTo>
                    <a:lnTo>
                      <a:pt x="896" y="220"/>
                    </a:lnTo>
                    <a:lnTo>
                      <a:pt x="886" y="207"/>
                    </a:lnTo>
                    <a:lnTo>
                      <a:pt x="896" y="205"/>
                    </a:lnTo>
                    <a:lnTo>
                      <a:pt x="892" y="198"/>
                    </a:lnTo>
                    <a:lnTo>
                      <a:pt x="884" y="194"/>
                    </a:lnTo>
                    <a:lnTo>
                      <a:pt x="883" y="185"/>
                    </a:lnTo>
                    <a:lnTo>
                      <a:pt x="880" y="194"/>
                    </a:lnTo>
                    <a:lnTo>
                      <a:pt x="878" y="181"/>
                    </a:lnTo>
                    <a:lnTo>
                      <a:pt x="866" y="181"/>
                    </a:lnTo>
                    <a:lnTo>
                      <a:pt x="862" y="169"/>
                    </a:lnTo>
                    <a:lnTo>
                      <a:pt x="836" y="183"/>
                    </a:lnTo>
                    <a:lnTo>
                      <a:pt x="793" y="181"/>
                    </a:lnTo>
                    <a:lnTo>
                      <a:pt x="780" y="174"/>
                    </a:lnTo>
                    <a:lnTo>
                      <a:pt x="785" y="170"/>
                    </a:lnTo>
                    <a:lnTo>
                      <a:pt x="785" y="164"/>
                    </a:lnTo>
                    <a:lnTo>
                      <a:pt x="793" y="162"/>
                    </a:lnTo>
                    <a:lnTo>
                      <a:pt x="788" y="160"/>
                    </a:lnTo>
                    <a:lnTo>
                      <a:pt x="804" y="160"/>
                    </a:lnTo>
                    <a:lnTo>
                      <a:pt x="801" y="150"/>
                    </a:lnTo>
                    <a:lnTo>
                      <a:pt x="786" y="132"/>
                    </a:lnTo>
                    <a:lnTo>
                      <a:pt x="771" y="131"/>
                    </a:lnTo>
                    <a:lnTo>
                      <a:pt x="774" y="140"/>
                    </a:lnTo>
                    <a:lnTo>
                      <a:pt x="760" y="135"/>
                    </a:lnTo>
                    <a:lnTo>
                      <a:pt x="713" y="116"/>
                    </a:lnTo>
                    <a:lnTo>
                      <a:pt x="689" y="98"/>
                    </a:lnTo>
                    <a:lnTo>
                      <a:pt x="669" y="98"/>
                    </a:lnTo>
                    <a:lnTo>
                      <a:pt x="663" y="115"/>
                    </a:lnTo>
                    <a:lnTo>
                      <a:pt x="648" y="116"/>
                    </a:lnTo>
                    <a:lnTo>
                      <a:pt x="655" y="102"/>
                    </a:lnTo>
                    <a:lnTo>
                      <a:pt x="648" y="101"/>
                    </a:lnTo>
                    <a:lnTo>
                      <a:pt x="648" y="84"/>
                    </a:lnTo>
                    <a:lnTo>
                      <a:pt x="644" y="84"/>
                    </a:lnTo>
                    <a:lnTo>
                      <a:pt x="646" y="88"/>
                    </a:lnTo>
                    <a:lnTo>
                      <a:pt x="645" y="91"/>
                    </a:lnTo>
                    <a:lnTo>
                      <a:pt x="643" y="89"/>
                    </a:lnTo>
                    <a:lnTo>
                      <a:pt x="633" y="106"/>
                    </a:lnTo>
                    <a:lnTo>
                      <a:pt x="637" y="109"/>
                    </a:lnTo>
                    <a:lnTo>
                      <a:pt x="630" y="115"/>
                    </a:lnTo>
                    <a:lnTo>
                      <a:pt x="625" y="115"/>
                    </a:lnTo>
                    <a:lnTo>
                      <a:pt x="615" y="102"/>
                    </a:lnTo>
                    <a:lnTo>
                      <a:pt x="606" y="77"/>
                    </a:lnTo>
                    <a:lnTo>
                      <a:pt x="594" y="65"/>
                    </a:lnTo>
                    <a:lnTo>
                      <a:pt x="592" y="71"/>
                    </a:lnTo>
                    <a:lnTo>
                      <a:pt x="600" y="79"/>
                    </a:lnTo>
                    <a:lnTo>
                      <a:pt x="579" y="102"/>
                    </a:lnTo>
                    <a:lnTo>
                      <a:pt x="583" y="91"/>
                    </a:lnTo>
                    <a:lnTo>
                      <a:pt x="560" y="103"/>
                    </a:lnTo>
                    <a:lnTo>
                      <a:pt x="550" y="123"/>
                    </a:lnTo>
                    <a:lnTo>
                      <a:pt x="550" y="111"/>
                    </a:lnTo>
                    <a:lnTo>
                      <a:pt x="522" y="127"/>
                    </a:lnTo>
                    <a:lnTo>
                      <a:pt x="538" y="109"/>
                    </a:lnTo>
                    <a:lnTo>
                      <a:pt x="552" y="108"/>
                    </a:lnTo>
                    <a:lnTo>
                      <a:pt x="571" y="91"/>
                    </a:lnTo>
                    <a:lnTo>
                      <a:pt x="574" y="86"/>
                    </a:lnTo>
                    <a:lnTo>
                      <a:pt x="571" y="78"/>
                    </a:lnTo>
                    <a:lnTo>
                      <a:pt x="508" y="118"/>
                    </a:lnTo>
                    <a:lnTo>
                      <a:pt x="498" y="129"/>
                    </a:lnTo>
                    <a:lnTo>
                      <a:pt x="505" y="143"/>
                    </a:lnTo>
                    <a:lnTo>
                      <a:pt x="503" y="150"/>
                    </a:lnTo>
                    <a:lnTo>
                      <a:pt x="495" y="137"/>
                    </a:lnTo>
                    <a:lnTo>
                      <a:pt x="485" y="136"/>
                    </a:lnTo>
                    <a:lnTo>
                      <a:pt x="489" y="145"/>
                    </a:lnTo>
                    <a:lnTo>
                      <a:pt x="486" y="145"/>
                    </a:lnTo>
                    <a:lnTo>
                      <a:pt x="469" y="134"/>
                    </a:lnTo>
                    <a:lnTo>
                      <a:pt x="455" y="134"/>
                    </a:lnTo>
                    <a:lnTo>
                      <a:pt x="428" y="106"/>
                    </a:lnTo>
                    <a:lnTo>
                      <a:pt x="403" y="101"/>
                    </a:lnTo>
                    <a:lnTo>
                      <a:pt x="398" y="104"/>
                    </a:lnTo>
                    <a:lnTo>
                      <a:pt x="369" y="84"/>
                    </a:lnTo>
                    <a:lnTo>
                      <a:pt x="339" y="89"/>
                    </a:lnTo>
                    <a:lnTo>
                      <a:pt x="279" y="69"/>
                    </a:lnTo>
                    <a:lnTo>
                      <a:pt x="243" y="69"/>
                    </a:lnTo>
                    <a:lnTo>
                      <a:pt x="246" y="65"/>
                    </a:lnTo>
                    <a:lnTo>
                      <a:pt x="240" y="63"/>
                    </a:lnTo>
                    <a:lnTo>
                      <a:pt x="236" y="60"/>
                    </a:lnTo>
                    <a:lnTo>
                      <a:pt x="237" y="53"/>
                    </a:lnTo>
                    <a:lnTo>
                      <a:pt x="226" y="54"/>
                    </a:lnTo>
                    <a:lnTo>
                      <a:pt x="221" y="47"/>
                    </a:lnTo>
                    <a:lnTo>
                      <a:pt x="207" y="53"/>
                    </a:lnTo>
                    <a:lnTo>
                      <a:pt x="195" y="39"/>
                    </a:lnTo>
                    <a:lnTo>
                      <a:pt x="188" y="44"/>
                    </a:lnTo>
                    <a:lnTo>
                      <a:pt x="190" y="58"/>
                    </a:lnTo>
                    <a:lnTo>
                      <a:pt x="188" y="56"/>
                    </a:lnTo>
                    <a:lnTo>
                      <a:pt x="176" y="52"/>
                    </a:lnTo>
                    <a:lnTo>
                      <a:pt x="187" y="38"/>
                    </a:lnTo>
                    <a:lnTo>
                      <a:pt x="169" y="28"/>
                    </a:lnTo>
                    <a:lnTo>
                      <a:pt x="151" y="52"/>
                    </a:lnTo>
                    <a:lnTo>
                      <a:pt x="132" y="53"/>
                    </a:lnTo>
                    <a:lnTo>
                      <a:pt x="132" y="59"/>
                    </a:lnTo>
                    <a:lnTo>
                      <a:pt x="128" y="56"/>
                    </a:lnTo>
                    <a:lnTo>
                      <a:pt x="135" y="48"/>
                    </a:lnTo>
                    <a:lnTo>
                      <a:pt x="123" y="56"/>
                    </a:lnTo>
                    <a:lnTo>
                      <a:pt x="119" y="60"/>
                    </a:lnTo>
                    <a:lnTo>
                      <a:pt x="128" y="66"/>
                    </a:lnTo>
                    <a:lnTo>
                      <a:pt x="123" y="69"/>
                    </a:lnTo>
                    <a:lnTo>
                      <a:pt x="120" y="78"/>
                    </a:lnTo>
                    <a:lnTo>
                      <a:pt x="117" y="75"/>
                    </a:lnTo>
                    <a:lnTo>
                      <a:pt x="119" y="66"/>
                    </a:lnTo>
                    <a:lnTo>
                      <a:pt x="117" y="63"/>
                    </a:lnTo>
                    <a:lnTo>
                      <a:pt x="91" y="83"/>
                    </a:lnTo>
                    <a:lnTo>
                      <a:pt x="93" y="77"/>
                    </a:lnTo>
                    <a:lnTo>
                      <a:pt x="91" y="77"/>
                    </a:lnTo>
                    <a:lnTo>
                      <a:pt x="87" y="86"/>
                    </a:lnTo>
                    <a:lnTo>
                      <a:pt x="94" y="93"/>
                    </a:lnTo>
                    <a:lnTo>
                      <a:pt x="84" y="88"/>
                    </a:lnTo>
                    <a:lnTo>
                      <a:pt x="78" y="98"/>
                    </a:lnTo>
                    <a:lnTo>
                      <a:pt x="86" y="99"/>
                    </a:lnTo>
                    <a:lnTo>
                      <a:pt x="76" y="101"/>
                    </a:lnTo>
                    <a:lnTo>
                      <a:pt x="83" y="108"/>
                    </a:lnTo>
                    <a:lnTo>
                      <a:pt x="76" y="104"/>
                    </a:lnTo>
                    <a:lnTo>
                      <a:pt x="74" y="115"/>
                    </a:lnTo>
                    <a:lnTo>
                      <a:pt x="61" y="131"/>
                    </a:lnTo>
                    <a:lnTo>
                      <a:pt x="27" y="137"/>
                    </a:lnTo>
                    <a:lnTo>
                      <a:pt x="26" y="151"/>
                    </a:lnTo>
                    <a:lnTo>
                      <a:pt x="29" y="151"/>
                    </a:lnTo>
                    <a:lnTo>
                      <a:pt x="18" y="157"/>
                    </a:lnTo>
                    <a:lnTo>
                      <a:pt x="55" y="183"/>
                    </a:lnTo>
                    <a:lnTo>
                      <a:pt x="63" y="192"/>
                    </a:lnTo>
                    <a:lnTo>
                      <a:pt x="66" y="207"/>
                    </a:lnTo>
                    <a:lnTo>
                      <a:pt x="78" y="212"/>
                    </a:lnTo>
                    <a:lnTo>
                      <a:pt x="85" y="205"/>
                    </a:lnTo>
                    <a:lnTo>
                      <a:pt x="84" y="212"/>
                    </a:lnTo>
                    <a:lnTo>
                      <a:pt x="97" y="211"/>
                    </a:lnTo>
                    <a:lnTo>
                      <a:pt x="98" y="213"/>
                    </a:lnTo>
                    <a:lnTo>
                      <a:pt x="92" y="220"/>
                    </a:lnTo>
                    <a:lnTo>
                      <a:pt x="100" y="228"/>
                    </a:lnTo>
                    <a:lnTo>
                      <a:pt x="102" y="222"/>
                    </a:lnTo>
                    <a:lnTo>
                      <a:pt x="128" y="227"/>
                    </a:lnTo>
                    <a:lnTo>
                      <a:pt x="110" y="235"/>
                    </a:lnTo>
                    <a:lnTo>
                      <a:pt x="94" y="231"/>
                    </a:lnTo>
                    <a:lnTo>
                      <a:pt x="90" y="224"/>
                    </a:lnTo>
                    <a:lnTo>
                      <a:pt x="92" y="231"/>
                    </a:lnTo>
                    <a:lnTo>
                      <a:pt x="91" y="237"/>
                    </a:lnTo>
                    <a:lnTo>
                      <a:pt x="98" y="238"/>
                    </a:lnTo>
                    <a:lnTo>
                      <a:pt x="93" y="250"/>
                    </a:lnTo>
                    <a:lnTo>
                      <a:pt x="66" y="246"/>
                    </a:lnTo>
                    <a:lnTo>
                      <a:pt x="59" y="240"/>
                    </a:lnTo>
                    <a:lnTo>
                      <a:pt x="64" y="238"/>
                    </a:lnTo>
                    <a:lnTo>
                      <a:pt x="64" y="228"/>
                    </a:lnTo>
                    <a:lnTo>
                      <a:pt x="61" y="227"/>
                    </a:lnTo>
                    <a:lnTo>
                      <a:pt x="51" y="227"/>
                    </a:lnTo>
                    <a:lnTo>
                      <a:pt x="34" y="239"/>
                    </a:lnTo>
                    <a:lnTo>
                      <a:pt x="38" y="244"/>
                    </a:lnTo>
                    <a:lnTo>
                      <a:pt x="26" y="242"/>
                    </a:lnTo>
                    <a:lnTo>
                      <a:pt x="0" y="259"/>
                    </a:lnTo>
                    <a:lnTo>
                      <a:pt x="12" y="271"/>
                    </a:lnTo>
                    <a:lnTo>
                      <a:pt x="28" y="273"/>
                    </a:lnTo>
                    <a:lnTo>
                      <a:pt x="18" y="277"/>
                    </a:lnTo>
                    <a:lnTo>
                      <a:pt x="29" y="299"/>
                    </a:lnTo>
                    <a:lnTo>
                      <a:pt x="48" y="304"/>
                    </a:lnTo>
                    <a:lnTo>
                      <a:pt x="67" y="299"/>
                    </a:lnTo>
                    <a:lnTo>
                      <a:pt x="74" y="304"/>
                    </a:lnTo>
                    <a:lnTo>
                      <a:pt x="76" y="300"/>
                    </a:lnTo>
                    <a:lnTo>
                      <a:pt x="70" y="297"/>
                    </a:lnTo>
                    <a:lnTo>
                      <a:pt x="74" y="297"/>
                    </a:lnTo>
                    <a:lnTo>
                      <a:pt x="80" y="310"/>
                    </a:lnTo>
                    <a:lnTo>
                      <a:pt x="94" y="290"/>
                    </a:lnTo>
                    <a:lnTo>
                      <a:pt x="109" y="292"/>
                    </a:lnTo>
                    <a:lnTo>
                      <a:pt x="106" y="300"/>
                    </a:lnTo>
                    <a:lnTo>
                      <a:pt x="99" y="300"/>
                    </a:lnTo>
                    <a:lnTo>
                      <a:pt x="109" y="322"/>
                    </a:lnTo>
                    <a:lnTo>
                      <a:pt x="105" y="334"/>
                    </a:lnTo>
                    <a:lnTo>
                      <a:pt x="86" y="335"/>
                    </a:lnTo>
                    <a:lnTo>
                      <a:pt x="76" y="350"/>
                    </a:lnTo>
                    <a:lnTo>
                      <a:pt x="65" y="351"/>
                    </a:lnTo>
                    <a:lnTo>
                      <a:pt x="59" y="356"/>
                    </a:lnTo>
                    <a:lnTo>
                      <a:pt x="59" y="361"/>
                    </a:lnTo>
                    <a:lnTo>
                      <a:pt x="51" y="361"/>
                    </a:lnTo>
                    <a:lnTo>
                      <a:pt x="38" y="373"/>
                    </a:lnTo>
                    <a:lnTo>
                      <a:pt x="34" y="387"/>
                    </a:lnTo>
                    <a:lnTo>
                      <a:pt x="28" y="390"/>
                    </a:lnTo>
                    <a:lnTo>
                      <a:pt x="31" y="394"/>
                    </a:lnTo>
                    <a:lnTo>
                      <a:pt x="27" y="400"/>
                    </a:lnTo>
                    <a:lnTo>
                      <a:pt x="41" y="395"/>
                    </a:lnTo>
                    <a:lnTo>
                      <a:pt x="32" y="402"/>
                    </a:lnTo>
                    <a:lnTo>
                      <a:pt x="40" y="402"/>
                    </a:lnTo>
                    <a:lnTo>
                      <a:pt x="39" y="408"/>
                    </a:lnTo>
                    <a:lnTo>
                      <a:pt x="41" y="415"/>
                    </a:lnTo>
                    <a:lnTo>
                      <a:pt x="47" y="413"/>
                    </a:lnTo>
                    <a:lnTo>
                      <a:pt x="52" y="414"/>
                    </a:lnTo>
                    <a:lnTo>
                      <a:pt x="50" y="419"/>
                    </a:lnTo>
                    <a:lnTo>
                      <a:pt x="53" y="420"/>
                    </a:lnTo>
                    <a:lnTo>
                      <a:pt x="64" y="420"/>
                    </a:lnTo>
                    <a:lnTo>
                      <a:pt x="53" y="438"/>
                    </a:lnTo>
                    <a:lnTo>
                      <a:pt x="55" y="446"/>
                    </a:lnTo>
                    <a:lnTo>
                      <a:pt x="64" y="446"/>
                    </a:lnTo>
                    <a:lnTo>
                      <a:pt x="57" y="447"/>
                    </a:lnTo>
                    <a:lnTo>
                      <a:pt x="63" y="454"/>
                    </a:lnTo>
                    <a:lnTo>
                      <a:pt x="74" y="455"/>
                    </a:lnTo>
                    <a:lnTo>
                      <a:pt x="84" y="440"/>
                    </a:lnTo>
                    <a:lnTo>
                      <a:pt x="81" y="435"/>
                    </a:lnTo>
                    <a:lnTo>
                      <a:pt x="86" y="427"/>
                    </a:lnTo>
                    <a:lnTo>
                      <a:pt x="97" y="420"/>
                    </a:lnTo>
                    <a:lnTo>
                      <a:pt x="84" y="435"/>
                    </a:lnTo>
                    <a:lnTo>
                      <a:pt x="94" y="458"/>
                    </a:lnTo>
                    <a:lnTo>
                      <a:pt x="90" y="468"/>
                    </a:lnTo>
                    <a:lnTo>
                      <a:pt x="97" y="471"/>
                    </a:lnTo>
                    <a:lnTo>
                      <a:pt x="93" y="474"/>
                    </a:lnTo>
                    <a:lnTo>
                      <a:pt x="97" y="480"/>
                    </a:lnTo>
                    <a:lnTo>
                      <a:pt x="87" y="485"/>
                    </a:lnTo>
                    <a:lnTo>
                      <a:pt x="109" y="477"/>
                    </a:lnTo>
                    <a:lnTo>
                      <a:pt x="116" y="466"/>
                    </a:lnTo>
                    <a:lnTo>
                      <a:pt x="116" y="477"/>
                    </a:lnTo>
                    <a:lnTo>
                      <a:pt x="125" y="477"/>
                    </a:lnTo>
                    <a:lnTo>
                      <a:pt x="135" y="492"/>
                    </a:lnTo>
                    <a:lnTo>
                      <a:pt x="138" y="488"/>
                    </a:lnTo>
                    <a:lnTo>
                      <a:pt x="136" y="481"/>
                    </a:lnTo>
                    <a:lnTo>
                      <a:pt x="142" y="474"/>
                    </a:lnTo>
                    <a:lnTo>
                      <a:pt x="142" y="479"/>
                    </a:lnTo>
                    <a:lnTo>
                      <a:pt x="148" y="485"/>
                    </a:lnTo>
                    <a:lnTo>
                      <a:pt x="168" y="471"/>
                    </a:lnTo>
                    <a:lnTo>
                      <a:pt x="158" y="486"/>
                    </a:lnTo>
                    <a:lnTo>
                      <a:pt x="157" y="493"/>
                    </a:lnTo>
                    <a:lnTo>
                      <a:pt x="159" y="493"/>
                    </a:lnTo>
                    <a:lnTo>
                      <a:pt x="149" y="522"/>
                    </a:lnTo>
                    <a:lnTo>
                      <a:pt x="142" y="526"/>
                    </a:lnTo>
                    <a:lnTo>
                      <a:pt x="138" y="535"/>
                    </a:lnTo>
                    <a:lnTo>
                      <a:pt x="116" y="546"/>
                    </a:lnTo>
                    <a:lnTo>
                      <a:pt x="111" y="559"/>
                    </a:lnTo>
                    <a:lnTo>
                      <a:pt x="116" y="562"/>
                    </a:lnTo>
                    <a:lnTo>
                      <a:pt x="100" y="556"/>
                    </a:lnTo>
                    <a:lnTo>
                      <a:pt x="70" y="580"/>
                    </a:lnTo>
                    <a:lnTo>
                      <a:pt x="67" y="580"/>
                    </a:lnTo>
                    <a:lnTo>
                      <a:pt x="71" y="587"/>
                    </a:lnTo>
                    <a:lnTo>
                      <a:pt x="72" y="580"/>
                    </a:lnTo>
                    <a:lnTo>
                      <a:pt x="81" y="582"/>
                    </a:lnTo>
                    <a:lnTo>
                      <a:pt x="80" y="576"/>
                    </a:lnTo>
                    <a:lnTo>
                      <a:pt x="83" y="581"/>
                    </a:lnTo>
                    <a:lnTo>
                      <a:pt x="89" y="580"/>
                    </a:lnTo>
                    <a:lnTo>
                      <a:pt x="97" y="567"/>
                    </a:lnTo>
                    <a:lnTo>
                      <a:pt x="98" y="567"/>
                    </a:lnTo>
                    <a:lnTo>
                      <a:pt x="97" y="574"/>
                    </a:lnTo>
                    <a:lnTo>
                      <a:pt x="122" y="561"/>
                    </a:lnTo>
                    <a:lnTo>
                      <a:pt x="124" y="569"/>
                    </a:lnTo>
                    <a:lnTo>
                      <a:pt x="128" y="559"/>
                    </a:lnTo>
                    <a:lnTo>
                      <a:pt x="139" y="556"/>
                    </a:lnTo>
                    <a:lnTo>
                      <a:pt x="132" y="544"/>
                    </a:lnTo>
                    <a:lnTo>
                      <a:pt x="138" y="549"/>
                    </a:lnTo>
                    <a:lnTo>
                      <a:pt x="151" y="544"/>
                    </a:lnTo>
                    <a:lnTo>
                      <a:pt x="148" y="542"/>
                    </a:lnTo>
                    <a:lnTo>
                      <a:pt x="157" y="541"/>
                    </a:lnTo>
                    <a:lnTo>
                      <a:pt x="157" y="535"/>
                    </a:lnTo>
                    <a:lnTo>
                      <a:pt x="171" y="529"/>
                    </a:lnTo>
                    <a:lnTo>
                      <a:pt x="172" y="523"/>
                    </a:lnTo>
                    <a:lnTo>
                      <a:pt x="170" y="522"/>
                    </a:lnTo>
                    <a:lnTo>
                      <a:pt x="182" y="515"/>
                    </a:lnTo>
                    <a:lnTo>
                      <a:pt x="183" y="509"/>
                    </a:lnTo>
                    <a:lnTo>
                      <a:pt x="188" y="510"/>
                    </a:lnTo>
                    <a:lnTo>
                      <a:pt x="193" y="503"/>
                    </a:lnTo>
                    <a:lnTo>
                      <a:pt x="207" y="497"/>
                    </a:lnTo>
                    <a:lnTo>
                      <a:pt x="204" y="493"/>
                    </a:lnTo>
                    <a:lnTo>
                      <a:pt x="207" y="488"/>
                    </a:lnTo>
                    <a:lnTo>
                      <a:pt x="217" y="479"/>
                    </a:lnTo>
                    <a:lnTo>
                      <a:pt x="213" y="473"/>
                    </a:lnTo>
                    <a:lnTo>
                      <a:pt x="204" y="473"/>
                    </a:lnTo>
                    <a:lnTo>
                      <a:pt x="207" y="462"/>
                    </a:lnTo>
                    <a:lnTo>
                      <a:pt x="228" y="446"/>
                    </a:lnTo>
                    <a:lnTo>
                      <a:pt x="221" y="436"/>
                    </a:lnTo>
                    <a:lnTo>
                      <a:pt x="229" y="439"/>
                    </a:lnTo>
                    <a:lnTo>
                      <a:pt x="241" y="418"/>
                    </a:lnTo>
                    <a:lnTo>
                      <a:pt x="258" y="406"/>
                    </a:lnTo>
                    <a:lnTo>
                      <a:pt x="265" y="375"/>
                    </a:lnTo>
                    <a:lnTo>
                      <a:pt x="265" y="389"/>
                    </a:lnTo>
                    <a:lnTo>
                      <a:pt x="259" y="406"/>
                    </a:lnTo>
                    <a:lnTo>
                      <a:pt x="266" y="408"/>
                    </a:lnTo>
                    <a:lnTo>
                      <a:pt x="278" y="399"/>
                    </a:lnTo>
                    <a:lnTo>
                      <a:pt x="267" y="413"/>
                    </a:lnTo>
                    <a:lnTo>
                      <a:pt x="281" y="419"/>
                    </a:lnTo>
                    <a:lnTo>
                      <a:pt x="262" y="415"/>
                    </a:lnTo>
                    <a:lnTo>
                      <a:pt x="248" y="422"/>
                    </a:lnTo>
                    <a:lnTo>
                      <a:pt x="248" y="436"/>
                    </a:lnTo>
                    <a:lnTo>
                      <a:pt x="240" y="453"/>
                    </a:lnTo>
                    <a:lnTo>
                      <a:pt x="245" y="457"/>
                    </a:lnTo>
                    <a:lnTo>
                      <a:pt x="253" y="452"/>
                    </a:lnTo>
                    <a:lnTo>
                      <a:pt x="248" y="461"/>
                    </a:lnTo>
                    <a:lnTo>
                      <a:pt x="241" y="461"/>
                    </a:lnTo>
                    <a:lnTo>
                      <a:pt x="240" y="466"/>
                    </a:lnTo>
                    <a:lnTo>
                      <a:pt x="242" y="470"/>
                    </a:lnTo>
                    <a:lnTo>
                      <a:pt x="253" y="466"/>
                    </a:lnTo>
                    <a:lnTo>
                      <a:pt x="263" y="458"/>
                    </a:lnTo>
                    <a:lnTo>
                      <a:pt x="262" y="464"/>
                    </a:lnTo>
                    <a:lnTo>
                      <a:pt x="266" y="455"/>
                    </a:lnTo>
                    <a:lnTo>
                      <a:pt x="271" y="454"/>
                    </a:lnTo>
                    <a:lnTo>
                      <a:pt x="273" y="447"/>
                    </a:lnTo>
                    <a:lnTo>
                      <a:pt x="273" y="454"/>
                    </a:lnTo>
                    <a:lnTo>
                      <a:pt x="275" y="442"/>
                    </a:lnTo>
                    <a:lnTo>
                      <a:pt x="289" y="446"/>
                    </a:lnTo>
                    <a:lnTo>
                      <a:pt x="297" y="429"/>
                    </a:lnTo>
                    <a:lnTo>
                      <a:pt x="288" y="431"/>
                    </a:lnTo>
                    <a:lnTo>
                      <a:pt x="293" y="423"/>
                    </a:lnTo>
                    <a:lnTo>
                      <a:pt x="288" y="421"/>
                    </a:lnTo>
                    <a:lnTo>
                      <a:pt x="300" y="408"/>
                    </a:lnTo>
                    <a:lnTo>
                      <a:pt x="299" y="419"/>
                    </a:lnTo>
                    <a:lnTo>
                      <a:pt x="301" y="416"/>
                    </a:lnTo>
                    <a:lnTo>
                      <a:pt x="301" y="410"/>
                    </a:lnTo>
                    <a:lnTo>
                      <a:pt x="305" y="416"/>
                    </a:lnTo>
                    <a:lnTo>
                      <a:pt x="318" y="413"/>
                    </a:lnTo>
                    <a:lnTo>
                      <a:pt x="317" y="420"/>
                    </a:lnTo>
                    <a:lnTo>
                      <a:pt x="324" y="420"/>
                    </a:lnTo>
                    <a:lnTo>
                      <a:pt x="317" y="423"/>
                    </a:lnTo>
                    <a:lnTo>
                      <a:pt x="326" y="421"/>
                    </a:lnTo>
                    <a:lnTo>
                      <a:pt x="323" y="425"/>
                    </a:lnTo>
                    <a:lnTo>
                      <a:pt x="331" y="425"/>
                    </a:lnTo>
                    <a:lnTo>
                      <a:pt x="330" y="429"/>
                    </a:lnTo>
                    <a:lnTo>
                      <a:pt x="338" y="435"/>
                    </a:lnTo>
                    <a:lnTo>
                      <a:pt x="342" y="431"/>
                    </a:lnTo>
                    <a:lnTo>
                      <a:pt x="357" y="446"/>
                    </a:lnTo>
                    <a:lnTo>
                      <a:pt x="396" y="444"/>
                    </a:lnTo>
                    <a:lnTo>
                      <a:pt x="396" y="448"/>
                    </a:lnTo>
                    <a:lnTo>
                      <a:pt x="407" y="453"/>
                    </a:lnTo>
                    <a:lnTo>
                      <a:pt x="417" y="451"/>
                    </a:lnTo>
                    <a:lnTo>
                      <a:pt x="423" y="444"/>
                    </a:lnTo>
                    <a:lnTo>
                      <a:pt x="431" y="449"/>
                    </a:lnTo>
                    <a:lnTo>
                      <a:pt x="428" y="452"/>
                    </a:lnTo>
                    <a:lnTo>
                      <a:pt x="428" y="458"/>
                    </a:lnTo>
                    <a:lnTo>
                      <a:pt x="425" y="446"/>
                    </a:lnTo>
                    <a:lnTo>
                      <a:pt x="423" y="457"/>
                    </a:lnTo>
                    <a:lnTo>
                      <a:pt x="420" y="459"/>
                    </a:lnTo>
                    <a:lnTo>
                      <a:pt x="437" y="471"/>
                    </a:lnTo>
                    <a:lnTo>
                      <a:pt x="446" y="462"/>
                    </a:lnTo>
                    <a:lnTo>
                      <a:pt x="446" y="462"/>
                    </a:lnTo>
                    <a:lnTo>
                      <a:pt x="444" y="465"/>
                    </a:lnTo>
                    <a:lnTo>
                      <a:pt x="444" y="474"/>
                    </a:lnTo>
                    <a:lnTo>
                      <a:pt x="454" y="483"/>
                    </a:lnTo>
                    <a:lnTo>
                      <a:pt x="453" y="486"/>
                    </a:lnTo>
                    <a:lnTo>
                      <a:pt x="467" y="496"/>
                    </a:lnTo>
                    <a:lnTo>
                      <a:pt x="474" y="492"/>
                    </a:lnTo>
                    <a:lnTo>
                      <a:pt x="474" y="488"/>
                    </a:lnTo>
                    <a:lnTo>
                      <a:pt x="461" y="477"/>
                    </a:lnTo>
                    <a:lnTo>
                      <a:pt x="463" y="474"/>
                    </a:lnTo>
                    <a:lnTo>
                      <a:pt x="473" y="481"/>
                    </a:lnTo>
                    <a:lnTo>
                      <a:pt x="475" y="477"/>
                    </a:lnTo>
                    <a:lnTo>
                      <a:pt x="479" y="486"/>
                    </a:lnTo>
                    <a:lnTo>
                      <a:pt x="477" y="492"/>
                    </a:lnTo>
                    <a:lnTo>
                      <a:pt x="483" y="490"/>
                    </a:lnTo>
                    <a:lnTo>
                      <a:pt x="486" y="496"/>
                    </a:lnTo>
                    <a:lnTo>
                      <a:pt x="488" y="496"/>
                    </a:lnTo>
                    <a:lnTo>
                      <a:pt x="489" y="491"/>
                    </a:lnTo>
                    <a:lnTo>
                      <a:pt x="483" y="470"/>
                    </a:lnTo>
                    <a:lnTo>
                      <a:pt x="485" y="462"/>
                    </a:lnTo>
                    <a:lnTo>
                      <a:pt x="495" y="492"/>
                    </a:lnTo>
                    <a:lnTo>
                      <a:pt x="505" y="496"/>
                    </a:lnTo>
                    <a:lnTo>
                      <a:pt x="508" y="503"/>
                    </a:lnTo>
                    <a:lnTo>
                      <a:pt x="513" y="498"/>
                    </a:lnTo>
                    <a:lnTo>
                      <a:pt x="511" y="501"/>
                    </a:lnTo>
                    <a:lnTo>
                      <a:pt x="508" y="504"/>
                    </a:lnTo>
                    <a:lnTo>
                      <a:pt x="511" y="509"/>
                    </a:lnTo>
                    <a:lnTo>
                      <a:pt x="514" y="507"/>
                    </a:lnTo>
                    <a:lnTo>
                      <a:pt x="521" y="517"/>
                    </a:lnTo>
                    <a:lnTo>
                      <a:pt x="513" y="511"/>
                    </a:lnTo>
                    <a:lnTo>
                      <a:pt x="513" y="515"/>
                    </a:lnTo>
                    <a:lnTo>
                      <a:pt x="515" y="515"/>
                    </a:lnTo>
                    <a:lnTo>
                      <a:pt x="515" y="520"/>
                    </a:lnTo>
                    <a:lnTo>
                      <a:pt x="519" y="522"/>
                    </a:lnTo>
                    <a:lnTo>
                      <a:pt x="515" y="525"/>
                    </a:lnTo>
                    <a:lnTo>
                      <a:pt x="524" y="526"/>
                    </a:lnTo>
                    <a:lnTo>
                      <a:pt x="526" y="533"/>
                    </a:lnTo>
                    <a:lnTo>
                      <a:pt x="521" y="529"/>
                    </a:lnTo>
                    <a:lnTo>
                      <a:pt x="524" y="533"/>
                    </a:lnTo>
                    <a:lnTo>
                      <a:pt x="532" y="539"/>
                    </a:lnTo>
                    <a:lnTo>
                      <a:pt x="534" y="546"/>
                    </a:lnTo>
                    <a:lnTo>
                      <a:pt x="542" y="552"/>
                    </a:lnTo>
                    <a:lnTo>
                      <a:pt x="538" y="554"/>
                    </a:lnTo>
                    <a:lnTo>
                      <a:pt x="532" y="564"/>
                    </a:lnTo>
                    <a:lnTo>
                      <a:pt x="534" y="569"/>
                    </a:lnTo>
                    <a:lnTo>
                      <a:pt x="540" y="561"/>
                    </a:lnTo>
                    <a:lnTo>
                      <a:pt x="550" y="554"/>
                    </a:lnTo>
                    <a:lnTo>
                      <a:pt x="553" y="575"/>
                    </a:lnTo>
                    <a:lnTo>
                      <a:pt x="557" y="575"/>
                    </a:lnTo>
                    <a:lnTo>
                      <a:pt x="558" y="580"/>
                    </a:lnTo>
                    <a:lnTo>
                      <a:pt x="552" y="583"/>
                    </a:lnTo>
                    <a:lnTo>
                      <a:pt x="553" y="589"/>
                    </a:lnTo>
                    <a:lnTo>
                      <a:pt x="565" y="583"/>
                    </a:lnTo>
                    <a:lnTo>
                      <a:pt x="565" y="591"/>
                    </a:lnTo>
                    <a:lnTo>
                      <a:pt x="561" y="591"/>
                    </a:lnTo>
                    <a:lnTo>
                      <a:pt x="560" y="598"/>
                    </a:lnTo>
                    <a:lnTo>
                      <a:pt x="567" y="604"/>
                    </a:lnTo>
                    <a:lnTo>
                      <a:pt x="565" y="610"/>
                    </a:lnTo>
                    <a:lnTo>
                      <a:pt x="577" y="623"/>
                    </a:lnTo>
                    <a:lnTo>
                      <a:pt x="580" y="622"/>
                    </a:lnTo>
                    <a:lnTo>
                      <a:pt x="579" y="634"/>
                    </a:lnTo>
                    <a:lnTo>
                      <a:pt x="585" y="646"/>
                    </a:lnTo>
                    <a:lnTo>
                      <a:pt x="592" y="645"/>
                    </a:lnTo>
                    <a:lnTo>
                      <a:pt x="592" y="649"/>
                    </a:lnTo>
                    <a:lnTo>
                      <a:pt x="598" y="648"/>
                    </a:lnTo>
                    <a:lnTo>
                      <a:pt x="599" y="667"/>
                    </a:lnTo>
                    <a:lnTo>
                      <a:pt x="604" y="665"/>
                    </a:lnTo>
                    <a:lnTo>
                      <a:pt x="604" y="669"/>
                    </a:lnTo>
                    <a:lnTo>
                      <a:pt x="606" y="671"/>
                    </a:lnTo>
                    <a:lnTo>
                      <a:pt x="600" y="673"/>
                    </a:lnTo>
                    <a:lnTo>
                      <a:pt x="605" y="675"/>
                    </a:lnTo>
                    <a:lnTo>
                      <a:pt x="600" y="677"/>
                    </a:lnTo>
                    <a:lnTo>
                      <a:pt x="602" y="680"/>
                    </a:lnTo>
                    <a:lnTo>
                      <a:pt x="609" y="685"/>
                    </a:lnTo>
                    <a:lnTo>
                      <a:pt x="622" y="682"/>
                    </a:lnTo>
                    <a:lnTo>
                      <a:pt x="620" y="685"/>
                    </a:lnTo>
                    <a:lnTo>
                      <a:pt x="628" y="690"/>
                    </a:lnTo>
                    <a:lnTo>
                      <a:pt x="624" y="693"/>
                    </a:lnTo>
                    <a:lnTo>
                      <a:pt x="646" y="695"/>
                    </a:lnTo>
                    <a:lnTo>
                      <a:pt x="644" y="704"/>
                    </a:lnTo>
                    <a:lnTo>
                      <a:pt x="646" y="707"/>
                    </a:lnTo>
                    <a:lnTo>
                      <a:pt x="652" y="711"/>
                    </a:lnTo>
                    <a:lnTo>
                      <a:pt x="656" y="710"/>
                    </a:lnTo>
                    <a:lnTo>
                      <a:pt x="656" y="704"/>
                    </a:lnTo>
                    <a:lnTo>
                      <a:pt x="662" y="712"/>
                    </a:lnTo>
                    <a:lnTo>
                      <a:pt x="662" y="719"/>
                    </a:lnTo>
                    <a:lnTo>
                      <a:pt x="668" y="712"/>
                    </a:lnTo>
                    <a:lnTo>
                      <a:pt x="668" y="723"/>
                    </a:lnTo>
                    <a:lnTo>
                      <a:pt x="677" y="723"/>
                    </a:lnTo>
                    <a:lnTo>
                      <a:pt x="671" y="725"/>
                    </a:lnTo>
                    <a:lnTo>
                      <a:pt x="674" y="729"/>
                    </a:lnTo>
                    <a:lnTo>
                      <a:pt x="681" y="736"/>
                    </a:lnTo>
                    <a:lnTo>
                      <a:pt x="677" y="740"/>
                    </a:lnTo>
                    <a:lnTo>
                      <a:pt x="681" y="743"/>
                    </a:lnTo>
                    <a:lnTo>
                      <a:pt x="682" y="752"/>
                    </a:lnTo>
                    <a:lnTo>
                      <a:pt x="672" y="764"/>
                    </a:lnTo>
                    <a:lnTo>
                      <a:pt x="671" y="761"/>
                    </a:lnTo>
                    <a:lnTo>
                      <a:pt x="675" y="752"/>
                    </a:lnTo>
                    <a:lnTo>
                      <a:pt x="675" y="748"/>
                    </a:lnTo>
                    <a:lnTo>
                      <a:pt x="648" y="742"/>
                    </a:lnTo>
                    <a:lnTo>
                      <a:pt x="646" y="745"/>
                    </a:lnTo>
                    <a:lnTo>
                      <a:pt x="655" y="772"/>
                    </a:lnTo>
                    <a:lnTo>
                      <a:pt x="656" y="772"/>
                    </a:lnTo>
                    <a:lnTo>
                      <a:pt x="656" y="777"/>
                    </a:lnTo>
                    <a:lnTo>
                      <a:pt x="658" y="779"/>
                    </a:lnTo>
                    <a:lnTo>
                      <a:pt x="658" y="783"/>
                    </a:lnTo>
                    <a:lnTo>
                      <a:pt x="656" y="781"/>
                    </a:lnTo>
                    <a:lnTo>
                      <a:pt x="656" y="787"/>
                    </a:lnTo>
                    <a:lnTo>
                      <a:pt x="668" y="790"/>
                    </a:lnTo>
                    <a:lnTo>
                      <a:pt x="658" y="794"/>
                    </a:lnTo>
                    <a:lnTo>
                      <a:pt x="654" y="848"/>
                    </a:lnTo>
                    <a:lnTo>
                      <a:pt x="650" y="859"/>
                    </a:lnTo>
                    <a:lnTo>
                      <a:pt x="654" y="880"/>
                    </a:lnTo>
                    <a:lnTo>
                      <a:pt x="656" y="889"/>
                    </a:lnTo>
                    <a:lnTo>
                      <a:pt x="652" y="911"/>
                    </a:lnTo>
                    <a:lnTo>
                      <a:pt x="661" y="923"/>
                    </a:lnTo>
                    <a:lnTo>
                      <a:pt x="662" y="938"/>
                    </a:lnTo>
                    <a:lnTo>
                      <a:pt x="672" y="953"/>
                    </a:lnTo>
                    <a:lnTo>
                      <a:pt x="677" y="956"/>
                    </a:lnTo>
                    <a:lnTo>
                      <a:pt x="680" y="952"/>
                    </a:lnTo>
                    <a:lnTo>
                      <a:pt x="687" y="952"/>
                    </a:lnTo>
                    <a:lnTo>
                      <a:pt x="681" y="956"/>
                    </a:lnTo>
                    <a:lnTo>
                      <a:pt x="685" y="964"/>
                    </a:lnTo>
                    <a:lnTo>
                      <a:pt x="681" y="959"/>
                    </a:lnTo>
                    <a:lnTo>
                      <a:pt x="680" y="960"/>
                    </a:lnTo>
                    <a:lnTo>
                      <a:pt x="682" y="971"/>
                    </a:lnTo>
                    <a:lnTo>
                      <a:pt x="689" y="976"/>
                    </a:lnTo>
                    <a:lnTo>
                      <a:pt x="689" y="985"/>
                    </a:lnTo>
                    <a:lnTo>
                      <a:pt x="708" y="1008"/>
                    </a:lnTo>
                    <a:lnTo>
                      <a:pt x="708" y="1017"/>
                    </a:lnTo>
                    <a:lnTo>
                      <a:pt x="737" y="1027"/>
                    </a:lnTo>
                    <a:lnTo>
                      <a:pt x="741" y="1033"/>
                    </a:lnTo>
                    <a:lnTo>
                      <a:pt x="747" y="1035"/>
                    </a:lnTo>
                    <a:lnTo>
                      <a:pt x="756" y="1043"/>
                    </a:lnTo>
                    <a:lnTo>
                      <a:pt x="758" y="1054"/>
                    </a:lnTo>
                    <a:lnTo>
                      <a:pt x="767" y="1067"/>
                    </a:lnTo>
                    <a:lnTo>
                      <a:pt x="776" y="1092"/>
                    </a:lnTo>
                    <a:lnTo>
                      <a:pt x="779" y="1092"/>
                    </a:lnTo>
                    <a:lnTo>
                      <a:pt x="781" y="1102"/>
                    </a:lnTo>
                    <a:lnTo>
                      <a:pt x="792" y="1108"/>
                    </a:lnTo>
                    <a:lnTo>
                      <a:pt x="805" y="1125"/>
                    </a:lnTo>
                    <a:lnTo>
                      <a:pt x="804" y="1137"/>
                    </a:lnTo>
                    <a:lnTo>
                      <a:pt x="792" y="1135"/>
                    </a:lnTo>
                    <a:lnTo>
                      <a:pt x="792" y="1138"/>
                    </a:lnTo>
                    <a:lnTo>
                      <a:pt x="812" y="1152"/>
                    </a:lnTo>
                    <a:lnTo>
                      <a:pt x="817" y="1153"/>
                    </a:lnTo>
                    <a:lnTo>
                      <a:pt x="818" y="1150"/>
                    </a:lnTo>
                    <a:lnTo>
                      <a:pt x="820" y="1156"/>
                    </a:lnTo>
                    <a:lnTo>
                      <a:pt x="831" y="1163"/>
                    </a:lnTo>
                    <a:lnTo>
                      <a:pt x="833" y="1171"/>
                    </a:lnTo>
                    <a:lnTo>
                      <a:pt x="832" y="1186"/>
                    </a:lnTo>
                    <a:lnTo>
                      <a:pt x="838" y="1186"/>
                    </a:lnTo>
                    <a:lnTo>
                      <a:pt x="858" y="1204"/>
                    </a:lnTo>
                    <a:lnTo>
                      <a:pt x="866" y="1217"/>
                    </a:lnTo>
                    <a:lnTo>
                      <a:pt x="872" y="1212"/>
                    </a:lnTo>
                    <a:lnTo>
                      <a:pt x="873" y="1206"/>
                    </a:lnTo>
                    <a:lnTo>
                      <a:pt x="862" y="1193"/>
                    </a:lnTo>
                    <a:lnTo>
                      <a:pt x="859" y="1196"/>
                    </a:lnTo>
                    <a:lnTo>
                      <a:pt x="856" y="1193"/>
                    </a:lnTo>
                    <a:lnTo>
                      <a:pt x="843" y="1154"/>
                    </a:lnTo>
                    <a:lnTo>
                      <a:pt x="839" y="1152"/>
                    </a:lnTo>
                    <a:lnTo>
                      <a:pt x="839" y="1157"/>
                    </a:lnTo>
                    <a:lnTo>
                      <a:pt x="838" y="1156"/>
                    </a:lnTo>
                    <a:lnTo>
                      <a:pt x="818" y="1119"/>
                    </a:lnTo>
                    <a:lnTo>
                      <a:pt x="814" y="1118"/>
                    </a:lnTo>
                    <a:lnTo>
                      <a:pt x="811" y="1111"/>
                    </a:lnTo>
                    <a:lnTo>
                      <a:pt x="801" y="1102"/>
                    </a:lnTo>
                    <a:lnTo>
                      <a:pt x="798" y="1096"/>
                    </a:lnTo>
                    <a:lnTo>
                      <a:pt x="792" y="1065"/>
                    </a:lnTo>
                    <a:lnTo>
                      <a:pt x="802" y="1073"/>
                    </a:lnTo>
                    <a:lnTo>
                      <a:pt x="808" y="1073"/>
                    </a:lnTo>
                    <a:lnTo>
                      <a:pt x="818" y="1079"/>
                    </a:lnTo>
                    <a:lnTo>
                      <a:pt x="825" y="1100"/>
                    </a:lnTo>
                    <a:lnTo>
                      <a:pt x="838" y="1121"/>
                    </a:lnTo>
                    <a:lnTo>
                      <a:pt x="849" y="1133"/>
                    </a:lnTo>
                    <a:lnTo>
                      <a:pt x="856" y="1134"/>
                    </a:lnTo>
                    <a:lnTo>
                      <a:pt x="858" y="1144"/>
                    </a:lnTo>
                    <a:lnTo>
                      <a:pt x="878" y="1159"/>
                    </a:lnTo>
                    <a:lnTo>
                      <a:pt x="875" y="1167"/>
                    </a:lnTo>
                    <a:lnTo>
                      <a:pt x="877" y="1172"/>
                    </a:lnTo>
                    <a:lnTo>
                      <a:pt x="880" y="1171"/>
                    </a:lnTo>
                    <a:lnTo>
                      <a:pt x="880" y="1175"/>
                    </a:lnTo>
                    <a:lnTo>
                      <a:pt x="891" y="1178"/>
                    </a:lnTo>
                    <a:lnTo>
                      <a:pt x="896" y="1183"/>
                    </a:lnTo>
                    <a:lnTo>
                      <a:pt x="897" y="1190"/>
                    </a:lnTo>
                    <a:lnTo>
                      <a:pt x="911" y="1201"/>
                    </a:lnTo>
                    <a:lnTo>
                      <a:pt x="919" y="1212"/>
                    </a:lnTo>
                    <a:lnTo>
                      <a:pt x="930" y="1221"/>
                    </a:lnTo>
                    <a:lnTo>
                      <a:pt x="937" y="1242"/>
                    </a:lnTo>
                    <a:lnTo>
                      <a:pt x="934" y="1250"/>
                    </a:lnTo>
                    <a:lnTo>
                      <a:pt x="937" y="1254"/>
                    </a:lnTo>
                    <a:lnTo>
                      <a:pt x="930" y="1256"/>
                    </a:lnTo>
                    <a:lnTo>
                      <a:pt x="934" y="1266"/>
                    </a:lnTo>
                    <a:lnTo>
                      <a:pt x="942" y="1273"/>
                    </a:lnTo>
                    <a:lnTo>
                      <a:pt x="956" y="1281"/>
                    </a:lnTo>
                    <a:lnTo>
                      <a:pt x="964" y="1288"/>
                    </a:lnTo>
                    <a:lnTo>
                      <a:pt x="986" y="1294"/>
                    </a:lnTo>
                    <a:lnTo>
                      <a:pt x="1000" y="1306"/>
                    </a:lnTo>
                    <a:lnTo>
                      <a:pt x="1033" y="1315"/>
                    </a:lnTo>
                    <a:lnTo>
                      <a:pt x="1047" y="1324"/>
                    </a:lnTo>
                    <a:lnTo>
                      <a:pt x="1070" y="1329"/>
                    </a:lnTo>
                    <a:lnTo>
                      <a:pt x="1086" y="1321"/>
                    </a:lnTo>
                    <a:lnTo>
                      <a:pt x="1093" y="1321"/>
                    </a:lnTo>
                    <a:lnTo>
                      <a:pt x="1110" y="1327"/>
                    </a:lnTo>
                    <a:lnTo>
                      <a:pt x="1127" y="1345"/>
                    </a:lnTo>
                    <a:lnTo>
                      <a:pt x="1140" y="1355"/>
                    </a:lnTo>
                    <a:lnTo>
                      <a:pt x="1159" y="1359"/>
                    </a:lnTo>
                    <a:lnTo>
                      <a:pt x="1181" y="1367"/>
                    </a:lnTo>
                    <a:lnTo>
                      <a:pt x="1188" y="1367"/>
                    </a:lnTo>
                    <a:lnTo>
                      <a:pt x="1194" y="1364"/>
                    </a:lnTo>
                    <a:lnTo>
                      <a:pt x="1197" y="1364"/>
                    </a:lnTo>
                    <a:lnTo>
                      <a:pt x="1201" y="1370"/>
                    </a:lnTo>
                    <a:lnTo>
                      <a:pt x="1197" y="1370"/>
                    </a:lnTo>
                    <a:lnTo>
                      <a:pt x="1197" y="1371"/>
                    </a:lnTo>
                    <a:lnTo>
                      <a:pt x="1224" y="1398"/>
                    </a:lnTo>
                    <a:lnTo>
                      <a:pt x="1222" y="1409"/>
                    </a:lnTo>
                    <a:lnTo>
                      <a:pt x="1226" y="1415"/>
                    </a:lnTo>
                    <a:lnTo>
                      <a:pt x="1234" y="1421"/>
                    </a:lnTo>
                    <a:lnTo>
                      <a:pt x="1235" y="1416"/>
                    </a:lnTo>
                    <a:lnTo>
                      <a:pt x="1233" y="1413"/>
                    </a:lnTo>
                    <a:lnTo>
                      <a:pt x="1236" y="1413"/>
                    </a:lnTo>
                    <a:lnTo>
                      <a:pt x="1242" y="1423"/>
                    </a:lnTo>
                    <a:lnTo>
                      <a:pt x="1254" y="1428"/>
                    </a:lnTo>
                    <a:lnTo>
                      <a:pt x="1255" y="1436"/>
                    </a:lnTo>
                    <a:lnTo>
                      <a:pt x="1260" y="1438"/>
                    </a:lnTo>
                    <a:lnTo>
                      <a:pt x="1261" y="1435"/>
                    </a:lnTo>
                    <a:lnTo>
                      <a:pt x="1265" y="1439"/>
                    </a:lnTo>
                    <a:lnTo>
                      <a:pt x="1266" y="1443"/>
                    </a:lnTo>
                    <a:lnTo>
                      <a:pt x="1268" y="1439"/>
                    </a:lnTo>
                    <a:lnTo>
                      <a:pt x="1283" y="1442"/>
                    </a:lnTo>
                    <a:lnTo>
                      <a:pt x="1291" y="1450"/>
                    </a:lnTo>
                    <a:lnTo>
                      <a:pt x="1294" y="1449"/>
                    </a:lnTo>
                    <a:lnTo>
                      <a:pt x="1296" y="1457"/>
                    </a:lnTo>
                    <a:lnTo>
                      <a:pt x="1301" y="1457"/>
                    </a:lnTo>
                    <a:lnTo>
                      <a:pt x="1307" y="1452"/>
                    </a:lnTo>
                    <a:lnTo>
                      <a:pt x="1302" y="1447"/>
                    </a:lnTo>
                    <a:lnTo>
                      <a:pt x="1302" y="1442"/>
                    </a:lnTo>
                    <a:lnTo>
                      <a:pt x="1321" y="1430"/>
                    </a:lnTo>
                    <a:lnTo>
                      <a:pt x="1333" y="1438"/>
                    </a:lnTo>
                    <a:lnTo>
                      <a:pt x="1338" y="1439"/>
                    </a:lnTo>
                    <a:lnTo>
                      <a:pt x="1334" y="1447"/>
                    </a:lnTo>
                    <a:lnTo>
                      <a:pt x="1340" y="1455"/>
                    </a:lnTo>
                    <a:lnTo>
                      <a:pt x="1348" y="1468"/>
                    </a:lnTo>
                    <a:lnTo>
                      <a:pt x="1347" y="1507"/>
                    </a:lnTo>
                    <a:lnTo>
                      <a:pt x="1354" y="1507"/>
                    </a:lnTo>
                    <a:lnTo>
                      <a:pt x="1346" y="1516"/>
                    </a:lnTo>
                    <a:lnTo>
                      <a:pt x="1345" y="1523"/>
                    </a:lnTo>
                    <a:lnTo>
                      <a:pt x="1331" y="1527"/>
                    </a:lnTo>
                    <a:lnTo>
                      <a:pt x="1330" y="1538"/>
                    </a:lnTo>
                    <a:lnTo>
                      <a:pt x="1325" y="1540"/>
                    </a:lnTo>
                    <a:lnTo>
                      <a:pt x="1326" y="1544"/>
                    </a:lnTo>
                    <a:lnTo>
                      <a:pt x="1308" y="1553"/>
                    </a:lnTo>
                    <a:lnTo>
                      <a:pt x="1308" y="1562"/>
                    </a:lnTo>
                    <a:lnTo>
                      <a:pt x="1304" y="1575"/>
                    </a:lnTo>
                    <a:lnTo>
                      <a:pt x="1298" y="1579"/>
                    </a:lnTo>
                    <a:lnTo>
                      <a:pt x="1298" y="1598"/>
                    </a:lnTo>
                    <a:lnTo>
                      <a:pt x="1305" y="1604"/>
                    </a:lnTo>
                    <a:lnTo>
                      <a:pt x="1311" y="1597"/>
                    </a:lnTo>
                    <a:lnTo>
                      <a:pt x="1313" y="1603"/>
                    </a:lnTo>
                    <a:lnTo>
                      <a:pt x="1311" y="1610"/>
                    </a:lnTo>
                    <a:lnTo>
                      <a:pt x="1304" y="1616"/>
                    </a:lnTo>
                    <a:lnTo>
                      <a:pt x="1291" y="1629"/>
                    </a:lnTo>
                    <a:lnTo>
                      <a:pt x="1293" y="1642"/>
                    </a:lnTo>
                    <a:lnTo>
                      <a:pt x="1296" y="1646"/>
                    </a:lnTo>
                    <a:lnTo>
                      <a:pt x="1293" y="1651"/>
                    </a:lnTo>
                    <a:lnTo>
                      <a:pt x="1311" y="1665"/>
                    </a:lnTo>
                    <a:lnTo>
                      <a:pt x="1318" y="1680"/>
                    </a:lnTo>
                    <a:lnTo>
                      <a:pt x="1326" y="1688"/>
                    </a:lnTo>
                    <a:lnTo>
                      <a:pt x="1345" y="1734"/>
                    </a:lnTo>
                    <a:lnTo>
                      <a:pt x="1363" y="1762"/>
                    </a:lnTo>
                    <a:lnTo>
                      <a:pt x="1364" y="1778"/>
                    </a:lnTo>
                    <a:lnTo>
                      <a:pt x="1382" y="1794"/>
                    </a:lnTo>
                    <a:lnTo>
                      <a:pt x="1402" y="1807"/>
                    </a:lnTo>
                    <a:lnTo>
                      <a:pt x="1423" y="1816"/>
                    </a:lnTo>
                    <a:lnTo>
                      <a:pt x="1450" y="1838"/>
                    </a:lnTo>
                    <a:lnTo>
                      <a:pt x="1455" y="1865"/>
                    </a:lnTo>
                    <a:lnTo>
                      <a:pt x="1456" y="1890"/>
                    </a:lnTo>
                    <a:lnTo>
                      <a:pt x="1454" y="1911"/>
                    </a:lnTo>
                    <a:lnTo>
                      <a:pt x="1449" y="1919"/>
                    </a:lnTo>
                    <a:lnTo>
                      <a:pt x="1450" y="1950"/>
                    </a:lnTo>
                    <a:lnTo>
                      <a:pt x="1447" y="1959"/>
                    </a:lnTo>
                    <a:lnTo>
                      <a:pt x="1447" y="1975"/>
                    </a:lnTo>
                    <a:lnTo>
                      <a:pt x="1436" y="2011"/>
                    </a:lnTo>
                    <a:lnTo>
                      <a:pt x="1438" y="2027"/>
                    </a:lnTo>
                    <a:lnTo>
                      <a:pt x="1434" y="2034"/>
                    </a:lnTo>
                    <a:lnTo>
                      <a:pt x="1432" y="2040"/>
                    </a:lnTo>
                    <a:lnTo>
                      <a:pt x="1436" y="2072"/>
                    </a:lnTo>
                    <a:lnTo>
                      <a:pt x="1434" y="2095"/>
                    </a:lnTo>
                    <a:lnTo>
                      <a:pt x="1415" y="2148"/>
                    </a:lnTo>
                    <a:lnTo>
                      <a:pt x="1411" y="2148"/>
                    </a:lnTo>
                    <a:lnTo>
                      <a:pt x="1411" y="2156"/>
                    </a:lnTo>
                    <a:lnTo>
                      <a:pt x="1405" y="2160"/>
                    </a:lnTo>
                    <a:lnTo>
                      <a:pt x="1405" y="2183"/>
                    </a:lnTo>
                    <a:lnTo>
                      <a:pt x="1409" y="2201"/>
                    </a:lnTo>
                    <a:lnTo>
                      <a:pt x="1404" y="2208"/>
                    </a:lnTo>
                    <a:lnTo>
                      <a:pt x="1400" y="2238"/>
                    </a:lnTo>
                    <a:lnTo>
                      <a:pt x="1408" y="2246"/>
                    </a:lnTo>
                    <a:lnTo>
                      <a:pt x="1415" y="2241"/>
                    </a:lnTo>
                    <a:lnTo>
                      <a:pt x="1424" y="2243"/>
                    </a:lnTo>
                    <a:lnTo>
                      <a:pt x="1417" y="2250"/>
                    </a:lnTo>
                    <a:lnTo>
                      <a:pt x="1422" y="2251"/>
                    </a:lnTo>
                    <a:lnTo>
                      <a:pt x="1423" y="2259"/>
                    </a:lnTo>
                    <a:lnTo>
                      <a:pt x="1421" y="2257"/>
                    </a:lnTo>
                    <a:lnTo>
                      <a:pt x="1418" y="2258"/>
                    </a:lnTo>
                    <a:lnTo>
                      <a:pt x="1421" y="2262"/>
                    </a:lnTo>
                    <a:lnTo>
                      <a:pt x="1417" y="2265"/>
                    </a:lnTo>
                    <a:lnTo>
                      <a:pt x="1418" y="2270"/>
                    </a:lnTo>
                    <a:lnTo>
                      <a:pt x="1413" y="2279"/>
                    </a:lnTo>
                    <a:lnTo>
                      <a:pt x="1416" y="2286"/>
                    </a:lnTo>
                    <a:lnTo>
                      <a:pt x="1411" y="2295"/>
                    </a:lnTo>
                    <a:lnTo>
                      <a:pt x="1418" y="2299"/>
                    </a:lnTo>
                    <a:lnTo>
                      <a:pt x="1419" y="2306"/>
                    </a:lnTo>
                    <a:lnTo>
                      <a:pt x="1409" y="2312"/>
                    </a:lnTo>
                    <a:lnTo>
                      <a:pt x="1409" y="2317"/>
                    </a:lnTo>
                    <a:lnTo>
                      <a:pt x="1412" y="2319"/>
                    </a:lnTo>
                    <a:lnTo>
                      <a:pt x="1406" y="2322"/>
                    </a:lnTo>
                    <a:lnTo>
                      <a:pt x="1405" y="2325"/>
                    </a:lnTo>
                    <a:lnTo>
                      <a:pt x="1411" y="2323"/>
                    </a:lnTo>
                    <a:lnTo>
                      <a:pt x="1408" y="2327"/>
                    </a:lnTo>
                    <a:lnTo>
                      <a:pt x="1411" y="2328"/>
                    </a:lnTo>
                    <a:lnTo>
                      <a:pt x="1405" y="2330"/>
                    </a:lnTo>
                    <a:lnTo>
                      <a:pt x="1405" y="2337"/>
                    </a:lnTo>
                    <a:lnTo>
                      <a:pt x="1409" y="2332"/>
                    </a:lnTo>
                    <a:lnTo>
                      <a:pt x="1408" y="2338"/>
                    </a:lnTo>
                    <a:lnTo>
                      <a:pt x="1402" y="2344"/>
                    </a:lnTo>
                    <a:lnTo>
                      <a:pt x="1402" y="2338"/>
                    </a:lnTo>
                    <a:lnTo>
                      <a:pt x="1399" y="2342"/>
                    </a:lnTo>
                    <a:lnTo>
                      <a:pt x="1397" y="2340"/>
                    </a:lnTo>
                    <a:lnTo>
                      <a:pt x="1398" y="2336"/>
                    </a:lnTo>
                    <a:lnTo>
                      <a:pt x="1396" y="2330"/>
                    </a:lnTo>
                    <a:lnTo>
                      <a:pt x="1384" y="2330"/>
                    </a:lnTo>
                    <a:lnTo>
                      <a:pt x="1389" y="2337"/>
                    </a:lnTo>
                    <a:lnTo>
                      <a:pt x="1377" y="2344"/>
                    </a:lnTo>
                    <a:lnTo>
                      <a:pt x="1376" y="2350"/>
                    </a:lnTo>
                    <a:lnTo>
                      <a:pt x="1379" y="2353"/>
                    </a:lnTo>
                    <a:lnTo>
                      <a:pt x="1378" y="2348"/>
                    </a:lnTo>
                    <a:lnTo>
                      <a:pt x="1382" y="2345"/>
                    </a:lnTo>
                    <a:lnTo>
                      <a:pt x="1389" y="2350"/>
                    </a:lnTo>
                    <a:lnTo>
                      <a:pt x="1396" y="2349"/>
                    </a:lnTo>
                    <a:lnTo>
                      <a:pt x="1399" y="2355"/>
                    </a:lnTo>
                    <a:lnTo>
                      <a:pt x="1397" y="2357"/>
                    </a:lnTo>
                    <a:lnTo>
                      <a:pt x="1399" y="2359"/>
                    </a:lnTo>
                    <a:lnTo>
                      <a:pt x="1392" y="2363"/>
                    </a:lnTo>
                    <a:lnTo>
                      <a:pt x="1399" y="2367"/>
                    </a:lnTo>
                    <a:lnTo>
                      <a:pt x="1398" y="2372"/>
                    </a:lnTo>
                    <a:lnTo>
                      <a:pt x="1402" y="2369"/>
                    </a:lnTo>
                    <a:lnTo>
                      <a:pt x="1409" y="2380"/>
                    </a:lnTo>
                    <a:lnTo>
                      <a:pt x="1397" y="2377"/>
                    </a:lnTo>
                    <a:lnTo>
                      <a:pt x="1397" y="2382"/>
                    </a:lnTo>
                    <a:lnTo>
                      <a:pt x="1392" y="2375"/>
                    </a:lnTo>
                    <a:lnTo>
                      <a:pt x="1393" y="2386"/>
                    </a:lnTo>
                    <a:lnTo>
                      <a:pt x="1400" y="2385"/>
                    </a:lnTo>
                    <a:lnTo>
                      <a:pt x="1403" y="2389"/>
                    </a:lnTo>
                    <a:lnTo>
                      <a:pt x="1396" y="2387"/>
                    </a:lnTo>
                    <a:lnTo>
                      <a:pt x="1396" y="2408"/>
                    </a:lnTo>
                    <a:lnTo>
                      <a:pt x="1402" y="2401"/>
                    </a:lnTo>
                    <a:lnTo>
                      <a:pt x="1400" y="2409"/>
                    </a:lnTo>
                    <a:lnTo>
                      <a:pt x="1402" y="2413"/>
                    </a:lnTo>
                    <a:lnTo>
                      <a:pt x="1396" y="2415"/>
                    </a:lnTo>
                    <a:lnTo>
                      <a:pt x="1390" y="2425"/>
                    </a:lnTo>
                    <a:lnTo>
                      <a:pt x="1400" y="2433"/>
                    </a:lnTo>
                    <a:lnTo>
                      <a:pt x="1397" y="2435"/>
                    </a:lnTo>
                    <a:lnTo>
                      <a:pt x="1398" y="2438"/>
                    </a:lnTo>
                    <a:lnTo>
                      <a:pt x="1403" y="2438"/>
                    </a:lnTo>
                    <a:lnTo>
                      <a:pt x="1404" y="2440"/>
                    </a:lnTo>
                    <a:lnTo>
                      <a:pt x="1398" y="2442"/>
                    </a:lnTo>
                    <a:lnTo>
                      <a:pt x="1398" y="2447"/>
                    </a:lnTo>
                    <a:lnTo>
                      <a:pt x="1405" y="2454"/>
                    </a:lnTo>
                    <a:lnTo>
                      <a:pt x="1406" y="2470"/>
                    </a:lnTo>
                    <a:lnTo>
                      <a:pt x="1409" y="2470"/>
                    </a:lnTo>
                    <a:lnTo>
                      <a:pt x="1408" y="2459"/>
                    </a:lnTo>
                    <a:lnTo>
                      <a:pt x="1412" y="2470"/>
                    </a:lnTo>
                    <a:lnTo>
                      <a:pt x="1415" y="2465"/>
                    </a:lnTo>
                    <a:lnTo>
                      <a:pt x="1412" y="2461"/>
                    </a:lnTo>
                    <a:lnTo>
                      <a:pt x="1419" y="2463"/>
                    </a:lnTo>
                    <a:lnTo>
                      <a:pt x="1415" y="2458"/>
                    </a:lnTo>
                    <a:lnTo>
                      <a:pt x="1422" y="2463"/>
                    </a:lnTo>
                    <a:lnTo>
                      <a:pt x="1419" y="2469"/>
                    </a:lnTo>
                    <a:lnTo>
                      <a:pt x="1423" y="2476"/>
                    </a:lnTo>
                    <a:lnTo>
                      <a:pt x="1418" y="2483"/>
                    </a:lnTo>
                    <a:lnTo>
                      <a:pt x="1436" y="2483"/>
                    </a:lnTo>
                    <a:lnTo>
                      <a:pt x="1442" y="2490"/>
                    </a:lnTo>
                    <a:lnTo>
                      <a:pt x="1438" y="2497"/>
                    </a:lnTo>
                    <a:lnTo>
                      <a:pt x="1428" y="2504"/>
                    </a:lnTo>
                    <a:lnTo>
                      <a:pt x="1426" y="2500"/>
                    </a:lnTo>
                    <a:lnTo>
                      <a:pt x="1424" y="2500"/>
                    </a:lnTo>
                    <a:lnTo>
                      <a:pt x="1425" y="2506"/>
                    </a:lnTo>
                    <a:lnTo>
                      <a:pt x="1434" y="2512"/>
                    </a:lnTo>
                    <a:lnTo>
                      <a:pt x="1442" y="2512"/>
                    </a:lnTo>
                    <a:lnTo>
                      <a:pt x="1447" y="2487"/>
                    </a:lnTo>
                    <a:lnTo>
                      <a:pt x="1469" y="2473"/>
                    </a:lnTo>
                    <a:lnTo>
                      <a:pt x="1483" y="2476"/>
                    </a:lnTo>
                    <a:lnTo>
                      <a:pt x="1474" y="2461"/>
                    </a:lnTo>
                    <a:lnTo>
                      <a:pt x="1468" y="2459"/>
                    </a:lnTo>
                    <a:lnTo>
                      <a:pt x="1474" y="2457"/>
                    </a:lnTo>
                    <a:lnTo>
                      <a:pt x="1471" y="2446"/>
                    </a:lnTo>
                    <a:lnTo>
                      <a:pt x="1467" y="2446"/>
                    </a:lnTo>
                    <a:lnTo>
                      <a:pt x="1473" y="2432"/>
                    </a:lnTo>
                    <a:lnTo>
                      <a:pt x="1481" y="2426"/>
                    </a:lnTo>
                    <a:lnTo>
                      <a:pt x="1478" y="2416"/>
                    </a:lnTo>
                    <a:lnTo>
                      <a:pt x="1483" y="2424"/>
                    </a:lnTo>
                    <a:lnTo>
                      <a:pt x="1490" y="2420"/>
                    </a:lnTo>
                    <a:lnTo>
                      <a:pt x="1495" y="2400"/>
                    </a:lnTo>
                    <a:lnTo>
                      <a:pt x="1519" y="2380"/>
                    </a:lnTo>
                    <a:lnTo>
                      <a:pt x="1522" y="2367"/>
                    </a:lnTo>
                    <a:lnTo>
                      <a:pt x="1521" y="2357"/>
                    </a:lnTo>
                    <a:lnTo>
                      <a:pt x="1507" y="2355"/>
                    </a:lnTo>
                    <a:lnTo>
                      <a:pt x="1499" y="2345"/>
                    </a:lnTo>
                    <a:lnTo>
                      <a:pt x="1494" y="2337"/>
                    </a:lnTo>
                    <a:lnTo>
                      <a:pt x="1495" y="2332"/>
                    </a:lnTo>
                    <a:lnTo>
                      <a:pt x="1506" y="2317"/>
                    </a:lnTo>
                    <a:lnTo>
                      <a:pt x="1515" y="2312"/>
                    </a:lnTo>
                    <a:lnTo>
                      <a:pt x="1525" y="2312"/>
                    </a:lnTo>
                    <a:lnTo>
                      <a:pt x="1523" y="2306"/>
                    </a:lnTo>
                    <a:lnTo>
                      <a:pt x="1529" y="2298"/>
                    </a:lnTo>
                    <a:lnTo>
                      <a:pt x="1529" y="2282"/>
                    </a:lnTo>
                    <a:lnTo>
                      <a:pt x="1534" y="2276"/>
                    </a:lnTo>
                    <a:lnTo>
                      <a:pt x="1543" y="2271"/>
                    </a:lnTo>
                    <a:lnTo>
                      <a:pt x="1533" y="2265"/>
                    </a:lnTo>
                    <a:lnTo>
                      <a:pt x="1540" y="2260"/>
                    </a:lnTo>
                    <a:lnTo>
                      <a:pt x="1545" y="2266"/>
                    </a:lnTo>
                    <a:lnTo>
                      <a:pt x="1552" y="2266"/>
                    </a:lnTo>
                    <a:lnTo>
                      <a:pt x="1554" y="2262"/>
                    </a:lnTo>
                    <a:lnTo>
                      <a:pt x="1553" y="2254"/>
                    </a:lnTo>
                    <a:lnTo>
                      <a:pt x="1551" y="2251"/>
                    </a:lnTo>
                    <a:lnTo>
                      <a:pt x="1543" y="2254"/>
                    </a:lnTo>
                    <a:lnTo>
                      <a:pt x="1546" y="2258"/>
                    </a:lnTo>
                    <a:lnTo>
                      <a:pt x="1540" y="2259"/>
                    </a:lnTo>
                    <a:lnTo>
                      <a:pt x="1533" y="2251"/>
                    </a:lnTo>
                    <a:lnTo>
                      <a:pt x="1529" y="2227"/>
                    </a:lnTo>
                    <a:lnTo>
                      <a:pt x="1534" y="2224"/>
                    </a:lnTo>
                    <a:lnTo>
                      <a:pt x="1551" y="2234"/>
                    </a:lnTo>
                    <a:lnTo>
                      <a:pt x="1561" y="2234"/>
                    </a:lnTo>
                    <a:lnTo>
                      <a:pt x="1569" y="2230"/>
                    </a:lnTo>
                    <a:lnTo>
                      <a:pt x="1573" y="2225"/>
                    </a:lnTo>
                    <a:lnTo>
                      <a:pt x="1571" y="2212"/>
                    </a:lnTo>
                    <a:lnTo>
                      <a:pt x="1577" y="2200"/>
                    </a:lnTo>
                    <a:lnTo>
                      <a:pt x="1573" y="2196"/>
                    </a:lnTo>
                    <a:lnTo>
                      <a:pt x="1573" y="2187"/>
                    </a:lnTo>
                    <a:lnTo>
                      <a:pt x="1577" y="2191"/>
                    </a:lnTo>
                    <a:lnTo>
                      <a:pt x="1592" y="2191"/>
                    </a:lnTo>
                    <a:lnTo>
                      <a:pt x="1636" y="2181"/>
                    </a:lnTo>
                    <a:lnTo>
                      <a:pt x="1642" y="2175"/>
                    </a:lnTo>
                    <a:lnTo>
                      <a:pt x="1644" y="2169"/>
                    </a:lnTo>
                    <a:lnTo>
                      <a:pt x="1655" y="2155"/>
                    </a:lnTo>
                    <a:lnTo>
                      <a:pt x="1656" y="2141"/>
                    </a:lnTo>
                    <a:lnTo>
                      <a:pt x="1650" y="2140"/>
                    </a:lnTo>
                    <a:lnTo>
                      <a:pt x="1645" y="2133"/>
                    </a:lnTo>
                    <a:lnTo>
                      <a:pt x="1647" y="2123"/>
                    </a:lnTo>
                    <a:lnTo>
                      <a:pt x="1631" y="2110"/>
                    </a:lnTo>
                    <a:lnTo>
                      <a:pt x="1630" y="2099"/>
                    </a:lnTo>
                    <a:lnTo>
                      <a:pt x="1638" y="2107"/>
                    </a:lnTo>
                    <a:lnTo>
                      <a:pt x="1647" y="2108"/>
                    </a:lnTo>
                    <a:lnTo>
                      <a:pt x="1663" y="2115"/>
                    </a:lnTo>
                    <a:lnTo>
                      <a:pt x="1683" y="2116"/>
                    </a:lnTo>
                    <a:lnTo>
                      <a:pt x="1694" y="2111"/>
                    </a:lnTo>
                    <a:lnTo>
                      <a:pt x="1704" y="2095"/>
                    </a:lnTo>
                    <a:lnTo>
                      <a:pt x="1718" y="2079"/>
                    </a:lnTo>
                    <a:lnTo>
                      <a:pt x="1721" y="2069"/>
                    </a:lnTo>
                    <a:lnTo>
                      <a:pt x="1740" y="2055"/>
                    </a:lnTo>
                    <a:lnTo>
                      <a:pt x="1750" y="2038"/>
                    </a:lnTo>
                    <a:lnTo>
                      <a:pt x="1759" y="2019"/>
                    </a:lnTo>
                    <a:lnTo>
                      <a:pt x="1775" y="2001"/>
                    </a:lnTo>
                    <a:lnTo>
                      <a:pt x="1777" y="1985"/>
                    </a:lnTo>
                    <a:lnTo>
                      <a:pt x="1779" y="1982"/>
                    </a:lnTo>
                    <a:lnTo>
                      <a:pt x="1776" y="1978"/>
                    </a:lnTo>
                    <a:lnTo>
                      <a:pt x="1775" y="1965"/>
                    </a:lnTo>
                    <a:lnTo>
                      <a:pt x="1781" y="1953"/>
                    </a:lnTo>
                    <a:lnTo>
                      <a:pt x="1805" y="1930"/>
                    </a:lnTo>
                    <a:lnTo>
                      <a:pt x="1835" y="1917"/>
                    </a:lnTo>
                    <a:lnTo>
                      <a:pt x="1838" y="1913"/>
                    </a:lnTo>
                    <a:lnTo>
                      <a:pt x="1871" y="1910"/>
                    </a:lnTo>
                    <a:lnTo>
                      <a:pt x="1874" y="1905"/>
                    </a:lnTo>
                    <a:lnTo>
                      <a:pt x="1886" y="1896"/>
                    </a:lnTo>
                    <a:lnTo>
                      <a:pt x="1890" y="1885"/>
                    </a:lnTo>
                    <a:lnTo>
                      <a:pt x="1906" y="1857"/>
                    </a:lnTo>
                    <a:lnTo>
                      <a:pt x="1910" y="1838"/>
                    </a:lnTo>
                    <a:lnTo>
                      <a:pt x="1916" y="1829"/>
                    </a:lnTo>
                    <a:lnTo>
                      <a:pt x="1919" y="1800"/>
                    </a:lnTo>
                    <a:lnTo>
                      <a:pt x="1917" y="1779"/>
                    </a:lnTo>
                    <a:lnTo>
                      <a:pt x="1920" y="1761"/>
                    </a:lnTo>
                    <a:lnTo>
                      <a:pt x="1931" y="1754"/>
                    </a:lnTo>
                    <a:lnTo>
                      <a:pt x="1943" y="1732"/>
                    </a:lnTo>
                    <a:lnTo>
                      <a:pt x="1958" y="1719"/>
                    </a:lnTo>
                    <a:lnTo>
                      <a:pt x="1975" y="1699"/>
                    </a:lnTo>
                    <a:lnTo>
                      <a:pt x="1981" y="1669"/>
                    </a:lnTo>
                    <a:lnTo>
                      <a:pt x="1976" y="1649"/>
                    </a:lnTo>
                    <a:lnTo>
                      <a:pt x="1971" y="1642"/>
                    </a:lnTo>
                    <a:close/>
                    <a:moveTo>
                      <a:pt x="104" y="244"/>
                    </a:moveTo>
                    <a:lnTo>
                      <a:pt x="98" y="238"/>
                    </a:lnTo>
                    <a:lnTo>
                      <a:pt x="106" y="239"/>
                    </a:lnTo>
                    <a:lnTo>
                      <a:pt x="104" y="244"/>
                    </a:lnTo>
                    <a:close/>
                    <a:moveTo>
                      <a:pt x="1311" y="873"/>
                    </a:moveTo>
                    <a:lnTo>
                      <a:pt x="1282" y="886"/>
                    </a:lnTo>
                    <a:lnTo>
                      <a:pt x="1265" y="886"/>
                    </a:lnTo>
                    <a:lnTo>
                      <a:pt x="1259" y="884"/>
                    </a:lnTo>
                    <a:lnTo>
                      <a:pt x="1263" y="876"/>
                    </a:lnTo>
                    <a:lnTo>
                      <a:pt x="1273" y="878"/>
                    </a:lnTo>
                    <a:lnTo>
                      <a:pt x="1293" y="863"/>
                    </a:lnTo>
                    <a:lnTo>
                      <a:pt x="1301" y="866"/>
                    </a:lnTo>
                    <a:lnTo>
                      <a:pt x="1308" y="861"/>
                    </a:lnTo>
                    <a:lnTo>
                      <a:pt x="1326" y="861"/>
                    </a:lnTo>
                    <a:lnTo>
                      <a:pt x="1311" y="873"/>
                    </a:lnTo>
                    <a:close/>
                    <a:moveTo>
                      <a:pt x="1273" y="871"/>
                    </a:moveTo>
                    <a:lnTo>
                      <a:pt x="1266" y="869"/>
                    </a:lnTo>
                    <a:lnTo>
                      <a:pt x="1268" y="865"/>
                    </a:lnTo>
                    <a:lnTo>
                      <a:pt x="1270" y="865"/>
                    </a:lnTo>
                    <a:lnTo>
                      <a:pt x="1273" y="871"/>
                    </a:lnTo>
                    <a:close/>
                    <a:moveTo>
                      <a:pt x="1321" y="842"/>
                    </a:moveTo>
                    <a:lnTo>
                      <a:pt x="1338" y="837"/>
                    </a:lnTo>
                    <a:lnTo>
                      <a:pt x="1353" y="839"/>
                    </a:lnTo>
                    <a:lnTo>
                      <a:pt x="1351" y="834"/>
                    </a:lnTo>
                    <a:lnTo>
                      <a:pt x="1354" y="835"/>
                    </a:lnTo>
                    <a:lnTo>
                      <a:pt x="1373" y="824"/>
                    </a:lnTo>
                    <a:lnTo>
                      <a:pt x="1364" y="835"/>
                    </a:lnTo>
                    <a:lnTo>
                      <a:pt x="1367" y="836"/>
                    </a:lnTo>
                    <a:lnTo>
                      <a:pt x="1365" y="840"/>
                    </a:lnTo>
                    <a:lnTo>
                      <a:pt x="1367" y="846"/>
                    </a:lnTo>
                    <a:lnTo>
                      <a:pt x="1354" y="850"/>
                    </a:lnTo>
                    <a:lnTo>
                      <a:pt x="1338" y="848"/>
                    </a:lnTo>
                    <a:lnTo>
                      <a:pt x="1324" y="853"/>
                    </a:lnTo>
                    <a:lnTo>
                      <a:pt x="1313" y="852"/>
                    </a:lnTo>
                    <a:lnTo>
                      <a:pt x="1321" y="842"/>
                    </a:lnTo>
                    <a:close/>
                    <a:moveTo>
                      <a:pt x="1246" y="783"/>
                    </a:moveTo>
                    <a:lnTo>
                      <a:pt x="1248" y="788"/>
                    </a:lnTo>
                    <a:lnTo>
                      <a:pt x="1298" y="797"/>
                    </a:lnTo>
                    <a:lnTo>
                      <a:pt x="1308" y="808"/>
                    </a:lnTo>
                    <a:lnTo>
                      <a:pt x="1308" y="813"/>
                    </a:lnTo>
                    <a:lnTo>
                      <a:pt x="1314" y="820"/>
                    </a:lnTo>
                    <a:lnTo>
                      <a:pt x="1308" y="818"/>
                    </a:lnTo>
                    <a:lnTo>
                      <a:pt x="1308" y="824"/>
                    </a:lnTo>
                    <a:lnTo>
                      <a:pt x="1299" y="821"/>
                    </a:lnTo>
                    <a:lnTo>
                      <a:pt x="1295" y="824"/>
                    </a:lnTo>
                    <a:lnTo>
                      <a:pt x="1294" y="816"/>
                    </a:lnTo>
                    <a:lnTo>
                      <a:pt x="1292" y="817"/>
                    </a:lnTo>
                    <a:lnTo>
                      <a:pt x="1291" y="810"/>
                    </a:lnTo>
                    <a:lnTo>
                      <a:pt x="1285" y="810"/>
                    </a:lnTo>
                    <a:lnTo>
                      <a:pt x="1288" y="821"/>
                    </a:lnTo>
                    <a:lnTo>
                      <a:pt x="1283" y="834"/>
                    </a:lnTo>
                    <a:lnTo>
                      <a:pt x="1282" y="850"/>
                    </a:lnTo>
                    <a:lnTo>
                      <a:pt x="1273" y="856"/>
                    </a:lnTo>
                    <a:lnTo>
                      <a:pt x="1266" y="835"/>
                    </a:lnTo>
                    <a:lnTo>
                      <a:pt x="1260" y="837"/>
                    </a:lnTo>
                    <a:lnTo>
                      <a:pt x="1255" y="843"/>
                    </a:lnTo>
                    <a:lnTo>
                      <a:pt x="1250" y="842"/>
                    </a:lnTo>
                    <a:lnTo>
                      <a:pt x="1260" y="828"/>
                    </a:lnTo>
                    <a:lnTo>
                      <a:pt x="1257" y="810"/>
                    </a:lnTo>
                    <a:lnTo>
                      <a:pt x="1243" y="802"/>
                    </a:lnTo>
                    <a:lnTo>
                      <a:pt x="1235" y="802"/>
                    </a:lnTo>
                    <a:lnTo>
                      <a:pt x="1235" y="808"/>
                    </a:lnTo>
                    <a:lnTo>
                      <a:pt x="1228" y="810"/>
                    </a:lnTo>
                    <a:lnTo>
                      <a:pt x="1228" y="817"/>
                    </a:lnTo>
                    <a:lnTo>
                      <a:pt x="1226" y="820"/>
                    </a:lnTo>
                    <a:lnTo>
                      <a:pt x="1224" y="814"/>
                    </a:lnTo>
                    <a:lnTo>
                      <a:pt x="1216" y="823"/>
                    </a:lnTo>
                    <a:lnTo>
                      <a:pt x="1213" y="843"/>
                    </a:lnTo>
                    <a:lnTo>
                      <a:pt x="1216" y="855"/>
                    </a:lnTo>
                    <a:lnTo>
                      <a:pt x="1216" y="865"/>
                    </a:lnTo>
                    <a:lnTo>
                      <a:pt x="1209" y="879"/>
                    </a:lnTo>
                    <a:lnTo>
                      <a:pt x="1203" y="885"/>
                    </a:lnTo>
                    <a:lnTo>
                      <a:pt x="1197" y="881"/>
                    </a:lnTo>
                    <a:lnTo>
                      <a:pt x="1192" y="871"/>
                    </a:lnTo>
                    <a:lnTo>
                      <a:pt x="1192" y="853"/>
                    </a:lnTo>
                    <a:lnTo>
                      <a:pt x="1198" y="826"/>
                    </a:lnTo>
                    <a:lnTo>
                      <a:pt x="1204" y="813"/>
                    </a:lnTo>
                    <a:lnTo>
                      <a:pt x="1203" y="810"/>
                    </a:lnTo>
                    <a:lnTo>
                      <a:pt x="1200" y="820"/>
                    </a:lnTo>
                    <a:lnTo>
                      <a:pt x="1190" y="824"/>
                    </a:lnTo>
                    <a:lnTo>
                      <a:pt x="1192" y="820"/>
                    </a:lnTo>
                    <a:lnTo>
                      <a:pt x="1203" y="803"/>
                    </a:lnTo>
                    <a:lnTo>
                      <a:pt x="1210" y="798"/>
                    </a:lnTo>
                    <a:lnTo>
                      <a:pt x="1210" y="802"/>
                    </a:lnTo>
                    <a:lnTo>
                      <a:pt x="1230" y="794"/>
                    </a:lnTo>
                    <a:lnTo>
                      <a:pt x="1239" y="798"/>
                    </a:lnTo>
                    <a:lnTo>
                      <a:pt x="1241" y="794"/>
                    </a:lnTo>
                    <a:lnTo>
                      <a:pt x="1250" y="795"/>
                    </a:lnTo>
                    <a:lnTo>
                      <a:pt x="1244" y="785"/>
                    </a:lnTo>
                    <a:lnTo>
                      <a:pt x="1246" y="783"/>
                    </a:lnTo>
                    <a:close/>
                    <a:moveTo>
                      <a:pt x="1170" y="749"/>
                    </a:moveTo>
                    <a:lnTo>
                      <a:pt x="1178" y="738"/>
                    </a:lnTo>
                    <a:lnTo>
                      <a:pt x="1179" y="743"/>
                    </a:lnTo>
                    <a:lnTo>
                      <a:pt x="1184" y="733"/>
                    </a:lnTo>
                    <a:lnTo>
                      <a:pt x="1184" y="742"/>
                    </a:lnTo>
                    <a:lnTo>
                      <a:pt x="1190" y="729"/>
                    </a:lnTo>
                    <a:lnTo>
                      <a:pt x="1200" y="732"/>
                    </a:lnTo>
                    <a:lnTo>
                      <a:pt x="1204" y="744"/>
                    </a:lnTo>
                    <a:lnTo>
                      <a:pt x="1204" y="733"/>
                    </a:lnTo>
                    <a:lnTo>
                      <a:pt x="1215" y="735"/>
                    </a:lnTo>
                    <a:lnTo>
                      <a:pt x="1224" y="752"/>
                    </a:lnTo>
                    <a:lnTo>
                      <a:pt x="1236" y="752"/>
                    </a:lnTo>
                    <a:lnTo>
                      <a:pt x="1235" y="759"/>
                    </a:lnTo>
                    <a:lnTo>
                      <a:pt x="1240" y="765"/>
                    </a:lnTo>
                    <a:lnTo>
                      <a:pt x="1240" y="775"/>
                    </a:lnTo>
                    <a:lnTo>
                      <a:pt x="1243" y="776"/>
                    </a:lnTo>
                    <a:lnTo>
                      <a:pt x="1242" y="785"/>
                    </a:lnTo>
                    <a:lnTo>
                      <a:pt x="1234" y="783"/>
                    </a:lnTo>
                    <a:lnTo>
                      <a:pt x="1233" y="779"/>
                    </a:lnTo>
                    <a:lnTo>
                      <a:pt x="1217" y="779"/>
                    </a:lnTo>
                    <a:lnTo>
                      <a:pt x="1209" y="785"/>
                    </a:lnTo>
                    <a:lnTo>
                      <a:pt x="1201" y="785"/>
                    </a:lnTo>
                    <a:lnTo>
                      <a:pt x="1190" y="776"/>
                    </a:lnTo>
                    <a:lnTo>
                      <a:pt x="1183" y="779"/>
                    </a:lnTo>
                    <a:lnTo>
                      <a:pt x="1183" y="775"/>
                    </a:lnTo>
                    <a:lnTo>
                      <a:pt x="1192" y="763"/>
                    </a:lnTo>
                    <a:lnTo>
                      <a:pt x="1157" y="782"/>
                    </a:lnTo>
                    <a:lnTo>
                      <a:pt x="1148" y="783"/>
                    </a:lnTo>
                    <a:lnTo>
                      <a:pt x="1146" y="775"/>
                    </a:lnTo>
                    <a:lnTo>
                      <a:pt x="1130" y="782"/>
                    </a:lnTo>
                    <a:lnTo>
                      <a:pt x="1142" y="769"/>
                    </a:lnTo>
                    <a:lnTo>
                      <a:pt x="1164" y="752"/>
                    </a:lnTo>
                    <a:lnTo>
                      <a:pt x="1170" y="749"/>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9" name="Freeform 54"/>
              <p:cNvSpPr>
                <a:spLocks/>
              </p:cNvSpPr>
              <p:nvPr/>
            </p:nvSpPr>
            <p:spPr bwMode="auto">
              <a:xfrm>
                <a:off x="2282" y="-643"/>
                <a:ext cx="8" cy="10"/>
              </a:xfrm>
              <a:custGeom>
                <a:avLst/>
                <a:gdLst>
                  <a:gd name="T0" fmla="*/ 3 w 8"/>
                  <a:gd name="T1" fmla="*/ 2 h 10"/>
                  <a:gd name="T2" fmla="*/ 0 w 8"/>
                  <a:gd name="T3" fmla="*/ 6 h 10"/>
                  <a:gd name="T4" fmla="*/ 1 w 8"/>
                  <a:gd name="T5" fmla="*/ 10 h 10"/>
                  <a:gd name="T6" fmla="*/ 8 w 8"/>
                  <a:gd name="T7" fmla="*/ 3 h 10"/>
                  <a:gd name="T8" fmla="*/ 4 w 8"/>
                  <a:gd name="T9" fmla="*/ 2 h 10"/>
                  <a:gd name="T10" fmla="*/ 8 w 8"/>
                  <a:gd name="T11" fmla="*/ 0 h 10"/>
                  <a:gd name="T12" fmla="*/ 3 w 8"/>
                  <a:gd name="T13" fmla="*/ 2 h 10"/>
                </a:gdLst>
                <a:ahLst/>
                <a:cxnLst>
                  <a:cxn ang="0">
                    <a:pos x="T0" y="T1"/>
                  </a:cxn>
                  <a:cxn ang="0">
                    <a:pos x="T2" y="T3"/>
                  </a:cxn>
                  <a:cxn ang="0">
                    <a:pos x="T4" y="T5"/>
                  </a:cxn>
                  <a:cxn ang="0">
                    <a:pos x="T6" y="T7"/>
                  </a:cxn>
                  <a:cxn ang="0">
                    <a:pos x="T8" y="T9"/>
                  </a:cxn>
                  <a:cxn ang="0">
                    <a:pos x="T10" y="T11"/>
                  </a:cxn>
                  <a:cxn ang="0">
                    <a:pos x="T12" y="T13"/>
                  </a:cxn>
                </a:cxnLst>
                <a:rect l="0" t="0" r="r" b="b"/>
                <a:pathLst>
                  <a:path w="8" h="10">
                    <a:moveTo>
                      <a:pt x="3" y="2"/>
                    </a:moveTo>
                    <a:lnTo>
                      <a:pt x="0" y="6"/>
                    </a:lnTo>
                    <a:lnTo>
                      <a:pt x="1" y="10"/>
                    </a:lnTo>
                    <a:lnTo>
                      <a:pt x="8" y="3"/>
                    </a:lnTo>
                    <a:lnTo>
                      <a:pt x="4" y="2"/>
                    </a:lnTo>
                    <a:lnTo>
                      <a:pt x="8" y="0"/>
                    </a:lnTo>
                    <a:lnTo>
                      <a:pt x="3" y="2"/>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0" name="Freeform 55"/>
              <p:cNvSpPr>
                <a:spLocks/>
              </p:cNvSpPr>
              <p:nvPr/>
            </p:nvSpPr>
            <p:spPr bwMode="auto">
              <a:xfrm>
                <a:off x="2303" y="-646"/>
                <a:ext cx="3" cy="4"/>
              </a:xfrm>
              <a:custGeom>
                <a:avLst/>
                <a:gdLst>
                  <a:gd name="T0" fmla="*/ 2 w 3"/>
                  <a:gd name="T1" fmla="*/ 0 h 4"/>
                  <a:gd name="T2" fmla="*/ 0 w 3"/>
                  <a:gd name="T3" fmla="*/ 4 h 4"/>
                  <a:gd name="T4" fmla="*/ 3 w 3"/>
                  <a:gd name="T5" fmla="*/ 3 h 4"/>
                  <a:gd name="T6" fmla="*/ 2 w 3"/>
                  <a:gd name="T7" fmla="*/ 0 h 4"/>
                </a:gdLst>
                <a:ahLst/>
                <a:cxnLst>
                  <a:cxn ang="0">
                    <a:pos x="T0" y="T1"/>
                  </a:cxn>
                  <a:cxn ang="0">
                    <a:pos x="T2" y="T3"/>
                  </a:cxn>
                  <a:cxn ang="0">
                    <a:pos x="T4" y="T5"/>
                  </a:cxn>
                  <a:cxn ang="0">
                    <a:pos x="T6" y="T7"/>
                  </a:cxn>
                </a:cxnLst>
                <a:rect l="0" t="0" r="r" b="b"/>
                <a:pathLst>
                  <a:path w="3" h="4">
                    <a:moveTo>
                      <a:pt x="2" y="0"/>
                    </a:moveTo>
                    <a:lnTo>
                      <a:pt x="0" y="4"/>
                    </a:lnTo>
                    <a:lnTo>
                      <a:pt x="3" y="3"/>
                    </a:lnTo>
                    <a:lnTo>
                      <a:pt x="2"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1" name="Freeform 56"/>
              <p:cNvSpPr>
                <a:spLocks/>
              </p:cNvSpPr>
              <p:nvPr/>
            </p:nvSpPr>
            <p:spPr bwMode="auto">
              <a:xfrm>
                <a:off x="2292" y="-651"/>
                <a:ext cx="9" cy="7"/>
              </a:xfrm>
              <a:custGeom>
                <a:avLst/>
                <a:gdLst>
                  <a:gd name="T0" fmla="*/ 0 w 9"/>
                  <a:gd name="T1" fmla="*/ 2 h 7"/>
                  <a:gd name="T2" fmla="*/ 1 w 9"/>
                  <a:gd name="T3" fmla="*/ 5 h 7"/>
                  <a:gd name="T4" fmla="*/ 9 w 9"/>
                  <a:gd name="T5" fmla="*/ 7 h 7"/>
                  <a:gd name="T6" fmla="*/ 4 w 9"/>
                  <a:gd name="T7" fmla="*/ 0 h 7"/>
                  <a:gd name="T8" fmla="*/ 0 w 9"/>
                  <a:gd name="T9" fmla="*/ 2 h 7"/>
                </a:gdLst>
                <a:ahLst/>
                <a:cxnLst>
                  <a:cxn ang="0">
                    <a:pos x="T0" y="T1"/>
                  </a:cxn>
                  <a:cxn ang="0">
                    <a:pos x="T2" y="T3"/>
                  </a:cxn>
                  <a:cxn ang="0">
                    <a:pos x="T4" y="T5"/>
                  </a:cxn>
                  <a:cxn ang="0">
                    <a:pos x="T6" y="T7"/>
                  </a:cxn>
                  <a:cxn ang="0">
                    <a:pos x="T8" y="T9"/>
                  </a:cxn>
                </a:cxnLst>
                <a:rect l="0" t="0" r="r" b="b"/>
                <a:pathLst>
                  <a:path w="9" h="7">
                    <a:moveTo>
                      <a:pt x="0" y="2"/>
                    </a:moveTo>
                    <a:lnTo>
                      <a:pt x="1" y="5"/>
                    </a:lnTo>
                    <a:lnTo>
                      <a:pt x="9" y="7"/>
                    </a:lnTo>
                    <a:lnTo>
                      <a:pt x="4" y="0"/>
                    </a:lnTo>
                    <a:lnTo>
                      <a:pt x="0" y="2"/>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2" name="Freeform 57"/>
              <p:cNvSpPr>
                <a:spLocks/>
              </p:cNvSpPr>
              <p:nvPr/>
            </p:nvSpPr>
            <p:spPr bwMode="auto">
              <a:xfrm>
                <a:off x="1991" y="339"/>
                <a:ext cx="3" cy="3"/>
              </a:xfrm>
              <a:custGeom>
                <a:avLst/>
                <a:gdLst>
                  <a:gd name="T0" fmla="*/ 3 w 3"/>
                  <a:gd name="T1" fmla="*/ 3 h 3"/>
                  <a:gd name="T2" fmla="*/ 3 w 3"/>
                  <a:gd name="T3" fmla="*/ 0 h 3"/>
                  <a:gd name="T4" fmla="*/ 0 w 3"/>
                  <a:gd name="T5" fmla="*/ 0 h 3"/>
                  <a:gd name="T6" fmla="*/ 3 w 3"/>
                  <a:gd name="T7" fmla="*/ 3 h 3"/>
                </a:gdLst>
                <a:ahLst/>
                <a:cxnLst>
                  <a:cxn ang="0">
                    <a:pos x="T0" y="T1"/>
                  </a:cxn>
                  <a:cxn ang="0">
                    <a:pos x="T2" y="T3"/>
                  </a:cxn>
                  <a:cxn ang="0">
                    <a:pos x="T4" y="T5"/>
                  </a:cxn>
                  <a:cxn ang="0">
                    <a:pos x="T6" y="T7"/>
                  </a:cxn>
                </a:cxnLst>
                <a:rect l="0" t="0" r="r" b="b"/>
                <a:pathLst>
                  <a:path w="3" h="3">
                    <a:moveTo>
                      <a:pt x="3" y="3"/>
                    </a:moveTo>
                    <a:lnTo>
                      <a:pt x="3" y="0"/>
                    </a:lnTo>
                    <a:lnTo>
                      <a:pt x="0" y="0"/>
                    </a:lnTo>
                    <a:lnTo>
                      <a:pt x="3" y="3"/>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3" name="Freeform 58"/>
              <p:cNvSpPr>
                <a:spLocks/>
              </p:cNvSpPr>
              <p:nvPr/>
            </p:nvSpPr>
            <p:spPr bwMode="auto">
              <a:xfrm>
                <a:off x="1989" y="298"/>
                <a:ext cx="5" cy="17"/>
              </a:xfrm>
              <a:custGeom>
                <a:avLst/>
                <a:gdLst>
                  <a:gd name="T0" fmla="*/ 3 w 5"/>
                  <a:gd name="T1" fmla="*/ 0 h 17"/>
                  <a:gd name="T2" fmla="*/ 0 w 5"/>
                  <a:gd name="T3" fmla="*/ 13 h 17"/>
                  <a:gd name="T4" fmla="*/ 5 w 5"/>
                  <a:gd name="T5" fmla="*/ 17 h 17"/>
                  <a:gd name="T6" fmla="*/ 2 w 5"/>
                  <a:gd name="T7" fmla="*/ 13 h 17"/>
                  <a:gd name="T8" fmla="*/ 5 w 5"/>
                  <a:gd name="T9" fmla="*/ 13 h 17"/>
                  <a:gd name="T10" fmla="*/ 3 w 5"/>
                  <a:gd name="T11" fmla="*/ 0 h 17"/>
                </a:gdLst>
                <a:ahLst/>
                <a:cxnLst>
                  <a:cxn ang="0">
                    <a:pos x="T0" y="T1"/>
                  </a:cxn>
                  <a:cxn ang="0">
                    <a:pos x="T2" y="T3"/>
                  </a:cxn>
                  <a:cxn ang="0">
                    <a:pos x="T4" y="T5"/>
                  </a:cxn>
                  <a:cxn ang="0">
                    <a:pos x="T6" y="T7"/>
                  </a:cxn>
                  <a:cxn ang="0">
                    <a:pos x="T8" y="T9"/>
                  </a:cxn>
                  <a:cxn ang="0">
                    <a:pos x="T10" y="T11"/>
                  </a:cxn>
                </a:cxnLst>
                <a:rect l="0" t="0" r="r" b="b"/>
                <a:pathLst>
                  <a:path w="5" h="17">
                    <a:moveTo>
                      <a:pt x="3" y="0"/>
                    </a:moveTo>
                    <a:lnTo>
                      <a:pt x="0" y="13"/>
                    </a:lnTo>
                    <a:lnTo>
                      <a:pt x="5" y="17"/>
                    </a:lnTo>
                    <a:lnTo>
                      <a:pt x="2" y="13"/>
                    </a:lnTo>
                    <a:lnTo>
                      <a:pt x="5" y="13"/>
                    </a:lnTo>
                    <a:lnTo>
                      <a:pt x="3"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4" name="Freeform 59"/>
              <p:cNvSpPr>
                <a:spLocks/>
              </p:cNvSpPr>
              <p:nvPr/>
            </p:nvSpPr>
            <p:spPr bwMode="auto">
              <a:xfrm>
                <a:off x="1968" y="307"/>
                <a:ext cx="17" cy="10"/>
              </a:xfrm>
              <a:custGeom>
                <a:avLst/>
                <a:gdLst>
                  <a:gd name="T0" fmla="*/ 4 w 17"/>
                  <a:gd name="T1" fmla="*/ 0 h 10"/>
                  <a:gd name="T2" fmla="*/ 0 w 17"/>
                  <a:gd name="T3" fmla="*/ 1 h 10"/>
                  <a:gd name="T4" fmla="*/ 2 w 17"/>
                  <a:gd name="T5" fmla="*/ 7 h 10"/>
                  <a:gd name="T6" fmla="*/ 17 w 17"/>
                  <a:gd name="T7" fmla="*/ 10 h 10"/>
                  <a:gd name="T8" fmla="*/ 4 w 17"/>
                  <a:gd name="T9" fmla="*/ 0 h 10"/>
                </a:gdLst>
                <a:ahLst/>
                <a:cxnLst>
                  <a:cxn ang="0">
                    <a:pos x="T0" y="T1"/>
                  </a:cxn>
                  <a:cxn ang="0">
                    <a:pos x="T2" y="T3"/>
                  </a:cxn>
                  <a:cxn ang="0">
                    <a:pos x="T4" y="T5"/>
                  </a:cxn>
                  <a:cxn ang="0">
                    <a:pos x="T6" y="T7"/>
                  </a:cxn>
                  <a:cxn ang="0">
                    <a:pos x="T8" y="T9"/>
                  </a:cxn>
                </a:cxnLst>
                <a:rect l="0" t="0" r="r" b="b"/>
                <a:pathLst>
                  <a:path w="17" h="10">
                    <a:moveTo>
                      <a:pt x="4" y="0"/>
                    </a:moveTo>
                    <a:lnTo>
                      <a:pt x="0" y="1"/>
                    </a:lnTo>
                    <a:lnTo>
                      <a:pt x="2" y="7"/>
                    </a:lnTo>
                    <a:lnTo>
                      <a:pt x="17" y="10"/>
                    </a:lnTo>
                    <a:lnTo>
                      <a:pt x="4"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5" name="Freeform 60"/>
              <p:cNvSpPr>
                <a:spLocks/>
              </p:cNvSpPr>
              <p:nvPr/>
            </p:nvSpPr>
            <p:spPr bwMode="auto">
              <a:xfrm>
                <a:off x="1947" y="295"/>
                <a:ext cx="20" cy="19"/>
              </a:xfrm>
              <a:custGeom>
                <a:avLst/>
                <a:gdLst>
                  <a:gd name="T0" fmla="*/ 0 w 20"/>
                  <a:gd name="T1" fmla="*/ 0 h 19"/>
                  <a:gd name="T2" fmla="*/ 4 w 20"/>
                  <a:gd name="T3" fmla="*/ 14 h 19"/>
                  <a:gd name="T4" fmla="*/ 10 w 20"/>
                  <a:gd name="T5" fmla="*/ 19 h 19"/>
                  <a:gd name="T6" fmla="*/ 18 w 20"/>
                  <a:gd name="T7" fmla="*/ 16 h 19"/>
                  <a:gd name="T8" fmla="*/ 20 w 20"/>
                  <a:gd name="T9" fmla="*/ 10 h 19"/>
                  <a:gd name="T10" fmla="*/ 11 w 20"/>
                  <a:gd name="T11" fmla="*/ 1 h 19"/>
                  <a:gd name="T12" fmla="*/ 0 w 20"/>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20" h="19">
                    <a:moveTo>
                      <a:pt x="0" y="0"/>
                    </a:moveTo>
                    <a:lnTo>
                      <a:pt x="4" y="14"/>
                    </a:lnTo>
                    <a:lnTo>
                      <a:pt x="10" y="19"/>
                    </a:lnTo>
                    <a:lnTo>
                      <a:pt x="18" y="16"/>
                    </a:lnTo>
                    <a:lnTo>
                      <a:pt x="20" y="10"/>
                    </a:lnTo>
                    <a:lnTo>
                      <a:pt x="11" y="1"/>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6" name="Freeform 61"/>
              <p:cNvSpPr>
                <a:spLocks/>
              </p:cNvSpPr>
              <p:nvPr/>
            </p:nvSpPr>
            <p:spPr bwMode="auto">
              <a:xfrm>
                <a:off x="1931" y="279"/>
                <a:ext cx="23" cy="16"/>
              </a:xfrm>
              <a:custGeom>
                <a:avLst/>
                <a:gdLst>
                  <a:gd name="T0" fmla="*/ 0 w 23"/>
                  <a:gd name="T1" fmla="*/ 0 h 16"/>
                  <a:gd name="T2" fmla="*/ 3 w 23"/>
                  <a:gd name="T3" fmla="*/ 5 h 16"/>
                  <a:gd name="T4" fmla="*/ 23 w 23"/>
                  <a:gd name="T5" fmla="*/ 16 h 16"/>
                  <a:gd name="T6" fmla="*/ 0 w 23"/>
                  <a:gd name="T7" fmla="*/ 0 h 16"/>
                </a:gdLst>
                <a:ahLst/>
                <a:cxnLst>
                  <a:cxn ang="0">
                    <a:pos x="T0" y="T1"/>
                  </a:cxn>
                  <a:cxn ang="0">
                    <a:pos x="T2" y="T3"/>
                  </a:cxn>
                  <a:cxn ang="0">
                    <a:pos x="T4" y="T5"/>
                  </a:cxn>
                  <a:cxn ang="0">
                    <a:pos x="T6" y="T7"/>
                  </a:cxn>
                </a:cxnLst>
                <a:rect l="0" t="0" r="r" b="b"/>
                <a:pathLst>
                  <a:path w="23" h="16">
                    <a:moveTo>
                      <a:pt x="0" y="0"/>
                    </a:moveTo>
                    <a:lnTo>
                      <a:pt x="3" y="5"/>
                    </a:lnTo>
                    <a:lnTo>
                      <a:pt x="23" y="1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7" name="Freeform 62"/>
              <p:cNvSpPr>
                <a:spLocks/>
              </p:cNvSpPr>
              <p:nvPr/>
            </p:nvSpPr>
            <p:spPr bwMode="auto">
              <a:xfrm>
                <a:off x="1942" y="272"/>
                <a:ext cx="3" cy="5"/>
              </a:xfrm>
              <a:custGeom>
                <a:avLst/>
                <a:gdLst>
                  <a:gd name="T0" fmla="*/ 0 w 3"/>
                  <a:gd name="T1" fmla="*/ 5 h 5"/>
                  <a:gd name="T2" fmla="*/ 3 w 3"/>
                  <a:gd name="T3" fmla="*/ 0 h 5"/>
                  <a:gd name="T4" fmla="*/ 0 w 3"/>
                  <a:gd name="T5" fmla="*/ 0 h 5"/>
                  <a:gd name="T6" fmla="*/ 0 w 3"/>
                  <a:gd name="T7" fmla="*/ 5 h 5"/>
                </a:gdLst>
                <a:ahLst/>
                <a:cxnLst>
                  <a:cxn ang="0">
                    <a:pos x="T0" y="T1"/>
                  </a:cxn>
                  <a:cxn ang="0">
                    <a:pos x="T2" y="T3"/>
                  </a:cxn>
                  <a:cxn ang="0">
                    <a:pos x="T4" y="T5"/>
                  </a:cxn>
                  <a:cxn ang="0">
                    <a:pos x="T6" y="T7"/>
                  </a:cxn>
                </a:cxnLst>
                <a:rect l="0" t="0" r="r" b="b"/>
                <a:pathLst>
                  <a:path w="3" h="5">
                    <a:moveTo>
                      <a:pt x="0" y="5"/>
                    </a:moveTo>
                    <a:lnTo>
                      <a:pt x="3" y="0"/>
                    </a:lnTo>
                    <a:lnTo>
                      <a:pt x="0" y="0"/>
                    </a:lnTo>
                    <a:lnTo>
                      <a:pt x="0" y="5"/>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8" name="Freeform 63"/>
              <p:cNvSpPr>
                <a:spLocks/>
              </p:cNvSpPr>
              <p:nvPr/>
            </p:nvSpPr>
            <p:spPr bwMode="auto">
              <a:xfrm>
                <a:off x="1947" y="262"/>
                <a:ext cx="32" cy="35"/>
              </a:xfrm>
              <a:custGeom>
                <a:avLst/>
                <a:gdLst>
                  <a:gd name="T0" fmla="*/ 14 w 32"/>
                  <a:gd name="T1" fmla="*/ 34 h 35"/>
                  <a:gd name="T2" fmla="*/ 17 w 32"/>
                  <a:gd name="T3" fmla="*/ 35 h 35"/>
                  <a:gd name="T4" fmla="*/ 17 w 32"/>
                  <a:gd name="T5" fmla="*/ 28 h 35"/>
                  <a:gd name="T6" fmla="*/ 32 w 32"/>
                  <a:gd name="T7" fmla="*/ 20 h 35"/>
                  <a:gd name="T8" fmla="*/ 31 w 32"/>
                  <a:gd name="T9" fmla="*/ 16 h 35"/>
                  <a:gd name="T10" fmla="*/ 23 w 32"/>
                  <a:gd name="T11" fmla="*/ 15 h 35"/>
                  <a:gd name="T12" fmla="*/ 17 w 32"/>
                  <a:gd name="T13" fmla="*/ 21 h 35"/>
                  <a:gd name="T14" fmla="*/ 10 w 32"/>
                  <a:gd name="T15" fmla="*/ 14 h 35"/>
                  <a:gd name="T16" fmla="*/ 14 w 32"/>
                  <a:gd name="T17" fmla="*/ 6 h 35"/>
                  <a:gd name="T18" fmla="*/ 12 w 32"/>
                  <a:gd name="T19" fmla="*/ 0 h 35"/>
                  <a:gd name="T20" fmla="*/ 10 w 32"/>
                  <a:gd name="T21" fmla="*/ 7 h 35"/>
                  <a:gd name="T22" fmla="*/ 7 w 32"/>
                  <a:gd name="T23" fmla="*/ 2 h 35"/>
                  <a:gd name="T24" fmla="*/ 0 w 32"/>
                  <a:gd name="T25" fmla="*/ 3 h 35"/>
                  <a:gd name="T26" fmla="*/ 0 w 32"/>
                  <a:gd name="T27" fmla="*/ 17 h 35"/>
                  <a:gd name="T28" fmla="*/ 4 w 32"/>
                  <a:gd name="T29" fmla="*/ 23 h 35"/>
                  <a:gd name="T30" fmla="*/ 11 w 32"/>
                  <a:gd name="T31" fmla="*/ 22 h 35"/>
                  <a:gd name="T32" fmla="*/ 13 w 32"/>
                  <a:gd name="T33" fmla="*/ 27 h 35"/>
                  <a:gd name="T34" fmla="*/ 7 w 32"/>
                  <a:gd name="T35" fmla="*/ 27 h 35"/>
                  <a:gd name="T36" fmla="*/ 14 w 32"/>
                  <a:gd name="T37" fmla="*/ 3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2" h="35">
                    <a:moveTo>
                      <a:pt x="14" y="34"/>
                    </a:moveTo>
                    <a:lnTo>
                      <a:pt x="17" y="35"/>
                    </a:lnTo>
                    <a:lnTo>
                      <a:pt x="17" y="28"/>
                    </a:lnTo>
                    <a:lnTo>
                      <a:pt x="32" y="20"/>
                    </a:lnTo>
                    <a:lnTo>
                      <a:pt x="31" y="16"/>
                    </a:lnTo>
                    <a:lnTo>
                      <a:pt x="23" y="15"/>
                    </a:lnTo>
                    <a:lnTo>
                      <a:pt x="17" y="21"/>
                    </a:lnTo>
                    <a:lnTo>
                      <a:pt x="10" y="14"/>
                    </a:lnTo>
                    <a:lnTo>
                      <a:pt x="14" y="6"/>
                    </a:lnTo>
                    <a:lnTo>
                      <a:pt x="12" y="0"/>
                    </a:lnTo>
                    <a:lnTo>
                      <a:pt x="10" y="7"/>
                    </a:lnTo>
                    <a:lnTo>
                      <a:pt x="7" y="2"/>
                    </a:lnTo>
                    <a:lnTo>
                      <a:pt x="0" y="3"/>
                    </a:lnTo>
                    <a:lnTo>
                      <a:pt x="0" y="17"/>
                    </a:lnTo>
                    <a:lnTo>
                      <a:pt x="4" y="23"/>
                    </a:lnTo>
                    <a:lnTo>
                      <a:pt x="11" y="22"/>
                    </a:lnTo>
                    <a:lnTo>
                      <a:pt x="13" y="27"/>
                    </a:lnTo>
                    <a:lnTo>
                      <a:pt x="7" y="27"/>
                    </a:lnTo>
                    <a:lnTo>
                      <a:pt x="14" y="34"/>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9" name="Freeform 64"/>
              <p:cNvSpPr>
                <a:spLocks/>
              </p:cNvSpPr>
              <p:nvPr/>
            </p:nvSpPr>
            <p:spPr bwMode="auto">
              <a:xfrm>
                <a:off x="1942" y="246"/>
                <a:ext cx="4" cy="7"/>
              </a:xfrm>
              <a:custGeom>
                <a:avLst/>
                <a:gdLst>
                  <a:gd name="T0" fmla="*/ 3 w 4"/>
                  <a:gd name="T1" fmla="*/ 3 h 7"/>
                  <a:gd name="T2" fmla="*/ 0 w 4"/>
                  <a:gd name="T3" fmla="*/ 0 h 7"/>
                  <a:gd name="T4" fmla="*/ 4 w 4"/>
                  <a:gd name="T5" fmla="*/ 7 h 7"/>
                  <a:gd name="T6" fmla="*/ 3 w 4"/>
                  <a:gd name="T7" fmla="*/ 3 h 7"/>
                </a:gdLst>
                <a:ahLst/>
                <a:cxnLst>
                  <a:cxn ang="0">
                    <a:pos x="T0" y="T1"/>
                  </a:cxn>
                  <a:cxn ang="0">
                    <a:pos x="T2" y="T3"/>
                  </a:cxn>
                  <a:cxn ang="0">
                    <a:pos x="T4" y="T5"/>
                  </a:cxn>
                  <a:cxn ang="0">
                    <a:pos x="T6" y="T7"/>
                  </a:cxn>
                </a:cxnLst>
                <a:rect l="0" t="0" r="r" b="b"/>
                <a:pathLst>
                  <a:path w="4" h="7">
                    <a:moveTo>
                      <a:pt x="3" y="3"/>
                    </a:moveTo>
                    <a:lnTo>
                      <a:pt x="0" y="0"/>
                    </a:lnTo>
                    <a:lnTo>
                      <a:pt x="4" y="7"/>
                    </a:lnTo>
                    <a:lnTo>
                      <a:pt x="3" y="3"/>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0" name="Freeform 65"/>
              <p:cNvSpPr>
                <a:spLocks/>
              </p:cNvSpPr>
              <p:nvPr/>
            </p:nvSpPr>
            <p:spPr bwMode="auto">
              <a:xfrm>
                <a:off x="1939" y="251"/>
                <a:ext cx="3" cy="6"/>
              </a:xfrm>
              <a:custGeom>
                <a:avLst/>
                <a:gdLst>
                  <a:gd name="T0" fmla="*/ 0 w 3"/>
                  <a:gd name="T1" fmla="*/ 0 h 6"/>
                  <a:gd name="T2" fmla="*/ 0 w 3"/>
                  <a:gd name="T3" fmla="*/ 4 h 6"/>
                  <a:gd name="T4" fmla="*/ 3 w 3"/>
                  <a:gd name="T5" fmla="*/ 6 h 6"/>
                  <a:gd name="T6" fmla="*/ 1 w 3"/>
                  <a:gd name="T7" fmla="*/ 2 h 6"/>
                  <a:gd name="T8" fmla="*/ 0 w 3"/>
                  <a:gd name="T9" fmla="*/ 0 h 6"/>
                </a:gdLst>
                <a:ahLst/>
                <a:cxnLst>
                  <a:cxn ang="0">
                    <a:pos x="T0" y="T1"/>
                  </a:cxn>
                  <a:cxn ang="0">
                    <a:pos x="T2" y="T3"/>
                  </a:cxn>
                  <a:cxn ang="0">
                    <a:pos x="T4" y="T5"/>
                  </a:cxn>
                  <a:cxn ang="0">
                    <a:pos x="T6" y="T7"/>
                  </a:cxn>
                  <a:cxn ang="0">
                    <a:pos x="T8" y="T9"/>
                  </a:cxn>
                </a:cxnLst>
                <a:rect l="0" t="0" r="r" b="b"/>
                <a:pathLst>
                  <a:path w="3" h="6">
                    <a:moveTo>
                      <a:pt x="0" y="0"/>
                    </a:moveTo>
                    <a:lnTo>
                      <a:pt x="0" y="4"/>
                    </a:lnTo>
                    <a:lnTo>
                      <a:pt x="3" y="6"/>
                    </a:lnTo>
                    <a:lnTo>
                      <a:pt x="1" y="2"/>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1" name="Freeform 66"/>
              <p:cNvSpPr>
                <a:spLocks/>
              </p:cNvSpPr>
              <p:nvPr/>
            </p:nvSpPr>
            <p:spPr bwMode="auto">
              <a:xfrm>
                <a:off x="1928" y="240"/>
                <a:ext cx="4" cy="6"/>
              </a:xfrm>
              <a:custGeom>
                <a:avLst/>
                <a:gdLst>
                  <a:gd name="T0" fmla="*/ 4 w 4"/>
                  <a:gd name="T1" fmla="*/ 6 h 6"/>
                  <a:gd name="T2" fmla="*/ 4 w 4"/>
                  <a:gd name="T3" fmla="*/ 0 h 6"/>
                  <a:gd name="T4" fmla="*/ 0 w 4"/>
                  <a:gd name="T5" fmla="*/ 6 h 6"/>
                  <a:gd name="T6" fmla="*/ 4 w 4"/>
                  <a:gd name="T7" fmla="*/ 6 h 6"/>
                </a:gdLst>
                <a:ahLst/>
                <a:cxnLst>
                  <a:cxn ang="0">
                    <a:pos x="T0" y="T1"/>
                  </a:cxn>
                  <a:cxn ang="0">
                    <a:pos x="T2" y="T3"/>
                  </a:cxn>
                  <a:cxn ang="0">
                    <a:pos x="T4" y="T5"/>
                  </a:cxn>
                  <a:cxn ang="0">
                    <a:pos x="T6" y="T7"/>
                  </a:cxn>
                </a:cxnLst>
                <a:rect l="0" t="0" r="r" b="b"/>
                <a:pathLst>
                  <a:path w="4" h="6">
                    <a:moveTo>
                      <a:pt x="4" y="6"/>
                    </a:moveTo>
                    <a:lnTo>
                      <a:pt x="4" y="0"/>
                    </a:lnTo>
                    <a:lnTo>
                      <a:pt x="0" y="6"/>
                    </a:lnTo>
                    <a:lnTo>
                      <a:pt x="4" y="6"/>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2" name="Freeform 67"/>
              <p:cNvSpPr>
                <a:spLocks/>
              </p:cNvSpPr>
              <p:nvPr/>
            </p:nvSpPr>
            <p:spPr bwMode="auto">
              <a:xfrm>
                <a:off x="1928" y="229"/>
                <a:ext cx="6" cy="11"/>
              </a:xfrm>
              <a:custGeom>
                <a:avLst/>
                <a:gdLst>
                  <a:gd name="T0" fmla="*/ 6 w 6"/>
                  <a:gd name="T1" fmla="*/ 7 h 11"/>
                  <a:gd name="T2" fmla="*/ 0 w 6"/>
                  <a:gd name="T3" fmla="*/ 0 h 11"/>
                  <a:gd name="T4" fmla="*/ 4 w 6"/>
                  <a:gd name="T5" fmla="*/ 11 h 11"/>
                  <a:gd name="T6" fmla="*/ 6 w 6"/>
                  <a:gd name="T7" fmla="*/ 11 h 11"/>
                  <a:gd name="T8" fmla="*/ 6 w 6"/>
                  <a:gd name="T9" fmla="*/ 7 h 11"/>
                </a:gdLst>
                <a:ahLst/>
                <a:cxnLst>
                  <a:cxn ang="0">
                    <a:pos x="T0" y="T1"/>
                  </a:cxn>
                  <a:cxn ang="0">
                    <a:pos x="T2" y="T3"/>
                  </a:cxn>
                  <a:cxn ang="0">
                    <a:pos x="T4" y="T5"/>
                  </a:cxn>
                  <a:cxn ang="0">
                    <a:pos x="T6" y="T7"/>
                  </a:cxn>
                  <a:cxn ang="0">
                    <a:pos x="T8" y="T9"/>
                  </a:cxn>
                </a:cxnLst>
                <a:rect l="0" t="0" r="r" b="b"/>
                <a:pathLst>
                  <a:path w="6" h="11">
                    <a:moveTo>
                      <a:pt x="6" y="7"/>
                    </a:moveTo>
                    <a:lnTo>
                      <a:pt x="0" y="0"/>
                    </a:lnTo>
                    <a:lnTo>
                      <a:pt x="4" y="11"/>
                    </a:lnTo>
                    <a:lnTo>
                      <a:pt x="6" y="11"/>
                    </a:lnTo>
                    <a:lnTo>
                      <a:pt x="6" y="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3" name="Freeform 68"/>
              <p:cNvSpPr>
                <a:spLocks/>
              </p:cNvSpPr>
              <p:nvPr/>
            </p:nvSpPr>
            <p:spPr bwMode="auto">
              <a:xfrm>
                <a:off x="1931" y="223"/>
                <a:ext cx="8" cy="9"/>
              </a:xfrm>
              <a:custGeom>
                <a:avLst/>
                <a:gdLst>
                  <a:gd name="T0" fmla="*/ 0 w 8"/>
                  <a:gd name="T1" fmla="*/ 0 h 9"/>
                  <a:gd name="T2" fmla="*/ 3 w 8"/>
                  <a:gd name="T3" fmla="*/ 7 h 9"/>
                  <a:gd name="T4" fmla="*/ 8 w 8"/>
                  <a:gd name="T5" fmla="*/ 9 h 9"/>
                  <a:gd name="T6" fmla="*/ 7 w 8"/>
                  <a:gd name="T7" fmla="*/ 6 h 9"/>
                  <a:gd name="T8" fmla="*/ 0 w 8"/>
                  <a:gd name="T9" fmla="*/ 0 h 9"/>
                </a:gdLst>
                <a:ahLst/>
                <a:cxnLst>
                  <a:cxn ang="0">
                    <a:pos x="T0" y="T1"/>
                  </a:cxn>
                  <a:cxn ang="0">
                    <a:pos x="T2" y="T3"/>
                  </a:cxn>
                  <a:cxn ang="0">
                    <a:pos x="T4" y="T5"/>
                  </a:cxn>
                  <a:cxn ang="0">
                    <a:pos x="T6" y="T7"/>
                  </a:cxn>
                  <a:cxn ang="0">
                    <a:pos x="T8" y="T9"/>
                  </a:cxn>
                </a:cxnLst>
                <a:rect l="0" t="0" r="r" b="b"/>
                <a:pathLst>
                  <a:path w="8" h="9">
                    <a:moveTo>
                      <a:pt x="0" y="0"/>
                    </a:moveTo>
                    <a:lnTo>
                      <a:pt x="3" y="7"/>
                    </a:lnTo>
                    <a:lnTo>
                      <a:pt x="8" y="9"/>
                    </a:lnTo>
                    <a:lnTo>
                      <a:pt x="7" y="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4" name="Freeform 69"/>
              <p:cNvSpPr>
                <a:spLocks/>
              </p:cNvSpPr>
              <p:nvPr/>
            </p:nvSpPr>
            <p:spPr bwMode="auto">
              <a:xfrm>
                <a:off x="1920" y="219"/>
                <a:ext cx="8" cy="5"/>
              </a:xfrm>
              <a:custGeom>
                <a:avLst/>
                <a:gdLst>
                  <a:gd name="T0" fmla="*/ 0 w 8"/>
                  <a:gd name="T1" fmla="*/ 0 h 5"/>
                  <a:gd name="T2" fmla="*/ 7 w 8"/>
                  <a:gd name="T3" fmla="*/ 5 h 5"/>
                  <a:gd name="T4" fmla="*/ 8 w 8"/>
                  <a:gd name="T5" fmla="*/ 0 h 5"/>
                  <a:gd name="T6" fmla="*/ 0 w 8"/>
                  <a:gd name="T7" fmla="*/ 0 h 5"/>
                </a:gdLst>
                <a:ahLst/>
                <a:cxnLst>
                  <a:cxn ang="0">
                    <a:pos x="T0" y="T1"/>
                  </a:cxn>
                  <a:cxn ang="0">
                    <a:pos x="T2" y="T3"/>
                  </a:cxn>
                  <a:cxn ang="0">
                    <a:pos x="T4" y="T5"/>
                  </a:cxn>
                  <a:cxn ang="0">
                    <a:pos x="T6" y="T7"/>
                  </a:cxn>
                </a:cxnLst>
                <a:rect l="0" t="0" r="r" b="b"/>
                <a:pathLst>
                  <a:path w="8" h="5">
                    <a:moveTo>
                      <a:pt x="0" y="0"/>
                    </a:moveTo>
                    <a:lnTo>
                      <a:pt x="7" y="5"/>
                    </a:lnTo>
                    <a:lnTo>
                      <a:pt x="8" y="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5" name="Freeform 70"/>
              <p:cNvSpPr>
                <a:spLocks/>
              </p:cNvSpPr>
              <p:nvPr/>
            </p:nvSpPr>
            <p:spPr bwMode="auto">
              <a:xfrm>
                <a:off x="1919" y="205"/>
                <a:ext cx="5" cy="5"/>
              </a:xfrm>
              <a:custGeom>
                <a:avLst/>
                <a:gdLst>
                  <a:gd name="T0" fmla="*/ 5 w 5"/>
                  <a:gd name="T1" fmla="*/ 5 h 5"/>
                  <a:gd name="T2" fmla="*/ 1 w 5"/>
                  <a:gd name="T3" fmla="*/ 0 h 5"/>
                  <a:gd name="T4" fmla="*/ 0 w 5"/>
                  <a:gd name="T5" fmla="*/ 2 h 5"/>
                  <a:gd name="T6" fmla="*/ 5 w 5"/>
                  <a:gd name="T7" fmla="*/ 5 h 5"/>
                </a:gdLst>
                <a:ahLst/>
                <a:cxnLst>
                  <a:cxn ang="0">
                    <a:pos x="T0" y="T1"/>
                  </a:cxn>
                  <a:cxn ang="0">
                    <a:pos x="T2" y="T3"/>
                  </a:cxn>
                  <a:cxn ang="0">
                    <a:pos x="T4" y="T5"/>
                  </a:cxn>
                  <a:cxn ang="0">
                    <a:pos x="T6" y="T7"/>
                  </a:cxn>
                </a:cxnLst>
                <a:rect l="0" t="0" r="r" b="b"/>
                <a:pathLst>
                  <a:path w="5" h="5">
                    <a:moveTo>
                      <a:pt x="5" y="5"/>
                    </a:moveTo>
                    <a:lnTo>
                      <a:pt x="1" y="0"/>
                    </a:lnTo>
                    <a:lnTo>
                      <a:pt x="0" y="2"/>
                    </a:lnTo>
                    <a:lnTo>
                      <a:pt x="5" y="5"/>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6" name="Freeform 71"/>
              <p:cNvSpPr>
                <a:spLocks/>
              </p:cNvSpPr>
              <p:nvPr/>
            </p:nvSpPr>
            <p:spPr bwMode="auto">
              <a:xfrm>
                <a:off x="1922" y="182"/>
                <a:ext cx="12" cy="32"/>
              </a:xfrm>
              <a:custGeom>
                <a:avLst/>
                <a:gdLst>
                  <a:gd name="T0" fmla="*/ 4 w 12"/>
                  <a:gd name="T1" fmla="*/ 8 h 32"/>
                  <a:gd name="T2" fmla="*/ 2 w 12"/>
                  <a:gd name="T3" fmla="*/ 11 h 32"/>
                  <a:gd name="T4" fmla="*/ 4 w 12"/>
                  <a:gd name="T5" fmla="*/ 16 h 32"/>
                  <a:gd name="T6" fmla="*/ 0 w 12"/>
                  <a:gd name="T7" fmla="*/ 15 h 32"/>
                  <a:gd name="T8" fmla="*/ 6 w 12"/>
                  <a:gd name="T9" fmla="*/ 19 h 32"/>
                  <a:gd name="T10" fmla="*/ 6 w 12"/>
                  <a:gd name="T11" fmla="*/ 29 h 32"/>
                  <a:gd name="T12" fmla="*/ 10 w 12"/>
                  <a:gd name="T13" fmla="*/ 32 h 32"/>
                  <a:gd name="T14" fmla="*/ 12 w 12"/>
                  <a:gd name="T15" fmla="*/ 6 h 32"/>
                  <a:gd name="T16" fmla="*/ 6 w 12"/>
                  <a:gd name="T17" fmla="*/ 0 h 32"/>
                  <a:gd name="T18" fmla="*/ 4 w 1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32">
                    <a:moveTo>
                      <a:pt x="4" y="8"/>
                    </a:moveTo>
                    <a:lnTo>
                      <a:pt x="2" y="11"/>
                    </a:lnTo>
                    <a:lnTo>
                      <a:pt x="4" y="16"/>
                    </a:lnTo>
                    <a:lnTo>
                      <a:pt x="0" y="15"/>
                    </a:lnTo>
                    <a:lnTo>
                      <a:pt x="6" y="19"/>
                    </a:lnTo>
                    <a:lnTo>
                      <a:pt x="6" y="29"/>
                    </a:lnTo>
                    <a:lnTo>
                      <a:pt x="10" y="32"/>
                    </a:lnTo>
                    <a:lnTo>
                      <a:pt x="12" y="6"/>
                    </a:lnTo>
                    <a:lnTo>
                      <a:pt x="6" y="0"/>
                    </a:lnTo>
                    <a:lnTo>
                      <a:pt x="4" y="8"/>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7" name="Freeform 72"/>
              <p:cNvSpPr>
                <a:spLocks/>
              </p:cNvSpPr>
              <p:nvPr/>
            </p:nvSpPr>
            <p:spPr bwMode="auto">
              <a:xfrm>
                <a:off x="1920" y="178"/>
                <a:ext cx="2" cy="7"/>
              </a:xfrm>
              <a:custGeom>
                <a:avLst/>
                <a:gdLst>
                  <a:gd name="T0" fmla="*/ 0 w 2"/>
                  <a:gd name="T1" fmla="*/ 7 h 7"/>
                  <a:gd name="T2" fmla="*/ 2 w 2"/>
                  <a:gd name="T3" fmla="*/ 4 h 7"/>
                  <a:gd name="T4" fmla="*/ 0 w 2"/>
                  <a:gd name="T5" fmla="*/ 0 h 7"/>
                  <a:gd name="T6" fmla="*/ 0 w 2"/>
                  <a:gd name="T7" fmla="*/ 3 h 7"/>
                  <a:gd name="T8" fmla="*/ 0 w 2"/>
                  <a:gd name="T9" fmla="*/ 7 h 7"/>
                </a:gdLst>
                <a:ahLst/>
                <a:cxnLst>
                  <a:cxn ang="0">
                    <a:pos x="T0" y="T1"/>
                  </a:cxn>
                  <a:cxn ang="0">
                    <a:pos x="T2" y="T3"/>
                  </a:cxn>
                  <a:cxn ang="0">
                    <a:pos x="T4" y="T5"/>
                  </a:cxn>
                  <a:cxn ang="0">
                    <a:pos x="T6" y="T7"/>
                  </a:cxn>
                  <a:cxn ang="0">
                    <a:pos x="T8" y="T9"/>
                  </a:cxn>
                </a:cxnLst>
                <a:rect l="0" t="0" r="r" b="b"/>
                <a:pathLst>
                  <a:path w="2" h="7">
                    <a:moveTo>
                      <a:pt x="0" y="7"/>
                    </a:moveTo>
                    <a:lnTo>
                      <a:pt x="2" y="4"/>
                    </a:lnTo>
                    <a:lnTo>
                      <a:pt x="0" y="0"/>
                    </a:lnTo>
                    <a:lnTo>
                      <a:pt x="0" y="3"/>
                    </a:lnTo>
                    <a:lnTo>
                      <a:pt x="0" y="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8" name="Freeform 73"/>
              <p:cNvSpPr>
                <a:spLocks/>
              </p:cNvSpPr>
              <p:nvPr/>
            </p:nvSpPr>
            <p:spPr bwMode="auto">
              <a:xfrm>
                <a:off x="1920" y="169"/>
                <a:ext cx="5" cy="12"/>
              </a:xfrm>
              <a:custGeom>
                <a:avLst/>
                <a:gdLst>
                  <a:gd name="T0" fmla="*/ 0 w 5"/>
                  <a:gd name="T1" fmla="*/ 3 h 12"/>
                  <a:gd name="T2" fmla="*/ 5 w 5"/>
                  <a:gd name="T3" fmla="*/ 12 h 12"/>
                  <a:gd name="T4" fmla="*/ 1 w 5"/>
                  <a:gd name="T5" fmla="*/ 0 h 12"/>
                  <a:gd name="T6" fmla="*/ 0 w 5"/>
                  <a:gd name="T7" fmla="*/ 3 h 12"/>
                </a:gdLst>
                <a:ahLst/>
                <a:cxnLst>
                  <a:cxn ang="0">
                    <a:pos x="T0" y="T1"/>
                  </a:cxn>
                  <a:cxn ang="0">
                    <a:pos x="T2" y="T3"/>
                  </a:cxn>
                  <a:cxn ang="0">
                    <a:pos x="T4" y="T5"/>
                  </a:cxn>
                  <a:cxn ang="0">
                    <a:pos x="T6" y="T7"/>
                  </a:cxn>
                </a:cxnLst>
                <a:rect l="0" t="0" r="r" b="b"/>
                <a:pathLst>
                  <a:path w="5" h="12">
                    <a:moveTo>
                      <a:pt x="0" y="3"/>
                    </a:moveTo>
                    <a:lnTo>
                      <a:pt x="5" y="12"/>
                    </a:lnTo>
                    <a:lnTo>
                      <a:pt x="1" y="0"/>
                    </a:lnTo>
                    <a:lnTo>
                      <a:pt x="0" y="3"/>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9" name="Freeform 74"/>
              <p:cNvSpPr>
                <a:spLocks/>
              </p:cNvSpPr>
              <p:nvPr/>
            </p:nvSpPr>
            <p:spPr bwMode="auto">
              <a:xfrm>
                <a:off x="1932" y="159"/>
                <a:ext cx="5" cy="5"/>
              </a:xfrm>
              <a:custGeom>
                <a:avLst/>
                <a:gdLst>
                  <a:gd name="T0" fmla="*/ 2 w 5"/>
                  <a:gd name="T1" fmla="*/ 0 h 5"/>
                  <a:gd name="T2" fmla="*/ 0 w 5"/>
                  <a:gd name="T3" fmla="*/ 1 h 5"/>
                  <a:gd name="T4" fmla="*/ 5 w 5"/>
                  <a:gd name="T5" fmla="*/ 5 h 5"/>
                  <a:gd name="T6" fmla="*/ 2 w 5"/>
                  <a:gd name="T7" fmla="*/ 0 h 5"/>
                </a:gdLst>
                <a:ahLst/>
                <a:cxnLst>
                  <a:cxn ang="0">
                    <a:pos x="T0" y="T1"/>
                  </a:cxn>
                  <a:cxn ang="0">
                    <a:pos x="T2" y="T3"/>
                  </a:cxn>
                  <a:cxn ang="0">
                    <a:pos x="T4" y="T5"/>
                  </a:cxn>
                  <a:cxn ang="0">
                    <a:pos x="T6" y="T7"/>
                  </a:cxn>
                </a:cxnLst>
                <a:rect l="0" t="0" r="r" b="b"/>
                <a:pathLst>
                  <a:path w="5" h="5">
                    <a:moveTo>
                      <a:pt x="2" y="0"/>
                    </a:moveTo>
                    <a:lnTo>
                      <a:pt x="0" y="1"/>
                    </a:lnTo>
                    <a:lnTo>
                      <a:pt x="5" y="5"/>
                    </a:lnTo>
                    <a:lnTo>
                      <a:pt x="2"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0" name="Freeform 75"/>
              <p:cNvSpPr>
                <a:spLocks/>
              </p:cNvSpPr>
              <p:nvPr/>
            </p:nvSpPr>
            <p:spPr bwMode="auto">
              <a:xfrm>
                <a:off x="1939" y="104"/>
                <a:ext cx="6" cy="5"/>
              </a:xfrm>
              <a:custGeom>
                <a:avLst/>
                <a:gdLst>
                  <a:gd name="T0" fmla="*/ 0 w 6"/>
                  <a:gd name="T1" fmla="*/ 2 h 5"/>
                  <a:gd name="T2" fmla="*/ 6 w 6"/>
                  <a:gd name="T3" fmla="*/ 5 h 5"/>
                  <a:gd name="T4" fmla="*/ 5 w 6"/>
                  <a:gd name="T5" fmla="*/ 0 h 5"/>
                  <a:gd name="T6" fmla="*/ 0 w 6"/>
                  <a:gd name="T7" fmla="*/ 2 h 5"/>
                </a:gdLst>
                <a:ahLst/>
                <a:cxnLst>
                  <a:cxn ang="0">
                    <a:pos x="T0" y="T1"/>
                  </a:cxn>
                  <a:cxn ang="0">
                    <a:pos x="T2" y="T3"/>
                  </a:cxn>
                  <a:cxn ang="0">
                    <a:pos x="T4" y="T5"/>
                  </a:cxn>
                  <a:cxn ang="0">
                    <a:pos x="T6" y="T7"/>
                  </a:cxn>
                </a:cxnLst>
                <a:rect l="0" t="0" r="r" b="b"/>
                <a:pathLst>
                  <a:path w="6" h="5">
                    <a:moveTo>
                      <a:pt x="0" y="2"/>
                    </a:moveTo>
                    <a:lnTo>
                      <a:pt x="6" y="5"/>
                    </a:lnTo>
                    <a:lnTo>
                      <a:pt x="5" y="0"/>
                    </a:lnTo>
                    <a:lnTo>
                      <a:pt x="0" y="2"/>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1" name="Freeform 76"/>
              <p:cNvSpPr>
                <a:spLocks/>
              </p:cNvSpPr>
              <p:nvPr/>
            </p:nvSpPr>
            <p:spPr bwMode="auto">
              <a:xfrm>
                <a:off x="1947" y="90"/>
                <a:ext cx="11" cy="11"/>
              </a:xfrm>
              <a:custGeom>
                <a:avLst/>
                <a:gdLst>
                  <a:gd name="T0" fmla="*/ 4 w 11"/>
                  <a:gd name="T1" fmla="*/ 11 h 11"/>
                  <a:gd name="T2" fmla="*/ 10 w 11"/>
                  <a:gd name="T3" fmla="*/ 8 h 11"/>
                  <a:gd name="T4" fmla="*/ 11 w 11"/>
                  <a:gd name="T5" fmla="*/ 4 h 11"/>
                  <a:gd name="T6" fmla="*/ 7 w 11"/>
                  <a:gd name="T7" fmla="*/ 0 h 11"/>
                  <a:gd name="T8" fmla="*/ 0 w 11"/>
                  <a:gd name="T9" fmla="*/ 5 h 11"/>
                  <a:gd name="T10" fmla="*/ 4 w 11"/>
                  <a:gd name="T11" fmla="*/ 11 h 11"/>
                </a:gdLst>
                <a:ahLst/>
                <a:cxnLst>
                  <a:cxn ang="0">
                    <a:pos x="T0" y="T1"/>
                  </a:cxn>
                  <a:cxn ang="0">
                    <a:pos x="T2" y="T3"/>
                  </a:cxn>
                  <a:cxn ang="0">
                    <a:pos x="T4" y="T5"/>
                  </a:cxn>
                  <a:cxn ang="0">
                    <a:pos x="T6" y="T7"/>
                  </a:cxn>
                  <a:cxn ang="0">
                    <a:pos x="T8" y="T9"/>
                  </a:cxn>
                  <a:cxn ang="0">
                    <a:pos x="T10" y="T11"/>
                  </a:cxn>
                </a:cxnLst>
                <a:rect l="0" t="0" r="r" b="b"/>
                <a:pathLst>
                  <a:path w="11" h="11">
                    <a:moveTo>
                      <a:pt x="4" y="11"/>
                    </a:moveTo>
                    <a:lnTo>
                      <a:pt x="10" y="8"/>
                    </a:lnTo>
                    <a:lnTo>
                      <a:pt x="11" y="4"/>
                    </a:lnTo>
                    <a:lnTo>
                      <a:pt x="7" y="0"/>
                    </a:lnTo>
                    <a:lnTo>
                      <a:pt x="0" y="5"/>
                    </a:lnTo>
                    <a:lnTo>
                      <a:pt x="4" y="11"/>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2" name="Freeform 77"/>
              <p:cNvSpPr>
                <a:spLocks/>
              </p:cNvSpPr>
              <p:nvPr/>
            </p:nvSpPr>
            <p:spPr bwMode="auto">
              <a:xfrm>
                <a:off x="1935" y="36"/>
                <a:ext cx="15" cy="35"/>
              </a:xfrm>
              <a:custGeom>
                <a:avLst/>
                <a:gdLst>
                  <a:gd name="T0" fmla="*/ 12 w 15"/>
                  <a:gd name="T1" fmla="*/ 3 h 35"/>
                  <a:gd name="T2" fmla="*/ 7 w 15"/>
                  <a:gd name="T3" fmla="*/ 0 h 35"/>
                  <a:gd name="T4" fmla="*/ 4 w 15"/>
                  <a:gd name="T5" fmla="*/ 6 h 35"/>
                  <a:gd name="T6" fmla="*/ 0 w 15"/>
                  <a:gd name="T7" fmla="*/ 29 h 35"/>
                  <a:gd name="T8" fmla="*/ 2 w 15"/>
                  <a:gd name="T9" fmla="*/ 34 h 35"/>
                  <a:gd name="T10" fmla="*/ 9 w 15"/>
                  <a:gd name="T11" fmla="*/ 35 h 35"/>
                  <a:gd name="T12" fmla="*/ 10 w 15"/>
                  <a:gd name="T13" fmla="*/ 29 h 35"/>
                  <a:gd name="T14" fmla="*/ 12 w 15"/>
                  <a:gd name="T15" fmla="*/ 29 h 35"/>
                  <a:gd name="T16" fmla="*/ 11 w 15"/>
                  <a:gd name="T17" fmla="*/ 23 h 35"/>
                  <a:gd name="T18" fmla="*/ 12 w 15"/>
                  <a:gd name="T19" fmla="*/ 23 h 35"/>
                  <a:gd name="T20" fmla="*/ 10 w 15"/>
                  <a:gd name="T21" fmla="*/ 19 h 35"/>
                  <a:gd name="T22" fmla="*/ 15 w 15"/>
                  <a:gd name="T23" fmla="*/ 14 h 35"/>
                  <a:gd name="T24" fmla="*/ 12 w 15"/>
                  <a:gd name="T25" fmla="*/ 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35">
                    <a:moveTo>
                      <a:pt x="12" y="3"/>
                    </a:moveTo>
                    <a:lnTo>
                      <a:pt x="7" y="0"/>
                    </a:lnTo>
                    <a:lnTo>
                      <a:pt x="4" y="6"/>
                    </a:lnTo>
                    <a:lnTo>
                      <a:pt x="0" y="29"/>
                    </a:lnTo>
                    <a:lnTo>
                      <a:pt x="2" y="34"/>
                    </a:lnTo>
                    <a:lnTo>
                      <a:pt x="9" y="35"/>
                    </a:lnTo>
                    <a:lnTo>
                      <a:pt x="10" y="29"/>
                    </a:lnTo>
                    <a:lnTo>
                      <a:pt x="12" y="29"/>
                    </a:lnTo>
                    <a:lnTo>
                      <a:pt x="11" y="23"/>
                    </a:lnTo>
                    <a:lnTo>
                      <a:pt x="12" y="23"/>
                    </a:lnTo>
                    <a:lnTo>
                      <a:pt x="10" y="19"/>
                    </a:lnTo>
                    <a:lnTo>
                      <a:pt x="15" y="14"/>
                    </a:lnTo>
                    <a:lnTo>
                      <a:pt x="12" y="3"/>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3" name="Freeform 78"/>
              <p:cNvSpPr>
                <a:spLocks/>
              </p:cNvSpPr>
              <p:nvPr/>
            </p:nvSpPr>
            <p:spPr bwMode="auto">
              <a:xfrm>
                <a:off x="2000" y="334"/>
                <a:ext cx="11" cy="3"/>
              </a:xfrm>
              <a:custGeom>
                <a:avLst/>
                <a:gdLst>
                  <a:gd name="T0" fmla="*/ 11 w 11"/>
                  <a:gd name="T1" fmla="*/ 2 h 3"/>
                  <a:gd name="T2" fmla="*/ 0 w 11"/>
                  <a:gd name="T3" fmla="*/ 0 h 3"/>
                  <a:gd name="T4" fmla="*/ 2 w 11"/>
                  <a:gd name="T5" fmla="*/ 3 h 3"/>
                  <a:gd name="T6" fmla="*/ 11 w 11"/>
                  <a:gd name="T7" fmla="*/ 2 h 3"/>
                </a:gdLst>
                <a:ahLst/>
                <a:cxnLst>
                  <a:cxn ang="0">
                    <a:pos x="T0" y="T1"/>
                  </a:cxn>
                  <a:cxn ang="0">
                    <a:pos x="T2" y="T3"/>
                  </a:cxn>
                  <a:cxn ang="0">
                    <a:pos x="T4" y="T5"/>
                  </a:cxn>
                  <a:cxn ang="0">
                    <a:pos x="T6" y="T7"/>
                  </a:cxn>
                </a:cxnLst>
                <a:rect l="0" t="0" r="r" b="b"/>
                <a:pathLst>
                  <a:path w="11" h="3">
                    <a:moveTo>
                      <a:pt x="11" y="2"/>
                    </a:moveTo>
                    <a:lnTo>
                      <a:pt x="0" y="0"/>
                    </a:lnTo>
                    <a:lnTo>
                      <a:pt x="2" y="3"/>
                    </a:lnTo>
                    <a:lnTo>
                      <a:pt x="11" y="2"/>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4" name="Freeform 79"/>
              <p:cNvSpPr>
                <a:spLocks/>
              </p:cNvSpPr>
              <p:nvPr/>
            </p:nvSpPr>
            <p:spPr bwMode="auto">
              <a:xfrm>
                <a:off x="2002" y="334"/>
                <a:ext cx="30" cy="19"/>
              </a:xfrm>
              <a:custGeom>
                <a:avLst/>
                <a:gdLst>
                  <a:gd name="T0" fmla="*/ 21 w 30"/>
                  <a:gd name="T1" fmla="*/ 10 h 19"/>
                  <a:gd name="T2" fmla="*/ 26 w 30"/>
                  <a:gd name="T3" fmla="*/ 7 h 19"/>
                  <a:gd name="T4" fmla="*/ 15 w 30"/>
                  <a:gd name="T5" fmla="*/ 3 h 19"/>
                  <a:gd name="T6" fmla="*/ 24 w 30"/>
                  <a:gd name="T7" fmla="*/ 5 h 19"/>
                  <a:gd name="T8" fmla="*/ 22 w 30"/>
                  <a:gd name="T9" fmla="*/ 0 h 19"/>
                  <a:gd name="T10" fmla="*/ 0 w 30"/>
                  <a:gd name="T11" fmla="*/ 6 h 19"/>
                  <a:gd name="T12" fmla="*/ 8 w 30"/>
                  <a:gd name="T13" fmla="*/ 7 h 19"/>
                  <a:gd name="T14" fmla="*/ 4 w 30"/>
                  <a:gd name="T15" fmla="*/ 10 h 19"/>
                  <a:gd name="T16" fmla="*/ 8 w 30"/>
                  <a:gd name="T17" fmla="*/ 15 h 19"/>
                  <a:gd name="T18" fmla="*/ 14 w 30"/>
                  <a:gd name="T19" fmla="*/ 15 h 19"/>
                  <a:gd name="T20" fmla="*/ 9 w 30"/>
                  <a:gd name="T21" fmla="*/ 9 h 19"/>
                  <a:gd name="T22" fmla="*/ 14 w 30"/>
                  <a:gd name="T23" fmla="*/ 8 h 19"/>
                  <a:gd name="T24" fmla="*/ 30 w 30"/>
                  <a:gd name="T25" fmla="*/ 19 h 19"/>
                  <a:gd name="T26" fmla="*/ 27 w 30"/>
                  <a:gd name="T27" fmla="*/ 12 h 19"/>
                  <a:gd name="T28" fmla="*/ 21 w 30"/>
                  <a:gd name="T29" fmla="*/ 1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19">
                    <a:moveTo>
                      <a:pt x="21" y="10"/>
                    </a:moveTo>
                    <a:lnTo>
                      <a:pt x="26" y="7"/>
                    </a:lnTo>
                    <a:lnTo>
                      <a:pt x="15" y="3"/>
                    </a:lnTo>
                    <a:lnTo>
                      <a:pt x="24" y="5"/>
                    </a:lnTo>
                    <a:lnTo>
                      <a:pt x="22" y="0"/>
                    </a:lnTo>
                    <a:lnTo>
                      <a:pt x="0" y="6"/>
                    </a:lnTo>
                    <a:lnTo>
                      <a:pt x="8" y="7"/>
                    </a:lnTo>
                    <a:lnTo>
                      <a:pt x="4" y="10"/>
                    </a:lnTo>
                    <a:lnTo>
                      <a:pt x="8" y="15"/>
                    </a:lnTo>
                    <a:lnTo>
                      <a:pt x="14" y="15"/>
                    </a:lnTo>
                    <a:lnTo>
                      <a:pt x="9" y="9"/>
                    </a:lnTo>
                    <a:lnTo>
                      <a:pt x="14" y="8"/>
                    </a:lnTo>
                    <a:lnTo>
                      <a:pt x="30" y="19"/>
                    </a:lnTo>
                    <a:lnTo>
                      <a:pt x="27" y="12"/>
                    </a:lnTo>
                    <a:lnTo>
                      <a:pt x="21" y="1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5" name="Freeform 80"/>
              <p:cNvSpPr>
                <a:spLocks/>
              </p:cNvSpPr>
              <p:nvPr/>
            </p:nvSpPr>
            <p:spPr bwMode="auto">
              <a:xfrm>
                <a:off x="2029" y="334"/>
                <a:ext cx="15" cy="8"/>
              </a:xfrm>
              <a:custGeom>
                <a:avLst/>
                <a:gdLst>
                  <a:gd name="T0" fmla="*/ 0 w 15"/>
                  <a:gd name="T1" fmla="*/ 2 h 8"/>
                  <a:gd name="T2" fmla="*/ 1 w 15"/>
                  <a:gd name="T3" fmla="*/ 7 h 8"/>
                  <a:gd name="T4" fmla="*/ 7 w 15"/>
                  <a:gd name="T5" fmla="*/ 8 h 8"/>
                  <a:gd name="T6" fmla="*/ 15 w 15"/>
                  <a:gd name="T7" fmla="*/ 7 h 8"/>
                  <a:gd name="T8" fmla="*/ 14 w 15"/>
                  <a:gd name="T9" fmla="*/ 0 h 8"/>
                  <a:gd name="T10" fmla="*/ 0 w 15"/>
                  <a:gd name="T11" fmla="*/ 2 h 8"/>
                </a:gdLst>
                <a:ahLst/>
                <a:cxnLst>
                  <a:cxn ang="0">
                    <a:pos x="T0" y="T1"/>
                  </a:cxn>
                  <a:cxn ang="0">
                    <a:pos x="T2" y="T3"/>
                  </a:cxn>
                  <a:cxn ang="0">
                    <a:pos x="T4" y="T5"/>
                  </a:cxn>
                  <a:cxn ang="0">
                    <a:pos x="T6" y="T7"/>
                  </a:cxn>
                  <a:cxn ang="0">
                    <a:pos x="T8" y="T9"/>
                  </a:cxn>
                  <a:cxn ang="0">
                    <a:pos x="T10" y="T11"/>
                  </a:cxn>
                </a:cxnLst>
                <a:rect l="0" t="0" r="r" b="b"/>
                <a:pathLst>
                  <a:path w="15" h="8">
                    <a:moveTo>
                      <a:pt x="0" y="2"/>
                    </a:moveTo>
                    <a:lnTo>
                      <a:pt x="1" y="7"/>
                    </a:lnTo>
                    <a:lnTo>
                      <a:pt x="7" y="8"/>
                    </a:lnTo>
                    <a:lnTo>
                      <a:pt x="15" y="7"/>
                    </a:lnTo>
                    <a:lnTo>
                      <a:pt x="14" y="0"/>
                    </a:lnTo>
                    <a:lnTo>
                      <a:pt x="0" y="2"/>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6" name="Freeform 81"/>
              <p:cNvSpPr>
                <a:spLocks/>
              </p:cNvSpPr>
              <p:nvPr/>
            </p:nvSpPr>
            <p:spPr bwMode="auto">
              <a:xfrm>
                <a:off x="2121" y="-804"/>
                <a:ext cx="14" cy="11"/>
              </a:xfrm>
              <a:custGeom>
                <a:avLst/>
                <a:gdLst>
                  <a:gd name="T0" fmla="*/ 11 w 14"/>
                  <a:gd name="T1" fmla="*/ 9 h 11"/>
                  <a:gd name="T2" fmla="*/ 14 w 14"/>
                  <a:gd name="T3" fmla="*/ 0 h 11"/>
                  <a:gd name="T4" fmla="*/ 3 w 14"/>
                  <a:gd name="T5" fmla="*/ 0 h 11"/>
                  <a:gd name="T6" fmla="*/ 6 w 14"/>
                  <a:gd name="T7" fmla="*/ 6 h 11"/>
                  <a:gd name="T8" fmla="*/ 0 w 14"/>
                  <a:gd name="T9" fmla="*/ 11 h 11"/>
                  <a:gd name="T10" fmla="*/ 11 w 14"/>
                  <a:gd name="T11" fmla="*/ 9 h 11"/>
                </a:gdLst>
                <a:ahLst/>
                <a:cxnLst>
                  <a:cxn ang="0">
                    <a:pos x="T0" y="T1"/>
                  </a:cxn>
                  <a:cxn ang="0">
                    <a:pos x="T2" y="T3"/>
                  </a:cxn>
                  <a:cxn ang="0">
                    <a:pos x="T4" y="T5"/>
                  </a:cxn>
                  <a:cxn ang="0">
                    <a:pos x="T6" y="T7"/>
                  </a:cxn>
                  <a:cxn ang="0">
                    <a:pos x="T8" y="T9"/>
                  </a:cxn>
                  <a:cxn ang="0">
                    <a:pos x="T10" y="T11"/>
                  </a:cxn>
                </a:cxnLst>
                <a:rect l="0" t="0" r="r" b="b"/>
                <a:pathLst>
                  <a:path w="14" h="11">
                    <a:moveTo>
                      <a:pt x="11" y="9"/>
                    </a:moveTo>
                    <a:lnTo>
                      <a:pt x="14" y="0"/>
                    </a:lnTo>
                    <a:lnTo>
                      <a:pt x="3" y="0"/>
                    </a:lnTo>
                    <a:lnTo>
                      <a:pt x="6" y="6"/>
                    </a:lnTo>
                    <a:lnTo>
                      <a:pt x="0" y="11"/>
                    </a:lnTo>
                    <a:lnTo>
                      <a:pt x="11" y="9"/>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7" name="Freeform 82"/>
              <p:cNvSpPr>
                <a:spLocks/>
              </p:cNvSpPr>
              <p:nvPr/>
            </p:nvSpPr>
            <p:spPr bwMode="auto">
              <a:xfrm>
                <a:off x="2084" y="-810"/>
                <a:ext cx="9" cy="5"/>
              </a:xfrm>
              <a:custGeom>
                <a:avLst/>
                <a:gdLst>
                  <a:gd name="T0" fmla="*/ 6 w 9"/>
                  <a:gd name="T1" fmla="*/ 5 h 5"/>
                  <a:gd name="T2" fmla="*/ 9 w 9"/>
                  <a:gd name="T3" fmla="*/ 2 h 5"/>
                  <a:gd name="T4" fmla="*/ 6 w 9"/>
                  <a:gd name="T5" fmla="*/ 0 h 5"/>
                  <a:gd name="T6" fmla="*/ 0 w 9"/>
                  <a:gd name="T7" fmla="*/ 2 h 5"/>
                  <a:gd name="T8" fmla="*/ 6 w 9"/>
                  <a:gd name="T9" fmla="*/ 5 h 5"/>
                </a:gdLst>
                <a:ahLst/>
                <a:cxnLst>
                  <a:cxn ang="0">
                    <a:pos x="T0" y="T1"/>
                  </a:cxn>
                  <a:cxn ang="0">
                    <a:pos x="T2" y="T3"/>
                  </a:cxn>
                  <a:cxn ang="0">
                    <a:pos x="T4" y="T5"/>
                  </a:cxn>
                  <a:cxn ang="0">
                    <a:pos x="T6" y="T7"/>
                  </a:cxn>
                  <a:cxn ang="0">
                    <a:pos x="T8" y="T9"/>
                  </a:cxn>
                </a:cxnLst>
                <a:rect l="0" t="0" r="r" b="b"/>
                <a:pathLst>
                  <a:path w="9" h="5">
                    <a:moveTo>
                      <a:pt x="6" y="5"/>
                    </a:moveTo>
                    <a:lnTo>
                      <a:pt x="9" y="2"/>
                    </a:lnTo>
                    <a:lnTo>
                      <a:pt x="6" y="0"/>
                    </a:lnTo>
                    <a:lnTo>
                      <a:pt x="0" y="2"/>
                    </a:lnTo>
                    <a:lnTo>
                      <a:pt x="6" y="5"/>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8" name="Freeform 83"/>
              <p:cNvSpPr>
                <a:spLocks/>
              </p:cNvSpPr>
              <p:nvPr/>
            </p:nvSpPr>
            <p:spPr bwMode="auto">
              <a:xfrm>
                <a:off x="1133" y="-1523"/>
                <a:ext cx="74" cy="59"/>
              </a:xfrm>
              <a:custGeom>
                <a:avLst/>
                <a:gdLst>
                  <a:gd name="T0" fmla="*/ 70 w 74"/>
                  <a:gd name="T1" fmla="*/ 59 h 59"/>
                  <a:gd name="T2" fmla="*/ 74 w 74"/>
                  <a:gd name="T3" fmla="*/ 55 h 59"/>
                  <a:gd name="T4" fmla="*/ 67 w 74"/>
                  <a:gd name="T5" fmla="*/ 42 h 59"/>
                  <a:gd name="T6" fmla="*/ 53 w 74"/>
                  <a:gd name="T7" fmla="*/ 32 h 59"/>
                  <a:gd name="T8" fmla="*/ 40 w 74"/>
                  <a:gd name="T9" fmla="*/ 13 h 59"/>
                  <a:gd name="T10" fmla="*/ 5 w 74"/>
                  <a:gd name="T11" fmla="*/ 0 h 59"/>
                  <a:gd name="T12" fmla="*/ 0 w 74"/>
                  <a:gd name="T13" fmla="*/ 5 h 59"/>
                  <a:gd name="T14" fmla="*/ 12 w 74"/>
                  <a:gd name="T15" fmla="*/ 7 h 59"/>
                  <a:gd name="T16" fmla="*/ 12 w 74"/>
                  <a:gd name="T17" fmla="*/ 12 h 59"/>
                  <a:gd name="T18" fmla="*/ 7 w 74"/>
                  <a:gd name="T19" fmla="*/ 10 h 59"/>
                  <a:gd name="T20" fmla="*/ 7 w 74"/>
                  <a:gd name="T21" fmla="*/ 19 h 59"/>
                  <a:gd name="T22" fmla="*/ 15 w 74"/>
                  <a:gd name="T23" fmla="*/ 19 h 59"/>
                  <a:gd name="T24" fmla="*/ 15 w 74"/>
                  <a:gd name="T25" fmla="*/ 16 h 59"/>
                  <a:gd name="T26" fmla="*/ 19 w 74"/>
                  <a:gd name="T27" fmla="*/ 25 h 59"/>
                  <a:gd name="T28" fmla="*/ 34 w 74"/>
                  <a:gd name="T29" fmla="*/ 29 h 59"/>
                  <a:gd name="T30" fmla="*/ 27 w 74"/>
                  <a:gd name="T31" fmla="*/ 31 h 59"/>
                  <a:gd name="T32" fmla="*/ 28 w 74"/>
                  <a:gd name="T33" fmla="*/ 34 h 59"/>
                  <a:gd name="T34" fmla="*/ 38 w 74"/>
                  <a:gd name="T35" fmla="*/ 38 h 59"/>
                  <a:gd name="T36" fmla="*/ 42 w 74"/>
                  <a:gd name="T37" fmla="*/ 42 h 59"/>
                  <a:gd name="T38" fmla="*/ 38 w 74"/>
                  <a:gd name="T39" fmla="*/ 42 h 59"/>
                  <a:gd name="T40" fmla="*/ 41 w 74"/>
                  <a:gd name="T41" fmla="*/ 45 h 59"/>
                  <a:gd name="T42" fmla="*/ 51 w 74"/>
                  <a:gd name="T43" fmla="*/ 44 h 59"/>
                  <a:gd name="T44" fmla="*/ 48 w 74"/>
                  <a:gd name="T45" fmla="*/ 48 h 59"/>
                  <a:gd name="T46" fmla="*/ 52 w 74"/>
                  <a:gd name="T47" fmla="*/ 51 h 59"/>
                  <a:gd name="T48" fmla="*/ 54 w 74"/>
                  <a:gd name="T49" fmla="*/ 48 h 59"/>
                  <a:gd name="T50" fmla="*/ 53 w 74"/>
                  <a:gd name="T51" fmla="*/ 52 h 59"/>
                  <a:gd name="T52" fmla="*/ 70 w 74"/>
                  <a:gd name="T53"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4" h="59">
                    <a:moveTo>
                      <a:pt x="70" y="59"/>
                    </a:moveTo>
                    <a:lnTo>
                      <a:pt x="74" y="55"/>
                    </a:lnTo>
                    <a:lnTo>
                      <a:pt x="67" y="42"/>
                    </a:lnTo>
                    <a:lnTo>
                      <a:pt x="53" y="32"/>
                    </a:lnTo>
                    <a:lnTo>
                      <a:pt x="40" y="13"/>
                    </a:lnTo>
                    <a:lnTo>
                      <a:pt x="5" y="0"/>
                    </a:lnTo>
                    <a:lnTo>
                      <a:pt x="0" y="5"/>
                    </a:lnTo>
                    <a:lnTo>
                      <a:pt x="12" y="7"/>
                    </a:lnTo>
                    <a:lnTo>
                      <a:pt x="12" y="12"/>
                    </a:lnTo>
                    <a:lnTo>
                      <a:pt x="7" y="10"/>
                    </a:lnTo>
                    <a:lnTo>
                      <a:pt x="7" y="19"/>
                    </a:lnTo>
                    <a:lnTo>
                      <a:pt x="15" y="19"/>
                    </a:lnTo>
                    <a:lnTo>
                      <a:pt x="15" y="16"/>
                    </a:lnTo>
                    <a:lnTo>
                      <a:pt x="19" y="25"/>
                    </a:lnTo>
                    <a:lnTo>
                      <a:pt x="34" y="29"/>
                    </a:lnTo>
                    <a:lnTo>
                      <a:pt x="27" y="31"/>
                    </a:lnTo>
                    <a:lnTo>
                      <a:pt x="28" y="34"/>
                    </a:lnTo>
                    <a:lnTo>
                      <a:pt x="38" y="38"/>
                    </a:lnTo>
                    <a:lnTo>
                      <a:pt x="42" y="42"/>
                    </a:lnTo>
                    <a:lnTo>
                      <a:pt x="38" y="42"/>
                    </a:lnTo>
                    <a:lnTo>
                      <a:pt x="41" y="45"/>
                    </a:lnTo>
                    <a:lnTo>
                      <a:pt x="51" y="44"/>
                    </a:lnTo>
                    <a:lnTo>
                      <a:pt x="48" y="48"/>
                    </a:lnTo>
                    <a:lnTo>
                      <a:pt x="52" y="51"/>
                    </a:lnTo>
                    <a:lnTo>
                      <a:pt x="54" y="48"/>
                    </a:lnTo>
                    <a:lnTo>
                      <a:pt x="53" y="52"/>
                    </a:lnTo>
                    <a:lnTo>
                      <a:pt x="70" y="59"/>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9" name="Freeform 84"/>
              <p:cNvSpPr>
                <a:spLocks/>
              </p:cNvSpPr>
              <p:nvPr/>
            </p:nvSpPr>
            <p:spPr bwMode="auto">
              <a:xfrm>
                <a:off x="1105" y="-1595"/>
                <a:ext cx="11" cy="16"/>
              </a:xfrm>
              <a:custGeom>
                <a:avLst/>
                <a:gdLst>
                  <a:gd name="T0" fmla="*/ 0 w 11"/>
                  <a:gd name="T1" fmla="*/ 0 h 16"/>
                  <a:gd name="T2" fmla="*/ 10 w 11"/>
                  <a:gd name="T3" fmla="*/ 16 h 16"/>
                  <a:gd name="T4" fmla="*/ 11 w 11"/>
                  <a:gd name="T5" fmla="*/ 10 h 16"/>
                  <a:gd name="T6" fmla="*/ 5 w 11"/>
                  <a:gd name="T7" fmla="*/ 4 h 16"/>
                  <a:gd name="T8" fmla="*/ 0 w 11"/>
                  <a:gd name="T9" fmla="*/ 0 h 16"/>
                </a:gdLst>
                <a:ahLst/>
                <a:cxnLst>
                  <a:cxn ang="0">
                    <a:pos x="T0" y="T1"/>
                  </a:cxn>
                  <a:cxn ang="0">
                    <a:pos x="T2" y="T3"/>
                  </a:cxn>
                  <a:cxn ang="0">
                    <a:pos x="T4" y="T5"/>
                  </a:cxn>
                  <a:cxn ang="0">
                    <a:pos x="T6" y="T7"/>
                  </a:cxn>
                  <a:cxn ang="0">
                    <a:pos x="T8" y="T9"/>
                  </a:cxn>
                </a:cxnLst>
                <a:rect l="0" t="0" r="r" b="b"/>
                <a:pathLst>
                  <a:path w="11" h="16">
                    <a:moveTo>
                      <a:pt x="0" y="0"/>
                    </a:moveTo>
                    <a:lnTo>
                      <a:pt x="10" y="16"/>
                    </a:lnTo>
                    <a:lnTo>
                      <a:pt x="11" y="10"/>
                    </a:lnTo>
                    <a:lnTo>
                      <a:pt x="5" y="4"/>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0" name="Freeform 85"/>
              <p:cNvSpPr>
                <a:spLocks/>
              </p:cNvSpPr>
              <p:nvPr/>
            </p:nvSpPr>
            <p:spPr bwMode="auto">
              <a:xfrm>
                <a:off x="1101" y="-1591"/>
                <a:ext cx="9" cy="12"/>
              </a:xfrm>
              <a:custGeom>
                <a:avLst/>
                <a:gdLst>
                  <a:gd name="T0" fmla="*/ 0 w 9"/>
                  <a:gd name="T1" fmla="*/ 0 h 12"/>
                  <a:gd name="T2" fmla="*/ 9 w 9"/>
                  <a:gd name="T3" fmla="*/ 12 h 12"/>
                  <a:gd name="T4" fmla="*/ 8 w 9"/>
                  <a:gd name="T5" fmla="*/ 4 h 12"/>
                  <a:gd name="T6" fmla="*/ 0 w 9"/>
                  <a:gd name="T7" fmla="*/ 0 h 12"/>
                </a:gdLst>
                <a:ahLst/>
                <a:cxnLst>
                  <a:cxn ang="0">
                    <a:pos x="T0" y="T1"/>
                  </a:cxn>
                  <a:cxn ang="0">
                    <a:pos x="T2" y="T3"/>
                  </a:cxn>
                  <a:cxn ang="0">
                    <a:pos x="T4" y="T5"/>
                  </a:cxn>
                  <a:cxn ang="0">
                    <a:pos x="T6" y="T7"/>
                  </a:cxn>
                </a:cxnLst>
                <a:rect l="0" t="0" r="r" b="b"/>
                <a:pathLst>
                  <a:path w="9" h="12">
                    <a:moveTo>
                      <a:pt x="0" y="0"/>
                    </a:moveTo>
                    <a:lnTo>
                      <a:pt x="9" y="12"/>
                    </a:lnTo>
                    <a:lnTo>
                      <a:pt x="8" y="4"/>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1" name="Freeform 86"/>
              <p:cNvSpPr>
                <a:spLocks/>
              </p:cNvSpPr>
              <p:nvPr/>
            </p:nvSpPr>
            <p:spPr bwMode="auto">
              <a:xfrm>
                <a:off x="1099" y="-1601"/>
                <a:ext cx="6" cy="4"/>
              </a:xfrm>
              <a:custGeom>
                <a:avLst/>
                <a:gdLst>
                  <a:gd name="T0" fmla="*/ 3 w 6"/>
                  <a:gd name="T1" fmla="*/ 0 h 4"/>
                  <a:gd name="T2" fmla="*/ 0 w 6"/>
                  <a:gd name="T3" fmla="*/ 3 h 4"/>
                  <a:gd name="T4" fmla="*/ 6 w 6"/>
                  <a:gd name="T5" fmla="*/ 4 h 4"/>
                  <a:gd name="T6" fmla="*/ 3 w 6"/>
                  <a:gd name="T7" fmla="*/ 0 h 4"/>
                </a:gdLst>
                <a:ahLst/>
                <a:cxnLst>
                  <a:cxn ang="0">
                    <a:pos x="T0" y="T1"/>
                  </a:cxn>
                  <a:cxn ang="0">
                    <a:pos x="T2" y="T3"/>
                  </a:cxn>
                  <a:cxn ang="0">
                    <a:pos x="T4" y="T5"/>
                  </a:cxn>
                  <a:cxn ang="0">
                    <a:pos x="T6" y="T7"/>
                  </a:cxn>
                </a:cxnLst>
                <a:rect l="0" t="0" r="r" b="b"/>
                <a:pathLst>
                  <a:path w="6" h="4">
                    <a:moveTo>
                      <a:pt x="3" y="0"/>
                    </a:moveTo>
                    <a:lnTo>
                      <a:pt x="0" y="3"/>
                    </a:lnTo>
                    <a:lnTo>
                      <a:pt x="6" y="4"/>
                    </a:lnTo>
                    <a:lnTo>
                      <a:pt x="3"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2" name="Freeform 87"/>
              <p:cNvSpPr>
                <a:spLocks/>
              </p:cNvSpPr>
              <p:nvPr/>
            </p:nvSpPr>
            <p:spPr bwMode="auto">
              <a:xfrm>
                <a:off x="1073" y="-1580"/>
                <a:ext cx="16" cy="27"/>
              </a:xfrm>
              <a:custGeom>
                <a:avLst/>
                <a:gdLst>
                  <a:gd name="T0" fmla="*/ 7 w 16"/>
                  <a:gd name="T1" fmla="*/ 8 h 27"/>
                  <a:gd name="T2" fmla="*/ 10 w 16"/>
                  <a:gd name="T3" fmla="*/ 7 h 27"/>
                  <a:gd name="T4" fmla="*/ 7 w 16"/>
                  <a:gd name="T5" fmla="*/ 5 h 27"/>
                  <a:gd name="T6" fmla="*/ 10 w 16"/>
                  <a:gd name="T7" fmla="*/ 4 h 27"/>
                  <a:gd name="T8" fmla="*/ 8 w 16"/>
                  <a:gd name="T9" fmla="*/ 0 h 27"/>
                  <a:gd name="T10" fmla="*/ 0 w 16"/>
                  <a:gd name="T11" fmla="*/ 5 h 27"/>
                  <a:gd name="T12" fmla="*/ 2 w 16"/>
                  <a:gd name="T13" fmla="*/ 5 h 27"/>
                  <a:gd name="T14" fmla="*/ 2 w 16"/>
                  <a:gd name="T15" fmla="*/ 10 h 27"/>
                  <a:gd name="T16" fmla="*/ 3 w 16"/>
                  <a:gd name="T17" fmla="*/ 7 h 27"/>
                  <a:gd name="T18" fmla="*/ 3 w 16"/>
                  <a:gd name="T19" fmla="*/ 13 h 27"/>
                  <a:gd name="T20" fmla="*/ 16 w 16"/>
                  <a:gd name="T21" fmla="*/ 27 h 27"/>
                  <a:gd name="T22" fmla="*/ 7 w 16"/>
                  <a:gd name="T23" fmla="*/ 13 h 27"/>
                  <a:gd name="T24" fmla="*/ 7 w 16"/>
                  <a:gd name="T25" fmla="*/ 8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7">
                    <a:moveTo>
                      <a:pt x="7" y="8"/>
                    </a:moveTo>
                    <a:lnTo>
                      <a:pt x="10" y="7"/>
                    </a:lnTo>
                    <a:lnTo>
                      <a:pt x="7" y="5"/>
                    </a:lnTo>
                    <a:lnTo>
                      <a:pt x="10" y="4"/>
                    </a:lnTo>
                    <a:lnTo>
                      <a:pt x="8" y="0"/>
                    </a:lnTo>
                    <a:lnTo>
                      <a:pt x="0" y="5"/>
                    </a:lnTo>
                    <a:lnTo>
                      <a:pt x="2" y="5"/>
                    </a:lnTo>
                    <a:lnTo>
                      <a:pt x="2" y="10"/>
                    </a:lnTo>
                    <a:lnTo>
                      <a:pt x="3" y="7"/>
                    </a:lnTo>
                    <a:lnTo>
                      <a:pt x="3" y="13"/>
                    </a:lnTo>
                    <a:lnTo>
                      <a:pt x="16" y="27"/>
                    </a:lnTo>
                    <a:lnTo>
                      <a:pt x="7" y="13"/>
                    </a:lnTo>
                    <a:lnTo>
                      <a:pt x="7" y="8"/>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3" name="Freeform 88"/>
              <p:cNvSpPr>
                <a:spLocks/>
              </p:cNvSpPr>
              <p:nvPr/>
            </p:nvSpPr>
            <p:spPr bwMode="auto">
              <a:xfrm>
                <a:off x="1062" y="-1602"/>
                <a:ext cx="21" cy="26"/>
              </a:xfrm>
              <a:custGeom>
                <a:avLst/>
                <a:gdLst>
                  <a:gd name="T0" fmla="*/ 11 w 21"/>
                  <a:gd name="T1" fmla="*/ 26 h 26"/>
                  <a:gd name="T2" fmla="*/ 18 w 21"/>
                  <a:gd name="T3" fmla="*/ 19 h 26"/>
                  <a:gd name="T4" fmla="*/ 21 w 21"/>
                  <a:gd name="T5" fmla="*/ 3 h 26"/>
                  <a:gd name="T6" fmla="*/ 20 w 21"/>
                  <a:gd name="T7" fmla="*/ 0 h 26"/>
                  <a:gd name="T8" fmla="*/ 17 w 21"/>
                  <a:gd name="T9" fmla="*/ 2 h 26"/>
                  <a:gd name="T10" fmla="*/ 12 w 21"/>
                  <a:gd name="T11" fmla="*/ 13 h 26"/>
                  <a:gd name="T12" fmla="*/ 7 w 21"/>
                  <a:gd name="T13" fmla="*/ 11 h 26"/>
                  <a:gd name="T14" fmla="*/ 13 w 21"/>
                  <a:gd name="T15" fmla="*/ 8 h 26"/>
                  <a:gd name="T16" fmla="*/ 12 w 21"/>
                  <a:gd name="T17" fmla="*/ 0 h 26"/>
                  <a:gd name="T18" fmla="*/ 7 w 21"/>
                  <a:gd name="T19" fmla="*/ 4 h 26"/>
                  <a:gd name="T20" fmla="*/ 7 w 21"/>
                  <a:gd name="T21" fmla="*/ 0 h 26"/>
                  <a:gd name="T22" fmla="*/ 0 w 21"/>
                  <a:gd name="T23" fmla="*/ 0 h 26"/>
                  <a:gd name="T24" fmla="*/ 0 w 21"/>
                  <a:gd name="T25" fmla="*/ 4 h 26"/>
                  <a:gd name="T26" fmla="*/ 4 w 21"/>
                  <a:gd name="T27" fmla="*/ 13 h 26"/>
                  <a:gd name="T28" fmla="*/ 11 w 21"/>
                  <a:gd name="T29" fmla="*/ 16 h 26"/>
                  <a:gd name="T30" fmla="*/ 9 w 21"/>
                  <a:gd name="T31" fmla="*/ 19 h 26"/>
                  <a:gd name="T32" fmla="*/ 11 w 21"/>
                  <a:gd name="T33"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 h="26">
                    <a:moveTo>
                      <a:pt x="11" y="26"/>
                    </a:moveTo>
                    <a:lnTo>
                      <a:pt x="18" y="19"/>
                    </a:lnTo>
                    <a:lnTo>
                      <a:pt x="21" y="3"/>
                    </a:lnTo>
                    <a:lnTo>
                      <a:pt x="20" y="0"/>
                    </a:lnTo>
                    <a:lnTo>
                      <a:pt x="17" y="2"/>
                    </a:lnTo>
                    <a:lnTo>
                      <a:pt x="12" y="13"/>
                    </a:lnTo>
                    <a:lnTo>
                      <a:pt x="7" y="11"/>
                    </a:lnTo>
                    <a:lnTo>
                      <a:pt x="13" y="8"/>
                    </a:lnTo>
                    <a:lnTo>
                      <a:pt x="12" y="0"/>
                    </a:lnTo>
                    <a:lnTo>
                      <a:pt x="7" y="4"/>
                    </a:lnTo>
                    <a:lnTo>
                      <a:pt x="7" y="0"/>
                    </a:lnTo>
                    <a:lnTo>
                      <a:pt x="0" y="0"/>
                    </a:lnTo>
                    <a:lnTo>
                      <a:pt x="0" y="4"/>
                    </a:lnTo>
                    <a:lnTo>
                      <a:pt x="4" y="13"/>
                    </a:lnTo>
                    <a:lnTo>
                      <a:pt x="11" y="16"/>
                    </a:lnTo>
                    <a:lnTo>
                      <a:pt x="9" y="19"/>
                    </a:lnTo>
                    <a:lnTo>
                      <a:pt x="11" y="26"/>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4" name="Freeform 89"/>
              <p:cNvSpPr>
                <a:spLocks/>
              </p:cNvSpPr>
              <p:nvPr/>
            </p:nvSpPr>
            <p:spPr bwMode="auto">
              <a:xfrm>
                <a:off x="1518" y="-2305"/>
                <a:ext cx="90" cy="130"/>
              </a:xfrm>
              <a:custGeom>
                <a:avLst/>
                <a:gdLst>
                  <a:gd name="T0" fmla="*/ 32 w 90"/>
                  <a:gd name="T1" fmla="*/ 90 h 130"/>
                  <a:gd name="T2" fmla="*/ 37 w 90"/>
                  <a:gd name="T3" fmla="*/ 101 h 130"/>
                  <a:gd name="T4" fmla="*/ 45 w 90"/>
                  <a:gd name="T5" fmla="*/ 109 h 130"/>
                  <a:gd name="T6" fmla="*/ 51 w 90"/>
                  <a:gd name="T7" fmla="*/ 128 h 130"/>
                  <a:gd name="T8" fmla="*/ 60 w 90"/>
                  <a:gd name="T9" fmla="*/ 130 h 130"/>
                  <a:gd name="T10" fmla="*/ 66 w 90"/>
                  <a:gd name="T11" fmla="*/ 122 h 130"/>
                  <a:gd name="T12" fmla="*/ 65 w 90"/>
                  <a:gd name="T13" fmla="*/ 114 h 130"/>
                  <a:gd name="T14" fmla="*/ 76 w 90"/>
                  <a:gd name="T15" fmla="*/ 115 h 130"/>
                  <a:gd name="T16" fmla="*/ 89 w 90"/>
                  <a:gd name="T17" fmla="*/ 103 h 130"/>
                  <a:gd name="T18" fmla="*/ 85 w 90"/>
                  <a:gd name="T19" fmla="*/ 80 h 130"/>
                  <a:gd name="T20" fmla="*/ 90 w 90"/>
                  <a:gd name="T21" fmla="*/ 73 h 130"/>
                  <a:gd name="T22" fmla="*/ 85 w 90"/>
                  <a:gd name="T23" fmla="*/ 59 h 130"/>
                  <a:gd name="T24" fmla="*/ 78 w 90"/>
                  <a:gd name="T25" fmla="*/ 65 h 130"/>
                  <a:gd name="T26" fmla="*/ 79 w 90"/>
                  <a:gd name="T27" fmla="*/ 59 h 130"/>
                  <a:gd name="T28" fmla="*/ 71 w 90"/>
                  <a:gd name="T29" fmla="*/ 46 h 130"/>
                  <a:gd name="T30" fmla="*/ 59 w 90"/>
                  <a:gd name="T31" fmla="*/ 52 h 130"/>
                  <a:gd name="T32" fmla="*/ 68 w 90"/>
                  <a:gd name="T33" fmla="*/ 34 h 130"/>
                  <a:gd name="T34" fmla="*/ 76 w 90"/>
                  <a:gd name="T35" fmla="*/ 30 h 130"/>
                  <a:gd name="T36" fmla="*/ 71 w 90"/>
                  <a:gd name="T37" fmla="*/ 20 h 130"/>
                  <a:gd name="T38" fmla="*/ 81 w 90"/>
                  <a:gd name="T39" fmla="*/ 7 h 130"/>
                  <a:gd name="T40" fmla="*/ 75 w 90"/>
                  <a:gd name="T41" fmla="*/ 0 h 130"/>
                  <a:gd name="T42" fmla="*/ 52 w 90"/>
                  <a:gd name="T43" fmla="*/ 9 h 130"/>
                  <a:gd name="T44" fmla="*/ 32 w 90"/>
                  <a:gd name="T45" fmla="*/ 0 h 130"/>
                  <a:gd name="T46" fmla="*/ 30 w 90"/>
                  <a:gd name="T47" fmla="*/ 2 h 130"/>
                  <a:gd name="T48" fmla="*/ 33 w 90"/>
                  <a:gd name="T49" fmla="*/ 9 h 130"/>
                  <a:gd name="T50" fmla="*/ 18 w 90"/>
                  <a:gd name="T51" fmla="*/ 11 h 130"/>
                  <a:gd name="T52" fmla="*/ 26 w 90"/>
                  <a:gd name="T53" fmla="*/ 18 h 130"/>
                  <a:gd name="T54" fmla="*/ 27 w 90"/>
                  <a:gd name="T55" fmla="*/ 25 h 130"/>
                  <a:gd name="T56" fmla="*/ 16 w 90"/>
                  <a:gd name="T57" fmla="*/ 24 h 130"/>
                  <a:gd name="T58" fmla="*/ 38 w 90"/>
                  <a:gd name="T59" fmla="*/ 38 h 130"/>
                  <a:gd name="T60" fmla="*/ 30 w 90"/>
                  <a:gd name="T61" fmla="*/ 38 h 130"/>
                  <a:gd name="T62" fmla="*/ 36 w 90"/>
                  <a:gd name="T63" fmla="*/ 51 h 130"/>
                  <a:gd name="T64" fmla="*/ 32 w 90"/>
                  <a:gd name="T65" fmla="*/ 53 h 130"/>
                  <a:gd name="T66" fmla="*/ 33 w 90"/>
                  <a:gd name="T67" fmla="*/ 59 h 130"/>
                  <a:gd name="T68" fmla="*/ 20 w 90"/>
                  <a:gd name="T69" fmla="*/ 65 h 130"/>
                  <a:gd name="T70" fmla="*/ 7 w 90"/>
                  <a:gd name="T71" fmla="*/ 47 h 130"/>
                  <a:gd name="T72" fmla="*/ 3 w 90"/>
                  <a:gd name="T73" fmla="*/ 51 h 130"/>
                  <a:gd name="T74" fmla="*/ 0 w 90"/>
                  <a:gd name="T75" fmla="*/ 60 h 130"/>
                  <a:gd name="T76" fmla="*/ 14 w 90"/>
                  <a:gd name="T77" fmla="*/ 86 h 130"/>
                  <a:gd name="T78" fmla="*/ 32 w 90"/>
                  <a:gd name="T79" fmla="*/ 9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0" h="130">
                    <a:moveTo>
                      <a:pt x="32" y="90"/>
                    </a:moveTo>
                    <a:lnTo>
                      <a:pt x="37" y="101"/>
                    </a:lnTo>
                    <a:lnTo>
                      <a:pt x="45" y="109"/>
                    </a:lnTo>
                    <a:lnTo>
                      <a:pt x="51" y="128"/>
                    </a:lnTo>
                    <a:lnTo>
                      <a:pt x="60" y="130"/>
                    </a:lnTo>
                    <a:lnTo>
                      <a:pt x="66" y="122"/>
                    </a:lnTo>
                    <a:lnTo>
                      <a:pt x="65" y="114"/>
                    </a:lnTo>
                    <a:lnTo>
                      <a:pt x="76" y="115"/>
                    </a:lnTo>
                    <a:lnTo>
                      <a:pt x="89" y="103"/>
                    </a:lnTo>
                    <a:lnTo>
                      <a:pt x="85" y="80"/>
                    </a:lnTo>
                    <a:lnTo>
                      <a:pt x="90" y="73"/>
                    </a:lnTo>
                    <a:lnTo>
                      <a:pt x="85" y="59"/>
                    </a:lnTo>
                    <a:lnTo>
                      <a:pt x="78" y="65"/>
                    </a:lnTo>
                    <a:lnTo>
                      <a:pt x="79" y="59"/>
                    </a:lnTo>
                    <a:lnTo>
                      <a:pt x="71" y="46"/>
                    </a:lnTo>
                    <a:lnTo>
                      <a:pt x="59" y="52"/>
                    </a:lnTo>
                    <a:lnTo>
                      <a:pt x="68" y="34"/>
                    </a:lnTo>
                    <a:lnTo>
                      <a:pt x="76" y="30"/>
                    </a:lnTo>
                    <a:lnTo>
                      <a:pt x="71" y="20"/>
                    </a:lnTo>
                    <a:lnTo>
                      <a:pt x="81" y="7"/>
                    </a:lnTo>
                    <a:lnTo>
                      <a:pt x="75" y="0"/>
                    </a:lnTo>
                    <a:lnTo>
                      <a:pt x="52" y="9"/>
                    </a:lnTo>
                    <a:lnTo>
                      <a:pt x="32" y="0"/>
                    </a:lnTo>
                    <a:lnTo>
                      <a:pt x="30" y="2"/>
                    </a:lnTo>
                    <a:lnTo>
                      <a:pt x="33" y="9"/>
                    </a:lnTo>
                    <a:lnTo>
                      <a:pt x="18" y="11"/>
                    </a:lnTo>
                    <a:lnTo>
                      <a:pt x="26" y="18"/>
                    </a:lnTo>
                    <a:lnTo>
                      <a:pt x="27" y="25"/>
                    </a:lnTo>
                    <a:lnTo>
                      <a:pt x="16" y="24"/>
                    </a:lnTo>
                    <a:lnTo>
                      <a:pt x="38" y="38"/>
                    </a:lnTo>
                    <a:lnTo>
                      <a:pt x="30" y="38"/>
                    </a:lnTo>
                    <a:lnTo>
                      <a:pt x="36" y="51"/>
                    </a:lnTo>
                    <a:lnTo>
                      <a:pt x="32" y="53"/>
                    </a:lnTo>
                    <a:lnTo>
                      <a:pt x="33" y="59"/>
                    </a:lnTo>
                    <a:lnTo>
                      <a:pt x="20" y="65"/>
                    </a:lnTo>
                    <a:lnTo>
                      <a:pt x="7" y="47"/>
                    </a:lnTo>
                    <a:lnTo>
                      <a:pt x="3" y="51"/>
                    </a:lnTo>
                    <a:lnTo>
                      <a:pt x="0" y="60"/>
                    </a:lnTo>
                    <a:lnTo>
                      <a:pt x="14" y="86"/>
                    </a:lnTo>
                    <a:lnTo>
                      <a:pt x="32" y="9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5" name="Freeform 90"/>
              <p:cNvSpPr>
                <a:spLocks/>
              </p:cNvSpPr>
              <p:nvPr/>
            </p:nvSpPr>
            <p:spPr bwMode="auto">
              <a:xfrm>
                <a:off x="2025" y="-1780"/>
                <a:ext cx="7" cy="8"/>
              </a:xfrm>
              <a:custGeom>
                <a:avLst/>
                <a:gdLst>
                  <a:gd name="T0" fmla="*/ 7 w 7"/>
                  <a:gd name="T1" fmla="*/ 4 h 8"/>
                  <a:gd name="T2" fmla="*/ 7 w 7"/>
                  <a:gd name="T3" fmla="*/ 0 h 8"/>
                  <a:gd name="T4" fmla="*/ 1 w 7"/>
                  <a:gd name="T5" fmla="*/ 3 h 8"/>
                  <a:gd name="T6" fmla="*/ 0 w 7"/>
                  <a:gd name="T7" fmla="*/ 8 h 8"/>
                  <a:gd name="T8" fmla="*/ 7 w 7"/>
                  <a:gd name="T9" fmla="*/ 4 h 8"/>
                </a:gdLst>
                <a:ahLst/>
                <a:cxnLst>
                  <a:cxn ang="0">
                    <a:pos x="T0" y="T1"/>
                  </a:cxn>
                  <a:cxn ang="0">
                    <a:pos x="T2" y="T3"/>
                  </a:cxn>
                  <a:cxn ang="0">
                    <a:pos x="T4" y="T5"/>
                  </a:cxn>
                  <a:cxn ang="0">
                    <a:pos x="T6" y="T7"/>
                  </a:cxn>
                  <a:cxn ang="0">
                    <a:pos x="T8" y="T9"/>
                  </a:cxn>
                </a:cxnLst>
                <a:rect l="0" t="0" r="r" b="b"/>
                <a:pathLst>
                  <a:path w="7" h="8">
                    <a:moveTo>
                      <a:pt x="7" y="4"/>
                    </a:moveTo>
                    <a:lnTo>
                      <a:pt x="7" y="0"/>
                    </a:lnTo>
                    <a:lnTo>
                      <a:pt x="1" y="3"/>
                    </a:lnTo>
                    <a:lnTo>
                      <a:pt x="0" y="8"/>
                    </a:lnTo>
                    <a:lnTo>
                      <a:pt x="7" y="4"/>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6" name="Freeform 91"/>
              <p:cNvSpPr>
                <a:spLocks/>
              </p:cNvSpPr>
              <p:nvPr/>
            </p:nvSpPr>
            <p:spPr bwMode="auto">
              <a:xfrm>
                <a:off x="1804" y="-1412"/>
                <a:ext cx="20" cy="8"/>
              </a:xfrm>
              <a:custGeom>
                <a:avLst/>
                <a:gdLst>
                  <a:gd name="T0" fmla="*/ 20 w 20"/>
                  <a:gd name="T1" fmla="*/ 6 h 8"/>
                  <a:gd name="T2" fmla="*/ 19 w 20"/>
                  <a:gd name="T3" fmla="*/ 0 h 8"/>
                  <a:gd name="T4" fmla="*/ 16 w 20"/>
                  <a:gd name="T5" fmla="*/ 1 h 8"/>
                  <a:gd name="T6" fmla="*/ 0 w 20"/>
                  <a:gd name="T7" fmla="*/ 1 h 8"/>
                  <a:gd name="T8" fmla="*/ 18 w 20"/>
                  <a:gd name="T9" fmla="*/ 8 h 8"/>
                  <a:gd name="T10" fmla="*/ 20 w 20"/>
                  <a:gd name="T11" fmla="*/ 6 h 8"/>
                </a:gdLst>
                <a:ahLst/>
                <a:cxnLst>
                  <a:cxn ang="0">
                    <a:pos x="T0" y="T1"/>
                  </a:cxn>
                  <a:cxn ang="0">
                    <a:pos x="T2" y="T3"/>
                  </a:cxn>
                  <a:cxn ang="0">
                    <a:pos x="T4" y="T5"/>
                  </a:cxn>
                  <a:cxn ang="0">
                    <a:pos x="T6" y="T7"/>
                  </a:cxn>
                  <a:cxn ang="0">
                    <a:pos x="T8" y="T9"/>
                  </a:cxn>
                  <a:cxn ang="0">
                    <a:pos x="T10" y="T11"/>
                  </a:cxn>
                </a:cxnLst>
                <a:rect l="0" t="0" r="r" b="b"/>
                <a:pathLst>
                  <a:path w="20" h="8">
                    <a:moveTo>
                      <a:pt x="20" y="6"/>
                    </a:moveTo>
                    <a:lnTo>
                      <a:pt x="19" y="0"/>
                    </a:lnTo>
                    <a:lnTo>
                      <a:pt x="16" y="1"/>
                    </a:lnTo>
                    <a:lnTo>
                      <a:pt x="0" y="1"/>
                    </a:lnTo>
                    <a:lnTo>
                      <a:pt x="18" y="8"/>
                    </a:lnTo>
                    <a:lnTo>
                      <a:pt x="20" y="6"/>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7" name="Freeform 92"/>
              <p:cNvSpPr>
                <a:spLocks/>
              </p:cNvSpPr>
              <p:nvPr/>
            </p:nvSpPr>
            <p:spPr bwMode="auto">
              <a:xfrm>
                <a:off x="1820" y="-1576"/>
                <a:ext cx="21" cy="10"/>
              </a:xfrm>
              <a:custGeom>
                <a:avLst/>
                <a:gdLst>
                  <a:gd name="T0" fmla="*/ 15 w 21"/>
                  <a:gd name="T1" fmla="*/ 0 h 10"/>
                  <a:gd name="T2" fmla="*/ 2 w 21"/>
                  <a:gd name="T3" fmla="*/ 0 h 10"/>
                  <a:gd name="T4" fmla="*/ 0 w 21"/>
                  <a:gd name="T5" fmla="*/ 3 h 10"/>
                  <a:gd name="T6" fmla="*/ 21 w 21"/>
                  <a:gd name="T7" fmla="*/ 10 h 10"/>
                  <a:gd name="T8" fmla="*/ 15 w 21"/>
                  <a:gd name="T9" fmla="*/ 0 h 10"/>
                </a:gdLst>
                <a:ahLst/>
                <a:cxnLst>
                  <a:cxn ang="0">
                    <a:pos x="T0" y="T1"/>
                  </a:cxn>
                  <a:cxn ang="0">
                    <a:pos x="T2" y="T3"/>
                  </a:cxn>
                  <a:cxn ang="0">
                    <a:pos x="T4" y="T5"/>
                  </a:cxn>
                  <a:cxn ang="0">
                    <a:pos x="T6" y="T7"/>
                  </a:cxn>
                  <a:cxn ang="0">
                    <a:pos x="T8" y="T9"/>
                  </a:cxn>
                </a:cxnLst>
                <a:rect l="0" t="0" r="r" b="b"/>
                <a:pathLst>
                  <a:path w="21" h="10">
                    <a:moveTo>
                      <a:pt x="15" y="0"/>
                    </a:moveTo>
                    <a:lnTo>
                      <a:pt x="2" y="0"/>
                    </a:lnTo>
                    <a:lnTo>
                      <a:pt x="0" y="3"/>
                    </a:lnTo>
                    <a:lnTo>
                      <a:pt x="21" y="10"/>
                    </a:lnTo>
                    <a:lnTo>
                      <a:pt x="15"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8" name="Freeform 93"/>
              <p:cNvSpPr>
                <a:spLocks/>
              </p:cNvSpPr>
              <p:nvPr/>
            </p:nvSpPr>
            <p:spPr bwMode="auto">
              <a:xfrm>
                <a:off x="1847" y="-1835"/>
                <a:ext cx="14" cy="24"/>
              </a:xfrm>
              <a:custGeom>
                <a:avLst/>
                <a:gdLst>
                  <a:gd name="T0" fmla="*/ 14 w 14"/>
                  <a:gd name="T1" fmla="*/ 2 h 24"/>
                  <a:gd name="T2" fmla="*/ 3 w 14"/>
                  <a:gd name="T3" fmla="*/ 0 h 24"/>
                  <a:gd name="T4" fmla="*/ 1 w 14"/>
                  <a:gd name="T5" fmla="*/ 3 h 24"/>
                  <a:gd name="T6" fmla="*/ 0 w 14"/>
                  <a:gd name="T7" fmla="*/ 18 h 24"/>
                  <a:gd name="T8" fmla="*/ 6 w 14"/>
                  <a:gd name="T9" fmla="*/ 24 h 24"/>
                  <a:gd name="T10" fmla="*/ 14 w 14"/>
                  <a:gd name="T11" fmla="*/ 2 h 24"/>
                </a:gdLst>
                <a:ahLst/>
                <a:cxnLst>
                  <a:cxn ang="0">
                    <a:pos x="T0" y="T1"/>
                  </a:cxn>
                  <a:cxn ang="0">
                    <a:pos x="T2" y="T3"/>
                  </a:cxn>
                  <a:cxn ang="0">
                    <a:pos x="T4" y="T5"/>
                  </a:cxn>
                  <a:cxn ang="0">
                    <a:pos x="T6" y="T7"/>
                  </a:cxn>
                  <a:cxn ang="0">
                    <a:pos x="T8" y="T9"/>
                  </a:cxn>
                  <a:cxn ang="0">
                    <a:pos x="T10" y="T11"/>
                  </a:cxn>
                </a:cxnLst>
                <a:rect l="0" t="0" r="r" b="b"/>
                <a:pathLst>
                  <a:path w="14" h="24">
                    <a:moveTo>
                      <a:pt x="14" y="2"/>
                    </a:moveTo>
                    <a:lnTo>
                      <a:pt x="3" y="0"/>
                    </a:lnTo>
                    <a:lnTo>
                      <a:pt x="1" y="3"/>
                    </a:lnTo>
                    <a:lnTo>
                      <a:pt x="0" y="18"/>
                    </a:lnTo>
                    <a:lnTo>
                      <a:pt x="6" y="24"/>
                    </a:lnTo>
                    <a:lnTo>
                      <a:pt x="14" y="2"/>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9" name="Freeform 94"/>
              <p:cNvSpPr>
                <a:spLocks/>
              </p:cNvSpPr>
              <p:nvPr/>
            </p:nvSpPr>
            <p:spPr bwMode="auto">
              <a:xfrm>
                <a:off x="1795" y="-1853"/>
                <a:ext cx="27" cy="26"/>
              </a:xfrm>
              <a:custGeom>
                <a:avLst/>
                <a:gdLst>
                  <a:gd name="T0" fmla="*/ 19 w 27"/>
                  <a:gd name="T1" fmla="*/ 0 h 26"/>
                  <a:gd name="T2" fmla="*/ 8 w 27"/>
                  <a:gd name="T3" fmla="*/ 6 h 26"/>
                  <a:gd name="T4" fmla="*/ 0 w 27"/>
                  <a:gd name="T5" fmla="*/ 26 h 26"/>
                  <a:gd name="T6" fmla="*/ 8 w 27"/>
                  <a:gd name="T7" fmla="*/ 23 h 26"/>
                  <a:gd name="T8" fmla="*/ 25 w 27"/>
                  <a:gd name="T9" fmla="*/ 7 h 26"/>
                  <a:gd name="T10" fmla="*/ 27 w 27"/>
                  <a:gd name="T11" fmla="*/ 1 h 26"/>
                  <a:gd name="T12" fmla="*/ 19 w 27"/>
                  <a:gd name="T13" fmla="*/ 0 h 26"/>
                </a:gdLst>
                <a:ahLst/>
                <a:cxnLst>
                  <a:cxn ang="0">
                    <a:pos x="T0" y="T1"/>
                  </a:cxn>
                  <a:cxn ang="0">
                    <a:pos x="T2" y="T3"/>
                  </a:cxn>
                  <a:cxn ang="0">
                    <a:pos x="T4" y="T5"/>
                  </a:cxn>
                  <a:cxn ang="0">
                    <a:pos x="T6" y="T7"/>
                  </a:cxn>
                  <a:cxn ang="0">
                    <a:pos x="T8" y="T9"/>
                  </a:cxn>
                  <a:cxn ang="0">
                    <a:pos x="T10" y="T11"/>
                  </a:cxn>
                  <a:cxn ang="0">
                    <a:pos x="T12" y="T13"/>
                  </a:cxn>
                </a:cxnLst>
                <a:rect l="0" t="0" r="r" b="b"/>
                <a:pathLst>
                  <a:path w="27" h="26">
                    <a:moveTo>
                      <a:pt x="19" y="0"/>
                    </a:moveTo>
                    <a:lnTo>
                      <a:pt x="8" y="6"/>
                    </a:lnTo>
                    <a:lnTo>
                      <a:pt x="0" y="26"/>
                    </a:lnTo>
                    <a:lnTo>
                      <a:pt x="8" y="23"/>
                    </a:lnTo>
                    <a:lnTo>
                      <a:pt x="25" y="7"/>
                    </a:lnTo>
                    <a:lnTo>
                      <a:pt x="27" y="1"/>
                    </a:lnTo>
                    <a:lnTo>
                      <a:pt x="19"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0" name="Freeform 95"/>
              <p:cNvSpPr>
                <a:spLocks/>
              </p:cNvSpPr>
              <p:nvPr/>
            </p:nvSpPr>
            <p:spPr bwMode="auto">
              <a:xfrm>
                <a:off x="2128" y="-1436"/>
                <a:ext cx="25" cy="30"/>
              </a:xfrm>
              <a:custGeom>
                <a:avLst/>
                <a:gdLst>
                  <a:gd name="T0" fmla="*/ 13 w 25"/>
                  <a:gd name="T1" fmla="*/ 0 h 30"/>
                  <a:gd name="T2" fmla="*/ 1 w 25"/>
                  <a:gd name="T3" fmla="*/ 19 h 30"/>
                  <a:gd name="T4" fmla="*/ 0 w 25"/>
                  <a:gd name="T5" fmla="*/ 26 h 30"/>
                  <a:gd name="T6" fmla="*/ 2 w 25"/>
                  <a:gd name="T7" fmla="*/ 30 h 30"/>
                  <a:gd name="T8" fmla="*/ 14 w 25"/>
                  <a:gd name="T9" fmla="*/ 30 h 30"/>
                  <a:gd name="T10" fmla="*/ 25 w 25"/>
                  <a:gd name="T11" fmla="*/ 23 h 30"/>
                  <a:gd name="T12" fmla="*/ 21 w 25"/>
                  <a:gd name="T13" fmla="*/ 16 h 30"/>
                  <a:gd name="T14" fmla="*/ 19 w 25"/>
                  <a:gd name="T15" fmla="*/ 20 h 30"/>
                  <a:gd name="T16" fmla="*/ 12 w 25"/>
                  <a:gd name="T17" fmla="*/ 20 h 30"/>
                  <a:gd name="T18" fmla="*/ 17 w 25"/>
                  <a:gd name="T19" fmla="*/ 4 h 30"/>
                  <a:gd name="T20" fmla="*/ 13 w 25"/>
                  <a:gd name="T2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30">
                    <a:moveTo>
                      <a:pt x="13" y="0"/>
                    </a:moveTo>
                    <a:lnTo>
                      <a:pt x="1" y="19"/>
                    </a:lnTo>
                    <a:lnTo>
                      <a:pt x="0" y="26"/>
                    </a:lnTo>
                    <a:lnTo>
                      <a:pt x="2" y="30"/>
                    </a:lnTo>
                    <a:lnTo>
                      <a:pt x="14" y="30"/>
                    </a:lnTo>
                    <a:lnTo>
                      <a:pt x="25" y="23"/>
                    </a:lnTo>
                    <a:lnTo>
                      <a:pt x="21" y="16"/>
                    </a:lnTo>
                    <a:lnTo>
                      <a:pt x="19" y="20"/>
                    </a:lnTo>
                    <a:lnTo>
                      <a:pt x="12" y="20"/>
                    </a:lnTo>
                    <a:lnTo>
                      <a:pt x="17" y="4"/>
                    </a:lnTo>
                    <a:lnTo>
                      <a:pt x="13"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1" name="Freeform 96"/>
              <p:cNvSpPr>
                <a:spLocks/>
              </p:cNvSpPr>
              <p:nvPr/>
            </p:nvSpPr>
            <p:spPr bwMode="auto">
              <a:xfrm>
                <a:off x="2068" y="-1814"/>
                <a:ext cx="10" cy="9"/>
              </a:xfrm>
              <a:custGeom>
                <a:avLst/>
                <a:gdLst>
                  <a:gd name="T0" fmla="*/ 0 w 10"/>
                  <a:gd name="T1" fmla="*/ 3 h 9"/>
                  <a:gd name="T2" fmla="*/ 9 w 10"/>
                  <a:gd name="T3" fmla="*/ 9 h 9"/>
                  <a:gd name="T4" fmla="*/ 10 w 10"/>
                  <a:gd name="T5" fmla="*/ 3 h 9"/>
                  <a:gd name="T6" fmla="*/ 6 w 10"/>
                  <a:gd name="T7" fmla="*/ 0 h 9"/>
                  <a:gd name="T8" fmla="*/ 0 w 10"/>
                  <a:gd name="T9" fmla="*/ 3 h 9"/>
                </a:gdLst>
                <a:ahLst/>
                <a:cxnLst>
                  <a:cxn ang="0">
                    <a:pos x="T0" y="T1"/>
                  </a:cxn>
                  <a:cxn ang="0">
                    <a:pos x="T2" y="T3"/>
                  </a:cxn>
                  <a:cxn ang="0">
                    <a:pos x="T4" y="T5"/>
                  </a:cxn>
                  <a:cxn ang="0">
                    <a:pos x="T6" y="T7"/>
                  </a:cxn>
                  <a:cxn ang="0">
                    <a:pos x="T8" y="T9"/>
                  </a:cxn>
                </a:cxnLst>
                <a:rect l="0" t="0" r="r" b="b"/>
                <a:pathLst>
                  <a:path w="10" h="9">
                    <a:moveTo>
                      <a:pt x="0" y="3"/>
                    </a:moveTo>
                    <a:lnTo>
                      <a:pt x="9" y="9"/>
                    </a:lnTo>
                    <a:lnTo>
                      <a:pt x="10" y="3"/>
                    </a:lnTo>
                    <a:lnTo>
                      <a:pt x="6" y="0"/>
                    </a:lnTo>
                    <a:lnTo>
                      <a:pt x="0" y="3"/>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2" name="Freeform 97"/>
              <p:cNvSpPr>
                <a:spLocks/>
              </p:cNvSpPr>
              <p:nvPr/>
            </p:nvSpPr>
            <p:spPr bwMode="auto">
              <a:xfrm>
                <a:off x="2083" y="-1501"/>
                <a:ext cx="40" cy="19"/>
              </a:xfrm>
              <a:custGeom>
                <a:avLst/>
                <a:gdLst>
                  <a:gd name="T0" fmla="*/ 38 w 40"/>
                  <a:gd name="T1" fmla="*/ 12 h 19"/>
                  <a:gd name="T2" fmla="*/ 28 w 40"/>
                  <a:gd name="T3" fmla="*/ 7 h 19"/>
                  <a:gd name="T4" fmla="*/ 7 w 40"/>
                  <a:gd name="T5" fmla="*/ 0 h 19"/>
                  <a:gd name="T6" fmla="*/ 0 w 40"/>
                  <a:gd name="T7" fmla="*/ 3 h 19"/>
                  <a:gd name="T8" fmla="*/ 13 w 40"/>
                  <a:gd name="T9" fmla="*/ 9 h 19"/>
                  <a:gd name="T10" fmla="*/ 15 w 40"/>
                  <a:gd name="T11" fmla="*/ 13 h 19"/>
                  <a:gd name="T12" fmla="*/ 32 w 40"/>
                  <a:gd name="T13" fmla="*/ 19 h 19"/>
                  <a:gd name="T14" fmla="*/ 40 w 40"/>
                  <a:gd name="T15" fmla="*/ 18 h 19"/>
                  <a:gd name="T16" fmla="*/ 38 w 40"/>
                  <a:gd name="T17" fmla="*/ 12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19">
                    <a:moveTo>
                      <a:pt x="38" y="12"/>
                    </a:moveTo>
                    <a:lnTo>
                      <a:pt x="28" y="7"/>
                    </a:lnTo>
                    <a:lnTo>
                      <a:pt x="7" y="0"/>
                    </a:lnTo>
                    <a:lnTo>
                      <a:pt x="0" y="3"/>
                    </a:lnTo>
                    <a:lnTo>
                      <a:pt x="13" y="9"/>
                    </a:lnTo>
                    <a:lnTo>
                      <a:pt x="15" y="13"/>
                    </a:lnTo>
                    <a:lnTo>
                      <a:pt x="32" y="19"/>
                    </a:lnTo>
                    <a:lnTo>
                      <a:pt x="40" y="18"/>
                    </a:lnTo>
                    <a:lnTo>
                      <a:pt x="38" y="12"/>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3" name="Freeform 98"/>
              <p:cNvSpPr>
                <a:spLocks/>
              </p:cNvSpPr>
              <p:nvPr/>
            </p:nvSpPr>
            <p:spPr bwMode="auto">
              <a:xfrm>
                <a:off x="1837" y="-2291"/>
                <a:ext cx="72" cy="46"/>
              </a:xfrm>
              <a:custGeom>
                <a:avLst/>
                <a:gdLst>
                  <a:gd name="T0" fmla="*/ 13 w 72"/>
                  <a:gd name="T1" fmla="*/ 39 h 46"/>
                  <a:gd name="T2" fmla="*/ 23 w 72"/>
                  <a:gd name="T3" fmla="*/ 46 h 46"/>
                  <a:gd name="T4" fmla="*/ 72 w 72"/>
                  <a:gd name="T5" fmla="*/ 38 h 46"/>
                  <a:gd name="T6" fmla="*/ 53 w 72"/>
                  <a:gd name="T7" fmla="*/ 7 h 46"/>
                  <a:gd name="T8" fmla="*/ 31 w 72"/>
                  <a:gd name="T9" fmla="*/ 0 h 46"/>
                  <a:gd name="T10" fmla="*/ 3 w 72"/>
                  <a:gd name="T11" fmla="*/ 0 h 46"/>
                  <a:gd name="T12" fmla="*/ 0 w 72"/>
                  <a:gd name="T13" fmla="*/ 16 h 46"/>
                  <a:gd name="T14" fmla="*/ 11 w 72"/>
                  <a:gd name="T15" fmla="*/ 23 h 46"/>
                  <a:gd name="T16" fmla="*/ 13 w 72"/>
                  <a:gd name="T17" fmla="*/ 39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46">
                    <a:moveTo>
                      <a:pt x="13" y="39"/>
                    </a:moveTo>
                    <a:lnTo>
                      <a:pt x="23" y="46"/>
                    </a:lnTo>
                    <a:lnTo>
                      <a:pt x="72" y="38"/>
                    </a:lnTo>
                    <a:lnTo>
                      <a:pt x="53" y="7"/>
                    </a:lnTo>
                    <a:lnTo>
                      <a:pt x="31" y="0"/>
                    </a:lnTo>
                    <a:lnTo>
                      <a:pt x="3" y="0"/>
                    </a:lnTo>
                    <a:lnTo>
                      <a:pt x="0" y="16"/>
                    </a:lnTo>
                    <a:lnTo>
                      <a:pt x="11" y="23"/>
                    </a:lnTo>
                    <a:lnTo>
                      <a:pt x="13" y="39"/>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4" name="Freeform 99"/>
              <p:cNvSpPr>
                <a:spLocks/>
              </p:cNvSpPr>
              <p:nvPr/>
            </p:nvSpPr>
            <p:spPr bwMode="auto">
              <a:xfrm>
                <a:off x="1928" y="-2041"/>
                <a:ext cx="19" cy="14"/>
              </a:xfrm>
              <a:custGeom>
                <a:avLst/>
                <a:gdLst>
                  <a:gd name="T0" fmla="*/ 19 w 19"/>
                  <a:gd name="T1" fmla="*/ 13 h 14"/>
                  <a:gd name="T2" fmla="*/ 7 w 19"/>
                  <a:gd name="T3" fmla="*/ 0 h 14"/>
                  <a:gd name="T4" fmla="*/ 0 w 19"/>
                  <a:gd name="T5" fmla="*/ 6 h 14"/>
                  <a:gd name="T6" fmla="*/ 6 w 19"/>
                  <a:gd name="T7" fmla="*/ 14 h 14"/>
                  <a:gd name="T8" fmla="*/ 19 w 19"/>
                  <a:gd name="T9" fmla="*/ 13 h 14"/>
                </a:gdLst>
                <a:ahLst/>
                <a:cxnLst>
                  <a:cxn ang="0">
                    <a:pos x="T0" y="T1"/>
                  </a:cxn>
                  <a:cxn ang="0">
                    <a:pos x="T2" y="T3"/>
                  </a:cxn>
                  <a:cxn ang="0">
                    <a:pos x="T4" y="T5"/>
                  </a:cxn>
                  <a:cxn ang="0">
                    <a:pos x="T6" y="T7"/>
                  </a:cxn>
                  <a:cxn ang="0">
                    <a:pos x="T8" y="T9"/>
                  </a:cxn>
                </a:cxnLst>
                <a:rect l="0" t="0" r="r" b="b"/>
                <a:pathLst>
                  <a:path w="19" h="14">
                    <a:moveTo>
                      <a:pt x="19" y="13"/>
                    </a:moveTo>
                    <a:lnTo>
                      <a:pt x="7" y="0"/>
                    </a:lnTo>
                    <a:lnTo>
                      <a:pt x="0" y="6"/>
                    </a:lnTo>
                    <a:lnTo>
                      <a:pt x="6" y="14"/>
                    </a:lnTo>
                    <a:lnTo>
                      <a:pt x="19" y="13"/>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5" name="Freeform 100"/>
              <p:cNvSpPr>
                <a:spLocks/>
              </p:cNvSpPr>
              <p:nvPr/>
            </p:nvSpPr>
            <p:spPr bwMode="auto">
              <a:xfrm>
                <a:off x="1890" y="-2048"/>
                <a:ext cx="34" cy="41"/>
              </a:xfrm>
              <a:custGeom>
                <a:avLst/>
                <a:gdLst>
                  <a:gd name="T0" fmla="*/ 34 w 34"/>
                  <a:gd name="T1" fmla="*/ 32 h 41"/>
                  <a:gd name="T2" fmla="*/ 34 w 34"/>
                  <a:gd name="T3" fmla="*/ 13 h 41"/>
                  <a:gd name="T4" fmla="*/ 31 w 34"/>
                  <a:gd name="T5" fmla="*/ 4 h 41"/>
                  <a:gd name="T6" fmla="*/ 15 w 34"/>
                  <a:gd name="T7" fmla="*/ 0 h 41"/>
                  <a:gd name="T8" fmla="*/ 3 w 34"/>
                  <a:gd name="T9" fmla="*/ 19 h 41"/>
                  <a:gd name="T10" fmla="*/ 0 w 34"/>
                  <a:gd name="T11" fmla="*/ 29 h 41"/>
                  <a:gd name="T12" fmla="*/ 5 w 34"/>
                  <a:gd name="T13" fmla="*/ 41 h 41"/>
                  <a:gd name="T14" fmla="*/ 25 w 34"/>
                  <a:gd name="T15" fmla="*/ 41 h 41"/>
                  <a:gd name="T16" fmla="*/ 34 w 34"/>
                  <a:gd name="T17"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41">
                    <a:moveTo>
                      <a:pt x="34" y="32"/>
                    </a:moveTo>
                    <a:lnTo>
                      <a:pt x="34" y="13"/>
                    </a:lnTo>
                    <a:lnTo>
                      <a:pt x="31" y="4"/>
                    </a:lnTo>
                    <a:lnTo>
                      <a:pt x="15" y="0"/>
                    </a:lnTo>
                    <a:lnTo>
                      <a:pt x="3" y="19"/>
                    </a:lnTo>
                    <a:lnTo>
                      <a:pt x="0" y="29"/>
                    </a:lnTo>
                    <a:lnTo>
                      <a:pt x="5" y="41"/>
                    </a:lnTo>
                    <a:lnTo>
                      <a:pt x="25" y="41"/>
                    </a:lnTo>
                    <a:lnTo>
                      <a:pt x="34" y="32"/>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6" name="Freeform 101"/>
              <p:cNvSpPr>
                <a:spLocks/>
              </p:cNvSpPr>
              <p:nvPr/>
            </p:nvSpPr>
            <p:spPr bwMode="auto">
              <a:xfrm>
                <a:off x="1784" y="-1964"/>
                <a:ext cx="18" cy="19"/>
              </a:xfrm>
              <a:custGeom>
                <a:avLst/>
                <a:gdLst>
                  <a:gd name="T0" fmla="*/ 18 w 18"/>
                  <a:gd name="T1" fmla="*/ 19 h 19"/>
                  <a:gd name="T2" fmla="*/ 11 w 18"/>
                  <a:gd name="T3" fmla="*/ 6 h 19"/>
                  <a:gd name="T4" fmla="*/ 0 w 18"/>
                  <a:gd name="T5" fmla="*/ 0 h 19"/>
                  <a:gd name="T6" fmla="*/ 7 w 18"/>
                  <a:gd name="T7" fmla="*/ 11 h 19"/>
                  <a:gd name="T8" fmla="*/ 18 w 18"/>
                  <a:gd name="T9" fmla="*/ 19 h 19"/>
                </a:gdLst>
                <a:ahLst/>
                <a:cxnLst>
                  <a:cxn ang="0">
                    <a:pos x="T0" y="T1"/>
                  </a:cxn>
                  <a:cxn ang="0">
                    <a:pos x="T2" y="T3"/>
                  </a:cxn>
                  <a:cxn ang="0">
                    <a:pos x="T4" y="T5"/>
                  </a:cxn>
                  <a:cxn ang="0">
                    <a:pos x="T6" y="T7"/>
                  </a:cxn>
                  <a:cxn ang="0">
                    <a:pos x="T8" y="T9"/>
                  </a:cxn>
                </a:cxnLst>
                <a:rect l="0" t="0" r="r" b="b"/>
                <a:pathLst>
                  <a:path w="18" h="19">
                    <a:moveTo>
                      <a:pt x="18" y="19"/>
                    </a:moveTo>
                    <a:lnTo>
                      <a:pt x="11" y="6"/>
                    </a:lnTo>
                    <a:lnTo>
                      <a:pt x="0" y="0"/>
                    </a:lnTo>
                    <a:lnTo>
                      <a:pt x="7" y="11"/>
                    </a:lnTo>
                    <a:lnTo>
                      <a:pt x="18" y="19"/>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7" name="Freeform 102"/>
              <p:cNvSpPr>
                <a:spLocks/>
              </p:cNvSpPr>
              <p:nvPr/>
            </p:nvSpPr>
            <p:spPr bwMode="auto">
              <a:xfrm>
                <a:off x="1744" y="-1954"/>
                <a:ext cx="105" cy="94"/>
              </a:xfrm>
              <a:custGeom>
                <a:avLst/>
                <a:gdLst>
                  <a:gd name="T0" fmla="*/ 93 w 105"/>
                  <a:gd name="T1" fmla="*/ 61 h 94"/>
                  <a:gd name="T2" fmla="*/ 83 w 105"/>
                  <a:gd name="T3" fmla="*/ 62 h 94"/>
                  <a:gd name="T4" fmla="*/ 78 w 105"/>
                  <a:gd name="T5" fmla="*/ 42 h 94"/>
                  <a:gd name="T6" fmla="*/ 45 w 105"/>
                  <a:gd name="T7" fmla="*/ 23 h 94"/>
                  <a:gd name="T8" fmla="*/ 46 w 105"/>
                  <a:gd name="T9" fmla="*/ 18 h 94"/>
                  <a:gd name="T10" fmla="*/ 40 w 105"/>
                  <a:gd name="T11" fmla="*/ 13 h 94"/>
                  <a:gd name="T12" fmla="*/ 33 w 105"/>
                  <a:gd name="T13" fmla="*/ 20 h 94"/>
                  <a:gd name="T14" fmla="*/ 32 w 105"/>
                  <a:gd name="T15" fmla="*/ 9 h 94"/>
                  <a:gd name="T16" fmla="*/ 28 w 105"/>
                  <a:gd name="T17" fmla="*/ 0 h 94"/>
                  <a:gd name="T18" fmla="*/ 21 w 105"/>
                  <a:gd name="T19" fmla="*/ 3 h 94"/>
                  <a:gd name="T20" fmla="*/ 15 w 105"/>
                  <a:gd name="T21" fmla="*/ 14 h 94"/>
                  <a:gd name="T22" fmla="*/ 13 w 105"/>
                  <a:gd name="T23" fmla="*/ 45 h 94"/>
                  <a:gd name="T24" fmla="*/ 14 w 105"/>
                  <a:gd name="T25" fmla="*/ 58 h 94"/>
                  <a:gd name="T26" fmla="*/ 3 w 105"/>
                  <a:gd name="T27" fmla="*/ 68 h 94"/>
                  <a:gd name="T28" fmla="*/ 0 w 105"/>
                  <a:gd name="T29" fmla="*/ 75 h 94"/>
                  <a:gd name="T30" fmla="*/ 2 w 105"/>
                  <a:gd name="T31" fmla="*/ 80 h 94"/>
                  <a:gd name="T32" fmla="*/ 21 w 105"/>
                  <a:gd name="T33" fmla="*/ 74 h 94"/>
                  <a:gd name="T34" fmla="*/ 22 w 105"/>
                  <a:gd name="T35" fmla="*/ 69 h 94"/>
                  <a:gd name="T36" fmla="*/ 24 w 105"/>
                  <a:gd name="T37" fmla="*/ 88 h 94"/>
                  <a:gd name="T38" fmla="*/ 29 w 105"/>
                  <a:gd name="T39" fmla="*/ 94 h 94"/>
                  <a:gd name="T40" fmla="*/ 53 w 105"/>
                  <a:gd name="T41" fmla="*/ 72 h 94"/>
                  <a:gd name="T42" fmla="*/ 53 w 105"/>
                  <a:gd name="T43" fmla="*/ 62 h 94"/>
                  <a:gd name="T44" fmla="*/ 64 w 105"/>
                  <a:gd name="T45" fmla="*/ 58 h 94"/>
                  <a:gd name="T46" fmla="*/ 61 w 105"/>
                  <a:gd name="T47" fmla="*/ 64 h 94"/>
                  <a:gd name="T48" fmla="*/ 72 w 105"/>
                  <a:gd name="T49" fmla="*/ 67 h 94"/>
                  <a:gd name="T50" fmla="*/ 72 w 105"/>
                  <a:gd name="T51" fmla="*/ 75 h 94"/>
                  <a:gd name="T52" fmla="*/ 91 w 105"/>
                  <a:gd name="T53" fmla="*/ 83 h 94"/>
                  <a:gd name="T54" fmla="*/ 105 w 105"/>
                  <a:gd name="T55" fmla="*/ 72 h 94"/>
                  <a:gd name="T56" fmla="*/ 93 w 105"/>
                  <a:gd name="T57" fmla="*/ 61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5" h="94">
                    <a:moveTo>
                      <a:pt x="93" y="61"/>
                    </a:moveTo>
                    <a:lnTo>
                      <a:pt x="83" y="62"/>
                    </a:lnTo>
                    <a:lnTo>
                      <a:pt x="78" y="42"/>
                    </a:lnTo>
                    <a:lnTo>
                      <a:pt x="45" y="23"/>
                    </a:lnTo>
                    <a:lnTo>
                      <a:pt x="46" y="18"/>
                    </a:lnTo>
                    <a:lnTo>
                      <a:pt x="40" y="13"/>
                    </a:lnTo>
                    <a:lnTo>
                      <a:pt x="33" y="20"/>
                    </a:lnTo>
                    <a:lnTo>
                      <a:pt x="32" y="9"/>
                    </a:lnTo>
                    <a:lnTo>
                      <a:pt x="28" y="0"/>
                    </a:lnTo>
                    <a:lnTo>
                      <a:pt x="21" y="3"/>
                    </a:lnTo>
                    <a:lnTo>
                      <a:pt x="15" y="14"/>
                    </a:lnTo>
                    <a:lnTo>
                      <a:pt x="13" y="45"/>
                    </a:lnTo>
                    <a:lnTo>
                      <a:pt x="14" y="58"/>
                    </a:lnTo>
                    <a:lnTo>
                      <a:pt x="3" y="68"/>
                    </a:lnTo>
                    <a:lnTo>
                      <a:pt x="0" y="75"/>
                    </a:lnTo>
                    <a:lnTo>
                      <a:pt x="2" y="80"/>
                    </a:lnTo>
                    <a:lnTo>
                      <a:pt x="21" y="74"/>
                    </a:lnTo>
                    <a:lnTo>
                      <a:pt x="22" y="69"/>
                    </a:lnTo>
                    <a:lnTo>
                      <a:pt x="24" y="88"/>
                    </a:lnTo>
                    <a:lnTo>
                      <a:pt x="29" y="94"/>
                    </a:lnTo>
                    <a:lnTo>
                      <a:pt x="53" y="72"/>
                    </a:lnTo>
                    <a:lnTo>
                      <a:pt x="53" y="62"/>
                    </a:lnTo>
                    <a:lnTo>
                      <a:pt x="64" y="58"/>
                    </a:lnTo>
                    <a:lnTo>
                      <a:pt x="61" y="64"/>
                    </a:lnTo>
                    <a:lnTo>
                      <a:pt x="72" y="67"/>
                    </a:lnTo>
                    <a:lnTo>
                      <a:pt x="72" y="75"/>
                    </a:lnTo>
                    <a:lnTo>
                      <a:pt x="91" y="83"/>
                    </a:lnTo>
                    <a:lnTo>
                      <a:pt x="105" y="72"/>
                    </a:lnTo>
                    <a:lnTo>
                      <a:pt x="93" y="61"/>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8" name="Freeform 103"/>
              <p:cNvSpPr>
                <a:spLocks/>
              </p:cNvSpPr>
              <p:nvPr/>
            </p:nvSpPr>
            <p:spPr bwMode="auto">
              <a:xfrm>
                <a:off x="1747" y="-2046"/>
                <a:ext cx="6" cy="20"/>
              </a:xfrm>
              <a:custGeom>
                <a:avLst/>
                <a:gdLst>
                  <a:gd name="T0" fmla="*/ 0 w 6"/>
                  <a:gd name="T1" fmla="*/ 1 h 20"/>
                  <a:gd name="T2" fmla="*/ 0 w 6"/>
                  <a:gd name="T3" fmla="*/ 14 h 20"/>
                  <a:gd name="T4" fmla="*/ 6 w 6"/>
                  <a:gd name="T5" fmla="*/ 20 h 20"/>
                  <a:gd name="T6" fmla="*/ 5 w 6"/>
                  <a:gd name="T7" fmla="*/ 0 h 20"/>
                  <a:gd name="T8" fmla="*/ 0 w 6"/>
                  <a:gd name="T9" fmla="*/ 1 h 20"/>
                </a:gdLst>
                <a:ahLst/>
                <a:cxnLst>
                  <a:cxn ang="0">
                    <a:pos x="T0" y="T1"/>
                  </a:cxn>
                  <a:cxn ang="0">
                    <a:pos x="T2" y="T3"/>
                  </a:cxn>
                  <a:cxn ang="0">
                    <a:pos x="T4" y="T5"/>
                  </a:cxn>
                  <a:cxn ang="0">
                    <a:pos x="T6" y="T7"/>
                  </a:cxn>
                  <a:cxn ang="0">
                    <a:pos x="T8" y="T9"/>
                  </a:cxn>
                </a:cxnLst>
                <a:rect l="0" t="0" r="r" b="b"/>
                <a:pathLst>
                  <a:path w="6" h="20">
                    <a:moveTo>
                      <a:pt x="0" y="1"/>
                    </a:moveTo>
                    <a:lnTo>
                      <a:pt x="0" y="14"/>
                    </a:lnTo>
                    <a:lnTo>
                      <a:pt x="6" y="20"/>
                    </a:lnTo>
                    <a:lnTo>
                      <a:pt x="5" y="0"/>
                    </a:lnTo>
                    <a:lnTo>
                      <a:pt x="0" y="1"/>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9" name="Freeform 104"/>
              <p:cNvSpPr>
                <a:spLocks/>
              </p:cNvSpPr>
              <p:nvPr/>
            </p:nvSpPr>
            <p:spPr bwMode="auto">
              <a:xfrm>
                <a:off x="1619" y="-2322"/>
                <a:ext cx="79" cy="112"/>
              </a:xfrm>
              <a:custGeom>
                <a:avLst/>
                <a:gdLst>
                  <a:gd name="T0" fmla="*/ 10 w 79"/>
                  <a:gd name="T1" fmla="*/ 84 h 112"/>
                  <a:gd name="T2" fmla="*/ 7 w 79"/>
                  <a:gd name="T3" fmla="*/ 93 h 112"/>
                  <a:gd name="T4" fmla="*/ 7 w 79"/>
                  <a:gd name="T5" fmla="*/ 102 h 112"/>
                  <a:gd name="T6" fmla="*/ 10 w 79"/>
                  <a:gd name="T7" fmla="*/ 105 h 112"/>
                  <a:gd name="T8" fmla="*/ 7 w 79"/>
                  <a:gd name="T9" fmla="*/ 109 h 112"/>
                  <a:gd name="T10" fmla="*/ 10 w 79"/>
                  <a:gd name="T11" fmla="*/ 112 h 112"/>
                  <a:gd name="T12" fmla="*/ 22 w 79"/>
                  <a:gd name="T13" fmla="*/ 108 h 112"/>
                  <a:gd name="T14" fmla="*/ 33 w 79"/>
                  <a:gd name="T15" fmla="*/ 89 h 112"/>
                  <a:gd name="T16" fmla="*/ 19 w 79"/>
                  <a:gd name="T17" fmla="*/ 75 h 112"/>
                  <a:gd name="T18" fmla="*/ 52 w 79"/>
                  <a:gd name="T19" fmla="*/ 77 h 112"/>
                  <a:gd name="T20" fmla="*/ 61 w 79"/>
                  <a:gd name="T21" fmla="*/ 57 h 112"/>
                  <a:gd name="T22" fmla="*/ 63 w 79"/>
                  <a:gd name="T23" fmla="*/ 51 h 112"/>
                  <a:gd name="T24" fmla="*/ 60 w 79"/>
                  <a:gd name="T25" fmla="*/ 51 h 112"/>
                  <a:gd name="T26" fmla="*/ 66 w 79"/>
                  <a:gd name="T27" fmla="*/ 48 h 112"/>
                  <a:gd name="T28" fmla="*/ 68 w 79"/>
                  <a:gd name="T29" fmla="*/ 32 h 112"/>
                  <a:gd name="T30" fmla="*/ 72 w 79"/>
                  <a:gd name="T31" fmla="*/ 32 h 112"/>
                  <a:gd name="T32" fmla="*/ 79 w 79"/>
                  <a:gd name="T33" fmla="*/ 15 h 112"/>
                  <a:gd name="T34" fmla="*/ 33 w 79"/>
                  <a:gd name="T35" fmla="*/ 0 h 112"/>
                  <a:gd name="T36" fmla="*/ 8 w 79"/>
                  <a:gd name="T37" fmla="*/ 5 h 112"/>
                  <a:gd name="T38" fmla="*/ 3 w 79"/>
                  <a:gd name="T39" fmla="*/ 15 h 112"/>
                  <a:gd name="T40" fmla="*/ 15 w 79"/>
                  <a:gd name="T41" fmla="*/ 30 h 112"/>
                  <a:gd name="T42" fmla="*/ 0 w 79"/>
                  <a:gd name="T43" fmla="*/ 24 h 112"/>
                  <a:gd name="T44" fmla="*/ 0 w 79"/>
                  <a:gd name="T45" fmla="*/ 67 h 112"/>
                  <a:gd name="T46" fmla="*/ 1 w 79"/>
                  <a:gd name="T47" fmla="*/ 79 h 112"/>
                  <a:gd name="T48" fmla="*/ 10 w 79"/>
                  <a:gd name="T49" fmla="*/ 84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9" h="112">
                    <a:moveTo>
                      <a:pt x="10" y="84"/>
                    </a:moveTo>
                    <a:lnTo>
                      <a:pt x="7" y="93"/>
                    </a:lnTo>
                    <a:lnTo>
                      <a:pt x="7" y="102"/>
                    </a:lnTo>
                    <a:lnTo>
                      <a:pt x="10" y="105"/>
                    </a:lnTo>
                    <a:lnTo>
                      <a:pt x="7" y="109"/>
                    </a:lnTo>
                    <a:lnTo>
                      <a:pt x="10" y="112"/>
                    </a:lnTo>
                    <a:lnTo>
                      <a:pt x="22" y="108"/>
                    </a:lnTo>
                    <a:lnTo>
                      <a:pt x="33" y="89"/>
                    </a:lnTo>
                    <a:lnTo>
                      <a:pt x="19" y="75"/>
                    </a:lnTo>
                    <a:lnTo>
                      <a:pt x="52" y="77"/>
                    </a:lnTo>
                    <a:lnTo>
                      <a:pt x="61" y="57"/>
                    </a:lnTo>
                    <a:lnTo>
                      <a:pt x="63" y="51"/>
                    </a:lnTo>
                    <a:lnTo>
                      <a:pt x="60" y="51"/>
                    </a:lnTo>
                    <a:lnTo>
                      <a:pt x="66" y="48"/>
                    </a:lnTo>
                    <a:lnTo>
                      <a:pt x="68" y="32"/>
                    </a:lnTo>
                    <a:lnTo>
                      <a:pt x="72" y="32"/>
                    </a:lnTo>
                    <a:lnTo>
                      <a:pt x="79" y="15"/>
                    </a:lnTo>
                    <a:lnTo>
                      <a:pt x="33" y="0"/>
                    </a:lnTo>
                    <a:lnTo>
                      <a:pt x="8" y="5"/>
                    </a:lnTo>
                    <a:lnTo>
                      <a:pt x="3" y="15"/>
                    </a:lnTo>
                    <a:lnTo>
                      <a:pt x="15" y="30"/>
                    </a:lnTo>
                    <a:lnTo>
                      <a:pt x="0" y="24"/>
                    </a:lnTo>
                    <a:lnTo>
                      <a:pt x="0" y="67"/>
                    </a:lnTo>
                    <a:lnTo>
                      <a:pt x="1" y="79"/>
                    </a:lnTo>
                    <a:lnTo>
                      <a:pt x="10" y="84"/>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0" name="Freeform 105"/>
              <p:cNvSpPr>
                <a:spLocks/>
              </p:cNvSpPr>
              <p:nvPr/>
            </p:nvSpPr>
            <p:spPr bwMode="auto">
              <a:xfrm>
                <a:off x="2085" y="-1436"/>
                <a:ext cx="35" cy="23"/>
              </a:xfrm>
              <a:custGeom>
                <a:avLst/>
                <a:gdLst>
                  <a:gd name="T0" fmla="*/ 0 w 35"/>
                  <a:gd name="T1" fmla="*/ 7 h 23"/>
                  <a:gd name="T2" fmla="*/ 12 w 35"/>
                  <a:gd name="T3" fmla="*/ 17 h 23"/>
                  <a:gd name="T4" fmla="*/ 19 w 35"/>
                  <a:gd name="T5" fmla="*/ 16 h 23"/>
                  <a:gd name="T6" fmla="*/ 26 w 35"/>
                  <a:gd name="T7" fmla="*/ 23 h 23"/>
                  <a:gd name="T8" fmla="*/ 35 w 35"/>
                  <a:gd name="T9" fmla="*/ 13 h 23"/>
                  <a:gd name="T10" fmla="*/ 9 w 35"/>
                  <a:gd name="T11" fmla="*/ 11 h 23"/>
                  <a:gd name="T12" fmla="*/ 4 w 35"/>
                  <a:gd name="T13" fmla="*/ 5 h 23"/>
                  <a:gd name="T14" fmla="*/ 5 w 35"/>
                  <a:gd name="T15" fmla="*/ 0 h 23"/>
                  <a:gd name="T16" fmla="*/ 0 w 35"/>
                  <a:gd name="T17" fmla="*/ 7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3">
                    <a:moveTo>
                      <a:pt x="0" y="7"/>
                    </a:moveTo>
                    <a:lnTo>
                      <a:pt x="12" y="17"/>
                    </a:lnTo>
                    <a:lnTo>
                      <a:pt x="19" y="16"/>
                    </a:lnTo>
                    <a:lnTo>
                      <a:pt x="26" y="23"/>
                    </a:lnTo>
                    <a:lnTo>
                      <a:pt x="35" y="13"/>
                    </a:lnTo>
                    <a:lnTo>
                      <a:pt x="9" y="11"/>
                    </a:lnTo>
                    <a:lnTo>
                      <a:pt x="4" y="5"/>
                    </a:lnTo>
                    <a:lnTo>
                      <a:pt x="5" y="0"/>
                    </a:lnTo>
                    <a:lnTo>
                      <a:pt x="0" y="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1" name="Freeform 106"/>
              <p:cNvSpPr>
                <a:spLocks/>
              </p:cNvSpPr>
              <p:nvPr/>
            </p:nvSpPr>
            <p:spPr bwMode="auto">
              <a:xfrm>
                <a:off x="1874" y="-1870"/>
                <a:ext cx="14" cy="11"/>
              </a:xfrm>
              <a:custGeom>
                <a:avLst/>
                <a:gdLst>
                  <a:gd name="T0" fmla="*/ 14 w 14"/>
                  <a:gd name="T1" fmla="*/ 7 h 11"/>
                  <a:gd name="T2" fmla="*/ 11 w 14"/>
                  <a:gd name="T3" fmla="*/ 0 h 11"/>
                  <a:gd name="T4" fmla="*/ 0 w 14"/>
                  <a:gd name="T5" fmla="*/ 0 h 11"/>
                  <a:gd name="T6" fmla="*/ 9 w 14"/>
                  <a:gd name="T7" fmla="*/ 11 h 11"/>
                  <a:gd name="T8" fmla="*/ 14 w 14"/>
                  <a:gd name="T9" fmla="*/ 7 h 11"/>
                </a:gdLst>
                <a:ahLst/>
                <a:cxnLst>
                  <a:cxn ang="0">
                    <a:pos x="T0" y="T1"/>
                  </a:cxn>
                  <a:cxn ang="0">
                    <a:pos x="T2" y="T3"/>
                  </a:cxn>
                  <a:cxn ang="0">
                    <a:pos x="T4" y="T5"/>
                  </a:cxn>
                  <a:cxn ang="0">
                    <a:pos x="T6" y="T7"/>
                  </a:cxn>
                  <a:cxn ang="0">
                    <a:pos x="T8" y="T9"/>
                  </a:cxn>
                </a:cxnLst>
                <a:rect l="0" t="0" r="r" b="b"/>
                <a:pathLst>
                  <a:path w="14" h="11">
                    <a:moveTo>
                      <a:pt x="14" y="7"/>
                    </a:moveTo>
                    <a:lnTo>
                      <a:pt x="11" y="0"/>
                    </a:lnTo>
                    <a:lnTo>
                      <a:pt x="0" y="0"/>
                    </a:lnTo>
                    <a:lnTo>
                      <a:pt x="9" y="11"/>
                    </a:lnTo>
                    <a:lnTo>
                      <a:pt x="14" y="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2" name="Freeform 107"/>
              <p:cNvSpPr>
                <a:spLocks/>
              </p:cNvSpPr>
              <p:nvPr/>
            </p:nvSpPr>
            <p:spPr bwMode="auto">
              <a:xfrm>
                <a:off x="1844" y="-2110"/>
                <a:ext cx="16" cy="14"/>
              </a:xfrm>
              <a:custGeom>
                <a:avLst/>
                <a:gdLst>
                  <a:gd name="T0" fmla="*/ 6 w 16"/>
                  <a:gd name="T1" fmla="*/ 8 h 14"/>
                  <a:gd name="T2" fmla="*/ 16 w 16"/>
                  <a:gd name="T3" fmla="*/ 3 h 14"/>
                  <a:gd name="T4" fmla="*/ 4 w 16"/>
                  <a:gd name="T5" fmla="*/ 0 h 14"/>
                  <a:gd name="T6" fmla="*/ 0 w 16"/>
                  <a:gd name="T7" fmla="*/ 1 h 14"/>
                  <a:gd name="T8" fmla="*/ 6 w 16"/>
                  <a:gd name="T9" fmla="*/ 14 h 14"/>
                  <a:gd name="T10" fmla="*/ 6 w 16"/>
                  <a:gd name="T11" fmla="*/ 8 h 14"/>
                </a:gdLst>
                <a:ahLst/>
                <a:cxnLst>
                  <a:cxn ang="0">
                    <a:pos x="T0" y="T1"/>
                  </a:cxn>
                  <a:cxn ang="0">
                    <a:pos x="T2" y="T3"/>
                  </a:cxn>
                  <a:cxn ang="0">
                    <a:pos x="T4" y="T5"/>
                  </a:cxn>
                  <a:cxn ang="0">
                    <a:pos x="T6" y="T7"/>
                  </a:cxn>
                  <a:cxn ang="0">
                    <a:pos x="T8" y="T9"/>
                  </a:cxn>
                  <a:cxn ang="0">
                    <a:pos x="T10" y="T11"/>
                  </a:cxn>
                </a:cxnLst>
                <a:rect l="0" t="0" r="r" b="b"/>
                <a:pathLst>
                  <a:path w="16" h="14">
                    <a:moveTo>
                      <a:pt x="6" y="8"/>
                    </a:moveTo>
                    <a:lnTo>
                      <a:pt x="16" y="3"/>
                    </a:lnTo>
                    <a:lnTo>
                      <a:pt x="4" y="0"/>
                    </a:lnTo>
                    <a:lnTo>
                      <a:pt x="0" y="1"/>
                    </a:lnTo>
                    <a:lnTo>
                      <a:pt x="6" y="14"/>
                    </a:lnTo>
                    <a:lnTo>
                      <a:pt x="6" y="8"/>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3" name="Freeform 108"/>
              <p:cNvSpPr>
                <a:spLocks/>
              </p:cNvSpPr>
              <p:nvPr/>
            </p:nvSpPr>
            <p:spPr bwMode="auto">
              <a:xfrm>
                <a:off x="1985" y="-1848"/>
                <a:ext cx="9" cy="5"/>
              </a:xfrm>
              <a:custGeom>
                <a:avLst/>
                <a:gdLst>
                  <a:gd name="T0" fmla="*/ 9 w 9"/>
                  <a:gd name="T1" fmla="*/ 3 h 5"/>
                  <a:gd name="T2" fmla="*/ 0 w 9"/>
                  <a:gd name="T3" fmla="*/ 0 h 5"/>
                  <a:gd name="T4" fmla="*/ 6 w 9"/>
                  <a:gd name="T5" fmla="*/ 5 h 5"/>
                  <a:gd name="T6" fmla="*/ 9 w 9"/>
                  <a:gd name="T7" fmla="*/ 3 h 5"/>
                </a:gdLst>
                <a:ahLst/>
                <a:cxnLst>
                  <a:cxn ang="0">
                    <a:pos x="T0" y="T1"/>
                  </a:cxn>
                  <a:cxn ang="0">
                    <a:pos x="T2" y="T3"/>
                  </a:cxn>
                  <a:cxn ang="0">
                    <a:pos x="T4" y="T5"/>
                  </a:cxn>
                  <a:cxn ang="0">
                    <a:pos x="T6" y="T7"/>
                  </a:cxn>
                </a:cxnLst>
                <a:rect l="0" t="0" r="r" b="b"/>
                <a:pathLst>
                  <a:path w="9" h="5">
                    <a:moveTo>
                      <a:pt x="9" y="3"/>
                    </a:moveTo>
                    <a:lnTo>
                      <a:pt x="0" y="0"/>
                    </a:lnTo>
                    <a:lnTo>
                      <a:pt x="6" y="5"/>
                    </a:lnTo>
                    <a:lnTo>
                      <a:pt x="9" y="3"/>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4" name="Freeform 109"/>
              <p:cNvSpPr>
                <a:spLocks/>
              </p:cNvSpPr>
              <p:nvPr/>
            </p:nvSpPr>
            <p:spPr bwMode="auto">
              <a:xfrm>
                <a:off x="1562" y="-2115"/>
                <a:ext cx="64" cy="60"/>
              </a:xfrm>
              <a:custGeom>
                <a:avLst/>
                <a:gdLst>
                  <a:gd name="T0" fmla="*/ 0 w 64"/>
                  <a:gd name="T1" fmla="*/ 43 h 60"/>
                  <a:gd name="T2" fmla="*/ 47 w 64"/>
                  <a:gd name="T3" fmla="*/ 60 h 60"/>
                  <a:gd name="T4" fmla="*/ 64 w 64"/>
                  <a:gd name="T5" fmla="*/ 45 h 60"/>
                  <a:gd name="T6" fmla="*/ 60 w 64"/>
                  <a:gd name="T7" fmla="*/ 48 h 60"/>
                  <a:gd name="T8" fmla="*/ 38 w 64"/>
                  <a:gd name="T9" fmla="*/ 16 h 60"/>
                  <a:gd name="T10" fmla="*/ 22 w 64"/>
                  <a:gd name="T11" fmla="*/ 0 h 60"/>
                  <a:gd name="T12" fmla="*/ 16 w 64"/>
                  <a:gd name="T13" fmla="*/ 13 h 60"/>
                  <a:gd name="T14" fmla="*/ 19 w 64"/>
                  <a:gd name="T15" fmla="*/ 17 h 60"/>
                  <a:gd name="T16" fmla="*/ 14 w 64"/>
                  <a:gd name="T17" fmla="*/ 17 h 60"/>
                  <a:gd name="T18" fmla="*/ 15 w 64"/>
                  <a:gd name="T19" fmla="*/ 25 h 60"/>
                  <a:gd name="T20" fmla="*/ 0 w 64"/>
                  <a:gd name="T21" fmla="*/ 36 h 60"/>
                  <a:gd name="T22" fmla="*/ 0 w 64"/>
                  <a:gd name="T23" fmla="*/ 43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60">
                    <a:moveTo>
                      <a:pt x="0" y="43"/>
                    </a:moveTo>
                    <a:lnTo>
                      <a:pt x="47" y="60"/>
                    </a:lnTo>
                    <a:lnTo>
                      <a:pt x="64" y="45"/>
                    </a:lnTo>
                    <a:lnTo>
                      <a:pt x="60" y="48"/>
                    </a:lnTo>
                    <a:lnTo>
                      <a:pt x="38" y="16"/>
                    </a:lnTo>
                    <a:lnTo>
                      <a:pt x="22" y="0"/>
                    </a:lnTo>
                    <a:lnTo>
                      <a:pt x="16" y="13"/>
                    </a:lnTo>
                    <a:lnTo>
                      <a:pt x="19" y="17"/>
                    </a:lnTo>
                    <a:lnTo>
                      <a:pt x="14" y="17"/>
                    </a:lnTo>
                    <a:lnTo>
                      <a:pt x="15" y="25"/>
                    </a:lnTo>
                    <a:lnTo>
                      <a:pt x="0" y="36"/>
                    </a:lnTo>
                    <a:lnTo>
                      <a:pt x="0" y="43"/>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5" name="Freeform 110"/>
              <p:cNvSpPr>
                <a:spLocks/>
              </p:cNvSpPr>
              <p:nvPr/>
            </p:nvSpPr>
            <p:spPr bwMode="auto">
              <a:xfrm>
                <a:off x="1562" y="-2317"/>
                <a:ext cx="24" cy="16"/>
              </a:xfrm>
              <a:custGeom>
                <a:avLst/>
                <a:gdLst>
                  <a:gd name="T0" fmla="*/ 24 w 24"/>
                  <a:gd name="T1" fmla="*/ 0 h 16"/>
                  <a:gd name="T2" fmla="*/ 0 w 24"/>
                  <a:gd name="T3" fmla="*/ 13 h 16"/>
                  <a:gd name="T4" fmla="*/ 13 w 24"/>
                  <a:gd name="T5" fmla="*/ 16 h 16"/>
                  <a:gd name="T6" fmla="*/ 24 w 24"/>
                  <a:gd name="T7" fmla="*/ 0 h 16"/>
                </a:gdLst>
                <a:ahLst/>
                <a:cxnLst>
                  <a:cxn ang="0">
                    <a:pos x="T0" y="T1"/>
                  </a:cxn>
                  <a:cxn ang="0">
                    <a:pos x="T2" y="T3"/>
                  </a:cxn>
                  <a:cxn ang="0">
                    <a:pos x="T4" y="T5"/>
                  </a:cxn>
                  <a:cxn ang="0">
                    <a:pos x="T6" y="T7"/>
                  </a:cxn>
                </a:cxnLst>
                <a:rect l="0" t="0" r="r" b="b"/>
                <a:pathLst>
                  <a:path w="24" h="16">
                    <a:moveTo>
                      <a:pt x="24" y="0"/>
                    </a:moveTo>
                    <a:lnTo>
                      <a:pt x="0" y="13"/>
                    </a:lnTo>
                    <a:lnTo>
                      <a:pt x="13" y="16"/>
                    </a:lnTo>
                    <a:lnTo>
                      <a:pt x="24"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6" name="Freeform 111"/>
              <p:cNvSpPr>
                <a:spLocks/>
              </p:cNvSpPr>
              <p:nvPr/>
            </p:nvSpPr>
            <p:spPr bwMode="auto">
              <a:xfrm>
                <a:off x="1595" y="-2267"/>
                <a:ext cx="8" cy="14"/>
              </a:xfrm>
              <a:custGeom>
                <a:avLst/>
                <a:gdLst>
                  <a:gd name="T0" fmla="*/ 4 w 8"/>
                  <a:gd name="T1" fmla="*/ 14 h 14"/>
                  <a:gd name="T2" fmla="*/ 8 w 8"/>
                  <a:gd name="T3" fmla="*/ 8 h 14"/>
                  <a:gd name="T4" fmla="*/ 7 w 8"/>
                  <a:gd name="T5" fmla="*/ 0 h 14"/>
                  <a:gd name="T6" fmla="*/ 0 w 8"/>
                  <a:gd name="T7" fmla="*/ 3 h 14"/>
                  <a:gd name="T8" fmla="*/ 4 w 8"/>
                  <a:gd name="T9" fmla="*/ 14 h 14"/>
                </a:gdLst>
                <a:ahLst/>
                <a:cxnLst>
                  <a:cxn ang="0">
                    <a:pos x="T0" y="T1"/>
                  </a:cxn>
                  <a:cxn ang="0">
                    <a:pos x="T2" y="T3"/>
                  </a:cxn>
                  <a:cxn ang="0">
                    <a:pos x="T4" y="T5"/>
                  </a:cxn>
                  <a:cxn ang="0">
                    <a:pos x="T6" y="T7"/>
                  </a:cxn>
                  <a:cxn ang="0">
                    <a:pos x="T8" y="T9"/>
                  </a:cxn>
                </a:cxnLst>
                <a:rect l="0" t="0" r="r" b="b"/>
                <a:pathLst>
                  <a:path w="8" h="14">
                    <a:moveTo>
                      <a:pt x="4" y="14"/>
                    </a:moveTo>
                    <a:lnTo>
                      <a:pt x="8" y="8"/>
                    </a:lnTo>
                    <a:lnTo>
                      <a:pt x="7" y="0"/>
                    </a:lnTo>
                    <a:lnTo>
                      <a:pt x="0" y="3"/>
                    </a:lnTo>
                    <a:lnTo>
                      <a:pt x="4" y="14"/>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7" name="Freeform 112"/>
              <p:cNvSpPr>
                <a:spLocks/>
              </p:cNvSpPr>
              <p:nvPr/>
            </p:nvSpPr>
            <p:spPr bwMode="auto">
              <a:xfrm>
                <a:off x="1450" y="-2298"/>
                <a:ext cx="37" cy="44"/>
              </a:xfrm>
              <a:custGeom>
                <a:avLst/>
                <a:gdLst>
                  <a:gd name="T0" fmla="*/ 30 w 37"/>
                  <a:gd name="T1" fmla="*/ 34 h 44"/>
                  <a:gd name="T2" fmla="*/ 37 w 37"/>
                  <a:gd name="T3" fmla="*/ 10 h 44"/>
                  <a:gd name="T4" fmla="*/ 33 w 37"/>
                  <a:gd name="T5" fmla="*/ 2 h 44"/>
                  <a:gd name="T6" fmla="*/ 8 w 37"/>
                  <a:gd name="T7" fmla="*/ 0 h 44"/>
                  <a:gd name="T8" fmla="*/ 0 w 37"/>
                  <a:gd name="T9" fmla="*/ 14 h 44"/>
                  <a:gd name="T10" fmla="*/ 24 w 37"/>
                  <a:gd name="T11" fmla="*/ 44 h 44"/>
                  <a:gd name="T12" fmla="*/ 30 w 37"/>
                  <a:gd name="T13" fmla="*/ 34 h 44"/>
                </a:gdLst>
                <a:ahLst/>
                <a:cxnLst>
                  <a:cxn ang="0">
                    <a:pos x="T0" y="T1"/>
                  </a:cxn>
                  <a:cxn ang="0">
                    <a:pos x="T2" y="T3"/>
                  </a:cxn>
                  <a:cxn ang="0">
                    <a:pos x="T4" y="T5"/>
                  </a:cxn>
                  <a:cxn ang="0">
                    <a:pos x="T6" y="T7"/>
                  </a:cxn>
                  <a:cxn ang="0">
                    <a:pos x="T8" y="T9"/>
                  </a:cxn>
                  <a:cxn ang="0">
                    <a:pos x="T10" y="T11"/>
                  </a:cxn>
                  <a:cxn ang="0">
                    <a:pos x="T12" y="T13"/>
                  </a:cxn>
                </a:cxnLst>
                <a:rect l="0" t="0" r="r" b="b"/>
                <a:pathLst>
                  <a:path w="37" h="44">
                    <a:moveTo>
                      <a:pt x="30" y="34"/>
                    </a:moveTo>
                    <a:lnTo>
                      <a:pt x="37" y="10"/>
                    </a:lnTo>
                    <a:lnTo>
                      <a:pt x="33" y="2"/>
                    </a:lnTo>
                    <a:lnTo>
                      <a:pt x="8" y="0"/>
                    </a:lnTo>
                    <a:lnTo>
                      <a:pt x="0" y="14"/>
                    </a:lnTo>
                    <a:lnTo>
                      <a:pt x="24" y="44"/>
                    </a:lnTo>
                    <a:lnTo>
                      <a:pt x="30" y="34"/>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8" name="Freeform 113"/>
              <p:cNvSpPr>
                <a:spLocks/>
              </p:cNvSpPr>
              <p:nvPr/>
            </p:nvSpPr>
            <p:spPr bwMode="auto">
              <a:xfrm>
                <a:off x="1271" y="-2278"/>
                <a:ext cx="271" cy="223"/>
              </a:xfrm>
              <a:custGeom>
                <a:avLst/>
                <a:gdLst>
                  <a:gd name="T0" fmla="*/ 14 w 271"/>
                  <a:gd name="T1" fmla="*/ 57 h 223"/>
                  <a:gd name="T2" fmla="*/ 3 w 271"/>
                  <a:gd name="T3" fmla="*/ 85 h 223"/>
                  <a:gd name="T4" fmla="*/ 18 w 271"/>
                  <a:gd name="T5" fmla="*/ 90 h 223"/>
                  <a:gd name="T6" fmla="*/ 13 w 271"/>
                  <a:gd name="T7" fmla="*/ 98 h 223"/>
                  <a:gd name="T8" fmla="*/ 44 w 271"/>
                  <a:gd name="T9" fmla="*/ 95 h 223"/>
                  <a:gd name="T10" fmla="*/ 12 w 271"/>
                  <a:gd name="T11" fmla="*/ 114 h 223"/>
                  <a:gd name="T12" fmla="*/ 53 w 271"/>
                  <a:gd name="T13" fmla="*/ 136 h 223"/>
                  <a:gd name="T14" fmla="*/ 103 w 271"/>
                  <a:gd name="T15" fmla="*/ 141 h 223"/>
                  <a:gd name="T16" fmla="*/ 69 w 271"/>
                  <a:gd name="T17" fmla="*/ 145 h 223"/>
                  <a:gd name="T18" fmla="*/ 37 w 271"/>
                  <a:gd name="T19" fmla="*/ 182 h 223"/>
                  <a:gd name="T20" fmla="*/ 81 w 271"/>
                  <a:gd name="T21" fmla="*/ 199 h 223"/>
                  <a:gd name="T22" fmla="*/ 82 w 271"/>
                  <a:gd name="T23" fmla="*/ 212 h 223"/>
                  <a:gd name="T24" fmla="*/ 86 w 271"/>
                  <a:gd name="T25" fmla="*/ 223 h 223"/>
                  <a:gd name="T26" fmla="*/ 155 w 271"/>
                  <a:gd name="T27" fmla="*/ 202 h 223"/>
                  <a:gd name="T28" fmla="*/ 185 w 271"/>
                  <a:gd name="T29" fmla="*/ 180 h 223"/>
                  <a:gd name="T30" fmla="*/ 189 w 271"/>
                  <a:gd name="T31" fmla="*/ 193 h 223"/>
                  <a:gd name="T32" fmla="*/ 206 w 271"/>
                  <a:gd name="T33" fmla="*/ 204 h 223"/>
                  <a:gd name="T34" fmla="*/ 260 w 271"/>
                  <a:gd name="T35" fmla="*/ 195 h 223"/>
                  <a:gd name="T36" fmla="*/ 254 w 271"/>
                  <a:gd name="T37" fmla="*/ 182 h 223"/>
                  <a:gd name="T38" fmla="*/ 238 w 271"/>
                  <a:gd name="T39" fmla="*/ 191 h 223"/>
                  <a:gd name="T40" fmla="*/ 246 w 271"/>
                  <a:gd name="T41" fmla="*/ 178 h 223"/>
                  <a:gd name="T42" fmla="*/ 253 w 271"/>
                  <a:gd name="T43" fmla="*/ 162 h 223"/>
                  <a:gd name="T44" fmla="*/ 260 w 271"/>
                  <a:gd name="T45" fmla="*/ 173 h 223"/>
                  <a:gd name="T46" fmla="*/ 265 w 271"/>
                  <a:gd name="T47" fmla="*/ 173 h 223"/>
                  <a:gd name="T48" fmla="*/ 271 w 271"/>
                  <a:gd name="T49" fmla="*/ 159 h 223"/>
                  <a:gd name="T50" fmla="*/ 261 w 271"/>
                  <a:gd name="T51" fmla="*/ 152 h 223"/>
                  <a:gd name="T52" fmla="*/ 233 w 271"/>
                  <a:gd name="T53" fmla="*/ 131 h 223"/>
                  <a:gd name="T54" fmla="*/ 218 w 271"/>
                  <a:gd name="T55" fmla="*/ 88 h 223"/>
                  <a:gd name="T56" fmla="*/ 205 w 271"/>
                  <a:gd name="T57" fmla="*/ 38 h 223"/>
                  <a:gd name="T58" fmla="*/ 202 w 271"/>
                  <a:gd name="T59" fmla="*/ 27 h 223"/>
                  <a:gd name="T60" fmla="*/ 179 w 271"/>
                  <a:gd name="T61" fmla="*/ 5 h 223"/>
                  <a:gd name="T62" fmla="*/ 162 w 271"/>
                  <a:gd name="T63" fmla="*/ 3 h 223"/>
                  <a:gd name="T64" fmla="*/ 160 w 271"/>
                  <a:gd name="T65" fmla="*/ 11 h 223"/>
                  <a:gd name="T66" fmla="*/ 173 w 271"/>
                  <a:gd name="T67" fmla="*/ 71 h 223"/>
                  <a:gd name="T68" fmla="*/ 159 w 271"/>
                  <a:gd name="T69" fmla="*/ 79 h 223"/>
                  <a:gd name="T70" fmla="*/ 156 w 271"/>
                  <a:gd name="T71" fmla="*/ 65 h 223"/>
                  <a:gd name="T72" fmla="*/ 141 w 271"/>
                  <a:gd name="T73" fmla="*/ 24 h 223"/>
                  <a:gd name="T74" fmla="*/ 136 w 271"/>
                  <a:gd name="T75" fmla="*/ 35 h 223"/>
                  <a:gd name="T76" fmla="*/ 135 w 271"/>
                  <a:gd name="T77" fmla="*/ 40 h 223"/>
                  <a:gd name="T78" fmla="*/ 115 w 271"/>
                  <a:gd name="T79" fmla="*/ 35 h 223"/>
                  <a:gd name="T80" fmla="*/ 81 w 271"/>
                  <a:gd name="T81" fmla="*/ 23 h 223"/>
                  <a:gd name="T82" fmla="*/ 66 w 271"/>
                  <a:gd name="T83" fmla="*/ 40 h 223"/>
                  <a:gd name="T84" fmla="*/ 71 w 271"/>
                  <a:gd name="T85" fmla="*/ 4 h 223"/>
                  <a:gd name="T86" fmla="*/ 12 w 271"/>
                  <a:gd name="T87" fmla="*/ 37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71" h="223">
                    <a:moveTo>
                      <a:pt x="8" y="50"/>
                    </a:moveTo>
                    <a:lnTo>
                      <a:pt x="14" y="57"/>
                    </a:lnTo>
                    <a:lnTo>
                      <a:pt x="0" y="75"/>
                    </a:lnTo>
                    <a:lnTo>
                      <a:pt x="3" y="85"/>
                    </a:lnTo>
                    <a:lnTo>
                      <a:pt x="18" y="84"/>
                    </a:lnTo>
                    <a:lnTo>
                      <a:pt x="18" y="90"/>
                    </a:lnTo>
                    <a:lnTo>
                      <a:pt x="12" y="95"/>
                    </a:lnTo>
                    <a:lnTo>
                      <a:pt x="13" y="98"/>
                    </a:lnTo>
                    <a:lnTo>
                      <a:pt x="52" y="90"/>
                    </a:lnTo>
                    <a:lnTo>
                      <a:pt x="44" y="95"/>
                    </a:lnTo>
                    <a:lnTo>
                      <a:pt x="47" y="98"/>
                    </a:lnTo>
                    <a:lnTo>
                      <a:pt x="12" y="114"/>
                    </a:lnTo>
                    <a:lnTo>
                      <a:pt x="21" y="131"/>
                    </a:lnTo>
                    <a:lnTo>
                      <a:pt x="53" y="136"/>
                    </a:lnTo>
                    <a:lnTo>
                      <a:pt x="77" y="128"/>
                    </a:lnTo>
                    <a:lnTo>
                      <a:pt x="103" y="141"/>
                    </a:lnTo>
                    <a:lnTo>
                      <a:pt x="97" y="148"/>
                    </a:lnTo>
                    <a:lnTo>
                      <a:pt x="69" y="145"/>
                    </a:lnTo>
                    <a:lnTo>
                      <a:pt x="25" y="158"/>
                    </a:lnTo>
                    <a:lnTo>
                      <a:pt x="37" y="182"/>
                    </a:lnTo>
                    <a:lnTo>
                      <a:pt x="63" y="189"/>
                    </a:lnTo>
                    <a:lnTo>
                      <a:pt x="81" y="199"/>
                    </a:lnTo>
                    <a:lnTo>
                      <a:pt x="81" y="206"/>
                    </a:lnTo>
                    <a:lnTo>
                      <a:pt x="82" y="212"/>
                    </a:lnTo>
                    <a:lnTo>
                      <a:pt x="89" y="219"/>
                    </a:lnTo>
                    <a:lnTo>
                      <a:pt x="86" y="223"/>
                    </a:lnTo>
                    <a:lnTo>
                      <a:pt x="141" y="215"/>
                    </a:lnTo>
                    <a:lnTo>
                      <a:pt x="155" y="202"/>
                    </a:lnTo>
                    <a:lnTo>
                      <a:pt x="174" y="201"/>
                    </a:lnTo>
                    <a:lnTo>
                      <a:pt x="185" y="180"/>
                    </a:lnTo>
                    <a:lnTo>
                      <a:pt x="189" y="185"/>
                    </a:lnTo>
                    <a:lnTo>
                      <a:pt x="189" y="193"/>
                    </a:lnTo>
                    <a:lnTo>
                      <a:pt x="209" y="197"/>
                    </a:lnTo>
                    <a:lnTo>
                      <a:pt x="206" y="204"/>
                    </a:lnTo>
                    <a:lnTo>
                      <a:pt x="239" y="211"/>
                    </a:lnTo>
                    <a:lnTo>
                      <a:pt x="260" y="195"/>
                    </a:lnTo>
                    <a:lnTo>
                      <a:pt x="251" y="193"/>
                    </a:lnTo>
                    <a:lnTo>
                      <a:pt x="254" y="182"/>
                    </a:lnTo>
                    <a:lnTo>
                      <a:pt x="252" y="180"/>
                    </a:lnTo>
                    <a:lnTo>
                      <a:pt x="238" y="191"/>
                    </a:lnTo>
                    <a:lnTo>
                      <a:pt x="237" y="178"/>
                    </a:lnTo>
                    <a:lnTo>
                      <a:pt x="246" y="178"/>
                    </a:lnTo>
                    <a:lnTo>
                      <a:pt x="245" y="169"/>
                    </a:lnTo>
                    <a:lnTo>
                      <a:pt x="253" y="162"/>
                    </a:lnTo>
                    <a:lnTo>
                      <a:pt x="255" y="172"/>
                    </a:lnTo>
                    <a:lnTo>
                      <a:pt x="260" y="173"/>
                    </a:lnTo>
                    <a:lnTo>
                      <a:pt x="261" y="161"/>
                    </a:lnTo>
                    <a:lnTo>
                      <a:pt x="265" y="173"/>
                    </a:lnTo>
                    <a:lnTo>
                      <a:pt x="268" y="173"/>
                    </a:lnTo>
                    <a:lnTo>
                      <a:pt x="271" y="159"/>
                    </a:lnTo>
                    <a:lnTo>
                      <a:pt x="270" y="152"/>
                    </a:lnTo>
                    <a:lnTo>
                      <a:pt x="261" y="152"/>
                    </a:lnTo>
                    <a:lnTo>
                      <a:pt x="242" y="130"/>
                    </a:lnTo>
                    <a:lnTo>
                      <a:pt x="233" y="131"/>
                    </a:lnTo>
                    <a:lnTo>
                      <a:pt x="216" y="111"/>
                    </a:lnTo>
                    <a:lnTo>
                      <a:pt x="218" y="88"/>
                    </a:lnTo>
                    <a:lnTo>
                      <a:pt x="208" y="68"/>
                    </a:lnTo>
                    <a:lnTo>
                      <a:pt x="205" y="38"/>
                    </a:lnTo>
                    <a:lnTo>
                      <a:pt x="201" y="33"/>
                    </a:lnTo>
                    <a:lnTo>
                      <a:pt x="202" y="27"/>
                    </a:lnTo>
                    <a:lnTo>
                      <a:pt x="183" y="5"/>
                    </a:lnTo>
                    <a:lnTo>
                      <a:pt x="179" y="5"/>
                    </a:lnTo>
                    <a:lnTo>
                      <a:pt x="180" y="11"/>
                    </a:lnTo>
                    <a:lnTo>
                      <a:pt x="162" y="3"/>
                    </a:lnTo>
                    <a:lnTo>
                      <a:pt x="164" y="7"/>
                    </a:lnTo>
                    <a:lnTo>
                      <a:pt x="160" y="11"/>
                    </a:lnTo>
                    <a:lnTo>
                      <a:pt x="167" y="55"/>
                    </a:lnTo>
                    <a:lnTo>
                      <a:pt x="173" y="71"/>
                    </a:lnTo>
                    <a:lnTo>
                      <a:pt x="162" y="84"/>
                    </a:lnTo>
                    <a:lnTo>
                      <a:pt x="159" y="79"/>
                    </a:lnTo>
                    <a:lnTo>
                      <a:pt x="160" y="70"/>
                    </a:lnTo>
                    <a:lnTo>
                      <a:pt x="156" y="65"/>
                    </a:lnTo>
                    <a:lnTo>
                      <a:pt x="154" y="43"/>
                    </a:lnTo>
                    <a:lnTo>
                      <a:pt x="141" y="24"/>
                    </a:lnTo>
                    <a:lnTo>
                      <a:pt x="127" y="19"/>
                    </a:lnTo>
                    <a:lnTo>
                      <a:pt x="136" y="35"/>
                    </a:lnTo>
                    <a:lnTo>
                      <a:pt x="131" y="35"/>
                    </a:lnTo>
                    <a:lnTo>
                      <a:pt x="135" y="40"/>
                    </a:lnTo>
                    <a:lnTo>
                      <a:pt x="104" y="52"/>
                    </a:lnTo>
                    <a:lnTo>
                      <a:pt x="115" y="35"/>
                    </a:lnTo>
                    <a:lnTo>
                      <a:pt x="89" y="18"/>
                    </a:lnTo>
                    <a:lnTo>
                      <a:pt x="81" y="23"/>
                    </a:lnTo>
                    <a:lnTo>
                      <a:pt x="81" y="35"/>
                    </a:lnTo>
                    <a:lnTo>
                      <a:pt x="66" y="40"/>
                    </a:lnTo>
                    <a:lnTo>
                      <a:pt x="73" y="19"/>
                    </a:lnTo>
                    <a:lnTo>
                      <a:pt x="71" y="4"/>
                    </a:lnTo>
                    <a:lnTo>
                      <a:pt x="64" y="0"/>
                    </a:lnTo>
                    <a:lnTo>
                      <a:pt x="12" y="37"/>
                    </a:lnTo>
                    <a:lnTo>
                      <a:pt x="8" y="5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9" name="Freeform 114"/>
              <p:cNvSpPr>
                <a:spLocks/>
              </p:cNvSpPr>
              <p:nvPr/>
            </p:nvSpPr>
            <p:spPr bwMode="auto">
              <a:xfrm>
                <a:off x="1170" y="-2345"/>
                <a:ext cx="156" cy="177"/>
              </a:xfrm>
              <a:custGeom>
                <a:avLst/>
                <a:gdLst>
                  <a:gd name="T0" fmla="*/ 24 w 156"/>
                  <a:gd name="T1" fmla="*/ 146 h 177"/>
                  <a:gd name="T2" fmla="*/ 39 w 156"/>
                  <a:gd name="T3" fmla="*/ 177 h 177"/>
                  <a:gd name="T4" fmla="*/ 61 w 156"/>
                  <a:gd name="T5" fmla="*/ 157 h 177"/>
                  <a:gd name="T6" fmla="*/ 66 w 156"/>
                  <a:gd name="T7" fmla="*/ 163 h 177"/>
                  <a:gd name="T8" fmla="*/ 76 w 156"/>
                  <a:gd name="T9" fmla="*/ 157 h 177"/>
                  <a:gd name="T10" fmla="*/ 80 w 156"/>
                  <a:gd name="T11" fmla="*/ 146 h 177"/>
                  <a:gd name="T12" fmla="*/ 79 w 156"/>
                  <a:gd name="T13" fmla="*/ 136 h 177"/>
                  <a:gd name="T14" fmla="*/ 83 w 156"/>
                  <a:gd name="T15" fmla="*/ 122 h 177"/>
                  <a:gd name="T16" fmla="*/ 96 w 156"/>
                  <a:gd name="T17" fmla="*/ 118 h 177"/>
                  <a:gd name="T18" fmla="*/ 101 w 156"/>
                  <a:gd name="T19" fmla="*/ 102 h 177"/>
                  <a:gd name="T20" fmla="*/ 156 w 156"/>
                  <a:gd name="T21" fmla="*/ 60 h 177"/>
                  <a:gd name="T22" fmla="*/ 122 w 156"/>
                  <a:gd name="T23" fmla="*/ 19 h 177"/>
                  <a:gd name="T24" fmla="*/ 104 w 156"/>
                  <a:gd name="T25" fmla="*/ 20 h 177"/>
                  <a:gd name="T26" fmla="*/ 99 w 156"/>
                  <a:gd name="T27" fmla="*/ 33 h 177"/>
                  <a:gd name="T28" fmla="*/ 99 w 156"/>
                  <a:gd name="T29" fmla="*/ 21 h 177"/>
                  <a:gd name="T30" fmla="*/ 91 w 156"/>
                  <a:gd name="T31" fmla="*/ 31 h 177"/>
                  <a:gd name="T32" fmla="*/ 92 w 156"/>
                  <a:gd name="T33" fmla="*/ 21 h 177"/>
                  <a:gd name="T34" fmla="*/ 65 w 156"/>
                  <a:gd name="T35" fmla="*/ 0 h 177"/>
                  <a:gd name="T36" fmla="*/ 41 w 156"/>
                  <a:gd name="T37" fmla="*/ 5 h 177"/>
                  <a:gd name="T38" fmla="*/ 41 w 156"/>
                  <a:gd name="T39" fmla="*/ 12 h 177"/>
                  <a:gd name="T40" fmla="*/ 39 w 156"/>
                  <a:gd name="T41" fmla="*/ 5 h 177"/>
                  <a:gd name="T42" fmla="*/ 17 w 156"/>
                  <a:gd name="T43" fmla="*/ 10 h 177"/>
                  <a:gd name="T44" fmla="*/ 23 w 156"/>
                  <a:gd name="T45" fmla="*/ 20 h 177"/>
                  <a:gd name="T46" fmla="*/ 21 w 156"/>
                  <a:gd name="T47" fmla="*/ 25 h 177"/>
                  <a:gd name="T48" fmla="*/ 23 w 156"/>
                  <a:gd name="T49" fmla="*/ 33 h 177"/>
                  <a:gd name="T50" fmla="*/ 28 w 156"/>
                  <a:gd name="T51" fmla="*/ 40 h 177"/>
                  <a:gd name="T52" fmla="*/ 13 w 156"/>
                  <a:gd name="T53" fmla="*/ 78 h 177"/>
                  <a:gd name="T54" fmla="*/ 17 w 156"/>
                  <a:gd name="T55" fmla="*/ 86 h 177"/>
                  <a:gd name="T56" fmla="*/ 9 w 156"/>
                  <a:gd name="T57" fmla="*/ 88 h 177"/>
                  <a:gd name="T58" fmla="*/ 11 w 156"/>
                  <a:gd name="T59" fmla="*/ 105 h 177"/>
                  <a:gd name="T60" fmla="*/ 0 w 156"/>
                  <a:gd name="T61" fmla="*/ 136 h 177"/>
                  <a:gd name="T62" fmla="*/ 24 w 156"/>
                  <a:gd name="T63" fmla="*/ 146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6" h="177">
                    <a:moveTo>
                      <a:pt x="24" y="146"/>
                    </a:moveTo>
                    <a:lnTo>
                      <a:pt x="39" y="177"/>
                    </a:lnTo>
                    <a:lnTo>
                      <a:pt x="61" y="157"/>
                    </a:lnTo>
                    <a:lnTo>
                      <a:pt x="66" y="163"/>
                    </a:lnTo>
                    <a:lnTo>
                      <a:pt x="76" y="157"/>
                    </a:lnTo>
                    <a:lnTo>
                      <a:pt x="80" y="146"/>
                    </a:lnTo>
                    <a:lnTo>
                      <a:pt x="79" y="136"/>
                    </a:lnTo>
                    <a:lnTo>
                      <a:pt x="83" y="122"/>
                    </a:lnTo>
                    <a:lnTo>
                      <a:pt x="96" y="118"/>
                    </a:lnTo>
                    <a:lnTo>
                      <a:pt x="101" y="102"/>
                    </a:lnTo>
                    <a:lnTo>
                      <a:pt x="156" y="60"/>
                    </a:lnTo>
                    <a:lnTo>
                      <a:pt x="122" y="19"/>
                    </a:lnTo>
                    <a:lnTo>
                      <a:pt x="104" y="20"/>
                    </a:lnTo>
                    <a:lnTo>
                      <a:pt x="99" y="33"/>
                    </a:lnTo>
                    <a:lnTo>
                      <a:pt x="99" y="21"/>
                    </a:lnTo>
                    <a:lnTo>
                      <a:pt x="91" y="31"/>
                    </a:lnTo>
                    <a:lnTo>
                      <a:pt x="92" y="21"/>
                    </a:lnTo>
                    <a:lnTo>
                      <a:pt x="65" y="0"/>
                    </a:lnTo>
                    <a:lnTo>
                      <a:pt x="41" y="5"/>
                    </a:lnTo>
                    <a:lnTo>
                      <a:pt x="41" y="12"/>
                    </a:lnTo>
                    <a:lnTo>
                      <a:pt x="39" y="5"/>
                    </a:lnTo>
                    <a:lnTo>
                      <a:pt x="17" y="10"/>
                    </a:lnTo>
                    <a:lnTo>
                      <a:pt x="23" y="20"/>
                    </a:lnTo>
                    <a:lnTo>
                      <a:pt x="21" y="25"/>
                    </a:lnTo>
                    <a:lnTo>
                      <a:pt x="23" y="33"/>
                    </a:lnTo>
                    <a:lnTo>
                      <a:pt x="28" y="40"/>
                    </a:lnTo>
                    <a:lnTo>
                      <a:pt x="13" y="78"/>
                    </a:lnTo>
                    <a:lnTo>
                      <a:pt x="17" y="86"/>
                    </a:lnTo>
                    <a:lnTo>
                      <a:pt x="9" y="88"/>
                    </a:lnTo>
                    <a:lnTo>
                      <a:pt x="11" y="105"/>
                    </a:lnTo>
                    <a:lnTo>
                      <a:pt x="0" y="136"/>
                    </a:lnTo>
                    <a:lnTo>
                      <a:pt x="24" y="146"/>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0" name="Freeform 115"/>
              <p:cNvSpPr>
                <a:spLocks/>
              </p:cNvSpPr>
              <p:nvPr/>
            </p:nvSpPr>
            <p:spPr bwMode="auto">
              <a:xfrm>
                <a:off x="1019" y="-2087"/>
                <a:ext cx="15" cy="11"/>
              </a:xfrm>
              <a:custGeom>
                <a:avLst/>
                <a:gdLst>
                  <a:gd name="T0" fmla="*/ 15 w 15"/>
                  <a:gd name="T1" fmla="*/ 11 h 11"/>
                  <a:gd name="T2" fmla="*/ 0 w 15"/>
                  <a:gd name="T3" fmla="*/ 0 h 11"/>
                  <a:gd name="T4" fmla="*/ 4 w 15"/>
                  <a:gd name="T5" fmla="*/ 9 h 11"/>
                  <a:gd name="T6" fmla="*/ 15 w 15"/>
                  <a:gd name="T7" fmla="*/ 11 h 11"/>
                </a:gdLst>
                <a:ahLst/>
                <a:cxnLst>
                  <a:cxn ang="0">
                    <a:pos x="T0" y="T1"/>
                  </a:cxn>
                  <a:cxn ang="0">
                    <a:pos x="T2" y="T3"/>
                  </a:cxn>
                  <a:cxn ang="0">
                    <a:pos x="T4" y="T5"/>
                  </a:cxn>
                  <a:cxn ang="0">
                    <a:pos x="T6" y="T7"/>
                  </a:cxn>
                </a:cxnLst>
                <a:rect l="0" t="0" r="r" b="b"/>
                <a:pathLst>
                  <a:path w="15" h="11">
                    <a:moveTo>
                      <a:pt x="15" y="11"/>
                    </a:moveTo>
                    <a:lnTo>
                      <a:pt x="0" y="0"/>
                    </a:lnTo>
                    <a:lnTo>
                      <a:pt x="4" y="9"/>
                    </a:lnTo>
                    <a:lnTo>
                      <a:pt x="15" y="11"/>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1" name="Freeform 116"/>
              <p:cNvSpPr>
                <a:spLocks/>
              </p:cNvSpPr>
              <p:nvPr/>
            </p:nvSpPr>
            <p:spPr bwMode="auto">
              <a:xfrm>
                <a:off x="1028" y="-2109"/>
                <a:ext cx="22" cy="30"/>
              </a:xfrm>
              <a:custGeom>
                <a:avLst/>
                <a:gdLst>
                  <a:gd name="T0" fmla="*/ 10 w 22"/>
                  <a:gd name="T1" fmla="*/ 23 h 30"/>
                  <a:gd name="T2" fmla="*/ 6 w 22"/>
                  <a:gd name="T3" fmla="*/ 28 h 30"/>
                  <a:gd name="T4" fmla="*/ 10 w 22"/>
                  <a:gd name="T5" fmla="*/ 30 h 30"/>
                  <a:gd name="T6" fmla="*/ 22 w 22"/>
                  <a:gd name="T7" fmla="*/ 7 h 30"/>
                  <a:gd name="T8" fmla="*/ 16 w 22"/>
                  <a:gd name="T9" fmla="*/ 9 h 30"/>
                  <a:gd name="T10" fmla="*/ 14 w 22"/>
                  <a:gd name="T11" fmla="*/ 0 h 30"/>
                  <a:gd name="T12" fmla="*/ 10 w 22"/>
                  <a:gd name="T13" fmla="*/ 9 h 30"/>
                  <a:gd name="T14" fmla="*/ 13 w 22"/>
                  <a:gd name="T15" fmla="*/ 12 h 30"/>
                  <a:gd name="T16" fmla="*/ 6 w 22"/>
                  <a:gd name="T17" fmla="*/ 16 h 30"/>
                  <a:gd name="T18" fmla="*/ 0 w 22"/>
                  <a:gd name="T19" fmla="*/ 13 h 30"/>
                  <a:gd name="T20" fmla="*/ 3 w 22"/>
                  <a:gd name="T21" fmla="*/ 24 h 30"/>
                  <a:gd name="T22" fmla="*/ 10 w 22"/>
                  <a:gd name="T23" fmla="*/ 2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0">
                    <a:moveTo>
                      <a:pt x="10" y="23"/>
                    </a:moveTo>
                    <a:lnTo>
                      <a:pt x="6" y="28"/>
                    </a:lnTo>
                    <a:lnTo>
                      <a:pt x="10" y="30"/>
                    </a:lnTo>
                    <a:lnTo>
                      <a:pt x="22" y="7"/>
                    </a:lnTo>
                    <a:lnTo>
                      <a:pt x="16" y="9"/>
                    </a:lnTo>
                    <a:lnTo>
                      <a:pt x="14" y="0"/>
                    </a:lnTo>
                    <a:lnTo>
                      <a:pt x="10" y="9"/>
                    </a:lnTo>
                    <a:lnTo>
                      <a:pt x="13" y="12"/>
                    </a:lnTo>
                    <a:lnTo>
                      <a:pt x="6" y="16"/>
                    </a:lnTo>
                    <a:lnTo>
                      <a:pt x="0" y="13"/>
                    </a:lnTo>
                    <a:lnTo>
                      <a:pt x="3" y="24"/>
                    </a:lnTo>
                    <a:lnTo>
                      <a:pt x="10" y="23"/>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2" name="Freeform 117"/>
              <p:cNvSpPr>
                <a:spLocks/>
              </p:cNvSpPr>
              <p:nvPr/>
            </p:nvSpPr>
            <p:spPr bwMode="auto">
              <a:xfrm>
                <a:off x="1872" y="-2092"/>
                <a:ext cx="4" cy="7"/>
              </a:xfrm>
              <a:custGeom>
                <a:avLst/>
                <a:gdLst>
                  <a:gd name="T0" fmla="*/ 4 w 4"/>
                  <a:gd name="T1" fmla="*/ 0 h 7"/>
                  <a:gd name="T2" fmla="*/ 0 w 4"/>
                  <a:gd name="T3" fmla="*/ 0 h 7"/>
                  <a:gd name="T4" fmla="*/ 0 w 4"/>
                  <a:gd name="T5" fmla="*/ 7 h 7"/>
                  <a:gd name="T6" fmla="*/ 3 w 4"/>
                  <a:gd name="T7" fmla="*/ 7 h 7"/>
                  <a:gd name="T8" fmla="*/ 4 w 4"/>
                  <a:gd name="T9" fmla="*/ 0 h 7"/>
                </a:gdLst>
                <a:ahLst/>
                <a:cxnLst>
                  <a:cxn ang="0">
                    <a:pos x="T0" y="T1"/>
                  </a:cxn>
                  <a:cxn ang="0">
                    <a:pos x="T2" y="T3"/>
                  </a:cxn>
                  <a:cxn ang="0">
                    <a:pos x="T4" y="T5"/>
                  </a:cxn>
                  <a:cxn ang="0">
                    <a:pos x="T6" y="T7"/>
                  </a:cxn>
                  <a:cxn ang="0">
                    <a:pos x="T8" y="T9"/>
                  </a:cxn>
                </a:cxnLst>
                <a:rect l="0" t="0" r="r" b="b"/>
                <a:pathLst>
                  <a:path w="4" h="7">
                    <a:moveTo>
                      <a:pt x="4" y="0"/>
                    </a:moveTo>
                    <a:lnTo>
                      <a:pt x="0" y="0"/>
                    </a:lnTo>
                    <a:lnTo>
                      <a:pt x="0" y="7"/>
                    </a:lnTo>
                    <a:lnTo>
                      <a:pt x="3" y="7"/>
                    </a:lnTo>
                    <a:lnTo>
                      <a:pt x="4"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3" name="Freeform 118"/>
              <p:cNvSpPr>
                <a:spLocks/>
              </p:cNvSpPr>
              <p:nvPr/>
            </p:nvSpPr>
            <p:spPr bwMode="auto">
              <a:xfrm>
                <a:off x="1860" y="-2086"/>
                <a:ext cx="13" cy="15"/>
              </a:xfrm>
              <a:custGeom>
                <a:avLst/>
                <a:gdLst>
                  <a:gd name="T0" fmla="*/ 13 w 13"/>
                  <a:gd name="T1" fmla="*/ 3 h 15"/>
                  <a:gd name="T2" fmla="*/ 10 w 13"/>
                  <a:gd name="T3" fmla="*/ 0 h 15"/>
                  <a:gd name="T4" fmla="*/ 0 w 13"/>
                  <a:gd name="T5" fmla="*/ 15 h 15"/>
                  <a:gd name="T6" fmla="*/ 8 w 13"/>
                  <a:gd name="T7" fmla="*/ 10 h 15"/>
                  <a:gd name="T8" fmla="*/ 13 w 13"/>
                  <a:gd name="T9" fmla="*/ 3 h 15"/>
                </a:gdLst>
                <a:ahLst/>
                <a:cxnLst>
                  <a:cxn ang="0">
                    <a:pos x="T0" y="T1"/>
                  </a:cxn>
                  <a:cxn ang="0">
                    <a:pos x="T2" y="T3"/>
                  </a:cxn>
                  <a:cxn ang="0">
                    <a:pos x="T4" y="T5"/>
                  </a:cxn>
                  <a:cxn ang="0">
                    <a:pos x="T6" y="T7"/>
                  </a:cxn>
                  <a:cxn ang="0">
                    <a:pos x="T8" y="T9"/>
                  </a:cxn>
                </a:cxnLst>
                <a:rect l="0" t="0" r="r" b="b"/>
                <a:pathLst>
                  <a:path w="13" h="15">
                    <a:moveTo>
                      <a:pt x="13" y="3"/>
                    </a:moveTo>
                    <a:lnTo>
                      <a:pt x="10" y="0"/>
                    </a:lnTo>
                    <a:lnTo>
                      <a:pt x="0" y="15"/>
                    </a:lnTo>
                    <a:lnTo>
                      <a:pt x="8" y="10"/>
                    </a:lnTo>
                    <a:lnTo>
                      <a:pt x="13" y="3"/>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4" name="Freeform 119"/>
              <p:cNvSpPr>
                <a:spLocks/>
              </p:cNvSpPr>
              <p:nvPr/>
            </p:nvSpPr>
            <p:spPr bwMode="auto">
              <a:xfrm>
                <a:off x="3167" y="-701"/>
                <a:ext cx="7" cy="8"/>
              </a:xfrm>
              <a:custGeom>
                <a:avLst/>
                <a:gdLst>
                  <a:gd name="T0" fmla="*/ 7 w 7"/>
                  <a:gd name="T1" fmla="*/ 2 h 8"/>
                  <a:gd name="T2" fmla="*/ 2 w 7"/>
                  <a:gd name="T3" fmla="*/ 0 h 8"/>
                  <a:gd name="T4" fmla="*/ 0 w 7"/>
                  <a:gd name="T5" fmla="*/ 8 h 8"/>
                  <a:gd name="T6" fmla="*/ 5 w 7"/>
                  <a:gd name="T7" fmla="*/ 8 h 8"/>
                  <a:gd name="T8" fmla="*/ 7 w 7"/>
                  <a:gd name="T9" fmla="*/ 2 h 8"/>
                </a:gdLst>
                <a:ahLst/>
                <a:cxnLst>
                  <a:cxn ang="0">
                    <a:pos x="T0" y="T1"/>
                  </a:cxn>
                  <a:cxn ang="0">
                    <a:pos x="T2" y="T3"/>
                  </a:cxn>
                  <a:cxn ang="0">
                    <a:pos x="T4" y="T5"/>
                  </a:cxn>
                  <a:cxn ang="0">
                    <a:pos x="T6" y="T7"/>
                  </a:cxn>
                  <a:cxn ang="0">
                    <a:pos x="T8" y="T9"/>
                  </a:cxn>
                </a:cxnLst>
                <a:rect l="0" t="0" r="r" b="b"/>
                <a:pathLst>
                  <a:path w="7" h="8">
                    <a:moveTo>
                      <a:pt x="7" y="2"/>
                    </a:moveTo>
                    <a:lnTo>
                      <a:pt x="2" y="0"/>
                    </a:lnTo>
                    <a:lnTo>
                      <a:pt x="0" y="8"/>
                    </a:lnTo>
                    <a:lnTo>
                      <a:pt x="5" y="8"/>
                    </a:lnTo>
                    <a:lnTo>
                      <a:pt x="7" y="2"/>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5" name="Freeform 120"/>
              <p:cNvSpPr>
                <a:spLocks/>
              </p:cNvSpPr>
              <p:nvPr/>
            </p:nvSpPr>
            <p:spPr bwMode="auto">
              <a:xfrm>
                <a:off x="3634" y="-882"/>
                <a:ext cx="7" cy="5"/>
              </a:xfrm>
              <a:custGeom>
                <a:avLst/>
                <a:gdLst>
                  <a:gd name="T0" fmla="*/ 1 w 7"/>
                  <a:gd name="T1" fmla="*/ 0 h 5"/>
                  <a:gd name="T2" fmla="*/ 0 w 7"/>
                  <a:gd name="T3" fmla="*/ 1 h 5"/>
                  <a:gd name="T4" fmla="*/ 1 w 7"/>
                  <a:gd name="T5" fmla="*/ 5 h 5"/>
                  <a:gd name="T6" fmla="*/ 7 w 7"/>
                  <a:gd name="T7" fmla="*/ 5 h 5"/>
                  <a:gd name="T8" fmla="*/ 4 w 7"/>
                  <a:gd name="T9" fmla="*/ 3 h 5"/>
                  <a:gd name="T10" fmla="*/ 1 w 7"/>
                  <a:gd name="T11" fmla="*/ 0 h 5"/>
                </a:gdLst>
                <a:ahLst/>
                <a:cxnLst>
                  <a:cxn ang="0">
                    <a:pos x="T0" y="T1"/>
                  </a:cxn>
                  <a:cxn ang="0">
                    <a:pos x="T2" y="T3"/>
                  </a:cxn>
                  <a:cxn ang="0">
                    <a:pos x="T4" y="T5"/>
                  </a:cxn>
                  <a:cxn ang="0">
                    <a:pos x="T6" y="T7"/>
                  </a:cxn>
                  <a:cxn ang="0">
                    <a:pos x="T8" y="T9"/>
                  </a:cxn>
                  <a:cxn ang="0">
                    <a:pos x="T10" y="T11"/>
                  </a:cxn>
                </a:cxnLst>
                <a:rect l="0" t="0" r="r" b="b"/>
                <a:pathLst>
                  <a:path w="7" h="5">
                    <a:moveTo>
                      <a:pt x="1" y="0"/>
                    </a:moveTo>
                    <a:lnTo>
                      <a:pt x="0" y="1"/>
                    </a:lnTo>
                    <a:lnTo>
                      <a:pt x="1" y="5"/>
                    </a:lnTo>
                    <a:lnTo>
                      <a:pt x="7" y="5"/>
                    </a:lnTo>
                    <a:lnTo>
                      <a:pt x="4" y="3"/>
                    </a:lnTo>
                    <a:lnTo>
                      <a:pt x="1"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6" name="Freeform 121"/>
              <p:cNvSpPr>
                <a:spLocks/>
              </p:cNvSpPr>
              <p:nvPr/>
            </p:nvSpPr>
            <p:spPr bwMode="auto">
              <a:xfrm>
                <a:off x="3681" y="-463"/>
                <a:ext cx="107" cy="211"/>
              </a:xfrm>
              <a:custGeom>
                <a:avLst/>
                <a:gdLst>
                  <a:gd name="T0" fmla="*/ 89 w 107"/>
                  <a:gd name="T1" fmla="*/ 0 h 211"/>
                  <a:gd name="T2" fmla="*/ 83 w 107"/>
                  <a:gd name="T3" fmla="*/ 4 h 211"/>
                  <a:gd name="T4" fmla="*/ 83 w 107"/>
                  <a:gd name="T5" fmla="*/ 17 h 211"/>
                  <a:gd name="T6" fmla="*/ 78 w 107"/>
                  <a:gd name="T7" fmla="*/ 17 h 211"/>
                  <a:gd name="T8" fmla="*/ 74 w 107"/>
                  <a:gd name="T9" fmla="*/ 26 h 211"/>
                  <a:gd name="T10" fmla="*/ 73 w 107"/>
                  <a:gd name="T11" fmla="*/ 22 h 211"/>
                  <a:gd name="T12" fmla="*/ 70 w 107"/>
                  <a:gd name="T13" fmla="*/ 22 h 211"/>
                  <a:gd name="T14" fmla="*/ 71 w 107"/>
                  <a:gd name="T15" fmla="*/ 30 h 211"/>
                  <a:gd name="T16" fmla="*/ 70 w 107"/>
                  <a:gd name="T17" fmla="*/ 29 h 211"/>
                  <a:gd name="T18" fmla="*/ 66 w 107"/>
                  <a:gd name="T19" fmla="*/ 34 h 211"/>
                  <a:gd name="T20" fmla="*/ 71 w 107"/>
                  <a:gd name="T21" fmla="*/ 37 h 211"/>
                  <a:gd name="T22" fmla="*/ 67 w 107"/>
                  <a:gd name="T23" fmla="*/ 39 h 211"/>
                  <a:gd name="T24" fmla="*/ 63 w 107"/>
                  <a:gd name="T25" fmla="*/ 43 h 211"/>
                  <a:gd name="T26" fmla="*/ 63 w 107"/>
                  <a:gd name="T27" fmla="*/ 39 h 211"/>
                  <a:gd name="T28" fmla="*/ 60 w 107"/>
                  <a:gd name="T29" fmla="*/ 41 h 211"/>
                  <a:gd name="T30" fmla="*/ 58 w 107"/>
                  <a:gd name="T31" fmla="*/ 45 h 211"/>
                  <a:gd name="T32" fmla="*/ 60 w 107"/>
                  <a:gd name="T33" fmla="*/ 52 h 211"/>
                  <a:gd name="T34" fmla="*/ 57 w 107"/>
                  <a:gd name="T35" fmla="*/ 52 h 211"/>
                  <a:gd name="T36" fmla="*/ 54 w 107"/>
                  <a:gd name="T37" fmla="*/ 47 h 211"/>
                  <a:gd name="T38" fmla="*/ 48 w 107"/>
                  <a:gd name="T39" fmla="*/ 52 h 211"/>
                  <a:gd name="T40" fmla="*/ 51 w 107"/>
                  <a:gd name="T41" fmla="*/ 60 h 211"/>
                  <a:gd name="T42" fmla="*/ 47 w 107"/>
                  <a:gd name="T43" fmla="*/ 60 h 211"/>
                  <a:gd name="T44" fmla="*/ 42 w 107"/>
                  <a:gd name="T45" fmla="*/ 55 h 211"/>
                  <a:gd name="T46" fmla="*/ 32 w 107"/>
                  <a:gd name="T47" fmla="*/ 60 h 211"/>
                  <a:gd name="T48" fmla="*/ 29 w 107"/>
                  <a:gd name="T49" fmla="*/ 59 h 211"/>
                  <a:gd name="T50" fmla="*/ 19 w 107"/>
                  <a:gd name="T51" fmla="*/ 64 h 211"/>
                  <a:gd name="T52" fmla="*/ 19 w 107"/>
                  <a:gd name="T53" fmla="*/ 67 h 211"/>
                  <a:gd name="T54" fmla="*/ 11 w 107"/>
                  <a:gd name="T55" fmla="*/ 82 h 211"/>
                  <a:gd name="T56" fmla="*/ 20 w 107"/>
                  <a:gd name="T57" fmla="*/ 118 h 211"/>
                  <a:gd name="T58" fmla="*/ 0 w 107"/>
                  <a:gd name="T59" fmla="*/ 151 h 211"/>
                  <a:gd name="T60" fmla="*/ 2 w 107"/>
                  <a:gd name="T61" fmla="*/ 163 h 211"/>
                  <a:gd name="T62" fmla="*/ 8 w 107"/>
                  <a:gd name="T63" fmla="*/ 177 h 211"/>
                  <a:gd name="T64" fmla="*/ 11 w 107"/>
                  <a:gd name="T65" fmla="*/ 195 h 211"/>
                  <a:gd name="T66" fmla="*/ 14 w 107"/>
                  <a:gd name="T67" fmla="*/ 200 h 211"/>
                  <a:gd name="T68" fmla="*/ 29 w 107"/>
                  <a:gd name="T69" fmla="*/ 211 h 211"/>
                  <a:gd name="T70" fmla="*/ 42 w 107"/>
                  <a:gd name="T71" fmla="*/ 204 h 211"/>
                  <a:gd name="T72" fmla="*/ 53 w 107"/>
                  <a:gd name="T73" fmla="*/ 203 h 211"/>
                  <a:gd name="T74" fmla="*/ 60 w 107"/>
                  <a:gd name="T75" fmla="*/ 195 h 211"/>
                  <a:gd name="T76" fmla="*/ 90 w 107"/>
                  <a:gd name="T77" fmla="*/ 100 h 211"/>
                  <a:gd name="T78" fmla="*/ 93 w 107"/>
                  <a:gd name="T79" fmla="*/ 77 h 211"/>
                  <a:gd name="T80" fmla="*/ 98 w 107"/>
                  <a:gd name="T81" fmla="*/ 68 h 211"/>
                  <a:gd name="T82" fmla="*/ 98 w 107"/>
                  <a:gd name="T83" fmla="*/ 49 h 211"/>
                  <a:gd name="T84" fmla="*/ 100 w 107"/>
                  <a:gd name="T85" fmla="*/ 49 h 211"/>
                  <a:gd name="T86" fmla="*/ 104 w 107"/>
                  <a:gd name="T87" fmla="*/ 58 h 211"/>
                  <a:gd name="T88" fmla="*/ 105 w 107"/>
                  <a:gd name="T89" fmla="*/ 58 h 211"/>
                  <a:gd name="T90" fmla="*/ 107 w 107"/>
                  <a:gd name="T91" fmla="*/ 49 h 211"/>
                  <a:gd name="T92" fmla="*/ 98 w 107"/>
                  <a:gd name="T93" fmla="*/ 14 h 211"/>
                  <a:gd name="T94" fmla="*/ 89 w 107"/>
                  <a:gd name="T95"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7" h="211">
                    <a:moveTo>
                      <a:pt x="89" y="0"/>
                    </a:moveTo>
                    <a:lnTo>
                      <a:pt x="83" y="4"/>
                    </a:lnTo>
                    <a:lnTo>
                      <a:pt x="83" y="17"/>
                    </a:lnTo>
                    <a:lnTo>
                      <a:pt x="78" y="17"/>
                    </a:lnTo>
                    <a:lnTo>
                      <a:pt x="74" y="26"/>
                    </a:lnTo>
                    <a:lnTo>
                      <a:pt x="73" y="22"/>
                    </a:lnTo>
                    <a:lnTo>
                      <a:pt x="70" y="22"/>
                    </a:lnTo>
                    <a:lnTo>
                      <a:pt x="71" y="30"/>
                    </a:lnTo>
                    <a:lnTo>
                      <a:pt x="70" y="29"/>
                    </a:lnTo>
                    <a:lnTo>
                      <a:pt x="66" y="34"/>
                    </a:lnTo>
                    <a:lnTo>
                      <a:pt x="71" y="37"/>
                    </a:lnTo>
                    <a:lnTo>
                      <a:pt x="67" y="39"/>
                    </a:lnTo>
                    <a:lnTo>
                      <a:pt x="63" y="43"/>
                    </a:lnTo>
                    <a:lnTo>
                      <a:pt x="63" y="39"/>
                    </a:lnTo>
                    <a:lnTo>
                      <a:pt x="60" y="41"/>
                    </a:lnTo>
                    <a:lnTo>
                      <a:pt x="58" y="45"/>
                    </a:lnTo>
                    <a:lnTo>
                      <a:pt x="60" y="52"/>
                    </a:lnTo>
                    <a:lnTo>
                      <a:pt x="57" y="52"/>
                    </a:lnTo>
                    <a:lnTo>
                      <a:pt x="54" y="47"/>
                    </a:lnTo>
                    <a:lnTo>
                      <a:pt x="48" y="52"/>
                    </a:lnTo>
                    <a:lnTo>
                      <a:pt x="51" y="60"/>
                    </a:lnTo>
                    <a:lnTo>
                      <a:pt x="47" y="60"/>
                    </a:lnTo>
                    <a:lnTo>
                      <a:pt x="42" y="55"/>
                    </a:lnTo>
                    <a:lnTo>
                      <a:pt x="32" y="60"/>
                    </a:lnTo>
                    <a:lnTo>
                      <a:pt x="29" y="59"/>
                    </a:lnTo>
                    <a:lnTo>
                      <a:pt x="19" y="64"/>
                    </a:lnTo>
                    <a:lnTo>
                      <a:pt x="19" y="67"/>
                    </a:lnTo>
                    <a:lnTo>
                      <a:pt x="11" y="82"/>
                    </a:lnTo>
                    <a:lnTo>
                      <a:pt x="20" y="118"/>
                    </a:lnTo>
                    <a:lnTo>
                      <a:pt x="0" y="151"/>
                    </a:lnTo>
                    <a:lnTo>
                      <a:pt x="2" y="163"/>
                    </a:lnTo>
                    <a:lnTo>
                      <a:pt x="8" y="177"/>
                    </a:lnTo>
                    <a:lnTo>
                      <a:pt x="11" y="195"/>
                    </a:lnTo>
                    <a:lnTo>
                      <a:pt x="14" y="200"/>
                    </a:lnTo>
                    <a:lnTo>
                      <a:pt x="29" y="211"/>
                    </a:lnTo>
                    <a:lnTo>
                      <a:pt x="42" y="204"/>
                    </a:lnTo>
                    <a:lnTo>
                      <a:pt x="53" y="203"/>
                    </a:lnTo>
                    <a:lnTo>
                      <a:pt x="60" y="195"/>
                    </a:lnTo>
                    <a:lnTo>
                      <a:pt x="90" y="100"/>
                    </a:lnTo>
                    <a:lnTo>
                      <a:pt x="93" y="77"/>
                    </a:lnTo>
                    <a:lnTo>
                      <a:pt x="98" y="68"/>
                    </a:lnTo>
                    <a:lnTo>
                      <a:pt x="98" y="49"/>
                    </a:lnTo>
                    <a:lnTo>
                      <a:pt x="100" y="49"/>
                    </a:lnTo>
                    <a:lnTo>
                      <a:pt x="104" y="58"/>
                    </a:lnTo>
                    <a:lnTo>
                      <a:pt x="105" y="58"/>
                    </a:lnTo>
                    <a:lnTo>
                      <a:pt x="107" y="49"/>
                    </a:lnTo>
                    <a:lnTo>
                      <a:pt x="98" y="14"/>
                    </a:lnTo>
                    <a:lnTo>
                      <a:pt x="89"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7" name="Freeform 122"/>
              <p:cNvSpPr>
                <a:spLocks/>
              </p:cNvSpPr>
              <p:nvPr/>
            </p:nvSpPr>
            <p:spPr bwMode="auto">
              <a:xfrm>
                <a:off x="2850" y="-756"/>
                <a:ext cx="5" cy="3"/>
              </a:xfrm>
              <a:custGeom>
                <a:avLst/>
                <a:gdLst>
                  <a:gd name="T0" fmla="*/ 1 w 5"/>
                  <a:gd name="T1" fmla="*/ 3 h 3"/>
                  <a:gd name="T2" fmla="*/ 5 w 5"/>
                  <a:gd name="T3" fmla="*/ 0 h 3"/>
                  <a:gd name="T4" fmla="*/ 0 w 5"/>
                  <a:gd name="T5" fmla="*/ 0 h 3"/>
                  <a:gd name="T6" fmla="*/ 1 w 5"/>
                  <a:gd name="T7" fmla="*/ 3 h 3"/>
                </a:gdLst>
                <a:ahLst/>
                <a:cxnLst>
                  <a:cxn ang="0">
                    <a:pos x="T0" y="T1"/>
                  </a:cxn>
                  <a:cxn ang="0">
                    <a:pos x="T2" y="T3"/>
                  </a:cxn>
                  <a:cxn ang="0">
                    <a:pos x="T4" y="T5"/>
                  </a:cxn>
                  <a:cxn ang="0">
                    <a:pos x="T6" y="T7"/>
                  </a:cxn>
                </a:cxnLst>
                <a:rect l="0" t="0" r="r" b="b"/>
                <a:pathLst>
                  <a:path w="5" h="3">
                    <a:moveTo>
                      <a:pt x="1" y="3"/>
                    </a:moveTo>
                    <a:lnTo>
                      <a:pt x="5" y="0"/>
                    </a:lnTo>
                    <a:lnTo>
                      <a:pt x="0" y="0"/>
                    </a:lnTo>
                    <a:lnTo>
                      <a:pt x="1" y="3"/>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8" name="Freeform 123"/>
              <p:cNvSpPr>
                <a:spLocks/>
              </p:cNvSpPr>
              <p:nvPr/>
            </p:nvSpPr>
            <p:spPr bwMode="auto">
              <a:xfrm>
                <a:off x="3199" y="-1177"/>
                <a:ext cx="3" cy="3"/>
              </a:xfrm>
              <a:custGeom>
                <a:avLst/>
                <a:gdLst>
                  <a:gd name="T0" fmla="*/ 3 w 3"/>
                  <a:gd name="T1" fmla="*/ 3 h 3"/>
                  <a:gd name="T2" fmla="*/ 2 w 3"/>
                  <a:gd name="T3" fmla="*/ 0 h 3"/>
                  <a:gd name="T4" fmla="*/ 0 w 3"/>
                  <a:gd name="T5" fmla="*/ 3 h 3"/>
                  <a:gd name="T6" fmla="*/ 3 w 3"/>
                  <a:gd name="T7" fmla="*/ 3 h 3"/>
                </a:gdLst>
                <a:ahLst/>
                <a:cxnLst>
                  <a:cxn ang="0">
                    <a:pos x="T0" y="T1"/>
                  </a:cxn>
                  <a:cxn ang="0">
                    <a:pos x="T2" y="T3"/>
                  </a:cxn>
                  <a:cxn ang="0">
                    <a:pos x="T4" y="T5"/>
                  </a:cxn>
                  <a:cxn ang="0">
                    <a:pos x="T6" y="T7"/>
                  </a:cxn>
                </a:cxnLst>
                <a:rect l="0" t="0" r="r" b="b"/>
                <a:pathLst>
                  <a:path w="3" h="3">
                    <a:moveTo>
                      <a:pt x="3" y="3"/>
                    </a:moveTo>
                    <a:lnTo>
                      <a:pt x="2" y="0"/>
                    </a:lnTo>
                    <a:lnTo>
                      <a:pt x="0" y="3"/>
                    </a:lnTo>
                    <a:lnTo>
                      <a:pt x="3" y="3"/>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9" name="Freeform 124"/>
              <p:cNvSpPr>
                <a:spLocks/>
              </p:cNvSpPr>
              <p:nvPr/>
            </p:nvSpPr>
            <p:spPr bwMode="auto">
              <a:xfrm>
                <a:off x="3627" y="-559"/>
                <a:ext cx="3" cy="9"/>
              </a:xfrm>
              <a:custGeom>
                <a:avLst/>
                <a:gdLst>
                  <a:gd name="T0" fmla="*/ 0 w 3"/>
                  <a:gd name="T1" fmla="*/ 8 h 9"/>
                  <a:gd name="T2" fmla="*/ 3 w 3"/>
                  <a:gd name="T3" fmla="*/ 9 h 9"/>
                  <a:gd name="T4" fmla="*/ 0 w 3"/>
                  <a:gd name="T5" fmla="*/ 0 h 9"/>
                  <a:gd name="T6" fmla="*/ 0 w 3"/>
                  <a:gd name="T7" fmla="*/ 8 h 9"/>
                </a:gdLst>
                <a:ahLst/>
                <a:cxnLst>
                  <a:cxn ang="0">
                    <a:pos x="T0" y="T1"/>
                  </a:cxn>
                  <a:cxn ang="0">
                    <a:pos x="T2" y="T3"/>
                  </a:cxn>
                  <a:cxn ang="0">
                    <a:pos x="T4" y="T5"/>
                  </a:cxn>
                  <a:cxn ang="0">
                    <a:pos x="T6" y="T7"/>
                  </a:cxn>
                </a:cxnLst>
                <a:rect l="0" t="0" r="r" b="b"/>
                <a:pathLst>
                  <a:path w="3" h="9">
                    <a:moveTo>
                      <a:pt x="0" y="8"/>
                    </a:moveTo>
                    <a:lnTo>
                      <a:pt x="3" y="9"/>
                    </a:lnTo>
                    <a:lnTo>
                      <a:pt x="0" y="0"/>
                    </a:lnTo>
                    <a:lnTo>
                      <a:pt x="0" y="8"/>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0" name="Freeform 125"/>
              <p:cNvSpPr>
                <a:spLocks/>
              </p:cNvSpPr>
              <p:nvPr/>
            </p:nvSpPr>
            <p:spPr bwMode="auto">
              <a:xfrm>
                <a:off x="3634" y="-572"/>
                <a:ext cx="1" cy="8"/>
              </a:xfrm>
              <a:custGeom>
                <a:avLst/>
                <a:gdLst>
                  <a:gd name="T0" fmla="*/ 1 w 1"/>
                  <a:gd name="T1" fmla="*/ 3 h 8"/>
                  <a:gd name="T2" fmla="*/ 0 w 1"/>
                  <a:gd name="T3" fmla="*/ 0 h 8"/>
                  <a:gd name="T4" fmla="*/ 0 w 1"/>
                  <a:gd name="T5" fmla="*/ 8 h 8"/>
                  <a:gd name="T6" fmla="*/ 1 w 1"/>
                  <a:gd name="T7" fmla="*/ 3 h 8"/>
                </a:gdLst>
                <a:ahLst/>
                <a:cxnLst>
                  <a:cxn ang="0">
                    <a:pos x="T0" y="T1"/>
                  </a:cxn>
                  <a:cxn ang="0">
                    <a:pos x="T2" y="T3"/>
                  </a:cxn>
                  <a:cxn ang="0">
                    <a:pos x="T4" y="T5"/>
                  </a:cxn>
                  <a:cxn ang="0">
                    <a:pos x="T6" y="T7"/>
                  </a:cxn>
                </a:cxnLst>
                <a:rect l="0" t="0" r="r" b="b"/>
                <a:pathLst>
                  <a:path w="1" h="8">
                    <a:moveTo>
                      <a:pt x="1" y="3"/>
                    </a:moveTo>
                    <a:lnTo>
                      <a:pt x="0" y="0"/>
                    </a:lnTo>
                    <a:lnTo>
                      <a:pt x="0" y="8"/>
                    </a:lnTo>
                    <a:lnTo>
                      <a:pt x="1" y="3"/>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1" name="Freeform 126"/>
              <p:cNvSpPr>
                <a:spLocks/>
              </p:cNvSpPr>
              <p:nvPr/>
            </p:nvSpPr>
            <p:spPr bwMode="auto">
              <a:xfrm>
                <a:off x="3521" y="-1212"/>
                <a:ext cx="35" cy="20"/>
              </a:xfrm>
              <a:custGeom>
                <a:avLst/>
                <a:gdLst>
                  <a:gd name="T0" fmla="*/ 12 w 35"/>
                  <a:gd name="T1" fmla="*/ 20 h 20"/>
                  <a:gd name="T2" fmla="*/ 26 w 35"/>
                  <a:gd name="T3" fmla="*/ 14 h 20"/>
                  <a:gd name="T4" fmla="*/ 35 w 35"/>
                  <a:gd name="T5" fmla="*/ 0 h 20"/>
                  <a:gd name="T6" fmla="*/ 26 w 35"/>
                  <a:gd name="T7" fmla="*/ 5 h 20"/>
                  <a:gd name="T8" fmla="*/ 11 w 35"/>
                  <a:gd name="T9" fmla="*/ 6 h 20"/>
                  <a:gd name="T10" fmla="*/ 0 w 35"/>
                  <a:gd name="T11" fmla="*/ 12 h 20"/>
                  <a:gd name="T12" fmla="*/ 4 w 35"/>
                  <a:gd name="T13" fmla="*/ 18 h 20"/>
                  <a:gd name="T14" fmla="*/ 12 w 35"/>
                  <a:gd name="T15" fmla="*/ 20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20">
                    <a:moveTo>
                      <a:pt x="12" y="20"/>
                    </a:moveTo>
                    <a:lnTo>
                      <a:pt x="26" y="14"/>
                    </a:lnTo>
                    <a:lnTo>
                      <a:pt x="35" y="0"/>
                    </a:lnTo>
                    <a:lnTo>
                      <a:pt x="26" y="5"/>
                    </a:lnTo>
                    <a:lnTo>
                      <a:pt x="11" y="6"/>
                    </a:lnTo>
                    <a:lnTo>
                      <a:pt x="0" y="12"/>
                    </a:lnTo>
                    <a:lnTo>
                      <a:pt x="4" y="18"/>
                    </a:lnTo>
                    <a:lnTo>
                      <a:pt x="12" y="2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2" name="Freeform 127"/>
              <p:cNvSpPr>
                <a:spLocks/>
              </p:cNvSpPr>
              <p:nvPr/>
            </p:nvSpPr>
            <p:spPr bwMode="auto">
              <a:xfrm>
                <a:off x="3199" y="-1627"/>
                <a:ext cx="3" cy="8"/>
              </a:xfrm>
              <a:custGeom>
                <a:avLst/>
                <a:gdLst>
                  <a:gd name="T0" fmla="*/ 2 w 3"/>
                  <a:gd name="T1" fmla="*/ 8 h 8"/>
                  <a:gd name="T2" fmla="*/ 3 w 3"/>
                  <a:gd name="T3" fmla="*/ 0 h 8"/>
                  <a:gd name="T4" fmla="*/ 0 w 3"/>
                  <a:gd name="T5" fmla="*/ 4 h 8"/>
                  <a:gd name="T6" fmla="*/ 2 w 3"/>
                  <a:gd name="T7" fmla="*/ 8 h 8"/>
                </a:gdLst>
                <a:ahLst/>
                <a:cxnLst>
                  <a:cxn ang="0">
                    <a:pos x="T0" y="T1"/>
                  </a:cxn>
                  <a:cxn ang="0">
                    <a:pos x="T2" y="T3"/>
                  </a:cxn>
                  <a:cxn ang="0">
                    <a:pos x="T4" y="T5"/>
                  </a:cxn>
                  <a:cxn ang="0">
                    <a:pos x="T6" y="T7"/>
                  </a:cxn>
                </a:cxnLst>
                <a:rect l="0" t="0" r="r" b="b"/>
                <a:pathLst>
                  <a:path w="3" h="8">
                    <a:moveTo>
                      <a:pt x="2" y="8"/>
                    </a:moveTo>
                    <a:lnTo>
                      <a:pt x="3" y="0"/>
                    </a:lnTo>
                    <a:lnTo>
                      <a:pt x="0" y="4"/>
                    </a:lnTo>
                    <a:lnTo>
                      <a:pt x="2" y="8"/>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3" name="Freeform 128"/>
              <p:cNvSpPr>
                <a:spLocks/>
              </p:cNvSpPr>
              <p:nvPr/>
            </p:nvSpPr>
            <p:spPr bwMode="auto">
              <a:xfrm>
                <a:off x="3186" y="-1641"/>
                <a:ext cx="16" cy="14"/>
              </a:xfrm>
              <a:custGeom>
                <a:avLst/>
                <a:gdLst>
                  <a:gd name="T0" fmla="*/ 13 w 16"/>
                  <a:gd name="T1" fmla="*/ 0 h 14"/>
                  <a:gd name="T2" fmla="*/ 4 w 16"/>
                  <a:gd name="T3" fmla="*/ 2 h 14"/>
                  <a:gd name="T4" fmla="*/ 0 w 16"/>
                  <a:gd name="T5" fmla="*/ 2 h 14"/>
                  <a:gd name="T6" fmla="*/ 4 w 16"/>
                  <a:gd name="T7" fmla="*/ 14 h 14"/>
                  <a:gd name="T8" fmla="*/ 15 w 16"/>
                  <a:gd name="T9" fmla="*/ 13 h 14"/>
                  <a:gd name="T10" fmla="*/ 16 w 16"/>
                  <a:gd name="T11" fmla="*/ 8 h 14"/>
                  <a:gd name="T12" fmla="*/ 13 w 16"/>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6" h="14">
                    <a:moveTo>
                      <a:pt x="13" y="0"/>
                    </a:moveTo>
                    <a:lnTo>
                      <a:pt x="4" y="2"/>
                    </a:lnTo>
                    <a:lnTo>
                      <a:pt x="0" y="2"/>
                    </a:lnTo>
                    <a:lnTo>
                      <a:pt x="4" y="14"/>
                    </a:lnTo>
                    <a:lnTo>
                      <a:pt x="15" y="13"/>
                    </a:lnTo>
                    <a:lnTo>
                      <a:pt x="16" y="8"/>
                    </a:lnTo>
                    <a:lnTo>
                      <a:pt x="13"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4" name="Freeform 129"/>
              <p:cNvSpPr>
                <a:spLocks/>
              </p:cNvSpPr>
              <p:nvPr/>
            </p:nvSpPr>
            <p:spPr bwMode="auto">
              <a:xfrm>
                <a:off x="3205" y="-1625"/>
                <a:ext cx="11" cy="8"/>
              </a:xfrm>
              <a:custGeom>
                <a:avLst/>
                <a:gdLst>
                  <a:gd name="T0" fmla="*/ 4 w 11"/>
                  <a:gd name="T1" fmla="*/ 0 h 8"/>
                  <a:gd name="T2" fmla="*/ 0 w 11"/>
                  <a:gd name="T3" fmla="*/ 1 h 8"/>
                  <a:gd name="T4" fmla="*/ 0 w 11"/>
                  <a:gd name="T5" fmla="*/ 6 h 8"/>
                  <a:gd name="T6" fmla="*/ 11 w 11"/>
                  <a:gd name="T7" fmla="*/ 8 h 8"/>
                  <a:gd name="T8" fmla="*/ 9 w 11"/>
                  <a:gd name="T9" fmla="*/ 2 h 8"/>
                  <a:gd name="T10" fmla="*/ 4 w 11"/>
                  <a:gd name="T11" fmla="*/ 0 h 8"/>
                </a:gdLst>
                <a:ahLst/>
                <a:cxnLst>
                  <a:cxn ang="0">
                    <a:pos x="T0" y="T1"/>
                  </a:cxn>
                  <a:cxn ang="0">
                    <a:pos x="T2" y="T3"/>
                  </a:cxn>
                  <a:cxn ang="0">
                    <a:pos x="T4" y="T5"/>
                  </a:cxn>
                  <a:cxn ang="0">
                    <a:pos x="T6" y="T7"/>
                  </a:cxn>
                  <a:cxn ang="0">
                    <a:pos x="T8" y="T9"/>
                  </a:cxn>
                  <a:cxn ang="0">
                    <a:pos x="T10" y="T11"/>
                  </a:cxn>
                </a:cxnLst>
                <a:rect l="0" t="0" r="r" b="b"/>
                <a:pathLst>
                  <a:path w="11" h="8">
                    <a:moveTo>
                      <a:pt x="4" y="0"/>
                    </a:moveTo>
                    <a:lnTo>
                      <a:pt x="0" y="1"/>
                    </a:lnTo>
                    <a:lnTo>
                      <a:pt x="0" y="6"/>
                    </a:lnTo>
                    <a:lnTo>
                      <a:pt x="11" y="8"/>
                    </a:lnTo>
                    <a:lnTo>
                      <a:pt x="9" y="2"/>
                    </a:lnTo>
                    <a:lnTo>
                      <a:pt x="4"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5" name="Freeform 130"/>
              <p:cNvSpPr>
                <a:spLocks/>
              </p:cNvSpPr>
              <p:nvPr/>
            </p:nvSpPr>
            <p:spPr bwMode="auto">
              <a:xfrm>
                <a:off x="3216" y="-1625"/>
                <a:ext cx="5" cy="11"/>
              </a:xfrm>
              <a:custGeom>
                <a:avLst/>
                <a:gdLst>
                  <a:gd name="T0" fmla="*/ 5 w 5"/>
                  <a:gd name="T1" fmla="*/ 2 h 11"/>
                  <a:gd name="T2" fmla="*/ 0 w 5"/>
                  <a:gd name="T3" fmla="*/ 0 h 11"/>
                  <a:gd name="T4" fmla="*/ 3 w 5"/>
                  <a:gd name="T5" fmla="*/ 11 h 11"/>
                  <a:gd name="T6" fmla="*/ 5 w 5"/>
                  <a:gd name="T7" fmla="*/ 2 h 11"/>
                </a:gdLst>
                <a:ahLst/>
                <a:cxnLst>
                  <a:cxn ang="0">
                    <a:pos x="T0" y="T1"/>
                  </a:cxn>
                  <a:cxn ang="0">
                    <a:pos x="T2" y="T3"/>
                  </a:cxn>
                  <a:cxn ang="0">
                    <a:pos x="T4" y="T5"/>
                  </a:cxn>
                  <a:cxn ang="0">
                    <a:pos x="T6" y="T7"/>
                  </a:cxn>
                </a:cxnLst>
                <a:rect l="0" t="0" r="r" b="b"/>
                <a:pathLst>
                  <a:path w="5" h="11">
                    <a:moveTo>
                      <a:pt x="5" y="2"/>
                    </a:moveTo>
                    <a:lnTo>
                      <a:pt x="0" y="0"/>
                    </a:lnTo>
                    <a:lnTo>
                      <a:pt x="3" y="11"/>
                    </a:lnTo>
                    <a:lnTo>
                      <a:pt x="5" y="2"/>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6" name="Freeform 131"/>
              <p:cNvSpPr>
                <a:spLocks/>
              </p:cNvSpPr>
              <p:nvPr/>
            </p:nvSpPr>
            <p:spPr bwMode="auto">
              <a:xfrm>
                <a:off x="3203" y="-1656"/>
                <a:ext cx="26" cy="31"/>
              </a:xfrm>
              <a:custGeom>
                <a:avLst/>
                <a:gdLst>
                  <a:gd name="T0" fmla="*/ 4 w 26"/>
                  <a:gd name="T1" fmla="*/ 15 h 31"/>
                  <a:gd name="T2" fmla="*/ 6 w 26"/>
                  <a:gd name="T3" fmla="*/ 25 h 31"/>
                  <a:gd name="T4" fmla="*/ 13 w 26"/>
                  <a:gd name="T5" fmla="*/ 26 h 31"/>
                  <a:gd name="T6" fmla="*/ 12 w 26"/>
                  <a:gd name="T7" fmla="*/ 29 h 31"/>
                  <a:gd name="T8" fmla="*/ 18 w 26"/>
                  <a:gd name="T9" fmla="*/ 31 h 31"/>
                  <a:gd name="T10" fmla="*/ 18 w 26"/>
                  <a:gd name="T11" fmla="*/ 25 h 31"/>
                  <a:gd name="T12" fmla="*/ 23 w 26"/>
                  <a:gd name="T13" fmla="*/ 24 h 31"/>
                  <a:gd name="T14" fmla="*/ 21 w 26"/>
                  <a:gd name="T15" fmla="*/ 17 h 31"/>
                  <a:gd name="T16" fmla="*/ 26 w 26"/>
                  <a:gd name="T17" fmla="*/ 12 h 31"/>
                  <a:gd name="T18" fmla="*/ 22 w 26"/>
                  <a:gd name="T19" fmla="*/ 0 h 31"/>
                  <a:gd name="T20" fmla="*/ 16 w 26"/>
                  <a:gd name="T21" fmla="*/ 4 h 31"/>
                  <a:gd name="T22" fmla="*/ 16 w 26"/>
                  <a:gd name="T23" fmla="*/ 6 h 31"/>
                  <a:gd name="T24" fmla="*/ 13 w 26"/>
                  <a:gd name="T25" fmla="*/ 12 h 31"/>
                  <a:gd name="T26" fmla="*/ 13 w 26"/>
                  <a:gd name="T27" fmla="*/ 5 h 31"/>
                  <a:gd name="T28" fmla="*/ 8 w 26"/>
                  <a:gd name="T29" fmla="*/ 4 h 31"/>
                  <a:gd name="T30" fmla="*/ 10 w 26"/>
                  <a:gd name="T31" fmla="*/ 7 h 31"/>
                  <a:gd name="T32" fmla="*/ 0 w 26"/>
                  <a:gd name="T33" fmla="*/ 12 h 31"/>
                  <a:gd name="T34" fmla="*/ 4 w 26"/>
                  <a:gd name="T35" fmla="*/ 1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 h="31">
                    <a:moveTo>
                      <a:pt x="4" y="15"/>
                    </a:moveTo>
                    <a:lnTo>
                      <a:pt x="6" y="25"/>
                    </a:lnTo>
                    <a:lnTo>
                      <a:pt x="13" y="26"/>
                    </a:lnTo>
                    <a:lnTo>
                      <a:pt x="12" y="29"/>
                    </a:lnTo>
                    <a:lnTo>
                      <a:pt x="18" y="31"/>
                    </a:lnTo>
                    <a:lnTo>
                      <a:pt x="18" y="25"/>
                    </a:lnTo>
                    <a:lnTo>
                      <a:pt x="23" y="24"/>
                    </a:lnTo>
                    <a:lnTo>
                      <a:pt x="21" y="17"/>
                    </a:lnTo>
                    <a:lnTo>
                      <a:pt x="26" y="12"/>
                    </a:lnTo>
                    <a:lnTo>
                      <a:pt x="22" y="0"/>
                    </a:lnTo>
                    <a:lnTo>
                      <a:pt x="16" y="4"/>
                    </a:lnTo>
                    <a:lnTo>
                      <a:pt x="16" y="6"/>
                    </a:lnTo>
                    <a:lnTo>
                      <a:pt x="13" y="12"/>
                    </a:lnTo>
                    <a:lnTo>
                      <a:pt x="13" y="5"/>
                    </a:lnTo>
                    <a:lnTo>
                      <a:pt x="8" y="4"/>
                    </a:lnTo>
                    <a:lnTo>
                      <a:pt x="10" y="7"/>
                    </a:lnTo>
                    <a:lnTo>
                      <a:pt x="0" y="12"/>
                    </a:lnTo>
                    <a:lnTo>
                      <a:pt x="4" y="15"/>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7" name="Freeform 132"/>
              <p:cNvSpPr>
                <a:spLocks/>
              </p:cNvSpPr>
              <p:nvPr/>
            </p:nvSpPr>
            <p:spPr bwMode="auto">
              <a:xfrm>
                <a:off x="3234" y="-1617"/>
                <a:ext cx="8" cy="10"/>
              </a:xfrm>
              <a:custGeom>
                <a:avLst/>
                <a:gdLst>
                  <a:gd name="T0" fmla="*/ 0 w 8"/>
                  <a:gd name="T1" fmla="*/ 7 h 10"/>
                  <a:gd name="T2" fmla="*/ 8 w 8"/>
                  <a:gd name="T3" fmla="*/ 10 h 10"/>
                  <a:gd name="T4" fmla="*/ 8 w 8"/>
                  <a:gd name="T5" fmla="*/ 5 h 10"/>
                  <a:gd name="T6" fmla="*/ 8 w 8"/>
                  <a:gd name="T7" fmla="*/ 3 h 10"/>
                  <a:gd name="T8" fmla="*/ 3 w 8"/>
                  <a:gd name="T9" fmla="*/ 0 h 10"/>
                  <a:gd name="T10" fmla="*/ 5 w 8"/>
                  <a:gd name="T11" fmla="*/ 5 h 10"/>
                  <a:gd name="T12" fmla="*/ 1 w 8"/>
                  <a:gd name="T13" fmla="*/ 3 h 10"/>
                  <a:gd name="T14" fmla="*/ 0 w 8"/>
                  <a:gd name="T15" fmla="*/ 7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10">
                    <a:moveTo>
                      <a:pt x="0" y="7"/>
                    </a:moveTo>
                    <a:lnTo>
                      <a:pt x="8" y="10"/>
                    </a:lnTo>
                    <a:lnTo>
                      <a:pt x="8" y="5"/>
                    </a:lnTo>
                    <a:lnTo>
                      <a:pt x="8" y="3"/>
                    </a:lnTo>
                    <a:lnTo>
                      <a:pt x="3" y="0"/>
                    </a:lnTo>
                    <a:lnTo>
                      <a:pt x="5" y="5"/>
                    </a:lnTo>
                    <a:lnTo>
                      <a:pt x="1" y="3"/>
                    </a:lnTo>
                    <a:lnTo>
                      <a:pt x="0" y="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8" name="Freeform 133"/>
              <p:cNvSpPr>
                <a:spLocks/>
              </p:cNvSpPr>
              <p:nvPr/>
            </p:nvSpPr>
            <p:spPr bwMode="auto">
              <a:xfrm>
                <a:off x="3333" y="-1287"/>
                <a:ext cx="6" cy="6"/>
              </a:xfrm>
              <a:custGeom>
                <a:avLst/>
                <a:gdLst>
                  <a:gd name="T0" fmla="*/ 3 w 6"/>
                  <a:gd name="T1" fmla="*/ 0 h 6"/>
                  <a:gd name="T2" fmla="*/ 0 w 6"/>
                  <a:gd name="T3" fmla="*/ 0 h 6"/>
                  <a:gd name="T4" fmla="*/ 6 w 6"/>
                  <a:gd name="T5" fmla="*/ 6 h 6"/>
                  <a:gd name="T6" fmla="*/ 3 w 6"/>
                  <a:gd name="T7" fmla="*/ 0 h 6"/>
                </a:gdLst>
                <a:ahLst/>
                <a:cxnLst>
                  <a:cxn ang="0">
                    <a:pos x="T0" y="T1"/>
                  </a:cxn>
                  <a:cxn ang="0">
                    <a:pos x="T2" y="T3"/>
                  </a:cxn>
                  <a:cxn ang="0">
                    <a:pos x="T4" y="T5"/>
                  </a:cxn>
                  <a:cxn ang="0">
                    <a:pos x="T6" y="T7"/>
                  </a:cxn>
                </a:cxnLst>
                <a:rect l="0" t="0" r="r" b="b"/>
                <a:pathLst>
                  <a:path w="6" h="6">
                    <a:moveTo>
                      <a:pt x="3" y="0"/>
                    </a:moveTo>
                    <a:lnTo>
                      <a:pt x="0" y="0"/>
                    </a:lnTo>
                    <a:lnTo>
                      <a:pt x="6" y="6"/>
                    </a:lnTo>
                    <a:lnTo>
                      <a:pt x="3"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9" name="Freeform 134"/>
              <p:cNvSpPr>
                <a:spLocks/>
              </p:cNvSpPr>
              <p:nvPr/>
            </p:nvSpPr>
            <p:spPr bwMode="auto">
              <a:xfrm>
                <a:off x="3344" y="-1262"/>
                <a:ext cx="5" cy="6"/>
              </a:xfrm>
              <a:custGeom>
                <a:avLst/>
                <a:gdLst>
                  <a:gd name="T0" fmla="*/ 0 w 5"/>
                  <a:gd name="T1" fmla="*/ 3 h 6"/>
                  <a:gd name="T2" fmla="*/ 5 w 5"/>
                  <a:gd name="T3" fmla="*/ 6 h 6"/>
                  <a:gd name="T4" fmla="*/ 4 w 5"/>
                  <a:gd name="T5" fmla="*/ 0 h 6"/>
                  <a:gd name="T6" fmla="*/ 0 w 5"/>
                  <a:gd name="T7" fmla="*/ 3 h 6"/>
                </a:gdLst>
                <a:ahLst/>
                <a:cxnLst>
                  <a:cxn ang="0">
                    <a:pos x="T0" y="T1"/>
                  </a:cxn>
                  <a:cxn ang="0">
                    <a:pos x="T2" y="T3"/>
                  </a:cxn>
                  <a:cxn ang="0">
                    <a:pos x="T4" y="T5"/>
                  </a:cxn>
                  <a:cxn ang="0">
                    <a:pos x="T6" y="T7"/>
                  </a:cxn>
                </a:cxnLst>
                <a:rect l="0" t="0" r="r" b="b"/>
                <a:pathLst>
                  <a:path w="5" h="6">
                    <a:moveTo>
                      <a:pt x="0" y="3"/>
                    </a:moveTo>
                    <a:lnTo>
                      <a:pt x="5" y="6"/>
                    </a:lnTo>
                    <a:lnTo>
                      <a:pt x="4" y="0"/>
                    </a:lnTo>
                    <a:lnTo>
                      <a:pt x="0" y="3"/>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0" name="Freeform 135"/>
              <p:cNvSpPr>
                <a:spLocks/>
              </p:cNvSpPr>
              <p:nvPr/>
            </p:nvSpPr>
            <p:spPr bwMode="auto">
              <a:xfrm>
                <a:off x="3355" y="-1261"/>
                <a:ext cx="34" cy="36"/>
              </a:xfrm>
              <a:custGeom>
                <a:avLst/>
                <a:gdLst>
                  <a:gd name="T0" fmla="*/ 34 w 34"/>
                  <a:gd name="T1" fmla="*/ 16 h 36"/>
                  <a:gd name="T2" fmla="*/ 29 w 34"/>
                  <a:gd name="T3" fmla="*/ 8 h 36"/>
                  <a:gd name="T4" fmla="*/ 13 w 34"/>
                  <a:gd name="T5" fmla="*/ 0 h 36"/>
                  <a:gd name="T6" fmla="*/ 3 w 34"/>
                  <a:gd name="T7" fmla="*/ 3 h 36"/>
                  <a:gd name="T8" fmla="*/ 0 w 34"/>
                  <a:gd name="T9" fmla="*/ 10 h 36"/>
                  <a:gd name="T10" fmla="*/ 8 w 34"/>
                  <a:gd name="T11" fmla="*/ 19 h 36"/>
                  <a:gd name="T12" fmla="*/ 8 w 34"/>
                  <a:gd name="T13" fmla="*/ 28 h 36"/>
                  <a:gd name="T14" fmla="*/ 10 w 34"/>
                  <a:gd name="T15" fmla="*/ 30 h 36"/>
                  <a:gd name="T16" fmla="*/ 13 w 34"/>
                  <a:gd name="T17" fmla="*/ 24 h 36"/>
                  <a:gd name="T18" fmla="*/ 17 w 34"/>
                  <a:gd name="T19" fmla="*/ 36 h 36"/>
                  <a:gd name="T20" fmla="*/ 22 w 34"/>
                  <a:gd name="T21" fmla="*/ 29 h 36"/>
                  <a:gd name="T22" fmla="*/ 29 w 34"/>
                  <a:gd name="T23" fmla="*/ 36 h 36"/>
                  <a:gd name="T24" fmla="*/ 23 w 34"/>
                  <a:gd name="T25" fmla="*/ 15 h 36"/>
                  <a:gd name="T26" fmla="*/ 29 w 34"/>
                  <a:gd name="T27" fmla="*/ 19 h 36"/>
                  <a:gd name="T28" fmla="*/ 34 w 34"/>
                  <a:gd name="T29" fmla="*/ 1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 h="36">
                    <a:moveTo>
                      <a:pt x="34" y="16"/>
                    </a:moveTo>
                    <a:lnTo>
                      <a:pt x="29" y="8"/>
                    </a:lnTo>
                    <a:lnTo>
                      <a:pt x="13" y="0"/>
                    </a:lnTo>
                    <a:lnTo>
                      <a:pt x="3" y="3"/>
                    </a:lnTo>
                    <a:lnTo>
                      <a:pt x="0" y="10"/>
                    </a:lnTo>
                    <a:lnTo>
                      <a:pt x="8" y="19"/>
                    </a:lnTo>
                    <a:lnTo>
                      <a:pt x="8" y="28"/>
                    </a:lnTo>
                    <a:lnTo>
                      <a:pt x="10" y="30"/>
                    </a:lnTo>
                    <a:lnTo>
                      <a:pt x="13" y="24"/>
                    </a:lnTo>
                    <a:lnTo>
                      <a:pt x="17" y="36"/>
                    </a:lnTo>
                    <a:lnTo>
                      <a:pt x="22" y="29"/>
                    </a:lnTo>
                    <a:lnTo>
                      <a:pt x="29" y="36"/>
                    </a:lnTo>
                    <a:lnTo>
                      <a:pt x="23" y="15"/>
                    </a:lnTo>
                    <a:lnTo>
                      <a:pt x="29" y="19"/>
                    </a:lnTo>
                    <a:lnTo>
                      <a:pt x="34" y="16"/>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1" name="Freeform 136"/>
              <p:cNvSpPr>
                <a:spLocks/>
              </p:cNvSpPr>
              <p:nvPr/>
            </p:nvSpPr>
            <p:spPr bwMode="auto">
              <a:xfrm>
                <a:off x="3409" y="-1253"/>
                <a:ext cx="4" cy="5"/>
              </a:xfrm>
              <a:custGeom>
                <a:avLst/>
                <a:gdLst>
                  <a:gd name="T0" fmla="*/ 4 w 4"/>
                  <a:gd name="T1" fmla="*/ 5 h 5"/>
                  <a:gd name="T2" fmla="*/ 4 w 4"/>
                  <a:gd name="T3" fmla="*/ 1 h 5"/>
                  <a:gd name="T4" fmla="*/ 0 w 4"/>
                  <a:gd name="T5" fmla="*/ 0 h 5"/>
                  <a:gd name="T6" fmla="*/ 4 w 4"/>
                  <a:gd name="T7" fmla="*/ 5 h 5"/>
                </a:gdLst>
                <a:ahLst/>
                <a:cxnLst>
                  <a:cxn ang="0">
                    <a:pos x="T0" y="T1"/>
                  </a:cxn>
                  <a:cxn ang="0">
                    <a:pos x="T2" y="T3"/>
                  </a:cxn>
                  <a:cxn ang="0">
                    <a:pos x="T4" y="T5"/>
                  </a:cxn>
                  <a:cxn ang="0">
                    <a:pos x="T6" y="T7"/>
                  </a:cxn>
                </a:cxnLst>
                <a:rect l="0" t="0" r="r" b="b"/>
                <a:pathLst>
                  <a:path w="4" h="5">
                    <a:moveTo>
                      <a:pt x="4" y="5"/>
                    </a:moveTo>
                    <a:lnTo>
                      <a:pt x="4" y="1"/>
                    </a:lnTo>
                    <a:lnTo>
                      <a:pt x="0" y="0"/>
                    </a:lnTo>
                    <a:lnTo>
                      <a:pt x="4" y="5"/>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2" name="Freeform 137"/>
              <p:cNvSpPr>
                <a:spLocks/>
              </p:cNvSpPr>
              <p:nvPr/>
            </p:nvSpPr>
            <p:spPr bwMode="auto">
              <a:xfrm>
                <a:off x="3390" y="-1210"/>
                <a:ext cx="42" cy="13"/>
              </a:xfrm>
              <a:custGeom>
                <a:avLst/>
                <a:gdLst>
                  <a:gd name="T0" fmla="*/ 0 w 42"/>
                  <a:gd name="T1" fmla="*/ 7 h 13"/>
                  <a:gd name="T2" fmla="*/ 14 w 42"/>
                  <a:gd name="T3" fmla="*/ 9 h 13"/>
                  <a:gd name="T4" fmla="*/ 19 w 42"/>
                  <a:gd name="T5" fmla="*/ 13 h 13"/>
                  <a:gd name="T6" fmla="*/ 39 w 42"/>
                  <a:gd name="T7" fmla="*/ 11 h 13"/>
                  <a:gd name="T8" fmla="*/ 42 w 42"/>
                  <a:gd name="T9" fmla="*/ 6 h 13"/>
                  <a:gd name="T10" fmla="*/ 37 w 42"/>
                  <a:gd name="T11" fmla="*/ 9 h 13"/>
                  <a:gd name="T12" fmla="*/ 23 w 42"/>
                  <a:gd name="T13" fmla="*/ 4 h 13"/>
                  <a:gd name="T14" fmla="*/ 12 w 42"/>
                  <a:gd name="T15" fmla="*/ 4 h 13"/>
                  <a:gd name="T16" fmla="*/ 10 w 42"/>
                  <a:gd name="T17" fmla="*/ 0 h 13"/>
                  <a:gd name="T18" fmla="*/ 4 w 42"/>
                  <a:gd name="T19" fmla="*/ 0 h 13"/>
                  <a:gd name="T20" fmla="*/ 0 w 42"/>
                  <a:gd name="T21" fmla="*/ 7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2" h="13">
                    <a:moveTo>
                      <a:pt x="0" y="7"/>
                    </a:moveTo>
                    <a:lnTo>
                      <a:pt x="14" y="9"/>
                    </a:lnTo>
                    <a:lnTo>
                      <a:pt x="19" y="13"/>
                    </a:lnTo>
                    <a:lnTo>
                      <a:pt x="39" y="11"/>
                    </a:lnTo>
                    <a:lnTo>
                      <a:pt x="42" y="6"/>
                    </a:lnTo>
                    <a:lnTo>
                      <a:pt x="37" y="9"/>
                    </a:lnTo>
                    <a:lnTo>
                      <a:pt x="23" y="4"/>
                    </a:lnTo>
                    <a:lnTo>
                      <a:pt x="12" y="4"/>
                    </a:lnTo>
                    <a:lnTo>
                      <a:pt x="10" y="0"/>
                    </a:lnTo>
                    <a:lnTo>
                      <a:pt x="4" y="0"/>
                    </a:lnTo>
                    <a:lnTo>
                      <a:pt x="0" y="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3" name="Freeform 138"/>
              <p:cNvSpPr>
                <a:spLocks/>
              </p:cNvSpPr>
              <p:nvPr/>
            </p:nvSpPr>
            <p:spPr bwMode="auto">
              <a:xfrm>
                <a:off x="3454" y="-1226"/>
                <a:ext cx="7" cy="9"/>
              </a:xfrm>
              <a:custGeom>
                <a:avLst/>
                <a:gdLst>
                  <a:gd name="T0" fmla="*/ 0 w 7"/>
                  <a:gd name="T1" fmla="*/ 6 h 9"/>
                  <a:gd name="T2" fmla="*/ 0 w 7"/>
                  <a:gd name="T3" fmla="*/ 9 h 9"/>
                  <a:gd name="T4" fmla="*/ 5 w 7"/>
                  <a:gd name="T5" fmla="*/ 8 h 9"/>
                  <a:gd name="T6" fmla="*/ 7 w 7"/>
                  <a:gd name="T7" fmla="*/ 0 h 9"/>
                  <a:gd name="T8" fmla="*/ 0 w 7"/>
                  <a:gd name="T9" fmla="*/ 6 h 9"/>
                </a:gdLst>
                <a:ahLst/>
                <a:cxnLst>
                  <a:cxn ang="0">
                    <a:pos x="T0" y="T1"/>
                  </a:cxn>
                  <a:cxn ang="0">
                    <a:pos x="T2" y="T3"/>
                  </a:cxn>
                  <a:cxn ang="0">
                    <a:pos x="T4" y="T5"/>
                  </a:cxn>
                  <a:cxn ang="0">
                    <a:pos x="T6" y="T7"/>
                  </a:cxn>
                  <a:cxn ang="0">
                    <a:pos x="T8" y="T9"/>
                  </a:cxn>
                </a:cxnLst>
                <a:rect l="0" t="0" r="r" b="b"/>
                <a:pathLst>
                  <a:path w="7" h="9">
                    <a:moveTo>
                      <a:pt x="0" y="6"/>
                    </a:moveTo>
                    <a:lnTo>
                      <a:pt x="0" y="9"/>
                    </a:lnTo>
                    <a:lnTo>
                      <a:pt x="5" y="8"/>
                    </a:lnTo>
                    <a:lnTo>
                      <a:pt x="7" y="0"/>
                    </a:lnTo>
                    <a:lnTo>
                      <a:pt x="0" y="6"/>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4" name="Freeform 139"/>
              <p:cNvSpPr>
                <a:spLocks/>
              </p:cNvSpPr>
              <p:nvPr/>
            </p:nvSpPr>
            <p:spPr bwMode="auto">
              <a:xfrm>
                <a:off x="3426" y="-1266"/>
                <a:ext cx="3" cy="7"/>
              </a:xfrm>
              <a:custGeom>
                <a:avLst/>
                <a:gdLst>
                  <a:gd name="T0" fmla="*/ 1 w 3"/>
                  <a:gd name="T1" fmla="*/ 7 h 7"/>
                  <a:gd name="T2" fmla="*/ 3 w 3"/>
                  <a:gd name="T3" fmla="*/ 2 h 7"/>
                  <a:gd name="T4" fmla="*/ 0 w 3"/>
                  <a:gd name="T5" fmla="*/ 0 h 7"/>
                  <a:gd name="T6" fmla="*/ 1 w 3"/>
                  <a:gd name="T7" fmla="*/ 7 h 7"/>
                </a:gdLst>
                <a:ahLst/>
                <a:cxnLst>
                  <a:cxn ang="0">
                    <a:pos x="T0" y="T1"/>
                  </a:cxn>
                  <a:cxn ang="0">
                    <a:pos x="T2" y="T3"/>
                  </a:cxn>
                  <a:cxn ang="0">
                    <a:pos x="T4" y="T5"/>
                  </a:cxn>
                  <a:cxn ang="0">
                    <a:pos x="T6" y="T7"/>
                  </a:cxn>
                </a:cxnLst>
                <a:rect l="0" t="0" r="r" b="b"/>
                <a:pathLst>
                  <a:path w="3" h="7">
                    <a:moveTo>
                      <a:pt x="1" y="7"/>
                    </a:moveTo>
                    <a:lnTo>
                      <a:pt x="3" y="2"/>
                    </a:lnTo>
                    <a:lnTo>
                      <a:pt x="0" y="0"/>
                    </a:lnTo>
                    <a:lnTo>
                      <a:pt x="1" y="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5" name="Freeform 140"/>
              <p:cNvSpPr>
                <a:spLocks/>
              </p:cNvSpPr>
              <p:nvPr/>
            </p:nvSpPr>
            <p:spPr bwMode="auto">
              <a:xfrm>
                <a:off x="3426" y="-1281"/>
                <a:ext cx="9" cy="6"/>
              </a:xfrm>
              <a:custGeom>
                <a:avLst/>
                <a:gdLst>
                  <a:gd name="T0" fmla="*/ 6 w 9"/>
                  <a:gd name="T1" fmla="*/ 0 h 6"/>
                  <a:gd name="T2" fmla="*/ 0 w 9"/>
                  <a:gd name="T3" fmla="*/ 4 h 6"/>
                  <a:gd name="T4" fmla="*/ 9 w 9"/>
                  <a:gd name="T5" fmla="*/ 6 h 6"/>
                  <a:gd name="T6" fmla="*/ 6 w 9"/>
                  <a:gd name="T7" fmla="*/ 0 h 6"/>
                </a:gdLst>
                <a:ahLst/>
                <a:cxnLst>
                  <a:cxn ang="0">
                    <a:pos x="T0" y="T1"/>
                  </a:cxn>
                  <a:cxn ang="0">
                    <a:pos x="T2" y="T3"/>
                  </a:cxn>
                  <a:cxn ang="0">
                    <a:pos x="T4" y="T5"/>
                  </a:cxn>
                  <a:cxn ang="0">
                    <a:pos x="T6" y="T7"/>
                  </a:cxn>
                </a:cxnLst>
                <a:rect l="0" t="0" r="r" b="b"/>
                <a:pathLst>
                  <a:path w="9" h="6">
                    <a:moveTo>
                      <a:pt x="6" y="0"/>
                    </a:moveTo>
                    <a:lnTo>
                      <a:pt x="0" y="4"/>
                    </a:lnTo>
                    <a:lnTo>
                      <a:pt x="9" y="6"/>
                    </a:lnTo>
                    <a:lnTo>
                      <a:pt x="6"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6" name="Freeform 141"/>
              <p:cNvSpPr>
                <a:spLocks/>
              </p:cNvSpPr>
              <p:nvPr/>
            </p:nvSpPr>
            <p:spPr bwMode="auto">
              <a:xfrm>
                <a:off x="3413" y="-1293"/>
                <a:ext cx="4" cy="4"/>
              </a:xfrm>
              <a:custGeom>
                <a:avLst/>
                <a:gdLst>
                  <a:gd name="T0" fmla="*/ 4 w 4"/>
                  <a:gd name="T1" fmla="*/ 0 h 4"/>
                  <a:gd name="T2" fmla="*/ 0 w 4"/>
                  <a:gd name="T3" fmla="*/ 0 h 4"/>
                  <a:gd name="T4" fmla="*/ 0 w 4"/>
                  <a:gd name="T5" fmla="*/ 4 h 4"/>
                  <a:gd name="T6" fmla="*/ 4 w 4"/>
                  <a:gd name="T7" fmla="*/ 2 h 4"/>
                  <a:gd name="T8" fmla="*/ 4 w 4"/>
                  <a:gd name="T9" fmla="*/ 0 h 4"/>
                </a:gdLst>
                <a:ahLst/>
                <a:cxnLst>
                  <a:cxn ang="0">
                    <a:pos x="T0" y="T1"/>
                  </a:cxn>
                  <a:cxn ang="0">
                    <a:pos x="T2" y="T3"/>
                  </a:cxn>
                  <a:cxn ang="0">
                    <a:pos x="T4" y="T5"/>
                  </a:cxn>
                  <a:cxn ang="0">
                    <a:pos x="T6" y="T7"/>
                  </a:cxn>
                  <a:cxn ang="0">
                    <a:pos x="T8" y="T9"/>
                  </a:cxn>
                </a:cxnLst>
                <a:rect l="0" t="0" r="r" b="b"/>
                <a:pathLst>
                  <a:path w="4" h="4">
                    <a:moveTo>
                      <a:pt x="4" y="0"/>
                    </a:moveTo>
                    <a:lnTo>
                      <a:pt x="0" y="0"/>
                    </a:lnTo>
                    <a:lnTo>
                      <a:pt x="0" y="4"/>
                    </a:lnTo>
                    <a:lnTo>
                      <a:pt x="4" y="2"/>
                    </a:lnTo>
                    <a:lnTo>
                      <a:pt x="4"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7" name="Freeform 142"/>
              <p:cNvSpPr>
                <a:spLocks/>
              </p:cNvSpPr>
              <p:nvPr/>
            </p:nvSpPr>
            <p:spPr bwMode="auto">
              <a:xfrm>
                <a:off x="3404" y="-1308"/>
                <a:ext cx="5" cy="4"/>
              </a:xfrm>
              <a:custGeom>
                <a:avLst/>
                <a:gdLst>
                  <a:gd name="T0" fmla="*/ 5 w 5"/>
                  <a:gd name="T1" fmla="*/ 0 h 4"/>
                  <a:gd name="T2" fmla="*/ 0 w 5"/>
                  <a:gd name="T3" fmla="*/ 1 h 4"/>
                  <a:gd name="T4" fmla="*/ 4 w 5"/>
                  <a:gd name="T5" fmla="*/ 4 h 4"/>
                  <a:gd name="T6" fmla="*/ 5 w 5"/>
                  <a:gd name="T7" fmla="*/ 0 h 4"/>
                </a:gdLst>
                <a:ahLst/>
                <a:cxnLst>
                  <a:cxn ang="0">
                    <a:pos x="T0" y="T1"/>
                  </a:cxn>
                  <a:cxn ang="0">
                    <a:pos x="T2" y="T3"/>
                  </a:cxn>
                  <a:cxn ang="0">
                    <a:pos x="T4" y="T5"/>
                  </a:cxn>
                  <a:cxn ang="0">
                    <a:pos x="T6" y="T7"/>
                  </a:cxn>
                </a:cxnLst>
                <a:rect l="0" t="0" r="r" b="b"/>
                <a:pathLst>
                  <a:path w="5" h="4">
                    <a:moveTo>
                      <a:pt x="5" y="0"/>
                    </a:moveTo>
                    <a:lnTo>
                      <a:pt x="0" y="1"/>
                    </a:lnTo>
                    <a:lnTo>
                      <a:pt x="4" y="4"/>
                    </a:lnTo>
                    <a:lnTo>
                      <a:pt x="5"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8" name="Freeform 143"/>
              <p:cNvSpPr>
                <a:spLocks/>
              </p:cNvSpPr>
              <p:nvPr/>
            </p:nvSpPr>
            <p:spPr bwMode="auto">
              <a:xfrm>
                <a:off x="3383" y="-1275"/>
                <a:ext cx="24" cy="22"/>
              </a:xfrm>
              <a:custGeom>
                <a:avLst/>
                <a:gdLst>
                  <a:gd name="T0" fmla="*/ 6 w 24"/>
                  <a:gd name="T1" fmla="*/ 0 h 22"/>
                  <a:gd name="T2" fmla="*/ 0 w 24"/>
                  <a:gd name="T3" fmla="*/ 5 h 22"/>
                  <a:gd name="T4" fmla="*/ 18 w 24"/>
                  <a:gd name="T5" fmla="*/ 16 h 22"/>
                  <a:gd name="T6" fmla="*/ 21 w 24"/>
                  <a:gd name="T7" fmla="*/ 22 h 22"/>
                  <a:gd name="T8" fmla="*/ 24 w 24"/>
                  <a:gd name="T9" fmla="*/ 22 h 22"/>
                  <a:gd name="T10" fmla="*/ 24 w 24"/>
                  <a:gd name="T11" fmla="*/ 19 h 22"/>
                  <a:gd name="T12" fmla="*/ 18 w 24"/>
                  <a:gd name="T13" fmla="*/ 9 h 22"/>
                  <a:gd name="T14" fmla="*/ 6 w 24"/>
                  <a:gd name="T15" fmla="*/ 0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22">
                    <a:moveTo>
                      <a:pt x="6" y="0"/>
                    </a:moveTo>
                    <a:lnTo>
                      <a:pt x="0" y="5"/>
                    </a:lnTo>
                    <a:lnTo>
                      <a:pt x="18" y="16"/>
                    </a:lnTo>
                    <a:lnTo>
                      <a:pt x="21" y="22"/>
                    </a:lnTo>
                    <a:lnTo>
                      <a:pt x="24" y="22"/>
                    </a:lnTo>
                    <a:lnTo>
                      <a:pt x="24" y="19"/>
                    </a:lnTo>
                    <a:lnTo>
                      <a:pt x="18" y="9"/>
                    </a:lnTo>
                    <a:lnTo>
                      <a:pt x="6"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9" name="Freeform 144"/>
              <p:cNvSpPr>
                <a:spLocks/>
              </p:cNvSpPr>
              <p:nvPr/>
            </p:nvSpPr>
            <p:spPr bwMode="auto">
              <a:xfrm>
                <a:off x="3163" y="-1319"/>
                <a:ext cx="22" cy="48"/>
              </a:xfrm>
              <a:custGeom>
                <a:avLst/>
                <a:gdLst>
                  <a:gd name="T0" fmla="*/ 0 w 22"/>
                  <a:gd name="T1" fmla="*/ 8 h 48"/>
                  <a:gd name="T2" fmla="*/ 4 w 22"/>
                  <a:gd name="T3" fmla="*/ 28 h 48"/>
                  <a:gd name="T4" fmla="*/ 4 w 22"/>
                  <a:gd name="T5" fmla="*/ 41 h 48"/>
                  <a:gd name="T6" fmla="*/ 9 w 22"/>
                  <a:gd name="T7" fmla="*/ 48 h 48"/>
                  <a:gd name="T8" fmla="*/ 14 w 22"/>
                  <a:gd name="T9" fmla="*/ 41 h 48"/>
                  <a:gd name="T10" fmla="*/ 19 w 22"/>
                  <a:gd name="T11" fmla="*/ 42 h 48"/>
                  <a:gd name="T12" fmla="*/ 22 w 22"/>
                  <a:gd name="T13" fmla="*/ 38 h 48"/>
                  <a:gd name="T14" fmla="*/ 22 w 22"/>
                  <a:gd name="T15" fmla="*/ 12 h 48"/>
                  <a:gd name="T16" fmla="*/ 19 w 22"/>
                  <a:gd name="T17" fmla="*/ 4 h 48"/>
                  <a:gd name="T18" fmla="*/ 13 w 22"/>
                  <a:gd name="T19" fmla="*/ 0 h 48"/>
                  <a:gd name="T20" fmla="*/ 5 w 22"/>
                  <a:gd name="T21" fmla="*/ 9 h 48"/>
                  <a:gd name="T22" fmla="*/ 0 w 22"/>
                  <a:gd name="T23"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48">
                    <a:moveTo>
                      <a:pt x="0" y="8"/>
                    </a:moveTo>
                    <a:lnTo>
                      <a:pt x="4" y="28"/>
                    </a:lnTo>
                    <a:lnTo>
                      <a:pt x="4" y="41"/>
                    </a:lnTo>
                    <a:lnTo>
                      <a:pt x="9" y="48"/>
                    </a:lnTo>
                    <a:lnTo>
                      <a:pt x="14" y="41"/>
                    </a:lnTo>
                    <a:lnTo>
                      <a:pt x="19" y="42"/>
                    </a:lnTo>
                    <a:lnTo>
                      <a:pt x="22" y="38"/>
                    </a:lnTo>
                    <a:lnTo>
                      <a:pt x="22" y="12"/>
                    </a:lnTo>
                    <a:lnTo>
                      <a:pt x="19" y="4"/>
                    </a:lnTo>
                    <a:lnTo>
                      <a:pt x="13" y="0"/>
                    </a:lnTo>
                    <a:lnTo>
                      <a:pt x="5" y="9"/>
                    </a:lnTo>
                    <a:lnTo>
                      <a:pt x="0" y="8"/>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0" name="Freeform 145"/>
              <p:cNvSpPr>
                <a:spLocks/>
              </p:cNvSpPr>
              <p:nvPr/>
            </p:nvSpPr>
            <p:spPr bwMode="auto">
              <a:xfrm>
                <a:off x="3227" y="-1261"/>
                <a:ext cx="46" cy="30"/>
              </a:xfrm>
              <a:custGeom>
                <a:avLst/>
                <a:gdLst>
                  <a:gd name="T0" fmla="*/ 18 w 46"/>
                  <a:gd name="T1" fmla="*/ 6 h 30"/>
                  <a:gd name="T2" fmla="*/ 10 w 46"/>
                  <a:gd name="T3" fmla="*/ 2 h 30"/>
                  <a:gd name="T4" fmla="*/ 1 w 46"/>
                  <a:gd name="T5" fmla="*/ 3 h 30"/>
                  <a:gd name="T6" fmla="*/ 0 w 46"/>
                  <a:gd name="T7" fmla="*/ 8 h 30"/>
                  <a:gd name="T8" fmla="*/ 1 w 46"/>
                  <a:gd name="T9" fmla="*/ 13 h 30"/>
                  <a:gd name="T10" fmla="*/ 26 w 46"/>
                  <a:gd name="T11" fmla="*/ 24 h 30"/>
                  <a:gd name="T12" fmla="*/ 32 w 46"/>
                  <a:gd name="T13" fmla="*/ 30 h 30"/>
                  <a:gd name="T14" fmla="*/ 38 w 46"/>
                  <a:gd name="T15" fmla="*/ 30 h 30"/>
                  <a:gd name="T16" fmla="*/ 40 w 46"/>
                  <a:gd name="T17" fmla="*/ 24 h 30"/>
                  <a:gd name="T18" fmla="*/ 38 w 46"/>
                  <a:gd name="T19" fmla="*/ 17 h 30"/>
                  <a:gd name="T20" fmla="*/ 46 w 46"/>
                  <a:gd name="T21" fmla="*/ 0 h 30"/>
                  <a:gd name="T22" fmla="*/ 18 w 46"/>
                  <a:gd name="T23" fmla="*/ 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 h="30">
                    <a:moveTo>
                      <a:pt x="18" y="6"/>
                    </a:moveTo>
                    <a:lnTo>
                      <a:pt x="10" y="2"/>
                    </a:lnTo>
                    <a:lnTo>
                      <a:pt x="1" y="3"/>
                    </a:lnTo>
                    <a:lnTo>
                      <a:pt x="0" y="8"/>
                    </a:lnTo>
                    <a:lnTo>
                      <a:pt x="1" y="13"/>
                    </a:lnTo>
                    <a:lnTo>
                      <a:pt x="26" y="24"/>
                    </a:lnTo>
                    <a:lnTo>
                      <a:pt x="32" y="30"/>
                    </a:lnTo>
                    <a:lnTo>
                      <a:pt x="38" y="30"/>
                    </a:lnTo>
                    <a:lnTo>
                      <a:pt x="40" y="24"/>
                    </a:lnTo>
                    <a:lnTo>
                      <a:pt x="38" y="17"/>
                    </a:lnTo>
                    <a:lnTo>
                      <a:pt x="46" y="0"/>
                    </a:lnTo>
                    <a:lnTo>
                      <a:pt x="18" y="6"/>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1" name="Freeform 146"/>
              <p:cNvSpPr>
                <a:spLocks/>
              </p:cNvSpPr>
              <p:nvPr/>
            </p:nvSpPr>
            <p:spPr bwMode="auto">
              <a:xfrm>
                <a:off x="3111" y="-1580"/>
                <a:ext cx="7" cy="7"/>
              </a:xfrm>
              <a:custGeom>
                <a:avLst/>
                <a:gdLst>
                  <a:gd name="T0" fmla="*/ 4 w 7"/>
                  <a:gd name="T1" fmla="*/ 0 h 7"/>
                  <a:gd name="T2" fmla="*/ 0 w 7"/>
                  <a:gd name="T3" fmla="*/ 7 h 7"/>
                  <a:gd name="T4" fmla="*/ 7 w 7"/>
                  <a:gd name="T5" fmla="*/ 0 h 7"/>
                  <a:gd name="T6" fmla="*/ 4 w 7"/>
                  <a:gd name="T7" fmla="*/ 0 h 7"/>
                </a:gdLst>
                <a:ahLst/>
                <a:cxnLst>
                  <a:cxn ang="0">
                    <a:pos x="T0" y="T1"/>
                  </a:cxn>
                  <a:cxn ang="0">
                    <a:pos x="T2" y="T3"/>
                  </a:cxn>
                  <a:cxn ang="0">
                    <a:pos x="T4" y="T5"/>
                  </a:cxn>
                  <a:cxn ang="0">
                    <a:pos x="T6" y="T7"/>
                  </a:cxn>
                </a:cxnLst>
                <a:rect l="0" t="0" r="r" b="b"/>
                <a:pathLst>
                  <a:path w="7" h="7">
                    <a:moveTo>
                      <a:pt x="4" y="0"/>
                    </a:moveTo>
                    <a:lnTo>
                      <a:pt x="0" y="7"/>
                    </a:lnTo>
                    <a:lnTo>
                      <a:pt x="7" y="0"/>
                    </a:lnTo>
                    <a:lnTo>
                      <a:pt x="4"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2" name="Rectangle 147"/>
              <p:cNvSpPr>
                <a:spLocks noChangeArrowheads="1"/>
              </p:cNvSpPr>
              <p:nvPr/>
            </p:nvSpPr>
            <p:spPr bwMode="auto">
              <a:xfrm>
                <a:off x="3312" y="-1345"/>
                <a:ext cx="1" cy="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3" name="Freeform 148"/>
              <p:cNvSpPr>
                <a:spLocks/>
              </p:cNvSpPr>
              <p:nvPr/>
            </p:nvSpPr>
            <p:spPr bwMode="auto">
              <a:xfrm>
                <a:off x="3167" y="-1882"/>
                <a:ext cx="10" cy="6"/>
              </a:xfrm>
              <a:custGeom>
                <a:avLst/>
                <a:gdLst>
                  <a:gd name="T0" fmla="*/ 7 w 10"/>
                  <a:gd name="T1" fmla="*/ 0 h 6"/>
                  <a:gd name="T2" fmla="*/ 0 w 10"/>
                  <a:gd name="T3" fmla="*/ 6 h 6"/>
                  <a:gd name="T4" fmla="*/ 10 w 10"/>
                  <a:gd name="T5" fmla="*/ 5 h 6"/>
                  <a:gd name="T6" fmla="*/ 7 w 10"/>
                  <a:gd name="T7" fmla="*/ 0 h 6"/>
                </a:gdLst>
                <a:ahLst/>
                <a:cxnLst>
                  <a:cxn ang="0">
                    <a:pos x="T0" y="T1"/>
                  </a:cxn>
                  <a:cxn ang="0">
                    <a:pos x="T2" y="T3"/>
                  </a:cxn>
                  <a:cxn ang="0">
                    <a:pos x="T4" y="T5"/>
                  </a:cxn>
                  <a:cxn ang="0">
                    <a:pos x="T6" y="T7"/>
                  </a:cxn>
                </a:cxnLst>
                <a:rect l="0" t="0" r="r" b="b"/>
                <a:pathLst>
                  <a:path w="10" h="6">
                    <a:moveTo>
                      <a:pt x="7" y="0"/>
                    </a:moveTo>
                    <a:lnTo>
                      <a:pt x="0" y="6"/>
                    </a:lnTo>
                    <a:lnTo>
                      <a:pt x="10" y="5"/>
                    </a:lnTo>
                    <a:lnTo>
                      <a:pt x="7"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4" name="Freeform 149"/>
              <p:cNvSpPr>
                <a:spLocks/>
              </p:cNvSpPr>
              <p:nvPr/>
            </p:nvSpPr>
            <p:spPr bwMode="auto">
              <a:xfrm>
                <a:off x="3416" y="-2168"/>
                <a:ext cx="11" cy="6"/>
              </a:xfrm>
              <a:custGeom>
                <a:avLst/>
                <a:gdLst>
                  <a:gd name="T0" fmla="*/ 8 w 11"/>
                  <a:gd name="T1" fmla="*/ 0 h 6"/>
                  <a:gd name="T2" fmla="*/ 0 w 11"/>
                  <a:gd name="T3" fmla="*/ 4 h 6"/>
                  <a:gd name="T4" fmla="*/ 11 w 11"/>
                  <a:gd name="T5" fmla="*/ 6 h 6"/>
                  <a:gd name="T6" fmla="*/ 8 w 11"/>
                  <a:gd name="T7" fmla="*/ 0 h 6"/>
                </a:gdLst>
                <a:ahLst/>
                <a:cxnLst>
                  <a:cxn ang="0">
                    <a:pos x="T0" y="T1"/>
                  </a:cxn>
                  <a:cxn ang="0">
                    <a:pos x="T2" y="T3"/>
                  </a:cxn>
                  <a:cxn ang="0">
                    <a:pos x="T4" y="T5"/>
                  </a:cxn>
                  <a:cxn ang="0">
                    <a:pos x="T6" y="T7"/>
                  </a:cxn>
                </a:cxnLst>
                <a:rect l="0" t="0" r="r" b="b"/>
                <a:pathLst>
                  <a:path w="11" h="6">
                    <a:moveTo>
                      <a:pt x="8" y="0"/>
                    </a:moveTo>
                    <a:lnTo>
                      <a:pt x="0" y="4"/>
                    </a:lnTo>
                    <a:lnTo>
                      <a:pt x="11" y="6"/>
                    </a:lnTo>
                    <a:lnTo>
                      <a:pt x="8"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5" name="Freeform 150"/>
              <p:cNvSpPr>
                <a:spLocks/>
              </p:cNvSpPr>
              <p:nvPr/>
            </p:nvSpPr>
            <p:spPr bwMode="auto">
              <a:xfrm>
                <a:off x="3393" y="-2150"/>
                <a:ext cx="4" cy="7"/>
              </a:xfrm>
              <a:custGeom>
                <a:avLst/>
                <a:gdLst>
                  <a:gd name="T0" fmla="*/ 4 w 4"/>
                  <a:gd name="T1" fmla="*/ 1 h 7"/>
                  <a:gd name="T2" fmla="*/ 0 w 4"/>
                  <a:gd name="T3" fmla="*/ 0 h 7"/>
                  <a:gd name="T4" fmla="*/ 3 w 4"/>
                  <a:gd name="T5" fmla="*/ 7 h 7"/>
                  <a:gd name="T6" fmla="*/ 4 w 4"/>
                  <a:gd name="T7" fmla="*/ 1 h 7"/>
                </a:gdLst>
                <a:ahLst/>
                <a:cxnLst>
                  <a:cxn ang="0">
                    <a:pos x="T0" y="T1"/>
                  </a:cxn>
                  <a:cxn ang="0">
                    <a:pos x="T2" y="T3"/>
                  </a:cxn>
                  <a:cxn ang="0">
                    <a:pos x="T4" y="T5"/>
                  </a:cxn>
                  <a:cxn ang="0">
                    <a:pos x="T6" y="T7"/>
                  </a:cxn>
                </a:cxnLst>
                <a:rect l="0" t="0" r="r" b="b"/>
                <a:pathLst>
                  <a:path w="4" h="7">
                    <a:moveTo>
                      <a:pt x="4" y="1"/>
                    </a:moveTo>
                    <a:lnTo>
                      <a:pt x="0" y="0"/>
                    </a:lnTo>
                    <a:lnTo>
                      <a:pt x="3" y="7"/>
                    </a:lnTo>
                    <a:lnTo>
                      <a:pt x="4" y="1"/>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6" name="Freeform 151"/>
              <p:cNvSpPr>
                <a:spLocks/>
              </p:cNvSpPr>
              <p:nvPr/>
            </p:nvSpPr>
            <p:spPr bwMode="auto">
              <a:xfrm>
                <a:off x="3382" y="-2145"/>
                <a:ext cx="11" cy="13"/>
              </a:xfrm>
              <a:custGeom>
                <a:avLst/>
                <a:gdLst>
                  <a:gd name="T0" fmla="*/ 1 w 11"/>
                  <a:gd name="T1" fmla="*/ 13 h 13"/>
                  <a:gd name="T2" fmla="*/ 6 w 11"/>
                  <a:gd name="T3" fmla="*/ 10 h 13"/>
                  <a:gd name="T4" fmla="*/ 11 w 11"/>
                  <a:gd name="T5" fmla="*/ 6 h 13"/>
                  <a:gd name="T6" fmla="*/ 7 w 11"/>
                  <a:gd name="T7" fmla="*/ 0 h 13"/>
                  <a:gd name="T8" fmla="*/ 0 w 11"/>
                  <a:gd name="T9" fmla="*/ 6 h 13"/>
                  <a:gd name="T10" fmla="*/ 1 w 11"/>
                  <a:gd name="T11" fmla="*/ 13 h 13"/>
                </a:gdLst>
                <a:ahLst/>
                <a:cxnLst>
                  <a:cxn ang="0">
                    <a:pos x="T0" y="T1"/>
                  </a:cxn>
                  <a:cxn ang="0">
                    <a:pos x="T2" y="T3"/>
                  </a:cxn>
                  <a:cxn ang="0">
                    <a:pos x="T4" y="T5"/>
                  </a:cxn>
                  <a:cxn ang="0">
                    <a:pos x="T6" y="T7"/>
                  </a:cxn>
                  <a:cxn ang="0">
                    <a:pos x="T8" y="T9"/>
                  </a:cxn>
                  <a:cxn ang="0">
                    <a:pos x="T10" y="T11"/>
                  </a:cxn>
                </a:cxnLst>
                <a:rect l="0" t="0" r="r" b="b"/>
                <a:pathLst>
                  <a:path w="11" h="13">
                    <a:moveTo>
                      <a:pt x="1" y="13"/>
                    </a:moveTo>
                    <a:lnTo>
                      <a:pt x="6" y="10"/>
                    </a:lnTo>
                    <a:lnTo>
                      <a:pt x="11" y="6"/>
                    </a:lnTo>
                    <a:lnTo>
                      <a:pt x="7" y="0"/>
                    </a:lnTo>
                    <a:lnTo>
                      <a:pt x="0" y="6"/>
                    </a:lnTo>
                    <a:lnTo>
                      <a:pt x="1" y="13"/>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7" name="Freeform 152"/>
              <p:cNvSpPr>
                <a:spLocks/>
              </p:cNvSpPr>
              <p:nvPr/>
            </p:nvSpPr>
            <p:spPr bwMode="auto">
              <a:xfrm>
                <a:off x="3368" y="-2149"/>
                <a:ext cx="16" cy="10"/>
              </a:xfrm>
              <a:custGeom>
                <a:avLst/>
                <a:gdLst>
                  <a:gd name="T0" fmla="*/ 16 w 16"/>
                  <a:gd name="T1" fmla="*/ 1 h 10"/>
                  <a:gd name="T2" fmla="*/ 4 w 16"/>
                  <a:gd name="T3" fmla="*/ 0 h 10"/>
                  <a:gd name="T4" fmla="*/ 0 w 16"/>
                  <a:gd name="T5" fmla="*/ 4 h 10"/>
                  <a:gd name="T6" fmla="*/ 3 w 16"/>
                  <a:gd name="T7" fmla="*/ 10 h 10"/>
                  <a:gd name="T8" fmla="*/ 16 w 16"/>
                  <a:gd name="T9" fmla="*/ 1 h 10"/>
                </a:gdLst>
                <a:ahLst/>
                <a:cxnLst>
                  <a:cxn ang="0">
                    <a:pos x="T0" y="T1"/>
                  </a:cxn>
                  <a:cxn ang="0">
                    <a:pos x="T2" y="T3"/>
                  </a:cxn>
                  <a:cxn ang="0">
                    <a:pos x="T4" y="T5"/>
                  </a:cxn>
                  <a:cxn ang="0">
                    <a:pos x="T6" y="T7"/>
                  </a:cxn>
                  <a:cxn ang="0">
                    <a:pos x="T8" y="T9"/>
                  </a:cxn>
                </a:cxnLst>
                <a:rect l="0" t="0" r="r" b="b"/>
                <a:pathLst>
                  <a:path w="16" h="10">
                    <a:moveTo>
                      <a:pt x="16" y="1"/>
                    </a:moveTo>
                    <a:lnTo>
                      <a:pt x="4" y="0"/>
                    </a:lnTo>
                    <a:lnTo>
                      <a:pt x="0" y="4"/>
                    </a:lnTo>
                    <a:lnTo>
                      <a:pt x="3" y="10"/>
                    </a:lnTo>
                    <a:lnTo>
                      <a:pt x="16" y="1"/>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8" name="Freeform 153"/>
              <p:cNvSpPr>
                <a:spLocks/>
              </p:cNvSpPr>
              <p:nvPr/>
            </p:nvSpPr>
            <p:spPr bwMode="auto">
              <a:xfrm>
                <a:off x="3375" y="-2135"/>
                <a:ext cx="7" cy="5"/>
              </a:xfrm>
              <a:custGeom>
                <a:avLst/>
                <a:gdLst>
                  <a:gd name="T0" fmla="*/ 3 w 7"/>
                  <a:gd name="T1" fmla="*/ 5 h 5"/>
                  <a:gd name="T2" fmla="*/ 7 w 7"/>
                  <a:gd name="T3" fmla="*/ 4 h 5"/>
                  <a:gd name="T4" fmla="*/ 5 w 7"/>
                  <a:gd name="T5" fmla="*/ 0 h 5"/>
                  <a:gd name="T6" fmla="*/ 0 w 7"/>
                  <a:gd name="T7" fmla="*/ 0 h 5"/>
                  <a:gd name="T8" fmla="*/ 3 w 7"/>
                  <a:gd name="T9" fmla="*/ 5 h 5"/>
                </a:gdLst>
                <a:ahLst/>
                <a:cxnLst>
                  <a:cxn ang="0">
                    <a:pos x="T0" y="T1"/>
                  </a:cxn>
                  <a:cxn ang="0">
                    <a:pos x="T2" y="T3"/>
                  </a:cxn>
                  <a:cxn ang="0">
                    <a:pos x="T4" y="T5"/>
                  </a:cxn>
                  <a:cxn ang="0">
                    <a:pos x="T6" y="T7"/>
                  </a:cxn>
                  <a:cxn ang="0">
                    <a:pos x="T8" y="T9"/>
                  </a:cxn>
                </a:cxnLst>
                <a:rect l="0" t="0" r="r" b="b"/>
                <a:pathLst>
                  <a:path w="7" h="5">
                    <a:moveTo>
                      <a:pt x="3" y="5"/>
                    </a:moveTo>
                    <a:lnTo>
                      <a:pt x="7" y="4"/>
                    </a:lnTo>
                    <a:lnTo>
                      <a:pt x="5" y="0"/>
                    </a:lnTo>
                    <a:lnTo>
                      <a:pt x="0" y="0"/>
                    </a:lnTo>
                    <a:lnTo>
                      <a:pt x="3" y="5"/>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9" name="Freeform 154"/>
              <p:cNvSpPr>
                <a:spLocks/>
              </p:cNvSpPr>
              <p:nvPr/>
            </p:nvSpPr>
            <p:spPr bwMode="auto">
              <a:xfrm>
                <a:off x="3345" y="-2130"/>
                <a:ext cx="4" cy="7"/>
              </a:xfrm>
              <a:custGeom>
                <a:avLst/>
                <a:gdLst>
                  <a:gd name="T0" fmla="*/ 4 w 4"/>
                  <a:gd name="T1" fmla="*/ 0 h 7"/>
                  <a:gd name="T2" fmla="*/ 0 w 4"/>
                  <a:gd name="T3" fmla="*/ 6 h 7"/>
                  <a:gd name="T4" fmla="*/ 4 w 4"/>
                  <a:gd name="T5" fmla="*/ 7 h 7"/>
                  <a:gd name="T6" fmla="*/ 4 w 4"/>
                  <a:gd name="T7" fmla="*/ 0 h 7"/>
                </a:gdLst>
                <a:ahLst/>
                <a:cxnLst>
                  <a:cxn ang="0">
                    <a:pos x="T0" y="T1"/>
                  </a:cxn>
                  <a:cxn ang="0">
                    <a:pos x="T2" y="T3"/>
                  </a:cxn>
                  <a:cxn ang="0">
                    <a:pos x="T4" y="T5"/>
                  </a:cxn>
                  <a:cxn ang="0">
                    <a:pos x="T6" y="T7"/>
                  </a:cxn>
                </a:cxnLst>
                <a:rect l="0" t="0" r="r" b="b"/>
                <a:pathLst>
                  <a:path w="4" h="7">
                    <a:moveTo>
                      <a:pt x="4" y="0"/>
                    </a:moveTo>
                    <a:lnTo>
                      <a:pt x="0" y="6"/>
                    </a:lnTo>
                    <a:lnTo>
                      <a:pt x="4" y="7"/>
                    </a:lnTo>
                    <a:lnTo>
                      <a:pt x="4"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0" name="Freeform 155"/>
              <p:cNvSpPr>
                <a:spLocks/>
              </p:cNvSpPr>
              <p:nvPr/>
            </p:nvSpPr>
            <p:spPr bwMode="auto">
              <a:xfrm>
                <a:off x="3331" y="-2130"/>
                <a:ext cx="8" cy="7"/>
              </a:xfrm>
              <a:custGeom>
                <a:avLst/>
                <a:gdLst>
                  <a:gd name="T0" fmla="*/ 8 w 8"/>
                  <a:gd name="T1" fmla="*/ 7 h 7"/>
                  <a:gd name="T2" fmla="*/ 4 w 8"/>
                  <a:gd name="T3" fmla="*/ 2 h 7"/>
                  <a:gd name="T4" fmla="*/ 0 w 8"/>
                  <a:gd name="T5" fmla="*/ 0 h 7"/>
                  <a:gd name="T6" fmla="*/ 2 w 8"/>
                  <a:gd name="T7" fmla="*/ 7 h 7"/>
                  <a:gd name="T8" fmla="*/ 8 w 8"/>
                  <a:gd name="T9" fmla="*/ 7 h 7"/>
                </a:gdLst>
                <a:ahLst/>
                <a:cxnLst>
                  <a:cxn ang="0">
                    <a:pos x="T0" y="T1"/>
                  </a:cxn>
                  <a:cxn ang="0">
                    <a:pos x="T2" y="T3"/>
                  </a:cxn>
                  <a:cxn ang="0">
                    <a:pos x="T4" y="T5"/>
                  </a:cxn>
                  <a:cxn ang="0">
                    <a:pos x="T6" y="T7"/>
                  </a:cxn>
                  <a:cxn ang="0">
                    <a:pos x="T8" y="T9"/>
                  </a:cxn>
                </a:cxnLst>
                <a:rect l="0" t="0" r="r" b="b"/>
                <a:pathLst>
                  <a:path w="8" h="7">
                    <a:moveTo>
                      <a:pt x="8" y="7"/>
                    </a:moveTo>
                    <a:lnTo>
                      <a:pt x="4" y="2"/>
                    </a:lnTo>
                    <a:lnTo>
                      <a:pt x="0" y="0"/>
                    </a:lnTo>
                    <a:lnTo>
                      <a:pt x="2" y="7"/>
                    </a:lnTo>
                    <a:lnTo>
                      <a:pt x="8" y="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1" name="Freeform 156"/>
              <p:cNvSpPr>
                <a:spLocks/>
              </p:cNvSpPr>
              <p:nvPr/>
            </p:nvSpPr>
            <p:spPr bwMode="auto">
              <a:xfrm>
                <a:off x="3322" y="-2122"/>
                <a:ext cx="9" cy="10"/>
              </a:xfrm>
              <a:custGeom>
                <a:avLst/>
                <a:gdLst>
                  <a:gd name="T0" fmla="*/ 9 w 9"/>
                  <a:gd name="T1" fmla="*/ 3 h 10"/>
                  <a:gd name="T2" fmla="*/ 0 w 9"/>
                  <a:gd name="T3" fmla="*/ 0 h 10"/>
                  <a:gd name="T4" fmla="*/ 4 w 9"/>
                  <a:gd name="T5" fmla="*/ 10 h 10"/>
                  <a:gd name="T6" fmla="*/ 9 w 9"/>
                  <a:gd name="T7" fmla="*/ 3 h 10"/>
                </a:gdLst>
                <a:ahLst/>
                <a:cxnLst>
                  <a:cxn ang="0">
                    <a:pos x="T0" y="T1"/>
                  </a:cxn>
                  <a:cxn ang="0">
                    <a:pos x="T2" y="T3"/>
                  </a:cxn>
                  <a:cxn ang="0">
                    <a:pos x="T4" y="T5"/>
                  </a:cxn>
                  <a:cxn ang="0">
                    <a:pos x="T6" y="T7"/>
                  </a:cxn>
                </a:cxnLst>
                <a:rect l="0" t="0" r="r" b="b"/>
                <a:pathLst>
                  <a:path w="9" h="10">
                    <a:moveTo>
                      <a:pt x="9" y="3"/>
                    </a:moveTo>
                    <a:lnTo>
                      <a:pt x="0" y="0"/>
                    </a:lnTo>
                    <a:lnTo>
                      <a:pt x="4" y="10"/>
                    </a:lnTo>
                    <a:lnTo>
                      <a:pt x="9" y="3"/>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2" name="Freeform 157"/>
              <p:cNvSpPr>
                <a:spLocks/>
              </p:cNvSpPr>
              <p:nvPr/>
            </p:nvSpPr>
            <p:spPr bwMode="auto">
              <a:xfrm>
                <a:off x="3310" y="-2110"/>
                <a:ext cx="13" cy="10"/>
              </a:xfrm>
              <a:custGeom>
                <a:avLst/>
                <a:gdLst>
                  <a:gd name="T0" fmla="*/ 13 w 13"/>
                  <a:gd name="T1" fmla="*/ 0 h 10"/>
                  <a:gd name="T2" fmla="*/ 1 w 13"/>
                  <a:gd name="T3" fmla="*/ 3 h 10"/>
                  <a:gd name="T4" fmla="*/ 0 w 13"/>
                  <a:gd name="T5" fmla="*/ 8 h 10"/>
                  <a:gd name="T6" fmla="*/ 3 w 13"/>
                  <a:gd name="T7" fmla="*/ 10 h 10"/>
                  <a:gd name="T8" fmla="*/ 13 w 13"/>
                  <a:gd name="T9" fmla="*/ 0 h 10"/>
                </a:gdLst>
                <a:ahLst/>
                <a:cxnLst>
                  <a:cxn ang="0">
                    <a:pos x="T0" y="T1"/>
                  </a:cxn>
                  <a:cxn ang="0">
                    <a:pos x="T2" y="T3"/>
                  </a:cxn>
                  <a:cxn ang="0">
                    <a:pos x="T4" y="T5"/>
                  </a:cxn>
                  <a:cxn ang="0">
                    <a:pos x="T6" y="T7"/>
                  </a:cxn>
                  <a:cxn ang="0">
                    <a:pos x="T8" y="T9"/>
                  </a:cxn>
                </a:cxnLst>
                <a:rect l="0" t="0" r="r" b="b"/>
                <a:pathLst>
                  <a:path w="13" h="10">
                    <a:moveTo>
                      <a:pt x="13" y="0"/>
                    </a:moveTo>
                    <a:lnTo>
                      <a:pt x="1" y="3"/>
                    </a:lnTo>
                    <a:lnTo>
                      <a:pt x="0" y="8"/>
                    </a:lnTo>
                    <a:lnTo>
                      <a:pt x="3" y="10"/>
                    </a:lnTo>
                    <a:lnTo>
                      <a:pt x="13"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3" name="Freeform 158"/>
              <p:cNvSpPr>
                <a:spLocks/>
              </p:cNvSpPr>
              <p:nvPr/>
            </p:nvSpPr>
            <p:spPr bwMode="auto">
              <a:xfrm>
                <a:off x="3291" y="-2102"/>
                <a:ext cx="16" cy="23"/>
              </a:xfrm>
              <a:custGeom>
                <a:avLst/>
                <a:gdLst>
                  <a:gd name="T0" fmla="*/ 1 w 16"/>
                  <a:gd name="T1" fmla="*/ 23 h 23"/>
                  <a:gd name="T2" fmla="*/ 15 w 16"/>
                  <a:gd name="T3" fmla="*/ 17 h 23"/>
                  <a:gd name="T4" fmla="*/ 16 w 16"/>
                  <a:gd name="T5" fmla="*/ 9 h 23"/>
                  <a:gd name="T6" fmla="*/ 9 w 16"/>
                  <a:gd name="T7" fmla="*/ 0 h 23"/>
                  <a:gd name="T8" fmla="*/ 1 w 16"/>
                  <a:gd name="T9" fmla="*/ 10 h 23"/>
                  <a:gd name="T10" fmla="*/ 0 w 16"/>
                  <a:gd name="T11" fmla="*/ 15 h 23"/>
                  <a:gd name="T12" fmla="*/ 1 w 16"/>
                  <a:gd name="T13" fmla="*/ 17 h 23"/>
                  <a:gd name="T14" fmla="*/ 1 w 16"/>
                  <a:gd name="T15" fmla="*/ 23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23">
                    <a:moveTo>
                      <a:pt x="1" y="23"/>
                    </a:moveTo>
                    <a:lnTo>
                      <a:pt x="15" y="17"/>
                    </a:lnTo>
                    <a:lnTo>
                      <a:pt x="16" y="9"/>
                    </a:lnTo>
                    <a:lnTo>
                      <a:pt x="9" y="0"/>
                    </a:lnTo>
                    <a:lnTo>
                      <a:pt x="1" y="10"/>
                    </a:lnTo>
                    <a:lnTo>
                      <a:pt x="0" y="15"/>
                    </a:lnTo>
                    <a:lnTo>
                      <a:pt x="1" y="17"/>
                    </a:lnTo>
                    <a:lnTo>
                      <a:pt x="1" y="23"/>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4" name="Freeform 159"/>
              <p:cNvSpPr>
                <a:spLocks/>
              </p:cNvSpPr>
              <p:nvPr/>
            </p:nvSpPr>
            <p:spPr bwMode="auto">
              <a:xfrm>
                <a:off x="3271" y="-2090"/>
                <a:ext cx="10" cy="12"/>
              </a:xfrm>
              <a:custGeom>
                <a:avLst/>
                <a:gdLst>
                  <a:gd name="T0" fmla="*/ 10 w 10"/>
                  <a:gd name="T1" fmla="*/ 0 h 12"/>
                  <a:gd name="T2" fmla="*/ 3 w 10"/>
                  <a:gd name="T3" fmla="*/ 5 h 12"/>
                  <a:gd name="T4" fmla="*/ 0 w 10"/>
                  <a:gd name="T5" fmla="*/ 11 h 12"/>
                  <a:gd name="T6" fmla="*/ 5 w 10"/>
                  <a:gd name="T7" fmla="*/ 12 h 12"/>
                  <a:gd name="T8" fmla="*/ 10 w 10"/>
                  <a:gd name="T9" fmla="*/ 0 h 12"/>
                </a:gdLst>
                <a:ahLst/>
                <a:cxnLst>
                  <a:cxn ang="0">
                    <a:pos x="T0" y="T1"/>
                  </a:cxn>
                  <a:cxn ang="0">
                    <a:pos x="T2" y="T3"/>
                  </a:cxn>
                  <a:cxn ang="0">
                    <a:pos x="T4" y="T5"/>
                  </a:cxn>
                  <a:cxn ang="0">
                    <a:pos x="T6" y="T7"/>
                  </a:cxn>
                  <a:cxn ang="0">
                    <a:pos x="T8" y="T9"/>
                  </a:cxn>
                </a:cxnLst>
                <a:rect l="0" t="0" r="r" b="b"/>
                <a:pathLst>
                  <a:path w="10" h="12">
                    <a:moveTo>
                      <a:pt x="10" y="0"/>
                    </a:moveTo>
                    <a:lnTo>
                      <a:pt x="3" y="5"/>
                    </a:lnTo>
                    <a:lnTo>
                      <a:pt x="0" y="11"/>
                    </a:lnTo>
                    <a:lnTo>
                      <a:pt x="5" y="12"/>
                    </a:lnTo>
                    <a:lnTo>
                      <a:pt x="1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5" name="Freeform 160"/>
              <p:cNvSpPr>
                <a:spLocks/>
              </p:cNvSpPr>
              <p:nvPr/>
            </p:nvSpPr>
            <p:spPr bwMode="auto">
              <a:xfrm>
                <a:off x="3254" y="-2077"/>
                <a:ext cx="12" cy="13"/>
              </a:xfrm>
              <a:custGeom>
                <a:avLst/>
                <a:gdLst>
                  <a:gd name="T0" fmla="*/ 9 w 12"/>
                  <a:gd name="T1" fmla="*/ 0 h 13"/>
                  <a:gd name="T2" fmla="*/ 9 w 12"/>
                  <a:gd name="T3" fmla="*/ 6 h 13"/>
                  <a:gd name="T4" fmla="*/ 0 w 12"/>
                  <a:gd name="T5" fmla="*/ 12 h 13"/>
                  <a:gd name="T6" fmla="*/ 12 w 12"/>
                  <a:gd name="T7" fmla="*/ 13 h 13"/>
                  <a:gd name="T8" fmla="*/ 9 w 12"/>
                  <a:gd name="T9" fmla="*/ 0 h 13"/>
                </a:gdLst>
                <a:ahLst/>
                <a:cxnLst>
                  <a:cxn ang="0">
                    <a:pos x="T0" y="T1"/>
                  </a:cxn>
                  <a:cxn ang="0">
                    <a:pos x="T2" y="T3"/>
                  </a:cxn>
                  <a:cxn ang="0">
                    <a:pos x="T4" y="T5"/>
                  </a:cxn>
                  <a:cxn ang="0">
                    <a:pos x="T6" y="T7"/>
                  </a:cxn>
                  <a:cxn ang="0">
                    <a:pos x="T8" y="T9"/>
                  </a:cxn>
                </a:cxnLst>
                <a:rect l="0" t="0" r="r" b="b"/>
                <a:pathLst>
                  <a:path w="12" h="13">
                    <a:moveTo>
                      <a:pt x="9" y="0"/>
                    </a:moveTo>
                    <a:lnTo>
                      <a:pt x="9" y="6"/>
                    </a:lnTo>
                    <a:lnTo>
                      <a:pt x="0" y="12"/>
                    </a:lnTo>
                    <a:lnTo>
                      <a:pt x="12" y="13"/>
                    </a:lnTo>
                    <a:lnTo>
                      <a:pt x="9"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6" name="Freeform 161"/>
              <p:cNvSpPr>
                <a:spLocks/>
              </p:cNvSpPr>
              <p:nvPr/>
            </p:nvSpPr>
            <p:spPr bwMode="auto">
              <a:xfrm>
                <a:off x="3253" y="-2074"/>
                <a:ext cx="33" cy="29"/>
              </a:xfrm>
              <a:custGeom>
                <a:avLst/>
                <a:gdLst>
                  <a:gd name="T0" fmla="*/ 20 w 33"/>
                  <a:gd name="T1" fmla="*/ 24 h 29"/>
                  <a:gd name="T2" fmla="*/ 33 w 33"/>
                  <a:gd name="T3" fmla="*/ 11 h 29"/>
                  <a:gd name="T4" fmla="*/ 33 w 33"/>
                  <a:gd name="T5" fmla="*/ 6 h 29"/>
                  <a:gd name="T6" fmla="*/ 28 w 33"/>
                  <a:gd name="T7" fmla="*/ 2 h 29"/>
                  <a:gd name="T8" fmla="*/ 24 w 33"/>
                  <a:gd name="T9" fmla="*/ 13 h 29"/>
                  <a:gd name="T10" fmla="*/ 24 w 33"/>
                  <a:gd name="T11" fmla="*/ 7 h 29"/>
                  <a:gd name="T12" fmla="*/ 20 w 33"/>
                  <a:gd name="T13" fmla="*/ 0 h 29"/>
                  <a:gd name="T14" fmla="*/ 14 w 33"/>
                  <a:gd name="T15" fmla="*/ 17 h 29"/>
                  <a:gd name="T16" fmla="*/ 0 w 33"/>
                  <a:gd name="T17" fmla="*/ 29 h 29"/>
                  <a:gd name="T18" fmla="*/ 18 w 33"/>
                  <a:gd name="T19" fmla="*/ 17 h 29"/>
                  <a:gd name="T20" fmla="*/ 20 w 33"/>
                  <a:gd name="T21" fmla="*/ 24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29">
                    <a:moveTo>
                      <a:pt x="20" y="24"/>
                    </a:moveTo>
                    <a:lnTo>
                      <a:pt x="33" y="11"/>
                    </a:lnTo>
                    <a:lnTo>
                      <a:pt x="33" y="6"/>
                    </a:lnTo>
                    <a:lnTo>
                      <a:pt x="28" y="2"/>
                    </a:lnTo>
                    <a:lnTo>
                      <a:pt x="24" y="13"/>
                    </a:lnTo>
                    <a:lnTo>
                      <a:pt x="24" y="7"/>
                    </a:lnTo>
                    <a:lnTo>
                      <a:pt x="20" y="0"/>
                    </a:lnTo>
                    <a:lnTo>
                      <a:pt x="14" y="17"/>
                    </a:lnTo>
                    <a:lnTo>
                      <a:pt x="0" y="29"/>
                    </a:lnTo>
                    <a:lnTo>
                      <a:pt x="18" y="17"/>
                    </a:lnTo>
                    <a:lnTo>
                      <a:pt x="20" y="24"/>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7" name="Freeform 162"/>
              <p:cNvSpPr>
                <a:spLocks/>
              </p:cNvSpPr>
              <p:nvPr/>
            </p:nvSpPr>
            <p:spPr bwMode="auto">
              <a:xfrm>
                <a:off x="3127" y="-1838"/>
                <a:ext cx="3" cy="5"/>
              </a:xfrm>
              <a:custGeom>
                <a:avLst/>
                <a:gdLst>
                  <a:gd name="T0" fmla="*/ 3 w 3"/>
                  <a:gd name="T1" fmla="*/ 0 h 5"/>
                  <a:gd name="T2" fmla="*/ 0 w 3"/>
                  <a:gd name="T3" fmla="*/ 1 h 5"/>
                  <a:gd name="T4" fmla="*/ 1 w 3"/>
                  <a:gd name="T5" fmla="*/ 5 h 5"/>
                  <a:gd name="T6" fmla="*/ 3 w 3"/>
                  <a:gd name="T7" fmla="*/ 0 h 5"/>
                </a:gdLst>
                <a:ahLst/>
                <a:cxnLst>
                  <a:cxn ang="0">
                    <a:pos x="T0" y="T1"/>
                  </a:cxn>
                  <a:cxn ang="0">
                    <a:pos x="T2" y="T3"/>
                  </a:cxn>
                  <a:cxn ang="0">
                    <a:pos x="T4" y="T5"/>
                  </a:cxn>
                  <a:cxn ang="0">
                    <a:pos x="T6" y="T7"/>
                  </a:cxn>
                </a:cxnLst>
                <a:rect l="0" t="0" r="r" b="b"/>
                <a:pathLst>
                  <a:path w="3" h="5">
                    <a:moveTo>
                      <a:pt x="3" y="0"/>
                    </a:moveTo>
                    <a:lnTo>
                      <a:pt x="0" y="1"/>
                    </a:lnTo>
                    <a:lnTo>
                      <a:pt x="1" y="5"/>
                    </a:lnTo>
                    <a:lnTo>
                      <a:pt x="3"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8" name="Freeform 163"/>
              <p:cNvSpPr>
                <a:spLocks/>
              </p:cNvSpPr>
              <p:nvPr/>
            </p:nvSpPr>
            <p:spPr bwMode="auto">
              <a:xfrm>
                <a:off x="3281" y="-1679"/>
                <a:ext cx="9" cy="20"/>
              </a:xfrm>
              <a:custGeom>
                <a:avLst/>
                <a:gdLst>
                  <a:gd name="T0" fmla="*/ 0 w 9"/>
                  <a:gd name="T1" fmla="*/ 20 h 20"/>
                  <a:gd name="T2" fmla="*/ 9 w 9"/>
                  <a:gd name="T3" fmla="*/ 0 h 20"/>
                  <a:gd name="T4" fmla="*/ 3 w 9"/>
                  <a:gd name="T5" fmla="*/ 9 h 20"/>
                  <a:gd name="T6" fmla="*/ 0 w 9"/>
                  <a:gd name="T7" fmla="*/ 20 h 20"/>
                </a:gdLst>
                <a:ahLst/>
                <a:cxnLst>
                  <a:cxn ang="0">
                    <a:pos x="T0" y="T1"/>
                  </a:cxn>
                  <a:cxn ang="0">
                    <a:pos x="T2" y="T3"/>
                  </a:cxn>
                  <a:cxn ang="0">
                    <a:pos x="T4" y="T5"/>
                  </a:cxn>
                  <a:cxn ang="0">
                    <a:pos x="T6" y="T7"/>
                  </a:cxn>
                </a:cxnLst>
                <a:rect l="0" t="0" r="r" b="b"/>
                <a:pathLst>
                  <a:path w="9" h="20">
                    <a:moveTo>
                      <a:pt x="0" y="20"/>
                    </a:moveTo>
                    <a:lnTo>
                      <a:pt x="9" y="0"/>
                    </a:lnTo>
                    <a:lnTo>
                      <a:pt x="3" y="9"/>
                    </a:lnTo>
                    <a:lnTo>
                      <a:pt x="0" y="2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9" name="Freeform 164"/>
              <p:cNvSpPr>
                <a:spLocks/>
              </p:cNvSpPr>
              <p:nvPr/>
            </p:nvSpPr>
            <p:spPr bwMode="auto">
              <a:xfrm>
                <a:off x="3254" y="-1399"/>
                <a:ext cx="5" cy="6"/>
              </a:xfrm>
              <a:custGeom>
                <a:avLst/>
                <a:gdLst>
                  <a:gd name="T0" fmla="*/ 0 w 5"/>
                  <a:gd name="T1" fmla="*/ 4 h 6"/>
                  <a:gd name="T2" fmla="*/ 5 w 5"/>
                  <a:gd name="T3" fmla="*/ 6 h 6"/>
                  <a:gd name="T4" fmla="*/ 3 w 5"/>
                  <a:gd name="T5" fmla="*/ 0 h 6"/>
                  <a:gd name="T6" fmla="*/ 0 w 5"/>
                  <a:gd name="T7" fmla="*/ 4 h 6"/>
                </a:gdLst>
                <a:ahLst/>
                <a:cxnLst>
                  <a:cxn ang="0">
                    <a:pos x="T0" y="T1"/>
                  </a:cxn>
                  <a:cxn ang="0">
                    <a:pos x="T2" y="T3"/>
                  </a:cxn>
                  <a:cxn ang="0">
                    <a:pos x="T4" y="T5"/>
                  </a:cxn>
                  <a:cxn ang="0">
                    <a:pos x="T6" y="T7"/>
                  </a:cxn>
                </a:cxnLst>
                <a:rect l="0" t="0" r="r" b="b"/>
                <a:pathLst>
                  <a:path w="5" h="6">
                    <a:moveTo>
                      <a:pt x="0" y="4"/>
                    </a:moveTo>
                    <a:lnTo>
                      <a:pt x="5" y="6"/>
                    </a:lnTo>
                    <a:lnTo>
                      <a:pt x="3" y="0"/>
                    </a:lnTo>
                    <a:lnTo>
                      <a:pt x="0" y="4"/>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0" name="Freeform 165"/>
              <p:cNvSpPr>
                <a:spLocks/>
              </p:cNvSpPr>
              <p:nvPr/>
            </p:nvSpPr>
            <p:spPr bwMode="auto">
              <a:xfrm>
                <a:off x="3168" y="-1353"/>
                <a:ext cx="14" cy="33"/>
              </a:xfrm>
              <a:custGeom>
                <a:avLst/>
                <a:gdLst>
                  <a:gd name="T0" fmla="*/ 14 w 14"/>
                  <a:gd name="T1" fmla="*/ 16 h 33"/>
                  <a:gd name="T2" fmla="*/ 12 w 14"/>
                  <a:gd name="T3" fmla="*/ 0 h 33"/>
                  <a:gd name="T4" fmla="*/ 11 w 14"/>
                  <a:gd name="T5" fmla="*/ 5 h 33"/>
                  <a:gd name="T6" fmla="*/ 2 w 14"/>
                  <a:gd name="T7" fmla="*/ 8 h 33"/>
                  <a:gd name="T8" fmla="*/ 0 w 14"/>
                  <a:gd name="T9" fmla="*/ 12 h 33"/>
                  <a:gd name="T10" fmla="*/ 2 w 14"/>
                  <a:gd name="T11" fmla="*/ 25 h 33"/>
                  <a:gd name="T12" fmla="*/ 9 w 14"/>
                  <a:gd name="T13" fmla="*/ 33 h 33"/>
                  <a:gd name="T14" fmla="*/ 14 w 14"/>
                  <a:gd name="T15" fmla="*/ 16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33">
                    <a:moveTo>
                      <a:pt x="14" y="16"/>
                    </a:moveTo>
                    <a:lnTo>
                      <a:pt x="12" y="0"/>
                    </a:lnTo>
                    <a:lnTo>
                      <a:pt x="11" y="5"/>
                    </a:lnTo>
                    <a:lnTo>
                      <a:pt x="2" y="8"/>
                    </a:lnTo>
                    <a:lnTo>
                      <a:pt x="0" y="12"/>
                    </a:lnTo>
                    <a:lnTo>
                      <a:pt x="2" y="25"/>
                    </a:lnTo>
                    <a:lnTo>
                      <a:pt x="9" y="33"/>
                    </a:lnTo>
                    <a:lnTo>
                      <a:pt x="14" y="16"/>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1" name="Freeform 166"/>
              <p:cNvSpPr>
                <a:spLocks/>
              </p:cNvSpPr>
              <p:nvPr/>
            </p:nvSpPr>
            <p:spPr bwMode="auto">
              <a:xfrm>
                <a:off x="3790" y="-1048"/>
                <a:ext cx="2" cy="5"/>
              </a:xfrm>
              <a:custGeom>
                <a:avLst/>
                <a:gdLst>
                  <a:gd name="T0" fmla="*/ 2 w 2"/>
                  <a:gd name="T1" fmla="*/ 0 h 5"/>
                  <a:gd name="T2" fmla="*/ 0 w 2"/>
                  <a:gd name="T3" fmla="*/ 0 h 5"/>
                  <a:gd name="T4" fmla="*/ 0 w 2"/>
                  <a:gd name="T5" fmla="*/ 5 h 5"/>
                  <a:gd name="T6" fmla="*/ 2 w 2"/>
                  <a:gd name="T7" fmla="*/ 0 h 5"/>
                </a:gdLst>
                <a:ahLst/>
                <a:cxnLst>
                  <a:cxn ang="0">
                    <a:pos x="T0" y="T1"/>
                  </a:cxn>
                  <a:cxn ang="0">
                    <a:pos x="T2" y="T3"/>
                  </a:cxn>
                  <a:cxn ang="0">
                    <a:pos x="T4" y="T5"/>
                  </a:cxn>
                  <a:cxn ang="0">
                    <a:pos x="T6" y="T7"/>
                  </a:cxn>
                </a:cxnLst>
                <a:rect l="0" t="0" r="r" b="b"/>
                <a:pathLst>
                  <a:path w="2" h="5">
                    <a:moveTo>
                      <a:pt x="2" y="0"/>
                    </a:moveTo>
                    <a:lnTo>
                      <a:pt x="0" y="0"/>
                    </a:lnTo>
                    <a:lnTo>
                      <a:pt x="0" y="5"/>
                    </a:lnTo>
                    <a:lnTo>
                      <a:pt x="2"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2" name="Freeform 167"/>
              <p:cNvSpPr>
                <a:spLocks/>
              </p:cNvSpPr>
              <p:nvPr/>
            </p:nvSpPr>
            <p:spPr bwMode="auto">
              <a:xfrm>
                <a:off x="3862" y="-1058"/>
                <a:ext cx="14" cy="7"/>
              </a:xfrm>
              <a:custGeom>
                <a:avLst/>
                <a:gdLst>
                  <a:gd name="T0" fmla="*/ 14 w 14"/>
                  <a:gd name="T1" fmla="*/ 0 h 7"/>
                  <a:gd name="T2" fmla="*/ 8 w 14"/>
                  <a:gd name="T3" fmla="*/ 0 h 7"/>
                  <a:gd name="T4" fmla="*/ 0 w 14"/>
                  <a:gd name="T5" fmla="*/ 7 h 7"/>
                  <a:gd name="T6" fmla="*/ 14 w 14"/>
                  <a:gd name="T7" fmla="*/ 0 h 7"/>
                </a:gdLst>
                <a:ahLst/>
                <a:cxnLst>
                  <a:cxn ang="0">
                    <a:pos x="T0" y="T1"/>
                  </a:cxn>
                  <a:cxn ang="0">
                    <a:pos x="T2" y="T3"/>
                  </a:cxn>
                  <a:cxn ang="0">
                    <a:pos x="T4" y="T5"/>
                  </a:cxn>
                  <a:cxn ang="0">
                    <a:pos x="T6" y="T7"/>
                  </a:cxn>
                </a:cxnLst>
                <a:rect l="0" t="0" r="r" b="b"/>
                <a:pathLst>
                  <a:path w="14" h="7">
                    <a:moveTo>
                      <a:pt x="14" y="0"/>
                    </a:moveTo>
                    <a:lnTo>
                      <a:pt x="8" y="0"/>
                    </a:lnTo>
                    <a:lnTo>
                      <a:pt x="0" y="7"/>
                    </a:lnTo>
                    <a:lnTo>
                      <a:pt x="14"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3" name="Freeform 168"/>
              <p:cNvSpPr>
                <a:spLocks/>
              </p:cNvSpPr>
              <p:nvPr/>
            </p:nvSpPr>
            <p:spPr bwMode="auto">
              <a:xfrm>
                <a:off x="3371" y="-1773"/>
                <a:ext cx="7" cy="7"/>
              </a:xfrm>
              <a:custGeom>
                <a:avLst/>
                <a:gdLst>
                  <a:gd name="T0" fmla="*/ 0 w 7"/>
                  <a:gd name="T1" fmla="*/ 7 h 7"/>
                  <a:gd name="T2" fmla="*/ 4 w 7"/>
                  <a:gd name="T3" fmla="*/ 7 h 7"/>
                  <a:gd name="T4" fmla="*/ 7 w 7"/>
                  <a:gd name="T5" fmla="*/ 0 h 7"/>
                  <a:gd name="T6" fmla="*/ 0 w 7"/>
                  <a:gd name="T7" fmla="*/ 7 h 7"/>
                </a:gdLst>
                <a:ahLst/>
                <a:cxnLst>
                  <a:cxn ang="0">
                    <a:pos x="T0" y="T1"/>
                  </a:cxn>
                  <a:cxn ang="0">
                    <a:pos x="T2" y="T3"/>
                  </a:cxn>
                  <a:cxn ang="0">
                    <a:pos x="T4" y="T5"/>
                  </a:cxn>
                  <a:cxn ang="0">
                    <a:pos x="T6" y="T7"/>
                  </a:cxn>
                </a:cxnLst>
                <a:rect l="0" t="0" r="r" b="b"/>
                <a:pathLst>
                  <a:path w="7" h="7">
                    <a:moveTo>
                      <a:pt x="0" y="7"/>
                    </a:moveTo>
                    <a:lnTo>
                      <a:pt x="4" y="7"/>
                    </a:lnTo>
                    <a:lnTo>
                      <a:pt x="7" y="0"/>
                    </a:lnTo>
                    <a:lnTo>
                      <a:pt x="0" y="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4" name="Freeform 169"/>
              <p:cNvSpPr>
                <a:spLocks/>
              </p:cNvSpPr>
              <p:nvPr/>
            </p:nvSpPr>
            <p:spPr bwMode="auto">
              <a:xfrm>
                <a:off x="2889" y="-1633"/>
                <a:ext cx="71" cy="96"/>
              </a:xfrm>
              <a:custGeom>
                <a:avLst/>
                <a:gdLst>
                  <a:gd name="T0" fmla="*/ 6 w 71"/>
                  <a:gd name="T1" fmla="*/ 77 h 96"/>
                  <a:gd name="T2" fmla="*/ 0 w 71"/>
                  <a:gd name="T3" fmla="*/ 79 h 96"/>
                  <a:gd name="T4" fmla="*/ 6 w 71"/>
                  <a:gd name="T5" fmla="*/ 81 h 96"/>
                  <a:gd name="T6" fmla="*/ 0 w 71"/>
                  <a:gd name="T7" fmla="*/ 87 h 96"/>
                  <a:gd name="T8" fmla="*/ 11 w 71"/>
                  <a:gd name="T9" fmla="*/ 87 h 96"/>
                  <a:gd name="T10" fmla="*/ 4 w 71"/>
                  <a:gd name="T11" fmla="*/ 92 h 96"/>
                  <a:gd name="T12" fmla="*/ 12 w 71"/>
                  <a:gd name="T13" fmla="*/ 90 h 96"/>
                  <a:gd name="T14" fmla="*/ 8 w 71"/>
                  <a:gd name="T15" fmla="*/ 96 h 96"/>
                  <a:gd name="T16" fmla="*/ 15 w 71"/>
                  <a:gd name="T17" fmla="*/ 94 h 96"/>
                  <a:gd name="T18" fmla="*/ 41 w 71"/>
                  <a:gd name="T19" fmla="*/ 80 h 96"/>
                  <a:gd name="T20" fmla="*/ 58 w 71"/>
                  <a:gd name="T21" fmla="*/ 79 h 96"/>
                  <a:gd name="T22" fmla="*/ 63 w 71"/>
                  <a:gd name="T23" fmla="*/ 60 h 96"/>
                  <a:gd name="T24" fmla="*/ 63 w 71"/>
                  <a:gd name="T25" fmla="*/ 46 h 96"/>
                  <a:gd name="T26" fmla="*/ 59 w 71"/>
                  <a:gd name="T27" fmla="*/ 36 h 96"/>
                  <a:gd name="T28" fmla="*/ 62 w 71"/>
                  <a:gd name="T29" fmla="*/ 33 h 96"/>
                  <a:gd name="T30" fmla="*/ 71 w 71"/>
                  <a:gd name="T31" fmla="*/ 26 h 96"/>
                  <a:gd name="T32" fmla="*/ 69 w 71"/>
                  <a:gd name="T33" fmla="*/ 20 h 96"/>
                  <a:gd name="T34" fmla="*/ 71 w 71"/>
                  <a:gd name="T35" fmla="*/ 23 h 96"/>
                  <a:gd name="T36" fmla="*/ 71 w 71"/>
                  <a:gd name="T37" fmla="*/ 21 h 96"/>
                  <a:gd name="T38" fmla="*/ 64 w 71"/>
                  <a:gd name="T39" fmla="*/ 16 h 96"/>
                  <a:gd name="T40" fmla="*/ 66 w 71"/>
                  <a:gd name="T41" fmla="*/ 9 h 96"/>
                  <a:gd name="T42" fmla="*/ 62 w 71"/>
                  <a:gd name="T43" fmla="*/ 3 h 96"/>
                  <a:gd name="T44" fmla="*/ 46 w 71"/>
                  <a:gd name="T45" fmla="*/ 7 h 96"/>
                  <a:gd name="T46" fmla="*/ 50 w 71"/>
                  <a:gd name="T47" fmla="*/ 2 h 96"/>
                  <a:gd name="T48" fmla="*/ 44 w 71"/>
                  <a:gd name="T49" fmla="*/ 0 h 96"/>
                  <a:gd name="T50" fmla="*/ 41 w 71"/>
                  <a:gd name="T51" fmla="*/ 8 h 96"/>
                  <a:gd name="T52" fmla="*/ 40 w 71"/>
                  <a:gd name="T53" fmla="*/ 2 h 96"/>
                  <a:gd name="T54" fmla="*/ 33 w 71"/>
                  <a:gd name="T55" fmla="*/ 5 h 96"/>
                  <a:gd name="T56" fmla="*/ 23 w 71"/>
                  <a:gd name="T57" fmla="*/ 16 h 96"/>
                  <a:gd name="T58" fmla="*/ 31 w 71"/>
                  <a:gd name="T59" fmla="*/ 19 h 96"/>
                  <a:gd name="T60" fmla="*/ 26 w 71"/>
                  <a:gd name="T61" fmla="*/ 27 h 96"/>
                  <a:gd name="T62" fmla="*/ 8 w 71"/>
                  <a:gd name="T63" fmla="*/ 26 h 96"/>
                  <a:gd name="T64" fmla="*/ 6 w 71"/>
                  <a:gd name="T65" fmla="*/ 31 h 96"/>
                  <a:gd name="T66" fmla="*/ 7 w 71"/>
                  <a:gd name="T67" fmla="*/ 34 h 96"/>
                  <a:gd name="T68" fmla="*/ 4 w 71"/>
                  <a:gd name="T69" fmla="*/ 34 h 96"/>
                  <a:gd name="T70" fmla="*/ 11 w 71"/>
                  <a:gd name="T71" fmla="*/ 39 h 96"/>
                  <a:gd name="T72" fmla="*/ 4 w 71"/>
                  <a:gd name="T73" fmla="*/ 45 h 96"/>
                  <a:gd name="T74" fmla="*/ 7 w 71"/>
                  <a:gd name="T75" fmla="*/ 50 h 96"/>
                  <a:gd name="T76" fmla="*/ 20 w 71"/>
                  <a:gd name="T77" fmla="*/ 54 h 96"/>
                  <a:gd name="T78" fmla="*/ 8 w 71"/>
                  <a:gd name="T79" fmla="*/ 68 h 96"/>
                  <a:gd name="T80" fmla="*/ 21 w 71"/>
                  <a:gd name="T81" fmla="*/ 64 h 96"/>
                  <a:gd name="T82" fmla="*/ 24 w 71"/>
                  <a:gd name="T83" fmla="*/ 67 h 96"/>
                  <a:gd name="T84" fmla="*/ 11 w 71"/>
                  <a:gd name="T85" fmla="*/ 70 h 96"/>
                  <a:gd name="T86" fmla="*/ 6 w 71"/>
                  <a:gd name="T87" fmla="*/ 7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1" h="96">
                    <a:moveTo>
                      <a:pt x="6" y="77"/>
                    </a:moveTo>
                    <a:lnTo>
                      <a:pt x="0" y="79"/>
                    </a:lnTo>
                    <a:lnTo>
                      <a:pt x="6" y="81"/>
                    </a:lnTo>
                    <a:lnTo>
                      <a:pt x="0" y="87"/>
                    </a:lnTo>
                    <a:lnTo>
                      <a:pt x="11" y="87"/>
                    </a:lnTo>
                    <a:lnTo>
                      <a:pt x="4" y="92"/>
                    </a:lnTo>
                    <a:lnTo>
                      <a:pt x="12" y="90"/>
                    </a:lnTo>
                    <a:lnTo>
                      <a:pt x="8" y="96"/>
                    </a:lnTo>
                    <a:lnTo>
                      <a:pt x="15" y="94"/>
                    </a:lnTo>
                    <a:lnTo>
                      <a:pt x="41" y="80"/>
                    </a:lnTo>
                    <a:lnTo>
                      <a:pt x="58" y="79"/>
                    </a:lnTo>
                    <a:lnTo>
                      <a:pt x="63" y="60"/>
                    </a:lnTo>
                    <a:lnTo>
                      <a:pt x="63" y="46"/>
                    </a:lnTo>
                    <a:lnTo>
                      <a:pt x="59" y="36"/>
                    </a:lnTo>
                    <a:lnTo>
                      <a:pt x="62" y="33"/>
                    </a:lnTo>
                    <a:lnTo>
                      <a:pt x="71" y="26"/>
                    </a:lnTo>
                    <a:lnTo>
                      <a:pt x="69" y="20"/>
                    </a:lnTo>
                    <a:lnTo>
                      <a:pt x="71" y="23"/>
                    </a:lnTo>
                    <a:lnTo>
                      <a:pt x="71" y="21"/>
                    </a:lnTo>
                    <a:lnTo>
                      <a:pt x="64" y="16"/>
                    </a:lnTo>
                    <a:lnTo>
                      <a:pt x="66" y="9"/>
                    </a:lnTo>
                    <a:lnTo>
                      <a:pt x="62" y="3"/>
                    </a:lnTo>
                    <a:lnTo>
                      <a:pt x="46" y="7"/>
                    </a:lnTo>
                    <a:lnTo>
                      <a:pt x="50" y="2"/>
                    </a:lnTo>
                    <a:lnTo>
                      <a:pt x="44" y="0"/>
                    </a:lnTo>
                    <a:lnTo>
                      <a:pt x="41" y="8"/>
                    </a:lnTo>
                    <a:lnTo>
                      <a:pt x="40" y="2"/>
                    </a:lnTo>
                    <a:lnTo>
                      <a:pt x="33" y="5"/>
                    </a:lnTo>
                    <a:lnTo>
                      <a:pt x="23" y="16"/>
                    </a:lnTo>
                    <a:lnTo>
                      <a:pt x="31" y="19"/>
                    </a:lnTo>
                    <a:lnTo>
                      <a:pt x="26" y="27"/>
                    </a:lnTo>
                    <a:lnTo>
                      <a:pt x="8" y="26"/>
                    </a:lnTo>
                    <a:lnTo>
                      <a:pt x="6" y="31"/>
                    </a:lnTo>
                    <a:lnTo>
                      <a:pt x="7" y="34"/>
                    </a:lnTo>
                    <a:lnTo>
                      <a:pt x="4" y="34"/>
                    </a:lnTo>
                    <a:lnTo>
                      <a:pt x="11" y="39"/>
                    </a:lnTo>
                    <a:lnTo>
                      <a:pt x="4" y="45"/>
                    </a:lnTo>
                    <a:lnTo>
                      <a:pt x="7" y="50"/>
                    </a:lnTo>
                    <a:lnTo>
                      <a:pt x="20" y="54"/>
                    </a:lnTo>
                    <a:lnTo>
                      <a:pt x="8" y="68"/>
                    </a:lnTo>
                    <a:lnTo>
                      <a:pt x="21" y="64"/>
                    </a:lnTo>
                    <a:lnTo>
                      <a:pt x="24" y="67"/>
                    </a:lnTo>
                    <a:lnTo>
                      <a:pt x="11" y="70"/>
                    </a:lnTo>
                    <a:lnTo>
                      <a:pt x="6" y="7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5" name="Freeform 170"/>
              <p:cNvSpPr>
                <a:spLocks/>
              </p:cNvSpPr>
              <p:nvPr/>
            </p:nvSpPr>
            <p:spPr bwMode="auto">
              <a:xfrm>
                <a:off x="2964" y="-1644"/>
                <a:ext cx="2" cy="7"/>
              </a:xfrm>
              <a:custGeom>
                <a:avLst/>
                <a:gdLst>
                  <a:gd name="T0" fmla="*/ 2 w 2"/>
                  <a:gd name="T1" fmla="*/ 0 h 7"/>
                  <a:gd name="T2" fmla="*/ 0 w 2"/>
                  <a:gd name="T3" fmla="*/ 0 h 7"/>
                  <a:gd name="T4" fmla="*/ 1 w 2"/>
                  <a:gd name="T5" fmla="*/ 7 h 7"/>
                  <a:gd name="T6" fmla="*/ 2 w 2"/>
                  <a:gd name="T7" fmla="*/ 0 h 7"/>
                </a:gdLst>
                <a:ahLst/>
                <a:cxnLst>
                  <a:cxn ang="0">
                    <a:pos x="T0" y="T1"/>
                  </a:cxn>
                  <a:cxn ang="0">
                    <a:pos x="T2" y="T3"/>
                  </a:cxn>
                  <a:cxn ang="0">
                    <a:pos x="T4" y="T5"/>
                  </a:cxn>
                  <a:cxn ang="0">
                    <a:pos x="T6" y="T7"/>
                  </a:cxn>
                </a:cxnLst>
                <a:rect l="0" t="0" r="r" b="b"/>
                <a:pathLst>
                  <a:path w="2" h="7">
                    <a:moveTo>
                      <a:pt x="2" y="0"/>
                    </a:moveTo>
                    <a:lnTo>
                      <a:pt x="0" y="0"/>
                    </a:lnTo>
                    <a:lnTo>
                      <a:pt x="1" y="7"/>
                    </a:lnTo>
                    <a:lnTo>
                      <a:pt x="2"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6" name="Freeform 171"/>
              <p:cNvSpPr>
                <a:spLocks/>
              </p:cNvSpPr>
              <p:nvPr/>
            </p:nvSpPr>
            <p:spPr bwMode="auto">
              <a:xfrm>
                <a:off x="2942" y="-1697"/>
                <a:ext cx="14" cy="15"/>
              </a:xfrm>
              <a:custGeom>
                <a:avLst/>
                <a:gdLst>
                  <a:gd name="T0" fmla="*/ 0 w 14"/>
                  <a:gd name="T1" fmla="*/ 7 h 15"/>
                  <a:gd name="T2" fmla="*/ 13 w 14"/>
                  <a:gd name="T3" fmla="*/ 15 h 15"/>
                  <a:gd name="T4" fmla="*/ 14 w 14"/>
                  <a:gd name="T5" fmla="*/ 12 h 15"/>
                  <a:gd name="T6" fmla="*/ 10 w 14"/>
                  <a:gd name="T7" fmla="*/ 12 h 15"/>
                  <a:gd name="T8" fmla="*/ 6 w 14"/>
                  <a:gd name="T9" fmla="*/ 0 h 15"/>
                  <a:gd name="T10" fmla="*/ 0 w 14"/>
                  <a:gd name="T11" fmla="*/ 7 h 15"/>
                </a:gdLst>
                <a:ahLst/>
                <a:cxnLst>
                  <a:cxn ang="0">
                    <a:pos x="T0" y="T1"/>
                  </a:cxn>
                  <a:cxn ang="0">
                    <a:pos x="T2" y="T3"/>
                  </a:cxn>
                  <a:cxn ang="0">
                    <a:pos x="T4" y="T5"/>
                  </a:cxn>
                  <a:cxn ang="0">
                    <a:pos x="T6" y="T7"/>
                  </a:cxn>
                  <a:cxn ang="0">
                    <a:pos x="T8" y="T9"/>
                  </a:cxn>
                  <a:cxn ang="0">
                    <a:pos x="T10" y="T11"/>
                  </a:cxn>
                </a:cxnLst>
                <a:rect l="0" t="0" r="r" b="b"/>
                <a:pathLst>
                  <a:path w="14" h="15">
                    <a:moveTo>
                      <a:pt x="0" y="7"/>
                    </a:moveTo>
                    <a:lnTo>
                      <a:pt x="13" y="15"/>
                    </a:lnTo>
                    <a:lnTo>
                      <a:pt x="14" y="12"/>
                    </a:lnTo>
                    <a:lnTo>
                      <a:pt x="10" y="12"/>
                    </a:lnTo>
                    <a:lnTo>
                      <a:pt x="6" y="0"/>
                    </a:lnTo>
                    <a:lnTo>
                      <a:pt x="0" y="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7" name="Freeform 172"/>
              <p:cNvSpPr>
                <a:spLocks/>
              </p:cNvSpPr>
              <p:nvPr/>
            </p:nvSpPr>
            <p:spPr bwMode="auto">
              <a:xfrm>
                <a:off x="2949" y="-1667"/>
                <a:ext cx="7" cy="5"/>
              </a:xfrm>
              <a:custGeom>
                <a:avLst/>
                <a:gdLst>
                  <a:gd name="T0" fmla="*/ 7 w 7"/>
                  <a:gd name="T1" fmla="*/ 5 h 5"/>
                  <a:gd name="T2" fmla="*/ 3 w 7"/>
                  <a:gd name="T3" fmla="*/ 0 h 5"/>
                  <a:gd name="T4" fmla="*/ 0 w 7"/>
                  <a:gd name="T5" fmla="*/ 1 h 5"/>
                  <a:gd name="T6" fmla="*/ 3 w 7"/>
                  <a:gd name="T7" fmla="*/ 5 h 5"/>
                  <a:gd name="T8" fmla="*/ 7 w 7"/>
                  <a:gd name="T9" fmla="*/ 5 h 5"/>
                </a:gdLst>
                <a:ahLst/>
                <a:cxnLst>
                  <a:cxn ang="0">
                    <a:pos x="T0" y="T1"/>
                  </a:cxn>
                  <a:cxn ang="0">
                    <a:pos x="T2" y="T3"/>
                  </a:cxn>
                  <a:cxn ang="0">
                    <a:pos x="T4" y="T5"/>
                  </a:cxn>
                  <a:cxn ang="0">
                    <a:pos x="T6" y="T7"/>
                  </a:cxn>
                  <a:cxn ang="0">
                    <a:pos x="T8" y="T9"/>
                  </a:cxn>
                </a:cxnLst>
                <a:rect l="0" t="0" r="r" b="b"/>
                <a:pathLst>
                  <a:path w="7" h="5">
                    <a:moveTo>
                      <a:pt x="7" y="5"/>
                    </a:moveTo>
                    <a:lnTo>
                      <a:pt x="3" y="0"/>
                    </a:lnTo>
                    <a:lnTo>
                      <a:pt x="0" y="1"/>
                    </a:lnTo>
                    <a:lnTo>
                      <a:pt x="3" y="5"/>
                    </a:lnTo>
                    <a:lnTo>
                      <a:pt x="7" y="5"/>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8" name="Freeform 173"/>
              <p:cNvSpPr>
                <a:spLocks/>
              </p:cNvSpPr>
              <p:nvPr/>
            </p:nvSpPr>
            <p:spPr bwMode="auto">
              <a:xfrm>
                <a:off x="2953" y="-1654"/>
                <a:ext cx="7" cy="8"/>
              </a:xfrm>
              <a:custGeom>
                <a:avLst/>
                <a:gdLst>
                  <a:gd name="T0" fmla="*/ 3 w 7"/>
                  <a:gd name="T1" fmla="*/ 0 h 8"/>
                  <a:gd name="T2" fmla="*/ 0 w 7"/>
                  <a:gd name="T3" fmla="*/ 8 h 8"/>
                  <a:gd name="T4" fmla="*/ 7 w 7"/>
                  <a:gd name="T5" fmla="*/ 0 h 8"/>
                  <a:gd name="T6" fmla="*/ 3 w 7"/>
                  <a:gd name="T7" fmla="*/ 0 h 8"/>
                </a:gdLst>
                <a:ahLst/>
                <a:cxnLst>
                  <a:cxn ang="0">
                    <a:pos x="T0" y="T1"/>
                  </a:cxn>
                  <a:cxn ang="0">
                    <a:pos x="T2" y="T3"/>
                  </a:cxn>
                  <a:cxn ang="0">
                    <a:pos x="T4" y="T5"/>
                  </a:cxn>
                  <a:cxn ang="0">
                    <a:pos x="T6" y="T7"/>
                  </a:cxn>
                </a:cxnLst>
                <a:rect l="0" t="0" r="r" b="b"/>
                <a:pathLst>
                  <a:path w="7" h="8">
                    <a:moveTo>
                      <a:pt x="3" y="0"/>
                    </a:moveTo>
                    <a:lnTo>
                      <a:pt x="0" y="8"/>
                    </a:lnTo>
                    <a:lnTo>
                      <a:pt x="7" y="0"/>
                    </a:lnTo>
                    <a:lnTo>
                      <a:pt x="3"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9" name="Freeform 174"/>
              <p:cNvSpPr>
                <a:spLocks/>
              </p:cNvSpPr>
              <p:nvPr/>
            </p:nvSpPr>
            <p:spPr bwMode="auto">
              <a:xfrm>
                <a:off x="2946" y="-1647"/>
                <a:ext cx="6" cy="6"/>
              </a:xfrm>
              <a:custGeom>
                <a:avLst/>
                <a:gdLst>
                  <a:gd name="T0" fmla="*/ 6 w 6"/>
                  <a:gd name="T1" fmla="*/ 6 h 6"/>
                  <a:gd name="T2" fmla="*/ 3 w 6"/>
                  <a:gd name="T3" fmla="*/ 0 h 6"/>
                  <a:gd name="T4" fmla="*/ 0 w 6"/>
                  <a:gd name="T5" fmla="*/ 3 h 6"/>
                  <a:gd name="T6" fmla="*/ 6 w 6"/>
                  <a:gd name="T7" fmla="*/ 6 h 6"/>
                </a:gdLst>
                <a:ahLst/>
                <a:cxnLst>
                  <a:cxn ang="0">
                    <a:pos x="T0" y="T1"/>
                  </a:cxn>
                  <a:cxn ang="0">
                    <a:pos x="T2" y="T3"/>
                  </a:cxn>
                  <a:cxn ang="0">
                    <a:pos x="T4" y="T5"/>
                  </a:cxn>
                  <a:cxn ang="0">
                    <a:pos x="T6" y="T7"/>
                  </a:cxn>
                </a:cxnLst>
                <a:rect l="0" t="0" r="r" b="b"/>
                <a:pathLst>
                  <a:path w="6" h="6">
                    <a:moveTo>
                      <a:pt x="6" y="6"/>
                    </a:moveTo>
                    <a:lnTo>
                      <a:pt x="3" y="0"/>
                    </a:lnTo>
                    <a:lnTo>
                      <a:pt x="0" y="3"/>
                    </a:lnTo>
                    <a:lnTo>
                      <a:pt x="6" y="6"/>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0" name="Freeform 175"/>
              <p:cNvSpPr>
                <a:spLocks/>
              </p:cNvSpPr>
              <p:nvPr/>
            </p:nvSpPr>
            <p:spPr bwMode="auto">
              <a:xfrm>
                <a:off x="2972" y="-1610"/>
                <a:ext cx="5" cy="9"/>
              </a:xfrm>
              <a:custGeom>
                <a:avLst/>
                <a:gdLst>
                  <a:gd name="T0" fmla="*/ 5 w 5"/>
                  <a:gd name="T1" fmla="*/ 6 h 9"/>
                  <a:gd name="T2" fmla="*/ 5 w 5"/>
                  <a:gd name="T3" fmla="*/ 0 h 9"/>
                  <a:gd name="T4" fmla="*/ 0 w 5"/>
                  <a:gd name="T5" fmla="*/ 9 h 9"/>
                  <a:gd name="T6" fmla="*/ 5 w 5"/>
                  <a:gd name="T7" fmla="*/ 6 h 9"/>
                </a:gdLst>
                <a:ahLst/>
                <a:cxnLst>
                  <a:cxn ang="0">
                    <a:pos x="T0" y="T1"/>
                  </a:cxn>
                  <a:cxn ang="0">
                    <a:pos x="T2" y="T3"/>
                  </a:cxn>
                  <a:cxn ang="0">
                    <a:pos x="T4" y="T5"/>
                  </a:cxn>
                  <a:cxn ang="0">
                    <a:pos x="T6" y="T7"/>
                  </a:cxn>
                </a:cxnLst>
                <a:rect l="0" t="0" r="r" b="b"/>
                <a:pathLst>
                  <a:path w="5" h="9">
                    <a:moveTo>
                      <a:pt x="5" y="6"/>
                    </a:moveTo>
                    <a:lnTo>
                      <a:pt x="5" y="0"/>
                    </a:lnTo>
                    <a:lnTo>
                      <a:pt x="0" y="9"/>
                    </a:lnTo>
                    <a:lnTo>
                      <a:pt x="5" y="6"/>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1" name="Freeform 176"/>
              <p:cNvSpPr>
                <a:spLocks/>
              </p:cNvSpPr>
              <p:nvPr/>
            </p:nvSpPr>
            <p:spPr bwMode="auto">
              <a:xfrm>
                <a:off x="2975" y="-1586"/>
                <a:ext cx="7" cy="5"/>
              </a:xfrm>
              <a:custGeom>
                <a:avLst/>
                <a:gdLst>
                  <a:gd name="T0" fmla="*/ 4 w 7"/>
                  <a:gd name="T1" fmla="*/ 5 h 5"/>
                  <a:gd name="T2" fmla="*/ 7 w 7"/>
                  <a:gd name="T3" fmla="*/ 5 h 5"/>
                  <a:gd name="T4" fmla="*/ 0 w 7"/>
                  <a:gd name="T5" fmla="*/ 0 h 5"/>
                  <a:gd name="T6" fmla="*/ 4 w 7"/>
                  <a:gd name="T7" fmla="*/ 5 h 5"/>
                </a:gdLst>
                <a:ahLst/>
                <a:cxnLst>
                  <a:cxn ang="0">
                    <a:pos x="T0" y="T1"/>
                  </a:cxn>
                  <a:cxn ang="0">
                    <a:pos x="T2" y="T3"/>
                  </a:cxn>
                  <a:cxn ang="0">
                    <a:pos x="T4" y="T5"/>
                  </a:cxn>
                  <a:cxn ang="0">
                    <a:pos x="T6" y="T7"/>
                  </a:cxn>
                </a:cxnLst>
                <a:rect l="0" t="0" r="r" b="b"/>
                <a:pathLst>
                  <a:path w="7" h="5">
                    <a:moveTo>
                      <a:pt x="4" y="5"/>
                    </a:moveTo>
                    <a:lnTo>
                      <a:pt x="7" y="5"/>
                    </a:lnTo>
                    <a:lnTo>
                      <a:pt x="0" y="0"/>
                    </a:lnTo>
                    <a:lnTo>
                      <a:pt x="4" y="5"/>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2" name="Freeform 177"/>
              <p:cNvSpPr>
                <a:spLocks/>
              </p:cNvSpPr>
              <p:nvPr/>
            </p:nvSpPr>
            <p:spPr bwMode="auto">
              <a:xfrm>
                <a:off x="2951" y="-1724"/>
                <a:ext cx="115" cy="220"/>
              </a:xfrm>
              <a:custGeom>
                <a:avLst/>
                <a:gdLst>
                  <a:gd name="T0" fmla="*/ 0 w 115"/>
                  <a:gd name="T1" fmla="*/ 53 h 220"/>
                  <a:gd name="T2" fmla="*/ 13 w 115"/>
                  <a:gd name="T3" fmla="*/ 57 h 220"/>
                  <a:gd name="T4" fmla="*/ 13 w 115"/>
                  <a:gd name="T5" fmla="*/ 79 h 220"/>
                  <a:gd name="T6" fmla="*/ 15 w 115"/>
                  <a:gd name="T7" fmla="*/ 67 h 220"/>
                  <a:gd name="T8" fmla="*/ 17 w 115"/>
                  <a:gd name="T9" fmla="*/ 72 h 220"/>
                  <a:gd name="T10" fmla="*/ 18 w 115"/>
                  <a:gd name="T11" fmla="*/ 80 h 220"/>
                  <a:gd name="T12" fmla="*/ 17 w 115"/>
                  <a:gd name="T13" fmla="*/ 100 h 220"/>
                  <a:gd name="T14" fmla="*/ 17 w 115"/>
                  <a:gd name="T15" fmla="*/ 107 h 220"/>
                  <a:gd name="T16" fmla="*/ 26 w 115"/>
                  <a:gd name="T17" fmla="*/ 107 h 220"/>
                  <a:gd name="T18" fmla="*/ 44 w 115"/>
                  <a:gd name="T19" fmla="*/ 100 h 220"/>
                  <a:gd name="T20" fmla="*/ 43 w 115"/>
                  <a:gd name="T21" fmla="*/ 122 h 220"/>
                  <a:gd name="T22" fmla="*/ 46 w 115"/>
                  <a:gd name="T23" fmla="*/ 130 h 220"/>
                  <a:gd name="T24" fmla="*/ 46 w 115"/>
                  <a:gd name="T25" fmla="*/ 137 h 220"/>
                  <a:gd name="T26" fmla="*/ 35 w 115"/>
                  <a:gd name="T27" fmla="*/ 141 h 220"/>
                  <a:gd name="T28" fmla="*/ 29 w 115"/>
                  <a:gd name="T29" fmla="*/ 151 h 220"/>
                  <a:gd name="T30" fmla="*/ 29 w 115"/>
                  <a:gd name="T31" fmla="*/ 167 h 220"/>
                  <a:gd name="T32" fmla="*/ 17 w 115"/>
                  <a:gd name="T33" fmla="*/ 183 h 220"/>
                  <a:gd name="T34" fmla="*/ 27 w 115"/>
                  <a:gd name="T35" fmla="*/ 183 h 220"/>
                  <a:gd name="T36" fmla="*/ 40 w 115"/>
                  <a:gd name="T37" fmla="*/ 189 h 220"/>
                  <a:gd name="T38" fmla="*/ 46 w 115"/>
                  <a:gd name="T39" fmla="*/ 193 h 220"/>
                  <a:gd name="T40" fmla="*/ 9 w 115"/>
                  <a:gd name="T41" fmla="*/ 220 h 220"/>
                  <a:gd name="T42" fmla="*/ 21 w 115"/>
                  <a:gd name="T43" fmla="*/ 213 h 220"/>
                  <a:gd name="T44" fmla="*/ 40 w 115"/>
                  <a:gd name="T45" fmla="*/ 206 h 220"/>
                  <a:gd name="T46" fmla="*/ 54 w 115"/>
                  <a:gd name="T47" fmla="*/ 208 h 220"/>
                  <a:gd name="T48" fmla="*/ 70 w 115"/>
                  <a:gd name="T49" fmla="*/ 200 h 220"/>
                  <a:gd name="T50" fmla="*/ 105 w 115"/>
                  <a:gd name="T51" fmla="*/ 198 h 220"/>
                  <a:gd name="T52" fmla="*/ 102 w 115"/>
                  <a:gd name="T53" fmla="*/ 189 h 220"/>
                  <a:gd name="T54" fmla="*/ 114 w 115"/>
                  <a:gd name="T55" fmla="*/ 170 h 220"/>
                  <a:gd name="T56" fmla="*/ 109 w 115"/>
                  <a:gd name="T57" fmla="*/ 151 h 220"/>
                  <a:gd name="T58" fmla="*/ 95 w 115"/>
                  <a:gd name="T59" fmla="*/ 143 h 220"/>
                  <a:gd name="T60" fmla="*/ 93 w 115"/>
                  <a:gd name="T61" fmla="*/ 135 h 220"/>
                  <a:gd name="T62" fmla="*/ 81 w 115"/>
                  <a:gd name="T63" fmla="*/ 111 h 220"/>
                  <a:gd name="T64" fmla="*/ 67 w 115"/>
                  <a:gd name="T65" fmla="*/ 85 h 220"/>
                  <a:gd name="T66" fmla="*/ 42 w 115"/>
                  <a:gd name="T67" fmla="*/ 72 h 220"/>
                  <a:gd name="T68" fmla="*/ 47 w 115"/>
                  <a:gd name="T69" fmla="*/ 60 h 220"/>
                  <a:gd name="T70" fmla="*/ 57 w 115"/>
                  <a:gd name="T71" fmla="*/ 49 h 220"/>
                  <a:gd name="T72" fmla="*/ 62 w 115"/>
                  <a:gd name="T73" fmla="*/ 27 h 220"/>
                  <a:gd name="T74" fmla="*/ 27 w 115"/>
                  <a:gd name="T75" fmla="*/ 27 h 220"/>
                  <a:gd name="T76" fmla="*/ 29 w 115"/>
                  <a:gd name="T77" fmla="*/ 20 h 220"/>
                  <a:gd name="T78" fmla="*/ 43 w 115"/>
                  <a:gd name="T79" fmla="*/ 1 h 220"/>
                  <a:gd name="T80" fmla="*/ 17 w 115"/>
                  <a:gd name="T81" fmla="*/ 2 h 220"/>
                  <a:gd name="T82" fmla="*/ 11 w 115"/>
                  <a:gd name="T83" fmla="*/ 12 h 220"/>
                  <a:gd name="T84" fmla="*/ 13 w 115"/>
                  <a:gd name="T85" fmla="*/ 20 h 220"/>
                  <a:gd name="T86" fmla="*/ 7 w 115"/>
                  <a:gd name="T87" fmla="*/ 31 h 220"/>
                  <a:gd name="T88" fmla="*/ 4 w 115"/>
                  <a:gd name="T89" fmla="*/ 35 h 220"/>
                  <a:gd name="T90" fmla="*/ 4 w 115"/>
                  <a:gd name="T91" fmla="*/ 52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5" h="220">
                    <a:moveTo>
                      <a:pt x="4" y="52"/>
                    </a:moveTo>
                    <a:lnTo>
                      <a:pt x="0" y="53"/>
                    </a:lnTo>
                    <a:lnTo>
                      <a:pt x="7" y="60"/>
                    </a:lnTo>
                    <a:lnTo>
                      <a:pt x="13" y="57"/>
                    </a:lnTo>
                    <a:lnTo>
                      <a:pt x="5" y="91"/>
                    </a:lnTo>
                    <a:lnTo>
                      <a:pt x="13" y="79"/>
                    </a:lnTo>
                    <a:lnTo>
                      <a:pt x="10" y="72"/>
                    </a:lnTo>
                    <a:lnTo>
                      <a:pt x="15" y="67"/>
                    </a:lnTo>
                    <a:lnTo>
                      <a:pt x="13" y="77"/>
                    </a:lnTo>
                    <a:lnTo>
                      <a:pt x="17" y="72"/>
                    </a:lnTo>
                    <a:lnTo>
                      <a:pt x="21" y="74"/>
                    </a:lnTo>
                    <a:lnTo>
                      <a:pt x="18" y="80"/>
                    </a:lnTo>
                    <a:lnTo>
                      <a:pt x="21" y="86"/>
                    </a:lnTo>
                    <a:lnTo>
                      <a:pt x="17" y="100"/>
                    </a:lnTo>
                    <a:lnTo>
                      <a:pt x="14" y="100"/>
                    </a:lnTo>
                    <a:lnTo>
                      <a:pt x="17" y="107"/>
                    </a:lnTo>
                    <a:lnTo>
                      <a:pt x="18" y="103"/>
                    </a:lnTo>
                    <a:lnTo>
                      <a:pt x="26" y="107"/>
                    </a:lnTo>
                    <a:lnTo>
                      <a:pt x="27" y="104"/>
                    </a:lnTo>
                    <a:lnTo>
                      <a:pt x="44" y="100"/>
                    </a:lnTo>
                    <a:lnTo>
                      <a:pt x="36" y="112"/>
                    </a:lnTo>
                    <a:lnTo>
                      <a:pt x="43" y="122"/>
                    </a:lnTo>
                    <a:lnTo>
                      <a:pt x="50" y="118"/>
                    </a:lnTo>
                    <a:lnTo>
                      <a:pt x="46" y="130"/>
                    </a:lnTo>
                    <a:lnTo>
                      <a:pt x="49" y="130"/>
                    </a:lnTo>
                    <a:lnTo>
                      <a:pt x="46" y="137"/>
                    </a:lnTo>
                    <a:lnTo>
                      <a:pt x="48" y="139"/>
                    </a:lnTo>
                    <a:lnTo>
                      <a:pt x="35" y="141"/>
                    </a:lnTo>
                    <a:lnTo>
                      <a:pt x="21" y="154"/>
                    </a:lnTo>
                    <a:lnTo>
                      <a:pt x="29" y="151"/>
                    </a:lnTo>
                    <a:lnTo>
                      <a:pt x="33" y="161"/>
                    </a:lnTo>
                    <a:lnTo>
                      <a:pt x="29" y="167"/>
                    </a:lnTo>
                    <a:lnTo>
                      <a:pt x="13" y="177"/>
                    </a:lnTo>
                    <a:lnTo>
                      <a:pt x="17" y="183"/>
                    </a:lnTo>
                    <a:lnTo>
                      <a:pt x="26" y="178"/>
                    </a:lnTo>
                    <a:lnTo>
                      <a:pt x="27" y="183"/>
                    </a:lnTo>
                    <a:lnTo>
                      <a:pt x="34" y="182"/>
                    </a:lnTo>
                    <a:lnTo>
                      <a:pt x="40" y="189"/>
                    </a:lnTo>
                    <a:lnTo>
                      <a:pt x="54" y="182"/>
                    </a:lnTo>
                    <a:lnTo>
                      <a:pt x="46" y="193"/>
                    </a:lnTo>
                    <a:lnTo>
                      <a:pt x="29" y="194"/>
                    </a:lnTo>
                    <a:lnTo>
                      <a:pt x="9" y="220"/>
                    </a:lnTo>
                    <a:lnTo>
                      <a:pt x="15" y="220"/>
                    </a:lnTo>
                    <a:lnTo>
                      <a:pt x="21" y="213"/>
                    </a:lnTo>
                    <a:lnTo>
                      <a:pt x="36" y="215"/>
                    </a:lnTo>
                    <a:lnTo>
                      <a:pt x="40" y="206"/>
                    </a:lnTo>
                    <a:lnTo>
                      <a:pt x="50" y="203"/>
                    </a:lnTo>
                    <a:lnTo>
                      <a:pt x="54" y="208"/>
                    </a:lnTo>
                    <a:lnTo>
                      <a:pt x="67" y="204"/>
                    </a:lnTo>
                    <a:lnTo>
                      <a:pt x="70" y="200"/>
                    </a:lnTo>
                    <a:lnTo>
                      <a:pt x="79" y="203"/>
                    </a:lnTo>
                    <a:lnTo>
                      <a:pt x="105" y="198"/>
                    </a:lnTo>
                    <a:lnTo>
                      <a:pt x="112" y="190"/>
                    </a:lnTo>
                    <a:lnTo>
                      <a:pt x="102" y="189"/>
                    </a:lnTo>
                    <a:lnTo>
                      <a:pt x="100" y="185"/>
                    </a:lnTo>
                    <a:lnTo>
                      <a:pt x="114" y="170"/>
                    </a:lnTo>
                    <a:lnTo>
                      <a:pt x="115" y="156"/>
                    </a:lnTo>
                    <a:lnTo>
                      <a:pt x="109" y="151"/>
                    </a:lnTo>
                    <a:lnTo>
                      <a:pt x="92" y="154"/>
                    </a:lnTo>
                    <a:lnTo>
                      <a:pt x="95" y="143"/>
                    </a:lnTo>
                    <a:lnTo>
                      <a:pt x="86" y="132"/>
                    </a:lnTo>
                    <a:lnTo>
                      <a:pt x="93" y="135"/>
                    </a:lnTo>
                    <a:lnTo>
                      <a:pt x="93" y="130"/>
                    </a:lnTo>
                    <a:lnTo>
                      <a:pt x="81" y="111"/>
                    </a:lnTo>
                    <a:lnTo>
                      <a:pt x="74" y="107"/>
                    </a:lnTo>
                    <a:lnTo>
                      <a:pt x="67" y="85"/>
                    </a:lnTo>
                    <a:lnTo>
                      <a:pt x="52" y="72"/>
                    </a:lnTo>
                    <a:lnTo>
                      <a:pt x="42" y="72"/>
                    </a:lnTo>
                    <a:lnTo>
                      <a:pt x="52" y="67"/>
                    </a:lnTo>
                    <a:lnTo>
                      <a:pt x="47" y="60"/>
                    </a:lnTo>
                    <a:lnTo>
                      <a:pt x="52" y="60"/>
                    </a:lnTo>
                    <a:lnTo>
                      <a:pt x="57" y="49"/>
                    </a:lnTo>
                    <a:lnTo>
                      <a:pt x="65" y="34"/>
                    </a:lnTo>
                    <a:lnTo>
                      <a:pt x="62" y="27"/>
                    </a:lnTo>
                    <a:lnTo>
                      <a:pt x="29" y="31"/>
                    </a:lnTo>
                    <a:lnTo>
                      <a:pt x="27" y="27"/>
                    </a:lnTo>
                    <a:lnTo>
                      <a:pt x="34" y="23"/>
                    </a:lnTo>
                    <a:lnTo>
                      <a:pt x="29" y="20"/>
                    </a:lnTo>
                    <a:lnTo>
                      <a:pt x="43" y="8"/>
                    </a:lnTo>
                    <a:lnTo>
                      <a:pt x="43" y="1"/>
                    </a:lnTo>
                    <a:lnTo>
                      <a:pt x="42" y="0"/>
                    </a:lnTo>
                    <a:lnTo>
                      <a:pt x="17" y="2"/>
                    </a:lnTo>
                    <a:lnTo>
                      <a:pt x="15" y="12"/>
                    </a:lnTo>
                    <a:lnTo>
                      <a:pt x="11" y="12"/>
                    </a:lnTo>
                    <a:lnTo>
                      <a:pt x="10" y="16"/>
                    </a:lnTo>
                    <a:lnTo>
                      <a:pt x="13" y="20"/>
                    </a:lnTo>
                    <a:lnTo>
                      <a:pt x="5" y="23"/>
                    </a:lnTo>
                    <a:lnTo>
                      <a:pt x="7" y="31"/>
                    </a:lnTo>
                    <a:lnTo>
                      <a:pt x="4" y="31"/>
                    </a:lnTo>
                    <a:lnTo>
                      <a:pt x="4" y="35"/>
                    </a:lnTo>
                    <a:lnTo>
                      <a:pt x="9" y="38"/>
                    </a:lnTo>
                    <a:lnTo>
                      <a:pt x="4" y="52"/>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3" name="Freeform 178"/>
              <p:cNvSpPr>
                <a:spLocks/>
              </p:cNvSpPr>
              <p:nvPr/>
            </p:nvSpPr>
            <p:spPr bwMode="auto">
              <a:xfrm>
                <a:off x="2938" y="-1718"/>
                <a:ext cx="11" cy="19"/>
              </a:xfrm>
              <a:custGeom>
                <a:avLst/>
                <a:gdLst>
                  <a:gd name="T0" fmla="*/ 8 w 11"/>
                  <a:gd name="T1" fmla="*/ 8 h 19"/>
                  <a:gd name="T2" fmla="*/ 11 w 11"/>
                  <a:gd name="T3" fmla="*/ 6 h 19"/>
                  <a:gd name="T4" fmla="*/ 11 w 11"/>
                  <a:gd name="T5" fmla="*/ 0 h 19"/>
                  <a:gd name="T6" fmla="*/ 0 w 11"/>
                  <a:gd name="T7" fmla="*/ 6 h 19"/>
                  <a:gd name="T8" fmla="*/ 0 w 11"/>
                  <a:gd name="T9" fmla="*/ 19 h 19"/>
                  <a:gd name="T10" fmla="*/ 9 w 11"/>
                  <a:gd name="T11" fmla="*/ 11 h 19"/>
                  <a:gd name="T12" fmla="*/ 8 w 11"/>
                  <a:gd name="T13" fmla="*/ 8 h 19"/>
                </a:gdLst>
                <a:ahLst/>
                <a:cxnLst>
                  <a:cxn ang="0">
                    <a:pos x="T0" y="T1"/>
                  </a:cxn>
                  <a:cxn ang="0">
                    <a:pos x="T2" y="T3"/>
                  </a:cxn>
                  <a:cxn ang="0">
                    <a:pos x="T4" y="T5"/>
                  </a:cxn>
                  <a:cxn ang="0">
                    <a:pos x="T6" y="T7"/>
                  </a:cxn>
                  <a:cxn ang="0">
                    <a:pos x="T8" y="T9"/>
                  </a:cxn>
                  <a:cxn ang="0">
                    <a:pos x="T10" y="T11"/>
                  </a:cxn>
                  <a:cxn ang="0">
                    <a:pos x="T12" y="T13"/>
                  </a:cxn>
                </a:cxnLst>
                <a:rect l="0" t="0" r="r" b="b"/>
                <a:pathLst>
                  <a:path w="11" h="19">
                    <a:moveTo>
                      <a:pt x="8" y="8"/>
                    </a:moveTo>
                    <a:lnTo>
                      <a:pt x="11" y="6"/>
                    </a:lnTo>
                    <a:lnTo>
                      <a:pt x="11" y="0"/>
                    </a:lnTo>
                    <a:lnTo>
                      <a:pt x="0" y="6"/>
                    </a:lnTo>
                    <a:lnTo>
                      <a:pt x="0" y="19"/>
                    </a:lnTo>
                    <a:lnTo>
                      <a:pt x="9" y="11"/>
                    </a:lnTo>
                    <a:lnTo>
                      <a:pt x="8" y="8"/>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4" name="Freeform 179"/>
              <p:cNvSpPr>
                <a:spLocks/>
              </p:cNvSpPr>
              <p:nvPr/>
            </p:nvSpPr>
            <p:spPr bwMode="auto">
              <a:xfrm>
                <a:off x="4143" y="-2260"/>
                <a:ext cx="11" cy="8"/>
              </a:xfrm>
              <a:custGeom>
                <a:avLst/>
                <a:gdLst>
                  <a:gd name="T0" fmla="*/ 11 w 11"/>
                  <a:gd name="T1" fmla="*/ 0 h 8"/>
                  <a:gd name="T2" fmla="*/ 0 w 11"/>
                  <a:gd name="T3" fmla="*/ 0 h 8"/>
                  <a:gd name="T4" fmla="*/ 7 w 11"/>
                  <a:gd name="T5" fmla="*/ 8 h 8"/>
                  <a:gd name="T6" fmla="*/ 11 w 11"/>
                  <a:gd name="T7" fmla="*/ 0 h 8"/>
                </a:gdLst>
                <a:ahLst/>
                <a:cxnLst>
                  <a:cxn ang="0">
                    <a:pos x="T0" y="T1"/>
                  </a:cxn>
                  <a:cxn ang="0">
                    <a:pos x="T2" y="T3"/>
                  </a:cxn>
                  <a:cxn ang="0">
                    <a:pos x="T4" y="T5"/>
                  </a:cxn>
                  <a:cxn ang="0">
                    <a:pos x="T6" y="T7"/>
                  </a:cxn>
                </a:cxnLst>
                <a:rect l="0" t="0" r="r" b="b"/>
                <a:pathLst>
                  <a:path w="11" h="8">
                    <a:moveTo>
                      <a:pt x="11" y="0"/>
                    </a:moveTo>
                    <a:lnTo>
                      <a:pt x="0" y="0"/>
                    </a:lnTo>
                    <a:lnTo>
                      <a:pt x="7" y="8"/>
                    </a:lnTo>
                    <a:lnTo>
                      <a:pt x="11"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5" name="Freeform 180"/>
              <p:cNvSpPr>
                <a:spLocks/>
              </p:cNvSpPr>
              <p:nvPr/>
            </p:nvSpPr>
            <p:spPr bwMode="auto">
              <a:xfrm>
                <a:off x="5226" y="-1404"/>
                <a:ext cx="28" cy="23"/>
              </a:xfrm>
              <a:custGeom>
                <a:avLst/>
                <a:gdLst>
                  <a:gd name="T0" fmla="*/ 19 w 28"/>
                  <a:gd name="T1" fmla="*/ 6 h 23"/>
                  <a:gd name="T2" fmla="*/ 13 w 28"/>
                  <a:gd name="T3" fmla="*/ 5 h 23"/>
                  <a:gd name="T4" fmla="*/ 0 w 28"/>
                  <a:gd name="T5" fmla="*/ 23 h 23"/>
                  <a:gd name="T6" fmla="*/ 28 w 28"/>
                  <a:gd name="T7" fmla="*/ 4 h 23"/>
                  <a:gd name="T8" fmla="*/ 27 w 28"/>
                  <a:gd name="T9" fmla="*/ 0 h 23"/>
                  <a:gd name="T10" fmla="*/ 19 w 28"/>
                  <a:gd name="T11" fmla="*/ 6 h 23"/>
                </a:gdLst>
                <a:ahLst/>
                <a:cxnLst>
                  <a:cxn ang="0">
                    <a:pos x="T0" y="T1"/>
                  </a:cxn>
                  <a:cxn ang="0">
                    <a:pos x="T2" y="T3"/>
                  </a:cxn>
                  <a:cxn ang="0">
                    <a:pos x="T4" y="T5"/>
                  </a:cxn>
                  <a:cxn ang="0">
                    <a:pos x="T6" y="T7"/>
                  </a:cxn>
                  <a:cxn ang="0">
                    <a:pos x="T8" y="T9"/>
                  </a:cxn>
                  <a:cxn ang="0">
                    <a:pos x="T10" y="T11"/>
                  </a:cxn>
                </a:cxnLst>
                <a:rect l="0" t="0" r="r" b="b"/>
                <a:pathLst>
                  <a:path w="28" h="23">
                    <a:moveTo>
                      <a:pt x="19" y="6"/>
                    </a:moveTo>
                    <a:lnTo>
                      <a:pt x="13" y="5"/>
                    </a:lnTo>
                    <a:lnTo>
                      <a:pt x="0" y="23"/>
                    </a:lnTo>
                    <a:lnTo>
                      <a:pt x="28" y="4"/>
                    </a:lnTo>
                    <a:lnTo>
                      <a:pt x="27" y="0"/>
                    </a:lnTo>
                    <a:lnTo>
                      <a:pt x="19" y="6"/>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6" name="Freeform 181"/>
              <p:cNvSpPr>
                <a:spLocks/>
              </p:cNvSpPr>
              <p:nvPr/>
            </p:nvSpPr>
            <p:spPr bwMode="auto">
              <a:xfrm>
                <a:off x="5203" y="-1381"/>
                <a:ext cx="13" cy="16"/>
              </a:xfrm>
              <a:custGeom>
                <a:avLst/>
                <a:gdLst>
                  <a:gd name="T0" fmla="*/ 11 w 13"/>
                  <a:gd name="T1" fmla="*/ 0 h 16"/>
                  <a:gd name="T2" fmla="*/ 0 w 13"/>
                  <a:gd name="T3" fmla="*/ 13 h 16"/>
                  <a:gd name="T4" fmla="*/ 0 w 13"/>
                  <a:gd name="T5" fmla="*/ 16 h 16"/>
                  <a:gd name="T6" fmla="*/ 13 w 13"/>
                  <a:gd name="T7" fmla="*/ 3 h 16"/>
                  <a:gd name="T8" fmla="*/ 11 w 13"/>
                  <a:gd name="T9" fmla="*/ 0 h 16"/>
                </a:gdLst>
                <a:ahLst/>
                <a:cxnLst>
                  <a:cxn ang="0">
                    <a:pos x="T0" y="T1"/>
                  </a:cxn>
                  <a:cxn ang="0">
                    <a:pos x="T2" y="T3"/>
                  </a:cxn>
                  <a:cxn ang="0">
                    <a:pos x="T4" y="T5"/>
                  </a:cxn>
                  <a:cxn ang="0">
                    <a:pos x="T6" y="T7"/>
                  </a:cxn>
                  <a:cxn ang="0">
                    <a:pos x="T8" y="T9"/>
                  </a:cxn>
                </a:cxnLst>
                <a:rect l="0" t="0" r="r" b="b"/>
                <a:pathLst>
                  <a:path w="13" h="16">
                    <a:moveTo>
                      <a:pt x="11" y="0"/>
                    </a:moveTo>
                    <a:lnTo>
                      <a:pt x="0" y="13"/>
                    </a:lnTo>
                    <a:lnTo>
                      <a:pt x="0" y="16"/>
                    </a:lnTo>
                    <a:lnTo>
                      <a:pt x="13" y="3"/>
                    </a:lnTo>
                    <a:lnTo>
                      <a:pt x="11"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7" name="Freeform 182"/>
              <p:cNvSpPr>
                <a:spLocks/>
              </p:cNvSpPr>
              <p:nvPr/>
            </p:nvSpPr>
            <p:spPr bwMode="auto">
              <a:xfrm>
                <a:off x="4266" y="-2143"/>
                <a:ext cx="8" cy="14"/>
              </a:xfrm>
              <a:custGeom>
                <a:avLst/>
                <a:gdLst>
                  <a:gd name="T0" fmla="*/ 2 w 8"/>
                  <a:gd name="T1" fmla="*/ 14 h 14"/>
                  <a:gd name="T2" fmla="*/ 8 w 8"/>
                  <a:gd name="T3" fmla="*/ 12 h 14"/>
                  <a:gd name="T4" fmla="*/ 3 w 8"/>
                  <a:gd name="T5" fmla="*/ 0 h 14"/>
                  <a:gd name="T6" fmla="*/ 0 w 8"/>
                  <a:gd name="T7" fmla="*/ 6 h 14"/>
                  <a:gd name="T8" fmla="*/ 2 w 8"/>
                  <a:gd name="T9" fmla="*/ 14 h 14"/>
                </a:gdLst>
                <a:ahLst/>
                <a:cxnLst>
                  <a:cxn ang="0">
                    <a:pos x="T0" y="T1"/>
                  </a:cxn>
                  <a:cxn ang="0">
                    <a:pos x="T2" y="T3"/>
                  </a:cxn>
                  <a:cxn ang="0">
                    <a:pos x="T4" y="T5"/>
                  </a:cxn>
                  <a:cxn ang="0">
                    <a:pos x="T6" y="T7"/>
                  </a:cxn>
                  <a:cxn ang="0">
                    <a:pos x="T8" y="T9"/>
                  </a:cxn>
                </a:cxnLst>
                <a:rect l="0" t="0" r="r" b="b"/>
                <a:pathLst>
                  <a:path w="8" h="14">
                    <a:moveTo>
                      <a:pt x="2" y="14"/>
                    </a:moveTo>
                    <a:lnTo>
                      <a:pt x="8" y="12"/>
                    </a:lnTo>
                    <a:lnTo>
                      <a:pt x="3" y="0"/>
                    </a:lnTo>
                    <a:lnTo>
                      <a:pt x="0" y="6"/>
                    </a:lnTo>
                    <a:lnTo>
                      <a:pt x="2" y="14"/>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8" name="Freeform 183"/>
              <p:cNvSpPr>
                <a:spLocks/>
              </p:cNvSpPr>
              <p:nvPr/>
            </p:nvSpPr>
            <p:spPr bwMode="auto">
              <a:xfrm>
                <a:off x="4086" y="-1990"/>
                <a:ext cx="19" cy="13"/>
              </a:xfrm>
              <a:custGeom>
                <a:avLst/>
                <a:gdLst>
                  <a:gd name="T0" fmla="*/ 6 w 19"/>
                  <a:gd name="T1" fmla="*/ 13 h 13"/>
                  <a:gd name="T2" fmla="*/ 19 w 19"/>
                  <a:gd name="T3" fmla="*/ 7 h 13"/>
                  <a:gd name="T4" fmla="*/ 17 w 19"/>
                  <a:gd name="T5" fmla="*/ 0 h 13"/>
                  <a:gd name="T6" fmla="*/ 0 w 19"/>
                  <a:gd name="T7" fmla="*/ 7 h 13"/>
                  <a:gd name="T8" fmla="*/ 6 w 19"/>
                  <a:gd name="T9" fmla="*/ 13 h 13"/>
                </a:gdLst>
                <a:ahLst/>
                <a:cxnLst>
                  <a:cxn ang="0">
                    <a:pos x="T0" y="T1"/>
                  </a:cxn>
                  <a:cxn ang="0">
                    <a:pos x="T2" y="T3"/>
                  </a:cxn>
                  <a:cxn ang="0">
                    <a:pos x="T4" y="T5"/>
                  </a:cxn>
                  <a:cxn ang="0">
                    <a:pos x="T6" y="T7"/>
                  </a:cxn>
                  <a:cxn ang="0">
                    <a:pos x="T8" y="T9"/>
                  </a:cxn>
                </a:cxnLst>
                <a:rect l="0" t="0" r="r" b="b"/>
                <a:pathLst>
                  <a:path w="19" h="13">
                    <a:moveTo>
                      <a:pt x="6" y="13"/>
                    </a:moveTo>
                    <a:lnTo>
                      <a:pt x="19" y="7"/>
                    </a:lnTo>
                    <a:lnTo>
                      <a:pt x="17" y="0"/>
                    </a:lnTo>
                    <a:lnTo>
                      <a:pt x="0" y="7"/>
                    </a:lnTo>
                    <a:lnTo>
                      <a:pt x="6" y="13"/>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9" name="Freeform 184"/>
              <p:cNvSpPr>
                <a:spLocks/>
              </p:cNvSpPr>
              <p:nvPr/>
            </p:nvSpPr>
            <p:spPr bwMode="auto">
              <a:xfrm>
                <a:off x="4184" y="-2235"/>
                <a:ext cx="20" cy="13"/>
              </a:xfrm>
              <a:custGeom>
                <a:avLst/>
                <a:gdLst>
                  <a:gd name="T0" fmla="*/ 6 w 20"/>
                  <a:gd name="T1" fmla="*/ 0 h 13"/>
                  <a:gd name="T2" fmla="*/ 0 w 20"/>
                  <a:gd name="T3" fmla="*/ 13 h 13"/>
                  <a:gd name="T4" fmla="*/ 20 w 20"/>
                  <a:gd name="T5" fmla="*/ 2 h 13"/>
                  <a:gd name="T6" fmla="*/ 6 w 20"/>
                  <a:gd name="T7" fmla="*/ 0 h 13"/>
                </a:gdLst>
                <a:ahLst/>
                <a:cxnLst>
                  <a:cxn ang="0">
                    <a:pos x="T0" y="T1"/>
                  </a:cxn>
                  <a:cxn ang="0">
                    <a:pos x="T2" y="T3"/>
                  </a:cxn>
                  <a:cxn ang="0">
                    <a:pos x="T4" y="T5"/>
                  </a:cxn>
                  <a:cxn ang="0">
                    <a:pos x="T6" y="T7"/>
                  </a:cxn>
                </a:cxnLst>
                <a:rect l="0" t="0" r="r" b="b"/>
                <a:pathLst>
                  <a:path w="20" h="13">
                    <a:moveTo>
                      <a:pt x="6" y="0"/>
                    </a:moveTo>
                    <a:lnTo>
                      <a:pt x="0" y="13"/>
                    </a:lnTo>
                    <a:lnTo>
                      <a:pt x="20" y="2"/>
                    </a:lnTo>
                    <a:lnTo>
                      <a:pt x="6"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0" name="Freeform 185"/>
              <p:cNvSpPr>
                <a:spLocks/>
              </p:cNvSpPr>
              <p:nvPr/>
            </p:nvSpPr>
            <p:spPr bwMode="auto">
              <a:xfrm>
                <a:off x="4210" y="-2260"/>
                <a:ext cx="12" cy="15"/>
              </a:xfrm>
              <a:custGeom>
                <a:avLst/>
                <a:gdLst>
                  <a:gd name="T0" fmla="*/ 9 w 12"/>
                  <a:gd name="T1" fmla="*/ 0 h 15"/>
                  <a:gd name="T2" fmla="*/ 0 w 12"/>
                  <a:gd name="T3" fmla="*/ 9 h 15"/>
                  <a:gd name="T4" fmla="*/ 12 w 12"/>
                  <a:gd name="T5" fmla="*/ 15 h 15"/>
                  <a:gd name="T6" fmla="*/ 9 w 12"/>
                  <a:gd name="T7" fmla="*/ 0 h 15"/>
                </a:gdLst>
                <a:ahLst/>
                <a:cxnLst>
                  <a:cxn ang="0">
                    <a:pos x="T0" y="T1"/>
                  </a:cxn>
                  <a:cxn ang="0">
                    <a:pos x="T2" y="T3"/>
                  </a:cxn>
                  <a:cxn ang="0">
                    <a:pos x="T4" y="T5"/>
                  </a:cxn>
                  <a:cxn ang="0">
                    <a:pos x="T6" y="T7"/>
                  </a:cxn>
                </a:cxnLst>
                <a:rect l="0" t="0" r="r" b="b"/>
                <a:pathLst>
                  <a:path w="12" h="15">
                    <a:moveTo>
                      <a:pt x="9" y="0"/>
                    </a:moveTo>
                    <a:lnTo>
                      <a:pt x="0" y="9"/>
                    </a:lnTo>
                    <a:lnTo>
                      <a:pt x="12" y="15"/>
                    </a:lnTo>
                    <a:lnTo>
                      <a:pt x="9"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1" name="Freeform 186"/>
              <p:cNvSpPr>
                <a:spLocks/>
              </p:cNvSpPr>
              <p:nvPr/>
            </p:nvSpPr>
            <p:spPr bwMode="auto">
              <a:xfrm>
                <a:off x="4084" y="-2283"/>
                <a:ext cx="21" cy="23"/>
              </a:xfrm>
              <a:custGeom>
                <a:avLst/>
                <a:gdLst>
                  <a:gd name="T0" fmla="*/ 12 w 21"/>
                  <a:gd name="T1" fmla="*/ 10 h 23"/>
                  <a:gd name="T2" fmla="*/ 14 w 21"/>
                  <a:gd name="T3" fmla="*/ 3 h 23"/>
                  <a:gd name="T4" fmla="*/ 13 w 21"/>
                  <a:gd name="T5" fmla="*/ 0 h 23"/>
                  <a:gd name="T6" fmla="*/ 3 w 21"/>
                  <a:gd name="T7" fmla="*/ 0 h 23"/>
                  <a:gd name="T8" fmla="*/ 0 w 21"/>
                  <a:gd name="T9" fmla="*/ 9 h 23"/>
                  <a:gd name="T10" fmla="*/ 0 w 21"/>
                  <a:gd name="T11" fmla="*/ 23 h 23"/>
                  <a:gd name="T12" fmla="*/ 21 w 21"/>
                  <a:gd name="T13" fmla="*/ 13 h 23"/>
                  <a:gd name="T14" fmla="*/ 12 w 21"/>
                  <a:gd name="T15" fmla="*/ 10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23">
                    <a:moveTo>
                      <a:pt x="12" y="10"/>
                    </a:moveTo>
                    <a:lnTo>
                      <a:pt x="14" y="3"/>
                    </a:lnTo>
                    <a:lnTo>
                      <a:pt x="13" y="0"/>
                    </a:lnTo>
                    <a:lnTo>
                      <a:pt x="3" y="0"/>
                    </a:lnTo>
                    <a:lnTo>
                      <a:pt x="0" y="9"/>
                    </a:lnTo>
                    <a:lnTo>
                      <a:pt x="0" y="23"/>
                    </a:lnTo>
                    <a:lnTo>
                      <a:pt x="21" y="13"/>
                    </a:lnTo>
                    <a:lnTo>
                      <a:pt x="12" y="1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2" name="Freeform 187"/>
              <p:cNvSpPr>
                <a:spLocks/>
              </p:cNvSpPr>
              <p:nvPr/>
            </p:nvSpPr>
            <p:spPr bwMode="auto">
              <a:xfrm>
                <a:off x="3910" y="-2138"/>
                <a:ext cx="31" cy="33"/>
              </a:xfrm>
              <a:custGeom>
                <a:avLst/>
                <a:gdLst>
                  <a:gd name="T0" fmla="*/ 31 w 31"/>
                  <a:gd name="T1" fmla="*/ 29 h 33"/>
                  <a:gd name="T2" fmla="*/ 7 w 31"/>
                  <a:gd name="T3" fmla="*/ 0 h 33"/>
                  <a:gd name="T4" fmla="*/ 1 w 31"/>
                  <a:gd name="T5" fmla="*/ 7 h 33"/>
                  <a:gd name="T6" fmla="*/ 5 w 31"/>
                  <a:gd name="T7" fmla="*/ 10 h 33"/>
                  <a:gd name="T8" fmla="*/ 0 w 31"/>
                  <a:gd name="T9" fmla="*/ 10 h 33"/>
                  <a:gd name="T10" fmla="*/ 4 w 31"/>
                  <a:gd name="T11" fmla="*/ 21 h 33"/>
                  <a:gd name="T12" fmla="*/ 8 w 31"/>
                  <a:gd name="T13" fmla="*/ 28 h 33"/>
                  <a:gd name="T14" fmla="*/ 7 w 31"/>
                  <a:gd name="T15" fmla="*/ 22 h 33"/>
                  <a:gd name="T16" fmla="*/ 19 w 31"/>
                  <a:gd name="T17" fmla="*/ 33 h 33"/>
                  <a:gd name="T18" fmla="*/ 31 w 31"/>
                  <a:gd name="T19" fmla="*/ 29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33">
                    <a:moveTo>
                      <a:pt x="31" y="29"/>
                    </a:moveTo>
                    <a:lnTo>
                      <a:pt x="7" y="0"/>
                    </a:lnTo>
                    <a:lnTo>
                      <a:pt x="1" y="7"/>
                    </a:lnTo>
                    <a:lnTo>
                      <a:pt x="5" y="10"/>
                    </a:lnTo>
                    <a:lnTo>
                      <a:pt x="0" y="10"/>
                    </a:lnTo>
                    <a:lnTo>
                      <a:pt x="4" y="21"/>
                    </a:lnTo>
                    <a:lnTo>
                      <a:pt x="8" y="28"/>
                    </a:lnTo>
                    <a:lnTo>
                      <a:pt x="7" y="22"/>
                    </a:lnTo>
                    <a:lnTo>
                      <a:pt x="19" y="33"/>
                    </a:lnTo>
                    <a:lnTo>
                      <a:pt x="31" y="29"/>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3" name="Freeform 188"/>
              <p:cNvSpPr>
                <a:spLocks/>
              </p:cNvSpPr>
              <p:nvPr/>
            </p:nvSpPr>
            <p:spPr bwMode="auto">
              <a:xfrm>
                <a:off x="3817" y="-2177"/>
                <a:ext cx="14" cy="17"/>
              </a:xfrm>
              <a:custGeom>
                <a:avLst/>
                <a:gdLst>
                  <a:gd name="T0" fmla="*/ 14 w 14"/>
                  <a:gd name="T1" fmla="*/ 17 h 17"/>
                  <a:gd name="T2" fmla="*/ 14 w 14"/>
                  <a:gd name="T3" fmla="*/ 4 h 17"/>
                  <a:gd name="T4" fmla="*/ 9 w 14"/>
                  <a:gd name="T5" fmla="*/ 0 h 17"/>
                  <a:gd name="T6" fmla="*/ 0 w 14"/>
                  <a:gd name="T7" fmla="*/ 0 h 17"/>
                  <a:gd name="T8" fmla="*/ 14 w 14"/>
                  <a:gd name="T9" fmla="*/ 17 h 17"/>
                </a:gdLst>
                <a:ahLst/>
                <a:cxnLst>
                  <a:cxn ang="0">
                    <a:pos x="T0" y="T1"/>
                  </a:cxn>
                  <a:cxn ang="0">
                    <a:pos x="T2" y="T3"/>
                  </a:cxn>
                  <a:cxn ang="0">
                    <a:pos x="T4" y="T5"/>
                  </a:cxn>
                  <a:cxn ang="0">
                    <a:pos x="T6" y="T7"/>
                  </a:cxn>
                  <a:cxn ang="0">
                    <a:pos x="T8" y="T9"/>
                  </a:cxn>
                </a:cxnLst>
                <a:rect l="0" t="0" r="r" b="b"/>
                <a:pathLst>
                  <a:path w="14" h="17">
                    <a:moveTo>
                      <a:pt x="14" y="17"/>
                    </a:moveTo>
                    <a:lnTo>
                      <a:pt x="14" y="4"/>
                    </a:lnTo>
                    <a:lnTo>
                      <a:pt x="9" y="0"/>
                    </a:lnTo>
                    <a:lnTo>
                      <a:pt x="0" y="0"/>
                    </a:lnTo>
                    <a:lnTo>
                      <a:pt x="14" y="1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4" name="Freeform 189"/>
              <p:cNvSpPr>
                <a:spLocks/>
              </p:cNvSpPr>
              <p:nvPr/>
            </p:nvSpPr>
            <p:spPr bwMode="auto">
              <a:xfrm>
                <a:off x="3838" y="-2487"/>
                <a:ext cx="228" cy="216"/>
              </a:xfrm>
              <a:custGeom>
                <a:avLst/>
                <a:gdLst>
                  <a:gd name="T0" fmla="*/ 21 w 228"/>
                  <a:gd name="T1" fmla="*/ 191 h 216"/>
                  <a:gd name="T2" fmla="*/ 7 w 228"/>
                  <a:gd name="T3" fmla="*/ 210 h 216"/>
                  <a:gd name="T4" fmla="*/ 21 w 228"/>
                  <a:gd name="T5" fmla="*/ 206 h 216"/>
                  <a:gd name="T6" fmla="*/ 45 w 228"/>
                  <a:gd name="T7" fmla="*/ 216 h 216"/>
                  <a:gd name="T8" fmla="*/ 52 w 228"/>
                  <a:gd name="T9" fmla="*/ 206 h 216"/>
                  <a:gd name="T10" fmla="*/ 47 w 228"/>
                  <a:gd name="T11" fmla="*/ 193 h 216"/>
                  <a:gd name="T12" fmla="*/ 57 w 228"/>
                  <a:gd name="T13" fmla="*/ 196 h 216"/>
                  <a:gd name="T14" fmla="*/ 46 w 228"/>
                  <a:gd name="T15" fmla="*/ 184 h 216"/>
                  <a:gd name="T16" fmla="*/ 62 w 228"/>
                  <a:gd name="T17" fmla="*/ 189 h 216"/>
                  <a:gd name="T18" fmla="*/ 62 w 228"/>
                  <a:gd name="T19" fmla="*/ 181 h 216"/>
                  <a:gd name="T20" fmla="*/ 53 w 228"/>
                  <a:gd name="T21" fmla="*/ 174 h 216"/>
                  <a:gd name="T22" fmla="*/ 57 w 228"/>
                  <a:gd name="T23" fmla="*/ 163 h 216"/>
                  <a:gd name="T24" fmla="*/ 66 w 228"/>
                  <a:gd name="T25" fmla="*/ 176 h 216"/>
                  <a:gd name="T26" fmla="*/ 76 w 228"/>
                  <a:gd name="T27" fmla="*/ 164 h 216"/>
                  <a:gd name="T28" fmla="*/ 67 w 228"/>
                  <a:gd name="T29" fmla="*/ 145 h 216"/>
                  <a:gd name="T30" fmla="*/ 77 w 228"/>
                  <a:gd name="T31" fmla="*/ 154 h 216"/>
                  <a:gd name="T32" fmla="*/ 82 w 228"/>
                  <a:gd name="T33" fmla="*/ 148 h 216"/>
                  <a:gd name="T34" fmla="*/ 79 w 228"/>
                  <a:gd name="T35" fmla="*/ 141 h 216"/>
                  <a:gd name="T36" fmla="*/ 92 w 228"/>
                  <a:gd name="T37" fmla="*/ 147 h 216"/>
                  <a:gd name="T38" fmla="*/ 86 w 228"/>
                  <a:gd name="T39" fmla="*/ 135 h 216"/>
                  <a:gd name="T40" fmla="*/ 97 w 228"/>
                  <a:gd name="T41" fmla="*/ 138 h 216"/>
                  <a:gd name="T42" fmla="*/ 105 w 228"/>
                  <a:gd name="T43" fmla="*/ 125 h 216"/>
                  <a:gd name="T44" fmla="*/ 99 w 228"/>
                  <a:gd name="T45" fmla="*/ 120 h 216"/>
                  <a:gd name="T46" fmla="*/ 101 w 228"/>
                  <a:gd name="T47" fmla="*/ 116 h 216"/>
                  <a:gd name="T48" fmla="*/ 114 w 228"/>
                  <a:gd name="T49" fmla="*/ 116 h 216"/>
                  <a:gd name="T50" fmla="*/ 147 w 228"/>
                  <a:gd name="T51" fmla="*/ 78 h 216"/>
                  <a:gd name="T52" fmla="*/ 151 w 228"/>
                  <a:gd name="T53" fmla="*/ 84 h 216"/>
                  <a:gd name="T54" fmla="*/ 219 w 228"/>
                  <a:gd name="T55" fmla="*/ 51 h 216"/>
                  <a:gd name="T56" fmla="*/ 228 w 228"/>
                  <a:gd name="T57" fmla="*/ 31 h 216"/>
                  <a:gd name="T58" fmla="*/ 225 w 228"/>
                  <a:gd name="T59" fmla="*/ 31 h 216"/>
                  <a:gd name="T60" fmla="*/ 228 w 228"/>
                  <a:gd name="T61" fmla="*/ 20 h 216"/>
                  <a:gd name="T62" fmla="*/ 220 w 228"/>
                  <a:gd name="T63" fmla="*/ 2 h 216"/>
                  <a:gd name="T64" fmla="*/ 203 w 228"/>
                  <a:gd name="T65" fmla="*/ 0 h 216"/>
                  <a:gd name="T66" fmla="*/ 158 w 228"/>
                  <a:gd name="T67" fmla="*/ 41 h 216"/>
                  <a:gd name="T68" fmla="*/ 130 w 228"/>
                  <a:gd name="T69" fmla="*/ 51 h 216"/>
                  <a:gd name="T70" fmla="*/ 109 w 228"/>
                  <a:gd name="T71" fmla="*/ 42 h 216"/>
                  <a:gd name="T72" fmla="*/ 109 w 228"/>
                  <a:gd name="T73" fmla="*/ 58 h 216"/>
                  <a:gd name="T74" fmla="*/ 99 w 228"/>
                  <a:gd name="T75" fmla="*/ 61 h 216"/>
                  <a:gd name="T76" fmla="*/ 104 w 228"/>
                  <a:gd name="T77" fmla="*/ 54 h 216"/>
                  <a:gd name="T78" fmla="*/ 101 w 228"/>
                  <a:gd name="T79" fmla="*/ 53 h 216"/>
                  <a:gd name="T80" fmla="*/ 76 w 228"/>
                  <a:gd name="T81" fmla="*/ 72 h 216"/>
                  <a:gd name="T82" fmla="*/ 57 w 228"/>
                  <a:gd name="T83" fmla="*/ 104 h 216"/>
                  <a:gd name="T84" fmla="*/ 37 w 228"/>
                  <a:gd name="T85" fmla="*/ 116 h 216"/>
                  <a:gd name="T86" fmla="*/ 28 w 228"/>
                  <a:gd name="T87" fmla="*/ 110 h 216"/>
                  <a:gd name="T88" fmla="*/ 26 w 228"/>
                  <a:gd name="T89" fmla="*/ 118 h 216"/>
                  <a:gd name="T90" fmla="*/ 27 w 228"/>
                  <a:gd name="T91" fmla="*/ 123 h 216"/>
                  <a:gd name="T92" fmla="*/ 33 w 228"/>
                  <a:gd name="T93" fmla="*/ 123 h 216"/>
                  <a:gd name="T94" fmla="*/ 30 w 228"/>
                  <a:gd name="T95" fmla="*/ 135 h 216"/>
                  <a:gd name="T96" fmla="*/ 45 w 228"/>
                  <a:gd name="T97" fmla="*/ 138 h 216"/>
                  <a:gd name="T98" fmla="*/ 27 w 228"/>
                  <a:gd name="T99" fmla="*/ 141 h 216"/>
                  <a:gd name="T100" fmla="*/ 34 w 228"/>
                  <a:gd name="T101" fmla="*/ 152 h 216"/>
                  <a:gd name="T102" fmla="*/ 23 w 228"/>
                  <a:gd name="T103" fmla="*/ 154 h 216"/>
                  <a:gd name="T104" fmla="*/ 30 w 228"/>
                  <a:gd name="T105" fmla="*/ 160 h 216"/>
                  <a:gd name="T106" fmla="*/ 21 w 228"/>
                  <a:gd name="T107" fmla="*/ 163 h 216"/>
                  <a:gd name="T108" fmla="*/ 37 w 228"/>
                  <a:gd name="T109" fmla="*/ 175 h 216"/>
                  <a:gd name="T110" fmla="*/ 21 w 228"/>
                  <a:gd name="T111" fmla="*/ 168 h 216"/>
                  <a:gd name="T112" fmla="*/ 0 w 228"/>
                  <a:gd name="T113" fmla="*/ 187 h 216"/>
                  <a:gd name="T114" fmla="*/ 5 w 228"/>
                  <a:gd name="T115" fmla="*/ 196 h 216"/>
                  <a:gd name="T116" fmla="*/ 21 w 228"/>
                  <a:gd name="T117" fmla="*/ 191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28" h="216">
                    <a:moveTo>
                      <a:pt x="21" y="191"/>
                    </a:moveTo>
                    <a:lnTo>
                      <a:pt x="7" y="210"/>
                    </a:lnTo>
                    <a:lnTo>
                      <a:pt x="21" y="206"/>
                    </a:lnTo>
                    <a:lnTo>
                      <a:pt x="45" y="216"/>
                    </a:lnTo>
                    <a:lnTo>
                      <a:pt x="52" y="206"/>
                    </a:lnTo>
                    <a:lnTo>
                      <a:pt x="47" y="193"/>
                    </a:lnTo>
                    <a:lnTo>
                      <a:pt x="57" y="196"/>
                    </a:lnTo>
                    <a:lnTo>
                      <a:pt x="46" y="184"/>
                    </a:lnTo>
                    <a:lnTo>
                      <a:pt x="62" y="189"/>
                    </a:lnTo>
                    <a:lnTo>
                      <a:pt x="62" y="181"/>
                    </a:lnTo>
                    <a:lnTo>
                      <a:pt x="53" y="174"/>
                    </a:lnTo>
                    <a:lnTo>
                      <a:pt x="57" y="163"/>
                    </a:lnTo>
                    <a:lnTo>
                      <a:pt x="66" y="176"/>
                    </a:lnTo>
                    <a:lnTo>
                      <a:pt x="76" y="164"/>
                    </a:lnTo>
                    <a:lnTo>
                      <a:pt x="67" y="145"/>
                    </a:lnTo>
                    <a:lnTo>
                      <a:pt x="77" y="154"/>
                    </a:lnTo>
                    <a:lnTo>
                      <a:pt x="82" y="148"/>
                    </a:lnTo>
                    <a:lnTo>
                      <a:pt x="79" y="141"/>
                    </a:lnTo>
                    <a:lnTo>
                      <a:pt x="92" y="147"/>
                    </a:lnTo>
                    <a:lnTo>
                      <a:pt x="86" y="135"/>
                    </a:lnTo>
                    <a:lnTo>
                      <a:pt x="97" y="138"/>
                    </a:lnTo>
                    <a:lnTo>
                      <a:pt x="105" y="125"/>
                    </a:lnTo>
                    <a:lnTo>
                      <a:pt x="99" y="120"/>
                    </a:lnTo>
                    <a:lnTo>
                      <a:pt x="101" y="116"/>
                    </a:lnTo>
                    <a:lnTo>
                      <a:pt x="114" y="116"/>
                    </a:lnTo>
                    <a:lnTo>
                      <a:pt x="147" y="78"/>
                    </a:lnTo>
                    <a:lnTo>
                      <a:pt x="151" y="84"/>
                    </a:lnTo>
                    <a:lnTo>
                      <a:pt x="219" y="51"/>
                    </a:lnTo>
                    <a:lnTo>
                      <a:pt x="228" y="31"/>
                    </a:lnTo>
                    <a:lnTo>
                      <a:pt x="225" y="31"/>
                    </a:lnTo>
                    <a:lnTo>
                      <a:pt x="228" y="20"/>
                    </a:lnTo>
                    <a:lnTo>
                      <a:pt x="220" y="2"/>
                    </a:lnTo>
                    <a:lnTo>
                      <a:pt x="203" y="0"/>
                    </a:lnTo>
                    <a:lnTo>
                      <a:pt x="158" y="41"/>
                    </a:lnTo>
                    <a:lnTo>
                      <a:pt x="130" y="51"/>
                    </a:lnTo>
                    <a:lnTo>
                      <a:pt x="109" y="42"/>
                    </a:lnTo>
                    <a:lnTo>
                      <a:pt x="109" y="58"/>
                    </a:lnTo>
                    <a:lnTo>
                      <a:pt x="99" y="61"/>
                    </a:lnTo>
                    <a:lnTo>
                      <a:pt x="104" y="54"/>
                    </a:lnTo>
                    <a:lnTo>
                      <a:pt x="101" y="53"/>
                    </a:lnTo>
                    <a:lnTo>
                      <a:pt x="76" y="72"/>
                    </a:lnTo>
                    <a:lnTo>
                      <a:pt x="57" y="104"/>
                    </a:lnTo>
                    <a:lnTo>
                      <a:pt x="37" y="116"/>
                    </a:lnTo>
                    <a:lnTo>
                      <a:pt x="28" y="110"/>
                    </a:lnTo>
                    <a:lnTo>
                      <a:pt x="26" y="118"/>
                    </a:lnTo>
                    <a:lnTo>
                      <a:pt x="27" y="123"/>
                    </a:lnTo>
                    <a:lnTo>
                      <a:pt x="33" y="123"/>
                    </a:lnTo>
                    <a:lnTo>
                      <a:pt x="30" y="135"/>
                    </a:lnTo>
                    <a:lnTo>
                      <a:pt x="45" y="138"/>
                    </a:lnTo>
                    <a:lnTo>
                      <a:pt x="27" y="141"/>
                    </a:lnTo>
                    <a:lnTo>
                      <a:pt x="34" y="152"/>
                    </a:lnTo>
                    <a:lnTo>
                      <a:pt x="23" y="154"/>
                    </a:lnTo>
                    <a:lnTo>
                      <a:pt x="30" y="160"/>
                    </a:lnTo>
                    <a:lnTo>
                      <a:pt x="21" y="163"/>
                    </a:lnTo>
                    <a:lnTo>
                      <a:pt x="37" y="175"/>
                    </a:lnTo>
                    <a:lnTo>
                      <a:pt x="21" y="168"/>
                    </a:lnTo>
                    <a:lnTo>
                      <a:pt x="0" y="187"/>
                    </a:lnTo>
                    <a:lnTo>
                      <a:pt x="5" y="196"/>
                    </a:lnTo>
                    <a:lnTo>
                      <a:pt x="21" y="191"/>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5" name="Freeform 190"/>
              <p:cNvSpPr>
                <a:spLocks/>
              </p:cNvSpPr>
              <p:nvPr/>
            </p:nvSpPr>
            <p:spPr bwMode="auto">
              <a:xfrm>
                <a:off x="3805" y="-2279"/>
                <a:ext cx="92" cy="136"/>
              </a:xfrm>
              <a:custGeom>
                <a:avLst/>
                <a:gdLst>
                  <a:gd name="T0" fmla="*/ 30 w 92"/>
                  <a:gd name="T1" fmla="*/ 91 h 136"/>
                  <a:gd name="T2" fmla="*/ 30 w 92"/>
                  <a:gd name="T3" fmla="*/ 103 h 136"/>
                  <a:gd name="T4" fmla="*/ 38 w 92"/>
                  <a:gd name="T5" fmla="*/ 95 h 136"/>
                  <a:gd name="T6" fmla="*/ 32 w 92"/>
                  <a:gd name="T7" fmla="*/ 104 h 136"/>
                  <a:gd name="T8" fmla="*/ 43 w 92"/>
                  <a:gd name="T9" fmla="*/ 112 h 136"/>
                  <a:gd name="T10" fmla="*/ 33 w 92"/>
                  <a:gd name="T11" fmla="*/ 115 h 136"/>
                  <a:gd name="T12" fmla="*/ 34 w 92"/>
                  <a:gd name="T13" fmla="*/ 125 h 136"/>
                  <a:gd name="T14" fmla="*/ 52 w 92"/>
                  <a:gd name="T15" fmla="*/ 127 h 136"/>
                  <a:gd name="T16" fmla="*/ 48 w 92"/>
                  <a:gd name="T17" fmla="*/ 129 h 136"/>
                  <a:gd name="T18" fmla="*/ 54 w 92"/>
                  <a:gd name="T19" fmla="*/ 136 h 136"/>
                  <a:gd name="T20" fmla="*/ 59 w 92"/>
                  <a:gd name="T21" fmla="*/ 129 h 136"/>
                  <a:gd name="T22" fmla="*/ 74 w 92"/>
                  <a:gd name="T23" fmla="*/ 135 h 136"/>
                  <a:gd name="T24" fmla="*/ 71 w 92"/>
                  <a:gd name="T25" fmla="*/ 130 h 136"/>
                  <a:gd name="T26" fmla="*/ 78 w 92"/>
                  <a:gd name="T27" fmla="*/ 127 h 136"/>
                  <a:gd name="T28" fmla="*/ 82 w 92"/>
                  <a:gd name="T29" fmla="*/ 132 h 136"/>
                  <a:gd name="T30" fmla="*/ 92 w 92"/>
                  <a:gd name="T31" fmla="*/ 129 h 136"/>
                  <a:gd name="T32" fmla="*/ 70 w 92"/>
                  <a:gd name="T33" fmla="*/ 106 h 136"/>
                  <a:gd name="T34" fmla="*/ 59 w 92"/>
                  <a:gd name="T35" fmla="*/ 72 h 136"/>
                  <a:gd name="T36" fmla="*/ 59 w 92"/>
                  <a:gd name="T37" fmla="*/ 49 h 136"/>
                  <a:gd name="T38" fmla="*/ 66 w 92"/>
                  <a:gd name="T39" fmla="*/ 36 h 136"/>
                  <a:gd name="T40" fmla="*/ 60 w 92"/>
                  <a:gd name="T41" fmla="*/ 33 h 136"/>
                  <a:gd name="T42" fmla="*/ 71 w 92"/>
                  <a:gd name="T43" fmla="*/ 27 h 136"/>
                  <a:gd name="T44" fmla="*/ 71 w 92"/>
                  <a:gd name="T45" fmla="*/ 21 h 136"/>
                  <a:gd name="T46" fmla="*/ 63 w 92"/>
                  <a:gd name="T47" fmla="*/ 24 h 136"/>
                  <a:gd name="T48" fmla="*/ 74 w 92"/>
                  <a:gd name="T49" fmla="*/ 12 h 136"/>
                  <a:gd name="T50" fmla="*/ 54 w 92"/>
                  <a:gd name="T51" fmla="*/ 0 h 136"/>
                  <a:gd name="T52" fmla="*/ 34 w 92"/>
                  <a:gd name="T53" fmla="*/ 6 h 136"/>
                  <a:gd name="T54" fmla="*/ 25 w 92"/>
                  <a:gd name="T55" fmla="*/ 14 h 136"/>
                  <a:gd name="T56" fmla="*/ 27 w 92"/>
                  <a:gd name="T57" fmla="*/ 20 h 136"/>
                  <a:gd name="T58" fmla="*/ 25 w 92"/>
                  <a:gd name="T59" fmla="*/ 21 h 136"/>
                  <a:gd name="T60" fmla="*/ 28 w 92"/>
                  <a:gd name="T61" fmla="*/ 24 h 136"/>
                  <a:gd name="T62" fmla="*/ 15 w 92"/>
                  <a:gd name="T63" fmla="*/ 31 h 136"/>
                  <a:gd name="T64" fmla="*/ 21 w 92"/>
                  <a:gd name="T65" fmla="*/ 44 h 136"/>
                  <a:gd name="T66" fmla="*/ 24 w 92"/>
                  <a:gd name="T67" fmla="*/ 41 h 136"/>
                  <a:gd name="T68" fmla="*/ 13 w 92"/>
                  <a:gd name="T69" fmla="*/ 69 h 136"/>
                  <a:gd name="T70" fmla="*/ 2 w 92"/>
                  <a:gd name="T71" fmla="*/ 66 h 136"/>
                  <a:gd name="T72" fmla="*/ 0 w 92"/>
                  <a:gd name="T73" fmla="*/ 80 h 136"/>
                  <a:gd name="T74" fmla="*/ 2 w 92"/>
                  <a:gd name="T75" fmla="*/ 90 h 136"/>
                  <a:gd name="T76" fmla="*/ 30 w 92"/>
                  <a:gd name="T77" fmla="*/ 91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2" h="136">
                    <a:moveTo>
                      <a:pt x="30" y="91"/>
                    </a:moveTo>
                    <a:lnTo>
                      <a:pt x="30" y="103"/>
                    </a:lnTo>
                    <a:lnTo>
                      <a:pt x="38" y="95"/>
                    </a:lnTo>
                    <a:lnTo>
                      <a:pt x="32" y="104"/>
                    </a:lnTo>
                    <a:lnTo>
                      <a:pt x="43" y="112"/>
                    </a:lnTo>
                    <a:lnTo>
                      <a:pt x="33" y="115"/>
                    </a:lnTo>
                    <a:lnTo>
                      <a:pt x="34" y="125"/>
                    </a:lnTo>
                    <a:lnTo>
                      <a:pt x="52" y="127"/>
                    </a:lnTo>
                    <a:lnTo>
                      <a:pt x="48" y="129"/>
                    </a:lnTo>
                    <a:lnTo>
                      <a:pt x="54" y="136"/>
                    </a:lnTo>
                    <a:lnTo>
                      <a:pt x="59" y="129"/>
                    </a:lnTo>
                    <a:lnTo>
                      <a:pt x="74" y="135"/>
                    </a:lnTo>
                    <a:lnTo>
                      <a:pt x="71" y="130"/>
                    </a:lnTo>
                    <a:lnTo>
                      <a:pt x="78" y="127"/>
                    </a:lnTo>
                    <a:lnTo>
                      <a:pt x="82" y="132"/>
                    </a:lnTo>
                    <a:lnTo>
                      <a:pt x="92" y="129"/>
                    </a:lnTo>
                    <a:lnTo>
                      <a:pt x="70" y="106"/>
                    </a:lnTo>
                    <a:lnTo>
                      <a:pt x="59" y="72"/>
                    </a:lnTo>
                    <a:lnTo>
                      <a:pt x="59" y="49"/>
                    </a:lnTo>
                    <a:lnTo>
                      <a:pt x="66" y="36"/>
                    </a:lnTo>
                    <a:lnTo>
                      <a:pt x="60" y="33"/>
                    </a:lnTo>
                    <a:lnTo>
                      <a:pt x="71" y="27"/>
                    </a:lnTo>
                    <a:lnTo>
                      <a:pt x="71" y="21"/>
                    </a:lnTo>
                    <a:lnTo>
                      <a:pt x="63" y="24"/>
                    </a:lnTo>
                    <a:lnTo>
                      <a:pt x="74" y="12"/>
                    </a:lnTo>
                    <a:lnTo>
                      <a:pt x="54" y="0"/>
                    </a:lnTo>
                    <a:lnTo>
                      <a:pt x="34" y="6"/>
                    </a:lnTo>
                    <a:lnTo>
                      <a:pt x="25" y="14"/>
                    </a:lnTo>
                    <a:lnTo>
                      <a:pt x="27" y="20"/>
                    </a:lnTo>
                    <a:lnTo>
                      <a:pt x="25" y="21"/>
                    </a:lnTo>
                    <a:lnTo>
                      <a:pt x="28" y="24"/>
                    </a:lnTo>
                    <a:lnTo>
                      <a:pt x="15" y="31"/>
                    </a:lnTo>
                    <a:lnTo>
                      <a:pt x="21" y="44"/>
                    </a:lnTo>
                    <a:lnTo>
                      <a:pt x="24" y="41"/>
                    </a:lnTo>
                    <a:lnTo>
                      <a:pt x="13" y="69"/>
                    </a:lnTo>
                    <a:lnTo>
                      <a:pt x="2" y="66"/>
                    </a:lnTo>
                    <a:lnTo>
                      <a:pt x="0" y="80"/>
                    </a:lnTo>
                    <a:lnTo>
                      <a:pt x="2" y="90"/>
                    </a:lnTo>
                    <a:lnTo>
                      <a:pt x="30" y="91"/>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6" name="Freeform 191"/>
              <p:cNvSpPr>
                <a:spLocks/>
              </p:cNvSpPr>
              <p:nvPr/>
            </p:nvSpPr>
            <p:spPr bwMode="auto">
              <a:xfrm>
                <a:off x="3885" y="-2147"/>
                <a:ext cx="2" cy="2"/>
              </a:xfrm>
              <a:custGeom>
                <a:avLst/>
                <a:gdLst>
                  <a:gd name="T0" fmla="*/ 2 w 2"/>
                  <a:gd name="T1" fmla="*/ 2 h 2"/>
                  <a:gd name="T2" fmla="*/ 2 w 2"/>
                  <a:gd name="T3" fmla="*/ 0 h 2"/>
                  <a:gd name="T4" fmla="*/ 0 w 2"/>
                  <a:gd name="T5" fmla="*/ 2 h 2"/>
                  <a:gd name="T6" fmla="*/ 2 w 2"/>
                  <a:gd name="T7" fmla="*/ 2 h 2"/>
                </a:gdLst>
                <a:ahLst/>
                <a:cxnLst>
                  <a:cxn ang="0">
                    <a:pos x="T0" y="T1"/>
                  </a:cxn>
                  <a:cxn ang="0">
                    <a:pos x="T2" y="T3"/>
                  </a:cxn>
                  <a:cxn ang="0">
                    <a:pos x="T4" y="T5"/>
                  </a:cxn>
                  <a:cxn ang="0">
                    <a:pos x="T6" y="T7"/>
                  </a:cxn>
                </a:cxnLst>
                <a:rect l="0" t="0" r="r" b="b"/>
                <a:pathLst>
                  <a:path w="2" h="2">
                    <a:moveTo>
                      <a:pt x="2" y="2"/>
                    </a:moveTo>
                    <a:lnTo>
                      <a:pt x="2" y="0"/>
                    </a:lnTo>
                    <a:lnTo>
                      <a:pt x="0" y="2"/>
                    </a:lnTo>
                    <a:lnTo>
                      <a:pt x="2" y="2"/>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7" name="Freeform 192"/>
              <p:cNvSpPr>
                <a:spLocks/>
              </p:cNvSpPr>
              <p:nvPr/>
            </p:nvSpPr>
            <p:spPr bwMode="auto">
              <a:xfrm>
                <a:off x="3887" y="-2145"/>
                <a:ext cx="4" cy="3"/>
              </a:xfrm>
              <a:custGeom>
                <a:avLst/>
                <a:gdLst>
                  <a:gd name="T0" fmla="*/ 4 w 4"/>
                  <a:gd name="T1" fmla="*/ 1 h 3"/>
                  <a:gd name="T2" fmla="*/ 0 w 4"/>
                  <a:gd name="T3" fmla="*/ 0 h 3"/>
                  <a:gd name="T4" fmla="*/ 2 w 4"/>
                  <a:gd name="T5" fmla="*/ 3 h 3"/>
                  <a:gd name="T6" fmla="*/ 4 w 4"/>
                  <a:gd name="T7" fmla="*/ 1 h 3"/>
                </a:gdLst>
                <a:ahLst/>
                <a:cxnLst>
                  <a:cxn ang="0">
                    <a:pos x="T0" y="T1"/>
                  </a:cxn>
                  <a:cxn ang="0">
                    <a:pos x="T2" y="T3"/>
                  </a:cxn>
                  <a:cxn ang="0">
                    <a:pos x="T4" y="T5"/>
                  </a:cxn>
                  <a:cxn ang="0">
                    <a:pos x="T6" y="T7"/>
                  </a:cxn>
                </a:cxnLst>
                <a:rect l="0" t="0" r="r" b="b"/>
                <a:pathLst>
                  <a:path w="4" h="3">
                    <a:moveTo>
                      <a:pt x="4" y="1"/>
                    </a:moveTo>
                    <a:lnTo>
                      <a:pt x="0" y="0"/>
                    </a:lnTo>
                    <a:lnTo>
                      <a:pt x="2" y="3"/>
                    </a:lnTo>
                    <a:lnTo>
                      <a:pt x="4" y="1"/>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8" name="Freeform 193"/>
              <p:cNvSpPr>
                <a:spLocks/>
              </p:cNvSpPr>
              <p:nvPr/>
            </p:nvSpPr>
            <p:spPr bwMode="auto">
              <a:xfrm>
                <a:off x="3755" y="-2098"/>
                <a:ext cx="33" cy="34"/>
              </a:xfrm>
              <a:custGeom>
                <a:avLst/>
                <a:gdLst>
                  <a:gd name="T0" fmla="*/ 3 w 33"/>
                  <a:gd name="T1" fmla="*/ 28 h 34"/>
                  <a:gd name="T2" fmla="*/ 13 w 33"/>
                  <a:gd name="T3" fmla="*/ 34 h 34"/>
                  <a:gd name="T4" fmla="*/ 33 w 33"/>
                  <a:gd name="T5" fmla="*/ 19 h 34"/>
                  <a:gd name="T6" fmla="*/ 16 w 33"/>
                  <a:gd name="T7" fmla="*/ 0 h 34"/>
                  <a:gd name="T8" fmla="*/ 9 w 33"/>
                  <a:gd name="T9" fmla="*/ 4 h 34"/>
                  <a:gd name="T10" fmla="*/ 2 w 33"/>
                  <a:gd name="T11" fmla="*/ 15 h 34"/>
                  <a:gd name="T12" fmla="*/ 0 w 33"/>
                  <a:gd name="T13" fmla="*/ 28 h 34"/>
                  <a:gd name="T14" fmla="*/ 3 w 33"/>
                  <a:gd name="T15" fmla="*/ 34 h 34"/>
                  <a:gd name="T16" fmla="*/ 3 w 33"/>
                  <a:gd name="T17" fmla="*/ 2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4">
                    <a:moveTo>
                      <a:pt x="3" y="28"/>
                    </a:moveTo>
                    <a:lnTo>
                      <a:pt x="13" y="34"/>
                    </a:lnTo>
                    <a:lnTo>
                      <a:pt x="33" y="19"/>
                    </a:lnTo>
                    <a:lnTo>
                      <a:pt x="16" y="0"/>
                    </a:lnTo>
                    <a:lnTo>
                      <a:pt x="9" y="4"/>
                    </a:lnTo>
                    <a:lnTo>
                      <a:pt x="2" y="15"/>
                    </a:lnTo>
                    <a:lnTo>
                      <a:pt x="0" y="28"/>
                    </a:lnTo>
                    <a:lnTo>
                      <a:pt x="3" y="34"/>
                    </a:lnTo>
                    <a:lnTo>
                      <a:pt x="3" y="28"/>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9" name="Freeform 194"/>
              <p:cNvSpPr>
                <a:spLocks/>
              </p:cNvSpPr>
              <p:nvPr/>
            </p:nvSpPr>
            <p:spPr bwMode="auto">
              <a:xfrm>
                <a:off x="5263" y="-1417"/>
                <a:ext cx="15" cy="12"/>
              </a:xfrm>
              <a:custGeom>
                <a:avLst/>
                <a:gdLst>
                  <a:gd name="T0" fmla="*/ 8 w 15"/>
                  <a:gd name="T1" fmla="*/ 3 h 12"/>
                  <a:gd name="T2" fmla="*/ 0 w 15"/>
                  <a:gd name="T3" fmla="*/ 12 h 12"/>
                  <a:gd name="T4" fmla="*/ 15 w 15"/>
                  <a:gd name="T5" fmla="*/ 0 h 12"/>
                  <a:gd name="T6" fmla="*/ 8 w 15"/>
                  <a:gd name="T7" fmla="*/ 3 h 12"/>
                </a:gdLst>
                <a:ahLst/>
                <a:cxnLst>
                  <a:cxn ang="0">
                    <a:pos x="T0" y="T1"/>
                  </a:cxn>
                  <a:cxn ang="0">
                    <a:pos x="T2" y="T3"/>
                  </a:cxn>
                  <a:cxn ang="0">
                    <a:pos x="T4" y="T5"/>
                  </a:cxn>
                  <a:cxn ang="0">
                    <a:pos x="T6" y="T7"/>
                  </a:cxn>
                </a:cxnLst>
                <a:rect l="0" t="0" r="r" b="b"/>
                <a:pathLst>
                  <a:path w="15" h="12">
                    <a:moveTo>
                      <a:pt x="8" y="3"/>
                    </a:moveTo>
                    <a:lnTo>
                      <a:pt x="0" y="12"/>
                    </a:lnTo>
                    <a:lnTo>
                      <a:pt x="15" y="0"/>
                    </a:lnTo>
                    <a:lnTo>
                      <a:pt x="8" y="3"/>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0" name="Freeform 195"/>
              <p:cNvSpPr>
                <a:spLocks/>
              </p:cNvSpPr>
              <p:nvPr/>
            </p:nvSpPr>
            <p:spPr bwMode="auto">
              <a:xfrm>
                <a:off x="5534" y="-2119"/>
                <a:ext cx="23" cy="19"/>
              </a:xfrm>
              <a:custGeom>
                <a:avLst/>
                <a:gdLst>
                  <a:gd name="T0" fmla="*/ 21 w 23"/>
                  <a:gd name="T1" fmla="*/ 19 h 19"/>
                  <a:gd name="T2" fmla="*/ 23 w 23"/>
                  <a:gd name="T3" fmla="*/ 9 h 19"/>
                  <a:gd name="T4" fmla="*/ 4 w 23"/>
                  <a:gd name="T5" fmla="*/ 0 h 19"/>
                  <a:gd name="T6" fmla="*/ 0 w 23"/>
                  <a:gd name="T7" fmla="*/ 4 h 19"/>
                  <a:gd name="T8" fmla="*/ 11 w 23"/>
                  <a:gd name="T9" fmla="*/ 17 h 19"/>
                  <a:gd name="T10" fmla="*/ 21 w 23"/>
                  <a:gd name="T11" fmla="*/ 19 h 19"/>
                </a:gdLst>
                <a:ahLst/>
                <a:cxnLst>
                  <a:cxn ang="0">
                    <a:pos x="T0" y="T1"/>
                  </a:cxn>
                  <a:cxn ang="0">
                    <a:pos x="T2" y="T3"/>
                  </a:cxn>
                  <a:cxn ang="0">
                    <a:pos x="T4" y="T5"/>
                  </a:cxn>
                  <a:cxn ang="0">
                    <a:pos x="T6" y="T7"/>
                  </a:cxn>
                  <a:cxn ang="0">
                    <a:pos x="T8" y="T9"/>
                  </a:cxn>
                  <a:cxn ang="0">
                    <a:pos x="T10" y="T11"/>
                  </a:cxn>
                </a:cxnLst>
                <a:rect l="0" t="0" r="r" b="b"/>
                <a:pathLst>
                  <a:path w="23" h="19">
                    <a:moveTo>
                      <a:pt x="21" y="19"/>
                    </a:moveTo>
                    <a:lnTo>
                      <a:pt x="23" y="9"/>
                    </a:lnTo>
                    <a:lnTo>
                      <a:pt x="4" y="0"/>
                    </a:lnTo>
                    <a:lnTo>
                      <a:pt x="0" y="4"/>
                    </a:lnTo>
                    <a:lnTo>
                      <a:pt x="11" y="17"/>
                    </a:lnTo>
                    <a:lnTo>
                      <a:pt x="21" y="19"/>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1" name="Freeform 196"/>
              <p:cNvSpPr>
                <a:spLocks/>
              </p:cNvSpPr>
              <p:nvPr/>
            </p:nvSpPr>
            <p:spPr bwMode="auto">
              <a:xfrm>
                <a:off x="5349" y="-1518"/>
                <a:ext cx="13" cy="14"/>
              </a:xfrm>
              <a:custGeom>
                <a:avLst/>
                <a:gdLst>
                  <a:gd name="T0" fmla="*/ 0 w 13"/>
                  <a:gd name="T1" fmla="*/ 10 h 14"/>
                  <a:gd name="T2" fmla="*/ 0 w 13"/>
                  <a:gd name="T3" fmla="*/ 14 h 14"/>
                  <a:gd name="T4" fmla="*/ 10 w 13"/>
                  <a:gd name="T5" fmla="*/ 8 h 14"/>
                  <a:gd name="T6" fmla="*/ 13 w 13"/>
                  <a:gd name="T7" fmla="*/ 4 h 14"/>
                  <a:gd name="T8" fmla="*/ 11 w 13"/>
                  <a:gd name="T9" fmla="*/ 0 h 14"/>
                  <a:gd name="T10" fmla="*/ 0 w 13"/>
                  <a:gd name="T11" fmla="*/ 10 h 14"/>
                </a:gdLst>
                <a:ahLst/>
                <a:cxnLst>
                  <a:cxn ang="0">
                    <a:pos x="T0" y="T1"/>
                  </a:cxn>
                  <a:cxn ang="0">
                    <a:pos x="T2" y="T3"/>
                  </a:cxn>
                  <a:cxn ang="0">
                    <a:pos x="T4" y="T5"/>
                  </a:cxn>
                  <a:cxn ang="0">
                    <a:pos x="T6" y="T7"/>
                  </a:cxn>
                  <a:cxn ang="0">
                    <a:pos x="T8" y="T9"/>
                  </a:cxn>
                  <a:cxn ang="0">
                    <a:pos x="T10" y="T11"/>
                  </a:cxn>
                </a:cxnLst>
                <a:rect l="0" t="0" r="r" b="b"/>
                <a:pathLst>
                  <a:path w="13" h="14">
                    <a:moveTo>
                      <a:pt x="0" y="10"/>
                    </a:moveTo>
                    <a:lnTo>
                      <a:pt x="0" y="14"/>
                    </a:lnTo>
                    <a:lnTo>
                      <a:pt x="10" y="8"/>
                    </a:lnTo>
                    <a:lnTo>
                      <a:pt x="13" y="4"/>
                    </a:lnTo>
                    <a:lnTo>
                      <a:pt x="11" y="0"/>
                    </a:lnTo>
                    <a:lnTo>
                      <a:pt x="0" y="1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2" name="Freeform 197"/>
              <p:cNvSpPr>
                <a:spLocks/>
              </p:cNvSpPr>
              <p:nvPr/>
            </p:nvSpPr>
            <p:spPr bwMode="auto">
              <a:xfrm>
                <a:off x="5105" y="-2235"/>
                <a:ext cx="23" cy="10"/>
              </a:xfrm>
              <a:custGeom>
                <a:avLst/>
                <a:gdLst>
                  <a:gd name="T0" fmla="*/ 23 w 23"/>
                  <a:gd name="T1" fmla="*/ 0 h 10"/>
                  <a:gd name="T2" fmla="*/ 12 w 23"/>
                  <a:gd name="T3" fmla="*/ 0 h 10"/>
                  <a:gd name="T4" fmla="*/ 5 w 23"/>
                  <a:gd name="T5" fmla="*/ 0 h 10"/>
                  <a:gd name="T6" fmla="*/ 0 w 23"/>
                  <a:gd name="T7" fmla="*/ 10 h 10"/>
                  <a:gd name="T8" fmla="*/ 19 w 23"/>
                  <a:gd name="T9" fmla="*/ 10 h 10"/>
                  <a:gd name="T10" fmla="*/ 23 w 23"/>
                  <a:gd name="T11" fmla="*/ 0 h 10"/>
                </a:gdLst>
                <a:ahLst/>
                <a:cxnLst>
                  <a:cxn ang="0">
                    <a:pos x="T0" y="T1"/>
                  </a:cxn>
                  <a:cxn ang="0">
                    <a:pos x="T2" y="T3"/>
                  </a:cxn>
                  <a:cxn ang="0">
                    <a:pos x="T4" y="T5"/>
                  </a:cxn>
                  <a:cxn ang="0">
                    <a:pos x="T6" y="T7"/>
                  </a:cxn>
                  <a:cxn ang="0">
                    <a:pos x="T8" y="T9"/>
                  </a:cxn>
                  <a:cxn ang="0">
                    <a:pos x="T10" y="T11"/>
                  </a:cxn>
                </a:cxnLst>
                <a:rect l="0" t="0" r="r" b="b"/>
                <a:pathLst>
                  <a:path w="23" h="10">
                    <a:moveTo>
                      <a:pt x="23" y="0"/>
                    </a:moveTo>
                    <a:lnTo>
                      <a:pt x="12" y="0"/>
                    </a:lnTo>
                    <a:lnTo>
                      <a:pt x="5" y="0"/>
                    </a:lnTo>
                    <a:lnTo>
                      <a:pt x="0" y="10"/>
                    </a:lnTo>
                    <a:lnTo>
                      <a:pt x="19" y="10"/>
                    </a:lnTo>
                    <a:lnTo>
                      <a:pt x="23"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3" name="Freeform 198"/>
              <p:cNvSpPr>
                <a:spLocks/>
              </p:cNvSpPr>
              <p:nvPr/>
            </p:nvSpPr>
            <p:spPr bwMode="auto">
              <a:xfrm>
                <a:off x="5089" y="-2194"/>
                <a:ext cx="16" cy="14"/>
              </a:xfrm>
              <a:custGeom>
                <a:avLst/>
                <a:gdLst>
                  <a:gd name="T0" fmla="*/ 4 w 16"/>
                  <a:gd name="T1" fmla="*/ 14 h 14"/>
                  <a:gd name="T2" fmla="*/ 16 w 16"/>
                  <a:gd name="T3" fmla="*/ 7 h 14"/>
                  <a:gd name="T4" fmla="*/ 11 w 16"/>
                  <a:gd name="T5" fmla="*/ 0 h 14"/>
                  <a:gd name="T6" fmla="*/ 3 w 16"/>
                  <a:gd name="T7" fmla="*/ 6 h 14"/>
                  <a:gd name="T8" fmla="*/ 0 w 16"/>
                  <a:gd name="T9" fmla="*/ 14 h 14"/>
                  <a:gd name="T10" fmla="*/ 4 w 16"/>
                  <a:gd name="T11" fmla="*/ 14 h 14"/>
                </a:gdLst>
                <a:ahLst/>
                <a:cxnLst>
                  <a:cxn ang="0">
                    <a:pos x="T0" y="T1"/>
                  </a:cxn>
                  <a:cxn ang="0">
                    <a:pos x="T2" y="T3"/>
                  </a:cxn>
                  <a:cxn ang="0">
                    <a:pos x="T4" y="T5"/>
                  </a:cxn>
                  <a:cxn ang="0">
                    <a:pos x="T6" y="T7"/>
                  </a:cxn>
                  <a:cxn ang="0">
                    <a:pos x="T8" y="T9"/>
                  </a:cxn>
                  <a:cxn ang="0">
                    <a:pos x="T10" y="T11"/>
                  </a:cxn>
                </a:cxnLst>
                <a:rect l="0" t="0" r="r" b="b"/>
                <a:pathLst>
                  <a:path w="16" h="14">
                    <a:moveTo>
                      <a:pt x="4" y="14"/>
                    </a:moveTo>
                    <a:lnTo>
                      <a:pt x="16" y="7"/>
                    </a:lnTo>
                    <a:lnTo>
                      <a:pt x="11" y="0"/>
                    </a:lnTo>
                    <a:lnTo>
                      <a:pt x="3" y="6"/>
                    </a:lnTo>
                    <a:lnTo>
                      <a:pt x="0" y="14"/>
                    </a:lnTo>
                    <a:lnTo>
                      <a:pt x="4" y="14"/>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4" name="Freeform 199"/>
              <p:cNvSpPr>
                <a:spLocks/>
              </p:cNvSpPr>
              <p:nvPr/>
            </p:nvSpPr>
            <p:spPr bwMode="auto">
              <a:xfrm>
                <a:off x="5072" y="-2193"/>
                <a:ext cx="18" cy="9"/>
              </a:xfrm>
              <a:custGeom>
                <a:avLst/>
                <a:gdLst>
                  <a:gd name="T0" fmla="*/ 18 w 18"/>
                  <a:gd name="T1" fmla="*/ 4 h 9"/>
                  <a:gd name="T2" fmla="*/ 4 w 18"/>
                  <a:gd name="T3" fmla="*/ 0 h 9"/>
                  <a:gd name="T4" fmla="*/ 0 w 18"/>
                  <a:gd name="T5" fmla="*/ 4 h 9"/>
                  <a:gd name="T6" fmla="*/ 11 w 18"/>
                  <a:gd name="T7" fmla="*/ 9 h 9"/>
                  <a:gd name="T8" fmla="*/ 18 w 18"/>
                  <a:gd name="T9" fmla="*/ 4 h 9"/>
                </a:gdLst>
                <a:ahLst/>
                <a:cxnLst>
                  <a:cxn ang="0">
                    <a:pos x="T0" y="T1"/>
                  </a:cxn>
                  <a:cxn ang="0">
                    <a:pos x="T2" y="T3"/>
                  </a:cxn>
                  <a:cxn ang="0">
                    <a:pos x="T4" y="T5"/>
                  </a:cxn>
                  <a:cxn ang="0">
                    <a:pos x="T6" y="T7"/>
                  </a:cxn>
                  <a:cxn ang="0">
                    <a:pos x="T8" y="T9"/>
                  </a:cxn>
                </a:cxnLst>
                <a:rect l="0" t="0" r="r" b="b"/>
                <a:pathLst>
                  <a:path w="18" h="9">
                    <a:moveTo>
                      <a:pt x="18" y="4"/>
                    </a:moveTo>
                    <a:lnTo>
                      <a:pt x="4" y="0"/>
                    </a:lnTo>
                    <a:lnTo>
                      <a:pt x="0" y="4"/>
                    </a:lnTo>
                    <a:lnTo>
                      <a:pt x="11" y="9"/>
                    </a:lnTo>
                    <a:lnTo>
                      <a:pt x="18" y="4"/>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5" name="Freeform 200"/>
              <p:cNvSpPr>
                <a:spLocks/>
              </p:cNvSpPr>
              <p:nvPr/>
            </p:nvSpPr>
            <p:spPr bwMode="auto">
              <a:xfrm>
                <a:off x="5468" y="-1738"/>
                <a:ext cx="18" cy="21"/>
              </a:xfrm>
              <a:custGeom>
                <a:avLst/>
                <a:gdLst>
                  <a:gd name="T0" fmla="*/ 5 w 18"/>
                  <a:gd name="T1" fmla="*/ 5 h 21"/>
                  <a:gd name="T2" fmla="*/ 6 w 18"/>
                  <a:gd name="T3" fmla="*/ 7 h 21"/>
                  <a:gd name="T4" fmla="*/ 0 w 18"/>
                  <a:gd name="T5" fmla="*/ 21 h 21"/>
                  <a:gd name="T6" fmla="*/ 18 w 18"/>
                  <a:gd name="T7" fmla="*/ 7 h 21"/>
                  <a:gd name="T8" fmla="*/ 14 w 18"/>
                  <a:gd name="T9" fmla="*/ 0 h 21"/>
                  <a:gd name="T10" fmla="*/ 5 w 18"/>
                  <a:gd name="T11" fmla="*/ 5 h 21"/>
                </a:gdLst>
                <a:ahLst/>
                <a:cxnLst>
                  <a:cxn ang="0">
                    <a:pos x="T0" y="T1"/>
                  </a:cxn>
                  <a:cxn ang="0">
                    <a:pos x="T2" y="T3"/>
                  </a:cxn>
                  <a:cxn ang="0">
                    <a:pos x="T4" y="T5"/>
                  </a:cxn>
                  <a:cxn ang="0">
                    <a:pos x="T6" y="T7"/>
                  </a:cxn>
                  <a:cxn ang="0">
                    <a:pos x="T8" y="T9"/>
                  </a:cxn>
                  <a:cxn ang="0">
                    <a:pos x="T10" y="T11"/>
                  </a:cxn>
                </a:cxnLst>
                <a:rect l="0" t="0" r="r" b="b"/>
                <a:pathLst>
                  <a:path w="18" h="21">
                    <a:moveTo>
                      <a:pt x="5" y="5"/>
                    </a:moveTo>
                    <a:lnTo>
                      <a:pt x="6" y="7"/>
                    </a:lnTo>
                    <a:lnTo>
                      <a:pt x="0" y="21"/>
                    </a:lnTo>
                    <a:lnTo>
                      <a:pt x="18" y="7"/>
                    </a:lnTo>
                    <a:lnTo>
                      <a:pt x="14" y="0"/>
                    </a:lnTo>
                    <a:lnTo>
                      <a:pt x="5" y="5"/>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6" name="Freeform 201"/>
              <p:cNvSpPr>
                <a:spLocks/>
              </p:cNvSpPr>
              <p:nvPr/>
            </p:nvSpPr>
            <p:spPr bwMode="auto">
              <a:xfrm>
                <a:off x="5080" y="-1628"/>
                <a:ext cx="13" cy="14"/>
              </a:xfrm>
              <a:custGeom>
                <a:avLst/>
                <a:gdLst>
                  <a:gd name="T0" fmla="*/ 1 w 13"/>
                  <a:gd name="T1" fmla="*/ 9 h 14"/>
                  <a:gd name="T2" fmla="*/ 0 w 13"/>
                  <a:gd name="T3" fmla="*/ 11 h 14"/>
                  <a:gd name="T4" fmla="*/ 7 w 13"/>
                  <a:gd name="T5" fmla="*/ 14 h 14"/>
                  <a:gd name="T6" fmla="*/ 13 w 13"/>
                  <a:gd name="T7" fmla="*/ 3 h 14"/>
                  <a:gd name="T8" fmla="*/ 6 w 13"/>
                  <a:gd name="T9" fmla="*/ 0 h 14"/>
                  <a:gd name="T10" fmla="*/ 1 w 13"/>
                  <a:gd name="T11" fmla="*/ 9 h 14"/>
                </a:gdLst>
                <a:ahLst/>
                <a:cxnLst>
                  <a:cxn ang="0">
                    <a:pos x="T0" y="T1"/>
                  </a:cxn>
                  <a:cxn ang="0">
                    <a:pos x="T2" y="T3"/>
                  </a:cxn>
                  <a:cxn ang="0">
                    <a:pos x="T4" y="T5"/>
                  </a:cxn>
                  <a:cxn ang="0">
                    <a:pos x="T6" y="T7"/>
                  </a:cxn>
                  <a:cxn ang="0">
                    <a:pos x="T8" y="T9"/>
                  </a:cxn>
                  <a:cxn ang="0">
                    <a:pos x="T10" y="T11"/>
                  </a:cxn>
                </a:cxnLst>
                <a:rect l="0" t="0" r="r" b="b"/>
                <a:pathLst>
                  <a:path w="13" h="14">
                    <a:moveTo>
                      <a:pt x="1" y="9"/>
                    </a:moveTo>
                    <a:lnTo>
                      <a:pt x="0" y="11"/>
                    </a:lnTo>
                    <a:lnTo>
                      <a:pt x="7" y="14"/>
                    </a:lnTo>
                    <a:lnTo>
                      <a:pt x="13" y="3"/>
                    </a:lnTo>
                    <a:lnTo>
                      <a:pt x="6" y="0"/>
                    </a:lnTo>
                    <a:lnTo>
                      <a:pt x="1" y="9"/>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7" name="Freeform 202"/>
              <p:cNvSpPr>
                <a:spLocks/>
              </p:cNvSpPr>
              <p:nvPr/>
            </p:nvSpPr>
            <p:spPr bwMode="auto">
              <a:xfrm>
                <a:off x="5212" y="-1388"/>
                <a:ext cx="45" cy="194"/>
              </a:xfrm>
              <a:custGeom>
                <a:avLst/>
                <a:gdLst>
                  <a:gd name="T0" fmla="*/ 3 w 45"/>
                  <a:gd name="T1" fmla="*/ 21 h 194"/>
                  <a:gd name="T2" fmla="*/ 0 w 45"/>
                  <a:gd name="T3" fmla="*/ 50 h 194"/>
                  <a:gd name="T4" fmla="*/ 2 w 45"/>
                  <a:gd name="T5" fmla="*/ 65 h 194"/>
                  <a:gd name="T6" fmla="*/ 8 w 45"/>
                  <a:gd name="T7" fmla="*/ 76 h 194"/>
                  <a:gd name="T8" fmla="*/ 6 w 45"/>
                  <a:gd name="T9" fmla="*/ 89 h 194"/>
                  <a:gd name="T10" fmla="*/ 9 w 45"/>
                  <a:gd name="T11" fmla="*/ 105 h 194"/>
                  <a:gd name="T12" fmla="*/ 4 w 45"/>
                  <a:gd name="T13" fmla="*/ 135 h 194"/>
                  <a:gd name="T14" fmla="*/ 9 w 45"/>
                  <a:gd name="T15" fmla="*/ 149 h 194"/>
                  <a:gd name="T16" fmla="*/ 4 w 45"/>
                  <a:gd name="T17" fmla="*/ 178 h 194"/>
                  <a:gd name="T18" fmla="*/ 5 w 45"/>
                  <a:gd name="T19" fmla="*/ 193 h 194"/>
                  <a:gd name="T20" fmla="*/ 8 w 45"/>
                  <a:gd name="T21" fmla="*/ 194 h 194"/>
                  <a:gd name="T22" fmla="*/ 15 w 45"/>
                  <a:gd name="T23" fmla="*/ 178 h 194"/>
                  <a:gd name="T24" fmla="*/ 26 w 45"/>
                  <a:gd name="T25" fmla="*/ 182 h 194"/>
                  <a:gd name="T26" fmla="*/ 28 w 45"/>
                  <a:gd name="T27" fmla="*/ 193 h 194"/>
                  <a:gd name="T28" fmla="*/ 29 w 45"/>
                  <a:gd name="T29" fmla="*/ 188 h 194"/>
                  <a:gd name="T30" fmla="*/ 28 w 45"/>
                  <a:gd name="T31" fmla="*/ 177 h 194"/>
                  <a:gd name="T32" fmla="*/ 22 w 45"/>
                  <a:gd name="T33" fmla="*/ 174 h 194"/>
                  <a:gd name="T34" fmla="*/ 15 w 45"/>
                  <a:gd name="T35" fmla="*/ 158 h 194"/>
                  <a:gd name="T36" fmla="*/ 22 w 45"/>
                  <a:gd name="T37" fmla="*/ 124 h 194"/>
                  <a:gd name="T38" fmla="*/ 32 w 45"/>
                  <a:gd name="T39" fmla="*/ 120 h 194"/>
                  <a:gd name="T40" fmla="*/ 45 w 45"/>
                  <a:gd name="T41" fmla="*/ 134 h 194"/>
                  <a:gd name="T42" fmla="*/ 38 w 45"/>
                  <a:gd name="T43" fmla="*/ 119 h 194"/>
                  <a:gd name="T44" fmla="*/ 24 w 45"/>
                  <a:gd name="T45" fmla="*/ 68 h 194"/>
                  <a:gd name="T46" fmla="*/ 22 w 45"/>
                  <a:gd name="T47" fmla="*/ 51 h 194"/>
                  <a:gd name="T48" fmla="*/ 25 w 45"/>
                  <a:gd name="T49" fmla="*/ 38 h 194"/>
                  <a:gd name="T50" fmla="*/ 18 w 45"/>
                  <a:gd name="T51" fmla="*/ 5 h 194"/>
                  <a:gd name="T52" fmla="*/ 15 w 45"/>
                  <a:gd name="T53" fmla="*/ 0 h 194"/>
                  <a:gd name="T54" fmla="*/ 10 w 45"/>
                  <a:gd name="T55" fmla="*/ 1 h 194"/>
                  <a:gd name="T56" fmla="*/ 16 w 45"/>
                  <a:gd name="T57" fmla="*/ 15 h 194"/>
                  <a:gd name="T58" fmla="*/ 12 w 45"/>
                  <a:gd name="T59" fmla="*/ 22 h 194"/>
                  <a:gd name="T60" fmla="*/ 3 w 45"/>
                  <a:gd name="T61" fmla="*/ 21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5" h="194">
                    <a:moveTo>
                      <a:pt x="3" y="21"/>
                    </a:moveTo>
                    <a:lnTo>
                      <a:pt x="0" y="50"/>
                    </a:lnTo>
                    <a:lnTo>
                      <a:pt x="2" y="65"/>
                    </a:lnTo>
                    <a:lnTo>
                      <a:pt x="8" y="76"/>
                    </a:lnTo>
                    <a:lnTo>
                      <a:pt x="6" y="89"/>
                    </a:lnTo>
                    <a:lnTo>
                      <a:pt x="9" y="105"/>
                    </a:lnTo>
                    <a:lnTo>
                      <a:pt x="4" y="135"/>
                    </a:lnTo>
                    <a:lnTo>
                      <a:pt x="9" y="149"/>
                    </a:lnTo>
                    <a:lnTo>
                      <a:pt x="4" y="178"/>
                    </a:lnTo>
                    <a:lnTo>
                      <a:pt x="5" y="193"/>
                    </a:lnTo>
                    <a:lnTo>
                      <a:pt x="8" y="194"/>
                    </a:lnTo>
                    <a:lnTo>
                      <a:pt x="15" y="178"/>
                    </a:lnTo>
                    <a:lnTo>
                      <a:pt x="26" y="182"/>
                    </a:lnTo>
                    <a:lnTo>
                      <a:pt x="28" y="193"/>
                    </a:lnTo>
                    <a:lnTo>
                      <a:pt x="29" y="188"/>
                    </a:lnTo>
                    <a:lnTo>
                      <a:pt x="28" y="177"/>
                    </a:lnTo>
                    <a:lnTo>
                      <a:pt x="22" y="174"/>
                    </a:lnTo>
                    <a:lnTo>
                      <a:pt x="15" y="158"/>
                    </a:lnTo>
                    <a:lnTo>
                      <a:pt x="22" y="124"/>
                    </a:lnTo>
                    <a:lnTo>
                      <a:pt x="32" y="120"/>
                    </a:lnTo>
                    <a:lnTo>
                      <a:pt x="45" y="134"/>
                    </a:lnTo>
                    <a:lnTo>
                      <a:pt x="38" y="119"/>
                    </a:lnTo>
                    <a:lnTo>
                      <a:pt x="24" y="68"/>
                    </a:lnTo>
                    <a:lnTo>
                      <a:pt x="22" y="51"/>
                    </a:lnTo>
                    <a:lnTo>
                      <a:pt x="25" y="38"/>
                    </a:lnTo>
                    <a:lnTo>
                      <a:pt x="18" y="5"/>
                    </a:lnTo>
                    <a:lnTo>
                      <a:pt x="15" y="0"/>
                    </a:lnTo>
                    <a:lnTo>
                      <a:pt x="10" y="1"/>
                    </a:lnTo>
                    <a:lnTo>
                      <a:pt x="16" y="15"/>
                    </a:lnTo>
                    <a:lnTo>
                      <a:pt x="12" y="22"/>
                    </a:lnTo>
                    <a:lnTo>
                      <a:pt x="3" y="21"/>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8" name="Freeform 203"/>
              <p:cNvSpPr>
                <a:spLocks/>
              </p:cNvSpPr>
              <p:nvPr/>
            </p:nvSpPr>
            <p:spPr bwMode="auto">
              <a:xfrm>
                <a:off x="3367" y="-1735"/>
                <a:ext cx="13" cy="8"/>
              </a:xfrm>
              <a:custGeom>
                <a:avLst/>
                <a:gdLst>
                  <a:gd name="T0" fmla="*/ 5 w 13"/>
                  <a:gd name="T1" fmla="*/ 8 h 8"/>
                  <a:gd name="T2" fmla="*/ 13 w 13"/>
                  <a:gd name="T3" fmla="*/ 5 h 8"/>
                  <a:gd name="T4" fmla="*/ 10 w 13"/>
                  <a:gd name="T5" fmla="*/ 0 h 8"/>
                  <a:gd name="T6" fmla="*/ 0 w 13"/>
                  <a:gd name="T7" fmla="*/ 4 h 8"/>
                  <a:gd name="T8" fmla="*/ 5 w 13"/>
                  <a:gd name="T9" fmla="*/ 8 h 8"/>
                </a:gdLst>
                <a:ahLst/>
                <a:cxnLst>
                  <a:cxn ang="0">
                    <a:pos x="T0" y="T1"/>
                  </a:cxn>
                  <a:cxn ang="0">
                    <a:pos x="T2" y="T3"/>
                  </a:cxn>
                  <a:cxn ang="0">
                    <a:pos x="T4" y="T5"/>
                  </a:cxn>
                  <a:cxn ang="0">
                    <a:pos x="T6" y="T7"/>
                  </a:cxn>
                  <a:cxn ang="0">
                    <a:pos x="T8" y="T9"/>
                  </a:cxn>
                </a:cxnLst>
                <a:rect l="0" t="0" r="r" b="b"/>
                <a:pathLst>
                  <a:path w="13" h="8">
                    <a:moveTo>
                      <a:pt x="5" y="8"/>
                    </a:moveTo>
                    <a:lnTo>
                      <a:pt x="13" y="5"/>
                    </a:lnTo>
                    <a:lnTo>
                      <a:pt x="10" y="0"/>
                    </a:lnTo>
                    <a:lnTo>
                      <a:pt x="0" y="4"/>
                    </a:lnTo>
                    <a:lnTo>
                      <a:pt x="5" y="8"/>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9" name="Freeform 204"/>
              <p:cNvSpPr>
                <a:spLocks/>
              </p:cNvSpPr>
              <p:nvPr/>
            </p:nvSpPr>
            <p:spPr bwMode="auto">
              <a:xfrm>
                <a:off x="3364" y="-1723"/>
                <a:ext cx="21" cy="18"/>
              </a:xfrm>
              <a:custGeom>
                <a:avLst/>
                <a:gdLst>
                  <a:gd name="T0" fmla="*/ 0 w 21"/>
                  <a:gd name="T1" fmla="*/ 8 h 18"/>
                  <a:gd name="T2" fmla="*/ 4 w 21"/>
                  <a:gd name="T3" fmla="*/ 12 h 18"/>
                  <a:gd name="T4" fmla="*/ 4 w 21"/>
                  <a:gd name="T5" fmla="*/ 18 h 18"/>
                  <a:gd name="T6" fmla="*/ 7 w 21"/>
                  <a:gd name="T7" fmla="*/ 8 h 18"/>
                  <a:gd name="T8" fmla="*/ 21 w 21"/>
                  <a:gd name="T9" fmla="*/ 5 h 18"/>
                  <a:gd name="T10" fmla="*/ 18 w 21"/>
                  <a:gd name="T11" fmla="*/ 0 h 18"/>
                  <a:gd name="T12" fmla="*/ 0 w 21"/>
                  <a:gd name="T13" fmla="*/ 2 h 18"/>
                  <a:gd name="T14" fmla="*/ 0 w 21"/>
                  <a:gd name="T15" fmla="*/ 8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18">
                    <a:moveTo>
                      <a:pt x="0" y="8"/>
                    </a:moveTo>
                    <a:lnTo>
                      <a:pt x="4" y="12"/>
                    </a:lnTo>
                    <a:lnTo>
                      <a:pt x="4" y="18"/>
                    </a:lnTo>
                    <a:lnTo>
                      <a:pt x="7" y="8"/>
                    </a:lnTo>
                    <a:lnTo>
                      <a:pt x="21" y="5"/>
                    </a:lnTo>
                    <a:lnTo>
                      <a:pt x="18" y="0"/>
                    </a:lnTo>
                    <a:lnTo>
                      <a:pt x="0" y="2"/>
                    </a:lnTo>
                    <a:lnTo>
                      <a:pt x="0" y="8"/>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7" name="Freeform 206"/>
            <p:cNvSpPr>
              <a:spLocks/>
            </p:cNvSpPr>
            <p:nvPr/>
          </p:nvSpPr>
          <p:spPr bwMode="auto">
            <a:xfrm>
              <a:off x="11781018" y="11701349"/>
              <a:ext cx="34925" cy="12700"/>
            </a:xfrm>
            <a:custGeom>
              <a:avLst/>
              <a:gdLst>
                <a:gd name="T0" fmla="*/ 0 w 22"/>
                <a:gd name="T1" fmla="*/ 3 h 8"/>
                <a:gd name="T2" fmla="*/ 1 w 22"/>
                <a:gd name="T3" fmla="*/ 8 h 8"/>
                <a:gd name="T4" fmla="*/ 5 w 22"/>
                <a:gd name="T5" fmla="*/ 8 h 8"/>
                <a:gd name="T6" fmla="*/ 22 w 22"/>
                <a:gd name="T7" fmla="*/ 6 h 8"/>
                <a:gd name="T8" fmla="*/ 11 w 22"/>
                <a:gd name="T9" fmla="*/ 0 h 8"/>
                <a:gd name="T10" fmla="*/ 0 w 22"/>
                <a:gd name="T11" fmla="*/ 3 h 8"/>
              </a:gdLst>
              <a:ahLst/>
              <a:cxnLst>
                <a:cxn ang="0">
                  <a:pos x="T0" y="T1"/>
                </a:cxn>
                <a:cxn ang="0">
                  <a:pos x="T2" y="T3"/>
                </a:cxn>
                <a:cxn ang="0">
                  <a:pos x="T4" y="T5"/>
                </a:cxn>
                <a:cxn ang="0">
                  <a:pos x="T6" y="T7"/>
                </a:cxn>
                <a:cxn ang="0">
                  <a:pos x="T8" y="T9"/>
                </a:cxn>
                <a:cxn ang="0">
                  <a:pos x="T10" y="T11"/>
                </a:cxn>
              </a:cxnLst>
              <a:rect l="0" t="0" r="r" b="b"/>
              <a:pathLst>
                <a:path w="22" h="8">
                  <a:moveTo>
                    <a:pt x="0" y="3"/>
                  </a:moveTo>
                  <a:lnTo>
                    <a:pt x="1" y="8"/>
                  </a:lnTo>
                  <a:lnTo>
                    <a:pt x="5" y="8"/>
                  </a:lnTo>
                  <a:lnTo>
                    <a:pt x="22" y="6"/>
                  </a:lnTo>
                  <a:lnTo>
                    <a:pt x="11" y="0"/>
                  </a:lnTo>
                  <a:lnTo>
                    <a:pt x="0" y="3"/>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207"/>
            <p:cNvSpPr>
              <a:spLocks/>
            </p:cNvSpPr>
            <p:nvPr/>
          </p:nvSpPr>
          <p:spPr bwMode="auto">
            <a:xfrm>
              <a:off x="11228568" y="11056824"/>
              <a:ext cx="952500" cy="749300"/>
            </a:xfrm>
            <a:custGeom>
              <a:avLst/>
              <a:gdLst>
                <a:gd name="T0" fmla="*/ 558 w 600"/>
                <a:gd name="T1" fmla="*/ 181 h 472"/>
                <a:gd name="T2" fmla="*/ 543 w 600"/>
                <a:gd name="T3" fmla="*/ 183 h 472"/>
                <a:gd name="T4" fmla="*/ 531 w 600"/>
                <a:gd name="T5" fmla="*/ 148 h 472"/>
                <a:gd name="T6" fmla="*/ 502 w 600"/>
                <a:gd name="T7" fmla="*/ 133 h 472"/>
                <a:gd name="T8" fmla="*/ 486 w 600"/>
                <a:gd name="T9" fmla="*/ 95 h 472"/>
                <a:gd name="T10" fmla="*/ 458 w 600"/>
                <a:gd name="T11" fmla="*/ 57 h 472"/>
                <a:gd name="T12" fmla="*/ 444 w 600"/>
                <a:gd name="T13" fmla="*/ 19 h 472"/>
                <a:gd name="T14" fmla="*/ 432 w 600"/>
                <a:gd name="T15" fmla="*/ 5 h 472"/>
                <a:gd name="T16" fmla="*/ 422 w 600"/>
                <a:gd name="T17" fmla="*/ 68 h 472"/>
                <a:gd name="T18" fmla="*/ 388 w 600"/>
                <a:gd name="T19" fmla="*/ 101 h 472"/>
                <a:gd name="T20" fmla="*/ 346 w 600"/>
                <a:gd name="T21" fmla="*/ 82 h 472"/>
                <a:gd name="T22" fmla="*/ 336 w 600"/>
                <a:gd name="T23" fmla="*/ 47 h 472"/>
                <a:gd name="T24" fmla="*/ 346 w 600"/>
                <a:gd name="T25" fmla="*/ 39 h 472"/>
                <a:gd name="T26" fmla="*/ 347 w 600"/>
                <a:gd name="T27" fmla="*/ 26 h 472"/>
                <a:gd name="T28" fmla="*/ 336 w 600"/>
                <a:gd name="T29" fmla="*/ 23 h 472"/>
                <a:gd name="T30" fmla="*/ 311 w 600"/>
                <a:gd name="T31" fmla="*/ 23 h 472"/>
                <a:gd name="T32" fmla="*/ 290 w 600"/>
                <a:gd name="T33" fmla="*/ 14 h 472"/>
                <a:gd name="T34" fmla="*/ 276 w 600"/>
                <a:gd name="T35" fmla="*/ 10 h 472"/>
                <a:gd name="T36" fmla="*/ 279 w 600"/>
                <a:gd name="T37" fmla="*/ 26 h 472"/>
                <a:gd name="T38" fmla="*/ 259 w 600"/>
                <a:gd name="T39" fmla="*/ 29 h 472"/>
                <a:gd name="T40" fmla="*/ 253 w 600"/>
                <a:gd name="T41" fmla="*/ 43 h 472"/>
                <a:gd name="T42" fmla="*/ 244 w 600"/>
                <a:gd name="T43" fmla="*/ 65 h 472"/>
                <a:gd name="T44" fmla="*/ 223 w 600"/>
                <a:gd name="T45" fmla="*/ 68 h 472"/>
                <a:gd name="T46" fmla="*/ 203 w 600"/>
                <a:gd name="T47" fmla="*/ 49 h 472"/>
                <a:gd name="T48" fmla="*/ 186 w 600"/>
                <a:gd name="T49" fmla="*/ 62 h 472"/>
                <a:gd name="T50" fmla="*/ 174 w 600"/>
                <a:gd name="T51" fmla="*/ 66 h 472"/>
                <a:gd name="T52" fmla="*/ 165 w 600"/>
                <a:gd name="T53" fmla="*/ 87 h 472"/>
                <a:gd name="T54" fmla="*/ 153 w 600"/>
                <a:gd name="T55" fmla="*/ 85 h 472"/>
                <a:gd name="T56" fmla="*/ 153 w 600"/>
                <a:gd name="T57" fmla="*/ 105 h 472"/>
                <a:gd name="T58" fmla="*/ 132 w 600"/>
                <a:gd name="T59" fmla="*/ 104 h 472"/>
                <a:gd name="T60" fmla="*/ 114 w 600"/>
                <a:gd name="T61" fmla="*/ 136 h 472"/>
                <a:gd name="T62" fmla="*/ 65 w 600"/>
                <a:gd name="T63" fmla="*/ 154 h 472"/>
                <a:gd name="T64" fmla="*/ 19 w 600"/>
                <a:gd name="T65" fmla="*/ 173 h 472"/>
                <a:gd name="T66" fmla="*/ 8 w 600"/>
                <a:gd name="T67" fmla="*/ 180 h 472"/>
                <a:gd name="T68" fmla="*/ 15 w 600"/>
                <a:gd name="T69" fmla="*/ 241 h 472"/>
                <a:gd name="T70" fmla="*/ 6 w 600"/>
                <a:gd name="T71" fmla="*/ 250 h 472"/>
                <a:gd name="T72" fmla="*/ 15 w 600"/>
                <a:gd name="T73" fmla="*/ 272 h 472"/>
                <a:gd name="T74" fmla="*/ 38 w 600"/>
                <a:gd name="T75" fmla="*/ 362 h 472"/>
                <a:gd name="T76" fmla="*/ 35 w 600"/>
                <a:gd name="T77" fmla="*/ 382 h 472"/>
                <a:gd name="T78" fmla="*/ 76 w 600"/>
                <a:gd name="T79" fmla="*/ 393 h 472"/>
                <a:gd name="T80" fmla="*/ 155 w 600"/>
                <a:gd name="T81" fmla="*/ 373 h 472"/>
                <a:gd name="T82" fmla="*/ 238 w 600"/>
                <a:gd name="T83" fmla="*/ 334 h 472"/>
                <a:gd name="T84" fmla="*/ 290 w 600"/>
                <a:gd name="T85" fmla="*/ 341 h 472"/>
                <a:gd name="T86" fmla="*/ 311 w 600"/>
                <a:gd name="T87" fmla="*/ 357 h 472"/>
                <a:gd name="T88" fmla="*/ 327 w 600"/>
                <a:gd name="T89" fmla="*/ 385 h 472"/>
                <a:gd name="T90" fmla="*/ 346 w 600"/>
                <a:gd name="T91" fmla="*/ 379 h 472"/>
                <a:gd name="T92" fmla="*/ 369 w 600"/>
                <a:gd name="T93" fmla="*/ 362 h 472"/>
                <a:gd name="T94" fmla="*/ 354 w 600"/>
                <a:gd name="T95" fmla="*/ 393 h 472"/>
                <a:gd name="T96" fmla="*/ 376 w 600"/>
                <a:gd name="T97" fmla="*/ 390 h 472"/>
                <a:gd name="T98" fmla="*/ 388 w 600"/>
                <a:gd name="T99" fmla="*/ 407 h 472"/>
                <a:gd name="T100" fmla="*/ 399 w 600"/>
                <a:gd name="T101" fmla="*/ 439 h 472"/>
                <a:gd name="T102" fmla="*/ 435 w 600"/>
                <a:gd name="T103" fmla="*/ 458 h 472"/>
                <a:gd name="T104" fmla="*/ 471 w 600"/>
                <a:gd name="T105" fmla="*/ 447 h 472"/>
                <a:gd name="T106" fmla="*/ 482 w 600"/>
                <a:gd name="T107" fmla="*/ 460 h 472"/>
                <a:gd name="T108" fmla="*/ 493 w 600"/>
                <a:gd name="T109" fmla="*/ 464 h 472"/>
                <a:gd name="T110" fmla="*/ 548 w 600"/>
                <a:gd name="T111" fmla="*/ 441 h 472"/>
                <a:gd name="T112" fmla="*/ 568 w 600"/>
                <a:gd name="T113" fmla="*/ 374 h 472"/>
                <a:gd name="T114" fmla="*/ 600 w 600"/>
                <a:gd name="T115" fmla="*/ 286 h 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0" h="472">
                  <a:moveTo>
                    <a:pt x="594" y="237"/>
                  </a:moveTo>
                  <a:lnTo>
                    <a:pt x="583" y="218"/>
                  </a:lnTo>
                  <a:lnTo>
                    <a:pt x="561" y="199"/>
                  </a:lnTo>
                  <a:lnTo>
                    <a:pt x="558" y="181"/>
                  </a:lnTo>
                  <a:lnTo>
                    <a:pt x="556" y="185"/>
                  </a:lnTo>
                  <a:lnTo>
                    <a:pt x="549" y="176"/>
                  </a:lnTo>
                  <a:lnTo>
                    <a:pt x="547" y="182"/>
                  </a:lnTo>
                  <a:lnTo>
                    <a:pt x="543" y="183"/>
                  </a:lnTo>
                  <a:lnTo>
                    <a:pt x="539" y="167"/>
                  </a:lnTo>
                  <a:lnTo>
                    <a:pt x="534" y="157"/>
                  </a:lnTo>
                  <a:lnTo>
                    <a:pt x="529" y="154"/>
                  </a:lnTo>
                  <a:lnTo>
                    <a:pt x="531" y="148"/>
                  </a:lnTo>
                  <a:lnTo>
                    <a:pt x="521" y="142"/>
                  </a:lnTo>
                  <a:lnTo>
                    <a:pt x="512" y="141"/>
                  </a:lnTo>
                  <a:lnTo>
                    <a:pt x="510" y="133"/>
                  </a:lnTo>
                  <a:lnTo>
                    <a:pt x="502" y="133"/>
                  </a:lnTo>
                  <a:lnTo>
                    <a:pt x="493" y="128"/>
                  </a:lnTo>
                  <a:lnTo>
                    <a:pt x="493" y="122"/>
                  </a:lnTo>
                  <a:lnTo>
                    <a:pt x="490" y="120"/>
                  </a:lnTo>
                  <a:lnTo>
                    <a:pt x="486" y="95"/>
                  </a:lnTo>
                  <a:lnTo>
                    <a:pt x="482" y="91"/>
                  </a:lnTo>
                  <a:lnTo>
                    <a:pt x="478" y="66"/>
                  </a:lnTo>
                  <a:lnTo>
                    <a:pt x="467" y="56"/>
                  </a:lnTo>
                  <a:lnTo>
                    <a:pt x="458" y="57"/>
                  </a:lnTo>
                  <a:lnTo>
                    <a:pt x="454" y="56"/>
                  </a:lnTo>
                  <a:lnTo>
                    <a:pt x="448" y="30"/>
                  </a:lnTo>
                  <a:lnTo>
                    <a:pt x="444" y="25"/>
                  </a:lnTo>
                  <a:lnTo>
                    <a:pt x="444" y="19"/>
                  </a:lnTo>
                  <a:lnTo>
                    <a:pt x="440" y="16"/>
                  </a:lnTo>
                  <a:lnTo>
                    <a:pt x="440" y="5"/>
                  </a:lnTo>
                  <a:lnTo>
                    <a:pt x="438" y="0"/>
                  </a:lnTo>
                  <a:lnTo>
                    <a:pt x="432" y="5"/>
                  </a:lnTo>
                  <a:lnTo>
                    <a:pt x="422" y="26"/>
                  </a:lnTo>
                  <a:lnTo>
                    <a:pt x="425" y="30"/>
                  </a:lnTo>
                  <a:lnTo>
                    <a:pt x="421" y="45"/>
                  </a:lnTo>
                  <a:lnTo>
                    <a:pt x="422" y="68"/>
                  </a:lnTo>
                  <a:lnTo>
                    <a:pt x="417" y="91"/>
                  </a:lnTo>
                  <a:lnTo>
                    <a:pt x="411" y="105"/>
                  </a:lnTo>
                  <a:lnTo>
                    <a:pt x="400" y="109"/>
                  </a:lnTo>
                  <a:lnTo>
                    <a:pt x="388" y="101"/>
                  </a:lnTo>
                  <a:lnTo>
                    <a:pt x="383" y="95"/>
                  </a:lnTo>
                  <a:lnTo>
                    <a:pt x="370" y="91"/>
                  </a:lnTo>
                  <a:lnTo>
                    <a:pt x="357" y="81"/>
                  </a:lnTo>
                  <a:lnTo>
                    <a:pt x="346" y="82"/>
                  </a:lnTo>
                  <a:lnTo>
                    <a:pt x="344" y="72"/>
                  </a:lnTo>
                  <a:lnTo>
                    <a:pt x="333" y="66"/>
                  </a:lnTo>
                  <a:lnTo>
                    <a:pt x="340" y="46"/>
                  </a:lnTo>
                  <a:lnTo>
                    <a:pt x="336" y="47"/>
                  </a:lnTo>
                  <a:lnTo>
                    <a:pt x="339" y="40"/>
                  </a:lnTo>
                  <a:lnTo>
                    <a:pt x="342" y="43"/>
                  </a:lnTo>
                  <a:lnTo>
                    <a:pt x="342" y="38"/>
                  </a:lnTo>
                  <a:lnTo>
                    <a:pt x="346" y="39"/>
                  </a:lnTo>
                  <a:lnTo>
                    <a:pt x="348" y="37"/>
                  </a:lnTo>
                  <a:lnTo>
                    <a:pt x="346" y="33"/>
                  </a:lnTo>
                  <a:lnTo>
                    <a:pt x="352" y="26"/>
                  </a:lnTo>
                  <a:lnTo>
                    <a:pt x="347" y="26"/>
                  </a:lnTo>
                  <a:lnTo>
                    <a:pt x="346" y="20"/>
                  </a:lnTo>
                  <a:lnTo>
                    <a:pt x="339" y="30"/>
                  </a:lnTo>
                  <a:lnTo>
                    <a:pt x="339" y="23"/>
                  </a:lnTo>
                  <a:lnTo>
                    <a:pt x="336" y="23"/>
                  </a:lnTo>
                  <a:lnTo>
                    <a:pt x="337" y="20"/>
                  </a:lnTo>
                  <a:lnTo>
                    <a:pt x="327" y="25"/>
                  </a:lnTo>
                  <a:lnTo>
                    <a:pt x="320" y="21"/>
                  </a:lnTo>
                  <a:lnTo>
                    <a:pt x="311" y="23"/>
                  </a:lnTo>
                  <a:lnTo>
                    <a:pt x="304" y="18"/>
                  </a:lnTo>
                  <a:lnTo>
                    <a:pt x="295" y="16"/>
                  </a:lnTo>
                  <a:lnTo>
                    <a:pt x="291" y="12"/>
                  </a:lnTo>
                  <a:lnTo>
                    <a:pt x="290" y="14"/>
                  </a:lnTo>
                  <a:lnTo>
                    <a:pt x="283" y="8"/>
                  </a:lnTo>
                  <a:lnTo>
                    <a:pt x="282" y="10"/>
                  </a:lnTo>
                  <a:lnTo>
                    <a:pt x="279" y="7"/>
                  </a:lnTo>
                  <a:lnTo>
                    <a:pt x="276" y="10"/>
                  </a:lnTo>
                  <a:lnTo>
                    <a:pt x="278" y="11"/>
                  </a:lnTo>
                  <a:lnTo>
                    <a:pt x="288" y="16"/>
                  </a:lnTo>
                  <a:lnTo>
                    <a:pt x="288" y="23"/>
                  </a:lnTo>
                  <a:lnTo>
                    <a:pt x="279" y="26"/>
                  </a:lnTo>
                  <a:lnTo>
                    <a:pt x="265" y="25"/>
                  </a:lnTo>
                  <a:lnTo>
                    <a:pt x="263" y="27"/>
                  </a:lnTo>
                  <a:lnTo>
                    <a:pt x="263" y="32"/>
                  </a:lnTo>
                  <a:lnTo>
                    <a:pt x="259" y="29"/>
                  </a:lnTo>
                  <a:lnTo>
                    <a:pt x="252" y="32"/>
                  </a:lnTo>
                  <a:lnTo>
                    <a:pt x="252" y="39"/>
                  </a:lnTo>
                  <a:lnTo>
                    <a:pt x="253" y="39"/>
                  </a:lnTo>
                  <a:lnTo>
                    <a:pt x="253" y="43"/>
                  </a:lnTo>
                  <a:lnTo>
                    <a:pt x="248" y="44"/>
                  </a:lnTo>
                  <a:lnTo>
                    <a:pt x="240" y="57"/>
                  </a:lnTo>
                  <a:lnTo>
                    <a:pt x="245" y="64"/>
                  </a:lnTo>
                  <a:lnTo>
                    <a:pt x="244" y="65"/>
                  </a:lnTo>
                  <a:lnTo>
                    <a:pt x="244" y="69"/>
                  </a:lnTo>
                  <a:lnTo>
                    <a:pt x="237" y="64"/>
                  </a:lnTo>
                  <a:lnTo>
                    <a:pt x="227" y="64"/>
                  </a:lnTo>
                  <a:lnTo>
                    <a:pt x="223" y="68"/>
                  </a:lnTo>
                  <a:lnTo>
                    <a:pt x="218" y="76"/>
                  </a:lnTo>
                  <a:lnTo>
                    <a:pt x="222" y="62"/>
                  </a:lnTo>
                  <a:lnTo>
                    <a:pt x="213" y="53"/>
                  </a:lnTo>
                  <a:lnTo>
                    <a:pt x="203" y="49"/>
                  </a:lnTo>
                  <a:lnTo>
                    <a:pt x="192" y="53"/>
                  </a:lnTo>
                  <a:lnTo>
                    <a:pt x="190" y="50"/>
                  </a:lnTo>
                  <a:lnTo>
                    <a:pt x="190" y="59"/>
                  </a:lnTo>
                  <a:lnTo>
                    <a:pt x="186" y="62"/>
                  </a:lnTo>
                  <a:lnTo>
                    <a:pt x="186" y="59"/>
                  </a:lnTo>
                  <a:lnTo>
                    <a:pt x="178" y="60"/>
                  </a:lnTo>
                  <a:lnTo>
                    <a:pt x="180" y="68"/>
                  </a:lnTo>
                  <a:lnTo>
                    <a:pt x="174" y="66"/>
                  </a:lnTo>
                  <a:lnTo>
                    <a:pt x="175" y="72"/>
                  </a:lnTo>
                  <a:lnTo>
                    <a:pt x="168" y="75"/>
                  </a:lnTo>
                  <a:lnTo>
                    <a:pt x="169" y="78"/>
                  </a:lnTo>
                  <a:lnTo>
                    <a:pt x="165" y="87"/>
                  </a:lnTo>
                  <a:lnTo>
                    <a:pt x="167" y="90"/>
                  </a:lnTo>
                  <a:lnTo>
                    <a:pt x="162" y="89"/>
                  </a:lnTo>
                  <a:lnTo>
                    <a:pt x="159" y="84"/>
                  </a:lnTo>
                  <a:lnTo>
                    <a:pt x="153" y="85"/>
                  </a:lnTo>
                  <a:lnTo>
                    <a:pt x="153" y="91"/>
                  </a:lnTo>
                  <a:lnTo>
                    <a:pt x="156" y="98"/>
                  </a:lnTo>
                  <a:lnTo>
                    <a:pt x="154" y="98"/>
                  </a:lnTo>
                  <a:lnTo>
                    <a:pt x="153" y="105"/>
                  </a:lnTo>
                  <a:lnTo>
                    <a:pt x="143" y="88"/>
                  </a:lnTo>
                  <a:lnTo>
                    <a:pt x="142" y="92"/>
                  </a:lnTo>
                  <a:lnTo>
                    <a:pt x="135" y="97"/>
                  </a:lnTo>
                  <a:lnTo>
                    <a:pt x="132" y="104"/>
                  </a:lnTo>
                  <a:lnTo>
                    <a:pt x="135" y="113"/>
                  </a:lnTo>
                  <a:lnTo>
                    <a:pt x="128" y="120"/>
                  </a:lnTo>
                  <a:lnTo>
                    <a:pt x="123" y="130"/>
                  </a:lnTo>
                  <a:lnTo>
                    <a:pt x="114" y="136"/>
                  </a:lnTo>
                  <a:lnTo>
                    <a:pt x="94" y="143"/>
                  </a:lnTo>
                  <a:lnTo>
                    <a:pt x="87" y="143"/>
                  </a:lnTo>
                  <a:lnTo>
                    <a:pt x="82" y="147"/>
                  </a:lnTo>
                  <a:lnTo>
                    <a:pt x="65" y="154"/>
                  </a:lnTo>
                  <a:lnTo>
                    <a:pt x="51" y="152"/>
                  </a:lnTo>
                  <a:lnTo>
                    <a:pt x="39" y="160"/>
                  </a:lnTo>
                  <a:lnTo>
                    <a:pt x="32" y="168"/>
                  </a:lnTo>
                  <a:lnTo>
                    <a:pt x="19" y="173"/>
                  </a:lnTo>
                  <a:lnTo>
                    <a:pt x="13" y="183"/>
                  </a:lnTo>
                  <a:lnTo>
                    <a:pt x="12" y="170"/>
                  </a:lnTo>
                  <a:lnTo>
                    <a:pt x="11" y="173"/>
                  </a:lnTo>
                  <a:lnTo>
                    <a:pt x="8" y="180"/>
                  </a:lnTo>
                  <a:lnTo>
                    <a:pt x="8" y="198"/>
                  </a:lnTo>
                  <a:lnTo>
                    <a:pt x="3" y="207"/>
                  </a:lnTo>
                  <a:lnTo>
                    <a:pt x="3" y="214"/>
                  </a:lnTo>
                  <a:lnTo>
                    <a:pt x="15" y="241"/>
                  </a:lnTo>
                  <a:lnTo>
                    <a:pt x="11" y="246"/>
                  </a:lnTo>
                  <a:lnTo>
                    <a:pt x="8" y="241"/>
                  </a:lnTo>
                  <a:lnTo>
                    <a:pt x="10" y="249"/>
                  </a:lnTo>
                  <a:lnTo>
                    <a:pt x="6" y="250"/>
                  </a:lnTo>
                  <a:lnTo>
                    <a:pt x="3" y="245"/>
                  </a:lnTo>
                  <a:lnTo>
                    <a:pt x="0" y="243"/>
                  </a:lnTo>
                  <a:lnTo>
                    <a:pt x="11" y="258"/>
                  </a:lnTo>
                  <a:lnTo>
                    <a:pt x="15" y="272"/>
                  </a:lnTo>
                  <a:lnTo>
                    <a:pt x="25" y="293"/>
                  </a:lnTo>
                  <a:lnTo>
                    <a:pt x="28" y="312"/>
                  </a:lnTo>
                  <a:lnTo>
                    <a:pt x="38" y="335"/>
                  </a:lnTo>
                  <a:lnTo>
                    <a:pt x="38" y="362"/>
                  </a:lnTo>
                  <a:lnTo>
                    <a:pt x="35" y="369"/>
                  </a:lnTo>
                  <a:lnTo>
                    <a:pt x="29" y="369"/>
                  </a:lnTo>
                  <a:lnTo>
                    <a:pt x="29" y="381"/>
                  </a:lnTo>
                  <a:lnTo>
                    <a:pt x="35" y="382"/>
                  </a:lnTo>
                  <a:lnTo>
                    <a:pt x="44" y="392"/>
                  </a:lnTo>
                  <a:lnTo>
                    <a:pt x="70" y="396"/>
                  </a:lnTo>
                  <a:lnTo>
                    <a:pt x="71" y="393"/>
                  </a:lnTo>
                  <a:lnTo>
                    <a:pt x="76" y="393"/>
                  </a:lnTo>
                  <a:lnTo>
                    <a:pt x="86" y="385"/>
                  </a:lnTo>
                  <a:lnTo>
                    <a:pt x="93" y="385"/>
                  </a:lnTo>
                  <a:lnTo>
                    <a:pt x="102" y="374"/>
                  </a:lnTo>
                  <a:lnTo>
                    <a:pt x="155" y="373"/>
                  </a:lnTo>
                  <a:lnTo>
                    <a:pt x="162" y="360"/>
                  </a:lnTo>
                  <a:lnTo>
                    <a:pt x="192" y="346"/>
                  </a:lnTo>
                  <a:lnTo>
                    <a:pt x="222" y="343"/>
                  </a:lnTo>
                  <a:lnTo>
                    <a:pt x="238" y="334"/>
                  </a:lnTo>
                  <a:lnTo>
                    <a:pt x="264" y="333"/>
                  </a:lnTo>
                  <a:lnTo>
                    <a:pt x="276" y="335"/>
                  </a:lnTo>
                  <a:lnTo>
                    <a:pt x="285" y="343"/>
                  </a:lnTo>
                  <a:lnTo>
                    <a:pt x="290" y="341"/>
                  </a:lnTo>
                  <a:lnTo>
                    <a:pt x="301" y="346"/>
                  </a:lnTo>
                  <a:lnTo>
                    <a:pt x="301" y="343"/>
                  </a:lnTo>
                  <a:lnTo>
                    <a:pt x="313" y="351"/>
                  </a:lnTo>
                  <a:lnTo>
                    <a:pt x="311" y="357"/>
                  </a:lnTo>
                  <a:lnTo>
                    <a:pt x="321" y="362"/>
                  </a:lnTo>
                  <a:lnTo>
                    <a:pt x="330" y="382"/>
                  </a:lnTo>
                  <a:lnTo>
                    <a:pt x="331" y="388"/>
                  </a:lnTo>
                  <a:lnTo>
                    <a:pt x="327" y="385"/>
                  </a:lnTo>
                  <a:lnTo>
                    <a:pt x="327" y="388"/>
                  </a:lnTo>
                  <a:lnTo>
                    <a:pt x="339" y="395"/>
                  </a:lnTo>
                  <a:lnTo>
                    <a:pt x="339" y="388"/>
                  </a:lnTo>
                  <a:lnTo>
                    <a:pt x="346" y="379"/>
                  </a:lnTo>
                  <a:lnTo>
                    <a:pt x="357" y="372"/>
                  </a:lnTo>
                  <a:lnTo>
                    <a:pt x="365" y="357"/>
                  </a:lnTo>
                  <a:lnTo>
                    <a:pt x="366" y="350"/>
                  </a:lnTo>
                  <a:lnTo>
                    <a:pt x="369" y="362"/>
                  </a:lnTo>
                  <a:lnTo>
                    <a:pt x="368" y="368"/>
                  </a:lnTo>
                  <a:lnTo>
                    <a:pt x="361" y="379"/>
                  </a:lnTo>
                  <a:lnTo>
                    <a:pt x="361" y="393"/>
                  </a:lnTo>
                  <a:lnTo>
                    <a:pt x="354" y="393"/>
                  </a:lnTo>
                  <a:lnTo>
                    <a:pt x="353" y="399"/>
                  </a:lnTo>
                  <a:lnTo>
                    <a:pt x="365" y="398"/>
                  </a:lnTo>
                  <a:lnTo>
                    <a:pt x="370" y="381"/>
                  </a:lnTo>
                  <a:lnTo>
                    <a:pt x="376" y="390"/>
                  </a:lnTo>
                  <a:lnTo>
                    <a:pt x="376" y="399"/>
                  </a:lnTo>
                  <a:lnTo>
                    <a:pt x="372" y="406"/>
                  </a:lnTo>
                  <a:lnTo>
                    <a:pt x="389" y="401"/>
                  </a:lnTo>
                  <a:lnTo>
                    <a:pt x="388" y="407"/>
                  </a:lnTo>
                  <a:lnTo>
                    <a:pt x="394" y="417"/>
                  </a:lnTo>
                  <a:lnTo>
                    <a:pt x="396" y="424"/>
                  </a:lnTo>
                  <a:lnTo>
                    <a:pt x="395" y="431"/>
                  </a:lnTo>
                  <a:lnTo>
                    <a:pt x="399" y="439"/>
                  </a:lnTo>
                  <a:lnTo>
                    <a:pt x="406" y="448"/>
                  </a:lnTo>
                  <a:lnTo>
                    <a:pt x="421" y="457"/>
                  </a:lnTo>
                  <a:lnTo>
                    <a:pt x="426" y="454"/>
                  </a:lnTo>
                  <a:lnTo>
                    <a:pt x="435" y="458"/>
                  </a:lnTo>
                  <a:lnTo>
                    <a:pt x="450" y="465"/>
                  </a:lnTo>
                  <a:lnTo>
                    <a:pt x="469" y="453"/>
                  </a:lnTo>
                  <a:lnTo>
                    <a:pt x="465" y="451"/>
                  </a:lnTo>
                  <a:lnTo>
                    <a:pt x="471" y="447"/>
                  </a:lnTo>
                  <a:lnTo>
                    <a:pt x="474" y="452"/>
                  </a:lnTo>
                  <a:lnTo>
                    <a:pt x="471" y="457"/>
                  </a:lnTo>
                  <a:lnTo>
                    <a:pt x="479" y="454"/>
                  </a:lnTo>
                  <a:lnTo>
                    <a:pt x="482" y="460"/>
                  </a:lnTo>
                  <a:lnTo>
                    <a:pt x="495" y="472"/>
                  </a:lnTo>
                  <a:lnTo>
                    <a:pt x="497" y="466"/>
                  </a:lnTo>
                  <a:lnTo>
                    <a:pt x="493" y="467"/>
                  </a:lnTo>
                  <a:lnTo>
                    <a:pt x="493" y="464"/>
                  </a:lnTo>
                  <a:lnTo>
                    <a:pt x="500" y="464"/>
                  </a:lnTo>
                  <a:lnTo>
                    <a:pt x="521" y="448"/>
                  </a:lnTo>
                  <a:lnTo>
                    <a:pt x="538" y="446"/>
                  </a:lnTo>
                  <a:lnTo>
                    <a:pt x="548" y="441"/>
                  </a:lnTo>
                  <a:lnTo>
                    <a:pt x="551" y="409"/>
                  </a:lnTo>
                  <a:lnTo>
                    <a:pt x="557" y="398"/>
                  </a:lnTo>
                  <a:lnTo>
                    <a:pt x="558" y="399"/>
                  </a:lnTo>
                  <a:lnTo>
                    <a:pt x="568" y="374"/>
                  </a:lnTo>
                  <a:lnTo>
                    <a:pt x="567" y="370"/>
                  </a:lnTo>
                  <a:lnTo>
                    <a:pt x="584" y="349"/>
                  </a:lnTo>
                  <a:lnTo>
                    <a:pt x="591" y="330"/>
                  </a:lnTo>
                  <a:lnTo>
                    <a:pt x="600" y="286"/>
                  </a:lnTo>
                  <a:lnTo>
                    <a:pt x="594" y="259"/>
                  </a:lnTo>
                  <a:lnTo>
                    <a:pt x="594" y="23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Freeform 208"/>
            <p:cNvSpPr>
              <a:spLocks/>
            </p:cNvSpPr>
            <p:nvPr/>
          </p:nvSpPr>
          <p:spPr bwMode="auto">
            <a:xfrm>
              <a:off x="12055656" y="11842637"/>
              <a:ext cx="6350" cy="3175"/>
            </a:xfrm>
            <a:custGeom>
              <a:avLst/>
              <a:gdLst>
                <a:gd name="T0" fmla="*/ 0 w 4"/>
                <a:gd name="T1" fmla="*/ 2 h 2"/>
                <a:gd name="T2" fmla="*/ 4 w 4"/>
                <a:gd name="T3" fmla="*/ 2 h 2"/>
                <a:gd name="T4" fmla="*/ 2 w 4"/>
                <a:gd name="T5" fmla="*/ 0 h 2"/>
                <a:gd name="T6" fmla="*/ 0 w 4"/>
                <a:gd name="T7" fmla="*/ 2 h 2"/>
              </a:gdLst>
              <a:ahLst/>
              <a:cxnLst>
                <a:cxn ang="0">
                  <a:pos x="T0" y="T1"/>
                </a:cxn>
                <a:cxn ang="0">
                  <a:pos x="T2" y="T3"/>
                </a:cxn>
                <a:cxn ang="0">
                  <a:pos x="T4" y="T5"/>
                </a:cxn>
                <a:cxn ang="0">
                  <a:pos x="T6" y="T7"/>
                </a:cxn>
              </a:cxnLst>
              <a:rect l="0" t="0" r="r" b="b"/>
              <a:pathLst>
                <a:path w="4" h="2">
                  <a:moveTo>
                    <a:pt x="0" y="2"/>
                  </a:moveTo>
                  <a:lnTo>
                    <a:pt x="4" y="2"/>
                  </a:lnTo>
                  <a:lnTo>
                    <a:pt x="2" y="0"/>
                  </a:lnTo>
                  <a:lnTo>
                    <a:pt x="0" y="2"/>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Freeform 209"/>
            <p:cNvSpPr>
              <a:spLocks/>
            </p:cNvSpPr>
            <p:nvPr/>
          </p:nvSpPr>
          <p:spPr bwMode="auto">
            <a:xfrm>
              <a:off x="11777843" y="11131436"/>
              <a:ext cx="11113" cy="14288"/>
            </a:xfrm>
            <a:custGeom>
              <a:avLst/>
              <a:gdLst>
                <a:gd name="T0" fmla="*/ 0 w 7"/>
                <a:gd name="T1" fmla="*/ 0 h 9"/>
                <a:gd name="T2" fmla="*/ 1 w 7"/>
                <a:gd name="T3" fmla="*/ 9 h 9"/>
                <a:gd name="T4" fmla="*/ 7 w 7"/>
                <a:gd name="T5" fmla="*/ 6 h 9"/>
                <a:gd name="T6" fmla="*/ 4 w 7"/>
                <a:gd name="T7" fmla="*/ 0 h 9"/>
                <a:gd name="T8" fmla="*/ 0 w 7"/>
                <a:gd name="T9" fmla="*/ 0 h 9"/>
              </a:gdLst>
              <a:ahLst/>
              <a:cxnLst>
                <a:cxn ang="0">
                  <a:pos x="T0" y="T1"/>
                </a:cxn>
                <a:cxn ang="0">
                  <a:pos x="T2" y="T3"/>
                </a:cxn>
                <a:cxn ang="0">
                  <a:pos x="T4" y="T5"/>
                </a:cxn>
                <a:cxn ang="0">
                  <a:pos x="T6" y="T7"/>
                </a:cxn>
                <a:cxn ang="0">
                  <a:pos x="T8" y="T9"/>
                </a:cxn>
              </a:cxnLst>
              <a:rect l="0" t="0" r="r" b="b"/>
              <a:pathLst>
                <a:path w="7" h="9">
                  <a:moveTo>
                    <a:pt x="0" y="0"/>
                  </a:moveTo>
                  <a:lnTo>
                    <a:pt x="1" y="9"/>
                  </a:lnTo>
                  <a:lnTo>
                    <a:pt x="7" y="6"/>
                  </a:lnTo>
                  <a:lnTo>
                    <a:pt x="4" y="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Freeform 210"/>
            <p:cNvSpPr>
              <a:spLocks/>
            </p:cNvSpPr>
            <p:nvPr/>
          </p:nvSpPr>
          <p:spPr bwMode="auto">
            <a:xfrm>
              <a:off x="11633381" y="11069524"/>
              <a:ext cx="25400" cy="17463"/>
            </a:xfrm>
            <a:custGeom>
              <a:avLst/>
              <a:gdLst>
                <a:gd name="T0" fmla="*/ 16 w 16"/>
                <a:gd name="T1" fmla="*/ 5 h 11"/>
                <a:gd name="T2" fmla="*/ 13 w 16"/>
                <a:gd name="T3" fmla="*/ 0 h 11"/>
                <a:gd name="T4" fmla="*/ 4 w 16"/>
                <a:gd name="T5" fmla="*/ 4 h 11"/>
                <a:gd name="T6" fmla="*/ 0 w 16"/>
                <a:gd name="T7" fmla="*/ 0 h 11"/>
                <a:gd name="T8" fmla="*/ 2 w 16"/>
                <a:gd name="T9" fmla="*/ 6 h 11"/>
                <a:gd name="T10" fmla="*/ 8 w 16"/>
                <a:gd name="T11" fmla="*/ 11 h 11"/>
                <a:gd name="T12" fmla="*/ 16 w 16"/>
                <a:gd name="T13" fmla="*/ 5 h 11"/>
              </a:gdLst>
              <a:ahLst/>
              <a:cxnLst>
                <a:cxn ang="0">
                  <a:pos x="T0" y="T1"/>
                </a:cxn>
                <a:cxn ang="0">
                  <a:pos x="T2" y="T3"/>
                </a:cxn>
                <a:cxn ang="0">
                  <a:pos x="T4" y="T5"/>
                </a:cxn>
                <a:cxn ang="0">
                  <a:pos x="T6" y="T7"/>
                </a:cxn>
                <a:cxn ang="0">
                  <a:pos x="T8" y="T9"/>
                </a:cxn>
                <a:cxn ang="0">
                  <a:pos x="T10" y="T11"/>
                </a:cxn>
                <a:cxn ang="0">
                  <a:pos x="T12" y="T13"/>
                </a:cxn>
              </a:cxnLst>
              <a:rect l="0" t="0" r="r" b="b"/>
              <a:pathLst>
                <a:path w="16" h="11">
                  <a:moveTo>
                    <a:pt x="16" y="5"/>
                  </a:moveTo>
                  <a:lnTo>
                    <a:pt x="13" y="0"/>
                  </a:lnTo>
                  <a:lnTo>
                    <a:pt x="4" y="4"/>
                  </a:lnTo>
                  <a:lnTo>
                    <a:pt x="0" y="0"/>
                  </a:lnTo>
                  <a:lnTo>
                    <a:pt x="2" y="6"/>
                  </a:lnTo>
                  <a:lnTo>
                    <a:pt x="8" y="11"/>
                  </a:lnTo>
                  <a:lnTo>
                    <a:pt x="16" y="5"/>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Freeform 211"/>
            <p:cNvSpPr>
              <a:spLocks/>
            </p:cNvSpPr>
            <p:nvPr/>
          </p:nvSpPr>
          <p:spPr bwMode="auto">
            <a:xfrm>
              <a:off x="11625443" y="11075874"/>
              <a:ext cx="11113" cy="9525"/>
            </a:xfrm>
            <a:custGeom>
              <a:avLst/>
              <a:gdLst>
                <a:gd name="T0" fmla="*/ 0 w 7"/>
                <a:gd name="T1" fmla="*/ 4 h 6"/>
                <a:gd name="T2" fmla="*/ 1 w 7"/>
                <a:gd name="T3" fmla="*/ 6 h 6"/>
                <a:gd name="T4" fmla="*/ 7 w 7"/>
                <a:gd name="T5" fmla="*/ 6 h 6"/>
                <a:gd name="T6" fmla="*/ 2 w 7"/>
                <a:gd name="T7" fmla="*/ 0 h 6"/>
                <a:gd name="T8" fmla="*/ 0 w 7"/>
                <a:gd name="T9" fmla="*/ 4 h 6"/>
              </a:gdLst>
              <a:ahLst/>
              <a:cxnLst>
                <a:cxn ang="0">
                  <a:pos x="T0" y="T1"/>
                </a:cxn>
                <a:cxn ang="0">
                  <a:pos x="T2" y="T3"/>
                </a:cxn>
                <a:cxn ang="0">
                  <a:pos x="T4" y="T5"/>
                </a:cxn>
                <a:cxn ang="0">
                  <a:pos x="T6" y="T7"/>
                </a:cxn>
                <a:cxn ang="0">
                  <a:pos x="T8" y="T9"/>
                </a:cxn>
              </a:cxnLst>
              <a:rect l="0" t="0" r="r" b="b"/>
              <a:pathLst>
                <a:path w="7" h="6">
                  <a:moveTo>
                    <a:pt x="0" y="4"/>
                  </a:moveTo>
                  <a:lnTo>
                    <a:pt x="1" y="6"/>
                  </a:lnTo>
                  <a:lnTo>
                    <a:pt x="7" y="6"/>
                  </a:lnTo>
                  <a:lnTo>
                    <a:pt x="2" y="0"/>
                  </a:lnTo>
                  <a:lnTo>
                    <a:pt x="0" y="4"/>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Freeform 212"/>
            <p:cNvSpPr>
              <a:spLocks/>
            </p:cNvSpPr>
            <p:nvPr/>
          </p:nvSpPr>
          <p:spPr bwMode="auto">
            <a:xfrm>
              <a:off x="11844518" y="11196524"/>
              <a:ext cx="12700" cy="6350"/>
            </a:xfrm>
            <a:custGeom>
              <a:avLst/>
              <a:gdLst>
                <a:gd name="T0" fmla="*/ 0 w 8"/>
                <a:gd name="T1" fmla="*/ 4 h 4"/>
                <a:gd name="T2" fmla="*/ 8 w 8"/>
                <a:gd name="T3" fmla="*/ 2 h 4"/>
                <a:gd name="T4" fmla="*/ 5 w 8"/>
                <a:gd name="T5" fmla="*/ 0 h 4"/>
                <a:gd name="T6" fmla="*/ 0 w 8"/>
                <a:gd name="T7" fmla="*/ 3 h 4"/>
                <a:gd name="T8" fmla="*/ 0 w 8"/>
                <a:gd name="T9" fmla="*/ 4 h 4"/>
              </a:gdLst>
              <a:ahLst/>
              <a:cxnLst>
                <a:cxn ang="0">
                  <a:pos x="T0" y="T1"/>
                </a:cxn>
                <a:cxn ang="0">
                  <a:pos x="T2" y="T3"/>
                </a:cxn>
                <a:cxn ang="0">
                  <a:pos x="T4" y="T5"/>
                </a:cxn>
                <a:cxn ang="0">
                  <a:pos x="T6" y="T7"/>
                </a:cxn>
                <a:cxn ang="0">
                  <a:pos x="T8" y="T9"/>
                </a:cxn>
              </a:cxnLst>
              <a:rect l="0" t="0" r="r" b="b"/>
              <a:pathLst>
                <a:path w="8" h="4">
                  <a:moveTo>
                    <a:pt x="0" y="4"/>
                  </a:moveTo>
                  <a:lnTo>
                    <a:pt x="8" y="2"/>
                  </a:lnTo>
                  <a:lnTo>
                    <a:pt x="5" y="0"/>
                  </a:lnTo>
                  <a:lnTo>
                    <a:pt x="0" y="3"/>
                  </a:lnTo>
                  <a:lnTo>
                    <a:pt x="0" y="4"/>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Freeform 213"/>
            <p:cNvSpPr>
              <a:spLocks/>
            </p:cNvSpPr>
            <p:nvPr/>
          </p:nvSpPr>
          <p:spPr bwMode="auto">
            <a:xfrm>
              <a:off x="12171543" y="11404486"/>
              <a:ext cx="4763" cy="22225"/>
            </a:xfrm>
            <a:custGeom>
              <a:avLst/>
              <a:gdLst>
                <a:gd name="T0" fmla="*/ 3 w 3"/>
                <a:gd name="T1" fmla="*/ 7 h 14"/>
                <a:gd name="T2" fmla="*/ 1 w 3"/>
                <a:gd name="T3" fmla="*/ 0 h 14"/>
                <a:gd name="T4" fmla="*/ 0 w 3"/>
                <a:gd name="T5" fmla="*/ 14 h 14"/>
                <a:gd name="T6" fmla="*/ 3 w 3"/>
                <a:gd name="T7" fmla="*/ 7 h 14"/>
              </a:gdLst>
              <a:ahLst/>
              <a:cxnLst>
                <a:cxn ang="0">
                  <a:pos x="T0" y="T1"/>
                </a:cxn>
                <a:cxn ang="0">
                  <a:pos x="T2" y="T3"/>
                </a:cxn>
                <a:cxn ang="0">
                  <a:pos x="T4" y="T5"/>
                </a:cxn>
                <a:cxn ang="0">
                  <a:pos x="T6" y="T7"/>
                </a:cxn>
              </a:cxnLst>
              <a:rect l="0" t="0" r="r" b="b"/>
              <a:pathLst>
                <a:path w="3" h="14">
                  <a:moveTo>
                    <a:pt x="3" y="7"/>
                  </a:moveTo>
                  <a:lnTo>
                    <a:pt x="1" y="0"/>
                  </a:lnTo>
                  <a:lnTo>
                    <a:pt x="0" y="14"/>
                  </a:lnTo>
                  <a:lnTo>
                    <a:pt x="3" y="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Freeform 214"/>
            <p:cNvSpPr>
              <a:spLocks/>
            </p:cNvSpPr>
            <p:nvPr/>
          </p:nvSpPr>
          <p:spPr bwMode="auto">
            <a:xfrm>
              <a:off x="12049306" y="11825174"/>
              <a:ext cx="9525" cy="14288"/>
            </a:xfrm>
            <a:custGeom>
              <a:avLst/>
              <a:gdLst>
                <a:gd name="T0" fmla="*/ 6 w 6"/>
                <a:gd name="T1" fmla="*/ 8 h 9"/>
                <a:gd name="T2" fmla="*/ 6 w 6"/>
                <a:gd name="T3" fmla="*/ 3 h 9"/>
                <a:gd name="T4" fmla="*/ 0 w 6"/>
                <a:gd name="T5" fmla="*/ 0 h 9"/>
                <a:gd name="T6" fmla="*/ 4 w 6"/>
                <a:gd name="T7" fmla="*/ 9 h 9"/>
                <a:gd name="T8" fmla="*/ 6 w 6"/>
                <a:gd name="T9" fmla="*/ 8 h 9"/>
              </a:gdLst>
              <a:ahLst/>
              <a:cxnLst>
                <a:cxn ang="0">
                  <a:pos x="T0" y="T1"/>
                </a:cxn>
                <a:cxn ang="0">
                  <a:pos x="T2" y="T3"/>
                </a:cxn>
                <a:cxn ang="0">
                  <a:pos x="T4" y="T5"/>
                </a:cxn>
                <a:cxn ang="0">
                  <a:pos x="T6" y="T7"/>
                </a:cxn>
                <a:cxn ang="0">
                  <a:pos x="T8" y="T9"/>
                </a:cxn>
              </a:cxnLst>
              <a:rect l="0" t="0" r="r" b="b"/>
              <a:pathLst>
                <a:path w="6" h="9">
                  <a:moveTo>
                    <a:pt x="6" y="8"/>
                  </a:moveTo>
                  <a:lnTo>
                    <a:pt x="6" y="3"/>
                  </a:lnTo>
                  <a:lnTo>
                    <a:pt x="0" y="0"/>
                  </a:lnTo>
                  <a:lnTo>
                    <a:pt x="4" y="9"/>
                  </a:lnTo>
                  <a:lnTo>
                    <a:pt x="6" y="8"/>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Freeform 215"/>
            <p:cNvSpPr>
              <a:spLocks/>
            </p:cNvSpPr>
            <p:nvPr/>
          </p:nvSpPr>
          <p:spPr bwMode="auto">
            <a:xfrm>
              <a:off x="11976281" y="11853749"/>
              <a:ext cx="82550" cy="92075"/>
            </a:xfrm>
            <a:custGeom>
              <a:avLst/>
              <a:gdLst>
                <a:gd name="T0" fmla="*/ 26 w 52"/>
                <a:gd name="T1" fmla="*/ 8 h 58"/>
                <a:gd name="T2" fmla="*/ 0 w 52"/>
                <a:gd name="T3" fmla="*/ 0 h 58"/>
                <a:gd name="T4" fmla="*/ 0 w 52"/>
                <a:gd name="T5" fmla="*/ 10 h 58"/>
                <a:gd name="T6" fmla="*/ 11 w 52"/>
                <a:gd name="T7" fmla="*/ 30 h 58"/>
                <a:gd name="T8" fmla="*/ 8 w 52"/>
                <a:gd name="T9" fmla="*/ 34 h 58"/>
                <a:gd name="T10" fmla="*/ 6 w 52"/>
                <a:gd name="T11" fmla="*/ 28 h 58"/>
                <a:gd name="T12" fmla="*/ 8 w 52"/>
                <a:gd name="T13" fmla="*/ 41 h 58"/>
                <a:gd name="T14" fmla="*/ 15 w 52"/>
                <a:gd name="T15" fmla="*/ 49 h 58"/>
                <a:gd name="T16" fmla="*/ 21 w 52"/>
                <a:gd name="T17" fmla="*/ 52 h 58"/>
                <a:gd name="T18" fmla="*/ 19 w 52"/>
                <a:gd name="T19" fmla="*/ 55 h 58"/>
                <a:gd name="T20" fmla="*/ 31 w 52"/>
                <a:gd name="T21" fmla="*/ 58 h 58"/>
                <a:gd name="T22" fmla="*/ 33 w 52"/>
                <a:gd name="T23" fmla="*/ 49 h 58"/>
                <a:gd name="T24" fmla="*/ 38 w 52"/>
                <a:gd name="T25" fmla="*/ 51 h 58"/>
                <a:gd name="T26" fmla="*/ 41 w 52"/>
                <a:gd name="T27" fmla="*/ 41 h 58"/>
                <a:gd name="T28" fmla="*/ 46 w 52"/>
                <a:gd name="T29" fmla="*/ 41 h 58"/>
                <a:gd name="T30" fmla="*/ 52 w 52"/>
                <a:gd name="T31" fmla="*/ 26 h 58"/>
                <a:gd name="T32" fmla="*/ 52 w 52"/>
                <a:gd name="T33" fmla="*/ 11 h 58"/>
                <a:gd name="T34" fmla="*/ 48 w 52"/>
                <a:gd name="T35" fmla="*/ 2 h 58"/>
                <a:gd name="T36" fmla="*/ 26 w 52"/>
                <a:gd name="T37" fmla="*/ 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2" h="58">
                  <a:moveTo>
                    <a:pt x="26" y="8"/>
                  </a:moveTo>
                  <a:lnTo>
                    <a:pt x="0" y="0"/>
                  </a:lnTo>
                  <a:lnTo>
                    <a:pt x="0" y="10"/>
                  </a:lnTo>
                  <a:lnTo>
                    <a:pt x="11" y="30"/>
                  </a:lnTo>
                  <a:lnTo>
                    <a:pt x="8" y="34"/>
                  </a:lnTo>
                  <a:lnTo>
                    <a:pt x="6" y="28"/>
                  </a:lnTo>
                  <a:lnTo>
                    <a:pt x="8" y="41"/>
                  </a:lnTo>
                  <a:lnTo>
                    <a:pt x="15" y="49"/>
                  </a:lnTo>
                  <a:lnTo>
                    <a:pt x="21" y="52"/>
                  </a:lnTo>
                  <a:lnTo>
                    <a:pt x="19" y="55"/>
                  </a:lnTo>
                  <a:lnTo>
                    <a:pt x="31" y="58"/>
                  </a:lnTo>
                  <a:lnTo>
                    <a:pt x="33" y="49"/>
                  </a:lnTo>
                  <a:lnTo>
                    <a:pt x="38" y="51"/>
                  </a:lnTo>
                  <a:lnTo>
                    <a:pt x="41" y="41"/>
                  </a:lnTo>
                  <a:lnTo>
                    <a:pt x="46" y="41"/>
                  </a:lnTo>
                  <a:lnTo>
                    <a:pt x="52" y="26"/>
                  </a:lnTo>
                  <a:lnTo>
                    <a:pt x="52" y="11"/>
                  </a:lnTo>
                  <a:lnTo>
                    <a:pt x="48" y="2"/>
                  </a:lnTo>
                  <a:lnTo>
                    <a:pt x="26" y="8"/>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Freeform 216"/>
            <p:cNvSpPr>
              <a:spLocks/>
            </p:cNvSpPr>
            <p:nvPr/>
          </p:nvSpPr>
          <p:spPr bwMode="auto">
            <a:xfrm>
              <a:off x="12109631" y="11025074"/>
              <a:ext cx="11113" cy="9525"/>
            </a:xfrm>
            <a:custGeom>
              <a:avLst/>
              <a:gdLst>
                <a:gd name="T0" fmla="*/ 1 w 7"/>
                <a:gd name="T1" fmla="*/ 5 h 6"/>
                <a:gd name="T2" fmla="*/ 7 w 7"/>
                <a:gd name="T3" fmla="*/ 6 h 6"/>
                <a:gd name="T4" fmla="*/ 6 w 7"/>
                <a:gd name="T5" fmla="*/ 2 h 6"/>
                <a:gd name="T6" fmla="*/ 0 w 7"/>
                <a:gd name="T7" fmla="*/ 0 h 6"/>
                <a:gd name="T8" fmla="*/ 1 w 7"/>
                <a:gd name="T9" fmla="*/ 5 h 6"/>
              </a:gdLst>
              <a:ahLst/>
              <a:cxnLst>
                <a:cxn ang="0">
                  <a:pos x="T0" y="T1"/>
                </a:cxn>
                <a:cxn ang="0">
                  <a:pos x="T2" y="T3"/>
                </a:cxn>
                <a:cxn ang="0">
                  <a:pos x="T4" y="T5"/>
                </a:cxn>
                <a:cxn ang="0">
                  <a:pos x="T6" y="T7"/>
                </a:cxn>
                <a:cxn ang="0">
                  <a:pos x="T8" y="T9"/>
                </a:cxn>
              </a:cxnLst>
              <a:rect l="0" t="0" r="r" b="b"/>
              <a:pathLst>
                <a:path w="7" h="6">
                  <a:moveTo>
                    <a:pt x="1" y="5"/>
                  </a:moveTo>
                  <a:lnTo>
                    <a:pt x="7" y="6"/>
                  </a:lnTo>
                  <a:lnTo>
                    <a:pt x="6" y="2"/>
                  </a:lnTo>
                  <a:lnTo>
                    <a:pt x="0" y="0"/>
                  </a:lnTo>
                  <a:lnTo>
                    <a:pt x="1" y="5"/>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Freeform 217"/>
            <p:cNvSpPr>
              <a:spLocks/>
            </p:cNvSpPr>
            <p:nvPr/>
          </p:nvSpPr>
          <p:spPr bwMode="auto">
            <a:xfrm>
              <a:off x="12058831" y="10904424"/>
              <a:ext cx="95250" cy="49213"/>
            </a:xfrm>
            <a:custGeom>
              <a:avLst/>
              <a:gdLst>
                <a:gd name="T0" fmla="*/ 3 w 60"/>
                <a:gd name="T1" fmla="*/ 24 h 31"/>
                <a:gd name="T2" fmla="*/ 13 w 60"/>
                <a:gd name="T3" fmla="*/ 29 h 31"/>
                <a:gd name="T4" fmla="*/ 16 w 60"/>
                <a:gd name="T5" fmla="*/ 29 h 31"/>
                <a:gd name="T6" fmla="*/ 21 w 60"/>
                <a:gd name="T7" fmla="*/ 31 h 31"/>
                <a:gd name="T8" fmla="*/ 35 w 60"/>
                <a:gd name="T9" fmla="*/ 31 h 31"/>
                <a:gd name="T10" fmla="*/ 45 w 60"/>
                <a:gd name="T11" fmla="*/ 26 h 31"/>
                <a:gd name="T12" fmla="*/ 50 w 60"/>
                <a:gd name="T13" fmla="*/ 20 h 31"/>
                <a:gd name="T14" fmla="*/ 54 w 60"/>
                <a:gd name="T15" fmla="*/ 20 h 31"/>
                <a:gd name="T16" fmla="*/ 60 w 60"/>
                <a:gd name="T17" fmla="*/ 4 h 31"/>
                <a:gd name="T18" fmla="*/ 57 w 60"/>
                <a:gd name="T19" fmla="*/ 0 h 31"/>
                <a:gd name="T20" fmla="*/ 48 w 60"/>
                <a:gd name="T21" fmla="*/ 2 h 31"/>
                <a:gd name="T22" fmla="*/ 50 w 60"/>
                <a:gd name="T23" fmla="*/ 10 h 31"/>
                <a:gd name="T24" fmla="*/ 35 w 60"/>
                <a:gd name="T25" fmla="*/ 19 h 31"/>
                <a:gd name="T26" fmla="*/ 26 w 60"/>
                <a:gd name="T27" fmla="*/ 18 h 31"/>
                <a:gd name="T28" fmla="*/ 27 w 60"/>
                <a:gd name="T29" fmla="*/ 12 h 31"/>
                <a:gd name="T30" fmla="*/ 21 w 60"/>
                <a:gd name="T31" fmla="*/ 20 h 31"/>
                <a:gd name="T32" fmla="*/ 0 w 60"/>
                <a:gd name="T33" fmla="*/ 20 h 31"/>
                <a:gd name="T34" fmla="*/ 3 w 60"/>
                <a:gd name="T35" fmla="*/ 2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 h="31">
                  <a:moveTo>
                    <a:pt x="3" y="24"/>
                  </a:moveTo>
                  <a:lnTo>
                    <a:pt x="13" y="29"/>
                  </a:lnTo>
                  <a:lnTo>
                    <a:pt x="16" y="29"/>
                  </a:lnTo>
                  <a:lnTo>
                    <a:pt x="21" y="31"/>
                  </a:lnTo>
                  <a:lnTo>
                    <a:pt x="35" y="31"/>
                  </a:lnTo>
                  <a:lnTo>
                    <a:pt x="45" y="26"/>
                  </a:lnTo>
                  <a:lnTo>
                    <a:pt x="50" y="20"/>
                  </a:lnTo>
                  <a:lnTo>
                    <a:pt x="54" y="20"/>
                  </a:lnTo>
                  <a:lnTo>
                    <a:pt x="60" y="4"/>
                  </a:lnTo>
                  <a:lnTo>
                    <a:pt x="57" y="0"/>
                  </a:lnTo>
                  <a:lnTo>
                    <a:pt x="48" y="2"/>
                  </a:lnTo>
                  <a:lnTo>
                    <a:pt x="50" y="10"/>
                  </a:lnTo>
                  <a:lnTo>
                    <a:pt x="35" y="19"/>
                  </a:lnTo>
                  <a:lnTo>
                    <a:pt x="26" y="18"/>
                  </a:lnTo>
                  <a:lnTo>
                    <a:pt x="27" y="12"/>
                  </a:lnTo>
                  <a:lnTo>
                    <a:pt x="21" y="20"/>
                  </a:lnTo>
                  <a:lnTo>
                    <a:pt x="0" y="20"/>
                  </a:lnTo>
                  <a:lnTo>
                    <a:pt x="3" y="24"/>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Freeform 218"/>
            <p:cNvSpPr>
              <a:spLocks/>
            </p:cNvSpPr>
            <p:nvPr/>
          </p:nvSpPr>
          <p:spPr bwMode="auto">
            <a:xfrm>
              <a:off x="12046131" y="10936174"/>
              <a:ext cx="6350" cy="6350"/>
            </a:xfrm>
            <a:custGeom>
              <a:avLst/>
              <a:gdLst>
                <a:gd name="T0" fmla="*/ 4 w 4"/>
                <a:gd name="T1" fmla="*/ 0 h 4"/>
                <a:gd name="T2" fmla="*/ 0 w 4"/>
                <a:gd name="T3" fmla="*/ 0 h 4"/>
                <a:gd name="T4" fmla="*/ 4 w 4"/>
                <a:gd name="T5" fmla="*/ 4 h 4"/>
                <a:gd name="T6" fmla="*/ 4 w 4"/>
                <a:gd name="T7" fmla="*/ 0 h 4"/>
              </a:gdLst>
              <a:ahLst/>
              <a:cxnLst>
                <a:cxn ang="0">
                  <a:pos x="T0" y="T1"/>
                </a:cxn>
                <a:cxn ang="0">
                  <a:pos x="T2" y="T3"/>
                </a:cxn>
                <a:cxn ang="0">
                  <a:pos x="T4" y="T5"/>
                </a:cxn>
                <a:cxn ang="0">
                  <a:pos x="T6" y="T7"/>
                </a:cxn>
              </a:cxnLst>
              <a:rect l="0" t="0" r="r" b="b"/>
              <a:pathLst>
                <a:path w="4" h="4">
                  <a:moveTo>
                    <a:pt x="4" y="0"/>
                  </a:moveTo>
                  <a:lnTo>
                    <a:pt x="0" y="0"/>
                  </a:lnTo>
                  <a:lnTo>
                    <a:pt x="4" y="4"/>
                  </a:lnTo>
                  <a:lnTo>
                    <a:pt x="4"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Freeform 219"/>
            <p:cNvSpPr>
              <a:spLocks/>
            </p:cNvSpPr>
            <p:nvPr/>
          </p:nvSpPr>
          <p:spPr bwMode="auto">
            <a:xfrm>
              <a:off x="12154081" y="10890136"/>
              <a:ext cx="19050" cy="28575"/>
            </a:xfrm>
            <a:custGeom>
              <a:avLst/>
              <a:gdLst>
                <a:gd name="T0" fmla="*/ 0 w 12"/>
                <a:gd name="T1" fmla="*/ 0 h 18"/>
                <a:gd name="T2" fmla="*/ 7 w 12"/>
                <a:gd name="T3" fmla="*/ 18 h 18"/>
                <a:gd name="T4" fmla="*/ 8 w 12"/>
                <a:gd name="T5" fmla="*/ 18 h 18"/>
                <a:gd name="T6" fmla="*/ 12 w 12"/>
                <a:gd name="T7" fmla="*/ 11 h 18"/>
                <a:gd name="T8" fmla="*/ 8 w 12"/>
                <a:gd name="T9" fmla="*/ 6 h 18"/>
                <a:gd name="T10" fmla="*/ 0 w 12"/>
                <a:gd name="T11" fmla="*/ 0 h 18"/>
              </a:gdLst>
              <a:ahLst/>
              <a:cxnLst>
                <a:cxn ang="0">
                  <a:pos x="T0" y="T1"/>
                </a:cxn>
                <a:cxn ang="0">
                  <a:pos x="T2" y="T3"/>
                </a:cxn>
                <a:cxn ang="0">
                  <a:pos x="T4" y="T5"/>
                </a:cxn>
                <a:cxn ang="0">
                  <a:pos x="T6" y="T7"/>
                </a:cxn>
                <a:cxn ang="0">
                  <a:pos x="T8" y="T9"/>
                </a:cxn>
                <a:cxn ang="0">
                  <a:pos x="T10" y="T11"/>
                </a:cxn>
              </a:cxnLst>
              <a:rect l="0" t="0" r="r" b="b"/>
              <a:pathLst>
                <a:path w="12" h="18">
                  <a:moveTo>
                    <a:pt x="0" y="0"/>
                  </a:moveTo>
                  <a:lnTo>
                    <a:pt x="7" y="18"/>
                  </a:lnTo>
                  <a:lnTo>
                    <a:pt x="8" y="18"/>
                  </a:lnTo>
                  <a:lnTo>
                    <a:pt x="12" y="11"/>
                  </a:lnTo>
                  <a:lnTo>
                    <a:pt x="8" y="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Freeform 220"/>
            <p:cNvSpPr>
              <a:spLocks/>
            </p:cNvSpPr>
            <p:nvPr/>
          </p:nvSpPr>
          <p:spPr bwMode="auto">
            <a:xfrm>
              <a:off x="11323818" y="10537711"/>
              <a:ext cx="53975" cy="68263"/>
            </a:xfrm>
            <a:custGeom>
              <a:avLst/>
              <a:gdLst>
                <a:gd name="T0" fmla="*/ 27 w 34"/>
                <a:gd name="T1" fmla="*/ 14 h 43"/>
                <a:gd name="T2" fmla="*/ 2 w 34"/>
                <a:gd name="T3" fmla="*/ 36 h 43"/>
                <a:gd name="T4" fmla="*/ 0 w 34"/>
                <a:gd name="T5" fmla="*/ 43 h 43"/>
                <a:gd name="T6" fmla="*/ 9 w 34"/>
                <a:gd name="T7" fmla="*/ 37 h 43"/>
                <a:gd name="T8" fmla="*/ 22 w 34"/>
                <a:gd name="T9" fmla="*/ 26 h 43"/>
                <a:gd name="T10" fmla="*/ 22 w 34"/>
                <a:gd name="T11" fmla="*/ 22 h 43"/>
                <a:gd name="T12" fmla="*/ 34 w 34"/>
                <a:gd name="T13" fmla="*/ 14 h 43"/>
                <a:gd name="T14" fmla="*/ 31 w 34"/>
                <a:gd name="T15" fmla="*/ 0 h 43"/>
                <a:gd name="T16" fmla="*/ 27 w 34"/>
                <a:gd name="T17" fmla="*/ 14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43">
                  <a:moveTo>
                    <a:pt x="27" y="14"/>
                  </a:moveTo>
                  <a:lnTo>
                    <a:pt x="2" y="36"/>
                  </a:lnTo>
                  <a:lnTo>
                    <a:pt x="0" y="43"/>
                  </a:lnTo>
                  <a:lnTo>
                    <a:pt x="9" y="37"/>
                  </a:lnTo>
                  <a:lnTo>
                    <a:pt x="22" y="26"/>
                  </a:lnTo>
                  <a:lnTo>
                    <a:pt x="22" y="22"/>
                  </a:lnTo>
                  <a:lnTo>
                    <a:pt x="34" y="14"/>
                  </a:lnTo>
                  <a:lnTo>
                    <a:pt x="31" y="0"/>
                  </a:lnTo>
                  <a:lnTo>
                    <a:pt x="27" y="14"/>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221"/>
            <p:cNvSpPr>
              <a:spLocks/>
            </p:cNvSpPr>
            <p:nvPr/>
          </p:nvSpPr>
          <p:spPr bwMode="auto">
            <a:xfrm>
              <a:off x="11382556" y="10683761"/>
              <a:ext cx="9525" cy="4763"/>
            </a:xfrm>
            <a:custGeom>
              <a:avLst/>
              <a:gdLst>
                <a:gd name="T0" fmla="*/ 0 w 6"/>
                <a:gd name="T1" fmla="*/ 3 h 3"/>
                <a:gd name="T2" fmla="*/ 6 w 6"/>
                <a:gd name="T3" fmla="*/ 0 h 3"/>
                <a:gd name="T4" fmla="*/ 2 w 6"/>
                <a:gd name="T5" fmla="*/ 1 h 3"/>
                <a:gd name="T6" fmla="*/ 0 w 6"/>
                <a:gd name="T7" fmla="*/ 3 h 3"/>
              </a:gdLst>
              <a:ahLst/>
              <a:cxnLst>
                <a:cxn ang="0">
                  <a:pos x="T0" y="T1"/>
                </a:cxn>
                <a:cxn ang="0">
                  <a:pos x="T2" y="T3"/>
                </a:cxn>
                <a:cxn ang="0">
                  <a:pos x="T4" y="T5"/>
                </a:cxn>
                <a:cxn ang="0">
                  <a:pos x="T6" y="T7"/>
                </a:cxn>
              </a:cxnLst>
              <a:rect l="0" t="0" r="r" b="b"/>
              <a:pathLst>
                <a:path w="6" h="3">
                  <a:moveTo>
                    <a:pt x="0" y="3"/>
                  </a:moveTo>
                  <a:lnTo>
                    <a:pt x="6" y="0"/>
                  </a:lnTo>
                  <a:lnTo>
                    <a:pt x="2" y="1"/>
                  </a:lnTo>
                  <a:lnTo>
                    <a:pt x="0" y="3"/>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Freeform 222"/>
            <p:cNvSpPr>
              <a:spLocks/>
            </p:cNvSpPr>
            <p:nvPr/>
          </p:nvSpPr>
          <p:spPr bwMode="auto">
            <a:xfrm>
              <a:off x="11409543" y="10663124"/>
              <a:ext cx="11113" cy="4763"/>
            </a:xfrm>
            <a:custGeom>
              <a:avLst/>
              <a:gdLst>
                <a:gd name="T0" fmla="*/ 0 w 7"/>
                <a:gd name="T1" fmla="*/ 3 h 3"/>
                <a:gd name="T2" fmla="*/ 6 w 7"/>
                <a:gd name="T3" fmla="*/ 3 h 3"/>
                <a:gd name="T4" fmla="*/ 7 w 7"/>
                <a:gd name="T5" fmla="*/ 2 h 3"/>
                <a:gd name="T6" fmla="*/ 2 w 7"/>
                <a:gd name="T7" fmla="*/ 0 h 3"/>
                <a:gd name="T8" fmla="*/ 0 w 7"/>
                <a:gd name="T9" fmla="*/ 3 h 3"/>
              </a:gdLst>
              <a:ahLst/>
              <a:cxnLst>
                <a:cxn ang="0">
                  <a:pos x="T0" y="T1"/>
                </a:cxn>
                <a:cxn ang="0">
                  <a:pos x="T2" y="T3"/>
                </a:cxn>
                <a:cxn ang="0">
                  <a:pos x="T4" y="T5"/>
                </a:cxn>
                <a:cxn ang="0">
                  <a:pos x="T6" y="T7"/>
                </a:cxn>
                <a:cxn ang="0">
                  <a:pos x="T8" y="T9"/>
                </a:cxn>
              </a:cxnLst>
              <a:rect l="0" t="0" r="r" b="b"/>
              <a:pathLst>
                <a:path w="7" h="3">
                  <a:moveTo>
                    <a:pt x="0" y="3"/>
                  </a:moveTo>
                  <a:lnTo>
                    <a:pt x="6" y="3"/>
                  </a:lnTo>
                  <a:lnTo>
                    <a:pt x="7" y="2"/>
                  </a:lnTo>
                  <a:lnTo>
                    <a:pt x="2" y="0"/>
                  </a:lnTo>
                  <a:lnTo>
                    <a:pt x="0" y="3"/>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Freeform 223"/>
            <p:cNvSpPr>
              <a:spLocks/>
            </p:cNvSpPr>
            <p:nvPr/>
          </p:nvSpPr>
          <p:spPr bwMode="auto">
            <a:xfrm>
              <a:off x="11430181" y="10648836"/>
              <a:ext cx="11113" cy="6350"/>
            </a:xfrm>
            <a:custGeom>
              <a:avLst/>
              <a:gdLst>
                <a:gd name="T0" fmla="*/ 2 w 7"/>
                <a:gd name="T1" fmla="*/ 4 h 4"/>
                <a:gd name="T2" fmla="*/ 7 w 7"/>
                <a:gd name="T3" fmla="*/ 0 h 4"/>
                <a:gd name="T4" fmla="*/ 0 w 7"/>
                <a:gd name="T5" fmla="*/ 0 h 4"/>
                <a:gd name="T6" fmla="*/ 2 w 7"/>
                <a:gd name="T7" fmla="*/ 4 h 4"/>
              </a:gdLst>
              <a:ahLst/>
              <a:cxnLst>
                <a:cxn ang="0">
                  <a:pos x="T0" y="T1"/>
                </a:cxn>
                <a:cxn ang="0">
                  <a:pos x="T2" y="T3"/>
                </a:cxn>
                <a:cxn ang="0">
                  <a:pos x="T4" y="T5"/>
                </a:cxn>
                <a:cxn ang="0">
                  <a:pos x="T6" y="T7"/>
                </a:cxn>
              </a:cxnLst>
              <a:rect l="0" t="0" r="r" b="b"/>
              <a:pathLst>
                <a:path w="7" h="4">
                  <a:moveTo>
                    <a:pt x="2" y="4"/>
                  </a:moveTo>
                  <a:lnTo>
                    <a:pt x="7" y="0"/>
                  </a:lnTo>
                  <a:lnTo>
                    <a:pt x="0" y="0"/>
                  </a:lnTo>
                  <a:lnTo>
                    <a:pt x="2" y="4"/>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Freeform 224"/>
            <p:cNvSpPr>
              <a:spLocks/>
            </p:cNvSpPr>
            <p:nvPr/>
          </p:nvSpPr>
          <p:spPr bwMode="auto">
            <a:xfrm>
              <a:off x="11431768" y="10575811"/>
              <a:ext cx="109538" cy="98425"/>
            </a:xfrm>
            <a:custGeom>
              <a:avLst/>
              <a:gdLst>
                <a:gd name="T0" fmla="*/ 56 w 69"/>
                <a:gd name="T1" fmla="*/ 0 h 62"/>
                <a:gd name="T2" fmla="*/ 52 w 69"/>
                <a:gd name="T3" fmla="*/ 0 h 62"/>
                <a:gd name="T4" fmla="*/ 53 w 69"/>
                <a:gd name="T5" fmla="*/ 11 h 62"/>
                <a:gd name="T6" fmla="*/ 43 w 69"/>
                <a:gd name="T7" fmla="*/ 12 h 62"/>
                <a:gd name="T8" fmla="*/ 40 w 69"/>
                <a:gd name="T9" fmla="*/ 18 h 62"/>
                <a:gd name="T10" fmla="*/ 36 w 69"/>
                <a:gd name="T11" fmla="*/ 18 h 62"/>
                <a:gd name="T12" fmla="*/ 33 w 69"/>
                <a:gd name="T13" fmla="*/ 23 h 62"/>
                <a:gd name="T14" fmla="*/ 27 w 69"/>
                <a:gd name="T15" fmla="*/ 26 h 62"/>
                <a:gd name="T16" fmla="*/ 27 w 69"/>
                <a:gd name="T17" fmla="*/ 17 h 62"/>
                <a:gd name="T18" fmla="*/ 23 w 69"/>
                <a:gd name="T19" fmla="*/ 16 h 62"/>
                <a:gd name="T20" fmla="*/ 14 w 69"/>
                <a:gd name="T21" fmla="*/ 23 h 62"/>
                <a:gd name="T22" fmla="*/ 6 w 69"/>
                <a:gd name="T23" fmla="*/ 26 h 62"/>
                <a:gd name="T24" fmla="*/ 0 w 69"/>
                <a:gd name="T25" fmla="*/ 39 h 62"/>
                <a:gd name="T26" fmla="*/ 1 w 69"/>
                <a:gd name="T27" fmla="*/ 42 h 62"/>
                <a:gd name="T28" fmla="*/ 5 w 69"/>
                <a:gd name="T29" fmla="*/ 42 h 62"/>
                <a:gd name="T30" fmla="*/ 11 w 69"/>
                <a:gd name="T31" fmla="*/ 31 h 62"/>
                <a:gd name="T32" fmla="*/ 14 w 69"/>
                <a:gd name="T33" fmla="*/ 31 h 62"/>
                <a:gd name="T34" fmla="*/ 14 w 69"/>
                <a:gd name="T35" fmla="*/ 36 h 62"/>
                <a:gd name="T36" fmla="*/ 19 w 69"/>
                <a:gd name="T37" fmla="*/ 31 h 62"/>
                <a:gd name="T38" fmla="*/ 23 w 69"/>
                <a:gd name="T39" fmla="*/ 35 h 62"/>
                <a:gd name="T40" fmla="*/ 27 w 69"/>
                <a:gd name="T41" fmla="*/ 28 h 62"/>
                <a:gd name="T42" fmla="*/ 34 w 69"/>
                <a:gd name="T43" fmla="*/ 35 h 62"/>
                <a:gd name="T44" fmla="*/ 31 w 69"/>
                <a:gd name="T45" fmla="*/ 42 h 62"/>
                <a:gd name="T46" fmla="*/ 34 w 69"/>
                <a:gd name="T47" fmla="*/ 51 h 62"/>
                <a:gd name="T48" fmla="*/ 45 w 69"/>
                <a:gd name="T49" fmla="*/ 58 h 62"/>
                <a:gd name="T50" fmla="*/ 50 w 69"/>
                <a:gd name="T51" fmla="*/ 55 h 62"/>
                <a:gd name="T52" fmla="*/ 53 w 69"/>
                <a:gd name="T53" fmla="*/ 62 h 62"/>
                <a:gd name="T54" fmla="*/ 57 w 69"/>
                <a:gd name="T55" fmla="*/ 54 h 62"/>
                <a:gd name="T56" fmla="*/ 52 w 69"/>
                <a:gd name="T57" fmla="*/ 46 h 62"/>
                <a:gd name="T58" fmla="*/ 53 w 69"/>
                <a:gd name="T59" fmla="*/ 43 h 62"/>
                <a:gd name="T60" fmla="*/ 60 w 69"/>
                <a:gd name="T61" fmla="*/ 36 h 62"/>
                <a:gd name="T62" fmla="*/ 64 w 69"/>
                <a:gd name="T63" fmla="*/ 50 h 62"/>
                <a:gd name="T64" fmla="*/ 69 w 69"/>
                <a:gd name="T65" fmla="*/ 33 h 62"/>
                <a:gd name="T66" fmla="*/ 65 w 69"/>
                <a:gd name="T67" fmla="*/ 19 h 62"/>
                <a:gd name="T68" fmla="*/ 64 w 69"/>
                <a:gd name="T69" fmla="*/ 17 h 62"/>
                <a:gd name="T70" fmla="*/ 65 w 69"/>
                <a:gd name="T71" fmla="*/ 15 h 62"/>
                <a:gd name="T72" fmla="*/ 64 w 69"/>
                <a:gd name="T73" fmla="*/ 9 h 62"/>
                <a:gd name="T74" fmla="*/ 56 w 69"/>
                <a:gd name="T75"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9" h="62">
                  <a:moveTo>
                    <a:pt x="56" y="0"/>
                  </a:moveTo>
                  <a:lnTo>
                    <a:pt x="52" y="0"/>
                  </a:lnTo>
                  <a:lnTo>
                    <a:pt x="53" y="11"/>
                  </a:lnTo>
                  <a:lnTo>
                    <a:pt x="43" y="12"/>
                  </a:lnTo>
                  <a:lnTo>
                    <a:pt x="40" y="18"/>
                  </a:lnTo>
                  <a:lnTo>
                    <a:pt x="36" y="18"/>
                  </a:lnTo>
                  <a:lnTo>
                    <a:pt x="33" y="23"/>
                  </a:lnTo>
                  <a:lnTo>
                    <a:pt x="27" y="26"/>
                  </a:lnTo>
                  <a:lnTo>
                    <a:pt x="27" y="17"/>
                  </a:lnTo>
                  <a:lnTo>
                    <a:pt x="23" y="16"/>
                  </a:lnTo>
                  <a:lnTo>
                    <a:pt x="14" y="23"/>
                  </a:lnTo>
                  <a:lnTo>
                    <a:pt x="6" y="26"/>
                  </a:lnTo>
                  <a:lnTo>
                    <a:pt x="0" y="39"/>
                  </a:lnTo>
                  <a:lnTo>
                    <a:pt x="1" y="42"/>
                  </a:lnTo>
                  <a:lnTo>
                    <a:pt x="5" y="42"/>
                  </a:lnTo>
                  <a:lnTo>
                    <a:pt x="11" y="31"/>
                  </a:lnTo>
                  <a:lnTo>
                    <a:pt x="14" y="31"/>
                  </a:lnTo>
                  <a:lnTo>
                    <a:pt x="14" y="36"/>
                  </a:lnTo>
                  <a:lnTo>
                    <a:pt x="19" y="31"/>
                  </a:lnTo>
                  <a:lnTo>
                    <a:pt x="23" y="35"/>
                  </a:lnTo>
                  <a:lnTo>
                    <a:pt x="27" y="28"/>
                  </a:lnTo>
                  <a:lnTo>
                    <a:pt x="34" y="35"/>
                  </a:lnTo>
                  <a:lnTo>
                    <a:pt x="31" y="42"/>
                  </a:lnTo>
                  <a:lnTo>
                    <a:pt x="34" y="51"/>
                  </a:lnTo>
                  <a:lnTo>
                    <a:pt x="45" y="58"/>
                  </a:lnTo>
                  <a:lnTo>
                    <a:pt x="50" y="55"/>
                  </a:lnTo>
                  <a:lnTo>
                    <a:pt x="53" y="62"/>
                  </a:lnTo>
                  <a:lnTo>
                    <a:pt x="57" y="54"/>
                  </a:lnTo>
                  <a:lnTo>
                    <a:pt x="52" y="46"/>
                  </a:lnTo>
                  <a:lnTo>
                    <a:pt x="53" y="43"/>
                  </a:lnTo>
                  <a:lnTo>
                    <a:pt x="60" y="36"/>
                  </a:lnTo>
                  <a:lnTo>
                    <a:pt x="64" y="50"/>
                  </a:lnTo>
                  <a:lnTo>
                    <a:pt x="69" y="33"/>
                  </a:lnTo>
                  <a:lnTo>
                    <a:pt x="65" y="19"/>
                  </a:lnTo>
                  <a:lnTo>
                    <a:pt x="64" y="17"/>
                  </a:lnTo>
                  <a:lnTo>
                    <a:pt x="65" y="15"/>
                  </a:lnTo>
                  <a:lnTo>
                    <a:pt x="64" y="9"/>
                  </a:lnTo>
                  <a:lnTo>
                    <a:pt x="56"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Freeform 225"/>
            <p:cNvSpPr>
              <a:spLocks/>
            </p:cNvSpPr>
            <p:nvPr/>
          </p:nvSpPr>
          <p:spPr bwMode="auto">
            <a:xfrm>
              <a:off x="11476218" y="10564699"/>
              <a:ext cx="19050" cy="14288"/>
            </a:xfrm>
            <a:custGeom>
              <a:avLst/>
              <a:gdLst>
                <a:gd name="T0" fmla="*/ 0 w 12"/>
                <a:gd name="T1" fmla="*/ 5 h 9"/>
                <a:gd name="T2" fmla="*/ 3 w 12"/>
                <a:gd name="T3" fmla="*/ 9 h 9"/>
                <a:gd name="T4" fmla="*/ 11 w 12"/>
                <a:gd name="T5" fmla="*/ 9 h 9"/>
                <a:gd name="T6" fmla="*/ 12 w 12"/>
                <a:gd name="T7" fmla="*/ 1 h 9"/>
                <a:gd name="T8" fmla="*/ 6 w 12"/>
                <a:gd name="T9" fmla="*/ 0 h 9"/>
                <a:gd name="T10" fmla="*/ 0 w 12"/>
                <a:gd name="T11" fmla="*/ 5 h 9"/>
              </a:gdLst>
              <a:ahLst/>
              <a:cxnLst>
                <a:cxn ang="0">
                  <a:pos x="T0" y="T1"/>
                </a:cxn>
                <a:cxn ang="0">
                  <a:pos x="T2" y="T3"/>
                </a:cxn>
                <a:cxn ang="0">
                  <a:pos x="T4" y="T5"/>
                </a:cxn>
                <a:cxn ang="0">
                  <a:pos x="T6" y="T7"/>
                </a:cxn>
                <a:cxn ang="0">
                  <a:pos x="T8" y="T9"/>
                </a:cxn>
                <a:cxn ang="0">
                  <a:pos x="T10" y="T11"/>
                </a:cxn>
              </a:cxnLst>
              <a:rect l="0" t="0" r="r" b="b"/>
              <a:pathLst>
                <a:path w="12" h="9">
                  <a:moveTo>
                    <a:pt x="0" y="5"/>
                  </a:moveTo>
                  <a:lnTo>
                    <a:pt x="3" y="9"/>
                  </a:lnTo>
                  <a:lnTo>
                    <a:pt x="11" y="9"/>
                  </a:lnTo>
                  <a:lnTo>
                    <a:pt x="12" y="1"/>
                  </a:lnTo>
                  <a:lnTo>
                    <a:pt x="6" y="0"/>
                  </a:lnTo>
                  <a:lnTo>
                    <a:pt x="0" y="5"/>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Freeform 226"/>
            <p:cNvSpPr>
              <a:spLocks/>
            </p:cNvSpPr>
            <p:nvPr/>
          </p:nvSpPr>
          <p:spPr bwMode="auto">
            <a:xfrm>
              <a:off x="11468281" y="10540886"/>
              <a:ext cx="12700" cy="41275"/>
            </a:xfrm>
            <a:custGeom>
              <a:avLst/>
              <a:gdLst>
                <a:gd name="T0" fmla="*/ 0 w 8"/>
                <a:gd name="T1" fmla="*/ 26 h 26"/>
                <a:gd name="T2" fmla="*/ 8 w 8"/>
                <a:gd name="T3" fmla="*/ 12 h 26"/>
                <a:gd name="T4" fmla="*/ 8 w 8"/>
                <a:gd name="T5" fmla="*/ 0 h 26"/>
                <a:gd name="T6" fmla="*/ 0 w 8"/>
                <a:gd name="T7" fmla="*/ 20 h 26"/>
                <a:gd name="T8" fmla="*/ 0 w 8"/>
                <a:gd name="T9" fmla="*/ 26 h 26"/>
              </a:gdLst>
              <a:ahLst/>
              <a:cxnLst>
                <a:cxn ang="0">
                  <a:pos x="T0" y="T1"/>
                </a:cxn>
                <a:cxn ang="0">
                  <a:pos x="T2" y="T3"/>
                </a:cxn>
                <a:cxn ang="0">
                  <a:pos x="T4" y="T5"/>
                </a:cxn>
                <a:cxn ang="0">
                  <a:pos x="T6" y="T7"/>
                </a:cxn>
                <a:cxn ang="0">
                  <a:pos x="T8" y="T9"/>
                </a:cxn>
              </a:cxnLst>
              <a:rect l="0" t="0" r="r" b="b"/>
              <a:pathLst>
                <a:path w="8" h="26">
                  <a:moveTo>
                    <a:pt x="0" y="26"/>
                  </a:moveTo>
                  <a:lnTo>
                    <a:pt x="8" y="12"/>
                  </a:lnTo>
                  <a:lnTo>
                    <a:pt x="8" y="0"/>
                  </a:lnTo>
                  <a:lnTo>
                    <a:pt x="0" y="20"/>
                  </a:lnTo>
                  <a:lnTo>
                    <a:pt x="0" y="26"/>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Freeform 227"/>
            <p:cNvSpPr>
              <a:spLocks/>
            </p:cNvSpPr>
            <p:nvPr/>
          </p:nvSpPr>
          <p:spPr bwMode="auto">
            <a:xfrm>
              <a:off x="11515906" y="10559936"/>
              <a:ext cx="4763" cy="12700"/>
            </a:xfrm>
            <a:custGeom>
              <a:avLst/>
              <a:gdLst>
                <a:gd name="T0" fmla="*/ 3 w 3"/>
                <a:gd name="T1" fmla="*/ 0 h 8"/>
                <a:gd name="T2" fmla="*/ 0 w 3"/>
                <a:gd name="T3" fmla="*/ 3 h 8"/>
                <a:gd name="T4" fmla="*/ 3 w 3"/>
                <a:gd name="T5" fmla="*/ 8 h 8"/>
                <a:gd name="T6" fmla="*/ 3 w 3"/>
                <a:gd name="T7" fmla="*/ 0 h 8"/>
              </a:gdLst>
              <a:ahLst/>
              <a:cxnLst>
                <a:cxn ang="0">
                  <a:pos x="T0" y="T1"/>
                </a:cxn>
                <a:cxn ang="0">
                  <a:pos x="T2" y="T3"/>
                </a:cxn>
                <a:cxn ang="0">
                  <a:pos x="T4" y="T5"/>
                </a:cxn>
                <a:cxn ang="0">
                  <a:pos x="T6" y="T7"/>
                </a:cxn>
              </a:cxnLst>
              <a:rect l="0" t="0" r="r" b="b"/>
              <a:pathLst>
                <a:path w="3" h="8">
                  <a:moveTo>
                    <a:pt x="3" y="0"/>
                  </a:moveTo>
                  <a:lnTo>
                    <a:pt x="0" y="3"/>
                  </a:lnTo>
                  <a:lnTo>
                    <a:pt x="3" y="8"/>
                  </a:lnTo>
                  <a:lnTo>
                    <a:pt x="3"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Freeform 228"/>
            <p:cNvSpPr>
              <a:spLocks/>
            </p:cNvSpPr>
            <p:nvPr/>
          </p:nvSpPr>
          <p:spPr bwMode="auto">
            <a:xfrm>
              <a:off x="11490506" y="10534536"/>
              <a:ext cx="20638" cy="34925"/>
            </a:xfrm>
            <a:custGeom>
              <a:avLst/>
              <a:gdLst>
                <a:gd name="T0" fmla="*/ 1 w 13"/>
                <a:gd name="T1" fmla="*/ 10 h 22"/>
                <a:gd name="T2" fmla="*/ 4 w 13"/>
                <a:gd name="T3" fmla="*/ 9 h 22"/>
                <a:gd name="T4" fmla="*/ 6 w 13"/>
                <a:gd name="T5" fmla="*/ 18 h 22"/>
                <a:gd name="T6" fmla="*/ 8 w 13"/>
                <a:gd name="T7" fmla="*/ 22 h 22"/>
                <a:gd name="T8" fmla="*/ 9 w 13"/>
                <a:gd name="T9" fmla="*/ 19 h 22"/>
                <a:gd name="T10" fmla="*/ 13 w 13"/>
                <a:gd name="T11" fmla="*/ 19 h 22"/>
                <a:gd name="T12" fmla="*/ 8 w 13"/>
                <a:gd name="T13" fmla="*/ 5 h 22"/>
                <a:gd name="T14" fmla="*/ 0 w 13"/>
                <a:gd name="T15" fmla="*/ 0 h 22"/>
                <a:gd name="T16" fmla="*/ 1 w 13"/>
                <a:gd name="T17" fmla="*/ 1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22">
                  <a:moveTo>
                    <a:pt x="1" y="10"/>
                  </a:moveTo>
                  <a:lnTo>
                    <a:pt x="4" y="9"/>
                  </a:lnTo>
                  <a:lnTo>
                    <a:pt x="6" y="18"/>
                  </a:lnTo>
                  <a:lnTo>
                    <a:pt x="8" y="22"/>
                  </a:lnTo>
                  <a:lnTo>
                    <a:pt x="9" y="19"/>
                  </a:lnTo>
                  <a:lnTo>
                    <a:pt x="13" y="19"/>
                  </a:lnTo>
                  <a:lnTo>
                    <a:pt x="8" y="5"/>
                  </a:lnTo>
                  <a:lnTo>
                    <a:pt x="0" y="0"/>
                  </a:lnTo>
                  <a:lnTo>
                    <a:pt x="1" y="1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Freeform 229"/>
            <p:cNvSpPr>
              <a:spLocks/>
            </p:cNvSpPr>
            <p:nvPr/>
          </p:nvSpPr>
          <p:spPr bwMode="auto">
            <a:xfrm>
              <a:off x="11444468" y="10545649"/>
              <a:ext cx="25400" cy="47625"/>
            </a:xfrm>
            <a:custGeom>
              <a:avLst/>
              <a:gdLst>
                <a:gd name="T0" fmla="*/ 7 w 16"/>
                <a:gd name="T1" fmla="*/ 3 h 30"/>
                <a:gd name="T2" fmla="*/ 4 w 16"/>
                <a:gd name="T3" fmla="*/ 15 h 30"/>
                <a:gd name="T4" fmla="*/ 0 w 16"/>
                <a:gd name="T5" fmla="*/ 16 h 30"/>
                <a:gd name="T6" fmla="*/ 0 w 16"/>
                <a:gd name="T7" fmla="*/ 19 h 30"/>
                <a:gd name="T8" fmla="*/ 10 w 16"/>
                <a:gd name="T9" fmla="*/ 30 h 30"/>
                <a:gd name="T10" fmla="*/ 11 w 16"/>
                <a:gd name="T11" fmla="*/ 28 h 30"/>
                <a:gd name="T12" fmla="*/ 11 w 16"/>
                <a:gd name="T13" fmla="*/ 17 h 30"/>
                <a:gd name="T14" fmla="*/ 16 w 16"/>
                <a:gd name="T15" fmla="*/ 4 h 30"/>
                <a:gd name="T16" fmla="*/ 16 w 16"/>
                <a:gd name="T17" fmla="*/ 3 h 30"/>
                <a:gd name="T18" fmla="*/ 11 w 16"/>
                <a:gd name="T19" fmla="*/ 0 h 30"/>
                <a:gd name="T20" fmla="*/ 7 w 16"/>
                <a:gd name="T21" fmla="*/ 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30">
                  <a:moveTo>
                    <a:pt x="7" y="3"/>
                  </a:moveTo>
                  <a:lnTo>
                    <a:pt x="4" y="15"/>
                  </a:lnTo>
                  <a:lnTo>
                    <a:pt x="0" y="16"/>
                  </a:lnTo>
                  <a:lnTo>
                    <a:pt x="0" y="19"/>
                  </a:lnTo>
                  <a:lnTo>
                    <a:pt x="10" y="30"/>
                  </a:lnTo>
                  <a:lnTo>
                    <a:pt x="11" y="28"/>
                  </a:lnTo>
                  <a:lnTo>
                    <a:pt x="11" y="17"/>
                  </a:lnTo>
                  <a:lnTo>
                    <a:pt x="16" y="4"/>
                  </a:lnTo>
                  <a:lnTo>
                    <a:pt x="16" y="3"/>
                  </a:lnTo>
                  <a:lnTo>
                    <a:pt x="11" y="0"/>
                  </a:lnTo>
                  <a:lnTo>
                    <a:pt x="7" y="3"/>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Freeform 230"/>
            <p:cNvSpPr>
              <a:spLocks/>
            </p:cNvSpPr>
            <p:nvPr/>
          </p:nvSpPr>
          <p:spPr bwMode="auto">
            <a:xfrm>
              <a:off x="11431768" y="10525011"/>
              <a:ext cx="28575" cy="34925"/>
            </a:xfrm>
            <a:custGeom>
              <a:avLst/>
              <a:gdLst>
                <a:gd name="T0" fmla="*/ 0 w 18"/>
                <a:gd name="T1" fmla="*/ 0 h 22"/>
                <a:gd name="T2" fmla="*/ 1 w 18"/>
                <a:gd name="T3" fmla="*/ 22 h 22"/>
                <a:gd name="T4" fmla="*/ 17 w 18"/>
                <a:gd name="T5" fmla="*/ 11 h 22"/>
                <a:gd name="T6" fmla="*/ 18 w 18"/>
                <a:gd name="T7" fmla="*/ 5 h 22"/>
                <a:gd name="T8" fmla="*/ 8 w 18"/>
                <a:gd name="T9" fmla="*/ 4 h 22"/>
                <a:gd name="T10" fmla="*/ 0 w 18"/>
                <a:gd name="T11" fmla="*/ 0 h 22"/>
              </a:gdLst>
              <a:ahLst/>
              <a:cxnLst>
                <a:cxn ang="0">
                  <a:pos x="T0" y="T1"/>
                </a:cxn>
                <a:cxn ang="0">
                  <a:pos x="T2" y="T3"/>
                </a:cxn>
                <a:cxn ang="0">
                  <a:pos x="T4" y="T5"/>
                </a:cxn>
                <a:cxn ang="0">
                  <a:pos x="T6" y="T7"/>
                </a:cxn>
                <a:cxn ang="0">
                  <a:pos x="T8" y="T9"/>
                </a:cxn>
                <a:cxn ang="0">
                  <a:pos x="T10" y="T11"/>
                </a:cxn>
              </a:cxnLst>
              <a:rect l="0" t="0" r="r" b="b"/>
              <a:pathLst>
                <a:path w="18" h="22">
                  <a:moveTo>
                    <a:pt x="0" y="0"/>
                  </a:moveTo>
                  <a:lnTo>
                    <a:pt x="1" y="22"/>
                  </a:lnTo>
                  <a:lnTo>
                    <a:pt x="17" y="11"/>
                  </a:lnTo>
                  <a:lnTo>
                    <a:pt x="18" y="5"/>
                  </a:lnTo>
                  <a:lnTo>
                    <a:pt x="8" y="4"/>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Freeform 231"/>
            <p:cNvSpPr>
              <a:spLocks/>
            </p:cNvSpPr>
            <p:nvPr/>
          </p:nvSpPr>
          <p:spPr bwMode="auto">
            <a:xfrm>
              <a:off x="11490506" y="10509136"/>
              <a:ext cx="31750" cy="36513"/>
            </a:xfrm>
            <a:custGeom>
              <a:avLst/>
              <a:gdLst>
                <a:gd name="T0" fmla="*/ 13 w 20"/>
                <a:gd name="T1" fmla="*/ 1 h 23"/>
                <a:gd name="T2" fmla="*/ 0 w 20"/>
                <a:gd name="T3" fmla="*/ 0 h 23"/>
                <a:gd name="T4" fmla="*/ 13 w 20"/>
                <a:gd name="T5" fmla="*/ 21 h 23"/>
                <a:gd name="T6" fmla="*/ 20 w 20"/>
                <a:gd name="T7" fmla="*/ 23 h 23"/>
                <a:gd name="T8" fmla="*/ 16 w 20"/>
                <a:gd name="T9" fmla="*/ 14 h 23"/>
                <a:gd name="T10" fmla="*/ 16 w 20"/>
                <a:gd name="T11" fmla="*/ 5 h 23"/>
                <a:gd name="T12" fmla="*/ 13 w 20"/>
                <a:gd name="T13" fmla="*/ 1 h 23"/>
              </a:gdLst>
              <a:ahLst/>
              <a:cxnLst>
                <a:cxn ang="0">
                  <a:pos x="T0" y="T1"/>
                </a:cxn>
                <a:cxn ang="0">
                  <a:pos x="T2" y="T3"/>
                </a:cxn>
                <a:cxn ang="0">
                  <a:pos x="T4" y="T5"/>
                </a:cxn>
                <a:cxn ang="0">
                  <a:pos x="T6" y="T7"/>
                </a:cxn>
                <a:cxn ang="0">
                  <a:pos x="T8" y="T9"/>
                </a:cxn>
                <a:cxn ang="0">
                  <a:pos x="T10" y="T11"/>
                </a:cxn>
                <a:cxn ang="0">
                  <a:pos x="T12" y="T13"/>
                </a:cxn>
              </a:cxnLst>
              <a:rect l="0" t="0" r="r" b="b"/>
              <a:pathLst>
                <a:path w="20" h="23">
                  <a:moveTo>
                    <a:pt x="13" y="1"/>
                  </a:moveTo>
                  <a:lnTo>
                    <a:pt x="0" y="0"/>
                  </a:lnTo>
                  <a:lnTo>
                    <a:pt x="13" y="21"/>
                  </a:lnTo>
                  <a:lnTo>
                    <a:pt x="20" y="23"/>
                  </a:lnTo>
                  <a:lnTo>
                    <a:pt x="16" y="14"/>
                  </a:lnTo>
                  <a:lnTo>
                    <a:pt x="16" y="5"/>
                  </a:lnTo>
                  <a:lnTo>
                    <a:pt x="13" y="1"/>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 name="Freeform 232"/>
            <p:cNvSpPr>
              <a:spLocks/>
            </p:cNvSpPr>
            <p:nvPr/>
          </p:nvSpPr>
          <p:spPr bwMode="auto">
            <a:xfrm>
              <a:off x="11461931" y="10507549"/>
              <a:ext cx="19050" cy="20638"/>
            </a:xfrm>
            <a:custGeom>
              <a:avLst/>
              <a:gdLst>
                <a:gd name="T0" fmla="*/ 12 w 12"/>
                <a:gd name="T1" fmla="*/ 9 h 13"/>
                <a:gd name="T2" fmla="*/ 1 w 12"/>
                <a:gd name="T3" fmla="*/ 0 h 13"/>
                <a:gd name="T4" fmla="*/ 0 w 12"/>
                <a:gd name="T5" fmla="*/ 9 h 13"/>
                <a:gd name="T6" fmla="*/ 5 w 12"/>
                <a:gd name="T7" fmla="*/ 7 h 13"/>
                <a:gd name="T8" fmla="*/ 12 w 12"/>
                <a:gd name="T9" fmla="*/ 13 h 13"/>
                <a:gd name="T10" fmla="*/ 12 w 12"/>
                <a:gd name="T11" fmla="*/ 9 h 13"/>
              </a:gdLst>
              <a:ahLst/>
              <a:cxnLst>
                <a:cxn ang="0">
                  <a:pos x="T0" y="T1"/>
                </a:cxn>
                <a:cxn ang="0">
                  <a:pos x="T2" y="T3"/>
                </a:cxn>
                <a:cxn ang="0">
                  <a:pos x="T4" y="T5"/>
                </a:cxn>
                <a:cxn ang="0">
                  <a:pos x="T6" y="T7"/>
                </a:cxn>
                <a:cxn ang="0">
                  <a:pos x="T8" y="T9"/>
                </a:cxn>
                <a:cxn ang="0">
                  <a:pos x="T10" y="T11"/>
                </a:cxn>
              </a:cxnLst>
              <a:rect l="0" t="0" r="r" b="b"/>
              <a:pathLst>
                <a:path w="12" h="13">
                  <a:moveTo>
                    <a:pt x="12" y="9"/>
                  </a:moveTo>
                  <a:lnTo>
                    <a:pt x="1" y="0"/>
                  </a:lnTo>
                  <a:lnTo>
                    <a:pt x="0" y="9"/>
                  </a:lnTo>
                  <a:lnTo>
                    <a:pt x="5" y="7"/>
                  </a:lnTo>
                  <a:lnTo>
                    <a:pt x="12" y="13"/>
                  </a:lnTo>
                  <a:lnTo>
                    <a:pt x="12" y="9"/>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 name="Freeform 233"/>
            <p:cNvSpPr>
              <a:spLocks/>
            </p:cNvSpPr>
            <p:nvPr/>
          </p:nvSpPr>
          <p:spPr bwMode="auto">
            <a:xfrm>
              <a:off x="11433356" y="10507549"/>
              <a:ext cx="4763" cy="11113"/>
            </a:xfrm>
            <a:custGeom>
              <a:avLst/>
              <a:gdLst>
                <a:gd name="T0" fmla="*/ 0 w 3"/>
                <a:gd name="T1" fmla="*/ 7 h 7"/>
                <a:gd name="T2" fmla="*/ 3 w 3"/>
                <a:gd name="T3" fmla="*/ 0 h 7"/>
                <a:gd name="T4" fmla="*/ 0 w 3"/>
                <a:gd name="T5" fmla="*/ 2 h 7"/>
                <a:gd name="T6" fmla="*/ 0 w 3"/>
                <a:gd name="T7" fmla="*/ 7 h 7"/>
              </a:gdLst>
              <a:ahLst/>
              <a:cxnLst>
                <a:cxn ang="0">
                  <a:pos x="T0" y="T1"/>
                </a:cxn>
                <a:cxn ang="0">
                  <a:pos x="T2" y="T3"/>
                </a:cxn>
                <a:cxn ang="0">
                  <a:pos x="T4" y="T5"/>
                </a:cxn>
                <a:cxn ang="0">
                  <a:pos x="T6" y="T7"/>
                </a:cxn>
              </a:cxnLst>
              <a:rect l="0" t="0" r="r" b="b"/>
              <a:pathLst>
                <a:path w="3" h="7">
                  <a:moveTo>
                    <a:pt x="0" y="7"/>
                  </a:moveTo>
                  <a:lnTo>
                    <a:pt x="3" y="0"/>
                  </a:lnTo>
                  <a:lnTo>
                    <a:pt x="0" y="2"/>
                  </a:lnTo>
                  <a:lnTo>
                    <a:pt x="0" y="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Freeform 234"/>
            <p:cNvSpPr>
              <a:spLocks/>
            </p:cNvSpPr>
            <p:nvPr/>
          </p:nvSpPr>
          <p:spPr bwMode="auto">
            <a:xfrm>
              <a:off x="11430181" y="10486911"/>
              <a:ext cx="4763" cy="6350"/>
            </a:xfrm>
            <a:custGeom>
              <a:avLst/>
              <a:gdLst>
                <a:gd name="T0" fmla="*/ 1 w 3"/>
                <a:gd name="T1" fmla="*/ 2 h 4"/>
                <a:gd name="T2" fmla="*/ 3 w 3"/>
                <a:gd name="T3" fmla="*/ 4 h 4"/>
                <a:gd name="T4" fmla="*/ 3 w 3"/>
                <a:gd name="T5" fmla="*/ 0 h 4"/>
                <a:gd name="T6" fmla="*/ 0 w 3"/>
                <a:gd name="T7" fmla="*/ 0 h 4"/>
                <a:gd name="T8" fmla="*/ 1 w 3"/>
                <a:gd name="T9" fmla="*/ 2 h 4"/>
              </a:gdLst>
              <a:ahLst/>
              <a:cxnLst>
                <a:cxn ang="0">
                  <a:pos x="T0" y="T1"/>
                </a:cxn>
                <a:cxn ang="0">
                  <a:pos x="T2" y="T3"/>
                </a:cxn>
                <a:cxn ang="0">
                  <a:pos x="T4" y="T5"/>
                </a:cxn>
                <a:cxn ang="0">
                  <a:pos x="T6" y="T7"/>
                </a:cxn>
                <a:cxn ang="0">
                  <a:pos x="T8" y="T9"/>
                </a:cxn>
              </a:cxnLst>
              <a:rect l="0" t="0" r="r" b="b"/>
              <a:pathLst>
                <a:path w="3" h="4">
                  <a:moveTo>
                    <a:pt x="1" y="2"/>
                  </a:moveTo>
                  <a:lnTo>
                    <a:pt x="3" y="4"/>
                  </a:lnTo>
                  <a:lnTo>
                    <a:pt x="3" y="0"/>
                  </a:lnTo>
                  <a:lnTo>
                    <a:pt x="0" y="0"/>
                  </a:lnTo>
                  <a:lnTo>
                    <a:pt x="1" y="2"/>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Freeform 235"/>
            <p:cNvSpPr>
              <a:spLocks/>
            </p:cNvSpPr>
            <p:nvPr/>
          </p:nvSpPr>
          <p:spPr bwMode="auto">
            <a:xfrm>
              <a:off x="11431768" y="10447224"/>
              <a:ext cx="1588" cy="9525"/>
            </a:xfrm>
            <a:custGeom>
              <a:avLst/>
              <a:gdLst>
                <a:gd name="T0" fmla="*/ 1 w 1"/>
                <a:gd name="T1" fmla="*/ 0 h 6"/>
                <a:gd name="T2" fmla="*/ 0 w 1"/>
                <a:gd name="T3" fmla="*/ 2 h 6"/>
                <a:gd name="T4" fmla="*/ 1 w 1"/>
                <a:gd name="T5" fmla="*/ 6 h 6"/>
                <a:gd name="T6" fmla="*/ 1 w 1"/>
                <a:gd name="T7" fmla="*/ 0 h 6"/>
              </a:gdLst>
              <a:ahLst/>
              <a:cxnLst>
                <a:cxn ang="0">
                  <a:pos x="T0" y="T1"/>
                </a:cxn>
                <a:cxn ang="0">
                  <a:pos x="T2" y="T3"/>
                </a:cxn>
                <a:cxn ang="0">
                  <a:pos x="T4" y="T5"/>
                </a:cxn>
                <a:cxn ang="0">
                  <a:pos x="T6" y="T7"/>
                </a:cxn>
              </a:cxnLst>
              <a:rect l="0" t="0" r="r" b="b"/>
              <a:pathLst>
                <a:path w="1" h="6">
                  <a:moveTo>
                    <a:pt x="1" y="0"/>
                  </a:moveTo>
                  <a:lnTo>
                    <a:pt x="0" y="2"/>
                  </a:lnTo>
                  <a:lnTo>
                    <a:pt x="1" y="6"/>
                  </a:lnTo>
                  <a:lnTo>
                    <a:pt x="1"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9" name="Freeform 236"/>
            <p:cNvSpPr>
              <a:spLocks/>
            </p:cNvSpPr>
            <p:nvPr/>
          </p:nvSpPr>
          <p:spPr bwMode="auto">
            <a:xfrm>
              <a:off x="11380968" y="10359911"/>
              <a:ext cx="103188" cy="149225"/>
            </a:xfrm>
            <a:custGeom>
              <a:avLst/>
              <a:gdLst>
                <a:gd name="T0" fmla="*/ 5 w 65"/>
                <a:gd name="T1" fmla="*/ 55 h 94"/>
                <a:gd name="T2" fmla="*/ 12 w 65"/>
                <a:gd name="T3" fmla="*/ 65 h 94"/>
                <a:gd name="T4" fmla="*/ 13 w 65"/>
                <a:gd name="T5" fmla="*/ 61 h 94"/>
                <a:gd name="T6" fmla="*/ 17 w 65"/>
                <a:gd name="T7" fmla="*/ 62 h 94"/>
                <a:gd name="T8" fmla="*/ 13 w 65"/>
                <a:gd name="T9" fmla="*/ 69 h 94"/>
                <a:gd name="T10" fmla="*/ 14 w 65"/>
                <a:gd name="T11" fmla="*/ 76 h 94"/>
                <a:gd name="T12" fmla="*/ 24 w 65"/>
                <a:gd name="T13" fmla="*/ 77 h 94"/>
                <a:gd name="T14" fmla="*/ 27 w 65"/>
                <a:gd name="T15" fmla="*/ 74 h 94"/>
                <a:gd name="T16" fmla="*/ 32 w 65"/>
                <a:gd name="T17" fmla="*/ 74 h 94"/>
                <a:gd name="T18" fmla="*/ 44 w 65"/>
                <a:gd name="T19" fmla="*/ 84 h 94"/>
                <a:gd name="T20" fmla="*/ 40 w 65"/>
                <a:gd name="T21" fmla="*/ 74 h 94"/>
                <a:gd name="T22" fmla="*/ 44 w 65"/>
                <a:gd name="T23" fmla="*/ 74 h 94"/>
                <a:gd name="T24" fmla="*/ 53 w 65"/>
                <a:gd name="T25" fmla="*/ 85 h 94"/>
                <a:gd name="T26" fmla="*/ 63 w 65"/>
                <a:gd name="T27" fmla="*/ 89 h 94"/>
                <a:gd name="T28" fmla="*/ 60 w 65"/>
                <a:gd name="T29" fmla="*/ 90 h 94"/>
                <a:gd name="T30" fmla="*/ 63 w 65"/>
                <a:gd name="T31" fmla="*/ 94 h 94"/>
                <a:gd name="T32" fmla="*/ 65 w 65"/>
                <a:gd name="T33" fmla="*/ 88 h 94"/>
                <a:gd name="T34" fmla="*/ 60 w 65"/>
                <a:gd name="T35" fmla="*/ 85 h 94"/>
                <a:gd name="T36" fmla="*/ 60 w 65"/>
                <a:gd name="T37" fmla="*/ 83 h 94"/>
                <a:gd name="T38" fmla="*/ 57 w 65"/>
                <a:gd name="T39" fmla="*/ 77 h 94"/>
                <a:gd name="T40" fmla="*/ 60 w 65"/>
                <a:gd name="T41" fmla="*/ 76 h 94"/>
                <a:gd name="T42" fmla="*/ 52 w 65"/>
                <a:gd name="T43" fmla="*/ 71 h 94"/>
                <a:gd name="T44" fmla="*/ 51 w 65"/>
                <a:gd name="T45" fmla="*/ 76 h 94"/>
                <a:gd name="T46" fmla="*/ 44 w 65"/>
                <a:gd name="T47" fmla="*/ 67 h 94"/>
                <a:gd name="T48" fmla="*/ 37 w 65"/>
                <a:gd name="T49" fmla="*/ 69 h 94"/>
                <a:gd name="T50" fmla="*/ 37 w 65"/>
                <a:gd name="T51" fmla="*/ 72 h 94"/>
                <a:gd name="T52" fmla="*/ 33 w 65"/>
                <a:gd name="T53" fmla="*/ 74 h 94"/>
                <a:gd name="T54" fmla="*/ 27 w 65"/>
                <a:gd name="T55" fmla="*/ 65 h 94"/>
                <a:gd name="T56" fmla="*/ 25 w 65"/>
                <a:gd name="T57" fmla="*/ 51 h 94"/>
                <a:gd name="T58" fmla="*/ 30 w 65"/>
                <a:gd name="T59" fmla="*/ 43 h 94"/>
                <a:gd name="T60" fmla="*/ 36 w 65"/>
                <a:gd name="T61" fmla="*/ 39 h 94"/>
                <a:gd name="T62" fmla="*/ 40 w 65"/>
                <a:gd name="T63" fmla="*/ 28 h 94"/>
                <a:gd name="T64" fmla="*/ 36 w 65"/>
                <a:gd name="T65" fmla="*/ 18 h 94"/>
                <a:gd name="T66" fmla="*/ 37 w 65"/>
                <a:gd name="T67" fmla="*/ 3 h 94"/>
                <a:gd name="T68" fmla="*/ 34 w 65"/>
                <a:gd name="T69" fmla="*/ 2 h 94"/>
                <a:gd name="T70" fmla="*/ 33 w 65"/>
                <a:gd name="T71" fmla="*/ 5 h 94"/>
                <a:gd name="T72" fmla="*/ 29 w 65"/>
                <a:gd name="T73" fmla="*/ 5 h 94"/>
                <a:gd name="T74" fmla="*/ 14 w 65"/>
                <a:gd name="T75" fmla="*/ 0 h 94"/>
                <a:gd name="T76" fmla="*/ 13 w 65"/>
                <a:gd name="T77" fmla="*/ 3 h 94"/>
                <a:gd name="T78" fmla="*/ 8 w 65"/>
                <a:gd name="T79" fmla="*/ 39 h 94"/>
                <a:gd name="T80" fmla="*/ 0 w 65"/>
                <a:gd name="T81" fmla="*/ 38 h 94"/>
                <a:gd name="T82" fmla="*/ 5 w 65"/>
                <a:gd name="T83" fmla="*/ 55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5" h="94">
                  <a:moveTo>
                    <a:pt x="5" y="55"/>
                  </a:moveTo>
                  <a:lnTo>
                    <a:pt x="12" y="65"/>
                  </a:lnTo>
                  <a:lnTo>
                    <a:pt x="13" y="61"/>
                  </a:lnTo>
                  <a:lnTo>
                    <a:pt x="17" y="62"/>
                  </a:lnTo>
                  <a:lnTo>
                    <a:pt x="13" y="69"/>
                  </a:lnTo>
                  <a:lnTo>
                    <a:pt x="14" y="76"/>
                  </a:lnTo>
                  <a:lnTo>
                    <a:pt x="24" y="77"/>
                  </a:lnTo>
                  <a:lnTo>
                    <a:pt x="27" y="74"/>
                  </a:lnTo>
                  <a:lnTo>
                    <a:pt x="32" y="74"/>
                  </a:lnTo>
                  <a:lnTo>
                    <a:pt x="44" y="84"/>
                  </a:lnTo>
                  <a:lnTo>
                    <a:pt x="40" y="74"/>
                  </a:lnTo>
                  <a:lnTo>
                    <a:pt x="44" y="74"/>
                  </a:lnTo>
                  <a:lnTo>
                    <a:pt x="53" y="85"/>
                  </a:lnTo>
                  <a:lnTo>
                    <a:pt x="63" y="89"/>
                  </a:lnTo>
                  <a:lnTo>
                    <a:pt x="60" y="90"/>
                  </a:lnTo>
                  <a:lnTo>
                    <a:pt x="63" y="94"/>
                  </a:lnTo>
                  <a:lnTo>
                    <a:pt x="65" y="88"/>
                  </a:lnTo>
                  <a:lnTo>
                    <a:pt x="60" y="85"/>
                  </a:lnTo>
                  <a:lnTo>
                    <a:pt x="60" y="83"/>
                  </a:lnTo>
                  <a:lnTo>
                    <a:pt x="57" y="77"/>
                  </a:lnTo>
                  <a:lnTo>
                    <a:pt x="60" y="76"/>
                  </a:lnTo>
                  <a:lnTo>
                    <a:pt x="52" y="71"/>
                  </a:lnTo>
                  <a:lnTo>
                    <a:pt x="51" y="76"/>
                  </a:lnTo>
                  <a:lnTo>
                    <a:pt x="44" y="67"/>
                  </a:lnTo>
                  <a:lnTo>
                    <a:pt x="37" y="69"/>
                  </a:lnTo>
                  <a:lnTo>
                    <a:pt x="37" y="72"/>
                  </a:lnTo>
                  <a:lnTo>
                    <a:pt x="33" y="74"/>
                  </a:lnTo>
                  <a:lnTo>
                    <a:pt x="27" y="65"/>
                  </a:lnTo>
                  <a:lnTo>
                    <a:pt x="25" y="51"/>
                  </a:lnTo>
                  <a:lnTo>
                    <a:pt x="30" y="43"/>
                  </a:lnTo>
                  <a:lnTo>
                    <a:pt x="36" y="39"/>
                  </a:lnTo>
                  <a:lnTo>
                    <a:pt x="40" y="28"/>
                  </a:lnTo>
                  <a:lnTo>
                    <a:pt x="36" y="18"/>
                  </a:lnTo>
                  <a:lnTo>
                    <a:pt x="37" y="3"/>
                  </a:lnTo>
                  <a:lnTo>
                    <a:pt x="34" y="2"/>
                  </a:lnTo>
                  <a:lnTo>
                    <a:pt x="33" y="5"/>
                  </a:lnTo>
                  <a:lnTo>
                    <a:pt x="29" y="5"/>
                  </a:lnTo>
                  <a:lnTo>
                    <a:pt x="14" y="0"/>
                  </a:lnTo>
                  <a:lnTo>
                    <a:pt x="13" y="3"/>
                  </a:lnTo>
                  <a:lnTo>
                    <a:pt x="8" y="39"/>
                  </a:lnTo>
                  <a:lnTo>
                    <a:pt x="0" y="38"/>
                  </a:lnTo>
                  <a:lnTo>
                    <a:pt x="5" y="55"/>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 name="Freeform 237"/>
            <p:cNvSpPr>
              <a:spLocks/>
            </p:cNvSpPr>
            <p:nvPr/>
          </p:nvSpPr>
          <p:spPr bwMode="auto">
            <a:xfrm>
              <a:off x="11393668" y="10486911"/>
              <a:ext cx="26988" cy="30163"/>
            </a:xfrm>
            <a:custGeom>
              <a:avLst/>
              <a:gdLst>
                <a:gd name="T0" fmla="*/ 17 w 17"/>
                <a:gd name="T1" fmla="*/ 4 h 19"/>
                <a:gd name="T2" fmla="*/ 11 w 17"/>
                <a:gd name="T3" fmla="*/ 0 h 19"/>
                <a:gd name="T4" fmla="*/ 0 w 17"/>
                <a:gd name="T5" fmla="*/ 1 h 19"/>
                <a:gd name="T6" fmla="*/ 5 w 17"/>
                <a:gd name="T7" fmla="*/ 4 h 19"/>
                <a:gd name="T8" fmla="*/ 13 w 17"/>
                <a:gd name="T9" fmla="*/ 19 h 19"/>
                <a:gd name="T10" fmla="*/ 17 w 17"/>
                <a:gd name="T11" fmla="*/ 16 h 19"/>
                <a:gd name="T12" fmla="*/ 17 w 17"/>
                <a:gd name="T13" fmla="*/ 4 h 19"/>
              </a:gdLst>
              <a:ahLst/>
              <a:cxnLst>
                <a:cxn ang="0">
                  <a:pos x="T0" y="T1"/>
                </a:cxn>
                <a:cxn ang="0">
                  <a:pos x="T2" y="T3"/>
                </a:cxn>
                <a:cxn ang="0">
                  <a:pos x="T4" y="T5"/>
                </a:cxn>
                <a:cxn ang="0">
                  <a:pos x="T6" y="T7"/>
                </a:cxn>
                <a:cxn ang="0">
                  <a:pos x="T8" y="T9"/>
                </a:cxn>
                <a:cxn ang="0">
                  <a:pos x="T10" y="T11"/>
                </a:cxn>
                <a:cxn ang="0">
                  <a:pos x="T12" y="T13"/>
                </a:cxn>
              </a:cxnLst>
              <a:rect l="0" t="0" r="r" b="b"/>
              <a:pathLst>
                <a:path w="17" h="19">
                  <a:moveTo>
                    <a:pt x="17" y="4"/>
                  </a:moveTo>
                  <a:lnTo>
                    <a:pt x="11" y="0"/>
                  </a:lnTo>
                  <a:lnTo>
                    <a:pt x="0" y="1"/>
                  </a:lnTo>
                  <a:lnTo>
                    <a:pt x="5" y="4"/>
                  </a:lnTo>
                  <a:lnTo>
                    <a:pt x="13" y="19"/>
                  </a:lnTo>
                  <a:lnTo>
                    <a:pt x="17" y="16"/>
                  </a:lnTo>
                  <a:lnTo>
                    <a:pt x="17" y="4"/>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7" name="Freeform 238"/>
            <p:cNvSpPr>
              <a:spLocks/>
            </p:cNvSpPr>
            <p:nvPr/>
          </p:nvSpPr>
          <p:spPr bwMode="auto">
            <a:xfrm>
              <a:off x="10695168" y="10256724"/>
              <a:ext cx="3175" cy="11113"/>
            </a:xfrm>
            <a:custGeom>
              <a:avLst/>
              <a:gdLst>
                <a:gd name="T0" fmla="*/ 0 w 2"/>
                <a:gd name="T1" fmla="*/ 6 h 7"/>
                <a:gd name="T2" fmla="*/ 1 w 2"/>
                <a:gd name="T3" fmla="*/ 7 h 7"/>
                <a:gd name="T4" fmla="*/ 2 w 2"/>
                <a:gd name="T5" fmla="*/ 3 h 7"/>
                <a:gd name="T6" fmla="*/ 0 w 2"/>
                <a:gd name="T7" fmla="*/ 0 h 7"/>
                <a:gd name="T8" fmla="*/ 0 w 2"/>
                <a:gd name="T9" fmla="*/ 6 h 7"/>
              </a:gdLst>
              <a:ahLst/>
              <a:cxnLst>
                <a:cxn ang="0">
                  <a:pos x="T0" y="T1"/>
                </a:cxn>
                <a:cxn ang="0">
                  <a:pos x="T2" y="T3"/>
                </a:cxn>
                <a:cxn ang="0">
                  <a:pos x="T4" y="T5"/>
                </a:cxn>
                <a:cxn ang="0">
                  <a:pos x="T6" y="T7"/>
                </a:cxn>
                <a:cxn ang="0">
                  <a:pos x="T8" y="T9"/>
                </a:cxn>
              </a:cxnLst>
              <a:rect l="0" t="0" r="r" b="b"/>
              <a:pathLst>
                <a:path w="2" h="7">
                  <a:moveTo>
                    <a:pt x="0" y="6"/>
                  </a:moveTo>
                  <a:lnTo>
                    <a:pt x="1" y="7"/>
                  </a:lnTo>
                  <a:lnTo>
                    <a:pt x="2" y="3"/>
                  </a:lnTo>
                  <a:lnTo>
                    <a:pt x="0" y="0"/>
                  </a:lnTo>
                  <a:lnTo>
                    <a:pt x="0" y="6"/>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8" name="Freeform 239"/>
            <p:cNvSpPr>
              <a:spLocks/>
            </p:cNvSpPr>
            <p:nvPr/>
          </p:nvSpPr>
          <p:spPr bwMode="auto">
            <a:xfrm>
              <a:off x="10874556" y="10525011"/>
              <a:ext cx="6350" cy="6350"/>
            </a:xfrm>
            <a:custGeom>
              <a:avLst/>
              <a:gdLst>
                <a:gd name="T0" fmla="*/ 4 w 4"/>
                <a:gd name="T1" fmla="*/ 0 h 4"/>
                <a:gd name="T2" fmla="*/ 0 w 4"/>
                <a:gd name="T3" fmla="*/ 3 h 4"/>
                <a:gd name="T4" fmla="*/ 4 w 4"/>
                <a:gd name="T5" fmla="*/ 4 h 4"/>
                <a:gd name="T6" fmla="*/ 4 w 4"/>
                <a:gd name="T7" fmla="*/ 0 h 4"/>
              </a:gdLst>
              <a:ahLst/>
              <a:cxnLst>
                <a:cxn ang="0">
                  <a:pos x="T0" y="T1"/>
                </a:cxn>
                <a:cxn ang="0">
                  <a:pos x="T2" y="T3"/>
                </a:cxn>
                <a:cxn ang="0">
                  <a:pos x="T4" y="T5"/>
                </a:cxn>
                <a:cxn ang="0">
                  <a:pos x="T6" y="T7"/>
                </a:cxn>
              </a:cxnLst>
              <a:rect l="0" t="0" r="r" b="b"/>
              <a:pathLst>
                <a:path w="4" h="4">
                  <a:moveTo>
                    <a:pt x="4" y="0"/>
                  </a:moveTo>
                  <a:lnTo>
                    <a:pt x="0" y="3"/>
                  </a:lnTo>
                  <a:lnTo>
                    <a:pt x="4" y="4"/>
                  </a:lnTo>
                  <a:lnTo>
                    <a:pt x="4"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9" name="Freeform 240"/>
            <p:cNvSpPr>
              <a:spLocks/>
            </p:cNvSpPr>
            <p:nvPr/>
          </p:nvSpPr>
          <p:spPr bwMode="auto">
            <a:xfrm>
              <a:off x="11119031" y="10324986"/>
              <a:ext cx="55563" cy="44450"/>
            </a:xfrm>
            <a:custGeom>
              <a:avLst/>
              <a:gdLst>
                <a:gd name="T0" fmla="*/ 27 w 35"/>
                <a:gd name="T1" fmla="*/ 19 h 28"/>
                <a:gd name="T2" fmla="*/ 35 w 35"/>
                <a:gd name="T3" fmla="*/ 6 h 28"/>
                <a:gd name="T4" fmla="*/ 33 w 35"/>
                <a:gd name="T5" fmla="*/ 0 h 28"/>
                <a:gd name="T6" fmla="*/ 27 w 35"/>
                <a:gd name="T7" fmla="*/ 0 h 28"/>
                <a:gd name="T8" fmla="*/ 13 w 35"/>
                <a:gd name="T9" fmla="*/ 1 h 28"/>
                <a:gd name="T10" fmla="*/ 0 w 35"/>
                <a:gd name="T11" fmla="*/ 12 h 28"/>
                <a:gd name="T12" fmla="*/ 3 w 35"/>
                <a:gd name="T13" fmla="*/ 25 h 28"/>
                <a:gd name="T14" fmla="*/ 16 w 35"/>
                <a:gd name="T15" fmla="*/ 28 h 28"/>
                <a:gd name="T16" fmla="*/ 27 w 35"/>
                <a:gd name="T17" fmla="*/ 19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8">
                  <a:moveTo>
                    <a:pt x="27" y="19"/>
                  </a:moveTo>
                  <a:lnTo>
                    <a:pt x="35" y="6"/>
                  </a:lnTo>
                  <a:lnTo>
                    <a:pt x="33" y="0"/>
                  </a:lnTo>
                  <a:lnTo>
                    <a:pt x="27" y="0"/>
                  </a:lnTo>
                  <a:lnTo>
                    <a:pt x="13" y="1"/>
                  </a:lnTo>
                  <a:lnTo>
                    <a:pt x="0" y="12"/>
                  </a:lnTo>
                  <a:lnTo>
                    <a:pt x="3" y="25"/>
                  </a:lnTo>
                  <a:lnTo>
                    <a:pt x="16" y="28"/>
                  </a:lnTo>
                  <a:lnTo>
                    <a:pt x="27" y="19"/>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0" name="Freeform 241"/>
            <p:cNvSpPr>
              <a:spLocks/>
            </p:cNvSpPr>
            <p:nvPr/>
          </p:nvSpPr>
          <p:spPr bwMode="auto">
            <a:xfrm>
              <a:off x="11388906" y="10191636"/>
              <a:ext cx="41275" cy="85725"/>
            </a:xfrm>
            <a:custGeom>
              <a:avLst/>
              <a:gdLst>
                <a:gd name="T0" fmla="*/ 26 w 26"/>
                <a:gd name="T1" fmla="*/ 11 h 54"/>
                <a:gd name="T2" fmla="*/ 26 w 26"/>
                <a:gd name="T3" fmla="*/ 3 h 54"/>
                <a:gd name="T4" fmla="*/ 20 w 26"/>
                <a:gd name="T5" fmla="*/ 0 h 54"/>
                <a:gd name="T6" fmla="*/ 12 w 26"/>
                <a:gd name="T7" fmla="*/ 3 h 54"/>
                <a:gd name="T8" fmla="*/ 0 w 26"/>
                <a:gd name="T9" fmla="*/ 27 h 54"/>
                <a:gd name="T10" fmla="*/ 1 w 26"/>
                <a:gd name="T11" fmla="*/ 40 h 54"/>
                <a:gd name="T12" fmla="*/ 11 w 26"/>
                <a:gd name="T13" fmla="*/ 54 h 54"/>
                <a:gd name="T14" fmla="*/ 26 w 26"/>
                <a:gd name="T15" fmla="*/ 11 h 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54">
                  <a:moveTo>
                    <a:pt x="26" y="11"/>
                  </a:moveTo>
                  <a:lnTo>
                    <a:pt x="26" y="3"/>
                  </a:lnTo>
                  <a:lnTo>
                    <a:pt x="20" y="0"/>
                  </a:lnTo>
                  <a:lnTo>
                    <a:pt x="12" y="3"/>
                  </a:lnTo>
                  <a:lnTo>
                    <a:pt x="0" y="27"/>
                  </a:lnTo>
                  <a:lnTo>
                    <a:pt x="1" y="40"/>
                  </a:lnTo>
                  <a:lnTo>
                    <a:pt x="11" y="54"/>
                  </a:lnTo>
                  <a:lnTo>
                    <a:pt x="26" y="11"/>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1" name="Freeform 242"/>
            <p:cNvSpPr>
              <a:spLocks/>
            </p:cNvSpPr>
            <p:nvPr/>
          </p:nvSpPr>
          <p:spPr bwMode="auto">
            <a:xfrm>
              <a:off x="11855631" y="9604261"/>
              <a:ext cx="142875" cy="128588"/>
            </a:xfrm>
            <a:custGeom>
              <a:avLst/>
              <a:gdLst>
                <a:gd name="T0" fmla="*/ 10 w 90"/>
                <a:gd name="T1" fmla="*/ 52 h 81"/>
                <a:gd name="T2" fmla="*/ 1 w 90"/>
                <a:gd name="T3" fmla="*/ 60 h 81"/>
                <a:gd name="T4" fmla="*/ 0 w 90"/>
                <a:gd name="T5" fmla="*/ 66 h 81"/>
                <a:gd name="T6" fmla="*/ 5 w 90"/>
                <a:gd name="T7" fmla="*/ 69 h 81"/>
                <a:gd name="T8" fmla="*/ 4 w 90"/>
                <a:gd name="T9" fmla="*/ 81 h 81"/>
                <a:gd name="T10" fmla="*/ 20 w 90"/>
                <a:gd name="T11" fmla="*/ 74 h 81"/>
                <a:gd name="T12" fmla="*/ 10 w 90"/>
                <a:gd name="T13" fmla="*/ 67 h 81"/>
                <a:gd name="T14" fmla="*/ 7 w 90"/>
                <a:gd name="T15" fmla="*/ 64 h 81"/>
                <a:gd name="T16" fmla="*/ 11 w 90"/>
                <a:gd name="T17" fmla="*/ 61 h 81"/>
                <a:gd name="T18" fmla="*/ 20 w 90"/>
                <a:gd name="T19" fmla="*/ 62 h 81"/>
                <a:gd name="T20" fmla="*/ 31 w 90"/>
                <a:gd name="T21" fmla="*/ 60 h 81"/>
                <a:gd name="T22" fmla="*/ 51 w 90"/>
                <a:gd name="T23" fmla="*/ 72 h 81"/>
                <a:gd name="T24" fmla="*/ 61 w 90"/>
                <a:gd name="T25" fmla="*/ 54 h 81"/>
                <a:gd name="T26" fmla="*/ 88 w 90"/>
                <a:gd name="T27" fmla="*/ 45 h 81"/>
                <a:gd name="T28" fmla="*/ 90 w 90"/>
                <a:gd name="T29" fmla="*/ 41 h 81"/>
                <a:gd name="T30" fmla="*/ 82 w 90"/>
                <a:gd name="T31" fmla="*/ 43 h 81"/>
                <a:gd name="T32" fmla="*/ 79 w 90"/>
                <a:gd name="T33" fmla="*/ 34 h 81"/>
                <a:gd name="T34" fmla="*/ 83 w 90"/>
                <a:gd name="T35" fmla="*/ 25 h 81"/>
                <a:gd name="T36" fmla="*/ 77 w 90"/>
                <a:gd name="T37" fmla="*/ 28 h 81"/>
                <a:gd name="T38" fmla="*/ 71 w 90"/>
                <a:gd name="T39" fmla="*/ 32 h 81"/>
                <a:gd name="T40" fmla="*/ 53 w 90"/>
                <a:gd name="T41" fmla="*/ 25 h 81"/>
                <a:gd name="T42" fmla="*/ 30 w 90"/>
                <a:gd name="T43" fmla="*/ 0 h 81"/>
                <a:gd name="T44" fmla="*/ 27 w 90"/>
                <a:gd name="T45" fmla="*/ 3 h 81"/>
                <a:gd name="T46" fmla="*/ 30 w 90"/>
                <a:gd name="T47" fmla="*/ 14 h 81"/>
                <a:gd name="T48" fmla="*/ 27 w 90"/>
                <a:gd name="T49" fmla="*/ 28 h 81"/>
                <a:gd name="T50" fmla="*/ 24 w 90"/>
                <a:gd name="T51" fmla="*/ 35 h 81"/>
                <a:gd name="T52" fmla="*/ 24 w 90"/>
                <a:gd name="T53" fmla="*/ 41 h 81"/>
                <a:gd name="T54" fmla="*/ 22 w 90"/>
                <a:gd name="T55" fmla="*/ 47 h 81"/>
                <a:gd name="T56" fmla="*/ 10 w 90"/>
                <a:gd name="T57" fmla="*/ 45 h 81"/>
                <a:gd name="T58" fmla="*/ 10 w 90"/>
                <a:gd name="T59" fmla="*/ 5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0" h="81">
                  <a:moveTo>
                    <a:pt x="10" y="52"/>
                  </a:moveTo>
                  <a:lnTo>
                    <a:pt x="1" y="60"/>
                  </a:lnTo>
                  <a:lnTo>
                    <a:pt x="0" y="66"/>
                  </a:lnTo>
                  <a:lnTo>
                    <a:pt x="5" y="69"/>
                  </a:lnTo>
                  <a:lnTo>
                    <a:pt x="4" y="81"/>
                  </a:lnTo>
                  <a:lnTo>
                    <a:pt x="20" y="74"/>
                  </a:lnTo>
                  <a:lnTo>
                    <a:pt x="10" y="67"/>
                  </a:lnTo>
                  <a:lnTo>
                    <a:pt x="7" y="64"/>
                  </a:lnTo>
                  <a:lnTo>
                    <a:pt x="11" y="61"/>
                  </a:lnTo>
                  <a:lnTo>
                    <a:pt x="20" y="62"/>
                  </a:lnTo>
                  <a:lnTo>
                    <a:pt x="31" y="60"/>
                  </a:lnTo>
                  <a:lnTo>
                    <a:pt x="51" y="72"/>
                  </a:lnTo>
                  <a:lnTo>
                    <a:pt x="61" y="54"/>
                  </a:lnTo>
                  <a:lnTo>
                    <a:pt x="88" y="45"/>
                  </a:lnTo>
                  <a:lnTo>
                    <a:pt x="90" y="41"/>
                  </a:lnTo>
                  <a:lnTo>
                    <a:pt x="82" y="43"/>
                  </a:lnTo>
                  <a:lnTo>
                    <a:pt x="79" y="34"/>
                  </a:lnTo>
                  <a:lnTo>
                    <a:pt x="83" y="25"/>
                  </a:lnTo>
                  <a:lnTo>
                    <a:pt x="77" y="28"/>
                  </a:lnTo>
                  <a:lnTo>
                    <a:pt x="71" y="32"/>
                  </a:lnTo>
                  <a:lnTo>
                    <a:pt x="53" y="25"/>
                  </a:lnTo>
                  <a:lnTo>
                    <a:pt x="30" y="0"/>
                  </a:lnTo>
                  <a:lnTo>
                    <a:pt x="27" y="3"/>
                  </a:lnTo>
                  <a:lnTo>
                    <a:pt x="30" y="14"/>
                  </a:lnTo>
                  <a:lnTo>
                    <a:pt x="27" y="28"/>
                  </a:lnTo>
                  <a:lnTo>
                    <a:pt x="24" y="35"/>
                  </a:lnTo>
                  <a:lnTo>
                    <a:pt x="24" y="41"/>
                  </a:lnTo>
                  <a:lnTo>
                    <a:pt x="22" y="47"/>
                  </a:lnTo>
                  <a:lnTo>
                    <a:pt x="10" y="45"/>
                  </a:lnTo>
                  <a:lnTo>
                    <a:pt x="10" y="52"/>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2" name="Freeform 243"/>
            <p:cNvSpPr>
              <a:spLocks/>
            </p:cNvSpPr>
            <p:nvPr/>
          </p:nvSpPr>
          <p:spPr bwMode="auto">
            <a:xfrm>
              <a:off x="11601631" y="9980499"/>
              <a:ext cx="3175" cy="7938"/>
            </a:xfrm>
            <a:custGeom>
              <a:avLst/>
              <a:gdLst>
                <a:gd name="T0" fmla="*/ 0 w 2"/>
                <a:gd name="T1" fmla="*/ 5 h 5"/>
                <a:gd name="T2" fmla="*/ 2 w 2"/>
                <a:gd name="T3" fmla="*/ 2 h 5"/>
                <a:gd name="T4" fmla="*/ 0 w 2"/>
                <a:gd name="T5" fmla="*/ 0 h 5"/>
                <a:gd name="T6" fmla="*/ 0 w 2"/>
                <a:gd name="T7" fmla="*/ 5 h 5"/>
              </a:gdLst>
              <a:ahLst/>
              <a:cxnLst>
                <a:cxn ang="0">
                  <a:pos x="T0" y="T1"/>
                </a:cxn>
                <a:cxn ang="0">
                  <a:pos x="T2" y="T3"/>
                </a:cxn>
                <a:cxn ang="0">
                  <a:pos x="T4" y="T5"/>
                </a:cxn>
                <a:cxn ang="0">
                  <a:pos x="T6" y="T7"/>
                </a:cxn>
              </a:cxnLst>
              <a:rect l="0" t="0" r="r" b="b"/>
              <a:pathLst>
                <a:path w="2" h="5">
                  <a:moveTo>
                    <a:pt x="0" y="5"/>
                  </a:moveTo>
                  <a:lnTo>
                    <a:pt x="2" y="2"/>
                  </a:lnTo>
                  <a:lnTo>
                    <a:pt x="0" y="0"/>
                  </a:lnTo>
                  <a:lnTo>
                    <a:pt x="0" y="5"/>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3" name="Freeform 244"/>
            <p:cNvSpPr>
              <a:spLocks/>
            </p:cNvSpPr>
            <p:nvPr/>
          </p:nvSpPr>
          <p:spPr bwMode="auto">
            <a:xfrm>
              <a:off x="11634968" y="10056699"/>
              <a:ext cx="4763" cy="3175"/>
            </a:xfrm>
            <a:custGeom>
              <a:avLst/>
              <a:gdLst>
                <a:gd name="T0" fmla="*/ 1 w 3"/>
                <a:gd name="T1" fmla="*/ 0 h 2"/>
                <a:gd name="T2" fmla="*/ 0 w 3"/>
                <a:gd name="T3" fmla="*/ 2 h 2"/>
                <a:gd name="T4" fmla="*/ 3 w 3"/>
                <a:gd name="T5" fmla="*/ 2 h 2"/>
                <a:gd name="T6" fmla="*/ 1 w 3"/>
                <a:gd name="T7" fmla="*/ 0 h 2"/>
              </a:gdLst>
              <a:ahLst/>
              <a:cxnLst>
                <a:cxn ang="0">
                  <a:pos x="T0" y="T1"/>
                </a:cxn>
                <a:cxn ang="0">
                  <a:pos x="T2" y="T3"/>
                </a:cxn>
                <a:cxn ang="0">
                  <a:pos x="T4" y="T5"/>
                </a:cxn>
                <a:cxn ang="0">
                  <a:pos x="T6" y="T7"/>
                </a:cxn>
              </a:cxnLst>
              <a:rect l="0" t="0" r="r" b="b"/>
              <a:pathLst>
                <a:path w="3" h="2">
                  <a:moveTo>
                    <a:pt x="1" y="0"/>
                  </a:moveTo>
                  <a:lnTo>
                    <a:pt x="0" y="2"/>
                  </a:lnTo>
                  <a:lnTo>
                    <a:pt x="3" y="2"/>
                  </a:lnTo>
                  <a:lnTo>
                    <a:pt x="1"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4" name="Freeform 245"/>
            <p:cNvSpPr>
              <a:spLocks/>
            </p:cNvSpPr>
            <p:nvPr/>
          </p:nvSpPr>
          <p:spPr bwMode="auto">
            <a:xfrm>
              <a:off x="11615918" y="9956686"/>
              <a:ext cx="53975" cy="80963"/>
            </a:xfrm>
            <a:custGeom>
              <a:avLst/>
              <a:gdLst>
                <a:gd name="T0" fmla="*/ 24 w 34"/>
                <a:gd name="T1" fmla="*/ 6 h 51"/>
                <a:gd name="T2" fmla="*/ 17 w 34"/>
                <a:gd name="T3" fmla="*/ 0 h 51"/>
                <a:gd name="T4" fmla="*/ 0 w 34"/>
                <a:gd name="T5" fmla="*/ 13 h 51"/>
                <a:gd name="T6" fmla="*/ 4 w 34"/>
                <a:gd name="T7" fmla="*/ 18 h 51"/>
                <a:gd name="T8" fmla="*/ 4 w 34"/>
                <a:gd name="T9" fmla="*/ 20 h 51"/>
                <a:gd name="T10" fmla="*/ 0 w 34"/>
                <a:gd name="T11" fmla="*/ 17 h 51"/>
                <a:gd name="T12" fmla="*/ 1 w 34"/>
                <a:gd name="T13" fmla="*/ 25 h 51"/>
                <a:gd name="T14" fmla="*/ 8 w 34"/>
                <a:gd name="T15" fmla="*/ 24 h 51"/>
                <a:gd name="T16" fmla="*/ 8 w 34"/>
                <a:gd name="T17" fmla="*/ 14 h 51"/>
                <a:gd name="T18" fmla="*/ 13 w 34"/>
                <a:gd name="T19" fmla="*/ 21 h 51"/>
                <a:gd name="T20" fmla="*/ 13 w 34"/>
                <a:gd name="T21" fmla="*/ 27 h 51"/>
                <a:gd name="T22" fmla="*/ 8 w 34"/>
                <a:gd name="T23" fmla="*/ 36 h 51"/>
                <a:gd name="T24" fmla="*/ 8 w 34"/>
                <a:gd name="T25" fmla="*/ 46 h 51"/>
                <a:gd name="T26" fmla="*/ 13 w 34"/>
                <a:gd name="T27" fmla="*/ 49 h 51"/>
                <a:gd name="T28" fmla="*/ 15 w 34"/>
                <a:gd name="T29" fmla="*/ 40 h 51"/>
                <a:gd name="T30" fmla="*/ 17 w 34"/>
                <a:gd name="T31" fmla="*/ 40 h 51"/>
                <a:gd name="T32" fmla="*/ 17 w 34"/>
                <a:gd name="T33" fmla="*/ 51 h 51"/>
                <a:gd name="T34" fmla="*/ 24 w 34"/>
                <a:gd name="T35" fmla="*/ 44 h 51"/>
                <a:gd name="T36" fmla="*/ 34 w 34"/>
                <a:gd name="T37" fmla="*/ 20 h 51"/>
                <a:gd name="T38" fmla="*/ 32 w 34"/>
                <a:gd name="T39" fmla="*/ 13 h 51"/>
                <a:gd name="T40" fmla="*/ 28 w 34"/>
                <a:gd name="T41" fmla="*/ 13 h 51"/>
                <a:gd name="T42" fmla="*/ 30 w 34"/>
                <a:gd name="T43" fmla="*/ 6 h 51"/>
                <a:gd name="T44" fmla="*/ 24 w 34"/>
                <a:gd name="T45" fmla="*/ 6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 h="51">
                  <a:moveTo>
                    <a:pt x="24" y="6"/>
                  </a:moveTo>
                  <a:lnTo>
                    <a:pt x="17" y="0"/>
                  </a:lnTo>
                  <a:lnTo>
                    <a:pt x="0" y="13"/>
                  </a:lnTo>
                  <a:lnTo>
                    <a:pt x="4" y="18"/>
                  </a:lnTo>
                  <a:lnTo>
                    <a:pt x="4" y="20"/>
                  </a:lnTo>
                  <a:lnTo>
                    <a:pt x="0" y="17"/>
                  </a:lnTo>
                  <a:lnTo>
                    <a:pt x="1" y="25"/>
                  </a:lnTo>
                  <a:lnTo>
                    <a:pt x="8" y="24"/>
                  </a:lnTo>
                  <a:lnTo>
                    <a:pt x="8" y="14"/>
                  </a:lnTo>
                  <a:lnTo>
                    <a:pt x="13" y="21"/>
                  </a:lnTo>
                  <a:lnTo>
                    <a:pt x="13" y="27"/>
                  </a:lnTo>
                  <a:lnTo>
                    <a:pt x="8" y="36"/>
                  </a:lnTo>
                  <a:lnTo>
                    <a:pt x="8" y="46"/>
                  </a:lnTo>
                  <a:lnTo>
                    <a:pt x="13" y="49"/>
                  </a:lnTo>
                  <a:lnTo>
                    <a:pt x="15" y="40"/>
                  </a:lnTo>
                  <a:lnTo>
                    <a:pt x="17" y="40"/>
                  </a:lnTo>
                  <a:lnTo>
                    <a:pt x="17" y="51"/>
                  </a:lnTo>
                  <a:lnTo>
                    <a:pt x="24" y="44"/>
                  </a:lnTo>
                  <a:lnTo>
                    <a:pt x="34" y="20"/>
                  </a:lnTo>
                  <a:lnTo>
                    <a:pt x="32" y="13"/>
                  </a:lnTo>
                  <a:lnTo>
                    <a:pt x="28" y="13"/>
                  </a:lnTo>
                  <a:lnTo>
                    <a:pt x="30" y="6"/>
                  </a:lnTo>
                  <a:lnTo>
                    <a:pt x="24" y="6"/>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5" name="Freeform 246"/>
            <p:cNvSpPr>
              <a:spLocks/>
            </p:cNvSpPr>
            <p:nvPr/>
          </p:nvSpPr>
          <p:spPr bwMode="auto">
            <a:xfrm>
              <a:off x="11736568" y="9937636"/>
              <a:ext cx="4763" cy="11113"/>
            </a:xfrm>
            <a:custGeom>
              <a:avLst/>
              <a:gdLst>
                <a:gd name="T0" fmla="*/ 3 w 3"/>
                <a:gd name="T1" fmla="*/ 0 h 7"/>
                <a:gd name="T2" fmla="*/ 0 w 3"/>
                <a:gd name="T3" fmla="*/ 7 h 7"/>
                <a:gd name="T4" fmla="*/ 3 w 3"/>
                <a:gd name="T5" fmla="*/ 6 h 7"/>
                <a:gd name="T6" fmla="*/ 3 w 3"/>
                <a:gd name="T7" fmla="*/ 0 h 7"/>
              </a:gdLst>
              <a:ahLst/>
              <a:cxnLst>
                <a:cxn ang="0">
                  <a:pos x="T0" y="T1"/>
                </a:cxn>
                <a:cxn ang="0">
                  <a:pos x="T2" y="T3"/>
                </a:cxn>
                <a:cxn ang="0">
                  <a:pos x="T4" y="T5"/>
                </a:cxn>
                <a:cxn ang="0">
                  <a:pos x="T6" y="T7"/>
                </a:cxn>
              </a:cxnLst>
              <a:rect l="0" t="0" r="r" b="b"/>
              <a:pathLst>
                <a:path w="3" h="7">
                  <a:moveTo>
                    <a:pt x="3" y="0"/>
                  </a:moveTo>
                  <a:lnTo>
                    <a:pt x="0" y="7"/>
                  </a:lnTo>
                  <a:lnTo>
                    <a:pt x="3" y="6"/>
                  </a:lnTo>
                  <a:lnTo>
                    <a:pt x="3"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6" name="Freeform 247"/>
            <p:cNvSpPr>
              <a:spLocks/>
            </p:cNvSpPr>
            <p:nvPr/>
          </p:nvSpPr>
          <p:spPr bwMode="auto">
            <a:xfrm>
              <a:off x="11676243" y="9943986"/>
              <a:ext cx="60325" cy="46038"/>
            </a:xfrm>
            <a:custGeom>
              <a:avLst/>
              <a:gdLst>
                <a:gd name="T0" fmla="*/ 9 w 38"/>
                <a:gd name="T1" fmla="*/ 29 h 29"/>
                <a:gd name="T2" fmla="*/ 12 w 38"/>
                <a:gd name="T3" fmla="*/ 29 h 29"/>
                <a:gd name="T4" fmla="*/ 19 w 38"/>
                <a:gd name="T5" fmla="*/ 17 h 29"/>
                <a:gd name="T6" fmla="*/ 29 w 38"/>
                <a:gd name="T7" fmla="*/ 21 h 29"/>
                <a:gd name="T8" fmla="*/ 38 w 38"/>
                <a:gd name="T9" fmla="*/ 10 h 29"/>
                <a:gd name="T10" fmla="*/ 35 w 38"/>
                <a:gd name="T11" fmla="*/ 3 h 29"/>
                <a:gd name="T12" fmla="*/ 27 w 38"/>
                <a:gd name="T13" fmla="*/ 0 h 29"/>
                <a:gd name="T14" fmla="*/ 16 w 38"/>
                <a:gd name="T15" fmla="*/ 8 h 29"/>
                <a:gd name="T16" fmla="*/ 9 w 38"/>
                <a:gd name="T17" fmla="*/ 7 h 29"/>
                <a:gd name="T18" fmla="*/ 0 w 38"/>
                <a:gd name="T19" fmla="*/ 19 h 29"/>
                <a:gd name="T20" fmla="*/ 3 w 38"/>
                <a:gd name="T21" fmla="*/ 19 h 29"/>
                <a:gd name="T22" fmla="*/ 9 w 38"/>
                <a:gd name="T23"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 h="29">
                  <a:moveTo>
                    <a:pt x="9" y="29"/>
                  </a:moveTo>
                  <a:lnTo>
                    <a:pt x="12" y="29"/>
                  </a:lnTo>
                  <a:lnTo>
                    <a:pt x="19" y="17"/>
                  </a:lnTo>
                  <a:lnTo>
                    <a:pt x="29" y="21"/>
                  </a:lnTo>
                  <a:lnTo>
                    <a:pt x="38" y="10"/>
                  </a:lnTo>
                  <a:lnTo>
                    <a:pt x="35" y="3"/>
                  </a:lnTo>
                  <a:lnTo>
                    <a:pt x="27" y="0"/>
                  </a:lnTo>
                  <a:lnTo>
                    <a:pt x="16" y="8"/>
                  </a:lnTo>
                  <a:lnTo>
                    <a:pt x="9" y="7"/>
                  </a:lnTo>
                  <a:lnTo>
                    <a:pt x="0" y="19"/>
                  </a:lnTo>
                  <a:lnTo>
                    <a:pt x="3" y="19"/>
                  </a:lnTo>
                  <a:lnTo>
                    <a:pt x="9" y="29"/>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7" name="Freeform 248"/>
            <p:cNvSpPr>
              <a:spLocks/>
            </p:cNvSpPr>
            <p:nvPr/>
          </p:nvSpPr>
          <p:spPr bwMode="auto">
            <a:xfrm>
              <a:off x="11885793" y="9609024"/>
              <a:ext cx="4763" cy="6350"/>
            </a:xfrm>
            <a:custGeom>
              <a:avLst/>
              <a:gdLst>
                <a:gd name="T0" fmla="*/ 1 w 3"/>
                <a:gd name="T1" fmla="*/ 0 h 4"/>
                <a:gd name="T2" fmla="*/ 0 w 3"/>
                <a:gd name="T3" fmla="*/ 3 h 4"/>
                <a:gd name="T4" fmla="*/ 3 w 3"/>
                <a:gd name="T5" fmla="*/ 4 h 4"/>
                <a:gd name="T6" fmla="*/ 1 w 3"/>
                <a:gd name="T7" fmla="*/ 0 h 4"/>
              </a:gdLst>
              <a:ahLst/>
              <a:cxnLst>
                <a:cxn ang="0">
                  <a:pos x="T0" y="T1"/>
                </a:cxn>
                <a:cxn ang="0">
                  <a:pos x="T2" y="T3"/>
                </a:cxn>
                <a:cxn ang="0">
                  <a:pos x="T4" y="T5"/>
                </a:cxn>
                <a:cxn ang="0">
                  <a:pos x="T6" y="T7"/>
                </a:cxn>
              </a:cxnLst>
              <a:rect l="0" t="0" r="r" b="b"/>
              <a:pathLst>
                <a:path w="3" h="4">
                  <a:moveTo>
                    <a:pt x="1" y="0"/>
                  </a:moveTo>
                  <a:lnTo>
                    <a:pt x="0" y="3"/>
                  </a:lnTo>
                  <a:lnTo>
                    <a:pt x="3" y="4"/>
                  </a:lnTo>
                  <a:lnTo>
                    <a:pt x="1"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8" name="Freeform 249"/>
            <p:cNvSpPr>
              <a:spLocks/>
            </p:cNvSpPr>
            <p:nvPr/>
          </p:nvSpPr>
          <p:spPr bwMode="auto">
            <a:xfrm>
              <a:off x="11533368" y="9974149"/>
              <a:ext cx="17463" cy="4763"/>
            </a:xfrm>
            <a:custGeom>
              <a:avLst/>
              <a:gdLst>
                <a:gd name="T0" fmla="*/ 0 w 11"/>
                <a:gd name="T1" fmla="*/ 2 h 3"/>
                <a:gd name="T2" fmla="*/ 4 w 11"/>
                <a:gd name="T3" fmla="*/ 3 h 3"/>
                <a:gd name="T4" fmla="*/ 11 w 11"/>
                <a:gd name="T5" fmla="*/ 0 h 3"/>
                <a:gd name="T6" fmla="*/ 1 w 11"/>
                <a:gd name="T7" fmla="*/ 0 h 3"/>
                <a:gd name="T8" fmla="*/ 0 w 11"/>
                <a:gd name="T9" fmla="*/ 2 h 3"/>
              </a:gdLst>
              <a:ahLst/>
              <a:cxnLst>
                <a:cxn ang="0">
                  <a:pos x="T0" y="T1"/>
                </a:cxn>
                <a:cxn ang="0">
                  <a:pos x="T2" y="T3"/>
                </a:cxn>
                <a:cxn ang="0">
                  <a:pos x="T4" y="T5"/>
                </a:cxn>
                <a:cxn ang="0">
                  <a:pos x="T6" y="T7"/>
                </a:cxn>
                <a:cxn ang="0">
                  <a:pos x="T8" y="T9"/>
                </a:cxn>
              </a:cxnLst>
              <a:rect l="0" t="0" r="r" b="b"/>
              <a:pathLst>
                <a:path w="11" h="3">
                  <a:moveTo>
                    <a:pt x="0" y="2"/>
                  </a:moveTo>
                  <a:lnTo>
                    <a:pt x="4" y="3"/>
                  </a:lnTo>
                  <a:lnTo>
                    <a:pt x="11" y="0"/>
                  </a:lnTo>
                  <a:lnTo>
                    <a:pt x="1" y="0"/>
                  </a:lnTo>
                  <a:lnTo>
                    <a:pt x="0" y="2"/>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9" name="Freeform 250"/>
            <p:cNvSpPr>
              <a:spLocks/>
            </p:cNvSpPr>
            <p:nvPr/>
          </p:nvSpPr>
          <p:spPr bwMode="auto">
            <a:xfrm>
              <a:off x="11004731" y="10767899"/>
              <a:ext cx="6350" cy="6350"/>
            </a:xfrm>
            <a:custGeom>
              <a:avLst/>
              <a:gdLst>
                <a:gd name="T0" fmla="*/ 2 w 4"/>
                <a:gd name="T1" fmla="*/ 0 h 4"/>
                <a:gd name="T2" fmla="*/ 0 w 4"/>
                <a:gd name="T3" fmla="*/ 4 h 4"/>
                <a:gd name="T4" fmla="*/ 4 w 4"/>
                <a:gd name="T5" fmla="*/ 2 h 4"/>
                <a:gd name="T6" fmla="*/ 2 w 4"/>
                <a:gd name="T7" fmla="*/ 0 h 4"/>
              </a:gdLst>
              <a:ahLst/>
              <a:cxnLst>
                <a:cxn ang="0">
                  <a:pos x="T0" y="T1"/>
                </a:cxn>
                <a:cxn ang="0">
                  <a:pos x="T2" y="T3"/>
                </a:cxn>
                <a:cxn ang="0">
                  <a:pos x="T4" y="T5"/>
                </a:cxn>
                <a:cxn ang="0">
                  <a:pos x="T6" y="T7"/>
                </a:cxn>
              </a:cxnLst>
              <a:rect l="0" t="0" r="r" b="b"/>
              <a:pathLst>
                <a:path w="4" h="4">
                  <a:moveTo>
                    <a:pt x="2" y="0"/>
                  </a:moveTo>
                  <a:lnTo>
                    <a:pt x="0" y="4"/>
                  </a:lnTo>
                  <a:lnTo>
                    <a:pt x="4" y="2"/>
                  </a:lnTo>
                  <a:lnTo>
                    <a:pt x="2"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0" name="Freeform 251"/>
            <p:cNvSpPr>
              <a:spLocks/>
            </p:cNvSpPr>
            <p:nvPr/>
          </p:nvSpPr>
          <p:spPr bwMode="auto">
            <a:xfrm>
              <a:off x="10803118" y="10674236"/>
              <a:ext cx="255588" cy="268288"/>
            </a:xfrm>
            <a:custGeom>
              <a:avLst/>
              <a:gdLst>
                <a:gd name="T0" fmla="*/ 159 w 161"/>
                <a:gd name="T1" fmla="*/ 169 h 169"/>
                <a:gd name="T2" fmla="*/ 161 w 161"/>
                <a:gd name="T3" fmla="*/ 128 h 169"/>
                <a:gd name="T4" fmla="*/ 155 w 161"/>
                <a:gd name="T5" fmla="*/ 119 h 169"/>
                <a:gd name="T6" fmla="*/ 143 w 161"/>
                <a:gd name="T7" fmla="*/ 117 h 169"/>
                <a:gd name="T8" fmla="*/ 144 w 161"/>
                <a:gd name="T9" fmla="*/ 113 h 169"/>
                <a:gd name="T10" fmla="*/ 140 w 161"/>
                <a:gd name="T11" fmla="*/ 110 h 169"/>
                <a:gd name="T12" fmla="*/ 136 w 161"/>
                <a:gd name="T13" fmla="*/ 98 h 169"/>
                <a:gd name="T14" fmla="*/ 124 w 161"/>
                <a:gd name="T15" fmla="*/ 94 h 169"/>
                <a:gd name="T16" fmla="*/ 123 w 161"/>
                <a:gd name="T17" fmla="*/ 92 h 169"/>
                <a:gd name="T18" fmla="*/ 127 w 161"/>
                <a:gd name="T19" fmla="*/ 86 h 169"/>
                <a:gd name="T20" fmla="*/ 124 w 161"/>
                <a:gd name="T21" fmla="*/ 86 h 169"/>
                <a:gd name="T22" fmla="*/ 128 w 161"/>
                <a:gd name="T23" fmla="*/ 81 h 169"/>
                <a:gd name="T24" fmla="*/ 127 w 161"/>
                <a:gd name="T25" fmla="*/ 78 h 169"/>
                <a:gd name="T26" fmla="*/ 122 w 161"/>
                <a:gd name="T27" fmla="*/ 76 h 169"/>
                <a:gd name="T28" fmla="*/ 116 w 161"/>
                <a:gd name="T29" fmla="*/ 78 h 169"/>
                <a:gd name="T30" fmla="*/ 117 w 161"/>
                <a:gd name="T31" fmla="*/ 76 h 169"/>
                <a:gd name="T32" fmla="*/ 117 w 161"/>
                <a:gd name="T33" fmla="*/ 67 h 169"/>
                <a:gd name="T34" fmla="*/ 110 w 161"/>
                <a:gd name="T35" fmla="*/ 67 h 169"/>
                <a:gd name="T36" fmla="*/ 105 w 161"/>
                <a:gd name="T37" fmla="*/ 63 h 169"/>
                <a:gd name="T38" fmla="*/ 104 w 161"/>
                <a:gd name="T39" fmla="*/ 65 h 169"/>
                <a:gd name="T40" fmla="*/ 102 w 161"/>
                <a:gd name="T41" fmla="*/ 61 h 169"/>
                <a:gd name="T42" fmla="*/ 92 w 161"/>
                <a:gd name="T43" fmla="*/ 57 h 169"/>
                <a:gd name="T44" fmla="*/ 88 w 161"/>
                <a:gd name="T45" fmla="*/ 50 h 169"/>
                <a:gd name="T46" fmla="*/ 84 w 161"/>
                <a:gd name="T47" fmla="*/ 52 h 169"/>
                <a:gd name="T48" fmla="*/ 82 w 161"/>
                <a:gd name="T49" fmla="*/ 50 h 169"/>
                <a:gd name="T50" fmla="*/ 63 w 161"/>
                <a:gd name="T51" fmla="*/ 32 h 169"/>
                <a:gd name="T52" fmla="*/ 46 w 161"/>
                <a:gd name="T53" fmla="*/ 21 h 169"/>
                <a:gd name="T54" fmla="*/ 36 w 161"/>
                <a:gd name="T55" fmla="*/ 7 h 169"/>
                <a:gd name="T56" fmla="*/ 18 w 161"/>
                <a:gd name="T57" fmla="*/ 5 h 169"/>
                <a:gd name="T58" fmla="*/ 8 w 161"/>
                <a:gd name="T59" fmla="*/ 0 h 169"/>
                <a:gd name="T60" fmla="*/ 0 w 161"/>
                <a:gd name="T61" fmla="*/ 0 h 169"/>
                <a:gd name="T62" fmla="*/ 6 w 161"/>
                <a:gd name="T63" fmla="*/ 12 h 169"/>
                <a:gd name="T64" fmla="*/ 21 w 161"/>
                <a:gd name="T65" fmla="*/ 27 h 169"/>
                <a:gd name="T66" fmla="*/ 30 w 161"/>
                <a:gd name="T67" fmla="*/ 31 h 169"/>
                <a:gd name="T68" fmla="*/ 37 w 161"/>
                <a:gd name="T69" fmla="*/ 40 h 169"/>
                <a:gd name="T70" fmla="*/ 38 w 161"/>
                <a:gd name="T71" fmla="*/ 48 h 169"/>
                <a:gd name="T72" fmla="*/ 50 w 161"/>
                <a:gd name="T73" fmla="*/ 53 h 169"/>
                <a:gd name="T74" fmla="*/ 55 w 161"/>
                <a:gd name="T75" fmla="*/ 57 h 169"/>
                <a:gd name="T76" fmla="*/ 60 w 161"/>
                <a:gd name="T77" fmla="*/ 78 h 169"/>
                <a:gd name="T78" fmla="*/ 69 w 161"/>
                <a:gd name="T79" fmla="*/ 83 h 169"/>
                <a:gd name="T80" fmla="*/ 76 w 161"/>
                <a:gd name="T81" fmla="*/ 92 h 169"/>
                <a:gd name="T82" fmla="*/ 86 w 161"/>
                <a:gd name="T83" fmla="*/ 117 h 169"/>
                <a:gd name="T84" fmla="*/ 104 w 161"/>
                <a:gd name="T85" fmla="*/ 136 h 169"/>
                <a:gd name="T86" fmla="*/ 109 w 161"/>
                <a:gd name="T87" fmla="*/ 143 h 169"/>
                <a:gd name="T88" fmla="*/ 128 w 161"/>
                <a:gd name="T89" fmla="*/ 157 h 169"/>
                <a:gd name="T90" fmla="*/ 142 w 161"/>
                <a:gd name="T91" fmla="*/ 169 h 169"/>
                <a:gd name="T92" fmla="*/ 142 w 161"/>
                <a:gd name="T93" fmla="*/ 165 h 169"/>
                <a:gd name="T94" fmla="*/ 143 w 161"/>
                <a:gd name="T95" fmla="*/ 164 h 169"/>
                <a:gd name="T96" fmla="*/ 148 w 161"/>
                <a:gd name="T97" fmla="*/ 168 h 169"/>
                <a:gd name="T98" fmla="*/ 151 w 161"/>
                <a:gd name="T99" fmla="*/ 164 h 169"/>
                <a:gd name="T100" fmla="*/ 159 w 161"/>
                <a:gd name="T101"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1" h="169">
                  <a:moveTo>
                    <a:pt x="159" y="169"/>
                  </a:moveTo>
                  <a:lnTo>
                    <a:pt x="161" y="128"/>
                  </a:lnTo>
                  <a:lnTo>
                    <a:pt x="155" y="119"/>
                  </a:lnTo>
                  <a:lnTo>
                    <a:pt x="143" y="117"/>
                  </a:lnTo>
                  <a:lnTo>
                    <a:pt x="144" y="113"/>
                  </a:lnTo>
                  <a:lnTo>
                    <a:pt x="140" y="110"/>
                  </a:lnTo>
                  <a:lnTo>
                    <a:pt x="136" y="98"/>
                  </a:lnTo>
                  <a:lnTo>
                    <a:pt x="124" y="94"/>
                  </a:lnTo>
                  <a:lnTo>
                    <a:pt x="123" y="92"/>
                  </a:lnTo>
                  <a:lnTo>
                    <a:pt x="127" y="86"/>
                  </a:lnTo>
                  <a:lnTo>
                    <a:pt x="124" y="86"/>
                  </a:lnTo>
                  <a:lnTo>
                    <a:pt x="128" y="81"/>
                  </a:lnTo>
                  <a:lnTo>
                    <a:pt x="127" y="78"/>
                  </a:lnTo>
                  <a:lnTo>
                    <a:pt x="122" y="76"/>
                  </a:lnTo>
                  <a:lnTo>
                    <a:pt x="116" y="78"/>
                  </a:lnTo>
                  <a:lnTo>
                    <a:pt x="117" y="76"/>
                  </a:lnTo>
                  <a:lnTo>
                    <a:pt x="117" y="67"/>
                  </a:lnTo>
                  <a:lnTo>
                    <a:pt x="110" y="67"/>
                  </a:lnTo>
                  <a:lnTo>
                    <a:pt x="105" y="63"/>
                  </a:lnTo>
                  <a:lnTo>
                    <a:pt x="104" y="65"/>
                  </a:lnTo>
                  <a:lnTo>
                    <a:pt x="102" y="61"/>
                  </a:lnTo>
                  <a:lnTo>
                    <a:pt x="92" y="57"/>
                  </a:lnTo>
                  <a:lnTo>
                    <a:pt x="88" y="50"/>
                  </a:lnTo>
                  <a:lnTo>
                    <a:pt x="84" y="52"/>
                  </a:lnTo>
                  <a:lnTo>
                    <a:pt x="82" y="50"/>
                  </a:lnTo>
                  <a:lnTo>
                    <a:pt x="63" y="32"/>
                  </a:lnTo>
                  <a:lnTo>
                    <a:pt x="46" y="21"/>
                  </a:lnTo>
                  <a:lnTo>
                    <a:pt x="36" y="7"/>
                  </a:lnTo>
                  <a:lnTo>
                    <a:pt x="18" y="5"/>
                  </a:lnTo>
                  <a:lnTo>
                    <a:pt x="8" y="0"/>
                  </a:lnTo>
                  <a:lnTo>
                    <a:pt x="0" y="0"/>
                  </a:lnTo>
                  <a:lnTo>
                    <a:pt x="6" y="12"/>
                  </a:lnTo>
                  <a:lnTo>
                    <a:pt x="21" y="27"/>
                  </a:lnTo>
                  <a:lnTo>
                    <a:pt x="30" y="31"/>
                  </a:lnTo>
                  <a:lnTo>
                    <a:pt x="37" y="40"/>
                  </a:lnTo>
                  <a:lnTo>
                    <a:pt x="38" y="48"/>
                  </a:lnTo>
                  <a:lnTo>
                    <a:pt x="50" y="53"/>
                  </a:lnTo>
                  <a:lnTo>
                    <a:pt x="55" y="57"/>
                  </a:lnTo>
                  <a:lnTo>
                    <a:pt x="60" y="78"/>
                  </a:lnTo>
                  <a:lnTo>
                    <a:pt x="69" y="83"/>
                  </a:lnTo>
                  <a:lnTo>
                    <a:pt x="76" y="92"/>
                  </a:lnTo>
                  <a:lnTo>
                    <a:pt x="86" y="117"/>
                  </a:lnTo>
                  <a:lnTo>
                    <a:pt x="104" y="136"/>
                  </a:lnTo>
                  <a:lnTo>
                    <a:pt x="109" y="143"/>
                  </a:lnTo>
                  <a:lnTo>
                    <a:pt x="128" y="157"/>
                  </a:lnTo>
                  <a:lnTo>
                    <a:pt x="142" y="169"/>
                  </a:lnTo>
                  <a:lnTo>
                    <a:pt x="142" y="165"/>
                  </a:lnTo>
                  <a:lnTo>
                    <a:pt x="143" y="164"/>
                  </a:lnTo>
                  <a:lnTo>
                    <a:pt x="148" y="168"/>
                  </a:lnTo>
                  <a:lnTo>
                    <a:pt x="151" y="164"/>
                  </a:lnTo>
                  <a:lnTo>
                    <a:pt x="159" y="169"/>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1" name="Freeform 252"/>
            <p:cNvSpPr>
              <a:spLocks/>
            </p:cNvSpPr>
            <p:nvPr/>
          </p:nvSpPr>
          <p:spPr bwMode="auto">
            <a:xfrm>
              <a:off x="11646081" y="10815524"/>
              <a:ext cx="473075" cy="241300"/>
            </a:xfrm>
            <a:custGeom>
              <a:avLst/>
              <a:gdLst>
                <a:gd name="T0" fmla="*/ 13 w 298"/>
                <a:gd name="T1" fmla="*/ 17 h 152"/>
                <a:gd name="T2" fmla="*/ 21 w 298"/>
                <a:gd name="T3" fmla="*/ 28 h 152"/>
                <a:gd name="T4" fmla="*/ 41 w 298"/>
                <a:gd name="T5" fmla="*/ 30 h 152"/>
                <a:gd name="T6" fmla="*/ 33 w 298"/>
                <a:gd name="T7" fmla="*/ 30 h 152"/>
                <a:gd name="T8" fmla="*/ 15 w 298"/>
                <a:gd name="T9" fmla="*/ 35 h 152"/>
                <a:gd name="T10" fmla="*/ 21 w 298"/>
                <a:gd name="T11" fmla="*/ 39 h 152"/>
                <a:gd name="T12" fmla="*/ 29 w 298"/>
                <a:gd name="T13" fmla="*/ 54 h 152"/>
                <a:gd name="T14" fmla="*/ 42 w 298"/>
                <a:gd name="T15" fmla="*/ 39 h 152"/>
                <a:gd name="T16" fmla="*/ 51 w 298"/>
                <a:gd name="T17" fmla="*/ 54 h 152"/>
                <a:gd name="T18" fmla="*/ 63 w 298"/>
                <a:gd name="T19" fmla="*/ 60 h 152"/>
                <a:gd name="T20" fmla="*/ 106 w 298"/>
                <a:gd name="T21" fmla="*/ 74 h 152"/>
                <a:gd name="T22" fmla="*/ 113 w 298"/>
                <a:gd name="T23" fmla="*/ 97 h 152"/>
                <a:gd name="T24" fmla="*/ 117 w 298"/>
                <a:gd name="T25" fmla="*/ 101 h 152"/>
                <a:gd name="T26" fmla="*/ 115 w 298"/>
                <a:gd name="T27" fmla="*/ 104 h 152"/>
                <a:gd name="T28" fmla="*/ 102 w 298"/>
                <a:gd name="T29" fmla="*/ 118 h 152"/>
                <a:gd name="T30" fmla="*/ 120 w 298"/>
                <a:gd name="T31" fmla="*/ 114 h 152"/>
                <a:gd name="T32" fmla="*/ 154 w 298"/>
                <a:gd name="T33" fmla="*/ 130 h 152"/>
                <a:gd name="T34" fmla="*/ 185 w 298"/>
                <a:gd name="T35" fmla="*/ 126 h 152"/>
                <a:gd name="T36" fmla="*/ 188 w 298"/>
                <a:gd name="T37" fmla="*/ 115 h 152"/>
                <a:gd name="T38" fmla="*/ 194 w 298"/>
                <a:gd name="T39" fmla="*/ 112 h 152"/>
                <a:gd name="T40" fmla="*/ 197 w 298"/>
                <a:gd name="T41" fmla="*/ 107 h 152"/>
                <a:gd name="T42" fmla="*/ 228 w 298"/>
                <a:gd name="T43" fmla="*/ 117 h 152"/>
                <a:gd name="T44" fmla="*/ 239 w 298"/>
                <a:gd name="T45" fmla="*/ 129 h 152"/>
                <a:gd name="T46" fmla="*/ 252 w 298"/>
                <a:gd name="T47" fmla="*/ 143 h 152"/>
                <a:gd name="T48" fmla="*/ 289 w 298"/>
                <a:gd name="T49" fmla="*/ 152 h 152"/>
                <a:gd name="T50" fmla="*/ 289 w 298"/>
                <a:gd name="T51" fmla="*/ 147 h 152"/>
                <a:gd name="T52" fmla="*/ 282 w 298"/>
                <a:gd name="T53" fmla="*/ 140 h 152"/>
                <a:gd name="T54" fmla="*/ 273 w 298"/>
                <a:gd name="T55" fmla="*/ 134 h 152"/>
                <a:gd name="T56" fmla="*/ 265 w 298"/>
                <a:gd name="T57" fmla="*/ 126 h 152"/>
                <a:gd name="T58" fmla="*/ 245 w 298"/>
                <a:gd name="T59" fmla="*/ 104 h 152"/>
                <a:gd name="T60" fmla="*/ 253 w 298"/>
                <a:gd name="T61" fmla="*/ 94 h 152"/>
                <a:gd name="T62" fmla="*/ 223 w 298"/>
                <a:gd name="T63" fmla="*/ 75 h 152"/>
                <a:gd name="T64" fmla="*/ 201 w 298"/>
                <a:gd name="T65" fmla="*/ 49 h 152"/>
                <a:gd name="T66" fmla="*/ 129 w 298"/>
                <a:gd name="T67" fmla="*/ 28 h 152"/>
                <a:gd name="T68" fmla="*/ 94 w 298"/>
                <a:gd name="T69" fmla="*/ 20 h 152"/>
                <a:gd name="T70" fmla="*/ 81 w 298"/>
                <a:gd name="T71" fmla="*/ 27 h 152"/>
                <a:gd name="T72" fmla="*/ 64 w 298"/>
                <a:gd name="T73" fmla="*/ 43 h 152"/>
                <a:gd name="T74" fmla="*/ 54 w 298"/>
                <a:gd name="T75" fmla="*/ 33 h 152"/>
                <a:gd name="T76" fmla="*/ 52 w 298"/>
                <a:gd name="T77" fmla="*/ 35 h 152"/>
                <a:gd name="T78" fmla="*/ 48 w 298"/>
                <a:gd name="T79" fmla="*/ 13 h 152"/>
                <a:gd name="T80" fmla="*/ 35 w 298"/>
                <a:gd name="T81" fmla="*/ 5 h 152"/>
                <a:gd name="T82" fmla="*/ 21 w 298"/>
                <a:gd name="T83" fmla="*/ 0 h 152"/>
                <a:gd name="T84" fmla="*/ 0 w 298"/>
                <a:gd name="T85" fmla="*/ 15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98" h="152">
                  <a:moveTo>
                    <a:pt x="0" y="15"/>
                  </a:moveTo>
                  <a:lnTo>
                    <a:pt x="13" y="17"/>
                  </a:lnTo>
                  <a:lnTo>
                    <a:pt x="16" y="26"/>
                  </a:lnTo>
                  <a:lnTo>
                    <a:pt x="21" y="28"/>
                  </a:lnTo>
                  <a:lnTo>
                    <a:pt x="44" y="24"/>
                  </a:lnTo>
                  <a:lnTo>
                    <a:pt x="41" y="30"/>
                  </a:lnTo>
                  <a:lnTo>
                    <a:pt x="40" y="32"/>
                  </a:lnTo>
                  <a:lnTo>
                    <a:pt x="33" y="30"/>
                  </a:lnTo>
                  <a:lnTo>
                    <a:pt x="26" y="34"/>
                  </a:lnTo>
                  <a:lnTo>
                    <a:pt x="15" y="35"/>
                  </a:lnTo>
                  <a:lnTo>
                    <a:pt x="15" y="37"/>
                  </a:lnTo>
                  <a:lnTo>
                    <a:pt x="21" y="39"/>
                  </a:lnTo>
                  <a:lnTo>
                    <a:pt x="27" y="43"/>
                  </a:lnTo>
                  <a:lnTo>
                    <a:pt x="29" y="54"/>
                  </a:lnTo>
                  <a:lnTo>
                    <a:pt x="38" y="53"/>
                  </a:lnTo>
                  <a:lnTo>
                    <a:pt x="42" y="39"/>
                  </a:lnTo>
                  <a:lnTo>
                    <a:pt x="42" y="47"/>
                  </a:lnTo>
                  <a:lnTo>
                    <a:pt x="51" y="54"/>
                  </a:lnTo>
                  <a:lnTo>
                    <a:pt x="57" y="53"/>
                  </a:lnTo>
                  <a:lnTo>
                    <a:pt x="63" y="60"/>
                  </a:lnTo>
                  <a:lnTo>
                    <a:pt x="85" y="65"/>
                  </a:lnTo>
                  <a:lnTo>
                    <a:pt x="106" y="74"/>
                  </a:lnTo>
                  <a:lnTo>
                    <a:pt x="117" y="92"/>
                  </a:lnTo>
                  <a:lnTo>
                    <a:pt x="113" y="97"/>
                  </a:lnTo>
                  <a:lnTo>
                    <a:pt x="120" y="100"/>
                  </a:lnTo>
                  <a:lnTo>
                    <a:pt x="117" y="101"/>
                  </a:lnTo>
                  <a:lnTo>
                    <a:pt x="120" y="106"/>
                  </a:lnTo>
                  <a:lnTo>
                    <a:pt x="115" y="104"/>
                  </a:lnTo>
                  <a:lnTo>
                    <a:pt x="110" y="104"/>
                  </a:lnTo>
                  <a:lnTo>
                    <a:pt x="102" y="118"/>
                  </a:lnTo>
                  <a:lnTo>
                    <a:pt x="118" y="118"/>
                  </a:lnTo>
                  <a:lnTo>
                    <a:pt x="120" y="114"/>
                  </a:lnTo>
                  <a:lnTo>
                    <a:pt x="133" y="113"/>
                  </a:lnTo>
                  <a:lnTo>
                    <a:pt x="154" y="130"/>
                  </a:lnTo>
                  <a:lnTo>
                    <a:pt x="177" y="132"/>
                  </a:lnTo>
                  <a:lnTo>
                    <a:pt x="185" y="126"/>
                  </a:lnTo>
                  <a:lnTo>
                    <a:pt x="181" y="118"/>
                  </a:lnTo>
                  <a:lnTo>
                    <a:pt x="188" y="115"/>
                  </a:lnTo>
                  <a:lnTo>
                    <a:pt x="189" y="113"/>
                  </a:lnTo>
                  <a:lnTo>
                    <a:pt x="194" y="112"/>
                  </a:lnTo>
                  <a:lnTo>
                    <a:pt x="193" y="106"/>
                  </a:lnTo>
                  <a:lnTo>
                    <a:pt x="197" y="107"/>
                  </a:lnTo>
                  <a:lnTo>
                    <a:pt x="202" y="105"/>
                  </a:lnTo>
                  <a:lnTo>
                    <a:pt x="228" y="117"/>
                  </a:lnTo>
                  <a:lnTo>
                    <a:pt x="235" y="129"/>
                  </a:lnTo>
                  <a:lnTo>
                    <a:pt x="239" y="129"/>
                  </a:lnTo>
                  <a:lnTo>
                    <a:pt x="239" y="132"/>
                  </a:lnTo>
                  <a:lnTo>
                    <a:pt x="252" y="143"/>
                  </a:lnTo>
                  <a:lnTo>
                    <a:pt x="284" y="149"/>
                  </a:lnTo>
                  <a:lnTo>
                    <a:pt x="289" y="152"/>
                  </a:lnTo>
                  <a:lnTo>
                    <a:pt x="294" y="149"/>
                  </a:lnTo>
                  <a:lnTo>
                    <a:pt x="289" y="147"/>
                  </a:lnTo>
                  <a:lnTo>
                    <a:pt x="298" y="145"/>
                  </a:lnTo>
                  <a:lnTo>
                    <a:pt x="282" y="140"/>
                  </a:lnTo>
                  <a:lnTo>
                    <a:pt x="285" y="138"/>
                  </a:lnTo>
                  <a:lnTo>
                    <a:pt x="273" y="134"/>
                  </a:lnTo>
                  <a:lnTo>
                    <a:pt x="273" y="129"/>
                  </a:lnTo>
                  <a:lnTo>
                    <a:pt x="265" y="126"/>
                  </a:lnTo>
                  <a:lnTo>
                    <a:pt x="254" y="113"/>
                  </a:lnTo>
                  <a:lnTo>
                    <a:pt x="245" y="104"/>
                  </a:lnTo>
                  <a:lnTo>
                    <a:pt x="241" y="95"/>
                  </a:lnTo>
                  <a:lnTo>
                    <a:pt x="253" y="94"/>
                  </a:lnTo>
                  <a:lnTo>
                    <a:pt x="249" y="85"/>
                  </a:lnTo>
                  <a:lnTo>
                    <a:pt x="223" y="75"/>
                  </a:lnTo>
                  <a:lnTo>
                    <a:pt x="219" y="61"/>
                  </a:lnTo>
                  <a:lnTo>
                    <a:pt x="201" y="49"/>
                  </a:lnTo>
                  <a:lnTo>
                    <a:pt x="151" y="32"/>
                  </a:lnTo>
                  <a:lnTo>
                    <a:pt x="129" y="28"/>
                  </a:lnTo>
                  <a:lnTo>
                    <a:pt x="103" y="15"/>
                  </a:lnTo>
                  <a:lnTo>
                    <a:pt x="94" y="20"/>
                  </a:lnTo>
                  <a:lnTo>
                    <a:pt x="91" y="26"/>
                  </a:lnTo>
                  <a:lnTo>
                    <a:pt x="81" y="27"/>
                  </a:lnTo>
                  <a:lnTo>
                    <a:pt x="68" y="43"/>
                  </a:lnTo>
                  <a:lnTo>
                    <a:pt x="64" y="43"/>
                  </a:lnTo>
                  <a:lnTo>
                    <a:pt x="58" y="41"/>
                  </a:lnTo>
                  <a:lnTo>
                    <a:pt x="54" y="33"/>
                  </a:lnTo>
                  <a:lnTo>
                    <a:pt x="53" y="32"/>
                  </a:lnTo>
                  <a:lnTo>
                    <a:pt x="52" y="35"/>
                  </a:lnTo>
                  <a:lnTo>
                    <a:pt x="48" y="30"/>
                  </a:lnTo>
                  <a:lnTo>
                    <a:pt x="48" y="13"/>
                  </a:lnTo>
                  <a:lnTo>
                    <a:pt x="46" y="5"/>
                  </a:lnTo>
                  <a:lnTo>
                    <a:pt x="35" y="5"/>
                  </a:lnTo>
                  <a:lnTo>
                    <a:pt x="28" y="0"/>
                  </a:lnTo>
                  <a:lnTo>
                    <a:pt x="21" y="0"/>
                  </a:lnTo>
                  <a:lnTo>
                    <a:pt x="5" y="8"/>
                  </a:lnTo>
                  <a:lnTo>
                    <a:pt x="0" y="15"/>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2" name="Freeform 253"/>
            <p:cNvSpPr>
              <a:spLocks/>
            </p:cNvSpPr>
            <p:nvPr/>
          </p:nvSpPr>
          <p:spPr bwMode="auto">
            <a:xfrm>
              <a:off x="11561943" y="10839336"/>
              <a:ext cx="19050" cy="7938"/>
            </a:xfrm>
            <a:custGeom>
              <a:avLst/>
              <a:gdLst>
                <a:gd name="T0" fmla="*/ 0 w 12"/>
                <a:gd name="T1" fmla="*/ 1 h 5"/>
                <a:gd name="T2" fmla="*/ 1 w 12"/>
                <a:gd name="T3" fmla="*/ 5 h 5"/>
                <a:gd name="T4" fmla="*/ 12 w 12"/>
                <a:gd name="T5" fmla="*/ 2 h 5"/>
                <a:gd name="T6" fmla="*/ 6 w 12"/>
                <a:gd name="T7" fmla="*/ 0 h 5"/>
                <a:gd name="T8" fmla="*/ 0 w 12"/>
                <a:gd name="T9" fmla="*/ 1 h 5"/>
              </a:gdLst>
              <a:ahLst/>
              <a:cxnLst>
                <a:cxn ang="0">
                  <a:pos x="T0" y="T1"/>
                </a:cxn>
                <a:cxn ang="0">
                  <a:pos x="T2" y="T3"/>
                </a:cxn>
                <a:cxn ang="0">
                  <a:pos x="T4" y="T5"/>
                </a:cxn>
                <a:cxn ang="0">
                  <a:pos x="T6" y="T7"/>
                </a:cxn>
                <a:cxn ang="0">
                  <a:pos x="T8" y="T9"/>
                </a:cxn>
              </a:cxnLst>
              <a:rect l="0" t="0" r="r" b="b"/>
              <a:pathLst>
                <a:path w="12" h="5">
                  <a:moveTo>
                    <a:pt x="0" y="1"/>
                  </a:moveTo>
                  <a:lnTo>
                    <a:pt x="1" y="5"/>
                  </a:lnTo>
                  <a:lnTo>
                    <a:pt x="12" y="2"/>
                  </a:lnTo>
                  <a:lnTo>
                    <a:pt x="6" y="0"/>
                  </a:lnTo>
                  <a:lnTo>
                    <a:pt x="0" y="1"/>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3" name="Freeform 254"/>
            <p:cNvSpPr>
              <a:spLocks/>
            </p:cNvSpPr>
            <p:nvPr/>
          </p:nvSpPr>
          <p:spPr bwMode="auto">
            <a:xfrm>
              <a:off x="11560356" y="10815524"/>
              <a:ext cx="11113" cy="12700"/>
            </a:xfrm>
            <a:custGeom>
              <a:avLst/>
              <a:gdLst>
                <a:gd name="T0" fmla="*/ 2 w 7"/>
                <a:gd name="T1" fmla="*/ 5 h 8"/>
                <a:gd name="T2" fmla="*/ 7 w 7"/>
                <a:gd name="T3" fmla="*/ 8 h 8"/>
                <a:gd name="T4" fmla="*/ 2 w 7"/>
                <a:gd name="T5" fmla="*/ 0 h 8"/>
                <a:gd name="T6" fmla="*/ 0 w 7"/>
                <a:gd name="T7" fmla="*/ 0 h 8"/>
                <a:gd name="T8" fmla="*/ 2 w 7"/>
                <a:gd name="T9" fmla="*/ 5 h 8"/>
              </a:gdLst>
              <a:ahLst/>
              <a:cxnLst>
                <a:cxn ang="0">
                  <a:pos x="T0" y="T1"/>
                </a:cxn>
                <a:cxn ang="0">
                  <a:pos x="T2" y="T3"/>
                </a:cxn>
                <a:cxn ang="0">
                  <a:pos x="T4" y="T5"/>
                </a:cxn>
                <a:cxn ang="0">
                  <a:pos x="T6" y="T7"/>
                </a:cxn>
                <a:cxn ang="0">
                  <a:pos x="T8" y="T9"/>
                </a:cxn>
              </a:cxnLst>
              <a:rect l="0" t="0" r="r" b="b"/>
              <a:pathLst>
                <a:path w="7" h="8">
                  <a:moveTo>
                    <a:pt x="2" y="5"/>
                  </a:moveTo>
                  <a:lnTo>
                    <a:pt x="7" y="8"/>
                  </a:lnTo>
                  <a:lnTo>
                    <a:pt x="2" y="0"/>
                  </a:lnTo>
                  <a:lnTo>
                    <a:pt x="0" y="0"/>
                  </a:lnTo>
                  <a:lnTo>
                    <a:pt x="2" y="5"/>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4" name="Freeform 255"/>
            <p:cNvSpPr>
              <a:spLocks/>
            </p:cNvSpPr>
            <p:nvPr/>
          </p:nvSpPr>
          <p:spPr bwMode="auto">
            <a:xfrm>
              <a:off x="11561943" y="10753611"/>
              <a:ext cx="33338" cy="74613"/>
            </a:xfrm>
            <a:custGeom>
              <a:avLst/>
              <a:gdLst>
                <a:gd name="T0" fmla="*/ 8 w 21"/>
                <a:gd name="T1" fmla="*/ 0 h 47"/>
                <a:gd name="T2" fmla="*/ 2 w 21"/>
                <a:gd name="T3" fmla="*/ 7 h 47"/>
                <a:gd name="T4" fmla="*/ 0 w 21"/>
                <a:gd name="T5" fmla="*/ 16 h 47"/>
                <a:gd name="T6" fmla="*/ 6 w 21"/>
                <a:gd name="T7" fmla="*/ 36 h 47"/>
                <a:gd name="T8" fmla="*/ 13 w 21"/>
                <a:gd name="T9" fmla="*/ 47 h 47"/>
                <a:gd name="T10" fmla="*/ 8 w 21"/>
                <a:gd name="T11" fmla="*/ 36 h 47"/>
                <a:gd name="T12" fmla="*/ 8 w 21"/>
                <a:gd name="T13" fmla="*/ 28 h 47"/>
                <a:gd name="T14" fmla="*/ 9 w 21"/>
                <a:gd name="T15" fmla="*/ 26 h 47"/>
                <a:gd name="T16" fmla="*/ 21 w 21"/>
                <a:gd name="T17" fmla="*/ 29 h 47"/>
                <a:gd name="T18" fmla="*/ 14 w 21"/>
                <a:gd name="T19" fmla="*/ 21 h 47"/>
                <a:gd name="T20" fmla="*/ 20 w 21"/>
                <a:gd name="T21" fmla="*/ 17 h 47"/>
                <a:gd name="T22" fmla="*/ 20 w 21"/>
                <a:gd name="T23" fmla="*/ 13 h 47"/>
                <a:gd name="T24" fmla="*/ 15 w 21"/>
                <a:gd name="T25" fmla="*/ 10 h 47"/>
                <a:gd name="T26" fmla="*/ 6 w 21"/>
                <a:gd name="T27" fmla="*/ 21 h 47"/>
                <a:gd name="T28" fmla="*/ 3 w 21"/>
                <a:gd name="T29" fmla="*/ 20 h 47"/>
                <a:gd name="T30" fmla="*/ 9 w 21"/>
                <a:gd name="T31" fmla="*/ 14 h 47"/>
                <a:gd name="T32" fmla="*/ 8 w 21"/>
                <a:gd name="T3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 h="47">
                  <a:moveTo>
                    <a:pt x="8" y="0"/>
                  </a:moveTo>
                  <a:lnTo>
                    <a:pt x="2" y="7"/>
                  </a:lnTo>
                  <a:lnTo>
                    <a:pt x="0" y="16"/>
                  </a:lnTo>
                  <a:lnTo>
                    <a:pt x="6" y="36"/>
                  </a:lnTo>
                  <a:lnTo>
                    <a:pt x="13" y="47"/>
                  </a:lnTo>
                  <a:lnTo>
                    <a:pt x="8" y="36"/>
                  </a:lnTo>
                  <a:lnTo>
                    <a:pt x="8" y="28"/>
                  </a:lnTo>
                  <a:lnTo>
                    <a:pt x="9" y="26"/>
                  </a:lnTo>
                  <a:lnTo>
                    <a:pt x="21" y="29"/>
                  </a:lnTo>
                  <a:lnTo>
                    <a:pt x="14" y="21"/>
                  </a:lnTo>
                  <a:lnTo>
                    <a:pt x="20" y="17"/>
                  </a:lnTo>
                  <a:lnTo>
                    <a:pt x="20" y="13"/>
                  </a:lnTo>
                  <a:lnTo>
                    <a:pt x="15" y="10"/>
                  </a:lnTo>
                  <a:lnTo>
                    <a:pt x="6" y="21"/>
                  </a:lnTo>
                  <a:lnTo>
                    <a:pt x="3" y="20"/>
                  </a:lnTo>
                  <a:lnTo>
                    <a:pt x="9" y="14"/>
                  </a:lnTo>
                  <a:lnTo>
                    <a:pt x="8"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5" name="Freeform 256"/>
            <p:cNvSpPr>
              <a:spLocks/>
            </p:cNvSpPr>
            <p:nvPr/>
          </p:nvSpPr>
          <p:spPr bwMode="auto">
            <a:xfrm>
              <a:off x="11582581" y="10744086"/>
              <a:ext cx="9525" cy="14288"/>
            </a:xfrm>
            <a:custGeom>
              <a:avLst/>
              <a:gdLst>
                <a:gd name="T0" fmla="*/ 4 w 6"/>
                <a:gd name="T1" fmla="*/ 0 h 9"/>
                <a:gd name="T2" fmla="*/ 0 w 6"/>
                <a:gd name="T3" fmla="*/ 3 h 9"/>
                <a:gd name="T4" fmla="*/ 1 w 6"/>
                <a:gd name="T5" fmla="*/ 9 h 9"/>
                <a:gd name="T6" fmla="*/ 6 w 6"/>
                <a:gd name="T7" fmla="*/ 4 h 9"/>
                <a:gd name="T8" fmla="*/ 4 w 6"/>
                <a:gd name="T9" fmla="*/ 0 h 9"/>
              </a:gdLst>
              <a:ahLst/>
              <a:cxnLst>
                <a:cxn ang="0">
                  <a:pos x="T0" y="T1"/>
                </a:cxn>
                <a:cxn ang="0">
                  <a:pos x="T2" y="T3"/>
                </a:cxn>
                <a:cxn ang="0">
                  <a:pos x="T4" y="T5"/>
                </a:cxn>
                <a:cxn ang="0">
                  <a:pos x="T6" y="T7"/>
                </a:cxn>
                <a:cxn ang="0">
                  <a:pos x="T8" y="T9"/>
                </a:cxn>
              </a:cxnLst>
              <a:rect l="0" t="0" r="r" b="b"/>
              <a:pathLst>
                <a:path w="6" h="9">
                  <a:moveTo>
                    <a:pt x="4" y="0"/>
                  </a:moveTo>
                  <a:lnTo>
                    <a:pt x="0" y="3"/>
                  </a:lnTo>
                  <a:lnTo>
                    <a:pt x="1" y="9"/>
                  </a:lnTo>
                  <a:lnTo>
                    <a:pt x="6" y="4"/>
                  </a:lnTo>
                  <a:lnTo>
                    <a:pt x="4"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6" name="Freeform 257"/>
            <p:cNvSpPr>
              <a:spLocks/>
            </p:cNvSpPr>
            <p:nvPr/>
          </p:nvSpPr>
          <p:spPr bwMode="auto">
            <a:xfrm>
              <a:off x="11530193" y="10877436"/>
              <a:ext cx="26988" cy="20638"/>
            </a:xfrm>
            <a:custGeom>
              <a:avLst/>
              <a:gdLst>
                <a:gd name="T0" fmla="*/ 17 w 17"/>
                <a:gd name="T1" fmla="*/ 3 h 13"/>
                <a:gd name="T2" fmla="*/ 10 w 17"/>
                <a:gd name="T3" fmla="*/ 0 h 13"/>
                <a:gd name="T4" fmla="*/ 0 w 17"/>
                <a:gd name="T5" fmla="*/ 0 h 13"/>
                <a:gd name="T6" fmla="*/ 2 w 17"/>
                <a:gd name="T7" fmla="*/ 7 h 13"/>
                <a:gd name="T8" fmla="*/ 7 w 17"/>
                <a:gd name="T9" fmla="*/ 11 h 13"/>
                <a:gd name="T10" fmla="*/ 10 w 17"/>
                <a:gd name="T11" fmla="*/ 13 h 13"/>
                <a:gd name="T12" fmla="*/ 17 w 17"/>
                <a:gd name="T13" fmla="*/ 8 h 13"/>
                <a:gd name="T14" fmla="*/ 17 w 17"/>
                <a:gd name="T15" fmla="*/ 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13">
                  <a:moveTo>
                    <a:pt x="17" y="3"/>
                  </a:moveTo>
                  <a:lnTo>
                    <a:pt x="10" y="0"/>
                  </a:lnTo>
                  <a:lnTo>
                    <a:pt x="0" y="0"/>
                  </a:lnTo>
                  <a:lnTo>
                    <a:pt x="2" y="7"/>
                  </a:lnTo>
                  <a:lnTo>
                    <a:pt x="7" y="11"/>
                  </a:lnTo>
                  <a:lnTo>
                    <a:pt x="10" y="13"/>
                  </a:lnTo>
                  <a:lnTo>
                    <a:pt x="17" y="8"/>
                  </a:lnTo>
                  <a:lnTo>
                    <a:pt x="17" y="3"/>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7" name="Freeform 258"/>
            <p:cNvSpPr>
              <a:spLocks/>
            </p:cNvSpPr>
            <p:nvPr/>
          </p:nvSpPr>
          <p:spPr bwMode="auto">
            <a:xfrm>
              <a:off x="11514318" y="10847274"/>
              <a:ext cx="20638" cy="4763"/>
            </a:xfrm>
            <a:custGeom>
              <a:avLst/>
              <a:gdLst>
                <a:gd name="T0" fmla="*/ 0 w 13"/>
                <a:gd name="T1" fmla="*/ 1 h 3"/>
                <a:gd name="T2" fmla="*/ 1 w 13"/>
                <a:gd name="T3" fmla="*/ 3 h 3"/>
                <a:gd name="T4" fmla="*/ 13 w 13"/>
                <a:gd name="T5" fmla="*/ 0 h 3"/>
                <a:gd name="T6" fmla="*/ 0 w 13"/>
                <a:gd name="T7" fmla="*/ 1 h 3"/>
              </a:gdLst>
              <a:ahLst/>
              <a:cxnLst>
                <a:cxn ang="0">
                  <a:pos x="T0" y="T1"/>
                </a:cxn>
                <a:cxn ang="0">
                  <a:pos x="T2" y="T3"/>
                </a:cxn>
                <a:cxn ang="0">
                  <a:pos x="T4" y="T5"/>
                </a:cxn>
                <a:cxn ang="0">
                  <a:pos x="T6" y="T7"/>
                </a:cxn>
              </a:cxnLst>
              <a:rect l="0" t="0" r="r" b="b"/>
              <a:pathLst>
                <a:path w="13" h="3">
                  <a:moveTo>
                    <a:pt x="0" y="1"/>
                  </a:moveTo>
                  <a:lnTo>
                    <a:pt x="1" y="3"/>
                  </a:lnTo>
                  <a:lnTo>
                    <a:pt x="13" y="0"/>
                  </a:lnTo>
                  <a:lnTo>
                    <a:pt x="0" y="1"/>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8" name="Freeform 259"/>
            <p:cNvSpPr>
              <a:spLocks/>
            </p:cNvSpPr>
            <p:nvPr/>
          </p:nvSpPr>
          <p:spPr bwMode="auto">
            <a:xfrm>
              <a:off x="11490506" y="10844099"/>
              <a:ext cx="20638" cy="9525"/>
            </a:xfrm>
            <a:custGeom>
              <a:avLst/>
              <a:gdLst>
                <a:gd name="T0" fmla="*/ 0 w 13"/>
                <a:gd name="T1" fmla="*/ 0 h 6"/>
                <a:gd name="T2" fmla="*/ 3 w 13"/>
                <a:gd name="T3" fmla="*/ 6 h 6"/>
                <a:gd name="T4" fmla="*/ 13 w 13"/>
                <a:gd name="T5" fmla="*/ 2 h 6"/>
                <a:gd name="T6" fmla="*/ 0 w 13"/>
                <a:gd name="T7" fmla="*/ 0 h 6"/>
              </a:gdLst>
              <a:ahLst/>
              <a:cxnLst>
                <a:cxn ang="0">
                  <a:pos x="T0" y="T1"/>
                </a:cxn>
                <a:cxn ang="0">
                  <a:pos x="T2" y="T3"/>
                </a:cxn>
                <a:cxn ang="0">
                  <a:pos x="T4" y="T5"/>
                </a:cxn>
                <a:cxn ang="0">
                  <a:pos x="T6" y="T7"/>
                </a:cxn>
              </a:cxnLst>
              <a:rect l="0" t="0" r="r" b="b"/>
              <a:pathLst>
                <a:path w="13" h="6">
                  <a:moveTo>
                    <a:pt x="0" y="0"/>
                  </a:moveTo>
                  <a:lnTo>
                    <a:pt x="3" y="6"/>
                  </a:lnTo>
                  <a:lnTo>
                    <a:pt x="13" y="2"/>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9" name="Freeform 260"/>
            <p:cNvSpPr>
              <a:spLocks/>
            </p:cNvSpPr>
            <p:nvPr/>
          </p:nvSpPr>
          <p:spPr bwMode="auto">
            <a:xfrm>
              <a:off x="11461931" y="10837749"/>
              <a:ext cx="7938" cy="4763"/>
            </a:xfrm>
            <a:custGeom>
              <a:avLst/>
              <a:gdLst>
                <a:gd name="T0" fmla="*/ 5 w 5"/>
                <a:gd name="T1" fmla="*/ 0 h 3"/>
                <a:gd name="T2" fmla="*/ 0 w 5"/>
                <a:gd name="T3" fmla="*/ 1 h 3"/>
                <a:gd name="T4" fmla="*/ 1 w 5"/>
                <a:gd name="T5" fmla="*/ 3 h 3"/>
                <a:gd name="T6" fmla="*/ 4 w 5"/>
                <a:gd name="T7" fmla="*/ 2 h 3"/>
                <a:gd name="T8" fmla="*/ 5 w 5"/>
                <a:gd name="T9" fmla="*/ 0 h 3"/>
              </a:gdLst>
              <a:ahLst/>
              <a:cxnLst>
                <a:cxn ang="0">
                  <a:pos x="T0" y="T1"/>
                </a:cxn>
                <a:cxn ang="0">
                  <a:pos x="T2" y="T3"/>
                </a:cxn>
                <a:cxn ang="0">
                  <a:pos x="T4" y="T5"/>
                </a:cxn>
                <a:cxn ang="0">
                  <a:pos x="T6" y="T7"/>
                </a:cxn>
                <a:cxn ang="0">
                  <a:pos x="T8" y="T9"/>
                </a:cxn>
              </a:cxnLst>
              <a:rect l="0" t="0" r="r" b="b"/>
              <a:pathLst>
                <a:path w="5" h="3">
                  <a:moveTo>
                    <a:pt x="5" y="0"/>
                  </a:moveTo>
                  <a:lnTo>
                    <a:pt x="0" y="1"/>
                  </a:lnTo>
                  <a:lnTo>
                    <a:pt x="1" y="3"/>
                  </a:lnTo>
                  <a:lnTo>
                    <a:pt x="4" y="2"/>
                  </a:lnTo>
                  <a:lnTo>
                    <a:pt x="5"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0" name="Freeform 261"/>
            <p:cNvSpPr>
              <a:spLocks/>
            </p:cNvSpPr>
            <p:nvPr/>
          </p:nvSpPr>
          <p:spPr bwMode="auto">
            <a:xfrm>
              <a:off x="11453993" y="10832986"/>
              <a:ext cx="7938" cy="7938"/>
            </a:xfrm>
            <a:custGeom>
              <a:avLst/>
              <a:gdLst>
                <a:gd name="T0" fmla="*/ 0 w 5"/>
                <a:gd name="T1" fmla="*/ 2 h 5"/>
                <a:gd name="T2" fmla="*/ 0 w 5"/>
                <a:gd name="T3" fmla="*/ 5 h 5"/>
                <a:gd name="T4" fmla="*/ 5 w 5"/>
                <a:gd name="T5" fmla="*/ 3 h 5"/>
                <a:gd name="T6" fmla="*/ 4 w 5"/>
                <a:gd name="T7" fmla="*/ 0 h 5"/>
                <a:gd name="T8" fmla="*/ 0 w 5"/>
                <a:gd name="T9" fmla="*/ 2 h 5"/>
              </a:gdLst>
              <a:ahLst/>
              <a:cxnLst>
                <a:cxn ang="0">
                  <a:pos x="T0" y="T1"/>
                </a:cxn>
                <a:cxn ang="0">
                  <a:pos x="T2" y="T3"/>
                </a:cxn>
                <a:cxn ang="0">
                  <a:pos x="T4" y="T5"/>
                </a:cxn>
                <a:cxn ang="0">
                  <a:pos x="T6" y="T7"/>
                </a:cxn>
                <a:cxn ang="0">
                  <a:pos x="T8" y="T9"/>
                </a:cxn>
              </a:cxnLst>
              <a:rect l="0" t="0" r="r" b="b"/>
              <a:pathLst>
                <a:path w="5" h="5">
                  <a:moveTo>
                    <a:pt x="0" y="2"/>
                  </a:moveTo>
                  <a:lnTo>
                    <a:pt x="0" y="5"/>
                  </a:lnTo>
                  <a:lnTo>
                    <a:pt x="5" y="3"/>
                  </a:lnTo>
                  <a:lnTo>
                    <a:pt x="4" y="0"/>
                  </a:lnTo>
                  <a:lnTo>
                    <a:pt x="0" y="2"/>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1" name="Freeform 262"/>
            <p:cNvSpPr>
              <a:spLocks/>
            </p:cNvSpPr>
            <p:nvPr/>
          </p:nvSpPr>
          <p:spPr bwMode="auto">
            <a:xfrm>
              <a:off x="11458756" y="10899661"/>
              <a:ext cx="3175" cy="4763"/>
            </a:xfrm>
            <a:custGeom>
              <a:avLst/>
              <a:gdLst>
                <a:gd name="T0" fmla="*/ 2 w 2"/>
                <a:gd name="T1" fmla="*/ 0 h 3"/>
                <a:gd name="T2" fmla="*/ 0 w 2"/>
                <a:gd name="T3" fmla="*/ 0 h 3"/>
                <a:gd name="T4" fmla="*/ 2 w 2"/>
                <a:gd name="T5" fmla="*/ 3 h 3"/>
                <a:gd name="T6" fmla="*/ 2 w 2"/>
                <a:gd name="T7" fmla="*/ 0 h 3"/>
              </a:gdLst>
              <a:ahLst/>
              <a:cxnLst>
                <a:cxn ang="0">
                  <a:pos x="T0" y="T1"/>
                </a:cxn>
                <a:cxn ang="0">
                  <a:pos x="T2" y="T3"/>
                </a:cxn>
                <a:cxn ang="0">
                  <a:pos x="T4" y="T5"/>
                </a:cxn>
                <a:cxn ang="0">
                  <a:pos x="T6" y="T7"/>
                </a:cxn>
              </a:cxnLst>
              <a:rect l="0" t="0" r="r" b="b"/>
              <a:pathLst>
                <a:path w="2" h="3">
                  <a:moveTo>
                    <a:pt x="2" y="0"/>
                  </a:moveTo>
                  <a:lnTo>
                    <a:pt x="0" y="0"/>
                  </a:lnTo>
                  <a:lnTo>
                    <a:pt x="2" y="3"/>
                  </a:lnTo>
                  <a:lnTo>
                    <a:pt x="2"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2" name="Freeform 263"/>
            <p:cNvSpPr>
              <a:spLocks/>
            </p:cNvSpPr>
            <p:nvPr/>
          </p:nvSpPr>
          <p:spPr bwMode="auto">
            <a:xfrm>
              <a:off x="11450818" y="10907599"/>
              <a:ext cx="11113" cy="31750"/>
            </a:xfrm>
            <a:custGeom>
              <a:avLst/>
              <a:gdLst>
                <a:gd name="T0" fmla="*/ 0 w 7"/>
                <a:gd name="T1" fmla="*/ 16 h 20"/>
                <a:gd name="T2" fmla="*/ 2 w 7"/>
                <a:gd name="T3" fmla="*/ 20 h 20"/>
                <a:gd name="T4" fmla="*/ 7 w 7"/>
                <a:gd name="T5" fmla="*/ 15 h 20"/>
                <a:gd name="T6" fmla="*/ 5 w 7"/>
                <a:gd name="T7" fmla="*/ 10 h 20"/>
                <a:gd name="T8" fmla="*/ 7 w 7"/>
                <a:gd name="T9" fmla="*/ 7 h 20"/>
                <a:gd name="T10" fmla="*/ 5 w 7"/>
                <a:gd name="T11" fmla="*/ 0 h 20"/>
                <a:gd name="T12" fmla="*/ 2 w 7"/>
                <a:gd name="T13" fmla="*/ 10 h 20"/>
                <a:gd name="T14" fmla="*/ 0 w 7"/>
                <a:gd name="T15" fmla="*/ 16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20">
                  <a:moveTo>
                    <a:pt x="0" y="16"/>
                  </a:moveTo>
                  <a:lnTo>
                    <a:pt x="2" y="20"/>
                  </a:lnTo>
                  <a:lnTo>
                    <a:pt x="7" y="15"/>
                  </a:lnTo>
                  <a:lnTo>
                    <a:pt x="5" y="10"/>
                  </a:lnTo>
                  <a:lnTo>
                    <a:pt x="7" y="7"/>
                  </a:lnTo>
                  <a:lnTo>
                    <a:pt x="5" y="0"/>
                  </a:lnTo>
                  <a:lnTo>
                    <a:pt x="2" y="10"/>
                  </a:lnTo>
                  <a:lnTo>
                    <a:pt x="0" y="16"/>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3" name="Freeform 264"/>
            <p:cNvSpPr>
              <a:spLocks/>
            </p:cNvSpPr>
            <p:nvPr/>
          </p:nvSpPr>
          <p:spPr bwMode="auto">
            <a:xfrm>
              <a:off x="11431768" y="10925061"/>
              <a:ext cx="6350" cy="7938"/>
            </a:xfrm>
            <a:custGeom>
              <a:avLst/>
              <a:gdLst>
                <a:gd name="T0" fmla="*/ 1 w 4"/>
                <a:gd name="T1" fmla="*/ 0 h 5"/>
                <a:gd name="T2" fmla="*/ 0 w 4"/>
                <a:gd name="T3" fmla="*/ 3 h 5"/>
                <a:gd name="T4" fmla="*/ 4 w 4"/>
                <a:gd name="T5" fmla="*/ 5 h 5"/>
                <a:gd name="T6" fmla="*/ 1 w 4"/>
                <a:gd name="T7" fmla="*/ 0 h 5"/>
              </a:gdLst>
              <a:ahLst/>
              <a:cxnLst>
                <a:cxn ang="0">
                  <a:pos x="T0" y="T1"/>
                </a:cxn>
                <a:cxn ang="0">
                  <a:pos x="T2" y="T3"/>
                </a:cxn>
                <a:cxn ang="0">
                  <a:pos x="T4" y="T5"/>
                </a:cxn>
                <a:cxn ang="0">
                  <a:pos x="T6" y="T7"/>
                </a:cxn>
              </a:cxnLst>
              <a:rect l="0" t="0" r="r" b="b"/>
              <a:pathLst>
                <a:path w="4" h="5">
                  <a:moveTo>
                    <a:pt x="1" y="0"/>
                  </a:moveTo>
                  <a:lnTo>
                    <a:pt x="0" y="3"/>
                  </a:lnTo>
                  <a:lnTo>
                    <a:pt x="4" y="5"/>
                  </a:lnTo>
                  <a:lnTo>
                    <a:pt x="1"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4" name="Freeform 265"/>
            <p:cNvSpPr>
              <a:spLocks/>
            </p:cNvSpPr>
            <p:nvPr/>
          </p:nvSpPr>
          <p:spPr bwMode="auto">
            <a:xfrm>
              <a:off x="11361918" y="10764724"/>
              <a:ext cx="147638" cy="174625"/>
            </a:xfrm>
            <a:custGeom>
              <a:avLst/>
              <a:gdLst>
                <a:gd name="T0" fmla="*/ 6 w 93"/>
                <a:gd name="T1" fmla="*/ 53 h 110"/>
                <a:gd name="T2" fmla="*/ 0 w 93"/>
                <a:gd name="T3" fmla="*/ 66 h 110"/>
                <a:gd name="T4" fmla="*/ 3 w 93"/>
                <a:gd name="T5" fmla="*/ 78 h 110"/>
                <a:gd name="T6" fmla="*/ 9 w 93"/>
                <a:gd name="T7" fmla="*/ 77 h 110"/>
                <a:gd name="T8" fmla="*/ 11 w 93"/>
                <a:gd name="T9" fmla="*/ 86 h 110"/>
                <a:gd name="T10" fmla="*/ 6 w 93"/>
                <a:gd name="T11" fmla="*/ 104 h 110"/>
                <a:gd name="T12" fmla="*/ 11 w 93"/>
                <a:gd name="T13" fmla="*/ 110 h 110"/>
                <a:gd name="T14" fmla="*/ 23 w 93"/>
                <a:gd name="T15" fmla="*/ 108 h 110"/>
                <a:gd name="T16" fmla="*/ 22 w 93"/>
                <a:gd name="T17" fmla="*/ 75 h 110"/>
                <a:gd name="T18" fmla="*/ 20 w 93"/>
                <a:gd name="T19" fmla="*/ 72 h 110"/>
                <a:gd name="T20" fmla="*/ 29 w 93"/>
                <a:gd name="T21" fmla="*/ 65 h 110"/>
                <a:gd name="T22" fmla="*/ 32 w 93"/>
                <a:gd name="T23" fmla="*/ 66 h 110"/>
                <a:gd name="T24" fmla="*/ 30 w 93"/>
                <a:gd name="T25" fmla="*/ 75 h 110"/>
                <a:gd name="T26" fmla="*/ 32 w 93"/>
                <a:gd name="T27" fmla="*/ 79 h 110"/>
                <a:gd name="T28" fmla="*/ 39 w 93"/>
                <a:gd name="T29" fmla="*/ 87 h 110"/>
                <a:gd name="T30" fmla="*/ 41 w 93"/>
                <a:gd name="T31" fmla="*/ 98 h 110"/>
                <a:gd name="T32" fmla="*/ 44 w 93"/>
                <a:gd name="T33" fmla="*/ 98 h 110"/>
                <a:gd name="T34" fmla="*/ 49 w 93"/>
                <a:gd name="T35" fmla="*/ 93 h 110"/>
                <a:gd name="T36" fmla="*/ 58 w 93"/>
                <a:gd name="T37" fmla="*/ 90 h 110"/>
                <a:gd name="T38" fmla="*/ 58 w 93"/>
                <a:gd name="T39" fmla="*/ 87 h 110"/>
                <a:gd name="T40" fmla="*/ 55 w 93"/>
                <a:gd name="T41" fmla="*/ 86 h 110"/>
                <a:gd name="T42" fmla="*/ 50 w 93"/>
                <a:gd name="T43" fmla="*/ 79 h 110"/>
                <a:gd name="T44" fmla="*/ 52 w 93"/>
                <a:gd name="T45" fmla="*/ 73 h 110"/>
                <a:gd name="T46" fmla="*/ 37 w 93"/>
                <a:gd name="T47" fmla="*/ 52 h 110"/>
                <a:gd name="T48" fmla="*/ 42 w 93"/>
                <a:gd name="T49" fmla="*/ 53 h 110"/>
                <a:gd name="T50" fmla="*/ 51 w 93"/>
                <a:gd name="T51" fmla="*/ 49 h 110"/>
                <a:gd name="T52" fmla="*/ 58 w 93"/>
                <a:gd name="T53" fmla="*/ 40 h 110"/>
                <a:gd name="T54" fmla="*/ 67 w 93"/>
                <a:gd name="T55" fmla="*/ 40 h 110"/>
                <a:gd name="T56" fmla="*/ 67 w 93"/>
                <a:gd name="T57" fmla="*/ 34 h 110"/>
                <a:gd name="T58" fmla="*/ 63 w 93"/>
                <a:gd name="T59" fmla="*/ 33 h 110"/>
                <a:gd name="T60" fmla="*/ 58 w 93"/>
                <a:gd name="T61" fmla="*/ 37 h 110"/>
                <a:gd name="T62" fmla="*/ 48 w 93"/>
                <a:gd name="T63" fmla="*/ 37 h 110"/>
                <a:gd name="T64" fmla="*/ 46 w 93"/>
                <a:gd name="T65" fmla="*/ 40 h 110"/>
                <a:gd name="T66" fmla="*/ 41 w 93"/>
                <a:gd name="T67" fmla="*/ 40 h 110"/>
                <a:gd name="T68" fmla="*/ 32 w 93"/>
                <a:gd name="T69" fmla="*/ 47 h 110"/>
                <a:gd name="T70" fmla="*/ 26 w 93"/>
                <a:gd name="T71" fmla="*/ 47 h 110"/>
                <a:gd name="T72" fmla="*/ 18 w 93"/>
                <a:gd name="T73" fmla="*/ 37 h 110"/>
                <a:gd name="T74" fmla="*/ 20 w 93"/>
                <a:gd name="T75" fmla="*/ 22 h 110"/>
                <a:gd name="T76" fmla="*/ 23 w 93"/>
                <a:gd name="T77" fmla="*/ 19 h 110"/>
                <a:gd name="T78" fmla="*/ 36 w 93"/>
                <a:gd name="T79" fmla="*/ 19 h 110"/>
                <a:gd name="T80" fmla="*/ 80 w 93"/>
                <a:gd name="T81" fmla="*/ 21 h 110"/>
                <a:gd name="T82" fmla="*/ 93 w 93"/>
                <a:gd name="T83" fmla="*/ 6 h 110"/>
                <a:gd name="T84" fmla="*/ 90 w 93"/>
                <a:gd name="T85" fmla="*/ 0 h 110"/>
                <a:gd name="T86" fmla="*/ 74 w 93"/>
                <a:gd name="T87" fmla="*/ 13 h 110"/>
                <a:gd name="T88" fmla="*/ 58 w 93"/>
                <a:gd name="T89" fmla="*/ 13 h 110"/>
                <a:gd name="T90" fmla="*/ 32 w 93"/>
                <a:gd name="T91" fmla="*/ 6 h 110"/>
                <a:gd name="T92" fmla="*/ 28 w 93"/>
                <a:gd name="T93" fmla="*/ 8 h 110"/>
                <a:gd name="T94" fmla="*/ 25 w 93"/>
                <a:gd name="T95" fmla="*/ 14 h 110"/>
                <a:gd name="T96" fmla="*/ 20 w 93"/>
                <a:gd name="T97" fmla="*/ 13 h 110"/>
                <a:gd name="T98" fmla="*/ 17 w 93"/>
                <a:gd name="T99" fmla="*/ 15 h 110"/>
                <a:gd name="T100" fmla="*/ 11 w 93"/>
                <a:gd name="T101" fmla="*/ 27 h 110"/>
                <a:gd name="T102" fmla="*/ 12 w 93"/>
                <a:gd name="T103" fmla="*/ 34 h 110"/>
                <a:gd name="T104" fmla="*/ 6 w 93"/>
                <a:gd name="T105" fmla="*/ 45 h 110"/>
                <a:gd name="T106" fmla="*/ 6 w 93"/>
                <a:gd name="T107" fmla="*/ 53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3" h="110">
                  <a:moveTo>
                    <a:pt x="6" y="53"/>
                  </a:moveTo>
                  <a:lnTo>
                    <a:pt x="0" y="66"/>
                  </a:lnTo>
                  <a:lnTo>
                    <a:pt x="3" y="78"/>
                  </a:lnTo>
                  <a:lnTo>
                    <a:pt x="9" y="77"/>
                  </a:lnTo>
                  <a:lnTo>
                    <a:pt x="11" y="86"/>
                  </a:lnTo>
                  <a:lnTo>
                    <a:pt x="6" y="104"/>
                  </a:lnTo>
                  <a:lnTo>
                    <a:pt x="11" y="110"/>
                  </a:lnTo>
                  <a:lnTo>
                    <a:pt x="23" y="108"/>
                  </a:lnTo>
                  <a:lnTo>
                    <a:pt x="22" y="75"/>
                  </a:lnTo>
                  <a:lnTo>
                    <a:pt x="20" y="72"/>
                  </a:lnTo>
                  <a:lnTo>
                    <a:pt x="29" y="65"/>
                  </a:lnTo>
                  <a:lnTo>
                    <a:pt x="32" y="66"/>
                  </a:lnTo>
                  <a:lnTo>
                    <a:pt x="30" y="75"/>
                  </a:lnTo>
                  <a:lnTo>
                    <a:pt x="32" y="79"/>
                  </a:lnTo>
                  <a:lnTo>
                    <a:pt x="39" y="87"/>
                  </a:lnTo>
                  <a:lnTo>
                    <a:pt x="41" y="98"/>
                  </a:lnTo>
                  <a:lnTo>
                    <a:pt x="44" y="98"/>
                  </a:lnTo>
                  <a:lnTo>
                    <a:pt x="49" y="93"/>
                  </a:lnTo>
                  <a:lnTo>
                    <a:pt x="58" y="90"/>
                  </a:lnTo>
                  <a:lnTo>
                    <a:pt x="58" y="87"/>
                  </a:lnTo>
                  <a:lnTo>
                    <a:pt x="55" y="86"/>
                  </a:lnTo>
                  <a:lnTo>
                    <a:pt x="50" y="79"/>
                  </a:lnTo>
                  <a:lnTo>
                    <a:pt x="52" y="73"/>
                  </a:lnTo>
                  <a:lnTo>
                    <a:pt x="37" y="52"/>
                  </a:lnTo>
                  <a:lnTo>
                    <a:pt x="42" y="53"/>
                  </a:lnTo>
                  <a:lnTo>
                    <a:pt x="51" y="49"/>
                  </a:lnTo>
                  <a:lnTo>
                    <a:pt x="58" y="40"/>
                  </a:lnTo>
                  <a:lnTo>
                    <a:pt x="67" y="40"/>
                  </a:lnTo>
                  <a:lnTo>
                    <a:pt x="67" y="34"/>
                  </a:lnTo>
                  <a:lnTo>
                    <a:pt x="63" y="33"/>
                  </a:lnTo>
                  <a:lnTo>
                    <a:pt x="58" y="37"/>
                  </a:lnTo>
                  <a:lnTo>
                    <a:pt x="48" y="37"/>
                  </a:lnTo>
                  <a:lnTo>
                    <a:pt x="46" y="40"/>
                  </a:lnTo>
                  <a:lnTo>
                    <a:pt x="41" y="40"/>
                  </a:lnTo>
                  <a:lnTo>
                    <a:pt x="32" y="47"/>
                  </a:lnTo>
                  <a:lnTo>
                    <a:pt x="26" y="47"/>
                  </a:lnTo>
                  <a:lnTo>
                    <a:pt x="18" y="37"/>
                  </a:lnTo>
                  <a:lnTo>
                    <a:pt x="20" y="22"/>
                  </a:lnTo>
                  <a:lnTo>
                    <a:pt x="23" y="19"/>
                  </a:lnTo>
                  <a:lnTo>
                    <a:pt x="36" y="19"/>
                  </a:lnTo>
                  <a:lnTo>
                    <a:pt x="80" y="21"/>
                  </a:lnTo>
                  <a:lnTo>
                    <a:pt x="93" y="6"/>
                  </a:lnTo>
                  <a:lnTo>
                    <a:pt x="90" y="0"/>
                  </a:lnTo>
                  <a:lnTo>
                    <a:pt x="74" y="13"/>
                  </a:lnTo>
                  <a:lnTo>
                    <a:pt x="58" y="13"/>
                  </a:lnTo>
                  <a:lnTo>
                    <a:pt x="32" y="6"/>
                  </a:lnTo>
                  <a:lnTo>
                    <a:pt x="28" y="8"/>
                  </a:lnTo>
                  <a:lnTo>
                    <a:pt x="25" y="14"/>
                  </a:lnTo>
                  <a:lnTo>
                    <a:pt x="20" y="13"/>
                  </a:lnTo>
                  <a:lnTo>
                    <a:pt x="17" y="15"/>
                  </a:lnTo>
                  <a:lnTo>
                    <a:pt x="11" y="27"/>
                  </a:lnTo>
                  <a:lnTo>
                    <a:pt x="12" y="34"/>
                  </a:lnTo>
                  <a:lnTo>
                    <a:pt x="6" y="45"/>
                  </a:lnTo>
                  <a:lnTo>
                    <a:pt x="6" y="53"/>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5" name="Freeform 266"/>
            <p:cNvSpPr>
              <a:spLocks/>
            </p:cNvSpPr>
            <p:nvPr/>
          </p:nvSpPr>
          <p:spPr bwMode="auto">
            <a:xfrm>
              <a:off x="11276193" y="10966336"/>
              <a:ext cx="7938" cy="4763"/>
            </a:xfrm>
            <a:custGeom>
              <a:avLst/>
              <a:gdLst>
                <a:gd name="T0" fmla="*/ 5 w 5"/>
                <a:gd name="T1" fmla="*/ 0 h 3"/>
                <a:gd name="T2" fmla="*/ 0 w 5"/>
                <a:gd name="T3" fmla="*/ 0 h 3"/>
                <a:gd name="T4" fmla="*/ 2 w 5"/>
                <a:gd name="T5" fmla="*/ 3 h 3"/>
                <a:gd name="T6" fmla="*/ 5 w 5"/>
                <a:gd name="T7" fmla="*/ 0 h 3"/>
              </a:gdLst>
              <a:ahLst/>
              <a:cxnLst>
                <a:cxn ang="0">
                  <a:pos x="T0" y="T1"/>
                </a:cxn>
                <a:cxn ang="0">
                  <a:pos x="T2" y="T3"/>
                </a:cxn>
                <a:cxn ang="0">
                  <a:pos x="T4" y="T5"/>
                </a:cxn>
                <a:cxn ang="0">
                  <a:pos x="T6" y="T7"/>
                </a:cxn>
              </a:cxnLst>
              <a:rect l="0" t="0" r="r" b="b"/>
              <a:pathLst>
                <a:path w="5" h="3">
                  <a:moveTo>
                    <a:pt x="5" y="0"/>
                  </a:moveTo>
                  <a:lnTo>
                    <a:pt x="0" y="0"/>
                  </a:lnTo>
                  <a:lnTo>
                    <a:pt x="2" y="3"/>
                  </a:lnTo>
                  <a:lnTo>
                    <a:pt x="5"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6" name="Freeform 267"/>
            <p:cNvSpPr>
              <a:spLocks/>
            </p:cNvSpPr>
            <p:nvPr/>
          </p:nvSpPr>
          <p:spPr bwMode="auto">
            <a:xfrm>
              <a:off x="11215868" y="10966336"/>
              <a:ext cx="30163" cy="7938"/>
            </a:xfrm>
            <a:custGeom>
              <a:avLst/>
              <a:gdLst>
                <a:gd name="T0" fmla="*/ 3 w 19"/>
                <a:gd name="T1" fmla="*/ 4 h 5"/>
                <a:gd name="T2" fmla="*/ 11 w 19"/>
                <a:gd name="T3" fmla="*/ 5 h 5"/>
                <a:gd name="T4" fmla="*/ 19 w 19"/>
                <a:gd name="T5" fmla="*/ 4 h 5"/>
                <a:gd name="T6" fmla="*/ 18 w 19"/>
                <a:gd name="T7" fmla="*/ 0 h 5"/>
                <a:gd name="T8" fmla="*/ 0 w 19"/>
                <a:gd name="T9" fmla="*/ 2 h 5"/>
                <a:gd name="T10" fmla="*/ 3 w 19"/>
                <a:gd name="T11" fmla="*/ 4 h 5"/>
              </a:gdLst>
              <a:ahLst/>
              <a:cxnLst>
                <a:cxn ang="0">
                  <a:pos x="T0" y="T1"/>
                </a:cxn>
                <a:cxn ang="0">
                  <a:pos x="T2" y="T3"/>
                </a:cxn>
                <a:cxn ang="0">
                  <a:pos x="T4" y="T5"/>
                </a:cxn>
                <a:cxn ang="0">
                  <a:pos x="T6" y="T7"/>
                </a:cxn>
                <a:cxn ang="0">
                  <a:pos x="T8" y="T9"/>
                </a:cxn>
                <a:cxn ang="0">
                  <a:pos x="T10" y="T11"/>
                </a:cxn>
              </a:cxnLst>
              <a:rect l="0" t="0" r="r" b="b"/>
              <a:pathLst>
                <a:path w="19" h="5">
                  <a:moveTo>
                    <a:pt x="3" y="4"/>
                  </a:moveTo>
                  <a:lnTo>
                    <a:pt x="11" y="5"/>
                  </a:lnTo>
                  <a:lnTo>
                    <a:pt x="19" y="4"/>
                  </a:lnTo>
                  <a:lnTo>
                    <a:pt x="18" y="0"/>
                  </a:lnTo>
                  <a:lnTo>
                    <a:pt x="0" y="2"/>
                  </a:lnTo>
                  <a:lnTo>
                    <a:pt x="3" y="4"/>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7" name="Freeform 268"/>
            <p:cNvSpPr>
              <a:spLocks/>
            </p:cNvSpPr>
            <p:nvPr/>
          </p:nvSpPr>
          <p:spPr bwMode="auto">
            <a:xfrm>
              <a:off x="11258731" y="10994911"/>
              <a:ext cx="25400" cy="19050"/>
            </a:xfrm>
            <a:custGeom>
              <a:avLst/>
              <a:gdLst>
                <a:gd name="T0" fmla="*/ 0 w 16"/>
                <a:gd name="T1" fmla="*/ 0 h 12"/>
                <a:gd name="T2" fmla="*/ 0 w 16"/>
                <a:gd name="T3" fmla="*/ 4 h 12"/>
                <a:gd name="T4" fmla="*/ 6 w 16"/>
                <a:gd name="T5" fmla="*/ 5 h 12"/>
                <a:gd name="T6" fmla="*/ 11 w 16"/>
                <a:gd name="T7" fmla="*/ 12 h 12"/>
                <a:gd name="T8" fmla="*/ 16 w 16"/>
                <a:gd name="T9" fmla="*/ 4 h 12"/>
                <a:gd name="T10" fmla="*/ 13 w 16"/>
                <a:gd name="T11" fmla="*/ 0 h 12"/>
                <a:gd name="T12" fmla="*/ 6 w 16"/>
                <a:gd name="T13" fmla="*/ 0 h 12"/>
                <a:gd name="T14" fmla="*/ 0 w 16"/>
                <a:gd name="T15" fmla="*/ 0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12">
                  <a:moveTo>
                    <a:pt x="0" y="0"/>
                  </a:moveTo>
                  <a:lnTo>
                    <a:pt x="0" y="4"/>
                  </a:lnTo>
                  <a:lnTo>
                    <a:pt x="6" y="5"/>
                  </a:lnTo>
                  <a:lnTo>
                    <a:pt x="11" y="12"/>
                  </a:lnTo>
                  <a:lnTo>
                    <a:pt x="16" y="4"/>
                  </a:lnTo>
                  <a:lnTo>
                    <a:pt x="13" y="0"/>
                  </a:lnTo>
                  <a:lnTo>
                    <a:pt x="6" y="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8" name="Freeform 269"/>
            <p:cNvSpPr>
              <a:spLocks/>
            </p:cNvSpPr>
            <p:nvPr/>
          </p:nvSpPr>
          <p:spPr bwMode="auto">
            <a:xfrm>
              <a:off x="11293656" y="10998086"/>
              <a:ext cx="15875" cy="17463"/>
            </a:xfrm>
            <a:custGeom>
              <a:avLst/>
              <a:gdLst>
                <a:gd name="T0" fmla="*/ 0 w 10"/>
                <a:gd name="T1" fmla="*/ 11 h 11"/>
                <a:gd name="T2" fmla="*/ 9 w 10"/>
                <a:gd name="T3" fmla="*/ 11 h 11"/>
                <a:gd name="T4" fmla="*/ 10 w 10"/>
                <a:gd name="T5" fmla="*/ 3 h 11"/>
                <a:gd name="T6" fmla="*/ 4 w 10"/>
                <a:gd name="T7" fmla="*/ 0 h 11"/>
                <a:gd name="T8" fmla="*/ 1 w 10"/>
                <a:gd name="T9" fmla="*/ 4 h 11"/>
                <a:gd name="T10" fmla="*/ 0 w 10"/>
                <a:gd name="T11" fmla="*/ 11 h 11"/>
              </a:gdLst>
              <a:ahLst/>
              <a:cxnLst>
                <a:cxn ang="0">
                  <a:pos x="T0" y="T1"/>
                </a:cxn>
                <a:cxn ang="0">
                  <a:pos x="T2" y="T3"/>
                </a:cxn>
                <a:cxn ang="0">
                  <a:pos x="T4" y="T5"/>
                </a:cxn>
                <a:cxn ang="0">
                  <a:pos x="T6" y="T7"/>
                </a:cxn>
                <a:cxn ang="0">
                  <a:pos x="T8" y="T9"/>
                </a:cxn>
                <a:cxn ang="0">
                  <a:pos x="T10" y="T11"/>
                </a:cxn>
              </a:cxnLst>
              <a:rect l="0" t="0" r="r" b="b"/>
              <a:pathLst>
                <a:path w="10" h="11">
                  <a:moveTo>
                    <a:pt x="0" y="11"/>
                  </a:moveTo>
                  <a:lnTo>
                    <a:pt x="9" y="11"/>
                  </a:lnTo>
                  <a:lnTo>
                    <a:pt x="10" y="3"/>
                  </a:lnTo>
                  <a:lnTo>
                    <a:pt x="4" y="0"/>
                  </a:lnTo>
                  <a:lnTo>
                    <a:pt x="1" y="4"/>
                  </a:lnTo>
                  <a:lnTo>
                    <a:pt x="0" y="11"/>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9" name="Freeform 270"/>
            <p:cNvSpPr>
              <a:spLocks/>
            </p:cNvSpPr>
            <p:nvPr/>
          </p:nvSpPr>
          <p:spPr bwMode="auto">
            <a:xfrm>
              <a:off x="11311118" y="10994911"/>
              <a:ext cx="57150" cy="25400"/>
            </a:xfrm>
            <a:custGeom>
              <a:avLst/>
              <a:gdLst>
                <a:gd name="T0" fmla="*/ 12 w 36"/>
                <a:gd name="T1" fmla="*/ 6 h 16"/>
                <a:gd name="T2" fmla="*/ 5 w 36"/>
                <a:gd name="T3" fmla="*/ 5 h 16"/>
                <a:gd name="T4" fmla="*/ 0 w 36"/>
                <a:gd name="T5" fmla="*/ 8 h 16"/>
                <a:gd name="T6" fmla="*/ 4 w 36"/>
                <a:gd name="T7" fmla="*/ 16 h 16"/>
                <a:gd name="T8" fmla="*/ 25 w 36"/>
                <a:gd name="T9" fmla="*/ 10 h 16"/>
                <a:gd name="T10" fmla="*/ 28 w 36"/>
                <a:gd name="T11" fmla="*/ 12 h 16"/>
                <a:gd name="T12" fmla="*/ 36 w 36"/>
                <a:gd name="T13" fmla="*/ 10 h 16"/>
                <a:gd name="T14" fmla="*/ 32 w 36"/>
                <a:gd name="T15" fmla="*/ 4 h 16"/>
                <a:gd name="T16" fmla="*/ 28 w 36"/>
                <a:gd name="T17" fmla="*/ 7 h 16"/>
                <a:gd name="T18" fmla="*/ 26 w 36"/>
                <a:gd name="T19" fmla="*/ 4 h 16"/>
                <a:gd name="T20" fmla="*/ 22 w 36"/>
                <a:gd name="T21" fmla="*/ 5 h 16"/>
                <a:gd name="T22" fmla="*/ 18 w 36"/>
                <a:gd name="T23" fmla="*/ 0 h 16"/>
                <a:gd name="T24" fmla="*/ 16 w 36"/>
                <a:gd name="T25" fmla="*/ 5 h 16"/>
                <a:gd name="T26" fmla="*/ 22 w 36"/>
                <a:gd name="T27" fmla="*/ 8 h 16"/>
                <a:gd name="T28" fmla="*/ 17 w 36"/>
                <a:gd name="T29" fmla="*/ 10 h 16"/>
                <a:gd name="T30" fmla="*/ 12 w 36"/>
                <a:gd name="T31" fmla="*/ 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 h="16">
                  <a:moveTo>
                    <a:pt x="12" y="6"/>
                  </a:moveTo>
                  <a:lnTo>
                    <a:pt x="5" y="5"/>
                  </a:lnTo>
                  <a:lnTo>
                    <a:pt x="0" y="8"/>
                  </a:lnTo>
                  <a:lnTo>
                    <a:pt x="4" y="16"/>
                  </a:lnTo>
                  <a:lnTo>
                    <a:pt x="25" y="10"/>
                  </a:lnTo>
                  <a:lnTo>
                    <a:pt x="28" y="12"/>
                  </a:lnTo>
                  <a:lnTo>
                    <a:pt x="36" y="10"/>
                  </a:lnTo>
                  <a:lnTo>
                    <a:pt x="32" y="4"/>
                  </a:lnTo>
                  <a:lnTo>
                    <a:pt x="28" y="7"/>
                  </a:lnTo>
                  <a:lnTo>
                    <a:pt x="26" y="4"/>
                  </a:lnTo>
                  <a:lnTo>
                    <a:pt x="22" y="5"/>
                  </a:lnTo>
                  <a:lnTo>
                    <a:pt x="18" y="0"/>
                  </a:lnTo>
                  <a:lnTo>
                    <a:pt x="16" y="5"/>
                  </a:lnTo>
                  <a:lnTo>
                    <a:pt x="22" y="8"/>
                  </a:lnTo>
                  <a:lnTo>
                    <a:pt x="17" y="10"/>
                  </a:lnTo>
                  <a:lnTo>
                    <a:pt x="12" y="6"/>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0" name="Freeform 271"/>
            <p:cNvSpPr>
              <a:spLocks/>
            </p:cNvSpPr>
            <p:nvPr/>
          </p:nvSpPr>
          <p:spPr bwMode="auto">
            <a:xfrm>
              <a:off x="11366681" y="11025074"/>
              <a:ext cx="41275" cy="23813"/>
            </a:xfrm>
            <a:custGeom>
              <a:avLst/>
              <a:gdLst>
                <a:gd name="T0" fmla="*/ 8 w 26"/>
                <a:gd name="T1" fmla="*/ 7 h 15"/>
                <a:gd name="T2" fmla="*/ 17 w 26"/>
                <a:gd name="T3" fmla="*/ 15 h 15"/>
                <a:gd name="T4" fmla="*/ 26 w 26"/>
                <a:gd name="T5" fmla="*/ 12 h 15"/>
                <a:gd name="T6" fmla="*/ 22 w 26"/>
                <a:gd name="T7" fmla="*/ 6 h 15"/>
                <a:gd name="T8" fmla="*/ 12 w 26"/>
                <a:gd name="T9" fmla="*/ 0 h 15"/>
                <a:gd name="T10" fmla="*/ 0 w 26"/>
                <a:gd name="T11" fmla="*/ 2 h 15"/>
                <a:gd name="T12" fmla="*/ 1 w 26"/>
                <a:gd name="T13" fmla="*/ 7 h 15"/>
                <a:gd name="T14" fmla="*/ 8 w 26"/>
                <a:gd name="T15" fmla="*/ 7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15">
                  <a:moveTo>
                    <a:pt x="8" y="7"/>
                  </a:moveTo>
                  <a:lnTo>
                    <a:pt x="17" y="15"/>
                  </a:lnTo>
                  <a:lnTo>
                    <a:pt x="26" y="12"/>
                  </a:lnTo>
                  <a:lnTo>
                    <a:pt x="22" y="6"/>
                  </a:lnTo>
                  <a:lnTo>
                    <a:pt x="12" y="0"/>
                  </a:lnTo>
                  <a:lnTo>
                    <a:pt x="0" y="2"/>
                  </a:lnTo>
                  <a:lnTo>
                    <a:pt x="1" y="7"/>
                  </a:lnTo>
                  <a:lnTo>
                    <a:pt x="8" y="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1" name="Freeform 272"/>
            <p:cNvSpPr>
              <a:spLocks/>
            </p:cNvSpPr>
            <p:nvPr/>
          </p:nvSpPr>
          <p:spPr bwMode="auto">
            <a:xfrm>
              <a:off x="11385731" y="10994911"/>
              <a:ext cx="73025" cy="20638"/>
            </a:xfrm>
            <a:custGeom>
              <a:avLst/>
              <a:gdLst>
                <a:gd name="T0" fmla="*/ 40 w 46"/>
                <a:gd name="T1" fmla="*/ 10 h 13"/>
                <a:gd name="T2" fmla="*/ 46 w 46"/>
                <a:gd name="T3" fmla="*/ 5 h 13"/>
                <a:gd name="T4" fmla="*/ 43 w 46"/>
                <a:gd name="T5" fmla="*/ 0 h 13"/>
                <a:gd name="T6" fmla="*/ 43 w 46"/>
                <a:gd name="T7" fmla="*/ 4 h 13"/>
                <a:gd name="T8" fmla="*/ 37 w 46"/>
                <a:gd name="T9" fmla="*/ 8 h 13"/>
                <a:gd name="T10" fmla="*/ 31 w 46"/>
                <a:gd name="T11" fmla="*/ 6 h 13"/>
                <a:gd name="T12" fmla="*/ 22 w 46"/>
                <a:gd name="T13" fmla="*/ 8 h 13"/>
                <a:gd name="T14" fmla="*/ 10 w 46"/>
                <a:gd name="T15" fmla="*/ 2 h 13"/>
                <a:gd name="T16" fmla="*/ 0 w 46"/>
                <a:gd name="T17" fmla="*/ 6 h 13"/>
                <a:gd name="T18" fmla="*/ 0 w 46"/>
                <a:gd name="T19" fmla="*/ 11 h 13"/>
                <a:gd name="T20" fmla="*/ 17 w 46"/>
                <a:gd name="T21" fmla="*/ 13 h 13"/>
                <a:gd name="T22" fmla="*/ 40 w 46"/>
                <a:gd name="T23" fmla="*/ 1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 h="13">
                  <a:moveTo>
                    <a:pt x="40" y="10"/>
                  </a:moveTo>
                  <a:lnTo>
                    <a:pt x="46" y="5"/>
                  </a:lnTo>
                  <a:lnTo>
                    <a:pt x="43" y="0"/>
                  </a:lnTo>
                  <a:lnTo>
                    <a:pt x="43" y="4"/>
                  </a:lnTo>
                  <a:lnTo>
                    <a:pt x="37" y="8"/>
                  </a:lnTo>
                  <a:lnTo>
                    <a:pt x="31" y="6"/>
                  </a:lnTo>
                  <a:lnTo>
                    <a:pt x="22" y="8"/>
                  </a:lnTo>
                  <a:lnTo>
                    <a:pt x="10" y="2"/>
                  </a:lnTo>
                  <a:lnTo>
                    <a:pt x="0" y="6"/>
                  </a:lnTo>
                  <a:lnTo>
                    <a:pt x="0" y="11"/>
                  </a:lnTo>
                  <a:lnTo>
                    <a:pt x="17" y="13"/>
                  </a:lnTo>
                  <a:lnTo>
                    <a:pt x="40" y="1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2" name="Freeform 273"/>
            <p:cNvSpPr>
              <a:spLocks/>
            </p:cNvSpPr>
            <p:nvPr/>
          </p:nvSpPr>
          <p:spPr bwMode="auto">
            <a:xfrm>
              <a:off x="11465106" y="10998086"/>
              <a:ext cx="9525" cy="7938"/>
            </a:xfrm>
            <a:custGeom>
              <a:avLst/>
              <a:gdLst>
                <a:gd name="T0" fmla="*/ 6 w 6"/>
                <a:gd name="T1" fmla="*/ 0 h 5"/>
                <a:gd name="T2" fmla="*/ 4 w 6"/>
                <a:gd name="T3" fmla="*/ 3 h 5"/>
                <a:gd name="T4" fmla="*/ 2 w 6"/>
                <a:gd name="T5" fmla="*/ 0 h 5"/>
                <a:gd name="T6" fmla="*/ 0 w 6"/>
                <a:gd name="T7" fmla="*/ 5 h 5"/>
                <a:gd name="T8" fmla="*/ 5 w 6"/>
                <a:gd name="T9" fmla="*/ 5 h 5"/>
                <a:gd name="T10" fmla="*/ 6 w 6"/>
                <a:gd name="T11" fmla="*/ 0 h 5"/>
              </a:gdLst>
              <a:ahLst/>
              <a:cxnLst>
                <a:cxn ang="0">
                  <a:pos x="T0" y="T1"/>
                </a:cxn>
                <a:cxn ang="0">
                  <a:pos x="T2" y="T3"/>
                </a:cxn>
                <a:cxn ang="0">
                  <a:pos x="T4" y="T5"/>
                </a:cxn>
                <a:cxn ang="0">
                  <a:pos x="T6" y="T7"/>
                </a:cxn>
                <a:cxn ang="0">
                  <a:pos x="T8" y="T9"/>
                </a:cxn>
                <a:cxn ang="0">
                  <a:pos x="T10" y="T11"/>
                </a:cxn>
              </a:cxnLst>
              <a:rect l="0" t="0" r="r" b="b"/>
              <a:pathLst>
                <a:path w="6" h="5">
                  <a:moveTo>
                    <a:pt x="6" y="0"/>
                  </a:moveTo>
                  <a:lnTo>
                    <a:pt x="4" y="3"/>
                  </a:lnTo>
                  <a:lnTo>
                    <a:pt x="2" y="0"/>
                  </a:lnTo>
                  <a:lnTo>
                    <a:pt x="0" y="5"/>
                  </a:lnTo>
                  <a:lnTo>
                    <a:pt x="5" y="5"/>
                  </a:lnTo>
                  <a:lnTo>
                    <a:pt x="6"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3" name="Freeform 274"/>
            <p:cNvSpPr>
              <a:spLocks/>
            </p:cNvSpPr>
            <p:nvPr/>
          </p:nvSpPr>
          <p:spPr bwMode="auto">
            <a:xfrm>
              <a:off x="11480981" y="10998086"/>
              <a:ext cx="7938" cy="9525"/>
            </a:xfrm>
            <a:custGeom>
              <a:avLst/>
              <a:gdLst>
                <a:gd name="T0" fmla="*/ 0 w 5"/>
                <a:gd name="T1" fmla="*/ 4 h 6"/>
                <a:gd name="T2" fmla="*/ 2 w 5"/>
                <a:gd name="T3" fmla="*/ 6 h 6"/>
                <a:gd name="T4" fmla="*/ 5 w 5"/>
                <a:gd name="T5" fmla="*/ 0 h 6"/>
                <a:gd name="T6" fmla="*/ 0 w 5"/>
                <a:gd name="T7" fmla="*/ 4 h 6"/>
              </a:gdLst>
              <a:ahLst/>
              <a:cxnLst>
                <a:cxn ang="0">
                  <a:pos x="T0" y="T1"/>
                </a:cxn>
                <a:cxn ang="0">
                  <a:pos x="T2" y="T3"/>
                </a:cxn>
                <a:cxn ang="0">
                  <a:pos x="T4" y="T5"/>
                </a:cxn>
                <a:cxn ang="0">
                  <a:pos x="T6" y="T7"/>
                </a:cxn>
              </a:cxnLst>
              <a:rect l="0" t="0" r="r" b="b"/>
              <a:pathLst>
                <a:path w="5" h="6">
                  <a:moveTo>
                    <a:pt x="0" y="4"/>
                  </a:moveTo>
                  <a:lnTo>
                    <a:pt x="2" y="6"/>
                  </a:lnTo>
                  <a:lnTo>
                    <a:pt x="5" y="0"/>
                  </a:lnTo>
                  <a:lnTo>
                    <a:pt x="0" y="4"/>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4" name="Freeform 275"/>
            <p:cNvSpPr>
              <a:spLocks/>
            </p:cNvSpPr>
            <p:nvPr/>
          </p:nvSpPr>
          <p:spPr bwMode="auto">
            <a:xfrm>
              <a:off x="11492093" y="10998086"/>
              <a:ext cx="14288" cy="6350"/>
            </a:xfrm>
            <a:custGeom>
              <a:avLst/>
              <a:gdLst>
                <a:gd name="T0" fmla="*/ 2 w 9"/>
                <a:gd name="T1" fmla="*/ 4 h 4"/>
                <a:gd name="T2" fmla="*/ 9 w 9"/>
                <a:gd name="T3" fmla="*/ 2 h 4"/>
                <a:gd name="T4" fmla="*/ 0 w 9"/>
                <a:gd name="T5" fmla="*/ 0 h 4"/>
                <a:gd name="T6" fmla="*/ 2 w 9"/>
                <a:gd name="T7" fmla="*/ 4 h 4"/>
              </a:gdLst>
              <a:ahLst/>
              <a:cxnLst>
                <a:cxn ang="0">
                  <a:pos x="T0" y="T1"/>
                </a:cxn>
                <a:cxn ang="0">
                  <a:pos x="T2" y="T3"/>
                </a:cxn>
                <a:cxn ang="0">
                  <a:pos x="T4" y="T5"/>
                </a:cxn>
                <a:cxn ang="0">
                  <a:pos x="T6" y="T7"/>
                </a:cxn>
              </a:cxnLst>
              <a:rect l="0" t="0" r="r" b="b"/>
              <a:pathLst>
                <a:path w="9" h="4">
                  <a:moveTo>
                    <a:pt x="2" y="4"/>
                  </a:moveTo>
                  <a:lnTo>
                    <a:pt x="9" y="2"/>
                  </a:lnTo>
                  <a:lnTo>
                    <a:pt x="0" y="0"/>
                  </a:lnTo>
                  <a:lnTo>
                    <a:pt x="2" y="4"/>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5" name="Freeform 276"/>
            <p:cNvSpPr>
              <a:spLocks/>
            </p:cNvSpPr>
            <p:nvPr/>
          </p:nvSpPr>
          <p:spPr bwMode="auto">
            <a:xfrm>
              <a:off x="11453993" y="11052061"/>
              <a:ext cx="14288" cy="11113"/>
            </a:xfrm>
            <a:custGeom>
              <a:avLst/>
              <a:gdLst>
                <a:gd name="T0" fmla="*/ 9 w 9"/>
                <a:gd name="T1" fmla="*/ 0 h 7"/>
                <a:gd name="T2" fmla="*/ 0 w 9"/>
                <a:gd name="T3" fmla="*/ 7 h 7"/>
                <a:gd name="T4" fmla="*/ 6 w 9"/>
                <a:gd name="T5" fmla="*/ 6 h 7"/>
                <a:gd name="T6" fmla="*/ 9 w 9"/>
                <a:gd name="T7" fmla="*/ 0 h 7"/>
              </a:gdLst>
              <a:ahLst/>
              <a:cxnLst>
                <a:cxn ang="0">
                  <a:pos x="T0" y="T1"/>
                </a:cxn>
                <a:cxn ang="0">
                  <a:pos x="T2" y="T3"/>
                </a:cxn>
                <a:cxn ang="0">
                  <a:pos x="T4" y="T5"/>
                </a:cxn>
                <a:cxn ang="0">
                  <a:pos x="T6" y="T7"/>
                </a:cxn>
              </a:cxnLst>
              <a:rect l="0" t="0" r="r" b="b"/>
              <a:pathLst>
                <a:path w="9" h="7">
                  <a:moveTo>
                    <a:pt x="9" y="0"/>
                  </a:moveTo>
                  <a:lnTo>
                    <a:pt x="0" y="7"/>
                  </a:lnTo>
                  <a:lnTo>
                    <a:pt x="6" y="6"/>
                  </a:lnTo>
                  <a:lnTo>
                    <a:pt x="9"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6" name="Freeform 277"/>
            <p:cNvSpPr>
              <a:spLocks/>
            </p:cNvSpPr>
            <p:nvPr/>
          </p:nvSpPr>
          <p:spPr bwMode="auto">
            <a:xfrm>
              <a:off x="11471456" y="11002849"/>
              <a:ext cx="85725" cy="46038"/>
            </a:xfrm>
            <a:custGeom>
              <a:avLst/>
              <a:gdLst>
                <a:gd name="T0" fmla="*/ 16 w 54"/>
                <a:gd name="T1" fmla="*/ 25 h 29"/>
                <a:gd name="T2" fmla="*/ 22 w 54"/>
                <a:gd name="T3" fmla="*/ 15 h 29"/>
                <a:gd name="T4" fmla="*/ 53 w 54"/>
                <a:gd name="T5" fmla="*/ 5 h 29"/>
                <a:gd name="T6" fmla="*/ 54 w 54"/>
                <a:gd name="T7" fmla="*/ 0 h 29"/>
                <a:gd name="T8" fmla="*/ 22 w 54"/>
                <a:gd name="T9" fmla="*/ 3 h 29"/>
                <a:gd name="T10" fmla="*/ 18 w 54"/>
                <a:gd name="T11" fmla="*/ 11 h 29"/>
                <a:gd name="T12" fmla="*/ 3 w 54"/>
                <a:gd name="T13" fmla="*/ 18 h 29"/>
                <a:gd name="T14" fmla="*/ 0 w 54"/>
                <a:gd name="T15" fmla="*/ 29 h 29"/>
                <a:gd name="T16" fmla="*/ 6 w 54"/>
                <a:gd name="T17" fmla="*/ 29 h 29"/>
                <a:gd name="T18" fmla="*/ 16 w 54"/>
                <a:gd name="T19" fmla="*/ 2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29">
                  <a:moveTo>
                    <a:pt x="16" y="25"/>
                  </a:moveTo>
                  <a:lnTo>
                    <a:pt x="22" y="15"/>
                  </a:lnTo>
                  <a:lnTo>
                    <a:pt x="53" y="5"/>
                  </a:lnTo>
                  <a:lnTo>
                    <a:pt x="54" y="0"/>
                  </a:lnTo>
                  <a:lnTo>
                    <a:pt x="22" y="3"/>
                  </a:lnTo>
                  <a:lnTo>
                    <a:pt x="18" y="11"/>
                  </a:lnTo>
                  <a:lnTo>
                    <a:pt x="3" y="18"/>
                  </a:lnTo>
                  <a:lnTo>
                    <a:pt x="0" y="29"/>
                  </a:lnTo>
                  <a:lnTo>
                    <a:pt x="6" y="29"/>
                  </a:lnTo>
                  <a:lnTo>
                    <a:pt x="16" y="25"/>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7" name="Freeform 278"/>
            <p:cNvSpPr>
              <a:spLocks/>
            </p:cNvSpPr>
            <p:nvPr/>
          </p:nvSpPr>
          <p:spPr bwMode="auto">
            <a:xfrm>
              <a:off x="11527018" y="10982211"/>
              <a:ext cx="23813" cy="12700"/>
            </a:xfrm>
            <a:custGeom>
              <a:avLst/>
              <a:gdLst>
                <a:gd name="T0" fmla="*/ 15 w 15"/>
                <a:gd name="T1" fmla="*/ 2 h 8"/>
                <a:gd name="T2" fmla="*/ 11 w 15"/>
                <a:gd name="T3" fmla="*/ 0 h 8"/>
                <a:gd name="T4" fmla="*/ 0 w 15"/>
                <a:gd name="T5" fmla="*/ 2 h 8"/>
                <a:gd name="T6" fmla="*/ 0 w 15"/>
                <a:gd name="T7" fmla="*/ 8 h 8"/>
                <a:gd name="T8" fmla="*/ 9 w 15"/>
                <a:gd name="T9" fmla="*/ 7 h 8"/>
                <a:gd name="T10" fmla="*/ 15 w 15"/>
                <a:gd name="T11" fmla="*/ 2 h 8"/>
              </a:gdLst>
              <a:ahLst/>
              <a:cxnLst>
                <a:cxn ang="0">
                  <a:pos x="T0" y="T1"/>
                </a:cxn>
                <a:cxn ang="0">
                  <a:pos x="T2" y="T3"/>
                </a:cxn>
                <a:cxn ang="0">
                  <a:pos x="T4" y="T5"/>
                </a:cxn>
                <a:cxn ang="0">
                  <a:pos x="T6" y="T7"/>
                </a:cxn>
                <a:cxn ang="0">
                  <a:pos x="T8" y="T9"/>
                </a:cxn>
                <a:cxn ang="0">
                  <a:pos x="T10" y="T11"/>
                </a:cxn>
              </a:cxnLst>
              <a:rect l="0" t="0" r="r" b="b"/>
              <a:pathLst>
                <a:path w="15" h="8">
                  <a:moveTo>
                    <a:pt x="15" y="2"/>
                  </a:moveTo>
                  <a:lnTo>
                    <a:pt x="11" y="0"/>
                  </a:lnTo>
                  <a:lnTo>
                    <a:pt x="0" y="2"/>
                  </a:lnTo>
                  <a:lnTo>
                    <a:pt x="0" y="8"/>
                  </a:lnTo>
                  <a:lnTo>
                    <a:pt x="9" y="7"/>
                  </a:lnTo>
                  <a:lnTo>
                    <a:pt x="15" y="2"/>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8" name="Freeform 279"/>
            <p:cNvSpPr>
              <a:spLocks/>
            </p:cNvSpPr>
            <p:nvPr/>
          </p:nvSpPr>
          <p:spPr bwMode="auto">
            <a:xfrm>
              <a:off x="11650843" y="10972686"/>
              <a:ext cx="12700" cy="22225"/>
            </a:xfrm>
            <a:custGeom>
              <a:avLst/>
              <a:gdLst>
                <a:gd name="T0" fmla="*/ 8 w 8"/>
                <a:gd name="T1" fmla="*/ 1 h 14"/>
                <a:gd name="T2" fmla="*/ 5 w 8"/>
                <a:gd name="T3" fmla="*/ 0 h 14"/>
                <a:gd name="T4" fmla="*/ 0 w 8"/>
                <a:gd name="T5" fmla="*/ 11 h 14"/>
                <a:gd name="T6" fmla="*/ 3 w 8"/>
                <a:gd name="T7" fmla="*/ 14 h 14"/>
                <a:gd name="T8" fmla="*/ 8 w 8"/>
                <a:gd name="T9" fmla="*/ 7 h 14"/>
                <a:gd name="T10" fmla="*/ 8 w 8"/>
                <a:gd name="T11" fmla="*/ 1 h 14"/>
              </a:gdLst>
              <a:ahLst/>
              <a:cxnLst>
                <a:cxn ang="0">
                  <a:pos x="T0" y="T1"/>
                </a:cxn>
                <a:cxn ang="0">
                  <a:pos x="T2" y="T3"/>
                </a:cxn>
                <a:cxn ang="0">
                  <a:pos x="T4" y="T5"/>
                </a:cxn>
                <a:cxn ang="0">
                  <a:pos x="T6" y="T7"/>
                </a:cxn>
                <a:cxn ang="0">
                  <a:pos x="T8" y="T9"/>
                </a:cxn>
                <a:cxn ang="0">
                  <a:pos x="T10" y="T11"/>
                </a:cxn>
              </a:cxnLst>
              <a:rect l="0" t="0" r="r" b="b"/>
              <a:pathLst>
                <a:path w="8" h="14">
                  <a:moveTo>
                    <a:pt x="8" y="1"/>
                  </a:moveTo>
                  <a:lnTo>
                    <a:pt x="5" y="0"/>
                  </a:lnTo>
                  <a:lnTo>
                    <a:pt x="0" y="11"/>
                  </a:lnTo>
                  <a:lnTo>
                    <a:pt x="3" y="14"/>
                  </a:lnTo>
                  <a:lnTo>
                    <a:pt x="8" y="7"/>
                  </a:lnTo>
                  <a:lnTo>
                    <a:pt x="8" y="1"/>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9" name="Freeform 280"/>
            <p:cNvSpPr>
              <a:spLocks/>
            </p:cNvSpPr>
            <p:nvPr/>
          </p:nvSpPr>
          <p:spPr bwMode="auto">
            <a:xfrm>
              <a:off x="11719106" y="10953636"/>
              <a:ext cx="9525" cy="15875"/>
            </a:xfrm>
            <a:custGeom>
              <a:avLst/>
              <a:gdLst>
                <a:gd name="T0" fmla="*/ 4 w 6"/>
                <a:gd name="T1" fmla="*/ 10 h 10"/>
                <a:gd name="T2" fmla="*/ 6 w 6"/>
                <a:gd name="T3" fmla="*/ 4 h 10"/>
                <a:gd name="T4" fmla="*/ 1 w 6"/>
                <a:gd name="T5" fmla="*/ 0 h 10"/>
                <a:gd name="T6" fmla="*/ 2 w 6"/>
                <a:gd name="T7" fmla="*/ 6 h 10"/>
                <a:gd name="T8" fmla="*/ 0 w 6"/>
                <a:gd name="T9" fmla="*/ 5 h 10"/>
                <a:gd name="T10" fmla="*/ 4 w 6"/>
                <a:gd name="T11" fmla="*/ 10 h 10"/>
              </a:gdLst>
              <a:ahLst/>
              <a:cxnLst>
                <a:cxn ang="0">
                  <a:pos x="T0" y="T1"/>
                </a:cxn>
                <a:cxn ang="0">
                  <a:pos x="T2" y="T3"/>
                </a:cxn>
                <a:cxn ang="0">
                  <a:pos x="T4" y="T5"/>
                </a:cxn>
                <a:cxn ang="0">
                  <a:pos x="T6" y="T7"/>
                </a:cxn>
                <a:cxn ang="0">
                  <a:pos x="T8" y="T9"/>
                </a:cxn>
                <a:cxn ang="0">
                  <a:pos x="T10" y="T11"/>
                </a:cxn>
              </a:cxnLst>
              <a:rect l="0" t="0" r="r" b="b"/>
              <a:pathLst>
                <a:path w="6" h="10">
                  <a:moveTo>
                    <a:pt x="4" y="10"/>
                  </a:moveTo>
                  <a:lnTo>
                    <a:pt x="6" y="4"/>
                  </a:lnTo>
                  <a:lnTo>
                    <a:pt x="1" y="0"/>
                  </a:lnTo>
                  <a:lnTo>
                    <a:pt x="2" y="6"/>
                  </a:lnTo>
                  <a:lnTo>
                    <a:pt x="0" y="5"/>
                  </a:lnTo>
                  <a:lnTo>
                    <a:pt x="4" y="1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0" name="Freeform 281"/>
            <p:cNvSpPr>
              <a:spLocks/>
            </p:cNvSpPr>
            <p:nvPr/>
          </p:nvSpPr>
          <p:spPr bwMode="auto">
            <a:xfrm>
              <a:off x="11722281" y="10932999"/>
              <a:ext cx="9525" cy="26988"/>
            </a:xfrm>
            <a:custGeom>
              <a:avLst/>
              <a:gdLst>
                <a:gd name="T0" fmla="*/ 6 w 6"/>
                <a:gd name="T1" fmla="*/ 1 h 17"/>
                <a:gd name="T2" fmla="*/ 4 w 6"/>
                <a:gd name="T3" fmla="*/ 0 h 17"/>
                <a:gd name="T4" fmla="*/ 2 w 6"/>
                <a:gd name="T5" fmla="*/ 6 h 17"/>
                <a:gd name="T6" fmla="*/ 3 w 6"/>
                <a:gd name="T7" fmla="*/ 6 h 17"/>
                <a:gd name="T8" fmla="*/ 3 w 6"/>
                <a:gd name="T9" fmla="*/ 12 h 17"/>
                <a:gd name="T10" fmla="*/ 0 w 6"/>
                <a:gd name="T11" fmla="*/ 10 h 17"/>
                <a:gd name="T12" fmla="*/ 0 w 6"/>
                <a:gd name="T13" fmla="*/ 13 h 17"/>
                <a:gd name="T14" fmla="*/ 6 w 6"/>
                <a:gd name="T15" fmla="*/ 17 h 17"/>
                <a:gd name="T16" fmla="*/ 5 w 6"/>
                <a:gd name="T17" fmla="*/ 13 h 17"/>
                <a:gd name="T18" fmla="*/ 6 w 6"/>
                <a:gd name="T19" fmla="*/ 14 h 17"/>
                <a:gd name="T20" fmla="*/ 6 w 6"/>
                <a:gd name="T21" fmla="*/ 1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17">
                  <a:moveTo>
                    <a:pt x="6" y="1"/>
                  </a:moveTo>
                  <a:lnTo>
                    <a:pt x="4" y="0"/>
                  </a:lnTo>
                  <a:lnTo>
                    <a:pt x="2" y="6"/>
                  </a:lnTo>
                  <a:lnTo>
                    <a:pt x="3" y="6"/>
                  </a:lnTo>
                  <a:lnTo>
                    <a:pt x="3" y="12"/>
                  </a:lnTo>
                  <a:lnTo>
                    <a:pt x="0" y="10"/>
                  </a:lnTo>
                  <a:lnTo>
                    <a:pt x="0" y="13"/>
                  </a:lnTo>
                  <a:lnTo>
                    <a:pt x="6" y="17"/>
                  </a:lnTo>
                  <a:lnTo>
                    <a:pt x="5" y="13"/>
                  </a:lnTo>
                  <a:lnTo>
                    <a:pt x="6" y="14"/>
                  </a:lnTo>
                  <a:lnTo>
                    <a:pt x="6" y="1"/>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1" name="Freeform 282"/>
            <p:cNvSpPr>
              <a:spLocks/>
            </p:cNvSpPr>
            <p:nvPr/>
          </p:nvSpPr>
          <p:spPr bwMode="auto">
            <a:xfrm>
              <a:off x="11695293" y="10931411"/>
              <a:ext cx="4763" cy="11113"/>
            </a:xfrm>
            <a:custGeom>
              <a:avLst/>
              <a:gdLst>
                <a:gd name="T0" fmla="*/ 3 w 3"/>
                <a:gd name="T1" fmla="*/ 0 h 7"/>
                <a:gd name="T2" fmla="*/ 0 w 3"/>
                <a:gd name="T3" fmla="*/ 1 h 7"/>
                <a:gd name="T4" fmla="*/ 0 w 3"/>
                <a:gd name="T5" fmla="*/ 7 h 7"/>
                <a:gd name="T6" fmla="*/ 3 w 3"/>
                <a:gd name="T7" fmla="*/ 0 h 7"/>
              </a:gdLst>
              <a:ahLst/>
              <a:cxnLst>
                <a:cxn ang="0">
                  <a:pos x="T0" y="T1"/>
                </a:cxn>
                <a:cxn ang="0">
                  <a:pos x="T2" y="T3"/>
                </a:cxn>
                <a:cxn ang="0">
                  <a:pos x="T4" y="T5"/>
                </a:cxn>
                <a:cxn ang="0">
                  <a:pos x="T6" y="T7"/>
                </a:cxn>
              </a:cxnLst>
              <a:rect l="0" t="0" r="r" b="b"/>
              <a:pathLst>
                <a:path w="3" h="7">
                  <a:moveTo>
                    <a:pt x="3" y="0"/>
                  </a:moveTo>
                  <a:lnTo>
                    <a:pt x="0" y="1"/>
                  </a:lnTo>
                  <a:lnTo>
                    <a:pt x="0" y="7"/>
                  </a:lnTo>
                  <a:lnTo>
                    <a:pt x="3"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2" name="Freeform 283"/>
            <p:cNvSpPr>
              <a:spLocks/>
            </p:cNvSpPr>
            <p:nvPr/>
          </p:nvSpPr>
          <p:spPr bwMode="auto">
            <a:xfrm>
              <a:off x="11573056" y="10871086"/>
              <a:ext cx="69850" cy="26988"/>
            </a:xfrm>
            <a:custGeom>
              <a:avLst/>
              <a:gdLst>
                <a:gd name="T0" fmla="*/ 0 w 44"/>
                <a:gd name="T1" fmla="*/ 7 h 17"/>
                <a:gd name="T2" fmla="*/ 1 w 44"/>
                <a:gd name="T3" fmla="*/ 11 h 17"/>
                <a:gd name="T4" fmla="*/ 5 w 44"/>
                <a:gd name="T5" fmla="*/ 6 h 17"/>
                <a:gd name="T6" fmla="*/ 9 w 44"/>
                <a:gd name="T7" fmla="*/ 11 h 17"/>
                <a:gd name="T8" fmla="*/ 15 w 44"/>
                <a:gd name="T9" fmla="*/ 7 h 17"/>
                <a:gd name="T10" fmla="*/ 20 w 44"/>
                <a:gd name="T11" fmla="*/ 10 h 17"/>
                <a:gd name="T12" fmla="*/ 27 w 44"/>
                <a:gd name="T13" fmla="*/ 8 h 17"/>
                <a:gd name="T14" fmla="*/ 44 w 44"/>
                <a:gd name="T15" fmla="*/ 17 h 17"/>
                <a:gd name="T16" fmla="*/ 44 w 44"/>
                <a:gd name="T17" fmla="*/ 14 h 17"/>
                <a:gd name="T18" fmla="*/ 39 w 44"/>
                <a:gd name="T19" fmla="*/ 4 h 17"/>
                <a:gd name="T20" fmla="*/ 25 w 44"/>
                <a:gd name="T21" fmla="*/ 0 h 17"/>
                <a:gd name="T22" fmla="*/ 5 w 44"/>
                <a:gd name="T23" fmla="*/ 1 h 17"/>
                <a:gd name="T24" fmla="*/ 0 w 44"/>
                <a:gd name="T25"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17">
                  <a:moveTo>
                    <a:pt x="0" y="7"/>
                  </a:moveTo>
                  <a:lnTo>
                    <a:pt x="1" y="11"/>
                  </a:lnTo>
                  <a:lnTo>
                    <a:pt x="5" y="6"/>
                  </a:lnTo>
                  <a:lnTo>
                    <a:pt x="9" y="11"/>
                  </a:lnTo>
                  <a:lnTo>
                    <a:pt x="15" y="7"/>
                  </a:lnTo>
                  <a:lnTo>
                    <a:pt x="20" y="10"/>
                  </a:lnTo>
                  <a:lnTo>
                    <a:pt x="27" y="8"/>
                  </a:lnTo>
                  <a:lnTo>
                    <a:pt x="44" y="17"/>
                  </a:lnTo>
                  <a:lnTo>
                    <a:pt x="44" y="14"/>
                  </a:lnTo>
                  <a:lnTo>
                    <a:pt x="39" y="4"/>
                  </a:lnTo>
                  <a:lnTo>
                    <a:pt x="25" y="0"/>
                  </a:lnTo>
                  <a:lnTo>
                    <a:pt x="5" y="1"/>
                  </a:lnTo>
                  <a:lnTo>
                    <a:pt x="0" y="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3" name="Freeform 284"/>
            <p:cNvSpPr>
              <a:spLocks/>
            </p:cNvSpPr>
            <p:nvPr/>
          </p:nvSpPr>
          <p:spPr bwMode="auto">
            <a:xfrm>
              <a:off x="11617506" y="10847274"/>
              <a:ext cx="12700" cy="6350"/>
            </a:xfrm>
            <a:custGeom>
              <a:avLst/>
              <a:gdLst>
                <a:gd name="T0" fmla="*/ 0 w 8"/>
                <a:gd name="T1" fmla="*/ 1 h 4"/>
                <a:gd name="T2" fmla="*/ 4 w 8"/>
                <a:gd name="T3" fmla="*/ 4 h 4"/>
                <a:gd name="T4" fmla="*/ 8 w 8"/>
                <a:gd name="T5" fmla="*/ 3 h 4"/>
                <a:gd name="T6" fmla="*/ 7 w 8"/>
                <a:gd name="T7" fmla="*/ 0 h 4"/>
                <a:gd name="T8" fmla="*/ 0 w 8"/>
                <a:gd name="T9" fmla="*/ 1 h 4"/>
              </a:gdLst>
              <a:ahLst/>
              <a:cxnLst>
                <a:cxn ang="0">
                  <a:pos x="T0" y="T1"/>
                </a:cxn>
                <a:cxn ang="0">
                  <a:pos x="T2" y="T3"/>
                </a:cxn>
                <a:cxn ang="0">
                  <a:pos x="T4" y="T5"/>
                </a:cxn>
                <a:cxn ang="0">
                  <a:pos x="T6" y="T7"/>
                </a:cxn>
                <a:cxn ang="0">
                  <a:pos x="T8" y="T9"/>
                </a:cxn>
              </a:cxnLst>
              <a:rect l="0" t="0" r="r" b="b"/>
              <a:pathLst>
                <a:path w="8" h="4">
                  <a:moveTo>
                    <a:pt x="0" y="1"/>
                  </a:moveTo>
                  <a:lnTo>
                    <a:pt x="4" y="4"/>
                  </a:lnTo>
                  <a:lnTo>
                    <a:pt x="8" y="3"/>
                  </a:lnTo>
                  <a:lnTo>
                    <a:pt x="7" y="0"/>
                  </a:lnTo>
                  <a:lnTo>
                    <a:pt x="0" y="1"/>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4" name="Freeform 285"/>
            <p:cNvSpPr>
              <a:spLocks/>
            </p:cNvSpPr>
            <p:nvPr/>
          </p:nvSpPr>
          <p:spPr bwMode="auto">
            <a:xfrm>
              <a:off x="11639731" y="10828224"/>
              <a:ext cx="6350" cy="7938"/>
            </a:xfrm>
            <a:custGeom>
              <a:avLst/>
              <a:gdLst>
                <a:gd name="T0" fmla="*/ 4 w 4"/>
                <a:gd name="T1" fmla="*/ 5 h 5"/>
                <a:gd name="T2" fmla="*/ 4 w 4"/>
                <a:gd name="T3" fmla="*/ 0 h 5"/>
                <a:gd name="T4" fmla="*/ 0 w 4"/>
                <a:gd name="T5" fmla="*/ 1 h 5"/>
                <a:gd name="T6" fmla="*/ 2 w 4"/>
                <a:gd name="T7" fmla="*/ 3 h 5"/>
                <a:gd name="T8" fmla="*/ 4 w 4"/>
                <a:gd name="T9" fmla="*/ 5 h 5"/>
              </a:gdLst>
              <a:ahLst/>
              <a:cxnLst>
                <a:cxn ang="0">
                  <a:pos x="T0" y="T1"/>
                </a:cxn>
                <a:cxn ang="0">
                  <a:pos x="T2" y="T3"/>
                </a:cxn>
                <a:cxn ang="0">
                  <a:pos x="T4" y="T5"/>
                </a:cxn>
                <a:cxn ang="0">
                  <a:pos x="T6" y="T7"/>
                </a:cxn>
                <a:cxn ang="0">
                  <a:pos x="T8" y="T9"/>
                </a:cxn>
              </a:cxnLst>
              <a:rect l="0" t="0" r="r" b="b"/>
              <a:pathLst>
                <a:path w="4" h="5">
                  <a:moveTo>
                    <a:pt x="4" y="5"/>
                  </a:moveTo>
                  <a:lnTo>
                    <a:pt x="4" y="0"/>
                  </a:lnTo>
                  <a:lnTo>
                    <a:pt x="0" y="1"/>
                  </a:lnTo>
                  <a:lnTo>
                    <a:pt x="2" y="3"/>
                  </a:lnTo>
                  <a:lnTo>
                    <a:pt x="4" y="5"/>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5" name="Freeform 286"/>
            <p:cNvSpPr>
              <a:spLocks/>
            </p:cNvSpPr>
            <p:nvPr/>
          </p:nvSpPr>
          <p:spPr bwMode="auto">
            <a:xfrm>
              <a:off x="11633381" y="10807586"/>
              <a:ext cx="20638" cy="9525"/>
            </a:xfrm>
            <a:custGeom>
              <a:avLst/>
              <a:gdLst>
                <a:gd name="T0" fmla="*/ 6 w 13"/>
                <a:gd name="T1" fmla="*/ 6 h 6"/>
                <a:gd name="T2" fmla="*/ 13 w 13"/>
                <a:gd name="T3" fmla="*/ 3 h 6"/>
                <a:gd name="T4" fmla="*/ 4 w 13"/>
                <a:gd name="T5" fmla="*/ 0 h 6"/>
                <a:gd name="T6" fmla="*/ 0 w 13"/>
                <a:gd name="T7" fmla="*/ 1 h 6"/>
                <a:gd name="T8" fmla="*/ 6 w 13"/>
                <a:gd name="T9" fmla="*/ 6 h 6"/>
              </a:gdLst>
              <a:ahLst/>
              <a:cxnLst>
                <a:cxn ang="0">
                  <a:pos x="T0" y="T1"/>
                </a:cxn>
                <a:cxn ang="0">
                  <a:pos x="T2" y="T3"/>
                </a:cxn>
                <a:cxn ang="0">
                  <a:pos x="T4" y="T5"/>
                </a:cxn>
                <a:cxn ang="0">
                  <a:pos x="T6" y="T7"/>
                </a:cxn>
                <a:cxn ang="0">
                  <a:pos x="T8" y="T9"/>
                </a:cxn>
              </a:cxnLst>
              <a:rect l="0" t="0" r="r" b="b"/>
              <a:pathLst>
                <a:path w="13" h="6">
                  <a:moveTo>
                    <a:pt x="6" y="6"/>
                  </a:moveTo>
                  <a:lnTo>
                    <a:pt x="13" y="3"/>
                  </a:lnTo>
                  <a:lnTo>
                    <a:pt x="4" y="0"/>
                  </a:lnTo>
                  <a:lnTo>
                    <a:pt x="0" y="1"/>
                  </a:lnTo>
                  <a:lnTo>
                    <a:pt x="6" y="6"/>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6" name="Freeform 287"/>
            <p:cNvSpPr>
              <a:spLocks/>
            </p:cNvSpPr>
            <p:nvPr/>
          </p:nvSpPr>
          <p:spPr bwMode="auto">
            <a:xfrm>
              <a:off x="11754031" y="10840924"/>
              <a:ext cx="30163" cy="7938"/>
            </a:xfrm>
            <a:custGeom>
              <a:avLst/>
              <a:gdLst>
                <a:gd name="T0" fmla="*/ 0 w 19"/>
                <a:gd name="T1" fmla="*/ 2 h 5"/>
                <a:gd name="T2" fmla="*/ 19 w 19"/>
                <a:gd name="T3" fmla="*/ 5 h 5"/>
                <a:gd name="T4" fmla="*/ 18 w 19"/>
                <a:gd name="T5" fmla="*/ 4 h 5"/>
                <a:gd name="T6" fmla="*/ 5 w 19"/>
                <a:gd name="T7" fmla="*/ 0 h 5"/>
                <a:gd name="T8" fmla="*/ 0 w 19"/>
                <a:gd name="T9" fmla="*/ 2 h 5"/>
              </a:gdLst>
              <a:ahLst/>
              <a:cxnLst>
                <a:cxn ang="0">
                  <a:pos x="T0" y="T1"/>
                </a:cxn>
                <a:cxn ang="0">
                  <a:pos x="T2" y="T3"/>
                </a:cxn>
                <a:cxn ang="0">
                  <a:pos x="T4" y="T5"/>
                </a:cxn>
                <a:cxn ang="0">
                  <a:pos x="T6" y="T7"/>
                </a:cxn>
                <a:cxn ang="0">
                  <a:pos x="T8" y="T9"/>
                </a:cxn>
              </a:cxnLst>
              <a:rect l="0" t="0" r="r" b="b"/>
              <a:pathLst>
                <a:path w="19" h="5">
                  <a:moveTo>
                    <a:pt x="0" y="2"/>
                  </a:moveTo>
                  <a:lnTo>
                    <a:pt x="19" y="5"/>
                  </a:lnTo>
                  <a:lnTo>
                    <a:pt x="18" y="4"/>
                  </a:lnTo>
                  <a:lnTo>
                    <a:pt x="5" y="0"/>
                  </a:lnTo>
                  <a:lnTo>
                    <a:pt x="0" y="2"/>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7" name="Freeform 288"/>
            <p:cNvSpPr>
              <a:spLocks/>
            </p:cNvSpPr>
            <p:nvPr/>
          </p:nvSpPr>
          <p:spPr bwMode="auto">
            <a:xfrm>
              <a:off x="11752443" y="10823461"/>
              <a:ext cx="19050" cy="9525"/>
            </a:xfrm>
            <a:custGeom>
              <a:avLst/>
              <a:gdLst>
                <a:gd name="T0" fmla="*/ 0 w 12"/>
                <a:gd name="T1" fmla="*/ 0 h 6"/>
                <a:gd name="T2" fmla="*/ 9 w 12"/>
                <a:gd name="T3" fmla="*/ 6 h 6"/>
                <a:gd name="T4" fmla="*/ 12 w 12"/>
                <a:gd name="T5" fmla="*/ 6 h 6"/>
                <a:gd name="T6" fmla="*/ 6 w 12"/>
                <a:gd name="T7" fmla="*/ 0 h 6"/>
                <a:gd name="T8" fmla="*/ 0 w 12"/>
                <a:gd name="T9" fmla="*/ 0 h 6"/>
              </a:gdLst>
              <a:ahLst/>
              <a:cxnLst>
                <a:cxn ang="0">
                  <a:pos x="T0" y="T1"/>
                </a:cxn>
                <a:cxn ang="0">
                  <a:pos x="T2" y="T3"/>
                </a:cxn>
                <a:cxn ang="0">
                  <a:pos x="T4" y="T5"/>
                </a:cxn>
                <a:cxn ang="0">
                  <a:pos x="T6" y="T7"/>
                </a:cxn>
                <a:cxn ang="0">
                  <a:pos x="T8" y="T9"/>
                </a:cxn>
              </a:cxnLst>
              <a:rect l="0" t="0" r="r" b="b"/>
              <a:pathLst>
                <a:path w="12" h="6">
                  <a:moveTo>
                    <a:pt x="0" y="0"/>
                  </a:moveTo>
                  <a:lnTo>
                    <a:pt x="9" y="6"/>
                  </a:lnTo>
                  <a:lnTo>
                    <a:pt x="12" y="6"/>
                  </a:lnTo>
                  <a:lnTo>
                    <a:pt x="6" y="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8" name="Freeform 289"/>
            <p:cNvSpPr>
              <a:spLocks/>
            </p:cNvSpPr>
            <p:nvPr/>
          </p:nvSpPr>
          <p:spPr bwMode="auto">
            <a:xfrm>
              <a:off x="11576231" y="10888549"/>
              <a:ext cx="7938" cy="6350"/>
            </a:xfrm>
            <a:custGeom>
              <a:avLst/>
              <a:gdLst>
                <a:gd name="T0" fmla="*/ 0 w 5"/>
                <a:gd name="T1" fmla="*/ 4 h 4"/>
                <a:gd name="T2" fmla="*/ 5 w 5"/>
                <a:gd name="T3" fmla="*/ 0 h 4"/>
                <a:gd name="T4" fmla="*/ 0 w 5"/>
                <a:gd name="T5" fmla="*/ 1 h 4"/>
                <a:gd name="T6" fmla="*/ 0 w 5"/>
                <a:gd name="T7" fmla="*/ 4 h 4"/>
              </a:gdLst>
              <a:ahLst/>
              <a:cxnLst>
                <a:cxn ang="0">
                  <a:pos x="T0" y="T1"/>
                </a:cxn>
                <a:cxn ang="0">
                  <a:pos x="T2" y="T3"/>
                </a:cxn>
                <a:cxn ang="0">
                  <a:pos x="T4" y="T5"/>
                </a:cxn>
                <a:cxn ang="0">
                  <a:pos x="T6" y="T7"/>
                </a:cxn>
              </a:cxnLst>
              <a:rect l="0" t="0" r="r" b="b"/>
              <a:pathLst>
                <a:path w="5" h="4">
                  <a:moveTo>
                    <a:pt x="0" y="4"/>
                  </a:moveTo>
                  <a:lnTo>
                    <a:pt x="5" y="0"/>
                  </a:lnTo>
                  <a:lnTo>
                    <a:pt x="0" y="1"/>
                  </a:lnTo>
                  <a:lnTo>
                    <a:pt x="0" y="4"/>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9" name="Freeform 290"/>
            <p:cNvSpPr>
              <a:spLocks/>
            </p:cNvSpPr>
            <p:nvPr/>
          </p:nvSpPr>
          <p:spPr bwMode="auto">
            <a:xfrm>
              <a:off x="11296831" y="10882199"/>
              <a:ext cx="6350" cy="19050"/>
            </a:xfrm>
            <a:custGeom>
              <a:avLst/>
              <a:gdLst>
                <a:gd name="T0" fmla="*/ 1 w 4"/>
                <a:gd name="T1" fmla="*/ 0 h 12"/>
                <a:gd name="T2" fmla="*/ 0 w 4"/>
                <a:gd name="T3" fmla="*/ 5 h 12"/>
                <a:gd name="T4" fmla="*/ 1 w 4"/>
                <a:gd name="T5" fmla="*/ 12 h 12"/>
                <a:gd name="T6" fmla="*/ 4 w 4"/>
                <a:gd name="T7" fmla="*/ 10 h 12"/>
                <a:gd name="T8" fmla="*/ 1 w 4"/>
                <a:gd name="T9" fmla="*/ 0 h 12"/>
              </a:gdLst>
              <a:ahLst/>
              <a:cxnLst>
                <a:cxn ang="0">
                  <a:pos x="T0" y="T1"/>
                </a:cxn>
                <a:cxn ang="0">
                  <a:pos x="T2" y="T3"/>
                </a:cxn>
                <a:cxn ang="0">
                  <a:pos x="T4" y="T5"/>
                </a:cxn>
                <a:cxn ang="0">
                  <a:pos x="T6" y="T7"/>
                </a:cxn>
                <a:cxn ang="0">
                  <a:pos x="T8" y="T9"/>
                </a:cxn>
              </a:cxnLst>
              <a:rect l="0" t="0" r="r" b="b"/>
              <a:pathLst>
                <a:path w="4" h="12">
                  <a:moveTo>
                    <a:pt x="1" y="0"/>
                  </a:moveTo>
                  <a:lnTo>
                    <a:pt x="0" y="5"/>
                  </a:lnTo>
                  <a:lnTo>
                    <a:pt x="1" y="12"/>
                  </a:lnTo>
                  <a:lnTo>
                    <a:pt x="4" y="10"/>
                  </a:lnTo>
                  <a:lnTo>
                    <a:pt x="1"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0" name="Freeform 291"/>
            <p:cNvSpPr>
              <a:spLocks/>
            </p:cNvSpPr>
            <p:nvPr/>
          </p:nvSpPr>
          <p:spPr bwMode="auto">
            <a:xfrm>
              <a:off x="11128556" y="10642486"/>
              <a:ext cx="241300" cy="260350"/>
            </a:xfrm>
            <a:custGeom>
              <a:avLst/>
              <a:gdLst>
                <a:gd name="T0" fmla="*/ 3 w 152"/>
                <a:gd name="T1" fmla="*/ 110 h 164"/>
                <a:gd name="T2" fmla="*/ 14 w 152"/>
                <a:gd name="T3" fmla="*/ 120 h 164"/>
                <a:gd name="T4" fmla="*/ 32 w 152"/>
                <a:gd name="T5" fmla="*/ 148 h 164"/>
                <a:gd name="T6" fmla="*/ 43 w 152"/>
                <a:gd name="T7" fmla="*/ 155 h 164"/>
                <a:gd name="T8" fmla="*/ 60 w 152"/>
                <a:gd name="T9" fmla="*/ 148 h 164"/>
                <a:gd name="T10" fmla="*/ 71 w 152"/>
                <a:gd name="T11" fmla="*/ 154 h 164"/>
                <a:gd name="T12" fmla="*/ 82 w 152"/>
                <a:gd name="T13" fmla="*/ 156 h 164"/>
                <a:gd name="T14" fmla="*/ 87 w 152"/>
                <a:gd name="T15" fmla="*/ 164 h 164"/>
                <a:gd name="T16" fmla="*/ 113 w 152"/>
                <a:gd name="T17" fmla="*/ 136 h 164"/>
                <a:gd name="T18" fmla="*/ 120 w 152"/>
                <a:gd name="T19" fmla="*/ 120 h 164"/>
                <a:gd name="T20" fmla="*/ 127 w 152"/>
                <a:gd name="T21" fmla="*/ 98 h 164"/>
                <a:gd name="T22" fmla="*/ 134 w 152"/>
                <a:gd name="T23" fmla="*/ 87 h 164"/>
                <a:gd name="T24" fmla="*/ 147 w 152"/>
                <a:gd name="T25" fmla="*/ 90 h 164"/>
                <a:gd name="T26" fmla="*/ 134 w 152"/>
                <a:gd name="T27" fmla="*/ 68 h 164"/>
                <a:gd name="T28" fmla="*/ 131 w 152"/>
                <a:gd name="T29" fmla="*/ 48 h 164"/>
                <a:gd name="T30" fmla="*/ 127 w 152"/>
                <a:gd name="T31" fmla="*/ 41 h 164"/>
                <a:gd name="T32" fmla="*/ 134 w 152"/>
                <a:gd name="T33" fmla="*/ 41 h 164"/>
                <a:gd name="T34" fmla="*/ 137 w 152"/>
                <a:gd name="T35" fmla="*/ 31 h 164"/>
                <a:gd name="T36" fmla="*/ 152 w 152"/>
                <a:gd name="T37" fmla="*/ 26 h 164"/>
                <a:gd name="T38" fmla="*/ 134 w 152"/>
                <a:gd name="T39" fmla="*/ 19 h 164"/>
                <a:gd name="T40" fmla="*/ 128 w 152"/>
                <a:gd name="T41" fmla="*/ 15 h 164"/>
                <a:gd name="T42" fmla="*/ 123 w 152"/>
                <a:gd name="T43" fmla="*/ 4 h 164"/>
                <a:gd name="T44" fmla="*/ 114 w 152"/>
                <a:gd name="T45" fmla="*/ 6 h 164"/>
                <a:gd name="T46" fmla="*/ 100 w 152"/>
                <a:gd name="T47" fmla="*/ 20 h 164"/>
                <a:gd name="T48" fmla="*/ 97 w 152"/>
                <a:gd name="T49" fmla="*/ 27 h 164"/>
                <a:gd name="T50" fmla="*/ 88 w 152"/>
                <a:gd name="T51" fmla="*/ 27 h 164"/>
                <a:gd name="T52" fmla="*/ 71 w 152"/>
                <a:gd name="T53" fmla="*/ 41 h 164"/>
                <a:gd name="T54" fmla="*/ 39 w 152"/>
                <a:gd name="T55" fmla="*/ 60 h 164"/>
                <a:gd name="T56" fmla="*/ 33 w 152"/>
                <a:gd name="T57" fmla="*/ 68 h 164"/>
                <a:gd name="T58" fmla="*/ 15 w 152"/>
                <a:gd name="T59" fmla="*/ 77 h 164"/>
                <a:gd name="T60" fmla="*/ 9 w 152"/>
                <a:gd name="T61" fmla="*/ 73 h 164"/>
                <a:gd name="T62" fmla="*/ 2 w 152"/>
                <a:gd name="T63" fmla="*/ 79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2" h="164">
                  <a:moveTo>
                    <a:pt x="0" y="96"/>
                  </a:moveTo>
                  <a:lnTo>
                    <a:pt x="3" y="110"/>
                  </a:lnTo>
                  <a:lnTo>
                    <a:pt x="10" y="113"/>
                  </a:lnTo>
                  <a:lnTo>
                    <a:pt x="14" y="120"/>
                  </a:lnTo>
                  <a:lnTo>
                    <a:pt x="20" y="146"/>
                  </a:lnTo>
                  <a:lnTo>
                    <a:pt x="32" y="148"/>
                  </a:lnTo>
                  <a:lnTo>
                    <a:pt x="40" y="143"/>
                  </a:lnTo>
                  <a:lnTo>
                    <a:pt x="43" y="155"/>
                  </a:lnTo>
                  <a:lnTo>
                    <a:pt x="53" y="152"/>
                  </a:lnTo>
                  <a:lnTo>
                    <a:pt x="60" y="148"/>
                  </a:lnTo>
                  <a:lnTo>
                    <a:pt x="69" y="150"/>
                  </a:lnTo>
                  <a:lnTo>
                    <a:pt x="71" y="154"/>
                  </a:lnTo>
                  <a:lnTo>
                    <a:pt x="79" y="152"/>
                  </a:lnTo>
                  <a:lnTo>
                    <a:pt x="82" y="156"/>
                  </a:lnTo>
                  <a:lnTo>
                    <a:pt x="85" y="164"/>
                  </a:lnTo>
                  <a:lnTo>
                    <a:pt x="87" y="164"/>
                  </a:lnTo>
                  <a:lnTo>
                    <a:pt x="104" y="155"/>
                  </a:lnTo>
                  <a:lnTo>
                    <a:pt x="113" y="136"/>
                  </a:lnTo>
                  <a:lnTo>
                    <a:pt x="107" y="129"/>
                  </a:lnTo>
                  <a:lnTo>
                    <a:pt x="120" y="120"/>
                  </a:lnTo>
                  <a:lnTo>
                    <a:pt x="126" y="110"/>
                  </a:lnTo>
                  <a:lnTo>
                    <a:pt x="127" y="98"/>
                  </a:lnTo>
                  <a:lnTo>
                    <a:pt x="134" y="91"/>
                  </a:lnTo>
                  <a:lnTo>
                    <a:pt x="134" y="87"/>
                  </a:lnTo>
                  <a:lnTo>
                    <a:pt x="139" y="91"/>
                  </a:lnTo>
                  <a:lnTo>
                    <a:pt x="147" y="90"/>
                  </a:lnTo>
                  <a:lnTo>
                    <a:pt x="132" y="74"/>
                  </a:lnTo>
                  <a:lnTo>
                    <a:pt x="134" y="68"/>
                  </a:lnTo>
                  <a:lnTo>
                    <a:pt x="123" y="49"/>
                  </a:lnTo>
                  <a:lnTo>
                    <a:pt x="131" y="48"/>
                  </a:lnTo>
                  <a:lnTo>
                    <a:pt x="125" y="42"/>
                  </a:lnTo>
                  <a:lnTo>
                    <a:pt x="127" y="41"/>
                  </a:lnTo>
                  <a:lnTo>
                    <a:pt x="130" y="39"/>
                  </a:lnTo>
                  <a:lnTo>
                    <a:pt x="134" y="41"/>
                  </a:lnTo>
                  <a:lnTo>
                    <a:pt x="141" y="38"/>
                  </a:lnTo>
                  <a:lnTo>
                    <a:pt x="137" y="31"/>
                  </a:lnTo>
                  <a:lnTo>
                    <a:pt x="145" y="31"/>
                  </a:lnTo>
                  <a:lnTo>
                    <a:pt x="152" y="26"/>
                  </a:lnTo>
                  <a:lnTo>
                    <a:pt x="138" y="19"/>
                  </a:lnTo>
                  <a:lnTo>
                    <a:pt x="134" y="19"/>
                  </a:lnTo>
                  <a:lnTo>
                    <a:pt x="134" y="14"/>
                  </a:lnTo>
                  <a:lnTo>
                    <a:pt x="128" y="15"/>
                  </a:lnTo>
                  <a:lnTo>
                    <a:pt x="128" y="8"/>
                  </a:lnTo>
                  <a:lnTo>
                    <a:pt x="123" y="4"/>
                  </a:lnTo>
                  <a:lnTo>
                    <a:pt x="120" y="0"/>
                  </a:lnTo>
                  <a:lnTo>
                    <a:pt x="114" y="6"/>
                  </a:lnTo>
                  <a:lnTo>
                    <a:pt x="114" y="0"/>
                  </a:lnTo>
                  <a:lnTo>
                    <a:pt x="100" y="20"/>
                  </a:lnTo>
                  <a:lnTo>
                    <a:pt x="95" y="22"/>
                  </a:lnTo>
                  <a:lnTo>
                    <a:pt x="97" y="27"/>
                  </a:lnTo>
                  <a:lnTo>
                    <a:pt x="92" y="31"/>
                  </a:lnTo>
                  <a:lnTo>
                    <a:pt x="88" y="27"/>
                  </a:lnTo>
                  <a:lnTo>
                    <a:pt x="74" y="35"/>
                  </a:lnTo>
                  <a:lnTo>
                    <a:pt x="71" y="41"/>
                  </a:lnTo>
                  <a:lnTo>
                    <a:pt x="58" y="58"/>
                  </a:lnTo>
                  <a:lnTo>
                    <a:pt x="39" y="60"/>
                  </a:lnTo>
                  <a:lnTo>
                    <a:pt x="36" y="68"/>
                  </a:lnTo>
                  <a:lnTo>
                    <a:pt x="33" y="68"/>
                  </a:lnTo>
                  <a:lnTo>
                    <a:pt x="30" y="79"/>
                  </a:lnTo>
                  <a:lnTo>
                    <a:pt x="15" y="77"/>
                  </a:lnTo>
                  <a:lnTo>
                    <a:pt x="10" y="72"/>
                  </a:lnTo>
                  <a:lnTo>
                    <a:pt x="9" y="73"/>
                  </a:lnTo>
                  <a:lnTo>
                    <a:pt x="8" y="73"/>
                  </a:lnTo>
                  <a:lnTo>
                    <a:pt x="2" y="79"/>
                  </a:lnTo>
                  <a:lnTo>
                    <a:pt x="0" y="96"/>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1" name="Freeform 292"/>
            <p:cNvSpPr>
              <a:spLocks/>
            </p:cNvSpPr>
            <p:nvPr/>
          </p:nvSpPr>
          <p:spPr bwMode="auto">
            <a:xfrm>
              <a:off x="11041243" y="10944111"/>
              <a:ext cx="217488" cy="68263"/>
            </a:xfrm>
            <a:custGeom>
              <a:avLst/>
              <a:gdLst>
                <a:gd name="T0" fmla="*/ 135 w 137"/>
                <a:gd name="T1" fmla="*/ 37 h 43"/>
                <a:gd name="T2" fmla="*/ 135 w 137"/>
                <a:gd name="T3" fmla="*/ 29 h 43"/>
                <a:gd name="T4" fmla="*/ 115 w 137"/>
                <a:gd name="T5" fmla="*/ 26 h 43"/>
                <a:gd name="T6" fmla="*/ 107 w 137"/>
                <a:gd name="T7" fmla="*/ 14 h 43"/>
                <a:gd name="T8" fmla="*/ 92 w 137"/>
                <a:gd name="T9" fmla="*/ 10 h 43"/>
                <a:gd name="T10" fmla="*/ 88 w 137"/>
                <a:gd name="T11" fmla="*/ 12 h 43"/>
                <a:gd name="T12" fmla="*/ 84 w 137"/>
                <a:gd name="T13" fmla="*/ 7 h 43"/>
                <a:gd name="T14" fmla="*/ 79 w 137"/>
                <a:gd name="T15" fmla="*/ 10 h 43"/>
                <a:gd name="T16" fmla="*/ 75 w 137"/>
                <a:gd name="T17" fmla="*/ 16 h 43"/>
                <a:gd name="T18" fmla="*/ 53 w 137"/>
                <a:gd name="T19" fmla="*/ 14 h 43"/>
                <a:gd name="T20" fmla="*/ 44 w 137"/>
                <a:gd name="T21" fmla="*/ 6 h 43"/>
                <a:gd name="T22" fmla="*/ 32 w 137"/>
                <a:gd name="T23" fmla="*/ 4 h 43"/>
                <a:gd name="T24" fmla="*/ 31 w 137"/>
                <a:gd name="T25" fmla="*/ 0 h 43"/>
                <a:gd name="T26" fmla="*/ 23 w 137"/>
                <a:gd name="T27" fmla="*/ 3 h 43"/>
                <a:gd name="T28" fmla="*/ 14 w 137"/>
                <a:gd name="T29" fmla="*/ 0 h 43"/>
                <a:gd name="T30" fmla="*/ 11 w 137"/>
                <a:gd name="T31" fmla="*/ 1 h 43"/>
                <a:gd name="T32" fmla="*/ 5 w 137"/>
                <a:gd name="T33" fmla="*/ 11 h 43"/>
                <a:gd name="T34" fmla="*/ 0 w 137"/>
                <a:gd name="T35" fmla="*/ 10 h 43"/>
                <a:gd name="T36" fmla="*/ 1 w 137"/>
                <a:gd name="T37" fmla="*/ 13 h 43"/>
                <a:gd name="T38" fmla="*/ 19 w 137"/>
                <a:gd name="T39" fmla="*/ 17 h 43"/>
                <a:gd name="T40" fmla="*/ 17 w 137"/>
                <a:gd name="T41" fmla="*/ 19 h 43"/>
                <a:gd name="T42" fmla="*/ 25 w 137"/>
                <a:gd name="T43" fmla="*/ 23 h 43"/>
                <a:gd name="T44" fmla="*/ 48 w 137"/>
                <a:gd name="T45" fmla="*/ 29 h 43"/>
                <a:gd name="T46" fmla="*/ 52 w 137"/>
                <a:gd name="T47" fmla="*/ 26 h 43"/>
                <a:gd name="T48" fmla="*/ 65 w 137"/>
                <a:gd name="T49" fmla="*/ 26 h 43"/>
                <a:gd name="T50" fmla="*/ 82 w 137"/>
                <a:gd name="T51" fmla="*/ 34 h 43"/>
                <a:gd name="T52" fmla="*/ 95 w 137"/>
                <a:gd name="T53" fmla="*/ 37 h 43"/>
                <a:gd name="T54" fmla="*/ 102 w 137"/>
                <a:gd name="T55" fmla="*/ 36 h 43"/>
                <a:gd name="T56" fmla="*/ 110 w 137"/>
                <a:gd name="T57" fmla="*/ 37 h 43"/>
                <a:gd name="T58" fmla="*/ 117 w 137"/>
                <a:gd name="T59" fmla="*/ 36 h 43"/>
                <a:gd name="T60" fmla="*/ 137 w 137"/>
                <a:gd name="T61" fmla="*/ 43 h 43"/>
                <a:gd name="T62" fmla="*/ 135 w 137"/>
                <a:gd name="T63" fmla="*/ 37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7" h="43">
                  <a:moveTo>
                    <a:pt x="135" y="37"/>
                  </a:moveTo>
                  <a:lnTo>
                    <a:pt x="135" y="29"/>
                  </a:lnTo>
                  <a:lnTo>
                    <a:pt x="115" y="26"/>
                  </a:lnTo>
                  <a:lnTo>
                    <a:pt x="107" y="14"/>
                  </a:lnTo>
                  <a:lnTo>
                    <a:pt x="92" y="10"/>
                  </a:lnTo>
                  <a:lnTo>
                    <a:pt x="88" y="12"/>
                  </a:lnTo>
                  <a:lnTo>
                    <a:pt x="84" y="7"/>
                  </a:lnTo>
                  <a:lnTo>
                    <a:pt x="79" y="10"/>
                  </a:lnTo>
                  <a:lnTo>
                    <a:pt x="75" y="16"/>
                  </a:lnTo>
                  <a:lnTo>
                    <a:pt x="53" y="14"/>
                  </a:lnTo>
                  <a:lnTo>
                    <a:pt x="44" y="6"/>
                  </a:lnTo>
                  <a:lnTo>
                    <a:pt x="32" y="4"/>
                  </a:lnTo>
                  <a:lnTo>
                    <a:pt x="31" y="0"/>
                  </a:lnTo>
                  <a:lnTo>
                    <a:pt x="23" y="3"/>
                  </a:lnTo>
                  <a:lnTo>
                    <a:pt x="14" y="0"/>
                  </a:lnTo>
                  <a:lnTo>
                    <a:pt x="11" y="1"/>
                  </a:lnTo>
                  <a:lnTo>
                    <a:pt x="5" y="11"/>
                  </a:lnTo>
                  <a:lnTo>
                    <a:pt x="0" y="10"/>
                  </a:lnTo>
                  <a:lnTo>
                    <a:pt x="1" y="13"/>
                  </a:lnTo>
                  <a:lnTo>
                    <a:pt x="19" y="17"/>
                  </a:lnTo>
                  <a:lnTo>
                    <a:pt x="17" y="19"/>
                  </a:lnTo>
                  <a:lnTo>
                    <a:pt x="25" y="23"/>
                  </a:lnTo>
                  <a:lnTo>
                    <a:pt x="48" y="29"/>
                  </a:lnTo>
                  <a:lnTo>
                    <a:pt x="52" y="26"/>
                  </a:lnTo>
                  <a:lnTo>
                    <a:pt x="65" y="26"/>
                  </a:lnTo>
                  <a:lnTo>
                    <a:pt x="82" y="34"/>
                  </a:lnTo>
                  <a:lnTo>
                    <a:pt x="95" y="37"/>
                  </a:lnTo>
                  <a:lnTo>
                    <a:pt x="102" y="36"/>
                  </a:lnTo>
                  <a:lnTo>
                    <a:pt x="110" y="37"/>
                  </a:lnTo>
                  <a:lnTo>
                    <a:pt x="117" y="36"/>
                  </a:lnTo>
                  <a:lnTo>
                    <a:pt x="137" y="43"/>
                  </a:lnTo>
                  <a:lnTo>
                    <a:pt x="135" y="3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2" name="Freeform 293"/>
            <p:cNvSpPr>
              <a:spLocks/>
            </p:cNvSpPr>
            <p:nvPr/>
          </p:nvSpPr>
          <p:spPr bwMode="auto">
            <a:xfrm>
              <a:off x="11098393" y="10866324"/>
              <a:ext cx="12700" cy="12700"/>
            </a:xfrm>
            <a:custGeom>
              <a:avLst/>
              <a:gdLst>
                <a:gd name="T0" fmla="*/ 1 w 8"/>
                <a:gd name="T1" fmla="*/ 0 h 8"/>
                <a:gd name="T2" fmla="*/ 0 w 8"/>
                <a:gd name="T3" fmla="*/ 7 h 8"/>
                <a:gd name="T4" fmla="*/ 7 w 8"/>
                <a:gd name="T5" fmla="*/ 8 h 8"/>
                <a:gd name="T6" fmla="*/ 8 w 8"/>
                <a:gd name="T7" fmla="*/ 2 h 8"/>
                <a:gd name="T8" fmla="*/ 1 w 8"/>
                <a:gd name="T9" fmla="*/ 0 h 8"/>
              </a:gdLst>
              <a:ahLst/>
              <a:cxnLst>
                <a:cxn ang="0">
                  <a:pos x="T0" y="T1"/>
                </a:cxn>
                <a:cxn ang="0">
                  <a:pos x="T2" y="T3"/>
                </a:cxn>
                <a:cxn ang="0">
                  <a:pos x="T4" y="T5"/>
                </a:cxn>
                <a:cxn ang="0">
                  <a:pos x="T6" y="T7"/>
                </a:cxn>
                <a:cxn ang="0">
                  <a:pos x="T8" y="T9"/>
                </a:cxn>
              </a:cxnLst>
              <a:rect l="0" t="0" r="r" b="b"/>
              <a:pathLst>
                <a:path w="8" h="8">
                  <a:moveTo>
                    <a:pt x="1" y="0"/>
                  </a:moveTo>
                  <a:lnTo>
                    <a:pt x="0" y="7"/>
                  </a:lnTo>
                  <a:lnTo>
                    <a:pt x="7" y="8"/>
                  </a:lnTo>
                  <a:lnTo>
                    <a:pt x="8" y="2"/>
                  </a:lnTo>
                  <a:lnTo>
                    <a:pt x="1"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3" name="Freeform 294"/>
            <p:cNvSpPr>
              <a:spLocks/>
            </p:cNvSpPr>
            <p:nvPr/>
          </p:nvSpPr>
          <p:spPr bwMode="auto">
            <a:xfrm>
              <a:off x="11039656" y="10840924"/>
              <a:ext cx="36513" cy="36513"/>
            </a:xfrm>
            <a:custGeom>
              <a:avLst/>
              <a:gdLst>
                <a:gd name="T0" fmla="*/ 14 w 23"/>
                <a:gd name="T1" fmla="*/ 19 h 23"/>
                <a:gd name="T2" fmla="*/ 23 w 23"/>
                <a:gd name="T3" fmla="*/ 23 h 23"/>
                <a:gd name="T4" fmla="*/ 23 w 23"/>
                <a:gd name="T5" fmla="*/ 14 h 23"/>
                <a:gd name="T6" fmla="*/ 17 w 23"/>
                <a:gd name="T7" fmla="*/ 14 h 23"/>
                <a:gd name="T8" fmla="*/ 11 w 23"/>
                <a:gd name="T9" fmla="*/ 0 h 23"/>
                <a:gd name="T10" fmla="*/ 8 w 23"/>
                <a:gd name="T11" fmla="*/ 4 h 23"/>
                <a:gd name="T12" fmla="*/ 4 w 23"/>
                <a:gd name="T13" fmla="*/ 1 h 23"/>
                <a:gd name="T14" fmla="*/ 0 w 23"/>
                <a:gd name="T15" fmla="*/ 6 h 23"/>
                <a:gd name="T16" fmla="*/ 10 w 23"/>
                <a:gd name="T17" fmla="*/ 10 h 23"/>
                <a:gd name="T18" fmla="*/ 14 w 23"/>
                <a:gd name="T19" fmla="*/ 19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4" y="19"/>
                  </a:moveTo>
                  <a:lnTo>
                    <a:pt x="23" y="23"/>
                  </a:lnTo>
                  <a:lnTo>
                    <a:pt x="23" y="14"/>
                  </a:lnTo>
                  <a:lnTo>
                    <a:pt x="17" y="14"/>
                  </a:lnTo>
                  <a:lnTo>
                    <a:pt x="11" y="0"/>
                  </a:lnTo>
                  <a:lnTo>
                    <a:pt x="8" y="4"/>
                  </a:lnTo>
                  <a:lnTo>
                    <a:pt x="4" y="1"/>
                  </a:lnTo>
                  <a:lnTo>
                    <a:pt x="0" y="6"/>
                  </a:lnTo>
                  <a:lnTo>
                    <a:pt x="10" y="10"/>
                  </a:lnTo>
                  <a:lnTo>
                    <a:pt x="14" y="19"/>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4" name="Freeform 295"/>
            <p:cNvSpPr>
              <a:spLocks/>
            </p:cNvSpPr>
            <p:nvPr/>
          </p:nvSpPr>
          <p:spPr bwMode="auto">
            <a:xfrm>
              <a:off x="11019018" y="10812349"/>
              <a:ext cx="6350" cy="6350"/>
            </a:xfrm>
            <a:custGeom>
              <a:avLst/>
              <a:gdLst>
                <a:gd name="T0" fmla="*/ 1 w 4"/>
                <a:gd name="T1" fmla="*/ 4 h 4"/>
                <a:gd name="T2" fmla="*/ 4 w 4"/>
                <a:gd name="T3" fmla="*/ 4 h 4"/>
                <a:gd name="T4" fmla="*/ 2 w 4"/>
                <a:gd name="T5" fmla="*/ 0 h 4"/>
                <a:gd name="T6" fmla="*/ 0 w 4"/>
                <a:gd name="T7" fmla="*/ 3 h 4"/>
                <a:gd name="T8" fmla="*/ 1 w 4"/>
                <a:gd name="T9" fmla="*/ 4 h 4"/>
              </a:gdLst>
              <a:ahLst/>
              <a:cxnLst>
                <a:cxn ang="0">
                  <a:pos x="T0" y="T1"/>
                </a:cxn>
                <a:cxn ang="0">
                  <a:pos x="T2" y="T3"/>
                </a:cxn>
                <a:cxn ang="0">
                  <a:pos x="T4" y="T5"/>
                </a:cxn>
                <a:cxn ang="0">
                  <a:pos x="T6" y="T7"/>
                </a:cxn>
                <a:cxn ang="0">
                  <a:pos x="T8" y="T9"/>
                </a:cxn>
              </a:cxnLst>
              <a:rect l="0" t="0" r="r" b="b"/>
              <a:pathLst>
                <a:path w="4" h="4">
                  <a:moveTo>
                    <a:pt x="1" y="4"/>
                  </a:moveTo>
                  <a:lnTo>
                    <a:pt x="4" y="4"/>
                  </a:lnTo>
                  <a:lnTo>
                    <a:pt x="2" y="0"/>
                  </a:lnTo>
                  <a:lnTo>
                    <a:pt x="0" y="3"/>
                  </a:lnTo>
                  <a:lnTo>
                    <a:pt x="1" y="4"/>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5" name="Freeform 296"/>
            <p:cNvSpPr>
              <a:spLocks/>
            </p:cNvSpPr>
            <p:nvPr/>
          </p:nvSpPr>
          <p:spPr bwMode="auto">
            <a:xfrm>
              <a:off x="11019018" y="10777424"/>
              <a:ext cx="6350" cy="7938"/>
            </a:xfrm>
            <a:custGeom>
              <a:avLst/>
              <a:gdLst>
                <a:gd name="T0" fmla="*/ 4 w 4"/>
                <a:gd name="T1" fmla="*/ 1 h 5"/>
                <a:gd name="T2" fmla="*/ 0 w 4"/>
                <a:gd name="T3" fmla="*/ 0 h 5"/>
                <a:gd name="T4" fmla="*/ 4 w 4"/>
                <a:gd name="T5" fmla="*/ 5 h 5"/>
                <a:gd name="T6" fmla="*/ 4 w 4"/>
                <a:gd name="T7" fmla="*/ 1 h 5"/>
              </a:gdLst>
              <a:ahLst/>
              <a:cxnLst>
                <a:cxn ang="0">
                  <a:pos x="T0" y="T1"/>
                </a:cxn>
                <a:cxn ang="0">
                  <a:pos x="T2" y="T3"/>
                </a:cxn>
                <a:cxn ang="0">
                  <a:pos x="T4" y="T5"/>
                </a:cxn>
                <a:cxn ang="0">
                  <a:pos x="T6" y="T7"/>
                </a:cxn>
              </a:cxnLst>
              <a:rect l="0" t="0" r="r" b="b"/>
              <a:pathLst>
                <a:path w="4" h="5">
                  <a:moveTo>
                    <a:pt x="4" y="1"/>
                  </a:moveTo>
                  <a:lnTo>
                    <a:pt x="0" y="0"/>
                  </a:lnTo>
                  <a:lnTo>
                    <a:pt x="4" y="5"/>
                  </a:lnTo>
                  <a:lnTo>
                    <a:pt x="4" y="1"/>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6" name="Freeform 297"/>
            <p:cNvSpPr>
              <a:spLocks/>
            </p:cNvSpPr>
            <p:nvPr/>
          </p:nvSpPr>
          <p:spPr bwMode="auto">
            <a:xfrm>
              <a:off x="10966631" y="10767899"/>
              <a:ext cx="9525" cy="6350"/>
            </a:xfrm>
            <a:custGeom>
              <a:avLst/>
              <a:gdLst>
                <a:gd name="T0" fmla="*/ 6 w 6"/>
                <a:gd name="T1" fmla="*/ 0 h 4"/>
                <a:gd name="T2" fmla="*/ 0 w 6"/>
                <a:gd name="T3" fmla="*/ 0 h 4"/>
                <a:gd name="T4" fmla="*/ 6 w 6"/>
                <a:gd name="T5" fmla="*/ 4 h 4"/>
                <a:gd name="T6" fmla="*/ 6 w 6"/>
                <a:gd name="T7" fmla="*/ 0 h 4"/>
              </a:gdLst>
              <a:ahLst/>
              <a:cxnLst>
                <a:cxn ang="0">
                  <a:pos x="T0" y="T1"/>
                </a:cxn>
                <a:cxn ang="0">
                  <a:pos x="T2" y="T3"/>
                </a:cxn>
                <a:cxn ang="0">
                  <a:pos x="T4" y="T5"/>
                </a:cxn>
                <a:cxn ang="0">
                  <a:pos x="T6" y="T7"/>
                </a:cxn>
              </a:cxnLst>
              <a:rect l="0" t="0" r="r" b="b"/>
              <a:pathLst>
                <a:path w="6" h="4">
                  <a:moveTo>
                    <a:pt x="6" y="0"/>
                  </a:moveTo>
                  <a:lnTo>
                    <a:pt x="0" y="0"/>
                  </a:lnTo>
                  <a:lnTo>
                    <a:pt x="6" y="4"/>
                  </a:lnTo>
                  <a:lnTo>
                    <a:pt x="6"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7" name="Freeform 298"/>
            <p:cNvSpPr>
              <a:spLocks/>
            </p:cNvSpPr>
            <p:nvPr/>
          </p:nvSpPr>
          <p:spPr bwMode="auto">
            <a:xfrm>
              <a:off x="10952343" y="10758374"/>
              <a:ext cx="6350" cy="6350"/>
            </a:xfrm>
            <a:custGeom>
              <a:avLst/>
              <a:gdLst>
                <a:gd name="T0" fmla="*/ 0 w 4"/>
                <a:gd name="T1" fmla="*/ 0 h 4"/>
                <a:gd name="T2" fmla="*/ 4 w 4"/>
                <a:gd name="T3" fmla="*/ 4 h 4"/>
                <a:gd name="T4" fmla="*/ 4 w 4"/>
                <a:gd name="T5" fmla="*/ 0 h 4"/>
                <a:gd name="T6" fmla="*/ 0 w 4"/>
                <a:gd name="T7" fmla="*/ 0 h 4"/>
              </a:gdLst>
              <a:ahLst/>
              <a:cxnLst>
                <a:cxn ang="0">
                  <a:pos x="T0" y="T1"/>
                </a:cxn>
                <a:cxn ang="0">
                  <a:pos x="T2" y="T3"/>
                </a:cxn>
                <a:cxn ang="0">
                  <a:pos x="T4" y="T5"/>
                </a:cxn>
                <a:cxn ang="0">
                  <a:pos x="T6" y="T7"/>
                </a:cxn>
              </a:cxnLst>
              <a:rect l="0" t="0" r="r" b="b"/>
              <a:pathLst>
                <a:path w="4" h="4">
                  <a:moveTo>
                    <a:pt x="0" y="0"/>
                  </a:moveTo>
                  <a:lnTo>
                    <a:pt x="4" y="4"/>
                  </a:lnTo>
                  <a:lnTo>
                    <a:pt x="4" y="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8" name="Freeform 299"/>
            <p:cNvSpPr>
              <a:spLocks/>
            </p:cNvSpPr>
            <p:nvPr/>
          </p:nvSpPr>
          <p:spPr bwMode="auto">
            <a:xfrm>
              <a:off x="11439706" y="10915536"/>
              <a:ext cx="9525" cy="17463"/>
            </a:xfrm>
            <a:custGeom>
              <a:avLst/>
              <a:gdLst>
                <a:gd name="T0" fmla="*/ 6 w 6"/>
                <a:gd name="T1" fmla="*/ 0 h 11"/>
                <a:gd name="T2" fmla="*/ 1 w 6"/>
                <a:gd name="T3" fmla="*/ 2 h 11"/>
                <a:gd name="T4" fmla="*/ 0 w 6"/>
                <a:gd name="T5" fmla="*/ 10 h 11"/>
                <a:gd name="T6" fmla="*/ 6 w 6"/>
                <a:gd name="T7" fmla="*/ 11 h 11"/>
                <a:gd name="T8" fmla="*/ 6 w 6"/>
                <a:gd name="T9" fmla="*/ 0 h 11"/>
              </a:gdLst>
              <a:ahLst/>
              <a:cxnLst>
                <a:cxn ang="0">
                  <a:pos x="T0" y="T1"/>
                </a:cxn>
                <a:cxn ang="0">
                  <a:pos x="T2" y="T3"/>
                </a:cxn>
                <a:cxn ang="0">
                  <a:pos x="T4" y="T5"/>
                </a:cxn>
                <a:cxn ang="0">
                  <a:pos x="T6" y="T7"/>
                </a:cxn>
                <a:cxn ang="0">
                  <a:pos x="T8" y="T9"/>
                </a:cxn>
              </a:cxnLst>
              <a:rect l="0" t="0" r="r" b="b"/>
              <a:pathLst>
                <a:path w="6" h="11">
                  <a:moveTo>
                    <a:pt x="6" y="0"/>
                  </a:moveTo>
                  <a:lnTo>
                    <a:pt x="1" y="2"/>
                  </a:lnTo>
                  <a:lnTo>
                    <a:pt x="0" y="10"/>
                  </a:lnTo>
                  <a:lnTo>
                    <a:pt x="6" y="11"/>
                  </a:lnTo>
                  <a:lnTo>
                    <a:pt x="6"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9" name="Freeform 300"/>
            <p:cNvSpPr>
              <a:spLocks noEditPoints="1"/>
            </p:cNvSpPr>
            <p:nvPr/>
          </p:nvSpPr>
          <p:spPr bwMode="auto">
            <a:xfrm>
              <a:off x="8142468" y="7799274"/>
              <a:ext cx="4903788" cy="3876675"/>
            </a:xfrm>
            <a:custGeom>
              <a:avLst/>
              <a:gdLst>
                <a:gd name="T0" fmla="*/ 2981 w 3089"/>
                <a:gd name="T1" fmla="*/ 501 h 2442"/>
                <a:gd name="T2" fmla="*/ 2517 w 3089"/>
                <a:gd name="T3" fmla="*/ 376 h 2442"/>
                <a:gd name="T4" fmla="*/ 2187 w 3089"/>
                <a:gd name="T5" fmla="*/ 309 h 2442"/>
                <a:gd name="T6" fmla="*/ 1903 w 3089"/>
                <a:gd name="T7" fmla="*/ 238 h 2442"/>
                <a:gd name="T8" fmla="*/ 1910 w 3089"/>
                <a:gd name="T9" fmla="*/ 66 h 2442"/>
                <a:gd name="T10" fmla="*/ 1649 w 3089"/>
                <a:gd name="T11" fmla="*/ 114 h 2442"/>
                <a:gd name="T12" fmla="*/ 1497 w 3089"/>
                <a:gd name="T13" fmla="*/ 416 h 2442"/>
                <a:gd name="T14" fmla="*/ 1354 w 3089"/>
                <a:gd name="T15" fmla="*/ 426 h 2442"/>
                <a:gd name="T16" fmla="*/ 1346 w 3089"/>
                <a:gd name="T17" fmla="*/ 513 h 2442"/>
                <a:gd name="T18" fmla="*/ 1167 w 3089"/>
                <a:gd name="T19" fmla="*/ 457 h 2442"/>
                <a:gd name="T20" fmla="*/ 953 w 3089"/>
                <a:gd name="T21" fmla="*/ 509 h 2442"/>
                <a:gd name="T22" fmla="*/ 771 w 3089"/>
                <a:gd name="T23" fmla="*/ 602 h 2442"/>
                <a:gd name="T24" fmla="*/ 720 w 3089"/>
                <a:gd name="T25" fmla="*/ 400 h 2442"/>
                <a:gd name="T26" fmla="*/ 587 w 3089"/>
                <a:gd name="T27" fmla="*/ 415 h 2442"/>
                <a:gd name="T28" fmla="*/ 497 w 3089"/>
                <a:gd name="T29" fmla="*/ 494 h 2442"/>
                <a:gd name="T30" fmla="*/ 406 w 3089"/>
                <a:gd name="T31" fmla="*/ 659 h 2442"/>
                <a:gd name="T32" fmla="*/ 361 w 3089"/>
                <a:gd name="T33" fmla="*/ 740 h 2442"/>
                <a:gd name="T34" fmla="*/ 416 w 3089"/>
                <a:gd name="T35" fmla="*/ 788 h 2442"/>
                <a:gd name="T36" fmla="*/ 531 w 3089"/>
                <a:gd name="T37" fmla="*/ 798 h 2442"/>
                <a:gd name="T38" fmla="*/ 594 w 3089"/>
                <a:gd name="T39" fmla="*/ 581 h 2442"/>
                <a:gd name="T40" fmla="*/ 709 w 3089"/>
                <a:gd name="T41" fmla="*/ 776 h 2442"/>
                <a:gd name="T42" fmla="*/ 472 w 3089"/>
                <a:gd name="T43" fmla="*/ 941 h 2442"/>
                <a:gd name="T44" fmla="*/ 389 w 3089"/>
                <a:gd name="T45" fmla="*/ 914 h 2442"/>
                <a:gd name="T46" fmla="*/ 265 w 3089"/>
                <a:gd name="T47" fmla="*/ 1047 h 2442"/>
                <a:gd name="T48" fmla="*/ 132 w 3089"/>
                <a:gd name="T49" fmla="*/ 1192 h 2442"/>
                <a:gd name="T50" fmla="*/ 392 w 3089"/>
                <a:gd name="T51" fmla="*/ 1157 h 2442"/>
                <a:gd name="T52" fmla="*/ 462 w 3089"/>
                <a:gd name="T53" fmla="*/ 1173 h 2442"/>
                <a:gd name="T54" fmla="*/ 575 w 3089"/>
                <a:gd name="T55" fmla="*/ 1267 h 2442"/>
                <a:gd name="T56" fmla="*/ 670 w 3089"/>
                <a:gd name="T57" fmla="*/ 1196 h 2442"/>
                <a:gd name="T58" fmla="*/ 769 w 3089"/>
                <a:gd name="T59" fmla="*/ 1126 h 2442"/>
                <a:gd name="T60" fmla="*/ 826 w 3089"/>
                <a:gd name="T61" fmla="*/ 1228 h 2442"/>
                <a:gd name="T62" fmla="*/ 668 w 3089"/>
                <a:gd name="T63" fmla="*/ 1302 h 2442"/>
                <a:gd name="T64" fmla="*/ 733 w 3089"/>
                <a:gd name="T65" fmla="*/ 1405 h 2442"/>
                <a:gd name="T66" fmla="*/ 422 w 3089"/>
                <a:gd name="T67" fmla="*/ 1344 h 2442"/>
                <a:gd name="T68" fmla="*/ 116 w 3089"/>
                <a:gd name="T69" fmla="*/ 1404 h 2442"/>
                <a:gd name="T70" fmla="*/ 37 w 3089"/>
                <a:gd name="T71" fmla="*/ 1730 h 2442"/>
                <a:gd name="T72" fmla="*/ 387 w 3089"/>
                <a:gd name="T73" fmla="*/ 1826 h 2442"/>
                <a:gd name="T74" fmla="*/ 474 w 3089"/>
                <a:gd name="T75" fmla="*/ 2237 h 2442"/>
                <a:gd name="T76" fmla="*/ 748 w 3089"/>
                <a:gd name="T77" fmla="*/ 2285 h 2442"/>
                <a:gd name="T78" fmla="*/ 839 w 3089"/>
                <a:gd name="T79" fmla="*/ 1987 h 2442"/>
                <a:gd name="T80" fmla="*/ 901 w 3089"/>
                <a:gd name="T81" fmla="*/ 1703 h 2442"/>
                <a:gd name="T82" fmla="*/ 830 w 3089"/>
                <a:gd name="T83" fmla="*/ 1531 h 2442"/>
                <a:gd name="T84" fmla="*/ 1129 w 3089"/>
                <a:gd name="T85" fmla="*/ 1584 h 2442"/>
                <a:gd name="T86" fmla="*/ 980 w 3089"/>
                <a:gd name="T87" fmla="*/ 1429 h 2442"/>
                <a:gd name="T88" fmla="*/ 1285 w 3089"/>
                <a:gd name="T89" fmla="*/ 1558 h 2442"/>
                <a:gd name="T90" fmla="*/ 1461 w 3089"/>
                <a:gd name="T91" fmla="*/ 1658 h 2442"/>
                <a:gd name="T92" fmla="*/ 1662 w 3089"/>
                <a:gd name="T93" fmla="*/ 1618 h 2442"/>
                <a:gd name="T94" fmla="*/ 1771 w 3089"/>
                <a:gd name="T95" fmla="*/ 1791 h 2442"/>
                <a:gd name="T96" fmla="*/ 1871 w 3089"/>
                <a:gd name="T97" fmla="*/ 1658 h 2442"/>
                <a:gd name="T98" fmla="*/ 1972 w 3089"/>
                <a:gd name="T99" fmla="*/ 1546 h 2442"/>
                <a:gd name="T100" fmla="*/ 2047 w 3089"/>
                <a:gd name="T101" fmla="*/ 1352 h 2442"/>
                <a:gd name="T102" fmla="*/ 2095 w 3089"/>
                <a:gd name="T103" fmla="*/ 1251 h 2442"/>
                <a:gd name="T104" fmla="*/ 2176 w 3089"/>
                <a:gd name="T105" fmla="*/ 1338 h 2442"/>
                <a:gd name="T106" fmla="*/ 2338 w 3089"/>
                <a:gd name="T107" fmla="*/ 932 h 2442"/>
                <a:gd name="T108" fmla="*/ 2502 w 3089"/>
                <a:gd name="T109" fmla="*/ 792 h 2442"/>
                <a:gd name="T110" fmla="*/ 2704 w 3089"/>
                <a:gd name="T111" fmla="*/ 692 h 2442"/>
                <a:gd name="T112" fmla="*/ 2677 w 3089"/>
                <a:gd name="T113" fmla="*/ 882 h 2442"/>
                <a:gd name="T114" fmla="*/ 2860 w 3089"/>
                <a:gd name="T115" fmla="*/ 716 h 2442"/>
                <a:gd name="T116" fmla="*/ 2995 w 3089"/>
                <a:gd name="T117" fmla="*/ 597 h 2442"/>
                <a:gd name="T118" fmla="*/ 780 w 3089"/>
                <a:gd name="T119" fmla="*/ 2065 h 2442"/>
                <a:gd name="T120" fmla="*/ 726 w 3089"/>
                <a:gd name="T121" fmla="*/ 1861 h 2442"/>
                <a:gd name="T122" fmla="*/ 1008 w 3089"/>
                <a:gd name="T123" fmla="*/ 1238 h 2442"/>
                <a:gd name="T124" fmla="*/ 1021 w 3089"/>
                <a:gd name="T125" fmla="*/ 1145 h 2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089" h="2442">
                  <a:moveTo>
                    <a:pt x="3045" y="604"/>
                  </a:moveTo>
                  <a:lnTo>
                    <a:pt x="3051" y="604"/>
                  </a:lnTo>
                  <a:lnTo>
                    <a:pt x="3055" y="596"/>
                  </a:lnTo>
                  <a:lnTo>
                    <a:pt x="3067" y="596"/>
                  </a:lnTo>
                  <a:lnTo>
                    <a:pt x="3064" y="590"/>
                  </a:lnTo>
                  <a:lnTo>
                    <a:pt x="3064" y="584"/>
                  </a:lnTo>
                  <a:lnTo>
                    <a:pt x="3074" y="593"/>
                  </a:lnTo>
                  <a:lnTo>
                    <a:pt x="3076" y="581"/>
                  </a:lnTo>
                  <a:lnTo>
                    <a:pt x="3089" y="574"/>
                  </a:lnTo>
                  <a:lnTo>
                    <a:pt x="3076" y="570"/>
                  </a:lnTo>
                  <a:lnTo>
                    <a:pt x="3077" y="567"/>
                  </a:lnTo>
                  <a:lnTo>
                    <a:pt x="3058" y="543"/>
                  </a:lnTo>
                  <a:lnTo>
                    <a:pt x="3037" y="542"/>
                  </a:lnTo>
                  <a:lnTo>
                    <a:pt x="3034" y="548"/>
                  </a:lnTo>
                  <a:lnTo>
                    <a:pt x="3033" y="543"/>
                  </a:lnTo>
                  <a:lnTo>
                    <a:pt x="3035" y="539"/>
                  </a:lnTo>
                  <a:lnTo>
                    <a:pt x="3028" y="536"/>
                  </a:lnTo>
                  <a:lnTo>
                    <a:pt x="3026" y="541"/>
                  </a:lnTo>
                  <a:lnTo>
                    <a:pt x="3016" y="538"/>
                  </a:lnTo>
                  <a:lnTo>
                    <a:pt x="3022" y="542"/>
                  </a:lnTo>
                  <a:lnTo>
                    <a:pt x="3022" y="555"/>
                  </a:lnTo>
                  <a:lnTo>
                    <a:pt x="3028" y="558"/>
                  </a:lnTo>
                  <a:lnTo>
                    <a:pt x="3025" y="565"/>
                  </a:lnTo>
                  <a:lnTo>
                    <a:pt x="3025" y="558"/>
                  </a:lnTo>
                  <a:lnTo>
                    <a:pt x="3014" y="550"/>
                  </a:lnTo>
                  <a:lnTo>
                    <a:pt x="3009" y="526"/>
                  </a:lnTo>
                  <a:lnTo>
                    <a:pt x="3012" y="525"/>
                  </a:lnTo>
                  <a:lnTo>
                    <a:pt x="3003" y="513"/>
                  </a:lnTo>
                  <a:lnTo>
                    <a:pt x="2995" y="512"/>
                  </a:lnTo>
                  <a:lnTo>
                    <a:pt x="3003" y="524"/>
                  </a:lnTo>
                  <a:lnTo>
                    <a:pt x="2987" y="513"/>
                  </a:lnTo>
                  <a:lnTo>
                    <a:pt x="2993" y="509"/>
                  </a:lnTo>
                  <a:lnTo>
                    <a:pt x="2979" y="505"/>
                  </a:lnTo>
                  <a:lnTo>
                    <a:pt x="2981" y="501"/>
                  </a:lnTo>
                  <a:lnTo>
                    <a:pt x="2981" y="498"/>
                  </a:lnTo>
                  <a:lnTo>
                    <a:pt x="2974" y="493"/>
                  </a:lnTo>
                  <a:lnTo>
                    <a:pt x="2964" y="492"/>
                  </a:lnTo>
                  <a:lnTo>
                    <a:pt x="2962" y="484"/>
                  </a:lnTo>
                  <a:lnTo>
                    <a:pt x="2954" y="481"/>
                  </a:lnTo>
                  <a:lnTo>
                    <a:pt x="2951" y="472"/>
                  </a:lnTo>
                  <a:lnTo>
                    <a:pt x="2940" y="467"/>
                  </a:lnTo>
                  <a:lnTo>
                    <a:pt x="2935" y="465"/>
                  </a:lnTo>
                  <a:lnTo>
                    <a:pt x="2911" y="445"/>
                  </a:lnTo>
                  <a:lnTo>
                    <a:pt x="2877" y="426"/>
                  </a:lnTo>
                  <a:lnTo>
                    <a:pt x="2834" y="426"/>
                  </a:lnTo>
                  <a:lnTo>
                    <a:pt x="2799" y="416"/>
                  </a:lnTo>
                  <a:lnTo>
                    <a:pt x="2793" y="419"/>
                  </a:lnTo>
                  <a:lnTo>
                    <a:pt x="2793" y="431"/>
                  </a:lnTo>
                  <a:lnTo>
                    <a:pt x="2787" y="436"/>
                  </a:lnTo>
                  <a:lnTo>
                    <a:pt x="2795" y="438"/>
                  </a:lnTo>
                  <a:lnTo>
                    <a:pt x="2801" y="457"/>
                  </a:lnTo>
                  <a:lnTo>
                    <a:pt x="2785" y="471"/>
                  </a:lnTo>
                  <a:lnTo>
                    <a:pt x="2761" y="453"/>
                  </a:lnTo>
                  <a:lnTo>
                    <a:pt x="2759" y="438"/>
                  </a:lnTo>
                  <a:lnTo>
                    <a:pt x="2754" y="429"/>
                  </a:lnTo>
                  <a:lnTo>
                    <a:pt x="2740" y="441"/>
                  </a:lnTo>
                  <a:lnTo>
                    <a:pt x="2713" y="438"/>
                  </a:lnTo>
                  <a:lnTo>
                    <a:pt x="2697" y="428"/>
                  </a:lnTo>
                  <a:lnTo>
                    <a:pt x="2674" y="432"/>
                  </a:lnTo>
                  <a:lnTo>
                    <a:pt x="2656" y="445"/>
                  </a:lnTo>
                  <a:lnTo>
                    <a:pt x="2656" y="438"/>
                  </a:lnTo>
                  <a:lnTo>
                    <a:pt x="2634" y="427"/>
                  </a:lnTo>
                  <a:lnTo>
                    <a:pt x="2638" y="409"/>
                  </a:lnTo>
                  <a:lnTo>
                    <a:pt x="2637" y="401"/>
                  </a:lnTo>
                  <a:lnTo>
                    <a:pt x="2621" y="377"/>
                  </a:lnTo>
                  <a:lnTo>
                    <a:pt x="2559" y="375"/>
                  </a:lnTo>
                  <a:lnTo>
                    <a:pt x="2527" y="383"/>
                  </a:lnTo>
                  <a:lnTo>
                    <a:pt x="2517" y="376"/>
                  </a:lnTo>
                  <a:lnTo>
                    <a:pt x="2525" y="367"/>
                  </a:lnTo>
                  <a:lnTo>
                    <a:pt x="2513" y="355"/>
                  </a:lnTo>
                  <a:lnTo>
                    <a:pt x="2500" y="356"/>
                  </a:lnTo>
                  <a:lnTo>
                    <a:pt x="2493" y="347"/>
                  </a:lnTo>
                  <a:lnTo>
                    <a:pt x="2475" y="343"/>
                  </a:lnTo>
                  <a:lnTo>
                    <a:pt x="2481" y="332"/>
                  </a:lnTo>
                  <a:lnTo>
                    <a:pt x="2489" y="335"/>
                  </a:lnTo>
                  <a:lnTo>
                    <a:pt x="2486" y="321"/>
                  </a:lnTo>
                  <a:lnTo>
                    <a:pt x="2481" y="317"/>
                  </a:lnTo>
                  <a:lnTo>
                    <a:pt x="2357" y="286"/>
                  </a:lnTo>
                  <a:lnTo>
                    <a:pt x="2353" y="291"/>
                  </a:lnTo>
                  <a:lnTo>
                    <a:pt x="2358" y="300"/>
                  </a:lnTo>
                  <a:lnTo>
                    <a:pt x="2337" y="325"/>
                  </a:lnTo>
                  <a:lnTo>
                    <a:pt x="2339" y="335"/>
                  </a:lnTo>
                  <a:lnTo>
                    <a:pt x="2336" y="339"/>
                  </a:lnTo>
                  <a:lnTo>
                    <a:pt x="2340" y="354"/>
                  </a:lnTo>
                  <a:lnTo>
                    <a:pt x="2332" y="350"/>
                  </a:lnTo>
                  <a:lnTo>
                    <a:pt x="2311" y="368"/>
                  </a:lnTo>
                  <a:lnTo>
                    <a:pt x="2275" y="345"/>
                  </a:lnTo>
                  <a:lnTo>
                    <a:pt x="2267" y="347"/>
                  </a:lnTo>
                  <a:lnTo>
                    <a:pt x="2264" y="358"/>
                  </a:lnTo>
                  <a:lnTo>
                    <a:pt x="2247" y="355"/>
                  </a:lnTo>
                  <a:lnTo>
                    <a:pt x="2233" y="329"/>
                  </a:lnTo>
                  <a:lnTo>
                    <a:pt x="2223" y="350"/>
                  </a:lnTo>
                  <a:lnTo>
                    <a:pt x="2222" y="367"/>
                  </a:lnTo>
                  <a:lnTo>
                    <a:pt x="2212" y="388"/>
                  </a:lnTo>
                  <a:lnTo>
                    <a:pt x="2207" y="377"/>
                  </a:lnTo>
                  <a:lnTo>
                    <a:pt x="2192" y="373"/>
                  </a:lnTo>
                  <a:lnTo>
                    <a:pt x="2179" y="344"/>
                  </a:lnTo>
                  <a:lnTo>
                    <a:pt x="2175" y="345"/>
                  </a:lnTo>
                  <a:lnTo>
                    <a:pt x="2174" y="332"/>
                  </a:lnTo>
                  <a:lnTo>
                    <a:pt x="2186" y="319"/>
                  </a:lnTo>
                  <a:lnTo>
                    <a:pt x="2184" y="318"/>
                  </a:lnTo>
                  <a:lnTo>
                    <a:pt x="2187" y="309"/>
                  </a:lnTo>
                  <a:lnTo>
                    <a:pt x="2181" y="298"/>
                  </a:lnTo>
                  <a:lnTo>
                    <a:pt x="2184" y="279"/>
                  </a:lnTo>
                  <a:lnTo>
                    <a:pt x="2166" y="254"/>
                  </a:lnTo>
                  <a:lnTo>
                    <a:pt x="2148" y="251"/>
                  </a:lnTo>
                  <a:lnTo>
                    <a:pt x="2143" y="257"/>
                  </a:lnTo>
                  <a:lnTo>
                    <a:pt x="2100" y="234"/>
                  </a:lnTo>
                  <a:lnTo>
                    <a:pt x="2099" y="242"/>
                  </a:lnTo>
                  <a:lnTo>
                    <a:pt x="2093" y="240"/>
                  </a:lnTo>
                  <a:lnTo>
                    <a:pt x="2091" y="255"/>
                  </a:lnTo>
                  <a:lnTo>
                    <a:pt x="2095" y="271"/>
                  </a:lnTo>
                  <a:lnTo>
                    <a:pt x="2091" y="276"/>
                  </a:lnTo>
                  <a:lnTo>
                    <a:pt x="2059" y="281"/>
                  </a:lnTo>
                  <a:lnTo>
                    <a:pt x="2021" y="270"/>
                  </a:lnTo>
                  <a:lnTo>
                    <a:pt x="2020" y="257"/>
                  </a:lnTo>
                  <a:lnTo>
                    <a:pt x="2027" y="253"/>
                  </a:lnTo>
                  <a:lnTo>
                    <a:pt x="1979" y="242"/>
                  </a:lnTo>
                  <a:lnTo>
                    <a:pt x="1947" y="252"/>
                  </a:lnTo>
                  <a:lnTo>
                    <a:pt x="1959" y="263"/>
                  </a:lnTo>
                  <a:lnTo>
                    <a:pt x="1946" y="267"/>
                  </a:lnTo>
                  <a:lnTo>
                    <a:pt x="1941" y="267"/>
                  </a:lnTo>
                  <a:lnTo>
                    <a:pt x="1947" y="263"/>
                  </a:lnTo>
                  <a:lnTo>
                    <a:pt x="1943" y="261"/>
                  </a:lnTo>
                  <a:lnTo>
                    <a:pt x="1944" y="246"/>
                  </a:lnTo>
                  <a:lnTo>
                    <a:pt x="1936" y="226"/>
                  </a:lnTo>
                  <a:lnTo>
                    <a:pt x="1936" y="238"/>
                  </a:lnTo>
                  <a:lnTo>
                    <a:pt x="1931" y="242"/>
                  </a:lnTo>
                  <a:lnTo>
                    <a:pt x="1914" y="237"/>
                  </a:lnTo>
                  <a:lnTo>
                    <a:pt x="1913" y="229"/>
                  </a:lnTo>
                  <a:lnTo>
                    <a:pt x="1916" y="226"/>
                  </a:lnTo>
                  <a:lnTo>
                    <a:pt x="1907" y="232"/>
                  </a:lnTo>
                  <a:lnTo>
                    <a:pt x="1895" y="226"/>
                  </a:lnTo>
                  <a:lnTo>
                    <a:pt x="1887" y="237"/>
                  </a:lnTo>
                  <a:lnTo>
                    <a:pt x="1890" y="247"/>
                  </a:lnTo>
                  <a:lnTo>
                    <a:pt x="1903" y="238"/>
                  </a:lnTo>
                  <a:lnTo>
                    <a:pt x="1908" y="244"/>
                  </a:lnTo>
                  <a:lnTo>
                    <a:pt x="1890" y="257"/>
                  </a:lnTo>
                  <a:lnTo>
                    <a:pt x="1881" y="251"/>
                  </a:lnTo>
                  <a:lnTo>
                    <a:pt x="1885" y="257"/>
                  </a:lnTo>
                  <a:lnTo>
                    <a:pt x="1883" y="260"/>
                  </a:lnTo>
                  <a:lnTo>
                    <a:pt x="1858" y="271"/>
                  </a:lnTo>
                  <a:lnTo>
                    <a:pt x="1840" y="270"/>
                  </a:lnTo>
                  <a:lnTo>
                    <a:pt x="1840" y="273"/>
                  </a:lnTo>
                  <a:lnTo>
                    <a:pt x="1840" y="280"/>
                  </a:lnTo>
                  <a:lnTo>
                    <a:pt x="1846" y="286"/>
                  </a:lnTo>
                  <a:lnTo>
                    <a:pt x="1836" y="280"/>
                  </a:lnTo>
                  <a:lnTo>
                    <a:pt x="1827" y="286"/>
                  </a:lnTo>
                  <a:lnTo>
                    <a:pt x="1852" y="247"/>
                  </a:lnTo>
                  <a:lnTo>
                    <a:pt x="1868" y="248"/>
                  </a:lnTo>
                  <a:lnTo>
                    <a:pt x="1901" y="199"/>
                  </a:lnTo>
                  <a:lnTo>
                    <a:pt x="1922" y="190"/>
                  </a:lnTo>
                  <a:lnTo>
                    <a:pt x="1922" y="182"/>
                  </a:lnTo>
                  <a:lnTo>
                    <a:pt x="1930" y="180"/>
                  </a:lnTo>
                  <a:lnTo>
                    <a:pt x="1928" y="177"/>
                  </a:lnTo>
                  <a:lnTo>
                    <a:pt x="1941" y="169"/>
                  </a:lnTo>
                  <a:lnTo>
                    <a:pt x="1950" y="154"/>
                  </a:lnTo>
                  <a:lnTo>
                    <a:pt x="1948" y="144"/>
                  </a:lnTo>
                  <a:lnTo>
                    <a:pt x="1950" y="140"/>
                  </a:lnTo>
                  <a:lnTo>
                    <a:pt x="1939" y="136"/>
                  </a:lnTo>
                  <a:lnTo>
                    <a:pt x="1931" y="122"/>
                  </a:lnTo>
                  <a:lnTo>
                    <a:pt x="1946" y="136"/>
                  </a:lnTo>
                  <a:lnTo>
                    <a:pt x="1952" y="123"/>
                  </a:lnTo>
                  <a:lnTo>
                    <a:pt x="1952" y="116"/>
                  </a:lnTo>
                  <a:lnTo>
                    <a:pt x="1947" y="116"/>
                  </a:lnTo>
                  <a:lnTo>
                    <a:pt x="1941" y="97"/>
                  </a:lnTo>
                  <a:lnTo>
                    <a:pt x="1936" y="106"/>
                  </a:lnTo>
                  <a:lnTo>
                    <a:pt x="1933" y="98"/>
                  </a:lnTo>
                  <a:lnTo>
                    <a:pt x="1935" y="92"/>
                  </a:lnTo>
                  <a:lnTo>
                    <a:pt x="1910" y="66"/>
                  </a:lnTo>
                  <a:lnTo>
                    <a:pt x="1868" y="64"/>
                  </a:lnTo>
                  <a:lnTo>
                    <a:pt x="1856" y="83"/>
                  </a:lnTo>
                  <a:lnTo>
                    <a:pt x="1837" y="83"/>
                  </a:lnTo>
                  <a:lnTo>
                    <a:pt x="1852" y="64"/>
                  </a:lnTo>
                  <a:lnTo>
                    <a:pt x="1856" y="54"/>
                  </a:lnTo>
                  <a:lnTo>
                    <a:pt x="1853" y="48"/>
                  </a:lnTo>
                  <a:lnTo>
                    <a:pt x="1831" y="46"/>
                  </a:lnTo>
                  <a:lnTo>
                    <a:pt x="1831" y="38"/>
                  </a:lnTo>
                  <a:lnTo>
                    <a:pt x="1810" y="51"/>
                  </a:lnTo>
                  <a:lnTo>
                    <a:pt x="1836" y="25"/>
                  </a:lnTo>
                  <a:lnTo>
                    <a:pt x="1831" y="11"/>
                  </a:lnTo>
                  <a:lnTo>
                    <a:pt x="1807" y="0"/>
                  </a:lnTo>
                  <a:lnTo>
                    <a:pt x="1791" y="6"/>
                  </a:lnTo>
                  <a:lnTo>
                    <a:pt x="1766" y="41"/>
                  </a:lnTo>
                  <a:lnTo>
                    <a:pt x="1759" y="59"/>
                  </a:lnTo>
                  <a:lnTo>
                    <a:pt x="1766" y="71"/>
                  </a:lnTo>
                  <a:lnTo>
                    <a:pt x="1762" y="69"/>
                  </a:lnTo>
                  <a:lnTo>
                    <a:pt x="1762" y="77"/>
                  </a:lnTo>
                  <a:lnTo>
                    <a:pt x="1728" y="82"/>
                  </a:lnTo>
                  <a:lnTo>
                    <a:pt x="1744" y="96"/>
                  </a:lnTo>
                  <a:lnTo>
                    <a:pt x="1741" y="110"/>
                  </a:lnTo>
                  <a:lnTo>
                    <a:pt x="1735" y="104"/>
                  </a:lnTo>
                  <a:lnTo>
                    <a:pt x="1726" y="95"/>
                  </a:lnTo>
                  <a:lnTo>
                    <a:pt x="1710" y="106"/>
                  </a:lnTo>
                  <a:lnTo>
                    <a:pt x="1713" y="112"/>
                  </a:lnTo>
                  <a:lnTo>
                    <a:pt x="1694" y="119"/>
                  </a:lnTo>
                  <a:lnTo>
                    <a:pt x="1695" y="112"/>
                  </a:lnTo>
                  <a:lnTo>
                    <a:pt x="1692" y="111"/>
                  </a:lnTo>
                  <a:lnTo>
                    <a:pt x="1682" y="119"/>
                  </a:lnTo>
                  <a:lnTo>
                    <a:pt x="1687" y="105"/>
                  </a:lnTo>
                  <a:lnTo>
                    <a:pt x="1683" y="103"/>
                  </a:lnTo>
                  <a:lnTo>
                    <a:pt x="1640" y="109"/>
                  </a:lnTo>
                  <a:lnTo>
                    <a:pt x="1640" y="115"/>
                  </a:lnTo>
                  <a:lnTo>
                    <a:pt x="1649" y="114"/>
                  </a:lnTo>
                  <a:lnTo>
                    <a:pt x="1648" y="121"/>
                  </a:lnTo>
                  <a:lnTo>
                    <a:pt x="1585" y="142"/>
                  </a:lnTo>
                  <a:lnTo>
                    <a:pt x="1567" y="164"/>
                  </a:lnTo>
                  <a:lnTo>
                    <a:pt x="1552" y="164"/>
                  </a:lnTo>
                  <a:lnTo>
                    <a:pt x="1563" y="169"/>
                  </a:lnTo>
                  <a:lnTo>
                    <a:pt x="1554" y="173"/>
                  </a:lnTo>
                  <a:lnTo>
                    <a:pt x="1550" y="190"/>
                  </a:lnTo>
                  <a:lnTo>
                    <a:pt x="1537" y="180"/>
                  </a:lnTo>
                  <a:lnTo>
                    <a:pt x="1533" y="189"/>
                  </a:lnTo>
                  <a:lnTo>
                    <a:pt x="1547" y="196"/>
                  </a:lnTo>
                  <a:lnTo>
                    <a:pt x="1536" y="207"/>
                  </a:lnTo>
                  <a:lnTo>
                    <a:pt x="1547" y="213"/>
                  </a:lnTo>
                  <a:lnTo>
                    <a:pt x="1552" y="224"/>
                  </a:lnTo>
                  <a:lnTo>
                    <a:pt x="1547" y="225"/>
                  </a:lnTo>
                  <a:lnTo>
                    <a:pt x="1547" y="232"/>
                  </a:lnTo>
                  <a:lnTo>
                    <a:pt x="1465" y="247"/>
                  </a:lnTo>
                  <a:lnTo>
                    <a:pt x="1458" y="251"/>
                  </a:lnTo>
                  <a:lnTo>
                    <a:pt x="1461" y="254"/>
                  </a:lnTo>
                  <a:lnTo>
                    <a:pt x="1454" y="263"/>
                  </a:lnTo>
                  <a:lnTo>
                    <a:pt x="1458" y="265"/>
                  </a:lnTo>
                  <a:lnTo>
                    <a:pt x="1454" y="270"/>
                  </a:lnTo>
                  <a:lnTo>
                    <a:pt x="1465" y="284"/>
                  </a:lnTo>
                  <a:lnTo>
                    <a:pt x="1461" y="293"/>
                  </a:lnTo>
                  <a:lnTo>
                    <a:pt x="1463" y="306"/>
                  </a:lnTo>
                  <a:lnTo>
                    <a:pt x="1484" y="317"/>
                  </a:lnTo>
                  <a:lnTo>
                    <a:pt x="1485" y="321"/>
                  </a:lnTo>
                  <a:lnTo>
                    <a:pt x="1484" y="325"/>
                  </a:lnTo>
                  <a:lnTo>
                    <a:pt x="1501" y="336"/>
                  </a:lnTo>
                  <a:lnTo>
                    <a:pt x="1504" y="347"/>
                  </a:lnTo>
                  <a:lnTo>
                    <a:pt x="1498" y="363"/>
                  </a:lnTo>
                  <a:lnTo>
                    <a:pt x="1504" y="390"/>
                  </a:lnTo>
                  <a:lnTo>
                    <a:pt x="1504" y="403"/>
                  </a:lnTo>
                  <a:lnTo>
                    <a:pt x="1495" y="407"/>
                  </a:lnTo>
                  <a:lnTo>
                    <a:pt x="1497" y="416"/>
                  </a:lnTo>
                  <a:lnTo>
                    <a:pt x="1484" y="407"/>
                  </a:lnTo>
                  <a:lnTo>
                    <a:pt x="1485" y="388"/>
                  </a:lnTo>
                  <a:lnTo>
                    <a:pt x="1484" y="367"/>
                  </a:lnTo>
                  <a:lnTo>
                    <a:pt x="1494" y="357"/>
                  </a:lnTo>
                  <a:lnTo>
                    <a:pt x="1498" y="344"/>
                  </a:lnTo>
                  <a:lnTo>
                    <a:pt x="1472" y="341"/>
                  </a:lnTo>
                  <a:lnTo>
                    <a:pt x="1461" y="325"/>
                  </a:lnTo>
                  <a:lnTo>
                    <a:pt x="1439" y="311"/>
                  </a:lnTo>
                  <a:lnTo>
                    <a:pt x="1411" y="319"/>
                  </a:lnTo>
                  <a:lnTo>
                    <a:pt x="1410" y="325"/>
                  </a:lnTo>
                  <a:lnTo>
                    <a:pt x="1421" y="329"/>
                  </a:lnTo>
                  <a:lnTo>
                    <a:pt x="1408" y="341"/>
                  </a:lnTo>
                  <a:lnTo>
                    <a:pt x="1402" y="342"/>
                  </a:lnTo>
                  <a:lnTo>
                    <a:pt x="1396" y="330"/>
                  </a:lnTo>
                  <a:lnTo>
                    <a:pt x="1390" y="334"/>
                  </a:lnTo>
                  <a:lnTo>
                    <a:pt x="1394" y="349"/>
                  </a:lnTo>
                  <a:lnTo>
                    <a:pt x="1413" y="362"/>
                  </a:lnTo>
                  <a:lnTo>
                    <a:pt x="1419" y="357"/>
                  </a:lnTo>
                  <a:lnTo>
                    <a:pt x="1426" y="377"/>
                  </a:lnTo>
                  <a:lnTo>
                    <a:pt x="1381" y="358"/>
                  </a:lnTo>
                  <a:lnTo>
                    <a:pt x="1377" y="355"/>
                  </a:lnTo>
                  <a:lnTo>
                    <a:pt x="1382" y="354"/>
                  </a:lnTo>
                  <a:lnTo>
                    <a:pt x="1382" y="347"/>
                  </a:lnTo>
                  <a:lnTo>
                    <a:pt x="1377" y="328"/>
                  </a:lnTo>
                  <a:lnTo>
                    <a:pt x="1383" y="315"/>
                  </a:lnTo>
                  <a:lnTo>
                    <a:pt x="1382" y="303"/>
                  </a:lnTo>
                  <a:lnTo>
                    <a:pt x="1383" y="302"/>
                  </a:lnTo>
                  <a:lnTo>
                    <a:pt x="1375" y="286"/>
                  </a:lnTo>
                  <a:lnTo>
                    <a:pt x="1371" y="287"/>
                  </a:lnTo>
                  <a:lnTo>
                    <a:pt x="1375" y="315"/>
                  </a:lnTo>
                  <a:lnTo>
                    <a:pt x="1350" y="336"/>
                  </a:lnTo>
                  <a:lnTo>
                    <a:pt x="1345" y="350"/>
                  </a:lnTo>
                  <a:lnTo>
                    <a:pt x="1364" y="389"/>
                  </a:lnTo>
                  <a:lnTo>
                    <a:pt x="1354" y="426"/>
                  </a:lnTo>
                  <a:lnTo>
                    <a:pt x="1358" y="442"/>
                  </a:lnTo>
                  <a:lnTo>
                    <a:pt x="1356" y="453"/>
                  </a:lnTo>
                  <a:lnTo>
                    <a:pt x="1376" y="459"/>
                  </a:lnTo>
                  <a:lnTo>
                    <a:pt x="1390" y="453"/>
                  </a:lnTo>
                  <a:lnTo>
                    <a:pt x="1414" y="467"/>
                  </a:lnTo>
                  <a:lnTo>
                    <a:pt x="1421" y="491"/>
                  </a:lnTo>
                  <a:lnTo>
                    <a:pt x="1413" y="497"/>
                  </a:lnTo>
                  <a:lnTo>
                    <a:pt x="1413" y="511"/>
                  </a:lnTo>
                  <a:lnTo>
                    <a:pt x="1432" y="519"/>
                  </a:lnTo>
                  <a:lnTo>
                    <a:pt x="1415" y="520"/>
                  </a:lnTo>
                  <a:lnTo>
                    <a:pt x="1408" y="513"/>
                  </a:lnTo>
                  <a:lnTo>
                    <a:pt x="1410" y="494"/>
                  </a:lnTo>
                  <a:lnTo>
                    <a:pt x="1408" y="491"/>
                  </a:lnTo>
                  <a:lnTo>
                    <a:pt x="1409" y="483"/>
                  </a:lnTo>
                  <a:lnTo>
                    <a:pt x="1401" y="473"/>
                  </a:lnTo>
                  <a:lnTo>
                    <a:pt x="1398" y="462"/>
                  </a:lnTo>
                  <a:lnTo>
                    <a:pt x="1368" y="472"/>
                  </a:lnTo>
                  <a:lnTo>
                    <a:pt x="1364" y="486"/>
                  </a:lnTo>
                  <a:lnTo>
                    <a:pt x="1371" y="503"/>
                  </a:lnTo>
                  <a:lnTo>
                    <a:pt x="1370" y="515"/>
                  </a:lnTo>
                  <a:lnTo>
                    <a:pt x="1358" y="528"/>
                  </a:lnTo>
                  <a:lnTo>
                    <a:pt x="1352" y="546"/>
                  </a:lnTo>
                  <a:lnTo>
                    <a:pt x="1336" y="557"/>
                  </a:lnTo>
                  <a:lnTo>
                    <a:pt x="1333" y="569"/>
                  </a:lnTo>
                  <a:lnTo>
                    <a:pt x="1331" y="569"/>
                  </a:lnTo>
                  <a:lnTo>
                    <a:pt x="1303" y="565"/>
                  </a:lnTo>
                  <a:lnTo>
                    <a:pt x="1300" y="552"/>
                  </a:lnTo>
                  <a:lnTo>
                    <a:pt x="1298" y="549"/>
                  </a:lnTo>
                  <a:lnTo>
                    <a:pt x="1307" y="551"/>
                  </a:lnTo>
                  <a:lnTo>
                    <a:pt x="1330" y="542"/>
                  </a:lnTo>
                  <a:lnTo>
                    <a:pt x="1322" y="533"/>
                  </a:lnTo>
                  <a:lnTo>
                    <a:pt x="1332" y="536"/>
                  </a:lnTo>
                  <a:lnTo>
                    <a:pt x="1339" y="519"/>
                  </a:lnTo>
                  <a:lnTo>
                    <a:pt x="1346" y="513"/>
                  </a:lnTo>
                  <a:lnTo>
                    <a:pt x="1346" y="497"/>
                  </a:lnTo>
                  <a:lnTo>
                    <a:pt x="1351" y="486"/>
                  </a:lnTo>
                  <a:lnTo>
                    <a:pt x="1351" y="478"/>
                  </a:lnTo>
                  <a:lnTo>
                    <a:pt x="1337" y="461"/>
                  </a:lnTo>
                  <a:lnTo>
                    <a:pt x="1339" y="426"/>
                  </a:lnTo>
                  <a:lnTo>
                    <a:pt x="1336" y="407"/>
                  </a:lnTo>
                  <a:lnTo>
                    <a:pt x="1341" y="401"/>
                  </a:lnTo>
                  <a:lnTo>
                    <a:pt x="1342" y="381"/>
                  </a:lnTo>
                  <a:lnTo>
                    <a:pt x="1338" y="365"/>
                  </a:lnTo>
                  <a:lnTo>
                    <a:pt x="1326" y="351"/>
                  </a:lnTo>
                  <a:lnTo>
                    <a:pt x="1339" y="317"/>
                  </a:lnTo>
                  <a:lnTo>
                    <a:pt x="1338" y="292"/>
                  </a:lnTo>
                  <a:lnTo>
                    <a:pt x="1291" y="281"/>
                  </a:lnTo>
                  <a:lnTo>
                    <a:pt x="1284" y="298"/>
                  </a:lnTo>
                  <a:lnTo>
                    <a:pt x="1277" y="338"/>
                  </a:lnTo>
                  <a:lnTo>
                    <a:pt x="1253" y="362"/>
                  </a:lnTo>
                  <a:lnTo>
                    <a:pt x="1251" y="373"/>
                  </a:lnTo>
                  <a:lnTo>
                    <a:pt x="1257" y="373"/>
                  </a:lnTo>
                  <a:lnTo>
                    <a:pt x="1250" y="383"/>
                  </a:lnTo>
                  <a:lnTo>
                    <a:pt x="1263" y="388"/>
                  </a:lnTo>
                  <a:lnTo>
                    <a:pt x="1259" y="407"/>
                  </a:lnTo>
                  <a:lnTo>
                    <a:pt x="1260" y="415"/>
                  </a:lnTo>
                  <a:lnTo>
                    <a:pt x="1254" y="418"/>
                  </a:lnTo>
                  <a:lnTo>
                    <a:pt x="1254" y="436"/>
                  </a:lnTo>
                  <a:lnTo>
                    <a:pt x="1273" y="440"/>
                  </a:lnTo>
                  <a:lnTo>
                    <a:pt x="1272" y="446"/>
                  </a:lnTo>
                  <a:lnTo>
                    <a:pt x="1278" y="461"/>
                  </a:lnTo>
                  <a:lnTo>
                    <a:pt x="1287" y="467"/>
                  </a:lnTo>
                  <a:lnTo>
                    <a:pt x="1276" y="494"/>
                  </a:lnTo>
                  <a:lnTo>
                    <a:pt x="1257" y="470"/>
                  </a:lnTo>
                  <a:lnTo>
                    <a:pt x="1213" y="439"/>
                  </a:lnTo>
                  <a:lnTo>
                    <a:pt x="1169" y="426"/>
                  </a:lnTo>
                  <a:lnTo>
                    <a:pt x="1157" y="436"/>
                  </a:lnTo>
                  <a:lnTo>
                    <a:pt x="1167" y="457"/>
                  </a:lnTo>
                  <a:lnTo>
                    <a:pt x="1164" y="466"/>
                  </a:lnTo>
                  <a:lnTo>
                    <a:pt x="1150" y="474"/>
                  </a:lnTo>
                  <a:lnTo>
                    <a:pt x="1151" y="484"/>
                  </a:lnTo>
                  <a:lnTo>
                    <a:pt x="1146" y="490"/>
                  </a:lnTo>
                  <a:lnTo>
                    <a:pt x="1140" y="484"/>
                  </a:lnTo>
                  <a:lnTo>
                    <a:pt x="1144" y="473"/>
                  </a:lnTo>
                  <a:lnTo>
                    <a:pt x="1135" y="461"/>
                  </a:lnTo>
                  <a:lnTo>
                    <a:pt x="1112" y="481"/>
                  </a:lnTo>
                  <a:lnTo>
                    <a:pt x="1084" y="480"/>
                  </a:lnTo>
                  <a:lnTo>
                    <a:pt x="1073" y="497"/>
                  </a:lnTo>
                  <a:lnTo>
                    <a:pt x="1063" y="490"/>
                  </a:lnTo>
                  <a:lnTo>
                    <a:pt x="1062" y="479"/>
                  </a:lnTo>
                  <a:lnTo>
                    <a:pt x="1064" y="471"/>
                  </a:lnTo>
                  <a:lnTo>
                    <a:pt x="1059" y="468"/>
                  </a:lnTo>
                  <a:lnTo>
                    <a:pt x="1070" y="462"/>
                  </a:lnTo>
                  <a:lnTo>
                    <a:pt x="1053" y="467"/>
                  </a:lnTo>
                  <a:lnTo>
                    <a:pt x="1051" y="471"/>
                  </a:lnTo>
                  <a:lnTo>
                    <a:pt x="1052" y="477"/>
                  </a:lnTo>
                  <a:lnTo>
                    <a:pt x="1049" y="478"/>
                  </a:lnTo>
                  <a:lnTo>
                    <a:pt x="1045" y="472"/>
                  </a:lnTo>
                  <a:lnTo>
                    <a:pt x="1039" y="479"/>
                  </a:lnTo>
                  <a:lnTo>
                    <a:pt x="1043" y="481"/>
                  </a:lnTo>
                  <a:lnTo>
                    <a:pt x="1039" y="488"/>
                  </a:lnTo>
                  <a:lnTo>
                    <a:pt x="1034" y="481"/>
                  </a:lnTo>
                  <a:lnTo>
                    <a:pt x="1027" y="484"/>
                  </a:lnTo>
                  <a:lnTo>
                    <a:pt x="974" y="519"/>
                  </a:lnTo>
                  <a:lnTo>
                    <a:pt x="969" y="533"/>
                  </a:lnTo>
                  <a:lnTo>
                    <a:pt x="969" y="542"/>
                  </a:lnTo>
                  <a:lnTo>
                    <a:pt x="953" y="555"/>
                  </a:lnTo>
                  <a:lnTo>
                    <a:pt x="952" y="546"/>
                  </a:lnTo>
                  <a:lnTo>
                    <a:pt x="943" y="546"/>
                  </a:lnTo>
                  <a:lnTo>
                    <a:pt x="929" y="524"/>
                  </a:lnTo>
                  <a:lnTo>
                    <a:pt x="934" y="513"/>
                  </a:lnTo>
                  <a:lnTo>
                    <a:pt x="953" y="509"/>
                  </a:lnTo>
                  <a:lnTo>
                    <a:pt x="949" y="494"/>
                  </a:lnTo>
                  <a:lnTo>
                    <a:pt x="941" y="484"/>
                  </a:lnTo>
                  <a:lnTo>
                    <a:pt x="903" y="475"/>
                  </a:lnTo>
                  <a:lnTo>
                    <a:pt x="916" y="490"/>
                  </a:lnTo>
                  <a:lnTo>
                    <a:pt x="915" y="512"/>
                  </a:lnTo>
                  <a:lnTo>
                    <a:pt x="912" y="529"/>
                  </a:lnTo>
                  <a:lnTo>
                    <a:pt x="922" y="542"/>
                  </a:lnTo>
                  <a:lnTo>
                    <a:pt x="915" y="568"/>
                  </a:lnTo>
                  <a:lnTo>
                    <a:pt x="916" y="582"/>
                  </a:lnTo>
                  <a:lnTo>
                    <a:pt x="912" y="574"/>
                  </a:lnTo>
                  <a:lnTo>
                    <a:pt x="906" y="576"/>
                  </a:lnTo>
                  <a:lnTo>
                    <a:pt x="908" y="569"/>
                  </a:lnTo>
                  <a:lnTo>
                    <a:pt x="889" y="558"/>
                  </a:lnTo>
                  <a:lnTo>
                    <a:pt x="876" y="576"/>
                  </a:lnTo>
                  <a:lnTo>
                    <a:pt x="854" y="593"/>
                  </a:lnTo>
                  <a:lnTo>
                    <a:pt x="854" y="602"/>
                  </a:lnTo>
                  <a:lnTo>
                    <a:pt x="868" y="633"/>
                  </a:lnTo>
                  <a:lnTo>
                    <a:pt x="832" y="621"/>
                  </a:lnTo>
                  <a:lnTo>
                    <a:pt x="828" y="628"/>
                  </a:lnTo>
                  <a:lnTo>
                    <a:pt x="826" y="622"/>
                  </a:lnTo>
                  <a:lnTo>
                    <a:pt x="830" y="620"/>
                  </a:lnTo>
                  <a:lnTo>
                    <a:pt x="810" y="608"/>
                  </a:lnTo>
                  <a:lnTo>
                    <a:pt x="803" y="617"/>
                  </a:lnTo>
                  <a:lnTo>
                    <a:pt x="805" y="625"/>
                  </a:lnTo>
                  <a:lnTo>
                    <a:pt x="816" y="636"/>
                  </a:lnTo>
                  <a:lnTo>
                    <a:pt x="824" y="634"/>
                  </a:lnTo>
                  <a:lnTo>
                    <a:pt x="829" y="653"/>
                  </a:lnTo>
                  <a:lnTo>
                    <a:pt x="818" y="656"/>
                  </a:lnTo>
                  <a:lnTo>
                    <a:pt x="799" y="648"/>
                  </a:lnTo>
                  <a:lnTo>
                    <a:pt x="790" y="636"/>
                  </a:lnTo>
                  <a:lnTo>
                    <a:pt x="776" y="634"/>
                  </a:lnTo>
                  <a:lnTo>
                    <a:pt x="779" y="628"/>
                  </a:lnTo>
                  <a:lnTo>
                    <a:pt x="778" y="619"/>
                  </a:lnTo>
                  <a:lnTo>
                    <a:pt x="771" y="602"/>
                  </a:lnTo>
                  <a:lnTo>
                    <a:pt x="777" y="598"/>
                  </a:lnTo>
                  <a:lnTo>
                    <a:pt x="778" y="582"/>
                  </a:lnTo>
                  <a:lnTo>
                    <a:pt x="735" y="538"/>
                  </a:lnTo>
                  <a:lnTo>
                    <a:pt x="743" y="536"/>
                  </a:lnTo>
                  <a:lnTo>
                    <a:pt x="758" y="550"/>
                  </a:lnTo>
                  <a:lnTo>
                    <a:pt x="772" y="551"/>
                  </a:lnTo>
                  <a:lnTo>
                    <a:pt x="772" y="558"/>
                  </a:lnTo>
                  <a:lnTo>
                    <a:pt x="838" y="575"/>
                  </a:lnTo>
                  <a:lnTo>
                    <a:pt x="855" y="568"/>
                  </a:lnTo>
                  <a:lnTo>
                    <a:pt x="873" y="549"/>
                  </a:lnTo>
                  <a:lnTo>
                    <a:pt x="876" y="536"/>
                  </a:lnTo>
                  <a:lnTo>
                    <a:pt x="871" y="532"/>
                  </a:lnTo>
                  <a:lnTo>
                    <a:pt x="870" y="517"/>
                  </a:lnTo>
                  <a:lnTo>
                    <a:pt x="854" y="498"/>
                  </a:lnTo>
                  <a:lnTo>
                    <a:pt x="832" y="491"/>
                  </a:lnTo>
                  <a:lnTo>
                    <a:pt x="793" y="454"/>
                  </a:lnTo>
                  <a:lnTo>
                    <a:pt x="757" y="453"/>
                  </a:lnTo>
                  <a:lnTo>
                    <a:pt x="753" y="445"/>
                  </a:lnTo>
                  <a:lnTo>
                    <a:pt x="750" y="448"/>
                  </a:lnTo>
                  <a:lnTo>
                    <a:pt x="750" y="445"/>
                  </a:lnTo>
                  <a:lnTo>
                    <a:pt x="735" y="438"/>
                  </a:lnTo>
                  <a:lnTo>
                    <a:pt x="738" y="431"/>
                  </a:lnTo>
                  <a:lnTo>
                    <a:pt x="750" y="438"/>
                  </a:lnTo>
                  <a:lnTo>
                    <a:pt x="752" y="431"/>
                  </a:lnTo>
                  <a:lnTo>
                    <a:pt x="734" y="422"/>
                  </a:lnTo>
                  <a:lnTo>
                    <a:pt x="734" y="429"/>
                  </a:lnTo>
                  <a:lnTo>
                    <a:pt x="733" y="428"/>
                  </a:lnTo>
                  <a:lnTo>
                    <a:pt x="731" y="434"/>
                  </a:lnTo>
                  <a:lnTo>
                    <a:pt x="719" y="429"/>
                  </a:lnTo>
                  <a:lnTo>
                    <a:pt x="700" y="433"/>
                  </a:lnTo>
                  <a:lnTo>
                    <a:pt x="705" y="423"/>
                  </a:lnTo>
                  <a:lnTo>
                    <a:pt x="686" y="412"/>
                  </a:lnTo>
                  <a:lnTo>
                    <a:pt x="707" y="415"/>
                  </a:lnTo>
                  <a:lnTo>
                    <a:pt x="720" y="400"/>
                  </a:lnTo>
                  <a:lnTo>
                    <a:pt x="706" y="386"/>
                  </a:lnTo>
                  <a:lnTo>
                    <a:pt x="696" y="388"/>
                  </a:lnTo>
                  <a:lnTo>
                    <a:pt x="695" y="380"/>
                  </a:lnTo>
                  <a:lnTo>
                    <a:pt x="685" y="384"/>
                  </a:lnTo>
                  <a:lnTo>
                    <a:pt x="685" y="399"/>
                  </a:lnTo>
                  <a:lnTo>
                    <a:pt x="676" y="399"/>
                  </a:lnTo>
                  <a:lnTo>
                    <a:pt x="681" y="390"/>
                  </a:lnTo>
                  <a:lnTo>
                    <a:pt x="673" y="391"/>
                  </a:lnTo>
                  <a:lnTo>
                    <a:pt x="678" y="388"/>
                  </a:lnTo>
                  <a:lnTo>
                    <a:pt x="674" y="384"/>
                  </a:lnTo>
                  <a:lnTo>
                    <a:pt x="681" y="383"/>
                  </a:lnTo>
                  <a:lnTo>
                    <a:pt x="682" y="375"/>
                  </a:lnTo>
                  <a:lnTo>
                    <a:pt x="670" y="369"/>
                  </a:lnTo>
                  <a:lnTo>
                    <a:pt x="662" y="399"/>
                  </a:lnTo>
                  <a:lnTo>
                    <a:pt x="655" y="401"/>
                  </a:lnTo>
                  <a:lnTo>
                    <a:pt x="655" y="377"/>
                  </a:lnTo>
                  <a:lnTo>
                    <a:pt x="633" y="415"/>
                  </a:lnTo>
                  <a:lnTo>
                    <a:pt x="630" y="413"/>
                  </a:lnTo>
                  <a:lnTo>
                    <a:pt x="635" y="399"/>
                  </a:lnTo>
                  <a:lnTo>
                    <a:pt x="644" y="381"/>
                  </a:lnTo>
                  <a:lnTo>
                    <a:pt x="635" y="383"/>
                  </a:lnTo>
                  <a:lnTo>
                    <a:pt x="631" y="375"/>
                  </a:lnTo>
                  <a:lnTo>
                    <a:pt x="622" y="382"/>
                  </a:lnTo>
                  <a:lnTo>
                    <a:pt x="627" y="389"/>
                  </a:lnTo>
                  <a:lnTo>
                    <a:pt x="607" y="409"/>
                  </a:lnTo>
                  <a:lnTo>
                    <a:pt x="605" y="419"/>
                  </a:lnTo>
                  <a:lnTo>
                    <a:pt x="600" y="414"/>
                  </a:lnTo>
                  <a:lnTo>
                    <a:pt x="602" y="410"/>
                  </a:lnTo>
                  <a:lnTo>
                    <a:pt x="592" y="413"/>
                  </a:lnTo>
                  <a:lnTo>
                    <a:pt x="587" y="406"/>
                  </a:lnTo>
                  <a:lnTo>
                    <a:pt x="584" y="412"/>
                  </a:lnTo>
                  <a:lnTo>
                    <a:pt x="581" y="406"/>
                  </a:lnTo>
                  <a:lnTo>
                    <a:pt x="581" y="413"/>
                  </a:lnTo>
                  <a:lnTo>
                    <a:pt x="587" y="415"/>
                  </a:lnTo>
                  <a:lnTo>
                    <a:pt x="588" y="431"/>
                  </a:lnTo>
                  <a:lnTo>
                    <a:pt x="577" y="418"/>
                  </a:lnTo>
                  <a:lnTo>
                    <a:pt x="577" y="422"/>
                  </a:lnTo>
                  <a:lnTo>
                    <a:pt x="569" y="426"/>
                  </a:lnTo>
                  <a:lnTo>
                    <a:pt x="566" y="429"/>
                  </a:lnTo>
                  <a:lnTo>
                    <a:pt x="568" y="436"/>
                  </a:lnTo>
                  <a:lnTo>
                    <a:pt x="562" y="446"/>
                  </a:lnTo>
                  <a:lnTo>
                    <a:pt x="562" y="438"/>
                  </a:lnTo>
                  <a:lnTo>
                    <a:pt x="562" y="421"/>
                  </a:lnTo>
                  <a:lnTo>
                    <a:pt x="555" y="429"/>
                  </a:lnTo>
                  <a:lnTo>
                    <a:pt x="553" y="442"/>
                  </a:lnTo>
                  <a:lnTo>
                    <a:pt x="552" y="428"/>
                  </a:lnTo>
                  <a:lnTo>
                    <a:pt x="545" y="429"/>
                  </a:lnTo>
                  <a:lnTo>
                    <a:pt x="544" y="440"/>
                  </a:lnTo>
                  <a:lnTo>
                    <a:pt x="550" y="452"/>
                  </a:lnTo>
                  <a:lnTo>
                    <a:pt x="539" y="438"/>
                  </a:lnTo>
                  <a:lnTo>
                    <a:pt x="535" y="438"/>
                  </a:lnTo>
                  <a:lnTo>
                    <a:pt x="542" y="446"/>
                  </a:lnTo>
                  <a:lnTo>
                    <a:pt x="538" y="449"/>
                  </a:lnTo>
                  <a:lnTo>
                    <a:pt x="532" y="446"/>
                  </a:lnTo>
                  <a:lnTo>
                    <a:pt x="531" y="440"/>
                  </a:lnTo>
                  <a:lnTo>
                    <a:pt x="529" y="448"/>
                  </a:lnTo>
                  <a:lnTo>
                    <a:pt x="531" y="453"/>
                  </a:lnTo>
                  <a:lnTo>
                    <a:pt x="522" y="460"/>
                  </a:lnTo>
                  <a:lnTo>
                    <a:pt x="526" y="467"/>
                  </a:lnTo>
                  <a:lnTo>
                    <a:pt x="523" y="466"/>
                  </a:lnTo>
                  <a:lnTo>
                    <a:pt x="524" y="471"/>
                  </a:lnTo>
                  <a:lnTo>
                    <a:pt x="506" y="480"/>
                  </a:lnTo>
                  <a:lnTo>
                    <a:pt x="523" y="483"/>
                  </a:lnTo>
                  <a:lnTo>
                    <a:pt x="517" y="488"/>
                  </a:lnTo>
                  <a:lnTo>
                    <a:pt x="504" y="486"/>
                  </a:lnTo>
                  <a:lnTo>
                    <a:pt x="504" y="501"/>
                  </a:lnTo>
                  <a:lnTo>
                    <a:pt x="500" y="505"/>
                  </a:lnTo>
                  <a:lnTo>
                    <a:pt x="497" y="494"/>
                  </a:lnTo>
                  <a:lnTo>
                    <a:pt x="490" y="505"/>
                  </a:lnTo>
                  <a:lnTo>
                    <a:pt x="492" y="512"/>
                  </a:lnTo>
                  <a:lnTo>
                    <a:pt x="487" y="517"/>
                  </a:lnTo>
                  <a:lnTo>
                    <a:pt x="494" y="517"/>
                  </a:lnTo>
                  <a:lnTo>
                    <a:pt x="478" y="520"/>
                  </a:lnTo>
                  <a:lnTo>
                    <a:pt x="472" y="539"/>
                  </a:lnTo>
                  <a:lnTo>
                    <a:pt x="459" y="550"/>
                  </a:lnTo>
                  <a:lnTo>
                    <a:pt x="458" y="555"/>
                  </a:lnTo>
                  <a:lnTo>
                    <a:pt x="461" y="557"/>
                  </a:lnTo>
                  <a:lnTo>
                    <a:pt x="457" y="558"/>
                  </a:lnTo>
                  <a:lnTo>
                    <a:pt x="460" y="567"/>
                  </a:lnTo>
                  <a:lnTo>
                    <a:pt x="447" y="580"/>
                  </a:lnTo>
                  <a:lnTo>
                    <a:pt x="454" y="575"/>
                  </a:lnTo>
                  <a:lnTo>
                    <a:pt x="457" y="582"/>
                  </a:lnTo>
                  <a:lnTo>
                    <a:pt x="451" y="580"/>
                  </a:lnTo>
                  <a:lnTo>
                    <a:pt x="449" y="588"/>
                  </a:lnTo>
                  <a:lnTo>
                    <a:pt x="446" y="589"/>
                  </a:lnTo>
                  <a:lnTo>
                    <a:pt x="448" y="598"/>
                  </a:lnTo>
                  <a:lnTo>
                    <a:pt x="444" y="593"/>
                  </a:lnTo>
                  <a:lnTo>
                    <a:pt x="440" y="602"/>
                  </a:lnTo>
                  <a:lnTo>
                    <a:pt x="444" y="600"/>
                  </a:lnTo>
                  <a:lnTo>
                    <a:pt x="445" y="607"/>
                  </a:lnTo>
                  <a:lnTo>
                    <a:pt x="429" y="615"/>
                  </a:lnTo>
                  <a:lnTo>
                    <a:pt x="429" y="620"/>
                  </a:lnTo>
                  <a:lnTo>
                    <a:pt x="431" y="621"/>
                  </a:lnTo>
                  <a:lnTo>
                    <a:pt x="429" y="629"/>
                  </a:lnTo>
                  <a:lnTo>
                    <a:pt x="423" y="627"/>
                  </a:lnTo>
                  <a:lnTo>
                    <a:pt x="410" y="642"/>
                  </a:lnTo>
                  <a:lnTo>
                    <a:pt x="410" y="648"/>
                  </a:lnTo>
                  <a:lnTo>
                    <a:pt x="406" y="652"/>
                  </a:lnTo>
                  <a:lnTo>
                    <a:pt x="412" y="662"/>
                  </a:lnTo>
                  <a:lnTo>
                    <a:pt x="429" y="653"/>
                  </a:lnTo>
                  <a:lnTo>
                    <a:pt x="410" y="667"/>
                  </a:lnTo>
                  <a:lnTo>
                    <a:pt x="406" y="659"/>
                  </a:lnTo>
                  <a:lnTo>
                    <a:pt x="399" y="664"/>
                  </a:lnTo>
                  <a:lnTo>
                    <a:pt x="401" y="667"/>
                  </a:lnTo>
                  <a:lnTo>
                    <a:pt x="397" y="669"/>
                  </a:lnTo>
                  <a:lnTo>
                    <a:pt x="396" y="664"/>
                  </a:lnTo>
                  <a:lnTo>
                    <a:pt x="388" y="667"/>
                  </a:lnTo>
                  <a:lnTo>
                    <a:pt x="373" y="680"/>
                  </a:lnTo>
                  <a:lnTo>
                    <a:pt x="364" y="686"/>
                  </a:lnTo>
                  <a:lnTo>
                    <a:pt x="373" y="691"/>
                  </a:lnTo>
                  <a:lnTo>
                    <a:pt x="373" y="694"/>
                  </a:lnTo>
                  <a:lnTo>
                    <a:pt x="356" y="695"/>
                  </a:lnTo>
                  <a:lnTo>
                    <a:pt x="358" y="698"/>
                  </a:lnTo>
                  <a:lnTo>
                    <a:pt x="357" y="700"/>
                  </a:lnTo>
                  <a:lnTo>
                    <a:pt x="358" y="707"/>
                  </a:lnTo>
                  <a:lnTo>
                    <a:pt x="354" y="701"/>
                  </a:lnTo>
                  <a:lnTo>
                    <a:pt x="350" y="708"/>
                  </a:lnTo>
                  <a:lnTo>
                    <a:pt x="351" y="712"/>
                  </a:lnTo>
                  <a:lnTo>
                    <a:pt x="337" y="708"/>
                  </a:lnTo>
                  <a:lnTo>
                    <a:pt x="338" y="716"/>
                  </a:lnTo>
                  <a:lnTo>
                    <a:pt x="356" y="717"/>
                  </a:lnTo>
                  <a:lnTo>
                    <a:pt x="335" y="721"/>
                  </a:lnTo>
                  <a:lnTo>
                    <a:pt x="340" y="725"/>
                  </a:lnTo>
                  <a:lnTo>
                    <a:pt x="335" y="732"/>
                  </a:lnTo>
                  <a:lnTo>
                    <a:pt x="336" y="740"/>
                  </a:lnTo>
                  <a:lnTo>
                    <a:pt x="354" y="739"/>
                  </a:lnTo>
                  <a:lnTo>
                    <a:pt x="357" y="732"/>
                  </a:lnTo>
                  <a:lnTo>
                    <a:pt x="357" y="738"/>
                  </a:lnTo>
                  <a:lnTo>
                    <a:pt x="364" y="738"/>
                  </a:lnTo>
                  <a:lnTo>
                    <a:pt x="373" y="727"/>
                  </a:lnTo>
                  <a:lnTo>
                    <a:pt x="369" y="738"/>
                  </a:lnTo>
                  <a:lnTo>
                    <a:pt x="374" y="736"/>
                  </a:lnTo>
                  <a:lnTo>
                    <a:pt x="366" y="740"/>
                  </a:lnTo>
                  <a:lnTo>
                    <a:pt x="367" y="746"/>
                  </a:lnTo>
                  <a:lnTo>
                    <a:pt x="363" y="748"/>
                  </a:lnTo>
                  <a:lnTo>
                    <a:pt x="361" y="740"/>
                  </a:lnTo>
                  <a:lnTo>
                    <a:pt x="336" y="746"/>
                  </a:lnTo>
                  <a:lnTo>
                    <a:pt x="340" y="749"/>
                  </a:lnTo>
                  <a:lnTo>
                    <a:pt x="340" y="752"/>
                  </a:lnTo>
                  <a:lnTo>
                    <a:pt x="335" y="751"/>
                  </a:lnTo>
                  <a:lnTo>
                    <a:pt x="337" y="756"/>
                  </a:lnTo>
                  <a:lnTo>
                    <a:pt x="345" y="753"/>
                  </a:lnTo>
                  <a:lnTo>
                    <a:pt x="337" y="763"/>
                  </a:lnTo>
                  <a:lnTo>
                    <a:pt x="340" y="769"/>
                  </a:lnTo>
                  <a:lnTo>
                    <a:pt x="343" y="765"/>
                  </a:lnTo>
                  <a:lnTo>
                    <a:pt x="344" y="771"/>
                  </a:lnTo>
                  <a:lnTo>
                    <a:pt x="342" y="774"/>
                  </a:lnTo>
                  <a:lnTo>
                    <a:pt x="342" y="777"/>
                  </a:lnTo>
                  <a:lnTo>
                    <a:pt x="354" y="758"/>
                  </a:lnTo>
                  <a:lnTo>
                    <a:pt x="364" y="758"/>
                  </a:lnTo>
                  <a:lnTo>
                    <a:pt x="358" y="765"/>
                  </a:lnTo>
                  <a:lnTo>
                    <a:pt x="357" y="761"/>
                  </a:lnTo>
                  <a:lnTo>
                    <a:pt x="345" y="778"/>
                  </a:lnTo>
                  <a:lnTo>
                    <a:pt x="354" y="779"/>
                  </a:lnTo>
                  <a:lnTo>
                    <a:pt x="338" y="790"/>
                  </a:lnTo>
                  <a:lnTo>
                    <a:pt x="340" y="794"/>
                  </a:lnTo>
                  <a:lnTo>
                    <a:pt x="354" y="788"/>
                  </a:lnTo>
                  <a:lnTo>
                    <a:pt x="349" y="805"/>
                  </a:lnTo>
                  <a:lnTo>
                    <a:pt x="344" y="803"/>
                  </a:lnTo>
                  <a:lnTo>
                    <a:pt x="342" y="811"/>
                  </a:lnTo>
                  <a:lnTo>
                    <a:pt x="354" y="823"/>
                  </a:lnTo>
                  <a:lnTo>
                    <a:pt x="361" y="822"/>
                  </a:lnTo>
                  <a:lnTo>
                    <a:pt x="358" y="830"/>
                  </a:lnTo>
                  <a:lnTo>
                    <a:pt x="374" y="830"/>
                  </a:lnTo>
                  <a:lnTo>
                    <a:pt x="395" y="814"/>
                  </a:lnTo>
                  <a:lnTo>
                    <a:pt x="402" y="801"/>
                  </a:lnTo>
                  <a:lnTo>
                    <a:pt x="410" y="803"/>
                  </a:lnTo>
                  <a:lnTo>
                    <a:pt x="414" y="795"/>
                  </a:lnTo>
                  <a:lnTo>
                    <a:pt x="412" y="783"/>
                  </a:lnTo>
                  <a:lnTo>
                    <a:pt x="416" y="788"/>
                  </a:lnTo>
                  <a:lnTo>
                    <a:pt x="414" y="778"/>
                  </a:lnTo>
                  <a:lnTo>
                    <a:pt x="418" y="777"/>
                  </a:lnTo>
                  <a:lnTo>
                    <a:pt x="419" y="796"/>
                  </a:lnTo>
                  <a:lnTo>
                    <a:pt x="426" y="801"/>
                  </a:lnTo>
                  <a:lnTo>
                    <a:pt x="425" y="804"/>
                  </a:lnTo>
                  <a:lnTo>
                    <a:pt x="426" y="817"/>
                  </a:lnTo>
                  <a:lnTo>
                    <a:pt x="428" y="823"/>
                  </a:lnTo>
                  <a:lnTo>
                    <a:pt x="432" y="822"/>
                  </a:lnTo>
                  <a:lnTo>
                    <a:pt x="433" y="823"/>
                  </a:lnTo>
                  <a:lnTo>
                    <a:pt x="429" y="828"/>
                  </a:lnTo>
                  <a:lnTo>
                    <a:pt x="433" y="830"/>
                  </a:lnTo>
                  <a:lnTo>
                    <a:pt x="433" y="836"/>
                  </a:lnTo>
                  <a:lnTo>
                    <a:pt x="436" y="836"/>
                  </a:lnTo>
                  <a:lnTo>
                    <a:pt x="435" y="848"/>
                  </a:lnTo>
                  <a:lnTo>
                    <a:pt x="452" y="872"/>
                  </a:lnTo>
                  <a:lnTo>
                    <a:pt x="447" y="875"/>
                  </a:lnTo>
                  <a:lnTo>
                    <a:pt x="448" y="880"/>
                  </a:lnTo>
                  <a:lnTo>
                    <a:pt x="445" y="881"/>
                  </a:lnTo>
                  <a:lnTo>
                    <a:pt x="452" y="897"/>
                  </a:lnTo>
                  <a:lnTo>
                    <a:pt x="449" y="901"/>
                  </a:lnTo>
                  <a:lnTo>
                    <a:pt x="468" y="901"/>
                  </a:lnTo>
                  <a:lnTo>
                    <a:pt x="473" y="884"/>
                  </a:lnTo>
                  <a:lnTo>
                    <a:pt x="496" y="882"/>
                  </a:lnTo>
                  <a:lnTo>
                    <a:pt x="506" y="847"/>
                  </a:lnTo>
                  <a:lnTo>
                    <a:pt x="504" y="834"/>
                  </a:lnTo>
                  <a:lnTo>
                    <a:pt x="507" y="833"/>
                  </a:lnTo>
                  <a:lnTo>
                    <a:pt x="509" y="822"/>
                  </a:lnTo>
                  <a:lnTo>
                    <a:pt x="501" y="818"/>
                  </a:lnTo>
                  <a:lnTo>
                    <a:pt x="509" y="816"/>
                  </a:lnTo>
                  <a:lnTo>
                    <a:pt x="499" y="814"/>
                  </a:lnTo>
                  <a:lnTo>
                    <a:pt x="511" y="811"/>
                  </a:lnTo>
                  <a:lnTo>
                    <a:pt x="519" y="801"/>
                  </a:lnTo>
                  <a:lnTo>
                    <a:pt x="525" y="805"/>
                  </a:lnTo>
                  <a:lnTo>
                    <a:pt x="531" y="798"/>
                  </a:lnTo>
                  <a:lnTo>
                    <a:pt x="531" y="795"/>
                  </a:lnTo>
                  <a:lnTo>
                    <a:pt x="535" y="792"/>
                  </a:lnTo>
                  <a:lnTo>
                    <a:pt x="516" y="795"/>
                  </a:lnTo>
                  <a:lnTo>
                    <a:pt x="501" y="789"/>
                  </a:lnTo>
                  <a:lnTo>
                    <a:pt x="512" y="787"/>
                  </a:lnTo>
                  <a:lnTo>
                    <a:pt x="525" y="792"/>
                  </a:lnTo>
                  <a:lnTo>
                    <a:pt x="535" y="788"/>
                  </a:lnTo>
                  <a:lnTo>
                    <a:pt x="539" y="777"/>
                  </a:lnTo>
                  <a:lnTo>
                    <a:pt x="531" y="765"/>
                  </a:lnTo>
                  <a:lnTo>
                    <a:pt x="533" y="765"/>
                  </a:lnTo>
                  <a:lnTo>
                    <a:pt x="520" y="755"/>
                  </a:lnTo>
                  <a:lnTo>
                    <a:pt x="510" y="768"/>
                  </a:lnTo>
                  <a:lnTo>
                    <a:pt x="500" y="769"/>
                  </a:lnTo>
                  <a:lnTo>
                    <a:pt x="514" y="761"/>
                  </a:lnTo>
                  <a:lnTo>
                    <a:pt x="512" y="727"/>
                  </a:lnTo>
                  <a:lnTo>
                    <a:pt x="514" y="721"/>
                  </a:lnTo>
                  <a:lnTo>
                    <a:pt x="517" y="724"/>
                  </a:lnTo>
                  <a:lnTo>
                    <a:pt x="519" y="705"/>
                  </a:lnTo>
                  <a:lnTo>
                    <a:pt x="517" y="695"/>
                  </a:lnTo>
                  <a:lnTo>
                    <a:pt x="522" y="698"/>
                  </a:lnTo>
                  <a:lnTo>
                    <a:pt x="524" y="693"/>
                  </a:lnTo>
                  <a:lnTo>
                    <a:pt x="524" y="682"/>
                  </a:lnTo>
                  <a:lnTo>
                    <a:pt x="526" y="687"/>
                  </a:lnTo>
                  <a:lnTo>
                    <a:pt x="531" y="680"/>
                  </a:lnTo>
                  <a:lnTo>
                    <a:pt x="538" y="671"/>
                  </a:lnTo>
                  <a:lnTo>
                    <a:pt x="564" y="655"/>
                  </a:lnTo>
                  <a:lnTo>
                    <a:pt x="581" y="634"/>
                  </a:lnTo>
                  <a:lnTo>
                    <a:pt x="575" y="620"/>
                  </a:lnTo>
                  <a:lnTo>
                    <a:pt x="581" y="608"/>
                  </a:lnTo>
                  <a:lnTo>
                    <a:pt x="578" y="601"/>
                  </a:lnTo>
                  <a:lnTo>
                    <a:pt x="588" y="593"/>
                  </a:lnTo>
                  <a:lnTo>
                    <a:pt x="585" y="587"/>
                  </a:lnTo>
                  <a:lnTo>
                    <a:pt x="591" y="591"/>
                  </a:lnTo>
                  <a:lnTo>
                    <a:pt x="594" y="581"/>
                  </a:lnTo>
                  <a:lnTo>
                    <a:pt x="616" y="585"/>
                  </a:lnTo>
                  <a:lnTo>
                    <a:pt x="618" y="580"/>
                  </a:lnTo>
                  <a:lnTo>
                    <a:pt x="636" y="596"/>
                  </a:lnTo>
                  <a:lnTo>
                    <a:pt x="640" y="614"/>
                  </a:lnTo>
                  <a:lnTo>
                    <a:pt x="627" y="620"/>
                  </a:lnTo>
                  <a:lnTo>
                    <a:pt x="624" y="629"/>
                  </a:lnTo>
                  <a:lnTo>
                    <a:pt x="598" y="664"/>
                  </a:lnTo>
                  <a:lnTo>
                    <a:pt x="591" y="672"/>
                  </a:lnTo>
                  <a:lnTo>
                    <a:pt x="583" y="672"/>
                  </a:lnTo>
                  <a:lnTo>
                    <a:pt x="583" y="680"/>
                  </a:lnTo>
                  <a:lnTo>
                    <a:pt x="577" y="680"/>
                  </a:lnTo>
                  <a:lnTo>
                    <a:pt x="572" y="691"/>
                  </a:lnTo>
                  <a:lnTo>
                    <a:pt x="576" y="705"/>
                  </a:lnTo>
                  <a:lnTo>
                    <a:pt x="575" y="711"/>
                  </a:lnTo>
                  <a:lnTo>
                    <a:pt x="582" y="727"/>
                  </a:lnTo>
                  <a:lnTo>
                    <a:pt x="578" y="727"/>
                  </a:lnTo>
                  <a:lnTo>
                    <a:pt x="578" y="738"/>
                  </a:lnTo>
                  <a:lnTo>
                    <a:pt x="576" y="744"/>
                  </a:lnTo>
                  <a:lnTo>
                    <a:pt x="578" y="751"/>
                  </a:lnTo>
                  <a:lnTo>
                    <a:pt x="577" y="755"/>
                  </a:lnTo>
                  <a:lnTo>
                    <a:pt x="595" y="765"/>
                  </a:lnTo>
                  <a:lnTo>
                    <a:pt x="600" y="763"/>
                  </a:lnTo>
                  <a:lnTo>
                    <a:pt x="603" y="774"/>
                  </a:lnTo>
                  <a:lnTo>
                    <a:pt x="607" y="771"/>
                  </a:lnTo>
                  <a:lnTo>
                    <a:pt x="609" y="776"/>
                  </a:lnTo>
                  <a:lnTo>
                    <a:pt x="622" y="772"/>
                  </a:lnTo>
                  <a:lnTo>
                    <a:pt x="644" y="761"/>
                  </a:lnTo>
                  <a:lnTo>
                    <a:pt x="670" y="756"/>
                  </a:lnTo>
                  <a:lnTo>
                    <a:pt x="685" y="752"/>
                  </a:lnTo>
                  <a:lnTo>
                    <a:pt x="685" y="761"/>
                  </a:lnTo>
                  <a:lnTo>
                    <a:pt x="682" y="758"/>
                  </a:lnTo>
                  <a:lnTo>
                    <a:pt x="685" y="765"/>
                  </a:lnTo>
                  <a:lnTo>
                    <a:pt x="704" y="769"/>
                  </a:lnTo>
                  <a:lnTo>
                    <a:pt x="709" y="776"/>
                  </a:lnTo>
                  <a:lnTo>
                    <a:pt x="693" y="776"/>
                  </a:lnTo>
                  <a:lnTo>
                    <a:pt x="681" y="784"/>
                  </a:lnTo>
                  <a:lnTo>
                    <a:pt x="676" y="782"/>
                  </a:lnTo>
                  <a:lnTo>
                    <a:pt x="675" y="790"/>
                  </a:lnTo>
                  <a:lnTo>
                    <a:pt x="673" y="791"/>
                  </a:lnTo>
                  <a:lnTo>
                    <a:pt x="641" y="784"/>
                  </a:lnTo>
                  <a:lnTo>
                    <a:pt x="609" y="798"/>
                  </a:lnTo>
                  <a:lnTo>
                    <a:pt x="608" y="809"/>
                  </a:lnTo>
                  <a:lnTo>
                    <a:pt x="613" y="811"/>
                  </a:lnTo>
                  <a:lnTo>
                    <a:pt x="609" y="814"/>
                  </a:lnTo>
                  <a:lnTo>
                    <a:pt x="613" y="822"/>
                  </a:lnTo>
                  <a:lnTo>
                    <a:pt x="624" y="822"/>
                  </a:lnTo>
                  <a:lnTo>
                    <a:pt x="622" y="836"/>
                  </a:lnTo>
                  <a:lnTo>
                    <a:pt x="621" y="853"/>
                  </a:lnTo>
                  <a:lnTo>
                    <a:pt x="618" y="861"/>
                  </a:lnTo>
                  <a:lnTo>
                    <a:pt x="607" y="856"/>
                  </a:lnTo>
                  <a:lnTo>
                    <a:pt x="595" y="839"/>
                  </a:lnTo>
                  <a:lnTo>
                    <a:pt x="583" y="845"/>
                  </a:lnTo>
                  <a:lnTo>
                    <a:pt x="572" y="867"/>
                  </a:lnTo>
                  <a:lnTo>
                    <a:pt x="571" y="881"/>
                  </a:lnTo>
                  <a:lnTo>
                    <a:pt x="576" y="905"/>
                  </a:lnTo>
                  <a:lnTo>
                    <a:pt x="576" y="906"/>
                  </a:lnTo>
                  <a:lnTo>
                    <a:pt x="575" y="914"/>
                  </a:lnTo>
                  <a:lnTo>
                    <a:pt x="566" y="912"/>
                  </a:lnTo>
                  <a:lnTo>
                    <a:pt x="569" y="908"/>
                  </a:lnTo>
                  <a:lnTo>
                    <a:pt x="558" y="913"/>
                  </a:lnTo>
                  <a:lnTo>
                    <a:pt x="551" y="926"/>
                  </a:lnTo>
                  <a:lnTo>
                    <a:pt x="539" y="931"/>
                  </a:lnTo>
                  <a:lnTo>
                    <a:pt x="535" y="920"/>
                  </a:lnTo>
                  <a:lnTo>
                    <a:pt x="539" y="921"/>
                  </a:lnTo>
                  <a:lnTo>
                    <a:pt x="537" y="918"/>
                  </a:lnTo>
                  <a:lnTo>
                    <a:pt x="517" y="919"/>
                  </a:lnTo>
                  <a:lnTo>
                    <a:pt x="474" y="939"/>
                  </a:lnTo>
                  <a:lnTo>
                    <a:pt x="472" y="941"/>
                  </a:lnTo>
                  <a:lnTo>
                    <a:pt x="477" y="943"/>
                  </a:lnTo>
                  <a:lnTo>
                    <a:pt x="474" y="946"/>
                  </a:lnTo>
                  <a:lnTo>
                    <a:pt x="471" y="944"/>
                  </a:lnTo>
                  <a:lnTo>
                    <a:pt x="452" y="927"/>
                  </a:lnTo>
                  <a:lnTo>
                    <a:pt x="444" y="931"/>
                  </a:lnTo>
                  <a:lnTo>
                    <a:pt x="447" y="926"/>
                  </a:lnTo>
                  <a:lnTo>
                    <a:pt x="429" y="939"/>
                  </a:lnTo>
                  <a:lnTo>
                    <a:pt x="419" y="939"/>
                  </a:lnTo>
                  <a:lnTo>
                    <a:pt x="423" y="930"/>
                  </a:lnTo>
                  <a:lnTo>
                    <a:pt x="409" y="928"/>
                  </a:lnTo>
                  <a:lnTo>
                    <a:pt x="406" y="925"/>
                  </a:lnTo>
                  <a:lnTo>
                    <a:pt x="406" y="918"/>
                  </a:lnTo>
                  <a:lnTo>
                    <a:pt x="402" y="915"/>
                  </a:lnTo>
                  <a:lnTo>
                    <a:pt x="405" y="915"/>
                  </a:lnTo>
                  <a:lnTo>
                    <a:pt x="401" y="910"/>
                  </a:lnTo>
                  <a:lnTo>
                    <a:pt x="405" y="897"/>
                  </a:lnTo>
                  <a:lnTo>
                    <a:pt x="402" y="894"/>
                  </a:lnTo>
                  <a:lnTo>
                    <a:pt x="407" y="894"/>
                  </a:lnTo>
                  <a:lnTo>
                    <a:pt x="406" y="889"/>
                  </a:lnTo>
                  <a:lnTo>
                    <a:pt x="413" y="887"/>
                  </a:lnTo>
                  <a:lnTo>
                    <a:pt x="413" y="881"/>
                  </a:lnTo>
                  <a:lnTo>
                    <a:pt x="416" y="882"/>
                  </a:lnTo>
                  <a:lnTo>
                    <a:pt x="421" y="878"/>
                  </a:lnTo>
                  <a:lnTo>
                    <a:pt x="421" y="874"/>
                  </a:lnTo>
                  <a:lnTo>
                    <a:pt x="410" y="874"/>
                  </a:lnTo>
                  <a:lnTo>
                    <a:pt x="413" y="869"/>
                  </a:lnTo>
                  <a:lnTo>
                    <a:pt x="409" y="869"/>
                  </a:lnTo>
                  <a:lnTo>
                    <a:pt x="416" y="853"/>
                  </a:lnTo>
                  <a:lnTo>
                    <a:pt x="414" y="839"/>
                  </a:lnTo>
                  <a:lnTo>
                    <a:pt x="383" y="861"/>
                  </a:lnTo>
                  <a:lnTo>
                    <a:pt x="380" y="875"/>
                  </a:lnTo>
                  <a:lnTo>
                    <a:pt x="381" y="898"/>
                  </a:lnTo>
                  <a:lnTo>
                    <a:pt x="389" y="904"/>
                  </a:lnTo>
                  <a:lnTo>
                    <a:pt x="389" y="914"/>
                  </a:lnTo>
                  <a:lnTo>
                    <a:pt x="394" y="925"/>
                  </a:lnTo>
                  <a:lnTo>
                    <a:pt x="389" y="930"/>
                  </a:lnTo>
                  <a:lnTo>
                    <a:pt x="396" y="941"/>
                  </a:lnTo>
                  <a:lnTo>
                    <a:pt x="388" y="944"/>
                  </a:lnTo>
                  <a:lnTo>
                    <a:pt x="389" y="955"/>
                  </a:lnTo>
                  <a:lnTo>
                    <a:pt x="387" y="950"/>
                  </a:lnTo>
                  <a:lnTo>
                    <a:pt x="381" y="952"/>
                  </a:lnTo>
                  <a:lnTo>
                    <a:pt x="380" y="946"/>
                  </a:lnTo>
                  <a:lnTo>
                    <a:pt x="375" y="946"/>
                  </a:lnTo>
                  <a:lnTo>
                    <a:pt x="369" y="946"/>
                  </a:lnTo>
                  <a:lnTo>
                    <a:pt x="366" y="952"/>
                  </a:lnTo>
                  <a:lnTo>
                    <a:pt x="373" y="958"/>
                  </a:lnTo>
                  <a:lnTo>
                    <a:pt x="366" y="957"/>
                  </a:lnTo>
                  <a:lnTo>
                    <a:pt x="361" y="952"/>
                  </a:lnTo>
                  <a:lnTo>
                    <a:pt x="342" y="957"/>
                  </a:lnTo>
                  <a:lnTo>
                    <a:pt x="342" y="965"/>
                  </a:lnTo>
                  <a:lnTo>
                    <a:pt x="344" y="966"/>
                  </a:lnTo>
                  <a:lnTo>
                    <a:pt x="341" y="975"/>
                  </a:lnTo>
                  <a:lnTo>
                    <a:pt x="342" y="981"/>
                  </a:lnTo>
                  <a:lnTo>
                    <a:pt x="335" y="978"/>
                  </a:lnTo>
                  <a:lnTo>
                    <a:pt x="335" y="972"/>
                  </a:lnTo>
                  <a:lnTo>
                    <a:pt x="338" y="970"/>
                  </a:lnTo>
                  <a:lnTo>
                    <a:pt x="335" y="965"/>
                  </a:lnTo>
                  <a:lnTo>
                    <a:pt x="323" y="990"/>
                  </a:lnTo>
                  <a:lnTo>
                    <a:pt x="325" y="995"/>
                  </a:lnTo>
                  <a:lnTo>
                    <a:pt x="334" y="995"/>
                  </a:lnTo>
                  <a:lnTo>
                    <a:pt x="319" y="999"/>
                  </a:lnTo>
                  <a:lnTo>
                    <a:pt x="325" y="1003"/>
                  </a:lnTo>
                  <a:lnTo>
                    <a:pt x="312" y="1003"/>
                  </a:lnTo>
                  <a:lnTo>
                    <a:pt x="303" y="1009"/>
                  </a:lnTo>
                  <a:lnTo>
                    <a:pt x="289" y="1014"/>
                  </a:lnTo>
                  <a:lnTo>
                    <a:pt x="286" y="1030"/>
                  </a:lnTo>
                  <a:lnTo>
                    <a:pt x="266" y="1041"/>
                  </a:lnTo>
                  <a:lnTo>
                    <a:pt x="265" y="1047"/>
                  </a:lnTo>
                  <a:lnTo>
                    <a:pt x="270" y="1048"/>
                  </a:lnTo>
                  <a:lnTo>
                    <a:pt x="247" y="1049"/>
                  </a:lnTo>
                  <a:lnTo>
                    <a:pt x="244" y="1042"/>
                  </a:lnTo>
                  <a:lnTo>
                    <a:pt x="236" y="1042"/>
                  </a:lnTo>
                  <a:lnTo>
                    <a:pt x="240" y="1067"/>
                  </a:lnTo>
                  <a:lnTo>
                    <a:pt x="223" y="1067"/>
                  </a:lnTo>
                  <a:lnTo>
                    <a:pt x="211" y="1062"/>
                  </a:lnTo>
                  <a:lnTo>
                    <a:pt x="192" y="1068"/>
                  </a:lnTo>
                  <a:lnTo>
                    <a:pt x="192" y="1073"/>
                  </a:lnTo>
                  <a:lnTo>
                    <a:pt x="198" y="1072"/>
                  </a:lnTo>
                  <a:lnTo>
                    <a:pt x="194" y="1075"/>
                  </a:lnTo>
                  <a:lnTo>
                    <a:pt x="198" y="1078"/>
                  </a:lnTo>
                  <a:lnTo>
                    <a:pt x="193" y="1079"/>
                  </a:lnTo>
                  <a:lnTo>
                    <a:pt x="198" y="1085"/>
                  </a:lnTo>
                  <a:lnTo>
                    <a:pt x="204" y="1083"/>
                  </a:lnTo>
                  <a:lnTo>
                    <a:pt x="225" y="1091"/>
                  </a:lnTo>
                  <a:lnTo>
                    <a:pt x="226" y="1095"/>
                  </a:lnTo>
                  <a:lnTo>
                    <a:pt x="237" y="1096"/>
                  </a:lnTo>
                  <a:lnTo>
                    <a:pt x="231" y="1098"/>
                  </a:lnTo>
                  <a:lnTo>
                    <a:pt x="232" y="1106"/>
                  </a:lnTo>
                  <a:lnTo>
                    <a:pt x="236" y="1113"/>
                  </a:lnTo>
                  <a:lnTo>
                    <a:pt x="246" y="1118"/>
                  </a:lnTo>
                  <a:lnTo>
                    <a:pt x="246" y="1128"/>
                  </a:lnTo>
                  <a:lnTo>
                    <a:pt x="252" y="1139"/>
                  </a:lnTo>
                  <a:lnTo>
                    <a:pt x="249" y="1133"/>
                  </a:lnTo>
                  <a:lnTo>
                    <a:pt x="245" y="1150"/>
                  </a:lnTo>
                  <a:lnTo>
                    <a:pt x="249" y="1151"/>
                  </a:lnTo>
                  <a:lnTo>
                    <a:pt x="243" y="1173"/>
                  </a:lnTo>
                  <a:lnTo>
                    <a:pt x="236" y="1178"/>
                  </a:lnTo>
                  <a:lnTo>
                    <a:pt x="142" y="1172"/>
                  </a:lnTo>
                  <a:lnTo>
                    <a:pt x="137" y="1180"/>
                  </a:lnTo>
                  <a:lnTo>
                    <a:pt x="129" y="1180"/>
                  </a:lnTo>
                  <a:lnTo>
                    <a:pt x="126" y="1186"/>
                  </a:lnTo>
                  <a:lnTo>
                    <a:pt x="132" y="1192"/>
                  </a:lnTo>
                  <a:lnTo>
                    <a:pt x="130" y="1197"/>
                  </a:lnTo>
                  <a:lnTo>
                    <a:pt x="132" y="1201"/>
                  </a:lnTo>
                  <a:lnTo>
                    <a:pt x="134" y="1199"/>
                  </a:lnTo>
                  <a:lnTo>
                    <a:pt x="132" y="1210"/>
                  </a:lnTo>
                  <a:lnTo>
                    <a:pt x="134" y="1227"/>
                  </a:lnTo>
                  <a:lnTo>
                    <a:pt x="123" y="1269"/>
                  </a:lnTo>
                  <a:lnTo>
                    <a:pt x="128" y="1275"/>
                  </a:lnTo>
                  <a:lnTo>
                    <a:pt x="134" y="1274"/>
                  </a:lnTo>
                  <a:lnTo>
                    <a:pt x="132" y="1301"/>
                  </a:lnTo>
                  <a:lnTo>
                    <a:pt x="153" y="1298"/>
                  </a:lnTo>
                  <a:lnTo>
                    <a:pt x="165" y="1301"/>
                  </a:lnTo>
                  <a:lnTo>
                    <a:pt x="173" y="1315"/>
                  </a:lnTo>
                  <a:lnTo>
                    <a:pt x="182" y="1320"/>
                  </a:lnTo>
                  <a:lnTo>
                    <a:pt x="198" y="1307"/>
                  </a:lnTo>
                  <a:lnTo>
                    <a:pt x="233" y="1306"/>
                  </a:lnTo>
                  <a:lnTo>
                    <a:pt x="244" y="1292"/>
                  </a:lnTo>
                  <a:lnTo>
                    <a:pt x="252" y="1290"/>
                  </a:lnTo>
                  <a:lnTo>
                    <a:pt x="257" y="1277"/>
                  </a:lnTo>
                  <a:lnTo>
                    <a:pt x="264" y="1272"/>
                  </a:lnTo>
                  <a:lnTo>
                    <a:pt x="265" y="1268"/>
                  </a:lnTo>
                  <a:lnTo>
                    <a:pt x="259" y="1264"/>
                  </a:lnTo>
                  <a:lnTo>
                    <a:pt x="258" y="1257"/>
                  </a:lnTo>
                  <a:lnTo>
                    <a:pt x="275" y="1230"/>
                  </a:lnTo>
                  <a:lnTo>
                    <a:pt x="308" y="1210"/>
                  </a:lnTo>
                  <a:lnTo>
                    <a:pt x="311" y="1201"/>
                  </a:lnTo>
                  <a:lnTo>
                    <a:pt x="309" y="1198"/>
                  </a:lnTo>
                  <a:lnTo>
                    <a:pt x="308" y="1189"/>
                  </a:lnTo>
                  <a:lnTo>
                    <a:pt x="309" y="1183"/>
                  </a:lnTo>
                  <a:lnTo>
                    <a:pt x="321" y="1176"/>
                  </a:lnTo>
                  <a:lnTo>
                    <a:pt x="336" y="1178"/>
                  </a:lnTo>
                  <a:lnTo>
                    <a:pt x="353" y="1184"/>
                  </a:lnTo>
                  <a:lnTo>
                    <a:pt x="373" y="1169"/>
                  </a:lnTo>
                  <a:lnTo>
                    <a:pt x="381" y="1166"/>
                  </a:lnTo>
                  <a:lnTo>
                    <a:pt x="392" y="1157"/>
                  </a:lnTo>
                  <a:lnTo>
                    <a:pt x="412" y="1165"/>
                  </a:lnTo>
                  <a:lnTo>
                    <a:pt x="418" y="1184"/>
                  </a:lnTo>
                  <a:lnTo>
                    <a:pt x="427" y="1198"/>
                  </a:lnTo>
                  <a:lnTo>
                    <a:pt x="433" y="1198"/>
                  </a:lnTo>
                  <a:lnTo>
                    <a:pt x="454" y="1221"/>
                  </a:lnTo>
                  <a:lnTo>
                    <a:pt x="465" y="1221"/>
                  </a:lnTo>
                  <a:lnTo>
                    <a:pt x="474" y="1232"/>
                  </a:lnTo>
                  <a:lnTo>
                    <a:pt x="481" y="1232"/>
                  </a:lnTo>
                  <a:lnTo>
                    <a:pt x="484" y="1241"/>
                  </a:lnTo>
                  <a:lnTo>
                    <a:pt x="490" y="1245"/>
                  </a:lnTo>
                  <a:lnTo>
                    <a:pt x="493" y="1243"/>
                  </a:lnTo>
                  <a:lnTo>
                    <a:pt x="501" y="1268"/>
                  </a:lnTo>
                  <a:lnTo>
                    <a:pt x="496" y="1270"/>
                  </a:lnTo>
                  <a:lnTo>
                    <a:pt x="493" y="1279"/>
                  </a:lnTo>
                  <a:lnTo>
                    <a:pt x="494" y="1285"/>
                  </a:lnTo>
                  <a:lnTo>
                    <a:pt x="499" y="1285"/>
                  </a:lnTo>
                  <a:lnTo>
                    <a:pt x="506" y="1276"/>
                  </a:lnTo>
                  <a:lnTo>
                    <a:pt x="509" y="1267"/>
                  </a:lnTo>
                  <a:lnTo>
                    <a:pt x="514" y="1263"/>
                  </a:lnTo>
                  <a:lnTo>
                    <a:pt x="514" y="1255"/>
                  </a:lnTo>
                  <a:lnTo>
                    <a:pt x="506" y="1249"/>
                  </a:lnTo>
                  <a:lnTo>
                    <a:pt x="510" y="1238"/>
                  </a:lnTo>
                  <a:lnTo>
                    <a:pt x="517" y="1234"/>
                  </a:lnTo>
                  <a:lnTo>
                    <a:pt x="526" y="1241"/>
                  </a:lnTo>
                  <a:lnTo>
                    <a:pt x="533" y="1248"/>
                  </a:lnTo>
                  <a:lnTo>
                    <a:pt x="535" y="1243"/>
                  </a:lnTo>
                  <a:lnTo>
                    <a:pt x="526" y="1230"/>
                  </a:lnTo>
                  <a:lnTo>
                    <a:pt x="498" y="1216"/>
                  </a:lnTo>
                  <a:lnTo>
                    <a:pt x="500" y="1208"/>
                  </a:lnTo>
                  <a:lnTo>
                    <a:pt x="499" y="1206"/>
                  </a:lnTo>
                  <a:lnTo>
                    <a:pt x="486" y="1209"/>
                  </a:lnTo>
                  <a:lnTo>
                    <a:pt x="479" y="1203"/>
                  </a:lnTo>
                  <a:lnTo>
                    <a:pt x="471" y="1193"/>
                  </a:lnTo>
                  <a:lnTo>
                    <a:pt x="462" y="1173"/>
                  </a:lnTo>
                  <a:lnTo>
                    <a:pt x="446" y="1162"/>
                  </a:lnTo>
                  <a:lnTo>
                    <a:pt x="444" y="1153"/>
                  </a:lnTo>
                  <a:lnTo>
                    <a:pt x="446" y="1145"/>
                  </a:lnTo>
                  <a:lnTo>
                    <a:pt x="444" y="1143"/>
                  </a:lnTo>
                  <a:lnTo>
                    <a:pt x="444" y="1137"/>
                  </a:lnTo>
                  <a:lnTo>
                    <a:pt x="457" y="1128"/>
                  </a:lnTo>
                  <a:lnTo>
                    <a:pt x="462" y="1128"/>
                  </a:lnTo>
                  <a:lnTo>
                    <a:pt x="464" y="1132"/>
                  </a:lnTo>
                  <a:lnTo>
                    <a:pt x="462" y="1140"/>
                  </a:lnTo>
                  <a:lnTo>
                    <a:pt x="466" y="1146"/>
                  </a:lnTo>
                  <a:lnTo>
                    <a:pt x="468" y="1147"/>
                  </a:lnTo>
                  <a:lnTo>
                    <a:pt x="474" y="1138"/>
                  </a:lnTo>
                  <a:lnTo>
                    <a:pt x="477" y="1138"/>
                  </a:lnTo>
                  <a:lnTo>
                    <a:pt x="481" y="1143"/>
                  </a:lnTo>
                  <a:lnTo>
                    <a:pt x="485" y="1154"/>
                  </a:lnTo>
                  <a:lnTo>
                    <a:pt x="490" y="1158"/>
                  </a:lnTo>
                  <a:lnTo>
                    <a:pt x="486" y="1162"/>
                  </a:lnTo>
                  <a:lnTo>
                    <a:pt x="499" y="1176"/>
                  </a:lnTo>
                  <a:lnTo>
                    <a:pt x="512" y="1177"/>
                  </a:lnTo>
                  <a:lnTo>
                    <a:pt x="522" y="1185"/>
                  </a:lnTo>
                  <a:lnTo>
                    <a:pt x="514" y="1185"/>
                  </a:lnTo>
                  <a:lnTo>
                    <a:pt x="526" y="1189"/>
                  </a:lnTo>
                  <a:lnTo>
                    <a:pt x="532" y="1193"/>
                  </a:lnTo>
                  <a:lnTo>
                    <a:pt x="535" y="1191"/>
                  </a:lnTo>
                  <a:lnTo>
                    <a:pt x="532" y="1193"/>
                  </a:lnTo>
                  <a:lnTo>
                    <a:pt x="548" y="1208"/>
                  </a:lnTo>
                  <a:lnTo>
                    <a:pt x="551" y="1210"/>
                  </a:lnTo>
                  <a:lnTo>
                    <a:pt x="549" y="1218"/>
                  </a:lnTo>
                  <a:lnTo>
                    <a:pt x="550" y="1236"/>
                  </a:lnTo>
                  <a:lnTo>
                    <a:pt x="548" y="1236"/>
                  </a:lnTo>
                  <a:lnTo>
                    <a:pt x="561" y="1251"/>
                  </a:lnTo>
                  <a:lnTo>
                    <a:pt x="569" y="1263"/>
                  </a:lnTo>
                  <a:lnTo>
                    <a:pt x="575" y="1264"/>
                  </a:lnTo>
                  <a:lnTo>
                    <a:pt x="575" y="1267"/>
                  </a:lnTo>
                  <a:lnTo>
                    <a:pt x="569" y="1267"/>
                  </a:lnTo>
                  <a:lnTo>
                    <a:pt x="575" y="1276"/>
                  </a:lnTo>
                  <a:lnTo>
                    <a:pt x="597" y="1276"/>
                  </a:lnTo>
                  <a:lnTo>
                    <a:pt x="605" y="1280"/>
                  </a:lnTo>
                  <a:lnTo>
                    <a:pt x="602" y="1282"/>
                  </a:lnTo>
                  <a:lnTo>
                    <a:pt x="613" y="1283"/>
                  </a:lnTo>
                  <a:lnTo>
                    <a:pt x="618" y="1289"/>
                  </a:lnTo>
                  <a:lnTo>
                    <a:pt x="617" y="1280"/>
                  </a:lnTo>
                  <a:lnTo>
                    <a:pt x="595" y="1266"/>
                  </a:lnTo>
                  <a:lnTo>
                    <a:pt x="602" y="1264"/>
                  </a:lnTo>
                  <a:lnTo>
                    <a:pt x="602" y="1258"/>
                  </a:lnTo>
                  <a:lnTo>
                    <a:pt x="605" y="1260"/>
                  </a:lnTo>
                  <a:lnTo>
                    <a:pt x="597" y="1245"/>
                  </a:lnTo>
                  <a:lnTo>
                    <a:pt x="597" y="1234"/>
                  </a:lnTo>
                  <a:lnTo>
                    <a:pt x="602" y="1234"/>
                  </a:lnTo>
                  <a:lnTo>
                    <a:pt x="600" y="1236"/>
                  </a:lnTo>
                  <a:lnTo>
                    <a:pt x="610" y="1247"/>
                  </a:lnTo>
                  <a:lnTo>
                    <a:pt x="610" y="1241"/>
                  </a:lnTo>
                  <a:lnTo>
                    <a:pt x="617" y="1245"/>
                  </a:lnTo>
                  <a:lnTo>
                    <a:pt x="614" y="1238"/>
                  </a:lnTo>
                  <a:lnTo>
                    <a:pt x="622" y="1241"/>
                  </a:lnTo>
                  <a:lnTo>
                    <a:pt x="613" y="1234"/>
                  </a:lnTo>
                  <a:lnTo>
                    <a:pt x="624" y="1227"/>
                  </a:lnTo>
                  <a:lnTo>
                    <a:pt x="633" y="1225"/>
                  </a:lnTo>
                  <a:lnTo>
                    <a:pt x="648" y="1230"/>
                  </a:lnTo>
                  <a:lnTo>
                    <a:pt x="656" y="1232"/>
                  </a:lnTo>
                  <a:lnTo>
                    <a:pt x="652" y="1237"/>
                  </a:lnTo>
                  <a:lnTo>
                    <a:pt x="650" y="1243"/>
                  </a:lnTo>
                  <a:lnTo>
                    <a:pt x="670" y="1225"/>
                  </a:lnTo>
                  <a:lnTo>
                    <a:pt x="689" y="1225"/>
                  </a:lnTo>
                  <a:lnTo>
                    <a:pt x="693" y="1221"/>
                  </a:lnTo>
                  <a:lnTo>
                    <a:pt x="680" y="1215"/>
                  </a:lnTo>
                  <a:lnTo>
                    <a:pt x="678" y="1206"/>
                  </a:lnTo>
                  <a:lnTo>
                    <a:pt x="670" y="1196"/>
                  </a:lnTo>
                  <a:lnTo>
                    <a:pt x="675" y="1190"/>
                  </a:lnTo>
                  <a:lnTo>
                    <a:pt x="676" y="1183"/>
                  </a:lnTo>
                  <a:lnTo>
                    <a:pt x="685" y="1177"/>
                  </a:lnTo>
                  <a:lnTo>
                    <a:pt x="687" y="1170"/>
                  </a:lnTo>
                  <a:lnTo>
                    <a:pt x="691" y="1145"/>
                  </a:lnTo>
                  <a:lnTo>
                    <a:pt x="693" y="1148"/>
                  </a:lnTo>
                  <a:lnTo>
                    <a:pt x="692" y="1154"/>
                  </a:lnTo>
                  <a:lnTo>
                    <a:pt x="699" y="1148"/>
                  </a:lnTo>
                  <a:lnTo>
                    <a:pt x="700" y="1135"/>
                  </a:lnTo>
                  <a:lnTo>
                    <a:pt x="701" y="1127"/>
                  </a:lnTo>
                  <a:lnTo>
                    <a:pt x="704" y="1132"/>
                  </a:lnTo>
                  <a:lnTo>
                    <a:pt x="712" y="1124"/>
                  </a:lnTo>
                  <a:lnTo>
                    <a:pt x="708" y="1115"/>
                  </a:lnTo>
                  <a:lnTo>
                    <a:pt x="714" y="1120"/>
                  </a:lnTo>
                  <a:lnTo>
                    <a:pt x="718" y="1113"/>
                  </a:lnTo>
                  <a:lnTo>
                    <a:pt x="734" y="1107"/>
                  </a:lnTo>
                  <a:lnTo>
                    <a:pt x="740" y="1113"/>
                  </a:lnTo>
                  <a:lnTo>
                    <a:pt x="731" y="1113"/>
                  </a:lnTo>
                  <a:lnTo>
                    <a:pt x="737" y="1115"/>
                  </a:lnTo>
                  <a:lnTo>
                    <a:pt x="734" y="1119"/>
                  </a:lnTo>
                  <a:lnTo>
                    <a:pt x="761" y="1122"/>
                  </a:lnTo>
                  <a:lnTo>
                    <a:pt x="764" y="1125"/>
                  </a:lnTo>
                  <a:lnTo>
                    <a:pt x="745" y="1137"/>
                  </a:lnTo>
                  <a:lnTo>
                    <a:pt x="758" y="1143"/>
                  </a:lnTo>
                  <a:lnTo>
                    <a:pt x="758" y="1154"/>
                  </a:lnTo>
                  <a:lnTo>
                    <a:pt x="766" y="1157"/>
                  </a:lnTo>
                  <a:lnTo>
                    <a:pt x="789" y="1143"/>
                  </a:lnTo>
                  <a:lnTo>
                    <a:pt x="803" y="1144"/>
                  </a:lnTo>
                  <a:lnTo>
                    <a:pt x="805" y="1135"/>
                  </a:lnTo>
                  <a:lnTo>
                    <a:pt x="783" y="1138"/>
                  </a:lnTo>
                  <a:lnTo>
                    <a:pt x="779" y="1131"/>
                  </a:lnTo>
                  <a:lnTo>
                    <a:pt x="773" y="1128"/>
                  </a:lnTo>
                  <a:lnTo>
                    <a:pt x="774" y="1125"/>
                  </a:lnTo>
                  <a:lnTo>
                    <a:pt x="769" y="1126"/>
                  </a:lnTo>
                  <a:lnTo>
                    <a:pt x="763" y="1119"/>
                  </a:lnTo>
                  <a:lnTo>
                    <a:pt x="767" y="1120"/>
                  </a:lnTo>
                  <a:lnTo>
                    <a:pt x="767" y="1117"/>
                  </a:lnTo>
                  <a:lnTo>
                    <a:pt x="773" y="1124"/>
                  </a:lnTo>
                  <a:lnTo>
                    <a:pt x="777" y="1120"/>
                  </a:lnTo>
                  <a:lnTo>
                    <a:pt x="779" y="1125"/>
                  </a:lnTo>
                  <a:lnTo>
                    <a:pt x="779" y="1120"/>
                  </a:lnTo>
                  <a:lnTo>
                    <a:pt x="783" y="1113"/>
                  </a:lnTo>
                  <a:lnTo>
                    <a:pt x="786" y="1118"/>
                  </a:lnTo>
                  <a:lnTo>
                    <a:pt x="793" y="1111"/>
                  </a:lnTo>
                  <a:lnTo>
                    <a:pt x="830" y="1100"/>
                  </a:lnTo>
                  <a:lnTo>
                    <a:pt x="843" y="1096"/>
                  </a:lnTo>
                  <a:lnTo>
                    <a:pt x="845" y="1101"/>
                  </a:lnTo>
                  <a:lnTo>
                    <a:pt x="832" y="1105"/>
                  </a:lnTo>
                  <a:lnTo>
                    <a:pt x="832" y="1108"/>
                  </a:lnTo>
                  <a:lnTo>
                    <a:pt x="823" y="1109"/>
                  </a:lnTo>
                  <a:lnTo>
                    <a:pt x="822" y="1112"/>
                  </a:lnTo>
                  <a:lnTo>
                    <a:pt x="832" y="1121"/>
                  </a:lnTo>
                  <a:lnTo>
                    <a:pt x="824" y="1124"/>
                  </a:lnTo>
                  <a:lnTo>
                    <a:pt x="817" y="1137"/>
                  </a:lnTo>
                  <a:lnTo>
                    <a:pt x="809" y="1137"/>
                  </a:lnTo>
                  <a:lnTo>
                    <a:pt x="805" y="1140"/>
                  </a:lnTo>
                  <a:lnTo>
                    <a:pt x="816" y="1151"/>
                  </a:lnTo>
                  <a:lnTo>
                    <a:pt x="819" y="1151"/>
                  </a:lnTo>
                  <a:lnTo>
                    <a:pt x="837" y="1162"/>
                  </a:lnTo>
                  <a:lnTo>
                    <a:pt x="852" y="1176"/>
                  </a:lnTo>
                  <a:lnTo>
                    <a:pt x="860" y="1182"/>
                  </a:lnTo>
                  <a:lnTo>
                    <a:pt x="874" y="1190"/>
                  </a:lnTo>
                  <a:lnTo>
                    <a:pt x="881" y="1205"/>
                  </a:lnTo>
                  <a:lnTo>
                    <a:pt x="881" y="1211"/>
                  </a:lnTo>
                  <a:lnTo>
                    <a:pt x="877" y="1214"/>
                  </a:lnTo>
                  <a:lnTo>
                    <a:pt x="861" y="1225"/>
                  </a:lnTo>
                  <a:lnTo>
                    <a:pt x="845" y="1224"/>
                  </a:lnTo>
                  <a:lnTo>
                    <a:pt x="826" y="1228"/>
                  </a:lnTo>
                  <a:lnTo>
                    <a:pt x="802" y="1221"/>
                  </a:lnTo>
                  <a:lnTo>
                    <a:pt x="797" y="1211"/>
                  </a:lnTo>
                  <a:lnTo>
                    <a:pt x="791" y="1214"/>
                  </a:lnTo>
                  <a:lnTo>
                    <a:pt x="783" y="1205"/>
                  </a:lnTo>
                  <a:lnTo>
                    <a:pt x="757" y="1206"/>
                  </a:lnTo>
                  <a:lnTo>
                    <a:pt x="741" y="1211"/>
                  </a:lnTo>
                  <a:lnTo>
                    <a:pt x="724" y="1225"/>
                  </a:lnTo>
                  <a:lnTo>
                    <a:pt x="695" y="1222"/>
                  </a:lnTo>
                  <a:lnTo>
                    <a:pt x="693" y="1225"/>
                  </a:lnTo>
                  <a:lnTo>
                    <a:pt x="695" y="1229"/>
                  </a:lnTo>
                  <a:lnTo>
                    <a:pt x="705" y="1231"/>
                  </a:lnTo>
                  <a:lnTo>
                    <a:pt x="693" y="1232"/>
                  </a:lnTo>
                  <a:lnTo>
                    <a:pt x="689" y="1234"/>
                  </a:lnTo>
                  <a:lnTo>
                    <a:pt x="693" y="1237"/>
                  </a:lnTo>
                  <a:lnTo>
                    <a:pt x="689" y="1237"/>
                  </a:lnTo>
                  <a:lnTo>
                    <a:pt x="673" y="1236"/>
                  </a:lnTo>
                  <a:lnTo>
                    <a:pt x="674" y="1238"/>
                  </a:lnTo>
                  <a:lnTo>
                    <a:pt x="659" y="1241"/>
                  </a:lnTo>
                  <a:lnTo>
                    <a:pt x="653" y="1244"/>
                  </a:lnTo>
                  <a:lnTo>
                    <a:pt x="649" y="1255"/>
                  </a:lnTo>
                  <a:lnTo>
                    <a:pt x="660" y="1254"/>
                  </a:lnTo>
                  <a:lnTo>
                    <a:pt x="657" y="1261"/>
                  </a:lnTo>
                  <a:lnTo>
                    <a:pt x="662" y="1268"/>
                  </a:lnTo>
                  <a:lnTo>
                    <a:pt x="659" y="1272"/>
                  </a:lnTo>
                  <a:lnTo>
                    <a:pt x="665" y="1276"/>
                  </a:lnTo>
                  <a:lnTo>
                    <a:pt x="657" y="1276"/>
                  </a:lnTo>
                  <a:lnTo>
                    <a:pt x="654" y="1272"/>
                  </a:lnTo>
                  <a:lnTo>
                    <a:pt x="652" y="1279"/>
                  </a:lnTo>
                  <a:lnTo>
                    <a:pt x="665" y="1283"/>
                  </a:lnTo>
                  <a:lnTo>
                    <a:pt x="663" y="1289"/>
                  </a:lnTo>
                  <a:lnTo>
                    <a:pt x="668" y="1290"/>
                  </a:lnTo>
                  <a:lnTo>
                    <a:pt x="666" y="1295"/>
                  </a:lnTo>
                  <a:lnTo>
                    <a:pt x="670" y="1299"/>
                  </a:lnTo>
                  <a:lnTo>
                    <a:pt x="668" y="1302"/>
                  </a:lnTo>
                  <a:lnTo>
                    <a:pt x="682" y="1301"/>
                  </a:lnTo>
                  <a:lnTo>
                    <a:pt x="669" y="1309"/>
                  </a:lnTo>
                  <a:lnTo>
                    <a:pt x="679" y="1307"/>
                  </a:lnTo>
                  <a:lnTo>
                    <a:pt x="679" y="1309"/>
                  </a:lnTo>
                  <a:lnTo>
                    <a:pt x="686" y="1306"/>
                  </a:lnTo>
                  <a:lnTo>
                    <a:pt x="689" y="1309"/>
                  </a:lnTo>
                  <a:lnTo>
                    <a:pt x="693" y="1308"/>
                  </a:lnTo>
                  <a:lnTo>
                    <a:pt x="696" y="1315"/>
                  </a:lnTo>
                  <a:lnTo>
                    <a:pt x="705" y="1319"/>
                  </a:lnTo>
                  <a:lnTo>
                    <a:pt x="714" y="1315"/>
                  </a:lnTo>
                  <a:lnTo>
                    <a:pt x="715" y="1305"/>
                  </a:lnTo>
                  <a:lnTo>
                    <a:pt x="720" y="1305"/>
                  </a:lnTo>
                  <a:lnTo>
                    <a:pt x="750" y="1320"/>
                  </a:lnTo>
                  <a:lnTo>
                    <a:pt x="767" y="1314"/>
                  </a:lnTo>
                  <a:lnTo>
                    <a:pt x="773" y="1308"/>
                  </a:lnTo>
                  <a:lnTo>
                    <a:pt x="779" y="1307"/>
                  </a:lnTo>
                  <a:lnTo>
                    <a:pt x="789" y="1312"/>
                  </a:lnTo>
                  <a:lnTo>
                    <a:pt x="796" y="1305"/>
                  </a:lnTo>
                  <a:lnTo>
                    <a:pt x="799" y="1308"/>
                  </a:lnTo>
                  <a:lnTo>
                    <a:pt x="795" y="1312"/>
                  </a:lnTo>
                  <a:lnTo>
                    <a:pt x="795" y="1321"/>
                  </a:lnTo>
                  <a:lnTo>
                    <a:pt x="795" y="1325"/>
                  </a:lnTo>
                  <a:lnTo>
                    <a:pt x="795" y="1345"/>
                  </a:lnTo>
                  <a:lnTo>
                    <a:pt x="780" y="1373"/>
                  </a:lnTo>
                  <a:lnTo>
                    <a:pt x="772" y="1399"/>
                  </a:lnTo>
                  <a:lnTo>
                    <a:pt x="767" y="1406"/>
                  </a:lnTo>
                  <a:lnTo>
                    <a:pt x="753" y="1411"/>
                  </a:lnTo>
                  <a:lnTo>
                    <a:pt x="745" y="1411"/>
                  </a:lnTo>
                  <a:lnTo>
                    <a:pt x="739" y="1406"/>
                  </a:lnTo>
                  <a:lnTo>
                    <a:pt x="739" y="1408"/>
                  </a:lnTo>
                  <a:lnTo>
                    <a:pt x="739" y="1410"/>
                  </a:lnTo>
                  <a:lnTo>
                    <a:pt x="737" y="1411"/>
                  </a:lnTo>
                  <a:lnTo>
                    <a:pt x="737" y="1408"/>
                  </a:lnTo>
                  <a:lnTo>
                    <a:pt x="733" y="1405"/>
                  </a:lnTo>
                  <a:lnTo>
                    <a:pt x="734" y="1403"/>
                  </a:lnTo>
                  <a:lnTo>
                    <a:pt x="739" y="1408"/>
                  </a:lnTo>
                  <a:lnTo>
                    <a:pt x="734" y="1402"/>
                  </a:lnTo>
                  <a:lnTo>
                    <a:pt x="722" y="1403"/>
                  </a:lnTo>
                  <a:lnTo>
                    <a:pt x="714" y="1405"/>
                  </a:lnTo>
                  <a:lnTo>
                    <a:pt x="718" y="1403"/>
                  </a:lnTo>
                  <a:lnTo>
                    <a:pt x="691" y="1413"/>
                  </a:lnTo>
                  <a:lnTo>
                    <a:pt x="660" y="1403"/>
                  </a:lnTo>
                  <a:lnTo>
                    <a:pt x="633" y="1400"/>
                  </a:lnTo>
                  <a:lnTo>
                    <a:pt x="629" y="1395"/>
                  </a:lnTo>
                  <a:lnTo>
                    <a:pt x="604" y="1390"/>
                  </a:lnTo>
                  <a:lnTo>
                    <a:pt x="600" y="1382"/>
                  </a:lnTo>
                  <a:lnTo>
                    <a:pt x="587" y="1378"/>
                  </a:lnTo>
                  <a:lnTo>
                    <a:pt x="571" y="1380"/>
                  </a:lnTo>
                  <a:lnTo>
                    <a:pt x="556" y="1392"/>
                  </a:lnTo>
                  <a:lnTo>
                    <a:pt x="555" y="1400"/>
                  </a:lnTo>
                  <a:lnTo>
                    <a:pt x="558" y="1409"/>
                  </a:lnTo>
                  <a:lnTo>
                    <a:pt x="553" y="1417"/>
                  </a:lnTo>
                  <a:lnTo>
                    <a:pt x="539" y="1423"/>
                  </a:lnTo>
                  <a:lnTo>
                    <a:pt x="522" y="1411"/>
                  </a:lnTo>
                  <a:lnTo>
                    <a:pt x="493" y="1405"/>
                  </a:lnTo>
                  <a:lnTo>
                    <a:pt x="485" y="1389"/>
                  </a:lnTo>
                  <a:lnTo>
                    <a:pt x="465" y="1380"/>
                  </a:lnTo>
                  <a:lnTo>
                    <a:pt x="444" y="1380"/>
                  </a:lnTo>
                  <a:lnTo>
                    <a:pt x="429" y="1373"/>
                  </a:lnTo>
                  <a:lnTo>
                    <a:pt x="425" y="1372"/>
                  </a:lnTo>
                  <a:lnTo>
                    <a:pt x="422" y="1365"/>
                  </a:lnTo>
                  <a:lnTo>
                    <a:pt x="419" y="1367"/>
                  </a:lnTo>
                  <a:lnTo>
                    <a:pt x="412" y="1364"/>
                  </a:lnTo>
                  <a:lnTo>
                    <a:pt x="407" y="1359"/>
                  </a:lnTo>
                  <a:lnTo>
                    <a:pt x="407" y="1357"/>
                  </a:lnTo>
                  <a:lnTo>
                    <a:pt x="410" y="1357"/>
                  </a:lnTo>
                  <a:lnTo>
                    <a:pt x="412" y="1352"/>
                  </a:lnTo>
                  <a:lnTo>
                    <a:pt x="422" y="1344"/>
                  </a:lnTo>
                  <a:lnTo>
                    <a:pt x="426" y="1335"/>
                  </a:lnTo>
                  <a:lnTo>
                    <a:pt x="425" y="1328"/>
                  </a:lnTo>
                  <a:lnTo>
                    <a:pt x="419" y="1325"/>
                  </a:lnTo>
                  <a:lnTo>
                    <a:pt x="416" y="1320"/>
                  </a:lnTo>
                  <a:lnTo>
                    <a:pt x="426" y="1306"/>
                  </a:lnTo>
                  <a:lnTo>
                    <a:pt x="425" y="1302"/>
                  </a:lnTo>
                  <a:lnTo>
                    <a:pt x="416" y="1308"/>
                  </a:lnTo>
                  <a:lnTo>
                    <a:pt x="414" y="1307"/>
                  </a:lnTo>
                  <a:lnTo>
                    <a:pt x="413" y="1299"/>
                  </a:lnTo>
                  <a:lnTo>
                    <a:pt x="405" y="1298"/>
                  </a:lnTo>
                  <a:lnTo>
                    <a:pt x="390" y="1305"/>
                  </a:lnTo>
                  <a:lnTo>
                    <a:pt x="379" y="1306"/>
                  </a:lnTo>
                  <a:lnTo>
                    <a:pt x="369" y="1301"/>
                  </a:lnTo>
                  <a:lnTo>
                    <a:pt x="364" y="1305"/>
                  </a:lnTo>
                  <a:lnTo>
                    <a:pt x="356" y="1301"/>
                  </a:lnTo>
                  <a:lnTo>
                    <a:pt x="341" y="1309"/>
                  </a:lnTo>
                  <a:lnTo>
                    <a:pt x="335" y="1306"/>
                  </a:lnTo>
                  <a:lnTo>
                    <a:pt x="321" y="1305"/>
                  </a:lnTo>
                  <a:lnTo>
                    <a:pt x="282" y="1313"/>
                  </a:lnTo>
                  <a:lnTo>
                    <a:pt x="266" y="1320"/>
                  </a:lnTo>
                  <a:lnTo>
                    <a:pt x="263" y="1324"/>
                  </a:lnTo>
                  <a:lnTo>
                    <a:pt x="250" y="1326"/>
                  </a:lnTo>
                  <a:lnTo>
                    <a:pt x="243" y="1334"/>
                  </a:lnTo>
                  <a:lnTo>
                    <a:pt x="232" y="1338"/>
                  </a:lnTo>
                  <a:lnTo>
                    <a:pt x="217" y="1334"/>
                  </a:lnTo>
                  <a:lnTo>
                    <a:pt x="198" y="1337"/>
                  </a:lnTo>
                  <a:lnTo>
                    <a:pt x="188" y="1332"/>
                  </a:lnTo>
                  <a:lnTo>
                    <a:pt x="182" y="1324"/>
                  </a:lnTo>
                  <a:lnTo>
                    <a:pt x="175" y="1327"/>
                  </a:lnTo>
                  <a:lnTo>
                    <a:pt x="162" y="1357"/>
                  </a:lnTo>
                  <a:lnTo>
                    <a:pt x="137" y="1372"/>
                  </a:lnTo>
                  <a:lnTo>
                    <a:pt x="127" y="1384"/>
                  </a:lnTo>
                  <a:lnTo>
                    <a:pt x="124" y="1392"/>
                  </a:lnTo>
                  <a:lnTo>
                    <a:pt x="116" y="1404"/>
                  </a:lnTo>
                  <a:lnTo>
                    <a:pt x="115" y="1417"/>
                  </a:lnTo>
                  <a:lnTo>
                    <a:pt x="117" y="1426"/>
                  </a:lnTo>
                  <a:lnTo>
                    <a:pt x="113" y="1435"/>
                  </a:lnTo>
                  <a:lnTo>
                    <a:pt x="109" y="1442"/>
                  </a:lnTo>
                  <a:lnTo>
                    <a:pt x="89" y="1457"/>
                  </a:lnTo>
                  <a:lnTo>
                    <a:pt x="70" y="1463"/>
                  </a:lnTo>
                  <a:lnTo>
                    <a:pt x="69" y="1467"/>
                  </a:lnTo>
                  <a:lnTo>
                    <a:pt x="62" y="1482"/>
                  </a:lnTo>
                  <a:lnTo>
                    <a:pt x="48" y="1494"/>
                  </a:lnTo>
                  <a:lnTo>
                    <a:pt x="42" y="1510"/>
                  </a:lnTo>
                  <a:lnTo>
                    <a:pt x="29" y="1528"/>
                  </a:lnTo>
                  <a:lnTo>
                    <a:pt x="17" y="1554"/>
                  </a:lnTo>
                  <a:lnTo>
                    <a:pt x="13" y="1555"/>
                  </a:lnTo>
                  <a:lnTo>
                    <a:pt x="10" y="1575"/>
                  </a:lnTo>
                  <a:lnTo>
                    <a:pt x="12" y="1574"/>
                  </a:lnTo>
                  <a:lnTo>
                    <a:pt x="19" y="1586"/>
                  </a:lnTo>
                  <a:lnTo>
                    <a:pt x="22" y="1593"/>
                  </a:lnTo>
                  <a:lnTo>
                    <a:pt x="17" y="1600"/>
                  </a:lnTo>
                  <a:lnTo>
                    <a:pt x="23" y="1615"/>
                  </a:lnTo>
                  <a:lnTo>
                    <a:pt x="23" y="1628"/>
                  </a:lnTo>
                  <a:lnTo>
                    <a:pt x="16" y="1651"/>
                  </a:lnTo>
                  <a:lnTo>
                    <a:pt x="16" y="1658"/>
                  </a:lnTo>
                  <a:lnTo>
                    <a:pt x="11" y="1667"/>
                  </a:lnTo>
                  <a:lnTo>
                    <a:pt x="0" y="1671"/>
                  </a:lnTo>
                  <a:lnTo>
                    <a:pt x="4" y="1674"/>
                  </a:lnTo>
                  <a:lnTo>
                    <a:pt x="16" y="1690"/>
                  </a:lnTo>
                  <a:lnTo>
                    <a:pt x="11" y="1694"/>
                  </a:lnTo>
                  <a:lnTo>
                    <a:pt x="12" y="1698"/>
                  </a:lnTo>
                  <a:lnTo>
                    <a:pt x="12" y="1708"/>
                  </a:lnTo>
                  <a:lnTo>
                    <a:pt x="25" y="1720"/>
                  </a:lnTo>
                  <a:lnTo>
                    <a:pt x="41" y="1715"/>
                  </a:lnTo>
                  <a:lnTo>
                    <a:pt x="32" y="1720"/>
                  </a:lnTo>
                  <a:lnTo>
                    <a:pt x="33" y="1727"/>
                  </a:lnTo>
                  <a:lnTo>
                    <a:pt x="37" y="1730"/>
                  </a:lnTo>
                  <a:lnTo>
                    <a:pt x="39" y="1734"/>
                  </a:lnTo>
                  <a:lnTo>
                    <a:pt x="42" y="1730"/>
                  </a:lnTo>
                  <a:lnTo>
                    <a:pt x="49" y="1742"/>
                  </a:lnTo>
                  <a:lnTo>
                    <a:pt x="55" y="1747"/>
                  </a:lnTo>
                  <a:lnTo>
                    <a:pt x="64" y="1758"/>
                  </a:lnTo>
                  <a:lnTo>
                    <a:pt x="67" y="1768"/>
                  </a:lnTo>
                  <a:lnTo>
                    <a:pt x="65" y="1769"/>
                  </a:lnTo>
                  <a:lnTo>
                    <a:pt x="70" y="1777"/>
                  </a:lnTo>
                  <a:lnTo>
                    <a:pt x="77" y="1785"/>
                  </a:lnTo>
                  <a:lnTo>
                    <a:pt x="90" y="1791"/>
                  </a:lnTo>
                  <a:lnTo>
                    <a:pt x="123" y="1818"/>
                  </a:lnTo>
                  <a:lnTo>
                    <a:pt x="149" y="1829"/>
                  </a:lnTo>
                  <a:lnTo>
                    <a:pt x="154" y="1830"/>
                  </a:lnTo>
                  <a:lnTo>
                    <a:pt x="171" y="1822"/>
                  </a:lnTo>
                  <a:lnTo>
                    <a:pt x="191" y="1818"/>
                  </a:lnTo>
                  <a:lnTo>
                    <a:pt x="214" y="1818"/>
                  </a:lnTo>
                  <a:lnTo>
                    <a:pt x="232" y="1825"/>
                  </a:lnTo>
                  <a:lnTo>
                    <a:pt x="264" y="1810"/>
                  </a:lnTo>
                  <a:lnTo>
                    <a:pt x="276" y="1810"/>
                  </a:lnTo>
                  <a:lnTo>
                    <a:pt x="280" y="1804"/>
                  </a:lnTo>
                  <a:lnTo>
                    <a:pt x="290" y="1801"/>
                  </a:lnTo>
                  <a:lnTo>
                    <a:pt x="303" y="1800"/>
                  </a:lnTo>
                  <a:lnTo>
                    <a:pt x="324" y="1799"/>
                  </a:lnTo>
                  <a:lnTo>
                    <a:pt x="334" y="1803"/>
                  </a:lnTo>
                  <a:lnTo>
                    <a:pt x="335" y="1807"/>
                  </a:lnTo>
                  <a:lnTo>
                    <a:pt x="342" y="1813"/>
                  </a:lnTo>
                  <a:lnTo>
                    <a:pt x="342" y="1823"/>
                  </a:lnTo>
                  <a:lnTo>
                    <a:pt x="354" y="1832"/>
                  </a:lnTo>
                  <a:lnTo>
                    <a:pt x="363" y="1829"/>
                  </a:lnTo>
                  <a:lnTo>
                    <a:pt x="367" y="1825"/>
                  </a:lnTo>
                  <a:lnTo>
                    <a:pt x="381" y="1829"/>
                  </a:lnTo>
                  <a:lnTo>
                    <a:pt x="383" y="1822"/>
                  </a:lnTo>
                  <a:lnTo>
                    <a:pt x="386" y="1824"/>
                  </a:lnTo>
                  <a:lnTo>
                    <a:pt x="387" y="1826"/>
                  </a:lnTo>
                  <a:lnTo>
                    <a:pt x="392" y="1826"/>
                  </a:lnTo>
                  <a:lnTo>
                    <a:pt x="394" y="1833"/>
                  </a:lnTo>
                  <a:lnTo>
                    <a:pt x="405" y="1835"/>
                  </a:lnTo>
                  <a:lnTo>
                    <a:pt x="402" y="1839"/>
                  </a:lnTo>
                  <a:lnTo>
                    <a:pt x="408" y="1845"/>
                  </a:lnTo>
                  <a:lnTo>
                    <a:pt x="405" y="1862"/>
                  </a:lnTo>
                  <a:lnTo>
                    <a:pt x="400" y="1876"/>
                  </a:lnTo>
                  <a:lnTo>
                    <a:pt x="402" y="1879"/>
                  </a:lnTo>
                  <a:lnTo>
                    <a:pt x="402" y="1883"/>
                  </a:lnTo>
                  <a:lnTo>
                    <a:pt x="400" y="1887"/>
                  </a:lnTo>
                  <a:lnTo>
                    <a:pt x="407" y="1892"/>
                  </a:lnTo>
                  <a:lnTo>
                    <a:pt x="399" y="1890"/>
                  </a:lnTo>
                  <a:lnTo>
                    <a:pt x="397" y="1901"/>
                  </a:lnTo>
                  <a:lnTo>
                    <a:pt x="392" y="1905"/>
                  </a:lnTo>
                  <a:lnTo>
                    <a:pt x="399" y="1922"/>
                  </a:lnTo>
                  <a:lnTo>
                    <a:pt x="426" y="1953"/>
                  </a:lnTo>
                  <a:lnTo>
                    <a:pt x="434" y="1961"/>
                  </a:lnTo>
                  <a:lnTo>
                    <a:pt x="439" y="1968"/>
                  </a:lnTo>
                  <a:lnTo>
                    <a:pt x="444" y="1980"/>
                  </a:lnTo>
                  <a:lnTo>
                    <a:pt x="444" y="1987"/>
                  </a:lnTo>
                  <a:lnTo>
                    <a:pt x="457" y="2017"/>
                  </a:lnTo>
                  <a:lnTo>
                    <a:pt x="458" y="2025"/>
                  </a:lnTo>
                  <a:lnTo>
                    <a:pt x="455" y="2031"/>
                  </a:lnTo>
                  <a:lnTo>
                    <a:pt x="458" y="2043"/>
                  </a:lnTo>
                  <a:lnTo>
                    <a:pt x="465" y="2051"/>
                  </a:lnTo>
                  <a:lnTo>
                    <a:pt x="465" y="2058"/>
                  </a:lnTo>
                  <a:lnTo>
                    <a:pt x="462" y="2076"/>
                  </a:lnTo>
                  <a:lnTo>
                    <a:pt x="452" y="2085"/>
                  </a:lnTo>
                  <a:lnTo>
                    <a:pt x="445" y="2099"/>
                  </a:lnTo>
                  <a:lnTo>
                    <a:pt x="434" y="2133"/>
                  </a:lnTo>
                  <a:lnTo>
                    <a:pt x="433" y="2154"/>
                  </a:lnTo>
                  <a:lnTo>
                    <a:pt x="434" y="2166"/>
                  </a:lnTo>
                  <a:lnTo>
                    <a:pt x="448" y="2187"/>
                  </a:lnTo>
                  <a:lnTo>
                    <a:pt x="474" y="2237"/>
                  </a:lnTo>
                  <a:lnTo>
                    <a:pt x="474" y="2262"/>
                  </a:lnTo>
                  <a:lnTo>
                    <a:pt x="479" y="2276"/>
                  </a:lnTo>
                  <a:lnTo>
                    <a:pt x="481" y="2288"/>
                  </a:lnTo>
                  <a:lnTo>
                    <a:pt x="486" y="2316"/>
                  </a:lnTo>
                  <a:lnTo>
                    <a:pt x="493" y="2327"/>
                  </a:lnTo>
                  <a:lnTo>
                    <a:pt x="505" y="2336"/>
                  </a:lnTo>
                  <a:lnTo>
                    <a:pt x="519" y="2370"/>
                  </a:lnTo>
                  <a:lnTo>
                    <a:pt x="531" y="2393"/>
                  </a:lnTo>
                  <a:lnTo>
                    <a:pt x="532" y="2403"/>
                  </a:lnTo>
                  <a:lnTo>
                    <a:pt x="530" y="2407"/>
                  </a:lnTo>
                  <a:lnTo>
                    <a:pt x="526" y="2407"/>
                  </a:lnTo>
                  <a:lnTo>
                    <a:pt x="526" y="2412"/>
                  </a:lnTo>
                  <a:lnTo>
                    <a:pt x="535" y="2425"/>
                  </a:lnTo>
                  <a:lnTo>
                    <a:pt x="535" y="2431"/>
                  </a:lnTo>
                  <a:lnTo>
                    <a:pt x="539" y="2431"/>
                  </a:lnTo>
                  <a:lnTo>
                    <a:pt x="539" y="2437"/>
                  </a:lnTo>
                  <a:lnTo>
                    <a:pt x="558" y="2442"/>
                  </a:lnTo>
                  <a:lnTo>
                    <a:pt x="564" y="2438"/>
                  </a:lnTo>
                  <a:lnTo>
                    <a:pt x="585" y="2437"/>
                  </a:lnTo>
                  <a:lnTo>
                    <a:pt x="595" y="2431"/>
                  </a:lnTo>
                  <a:lnTo>
                    <a:pt x="629" y="2433"/>
                  </a:lnTo>
                  <a:lnTo>
                    <a:pt x="631" y="2429"/>
                  </a:lnTo>
                  <a:lnTo>
                    <a:pt x="643" y="2431"/>
                  </a:lnTo>
                  <a:lnTo>
                    <a:pt x="643" y="2426"/>
                  </a:lnTo>
                  <a:lnTo>
                    <a:pt x="665" y="2422"/>
                  </a:lnTo>
                  <a:lnTo>
                    <a:pt x="685" y="2406"/>
                  </a:lnTo>
                  <a:lnTo>
                    <a:pt x="707" y="2380"/>
                  </a:lnTo>
                  <a:lnTo>
                    <a:pt x="727" y="2347"/>
                  </a:lnTo>
                  <a:lnTo>
                    <a:pt x="743" y="2332"/>
                  </a:lnTo>
                  <a:lnTo>
                    <a:pt x="750" y="2304"/>
                  </a:lnTo>
                  <a:lnTo>
                    <a:pt x="750" y="2293"/>
                  </a:lnTo>
                  <a:lnTo>
                    <a:pt x="747" y="2297"/>
                  </a:lnTo>
                  <a:lnTo>
                    <a:pt x="743" y="2293"/>
                  </a:lnTo>
                  <a:lnTo>
                    <a:pt x="748" y="2285"/>
                  </a:lnTo>
                  <a:lnTo>
                    <a:pt x="777" y="2272"/>
                  </a:lnTo>
                  <a:lnTo>
                    <a:pt x="786" y="2263"/>
                  </a:lnTo>
                  <a:lnTo>
                    <a:pt x="786" y="2258"/>
                  </a:lnTo>
                  <a:lnTo>
                    <a:pt x="784" y="2263"/>
                  </a:lnTo>
                  <a:lnTo>
                    <a:pt x="784" y="2259"/>
                  </a:lnTo>
                  <a:lnTo>
                    <a:pt x="787" y="2231"/>
                  </a:lnTo>
                  <a:lnTo>
                    <a:pt x="786" y="2232"/>
                  </a:lnTo>
                  <a:lnTo>
                    <a:pt x="780" y="2209"/>
                  </a:lnTo>
                  <a:lnTo>
                    <a:pt x="776" y="2206"/>
                  </a:lnTo>
                  <a:lnTo>
                    <a:pt x="776" y="2195"/>
                  </a:lnTo>
                  <a:lnTo>
                    <a:pt x="795" y="2180"/>
                  </a:lnTo>
                  <a:lnTo>
                    <a:pt x="796" y="2175"/>
                  </a:lnTo>
                  <a:lnTo>
                    <a:pt x="799" y="2179"/>
                  </a:lnTo>
                  <a:lnTo>
                    <a:pt x="805" y="2170"/>
                  </a:lnTo>
                  <a:lnTo>
                    <a:pt x="803" y="2168"/>
                  </a:lnTo>
                  <a:lnTo>
                    <a:pt x="816" y="2157"/>
                  </a:lnTo>
                  <a:lnTo>
                    <a:pt x="839" y="2149"/>
                  </a:lnTo>
                  <a:lnTo>
                    <a:pt x="850" y="2141"/>
                  </a:lnTo>
                  <a:lnTo>
                    <a:pt x="850" y="2139"/>
                  </a:lnTo>
                  <a:lnTo>
                    <a:pt x="862" y="2127"/>
                  </a:lnTo>
                  <a:lnTo>
                    <a:pt x="863" y="2122"/>
                  </a:lnTo>
                  <a:lnTo>
                    <a:pt x="861" y="2121"/>
                  </a:lnTo>
                  <a:lnTo>
                    <a:pt x="865" y="2114"/>
                  </a:lnTo>
                  <a:lnTo>
                    <a:pt x="863" y="2105"/>
                  </a:lnTo>
                  <a:lnTo>
                    <a:pt x="862" y="2105"/>
                  </a:lnTo>
                  <a:lnTo>
                    <a:pt x="861" y="2086"/>
                  </a:lnTo>
                  <a:lnTo>
                    <a:pt x="861" y="2070"/>
                  </a:lnTo>
                  <a:lnTo>
                    <a:pt x="865" y="2057"/>
                  </a:lnTo>
                  <a:lnTo>
                    <a:pt x="863" y="2049"/>
                  </a:lnTo>
                  <a:lnTo>
                    <a:pt x="855" y="2043"/>
                  </a:lnTo>
                  <a:lnTo>
                    <a:pt x="848" y="2026"/>
                  </a:lnTo>
                  <a:lnTo>
                    <a:pt x="845" y="2018"/>
                  </a:lnTo>
                  <a:lnTo>
                    <a:pt x="850" y="1999"/>
                  </a:lnTo>
                  <a:lnTo>
                    <a:pt x="839" y="1987"/>
                  </a:lnTo>
                  <a:lnTo>
                    <a:pt x="847" y="1962"/>
                  </a:lnTo>
                  <a:lnTo>
                    <a:pt x="851" y="1958"/>
                  </a:lnTo>
                  <a:lnTo>
                    <a:pt x="862" y="1934"/>
                  </a:lnTo>
                  <a:lnTo>
                    <a:pt x="878" y="1918"/>
                  </a:lnTo>
                  <a:lnTo>
                    <a:pt x="893" y="1902"/>
                  </a:lnTo>
                  <a:lnTo>
                    <a:pt x="894" y="1897"/>
                  </a:lnTo>
                  <a:lnTo>
                    <a:pt x="899" y="1896"/>
                  </a:lnTo>
                  <a:lnTo>
                    <a:pt x="929" y="1868"/>
                  </a:lnTo>
                  <a:lnTo>
                    <a:pt x="942" y="1861"/>
                  </a:lnTo>
                  <a:lnTo>
                    <a:pt x="969" y="1835"/>
                  </a:lnTo>
                  <a:lnTo>
                    <a:pt x="978" y="1819"/>
                  </a:lnTo>
                  <a:lnTo>
                    <a:pt x="987" y="1810"/>
                  </a:lnTo>
                  <a:lnTo>
                    <a:pt x="1001" y="1777"/>
                  </a:lnTo>
                  <a:lnTo>
                    <a:pt x="1005" y="1772"/>
                  </a:lnTo>
                  <a:lnTo>
                    <a:pt x="1013" y="1759"/>
                  </a:lnTo>
                  <a:lnTo>
                    <a:pt x="1017" y="1742"/>
                  </a:lnTo>
                  <a:lnTo>
                    <a:pt x="1024" y="1741"/>
                  </a:lnTo>
                  <a:lnTo>
                    <a:pt x="1019" y="1740"/>
                  </a:lnTo>
                  <a:lnTo>
                    <a:pt x="1020" y="1738"/>
                  </a:lnTo>
                  <a:lnTo>
                    <a:pt x="1019" y="1726"/>
                  </a:lnTo>
                  <a:lnTo>
                    <a:pt x="1021" y="1720"/>
                  </a:lnTo>
                  <a:lnTo>
                    <a:pt x="1013" y="1716"/>
                  </a:lnTo>
                  <a:lnTo>
                    <a:pt x="1005" y="1722"/>
                  </a:lnTo>
                  <a:lnTo>
                    <a:pt x="992" y="1725"/>
                  </a:lnTo>
                  <a:lnTo>
                    <a:pt x="964" y="1728"/>
                  </a:lnTo>
                  <a:lnTo>
                    <a:pt x="953" y="1735"/>
                  </a:lnTo>
                  <a:lnTo>
                    <a:pt x="941" y="1733"/>
                  </a:lnTo>
                  <a:lnTo>
                    <a:pt x="929" y="1739"/>
                  </a:lnTo>
                  <a:lnTo>
                    <a:pt x="922" y="1740"/>
                  </a:lnTo>
                  <a:lnTo>
                    <a:pt x="903" y="1723"/>
                  </a:lnTo>
                  <a:lnTo>
                    <a:pt x="893" y="1722"/>
                  </a:lnTo>
                  <a:lnTo>
                    <a:pt x="906" y="1715"/>
                  </a:lnTo>
                  <a:lnTo>
                    <a:pt x="904" y="1709"/>
                  </a:lnTo>
                  <a:lnTo>
                    <a:pt x="901" y="1703"/>
                  </a:lnTo>
                  <a:lnTo>
                    <a:pt x="891" y="1697"/>
                  </a:lnTo>
                  <a:lnTo>
                    <a:pt x="874" y="1676"/>
                  </a:lnTo>
                  <a:lnTo>
                    <a:pt x="863" y="1670"/>
                  </a:lnTo>
                  <a:lnTo>
                    <a:pt x="858" y="1670"/>
                  </a:lnTo>
                  <a:lnTo>
                    <a:pt x="854" y="1663"/>
                  </a:lnTo>
                  <a:lnTo>
                    <a:pt x="854" y="1668"/>
                  </a:lnTo>
                  <a:lnTo>
                    <a:pt x="851" y="1667"/>
                  </a:lnTo>
                  <a:lnTo>
                    <a:pt x="843" y="1654"/>
                  </a:lnTo>
                  <a:lnTo>
                    <a:pt x="838" y="1630"/>
                  </a:lnTo>
                  <a:lnTo>
                    <a:pt x="832" y="1622"/>
                  </a:lnTo>
                  <a:lnTo>
                    <a:pt x="816" y="1609"/>
                  </a:lnTo>
                  <a:lnTo>
                    <a:pt x="813" y="1574"/>
                  </a:lnTo>
                  <a:lnTo>
                    <a:pt x="810" y="1568"/>
                  </a:lnTo>
                  <a:lnTo>
                    <a:pt x="809" y="1560"/>
                  </a:lnTo>
                  <a:lnTo>
                    <a:pt x="790" y="1542"/>
                  </a:lnTo>
                  <a:lnTo>
                    <a:pt x="787" y="1531"/>
                  </a:lnTo>
                  <a:lnTo>
                    <a:pt x="793" y="1528"/>
                  </a:lnTo>
                  <a:lnTo>
                    <a:pt x="783" y="1520"/>
                  </a:lnTo>
                  <a:lnTo>
                    <a:pt x="766" y="1487"/>
                  </a:lnTo>
                  <a:lnTo>
                    <a:pt x="758" y="1463"/>
                  </a:lnTo>
                  <a:lnTo>
                    <a:pt x="746" y="1448"/>
                  </a:lnTo>
                  <a:lnTo>
                    <a:pt x="741" y="1435"/>
                  </a:lnTo>
                  <a:lnTo>
                    <a:pt x="745" y="1428"/>
                  </a:lnTo>
                  <a:lnTo>
                    <a:pt x="756" y="1452"/>
                  </a:lnTo>
                  <a:lnTo>
                    <a:pt x="767" y="1465"/>
                  </a:lnTo>
                  <a:lnTo>
                    <a:pt x="772" y="1463"/>
                  </a:lnTo>
                  <a:lnTo>
                    <a:pt x="778" y="1439"/>
                  </a:lnTo>
                  <a:lnTo>
                    <a:pt x="779" y="1437"/>
                  </a:lnTo>
                  <a:lnTo>
                    <a:pt x="776" y="1460"/>
                  </a:lnTo>
                  <a:lnTo>
                    <a:pt x="783" y="1461"/>
                  </a:lnTo>
                  <a:lnTo>
                    <a:pt x="810" y="1505"/>
                  </a:lnTo>
                  <a:lnTo>
                    <a:pt x="816" y="1522"/>
                  </a:lnTo>
                  <a:lnTo>
                    <a:pt x="822" y="1523"/>
                  </a:lnTo>
                  <a:lnTo>
                    <a:pt x="830" y="1531"/>
                  </a:lnTo>
                  <a:lnTo>
                    <a:pt x="841" y="1553"/>
                  </a:lnTo>
                  <a:lnTo>
                    <a:pt x="839" y="1561"/>
                  </a:lnTo>
                  <a:lnTo>
                    <a:pt x="844" y="1580"/>
                  </a:lnTo>
                  <a:lnTo>
                    <a:pt x="860" y="1591"/>
                  </a:lnTo>
                  <a:lnTo>
                    <a:pt x="868" y="1599"/>
                  </a:lnTo>
                  <a:lnTo>
                    <a:pt x="871" y="1611"/>
                  </a:lnTo>
                  <a:lnTo>
                    <a:pt x="878" y="1623"/>
                  </a:lnTo>
                  <a:lnTo>
                    <a:pt x="888" y="1630"/>
                  </a:lnTo>
                  <a:lnTo>
                    <a:pt x="894" y="1648"/>
                  </a:lnTo>
                  <a:lnTo>
                    <a:pt x="896" y="1655"/>
                  </a:lnTo>
                  <a:lnTo>
                    <a:pt x="893" y="1664"/>
                  </a:lnTo>
                  <a:lnTo>
                    <a:pt x="897" y="1668"/>
                  </a:lnTo>
                  <a:lnTo>
                    <a:pt x="903" y="1697"/>
                  </a:lnTo>
                  <a:lnTo>
                    <a:pt x="907" y="1704"/>
                  </a:lnTo>
                  <a:lnTo>
                    <a:pt x="927" y="1703"/>
                  </a:lnTo>
                  <a:lnTo>
                    <a:pt x="941" y="1694"/>
                  </a:lnTo>
                  <a:lnTo>
                    <a:pt x="955" y="1694"/>
                  </a:lnTo>
                  <a:lnTo>
                    <a:pt x="971" y="1685"/>
                  </a:lnTo>
                  <a:lnTo>
                    <a:pt x="984" y="1683"/>
                  </a:lnTo>
                  <a:lnTo>
                    <a:pt x="990" y="1677"/>
                  </a:lnTo>
                  <a:lnTo>
                    <a:pt x="997" y="1674"/>
                  </a:lnTo>
                  <a:lnTo>
                    <a:pt x="1036" y="1659"/>
                  </a:lnTo>
                  <a:lnTo>
                    <a:pt x="1038" y="1651"/>
                  </a:lnTo>
                  <a:lnTo>
                    <a:pt x="1047" y="1644"/>
                  </a:lnTo>
                  <a:lnTo>
                    <a:pt x="1065" y="1638"/>
                  </a:lnTo>
                  <a:lnTo>
                    <a:pt x="1076" y="1638"/>
                  </a:lnTo>
                  <a:lnTo>
                    <a:pt x="1085" y="1626"/>
                  </a:lnTo>
                  <a:lnTo>
                    <a:pt x="1097" y="1623"/>
                  </a:lnTo>
                  <a:lnTo>
                    <a:pt x="1103" y="1611"/>
                  </a:lnTo>
                  <a:lnTo>
                    <a:pt x="1118" y="1606"/>
                  </a:lnTo>
                  <a:lnTo>
                    <a:pt x="1117" y="1591"/>
                  </a:lnTo>
                  <a:lnTo>
                    <a:pt x="1122" y="1585"/>
                  </a:lnTo>
                  <a:lnTo>
                    <a:pt x="1125" y="1581"/>
                  </a:lnTo>
                  <a:lnTo>
                    <a:pt x="1129" y="1584"/>
                  </a:lnTo>
                  <a:lnTo>
                    <a:pt x="1146" y="1561"/>
                  </a:lnTo>
                  <a:lnTo>
                    <a:pt x="1148" y="1553"/>
                  </a:lnTo>
                  <a:lnTo>
                    <a:pt x="1140" y="1547"/>
                  </a:lnTo>
                  <a:lnTo>
                    <a:pt x="1131" y="1534"/>
                  </a:lnTo>
                  <a:lnTo>
                    <a:pt x="1105" y="1523"/>
                  </a:lnTo>
                  <a:lnTo>
                    <a:pt x="1096" y="1513"/>
                  </a:lnTo>
                  <a:lnTo>
                    <a:pt x="1096" y="1501"/>
                  </a:lnTo>
                  <a:lnTo>
                    <a:pt x="1097" y="1490"/>
                  </a:lnTo>
                  <a:lnTo>
                    <a:pt x="1092" y="1494"/>
                  </a:lnTo>
                  <a:lnTo>
                    <a:pt x="1069" y="1520"/>
                  </a:lnTo>
                  <a:lnTo>
                    <a:pt x="1069" y="1522"/>
                  </a:lnTo>
                  <a:lnTo>
                    <a:pt x="1062" y="1526"/>
                  </a:lnTo>
                  <a:lnTo>
                    <a:pt x="1043" y="1523"/>
                  </a:lnTo>
                  <a:lnTo>
                    <a:pt x="1037" y="1527"/>
                  </a:lnTo>
                  <a:lnTo>
                    <a:pt x="1030" y="1527"/>
                  </a:lnTo>
                  <a:lnTo>
                    <a:pt x="1027" y="1523"/>
                  </a:lnTo>
                  <a:lnTo>
                    <a:pt x="1024" y="1522"/>
                  </a:lnTo>
                  <a:lnTo>
                    <a:pt x="1024" y="1516"/>
                  </a:lnTo>
                  <a:lnTo>
                    <a:pt x="1026" y="1496"/>
                  </a:lnTo>
                  <a:lnTo>
                    <a:pt x="1020" y="1493"/>
                  </a:lnTo>
                  <a:lnTo>
                    <a:pt x="1014" y="1503"/>
                  </a:lnTo>
                  <a:lnTo>
                    <a:pt x="1014" y="1515"/>
                  </a:lnTo>
                  <a:lnTo>
                    <a:pt x="1005" y="1497"/>
                  </a:lnTo>
                  <a:lnTo>
                    <a:pt x="1006" y="1490"/>
                  </a:lnTo>
                  <a:lnTo>
                    <a:pt x="1004" y="1482"/>
                  </a:lnTo>
                  <a:lnTo>
                    <a:pt x="993" y="1476"/>
                  </a:lnTo>
                  <a:lnTo>
                    <a:pt x="992" y="1470"/>
                  </a:lnTo>
                  <a:lnTo>
                    <a:pt x="984" y="1463"/>
                  </a:lnTo>
                  <a:lnTo>
                    <a:pt x="978" y="1452"/>
                  </a:lnTo>
                  <a:lnTo>
                    <a:pt x="974" y="1441"/>
                  </a:lnTo>
                  <a:lnTo>
                    <a:pt x="969" y="1439"/>
                  </a:lnTo>
                  <a:lnTo>
                    <a:pt x="977" y="1434"/>
                  </a:lnTo>
                  <a:lnTo>
                    <a:pt x="974" y="1428"/>
                  </a:lnTo>
                  <a:lnTo>
                    <a:pt x="980" y="1429"/>
                  </a:lnTo>
                  <a:lnTo>
                    <a:pt x="982" y="1426"/>
                  </a:lnTo>
                  <a:lnTo>
                    <a:pt x="986" y="1418"/>
                  </a:lnTo>
                  <a:lnTo>
                    <a:pt x="997" y="1429"/>
                  </a:lnTo>
                  <a:lnTo>
                    <a:pt x="1004" y="1426"/>
                  </a:lnTo>
                  <a:lnTo>
                    <a:pt x="1012" y="1442"/>
                  </a:lnTo>
                  <a:lnTo>
                    <a:pt x="1018" y="1447"/>
                  </a:lnTo>
                  <a:lnTo>
                    <a:pt x="1025" y="1463"/>
                  </a:lnTo>
                  <a:lnTo>
                    <a:pt x="1039" y="1470"/>
                  </a:lnTo>
                  <a:lnTo>
                    <a:pt x="1044" y="1476"/>
                  </a:lnTo>
                  <a:lnTo>
                    <a:pt x="1055" y="1480"/>
                  </a:lnTo>
                  <a:lnTo>
                    <a:pt x="1057" y="1483"/>
                  </a:lnTo>
                  <a:lnTo>
                    <a:pt x="1072" y="1487"/>
                  </a:lnTo>
                  <a:lnTo>
                    <a:pt x="1098" y="1476"/>
                  </a:lnTo>
                  <a:lnTo>
                    <a:pt x="1107" y="1480"/>
                  </a:lnTo>
                  <a:lnTo>
                    <a:pt x="1114" y="1500"/>
                  </a:lnTo>
                  <a:lnTo>
                    <a:pt x="1175" y="1509"/>
                  </a:lnTo>
                  <a:lnTo>
                    <a:pt x="1177" y="1510"/>
                  </a:lnTo>
                  <a:lnTo>
                    <a:pt x="1183" y="1508"/>
                  </a:lnTo>
                  <a:lnTo>
                    <a:pt x="1213" y="1505"/>
                  </a:lnTo>
                  <a:lnTo>
                    <a:pt x="1220" y="1509"/>
                  </a:lnTo>
                  <a:lnTo>
                    <a:pt x="1222" y="1505"/>
                  </a:lnTo>
                  <a:lnTo>
                    <a:pt x="1226" y="1506"/>
                  </a:lnTo>
                  <a:lnTo>
                    <a:pt x="1248" y="1505"/>
                  </a:lnTo>
                  <a:lnTo>
                    <a:pt x="1252" y="1514"/>
                  </a:lnTo>
                  <a:lnTo>
                    <a:pt x="1258" y="1515"/>
                  </a:lnTo>
                  <a:lnTo>
                    <a:pt x="1263" y="1528"/>
                  </a:lnTo>
                  <a:lnTo>
                    <a:pt x="1271" y="1531"/>
                  </a:lnTo>
                  <a:lnTo>
                    <a:pt x="1284" y="1546"/>
                  </a:lnTo>
                  <a:lnTo>
                    <a:pt x="1296" y="1546"/>
                  </a:lnTo>
                  <a:lnTo>
                    <a:pt x="1305" y="1540"/>
                  </a:lnTo>
                  <a:lnTo>
                    <a:pt x="1304" y="1548"/>
                  </a:lnTo>
                  <a:lnTo>
                    <a:pt x="1298" y="1553"/>
                  </a:lnTo>
                  <a:lnTo>
                    <a:pt x="1284" y="1554"/>
                  </a:lnTo>
                  <a:lnTo>
                    <a:pt x="1285" y="1558"/>
                  </a:lnTo>
                  <a:lnTo>
                    <a:pt x="1306" y="1578"/>
                  </a:lnTo>
                  <a:lnTo>
                    <a:pt x="1317" y="1578"/>
                  </a:lnTo>
                  <a:lnTo>
                    <a:pt x="1328" y="1573"/>
                  </a:lnTo>
                  <a:lnTo>
                    <a:pt x="1332" y="1553"/>
                  </a:lnTo>
                  <a:lnTo>
                    <a:pt x="1342" y="1555"/>
                  </a:lnTo>
                  <a:lnTo>
                    <a:pt x="1336" y="1561"/>
                  </a:lnTo>
                  <a:lnTo>
                    <a:pt x="1341" y="1584"/>
                  </a:lnTo>
                  <a:lnTo>
                    <a:pt x="1338" y="1596"/>
                  </a:lnTo>
                  <a:lnTo>
                    <a:pt x="1341" y="1606"/>
                  </a:lnTo>
                  <a:lnTo>
                    <a:pt x="1343" y="1606"/>
                  </a:lnTo>
                  <a:lnTo>
                    <a:pt x="1342" y="1616"/>
                  </a:lnTo>
                  <a:lnTo>
                    <a:pt x="1348" y="1645"/>
                  </a:lnTo>
                  <a:lnTo>
                    <a:pt x="1354" y="1657"/>
                  </a:lnTo>
                  <a:lnTo>
                    <a:pt x="1356" y="1662"/>
                  </a:lnTo>
                  <a:lnTo>
                    <a:pt x="1358" y="1661"/>
                  </a:lnTo>
                  <a:lnTo>
                    <a:pt x="1359" y="1670"/>
                  </a:lnTo>
                  <a:lnTo>
                    <a:pt x="1371" y="1690"/>
                  </a:lnTo>
                  <a:lnTo>
                    <a:pt x="1375" y="1709"/>
                  </a:lnTo>
                  <a:lnTo>
                    <a:pt x="1385" y="1722"/>
                  </a:lnTo>
                  <a:lnTo>
                    <a:pt x="1398" y="1760"/>
                  </a:lnTo>
                  <a:lnTo>
                    <a:pt x="1409" y="1773"/>
                  </a:lnTo>
                  <a:lnTo>
                    <a:pt x="1414" y="1773"/>
                  </a:lnTo>
                  <a:lnTo>
                    <a:pt x="1420" y="1767"/>
                  </a:lnTo>
                  <a:lnTo>
                    <a:pt x="1421" y="1759"/>
                  </a:lnTo>
                  <a:lnTo>
                    <a:pt x="1434" y="1755"/>
                  </a:lnTo>
                  <a:lnTo>
                    <a:pt x="1434" y="1751"/>
                  </a:lnTo>
                  <a:lnTo>
                    <a:pt x="1439" y="1740"/>
                  </a:lnTo>
                  <a:lnTo>
                    <a:pt x="1446" y="1740"/>
                  </a:lnTo>
                  <a:lnTo>
                    <a:pt x="1446" y="1720"/>
                  </a:lnTo>
                  <a:lnTo>
                    <a:pt x="1453" y="1697"/>
                  </a:lnTo>
                  <a:lnTo>
                    <a:pt x="1450" y="1690"/>
                  </a:lnTo>
                  <a:lnTo>
                    <a:pt x="1449" y="1664"/>
                  </a:lnTo>
                  <a:lnTo>
                    <a:pt x="1453" y="1658"/>
                  </a:lnTo>
                  <a:lnTo>
                    <a:pt x="1461" y="1658"/>
                  </a:lnTo>
                  <a:lnTo>
                    <a:pt x="1467" y="1649"/>
                  </a:lnTo>
                  <a:lnTo>
                    <a:pt x="1480" y="1645"/>
                  </a:lnTo>
                  <a:lnTo>
                    <a:pt x="1484" y="1638"/>
                  </a:lnTo>
                  <a:lnTo>
                    <a:pt x="1511" y="1618"/>
                  </a:lnTo>
                  <a:lnTo>
                    <a:pt x="1523" y="1603"/>
                  </a:lnTo>
                  <a:lnTo>
                    <a:pt x="1541" y="1592"/>
                  </a:lnTo>
                  <a:lnTo>
                    <a:pt x="1552" y="1580"/>
                  </a:lnTo>
                  <a:lnTo>
                    <a:pt x="1552" y="1570"/>
                  </a:lnTo>
                  <a:lnTo>
                    <a:pt x="1566" y="1564"/>
                  </a:lnTo>
                  <a:lnTo>
                    <a:pt x="1569" y="1558"/>
                  </a:lnTo>
                  <a:lnTo>
                    <a:pt x="1571" y="1567"/>
                  </a:lnTo>
                  <a:lnTo>
                    <a:pt x="1577" y="1566"/>
                  </a:lnTo>
                  <a:lnTo>
                    <a:pt x="1577" y="1562"/>
                  </a:lnTo>
                  <a:lnTo>
                    <a:pt x="1579" y="1566"/>
                  </a:lnTo>
                  <a:lnTo>
                    <a:pt x="1580" y="1566"/>
                  </a:lnTo>
                  <a:lnTo>
                    <a:pt x="1591" y="1561"/>
                  </a:lnTo>
                  <a:lnTo>
                    <a:pt x="1592" y="1564"/>
                  </a:lnTo>
                  <a:lnTo>
                    <a:pt x="1597" y="1559"/>
                  </a:lnTo>
                  <a:lnTo>
                    <a:pt x="1601" y="1562"/>
                  </a:lnTo>
                  <a:lnTo>
                    <a:pt x="1605" y="1555"/>
                  </a:lnTo>
                  <a:lnTo>
                    <a:pt x="1605" y="1549"/>
                  </a:lnTo>
                  <a:lnTo>
                    <a:pt x="1609" y="1545"/>
                  </a:lnTo>
                  <a:lnTo>
                    <a:pt x="1612" y="1548"/>
                  </a:lnTo>
                  <a:lnTo>
                    <a:pt x="1622" y="1548"/>
                  </a:lnTo>
                  <a:lnTo>
                    <a:pt x="1624" y="1555"/>
                  </a:lnTo>
                  <a:lnTo>
                    <a:pt x="1631" y="1577"/>
                  </a:lnTo>
                  <a:lnTo>
                    <a:pt x="1642" y="1591"/>
                  </a:lnTo>
                  <a:lnTo>
                    <a:pt x="1653" y="1596"/>
                  </a:lnTo>
                  <a:lnTo>
                    <a:pt x="1654" y="1603"/>
                  </a:lnTo>
                  <a:lnTo>
                    <a:pt x="1651" y="1600"/>
                  </a:lnTo>
                  <a:lnTo>
                    <a:pt x="1650" y="1603"/>
                  </a:lnTo>
                  <a:lnTo>
                    <a:pt x="1655" y="1607"/>
                  </a:lnTo>
                  <a:lnTo>
                    <a:pt x="1656" y="1605"/>
                  </a:lnTo>
                  <a:lnTo>
                    <a:pt x="1662" y="1618"/>
                  </a:lnTo>
                  <a:lnTo>
                    <a:pt x="1666" y="1636"/>
                  </a:lnTo>
                  <a:lnTo>
                    <a:pt x="1661" y="1654"/>
                  </a:lnTo>
                  <a:lnTo>
                    <a:pt x="1666" y="1651"/>
                  </a:lnTo>
                  <a:lnTo>
                    <a:pt x="1666" y="1655"/>
                  </a:lnTo>
                  <a:lnTo>
                    <a:pt x="1676" y="1657"/>
                  </a:lnTo>
                  <a:lnTo>
                    <a:pt x="1697" y="1643"/>
                  </a:lnTo>
                  <a:lnTo>
                    <a:pt x="1697" y="1631"/>
                  </a:lnTo>
                  <a:lnTo>
                    <a:pt x="1700" y="1641"/>
                  </a:lnTo>
                  <a:lnTo>
                    <a:pt x="1713" y="1645"/>
                  </a:lnTo>
                  <a:lnTo>
                    <a:pt x="1714" y="1670"/>
                  </a:lnTo>
                  <a:lnTo>
                    <a:pt x="1720" y="1690"/>
                  </a:lnTo>
                  <a:lnTo>
                    <a:pt x="1722" y="1689"/>
                  </a:lnTo>
                  <a:lnTo>
                    <a:pt x="1726" y="1701"/>
                  </a:lnTo>
                  <a:lnTo>
                    <a:pt x="1727" y="1714"/>
                  </a:lnTo>
                  <a:lnTo>
                    <a:pt x="1725" y="1715"/>
                  </a:lnTo>
                  <a:lnTo>
                    <a:pt x="1729" y="1719"/>
                  </a:lnTo>
                  <a:lnTo>
                    <a:pt x="1725" y="1740"/>
                  </a:lnTo>
                  <a:lnTo>
                    <a:pt x="1728" y="1742"/>
                  </a:lnTo>
                  <a:lnTo>
                    <a:pt x="1722" y="1760"/>
                  </a:lnTo>
                  <a:lnTo>
                    <a:pt x="1722" y="1772"/>
                  </a:lnTo>
                  <a:lnTo>
                    <a:pt x="1728" y="1769"/>
                  </a:lnTo>
                  <a:lnTo>
                    <a:pt x="1751" y="1798"/>
                  </a:lnTo>
                  <a:lnTo>
                    <a:pt x="1755" y="1829"/>
                  </a:lnTo>
                  <a:lnTo>
                    <a:pt x="1767" y="1851"/>
                  </a:lnTo>
                  <a:lnTo>
                    <a:pt x="1798" y="1872"/>
                  </a:lnTo>
                  <a:lnTo>
                    <a:pt x="1804" y="1870"/>
                  </a:lnTo>
                  <a:lnTo>
                    <a:pt x="1809" y="1872"/>
                  </a:lnTo>
                  <a:lnTo>
                    <a:pt x="1811" y="1865"/>
                  </a:lnTo>
                  <a:lnTo>
                    <a:pt x="1798" y="1845"/>
                  </a:lnTo>
                  <a:lnTo>
                    <a:pt x="1798" y="1819"/>
                  </a:lnTo>
                  <a:lnTo>
                    <a:pt x="1792" y="1810"/>
                  </a:lnTo>
                  <a:lnTo>
                    <a:pt x="1783" y="1801"/>
                  </a:lnTo>
                  <a:lnTo>
                    <a:pt x="1780" y="1801"/>
                  </a:lnTo>
                  <a:lnTo>
                    <a:pt x="1771" y="1791"/>
                  </a:lnTo>
                  <a:lnTo>
                    <a:pt x="1760" y="1791"/>
                  </a:lnTo>
                  <a:lnTo>
                    <a:pt x="1755" y="1785"/>
                  </a:lnTo>
                  <a:lnTo>
                    <a:pt x="1745" y="1756"/>
                  </a:lnTo>
                  <a:lnTo>
                    <a:pt x="1736" y="1756"/>
                  </a:lnTo>
                  <a:lnTo>
                    <a:pt x="1735" y="1741"/>
                  </a:lnTo>
                  <a:lnTo>
                    <a:pt x="1745" y="1712"/>
                  </a:lnTo>
                  <a:lnTo>
                    <a:pt x="1747" y="1693"/>
                  </a:lnTo>
                  <a:lnTo>
                    <a:pt x="1749" y="1690"/>
                  </a:lnTo>
                  <a:lnTo>
                    <a:pt x="1760" y="1693"/>
                  </a:lnTo>
                  <a:lnTo>
                    <a:pt x="1760" y="1706"/>
                  </a:lnTo>
                  <a:lnTo>
                    <a:pt x="1774" y="1706"/>
                  </a:lnTo>
                  <a:lnTo>
                    <a:pt x="1786" y="1714"/>
                  </a:lnTo>
                  <a:lnTo>
                    <a:pt x="1790" y="1720"/>
                  </a:lnTo>
                  <a:lnTo>
                    <a:pt x="1793" y="1732"/>
                  </a:lnTo>
                  <a:lnTo>
                    <a:pt x="1800" y="1728"/>
                  </a:lnTo>
                  <a:lnTo>
                    <a:pt x="1800" y="1736"/>
                  </a:lnTo>
                  <a:lnTo>
                    <a:pt x="1813" y="1738"/>
                  </a:lnTo>
                  <a:lnTo>
                    <a:pt x="1823" y="1743"/>
                  </a:lnTo>
                  <a:lnTo>
                    <a:pt x="1818" y="1753"/>
                  </a:lnTo>
                  <a:lnTo>
                    <a:pt x="1819" y="1765"/>
                  </a:lnTo>
                  <a:lnTo>
                    <a:pt x="1823" y="1766"/>
                  </a:lnTo>
                  <a:lnTo>
                    <a:pt x="1838" y="1753"/>
                  </a:lnTo>
                  <a:lnTo>
                    <a:pt x="1836" y="1746"/>
                  </a:lnTo>
                  <a:lnTo>
                    <a:pt x="1843" y="1751"/>
                  </a:lnTo>
                  <a:lnTo>
                    <a:pt x="1842" y="1746"/>
                  </a:lnTo>
                  <a:lnTo>
                    <a:pt x="1848" y="1739"/>
                  </a:lnTo>
                  <a:lnTo>
                    <a:pt x="1856" y="1739"/>
                  </a:lnTo>
                  <a:lnTo>
                    <a:pt x="1865" y="1734"/>
                  </a:lnTo>
                  <a:lnTo>
                    <a:pt x="1881" y="1725"/>
                  </a:lnTo>
                  <a:lnTo>
                    <a:pt x="1883" y="1720"/>
                  </a:lnTo>
                  <a:lnTo>
                    <a:pt x="1883" y="1708"/>
                  </a:lnTo>
                  <a:lnTo>
                    <a:pt x="1885" y="1702"/>
                  </a:lnTo>
                  <a:lnTo>
                    <a:pt x="1878" y="1663"/>
                  </a:lnTo>
                  <a:lnTo>
                    <a:pt x="1871" y="1658"/>
                  </a:lnTo>
                  <a:lnTo>
                    <a:pt x="1869" y="1651"/>
                  </a:lnTo>
                  <a:lnTo>
                    <a:pt x="1861" y="1649"/>
                  </a:lnTo>
                  <a:lnTo>
                    <a:pt x="1851" y="1637"/>
                  </a:lnTo>
                  <a:lnTo>
                    <a:pt x="1842" y="1628"/>
                  </a:lnTo>
                  <a:lnTo>
                    <a:pt x="1840" y="1622"/>
                  </a:lnTo>
                  <a:lnTo>
                    <a:pt x="1831" y="1613"/>
                  </a:lnTo>
                  <a:lnTo>
                    <a:pt x="1831" y="1606"/>
                  </a:lnTo>
                  <a:lnTo>
                    <a:pt x="1835" y="1592"/>
                  </a:lnTo>
                  <a:lnTo>
                    <a:pt x="1845" y="1581"/>
                  </a:lnTo>
                  <a:lnTo>
                    <a:pt x="1856" y="1571"/>
                  </a:lnTo>
                  <a:lnTo>
                    <a:pt x="1864" y="1568"/>
                  </a:lnTo>
                  <a:lnTo>
                    <a:pt x="1868" y="1566"/>
                  </a:lnTo>
                  <a:lnTo>
                    <a:pt x="1869" y="1568"/>
                  </a:lnTo>
                  <a:lnTo>
                    <a:pt x="1874" y="1564"/>
                  </a:lnTo>
                  <a:lnTo>
                    <a:pt x="1883" y="1570"/>
                  </a:lnTo>
                  <a:lnTo>
                    <a:pt x="1890" y="1566"/>
                  </a:lnTo>
                  <a:lnTo>
                    <a:pt x="1890" y="1577"/>
                  </a:lnTo>
                  <a:lnTo>
                    <a:pt x="1896" y="1587"/>
                  </a:lnTo>
                  <a:lnTo>
                    <a:pt x="1901" y="1585"/>
                  </a:lnTo>
                  <a:lnTo>
                    <a:pt x="1897" y="1577"/>
                  </a:lnTo>
                  <a:lnTo>
                    <a:pt x="1901" y="1570"/>
                  </a:lnTo>
                  <a:lnTo>
                    <a:pt x="1939" y="1561"/>
                  </a:lnTo>
                  <a:lnTo>
                    <a:pt x="1941" y="1549"/>
                  </a:lnTo>
                  <a:lnTo>
                    <a:pt x="1947" y="1555"/>
                  </a:lnTo>
                  <a:lnTo>
                    <a:pt x="1947" y="1546"/>
                  </a:lnTo>
                  <a:lnTo>
                    <a:pt x="1954" y="1554"/>
                  </a:lnTo>
                  <a:lnTo>
                    <a:pt x="1959" y="1553"/>
                  </a:lnTo>
                  <a:lnTo>
                    <a:pt x="1957" y="1551"/>
                  </a:lnTo>
                  <a:lnTo>
                    <a:pt x="1959" y="1551"/>
                  </a:lnTo>
                  <a:lnTo>
                    <a:pt x="1961" y="1553"/>
                  </a:lnTo>
                  <a:lnTo>
                    <a:pt x="1963" y="1551"/>
                  </a:lnTo>
                  <a:lnTo>
                    <a:pt x="1966" y="1547"/>
                  </a:lnTo>
                  <a:lnTo>
                    <a:pt x="1966" y="1549"/>
                  </a:lnTo>
                  <a:lnTo>
                    <a:pt x="1972" y="1546"/>
                  </a:lnTo>
                  <a:lnTo>
                    <a:pt x="1976" y="1548"/>
                  </a:lnTo>
                  <a:lnTo>
                    <a:pt x="1989" y="1544"/>
                  </a:lnTo>
                  <a:lnTo>
                    <a:pt x="1999" y="1534"/>
                  </a:lnTo>
                  <a:lnTo>
                    <a:pt x="2006" y="1532"/>
                  </a:lnTo>
                  <a:lnTo>
                    <a:pt x="2007" y="1531"/>
                  </a:lnTo>
                  <a:lnTo>
                    <a:pt x="2007" y="1532"/>
                  </a:lnTo>
                  <a:lnTo>
                    <a:pt x="2014" y="1525"/>
                  </a:lnTo>
                  <a:lnTo>
                    <a:pt x="2014" y="1520"/>
                  </a:lnTo>
                  <a:lnTo>
                    <a:pt x="2022" y="1518"/>
                  </a:lnTo>
                  <a:lnTo>
                    <a:pt x="2032" y="1503"/>
                  </a:lnTo>
                  <a:lnTo>
                    <a:pt x="2034" y="1505"/>
                  </a:lnTo>
                  <a:lnTo>
                    <a:pt x="2039" y="1490"/>
                  </a:lnTo>
                  <a:lnTo>
                    <a:pt x="2037" y="1484"/>
                  </a:lnTo>
                  <a:lnTo>
                    <a:pt x="2041" y="1482"/>
                  </a:lnTo>
                  <a:lnTo>
                    <a:pt x="2043" y="1487"/>
                  </a:lnTo>
                  <a:lnTo>
                    <a:pt x="2059" y="1457"/>
                  </a:lnTo>
                  <a:lnTo>
                    <a:pt x="2064" y="1460"/>
                  </a:lnTo>
                  <a:lnTo>
                    <a:pt x="2067" y="1445"/>
                  </a:lnTo>
                  <a:lnTo>
                    <a:pt x="2065" y="1442"/>
                  </a:lnTo>
                  <a:lnTo>
                    <a:pt x="2071" y="1441"/>
                  </a:lnTo>
                  <a:lnTo>
                    <a:pt x="2071" y="1438"/>
                  </a:lnTo>
                  <a:lnTo>
                    <a:pt x="2071" y="1435"/>
                  </a:lnTo>
                  <a:lnTo>
                    <a:pt x="2065" y="1436"/>
                  </a:lnTo>
                  <a:lnTo>
                    <a:pt x="2073" y="1430"/>
                  </a:lnTo>
                  <a:lnTo>
                    <a:pt x="2061" y="1423"/>
                  </a:lnTo>
                  <a:lnTo>
                    <a:pt x="2047" y="1426"/>
                  </a:lnTo>
                  <a:lnTo>
                    <a:pt x="2072" y="1411"/>
                  </a:lnTo>
                  <a:lnTo>
                    <a:pt x="2061" y="1400"/>
                  </a:lnTo>
                  <a:lnTo>
                    <a:pt x="2053" y="1395"/>
                  </a:lnTo>
                  <a:lnTo>
                    <a:pt x="2046" y="1395"/>
                  </a:lnTo>
                  <a:lnTo>
                    <a:pt x="2053" y="1392"/>
                  </a:lnTo>
                  <a:lnTo>
                    <a:pt x="2072" y="1399"/>
                  </a:lnTo>
                  <a:lnTo>
                    <a:pt x="2057" y="1382"/>
                  </a:lnTo>
                  <a:lnTo>
                    <a:pt x="2047" y="1352"/>
                  </a:lnTo>
                  <a:lnTo>
                    <a:pt x="2032" y="1342"/>
                  </a:lnTo>
                  <a:lnTo>
                    <a:pt x="2039" y="1331"/>
                  </a:lnTo>
                  <a:lnTo>
                    <a:pt x="2046" y="1325"/>
                  </a:lnTo>
                  <a:lnTo>
                    <a:pt x="2047" y="1319"/>
                  </a:lnTo>
                  <a:lnTo>
                    <a:pt x="2053" y="1321"/>
                  </a:lnTo>
                  <a:lnTo>
                    <a:pt x="2057" y="1314"/>
                  </a:lnTo>
                  <a:lnTo>
                    <a:pt x="2057" y="1312"/>
                  </a:lnTo>
                  <a:lnTo>
                    <a:pt x="2069" y="1309"/>
                  </a:lnTo>
                  <a:lnTo>
                    <a:pt x="2072" y="1305"/>
                  </a:lnTo>
                  <a:lnTo>
                    <a:pt x="2076" y="1305"/>
                  </a:lnTo>
                  <a:lnTo>
                    <a:pt x="2078" y="1308"/>
                  </a:lnTo>
                  <a:lnTo>
                    <a:pt x="2083" y="1298"/>
                  </a:lnTo>
                  <a:lnTo>
                    <a:pt x="2067" y="1296"/>
                  </a:lnTo>
                  <a:lnTo>
                    <a:pt x="2057" y="1289"/>
                  </a:lnTo>
                  <a:lnTo>
                    <a:pt x="2037" y="1302"/>
                  </a:lnTo>
                  <a:lnTo>
                    <a:pt x="2030" y="1299"/>
                  </a:lnTo>
                  <a:lnTo>
                    <a:pt x="2026" y="1289"/>
                  </a:lnTo>
                  <a:lnTo>
                    <a:pt x="2015" y="1283"/>
                  </a:lnTo>
                  <a:lnTo>
                    <a:pt x="2008" y="1276"/>
                  </a:lnTo>
                  <a:lnTo>
                    <a:pt x="2009" y="1272"/>
                  </a:lnTo>
                  <a:lnTo>
                    <a:pt x="2014" y="1263"/>
                  </a:lnTo>
                  <a:lnTo>
                    <a:pt x="2021" y="1264"/>
                  </a:lnTo>
                  <a:lnTo>
                    <a:pt x="2031" y="1261"/>
                  </a:lnTo>
                  <a:lnTo>
                    <a:pt x="2037" y="1251"/>
                  </a:lnTo>
                  <a:lnTo>
                    <a:pt x="2051" y="1244"/>
                  </a:lnTo>
                  <a:lnTo>
                    <a:pt x="2061" y="1230"/>
                  </a:lnTo>
                  <a:lnTo>
                    <a:pt x="2072" y="1227"/>
                  </a:lnTo>
                  <a:lnTo>
                    <a:pt x="2077" y="1238"/>
                  </a:lnTo>
                  <a:lnTo>
                    <a:pt x="2064" y="1256"/>
                  </a:lnTo>
                  <a:lnTo>
                    <a:pt x="2070" y="1260"/>
                  </a:lnTo>
                  <a:lnTo>
                    <a:pt x="2067" y="1266"/>
                  </a:lnTo>
                  <a:lnTo>
                    <a:pt x="2061" y="1270"/>
                  </a:lnTo>
                  <a:lnTo>
                    <a:pt x="2064" y="1272"/>
                  </a:lnTo>
                  <a:lnTo>
                    <a:pt x="2095" y="1251"/>
                  </a:lnTo>
                  <a:lnTo>
                    <a:pt x="2109" y="1249"/>
                  </a:lnTo>
                  <a:lnTo>
                    <a:pt x="2113" y="1255"/>
                  </a:lnTo>
                  <a:lnTo>
                    <a:pt x="2125" y="1256"/>
                  </a:lnTo>
                  <a:lnTo>
                    <a:pt x="2122" y="1270"/>
                  </a:lnTo>
                  <a:lnTo>
                    <a:pt x="2124" y="1272"/>
                  </a:lnTo>
                  <a:lnTo>
                    <a:pt x="2118" y="1276"/>
                  </a:lnTo>
                  <a:lnTo>
                    <a:pt x="2115" y="1285"/>
                  </a:lnTo>
                  <a:lnTo>
                    <a:pt x="2122" y="1283"/>
                  </a:lnTo>
                  <a:lnTo>
                    <a:pt x="2119" y="1286"/>
                  </a:lnTo>
                  <a:lnTo>
                    <a:pt x="2122" y="1290"/>
                  </a:lnTo>
                  <a:lnTo>
                    <a:pt x="2128" y="1289"/>
                  </a:lnTo>
                  <a:lnTo>
                    <a:pt x="2128" y="1286"/>
                  </a:lnTo>
                  <a:lnTo>
                    <a:pt x="2141" y="1290"/>
                  </a:lnTo>
                  <a:lnTo>
                    <a:pt x="2147" y="1307"/>
                  </a:lnTo>
                  <a:lnTo>
                    <a:pt x="2143" y="1305"/>
                  </a:lnTo>
                  <a:lnTo>
                    <a:pt x="2135" y="1308"/>
                  </a:lnTo>
                  <a:lnTo>
                    <a:pt x="2137" y="1313"/>
                  </a:lnTo>
                  <a:lnTo>
                    <a:pt x="2141" y="1309"/>
                  </a:lnTo>
                  <a:lnTo>
                    <a:pt x="2144" y="1325"/>
                  </a:lnTo>
                  <a:lnTo>
                    <a:pt x="2137" y="1342"/>
                  </a:lnTo>
                  <a:lnTo>
                    <a:pt x="2141" y="1344"/>
                  </a:lnTo>
                  <a:lnTo>
                    <a:pt x="2141" y="1347"/>
                  </a:lnTo>
                  <a:lnTo>
                    <a:pt x="2137" y="1346"/>
                  </a:lnTo>
                  <a:lnTo>
                    <a:pt x="2136" y="1351"/>
                  </a:lnTo>
                  <a:lnTo>
                    <a:pt x="2147" y="1350"/>
                  </a:lnTo>
                  <a:lnTo>
                    <a:pt x="2153" y="1345"/>
                  </a:lnTo>
                  <a:lnTo>
                    <a:pt x="2151" y="1347"/>
                  </a:lnTo>
                  <a:lnTo>
                    <a:pt x="2153" y="1348"/>
                  </a:lnTo>
                  <a:lnTo>
                    <a:pt x="2155" y="1342"/>
                  </a:lnTo>
                  <a:lnTo>
                    <a:pt x="2156" y="1346"/>
                  </a:lnTo>
                  <a:lnTo>
                    <a:pt x="2161" y="1340"/>
                  </a:lnTo>
                  <a:lnTo>
                    <a:pt x="2168" y="1342"/>
                  </a:lnTo>
                  <a:lnTo>
                    <a:pt x="2171" y="1337"/>
                  </a:lnTo>
                  <a:lnTo>
                    <a:pt x="2176" y="1338"/>
                  </a:lnTo>
                  <a:lnTo>
                    <a:pt x="2182" y="1334"/>
                  </a:lnTo>
                  <a:lnTo>
                    <a:pt x="2187" y="1321"/>
                  </a:lnTo>
                  <a:lnTo>
                    <a:pt x="2182" y="1295"/>
                  </a:lnTo>
                  <a:lnTo>
                    <a:pt x="2169" y="1275"/>
                  </a:lnTo>
                  <a:lnTo>
                    <a:pt x="2155" y="1263"/>
                  </a:lnTo>
                  <a:lnTo>
                    <a:pt x="2155" y="1251"/>
                  </a:lnTo>
                  <a:lnTo>
                    <a:pt x="2169" y="1244"/>
                  </a:lnTo>
                  <a:lnTo>
                    <a:pt x="2188" y="1229"/>
                  </a:lnTo>
                  <a:lnTo>
                    <a:pt x="2188" y="1216"/>
                  </a:lnTo>
                  <a:lnTo>
                    <a:pt x="2203" y="1199"/>
                  </a:lnTo>
                  <a:lnTo>
                    <a:pt x="2205" y="1198"/>
                  </a:lnTo>
                  <a:lnTo>
                    <a:pt x="2203" y="1195"/>
                  </a:lnTo>
                  <a:lnTo>
                    <a:pt x="2212" y="1195"/>
                  </a:lnTo>
                  <a:lnTo>
                    <a:pt x="2220" y="1178"/>
                  </a:lnTo>
                  <a:lnTo>
                    <a:pt x="2223" y="1185"/>
                  </a:lnTo>
                  <a:lnTo>
                    <a:pt x="2228" y="1182"/>
                  </a:lnTo>
                  <a:lnTo>
                    <a:pt x="2228" y="1190"/>
                  </a:lnTo>
                  <a:lnTo>
                    <a:pt x="2241" y="1193"/>
                  </a:lnTo>
                  <a:lnTo>
                    <a:pt x="2253" y="1190"/>
                  </a:lnTo>
                  <a:lnTo>
                    <a:pt x="2267" y="1178"/>
                  </a:lnTo>
                  <a:lnTo>
                    <a:pt x="2313" y="1121"/>
                  </a:lnTo>
                  <a:lnTo>
                    <a:pt x="2320" y="1105"/>
                  </a:lnTo>
                  <a:lnTo>
                    <a:pt x="2332" y="1086"/>
                  </a:lnTo>
                  <a:lnTo>
                    <a:pt x="2346" y="1070"/>
                  </a:lnTo>
                  <a:lnTo>
                    <a:pt x="2351" y="1035"/>
                  </a:lnTo>
                  <a:lnTo>
                    <a:pt x="2349" y="1020"/>
                  </a:lnTo>
                  <a:lnTo>
                    <a:pt x="2353" y="1003"/>
                  </a:lnTo>
                  <a:lnTo>
                    <a:pt x="2363" y="984"/>
                  </a:lnTo>
                  <a:lnTo>
                    <a:pt x="2358" y="979"/>
                  </a:lnTo>
                  <a:lnTo>
                    <a:pt x="2359" y="973"/>
                  </a:lnTo>
                  <a:lnTo>
                    <a:pt x="2358" y="966"/>
                  </a:lnTo>
                  <a:lnTo>
                    <a:pt x="2362" y="957"/>
                  </a:lnTo>
                  <a:lnTo>
                    <a:pt x="2346" y="946"/>
                  </a:lnTo>
                  <a:lnTo>
                    <a:pt x="2338" y="932"/>
                  </a:lnTo>
                  <a:lnTo>
                    <a:pt x="2322" y="932"/>
                  </a:lnTo>
                  <a:lnTo>
                    <a:pt x="2322" y="944"/>
                  </a:lnTo>
                  <a:lnTo>
                    <a:pt x="2317" y="951"/>
                  </a:lnTo>
                  <a:lnTo>
                    <a:pt x="2317" y="944"/>
                  </a:lnTo>
                  <a:lnTo>
                    <a:pt x="2313" y="947"/>
                  </a:lnTo>
                  <a:lnTo>
                    <a:pt x="2300" y="951"/>
                  </a:lnTo>
                  <a:lnTo>
                    <a:pt x="2306" y="943"/>
                  </a:lnTo>
                  <a:lnTo>
                    <a:pt x="2301" y="937"/>
                  </a:lnTo>
                  <a:lnTo>
                    <a:pt x="2306" y="932"/>
                  </a:lnTo>
                  <a:lnTo>
                    <a:pt x="2299" y="934"/>
                  </a:lnTo>
                  <a:lnTo>
                    <a:pt x="2299" y="941"/>
                  </a:lnTo>
                  <a:lnTo>
                    <a:pt x="2293" y="946"/>
                  </a:lnTo>
                  <a:lnTo>
                    <a:pt x="2293" y="924"/>
                  </a:lnTo>
                  <a:lnTo>
                    <a:pt x="2278" y="925"/>
                  </a:lnTo>
                  <a:lnTo>
                    <a:pt x="2271" y="920"/>
                  </a:lnTo>
                  <a:lnTo>
                    <a:pt x="2272" y="915"/>
                  </a:lnTo>
                  <a:lnTo>
                    <a:pt x="2307" y="884"/>
                  </a:lnTo>
                  <a:lnTo>
                    <a:pt x="2330" y="853"/>
                  </a:lnTo>
                  <a:lnTo>
                    <a:pt x="2346" y="839"/>
                  </a:lnTo>
                  <a:lnTo>
                    <a:pt x="2353" y="826"/>
                  </a:lnTo>
                  <a:lnTo>
                    <a:pt x="2375" y="803"/>
                  </a:lnTo>
                  <a:lnTo>
                    <a:pt x="2388" y="795"/>
                  </a:lnTo>
                  <a:lnTo>
                    <a:pt x="2423" y="792"/>
                  </a:lnTo>
                  <a:lnTo>
                    <a:pt x="2431" y="801"/>
                  </a:lnTo>
                  <a:lnTo>
                    <a:pt x="2437" y="792"/>
                  </a:lnTo>
                  <a:lnTo>
                    <a:pt x="2453" y="798"/>
                  </a:lnTo>
                  <a:lnTo>
                    <a:pt x="2465" y="794"/>
                  </a:lnTo>
                  <a:lnTo>
                    <a:pt x="2469" y="798"/>
                  </a:lnTo>
                  <a:lnTo>
                    <a:pt x="2473" y="798"/>
                  </a:lnTo>
                  <a:lnTo>
                    <a:pt x="2472" y="792"/>
                  </a:lnTo>
                  <a:lnTo>
                    <a:pt x="2476" y="791"/>
                  </a:lnTo>
                  <a:lnTo>
                    <a:pt x="2475" y="785"/>
                  </a:lnTo>
                  <a:lnTo>
                    <a:pt x="2479" y="784"/>
                  </a:lnTo>
                  <a:lnTo>
                    <a:pt x="2502" y="792"/>
                  </a:lnTo>
                  <a:lnTo>
                    <a:pt x="2511" y="788"/>
                  </a:lnTo>
                  <a:lnTo>
                    <a:pt x="2521" y="796"/>
                  </a:lnTo>
                  <a:lnTo>
                    <a:pt x="2506" y="803"/>
                  </a:lnTo>
                  <a:lnTo>
                    <a:pt x="2511" y="809"/>
                  </a:lnTo>
                  <a:lnTo>
                    <a:pt x="2527" y="804"/>
                  </a:lnTo>
                  <a:lnTo>
                    <a:pt x="2532" y="807"/>
                  </a:lnTo>
                  <a:lnTo>
                    <a:pt x="2544" y="798"/>
                  </a:lnTo>
                  <a:lnTo>
                    <a:pt x="2563" y="801"/>
                  </a:lnTo>
                  <a:lnTo>
                    <a:pt x="2566" y="800"/>
                  </a:lnTo>
                  <a:lnTo>
                    <a:pt x="2565" y="795"/>
                  </a:lnTo>
                  <a:lnTo>
                    <a:pt x="2552" y="791"/>
                  </a:lnTo>
                  <a:lnTo>
                    <a:pt x="2554" y="788"/>
                  </a:lnTo>
                  <a:lnTo>
                    <a:pt x="2552" y="781"/>
                  </a:lnTo>
                  <a:lnTo>
                    <a:pt x="2554" y="781"/>
                  </a:lnTo>
                  <a:lnTo>
                    <a:pt x="2561" y="766"/>
                  </a:lnTo>
                  <a:lnTo>
                    <a:pt x="2578" y="752"/>
                  </a:lnTo>
                  <a:lnTo>
                    <a:pt x="2597" y="724"/>
                  </a:lnTo>
                  <a:lnTo>
                    <a:pt x="2623" y="717"/>
                  </a:lnTo>
                  <a:lnTo>
                    <a:pt x="2636" y="724"/>
                  </a:lnTo>
                  <a:lnTo>
                    <a:pt x="2644" y="716"/>
                  </a:lnTo>
                  <a:lnTo>
                    <a:pt x="2642" y="727"/>
                  </a:lnTo>
                  <a:lnTo>
                    <a:pt x="2637" y="736"/>
                  </a:lnTo>
                  <a:lnTo>
                    <a:pt x="2638" y="740"/>
                  </a:lnTo>
                  <a:lnTo>
                    <a:pt x="2636" y="746"/>
                  </a:lnTo>
                  <a:lnTo>
                    <a:pt x="2644" y="745"/>
                  </a:lnTo>
                  <a:lnTo>
                    <a:pt x="2641" y="758"/>
                  </a:lnTo>
                  <a:lnTo>
                    <a:pt x="2674" y="725"/>
                  </a:lnTo>
                  <a:lnTo>
                    <a:pt x="2680" y="724"/>
                  </a:lnTo>
                  <a:lnTo>
                    <a:pt x="2683" y="729"/>
                  </a:lnTo>
                  <a:lnTo>
                    <a:pt x="2687" y="724"/>
                  </a:lnTo>
                  <a:lnTo>
                    <a:pt x="2683" y="720"/>
                  </a:lnTo>
                  <a:lnTo>
                    <a:pt x="2683" y="710"/>
                  </a:lnTo>
                  <a:lnTo>
                    <a:pt x="2691" y="697"/>
                  </a:lnTo>
                  <a:lnTo>
                    <a:pt x="2704" y="692"/>
                  </a:lnTo>
                  <a:lnTo>
                    <a:pt x="2713" y="698"/>
                  </a:lnTo>
                  <a:lnTo>
                    <a:pt x="2712" y="700"/>
                  </a:lnTo>
                  <a:lnTo>
                    <a:pt x="2700" y="707"/>
                  </a:lnTo>
                  <a:lnTo>
                    <a:pt x="2697" y="724"/>
                  </a:lnTo>
                  <a:lnTo>
                    <a:pt x="2695" y="729"/>
                  </a:lnTo>
                  <a:lnTo>
                    <a:pt x="2695" y="738"/>
                  </a:lnTo>
                  <a:lnTo>
                    <a:pt x="2691" y="743"/>
                  </a:lnTo>
                  <a:lnTo>
                    <a:pt x="2694" y="749"/>
                  </a:lnTo>
                  <a:lnTo>
                    <a:pt x="2667" y="762"/>
                  </a:lnTo>
                  <a:lnTo>
                    <a:pt x="2664" y="769"/>
                  </a:lnTo>
                  <a:lnTo>
                    <a:pt x="2645" y="789"/>
                  </a:lnTo>
                  <a:lnTo>
                    <a:pt x="2615" y="830"/>
                  </a:lnTo>
                  <a:lnTo>
                    <a:pt x="2600" y="839"/>
                  </a:lnTo>
                  <a:lnTo>
                    <a:pt x="2592" y="839"/>
                  </a:lnTo>
                  <a:lnTo>
                    <a:pt x="2595" y="847"/>
                  </a:lnTo>
                  <a:lnTo>
                    <a:pt x="2591" y="859"/>
                  </a:lnTo>
                  <a:lnTo>
                    <a:pt x="2577" y="869"/>
                  </a:lnTo>
                  <a:lnTo>
                    <a:pt x="2573" y="902"/>
                  </a:lnTo>
                  <a:lnTo>
                    <a:pt x="2573" y="924"/>
                  </a:lnTo>
                  <a:lnTo>
                    <a:pt x="2591" y="1015"/>
                  </a:lnTo>
                  <a:lnTo>
                    <a:pt x="2612" y="992"/>
                  </a:lnTo>
                  <a:lnTo>
                    <a:pt x="2617" y="965"/>
                  </a:lnTo>
                  <a:lnTo>
                    <a:pt x="2634" y="959"/>
                  </a:lnTo>
                  <a:lnTo>
                    <a:pt x="2637" y="962"/>
                  </a:lnTo>
                  <a:lnTo>
                    <a:pt x="2637" y="939"/>
                  </a:lnTo>
                  <a:lnTo>
                    <a:pt x="2652" y="925"/>
                  </a:lnTo>
                  <a:lnTo>
                    <a:pt x="2661" y="927"/>
                  </a:lnTo>
                  <a:lnTo>
                    <a:pt x="2669" y="921"/>
                  </a:lnTo>
                  <a:lnTo>
                    <a:pt x="2662" y="900"/>
                  </a:lnTo>
                  <a:lnTo>
                    <a:pt x="2667" y="889"/>
                  </a:lnTo>
                  <a:lnTo>
                    <a:pt x="2674" y="882"/>
                  </a:lnTo>
                  <a:lnTo>
                    <a:pt x="2671" y="878"/>
                  </a:lnTo>
                  <a:lnTo>
                    <a:pt x="2681" y="874"/>
                  </a:lnTo>
                  <a:lnTo>
                    <a:pt x="2677" y="882"/>
                  </a:lnTo>
                  <a:lnTo>
                    <a:pt x="2682" y="888"/>
                  </a:lnTo>
                  <a:lnTo>
                    <a:pt x="2687" y="881"/>
                  </a:lnTo>
                  <a:lnTo>
                    <a:pt x="2686" y="872"/>
                  </a:lnTo>
                  <a:lnTo>
                    <a:pt x="2678" y="868"/>
                  </a:lnTo>
                  <a:lnTo>
                    <a:pt x="2678" y="856"/>
                  </a:lnTo>
                  <a:lnTo>
                    <a:pt x="2686" y="839"/>
                  </a:lnTo>
                  <a:lnTo>
                    <a:pt x="2677" y="834"/>
                  </a:lnTo>
                  <a:lnTo>
                    <a:pt x="2670" y="840"/>
                  </a:lnTo>
                  <a:lnTo>
                    <a:pt x="2668" y="836"/>
                  </a:lnTo>
                  <a:lnTo>
                    <a:pt x="2669" y="827"/>
                  </a:lnTo>
                  <a:lnTo>
                    <a:pt x="2681" y="803"/>
                  </a:lnTo>
                  <a:lnTo>
                    <a:pt x="2686" y="803"/>
                  </a:lnTo>
                  <a:lnTo>
                    <a:pt x="2690" y="779"/>
                  </a:lnTo>
                  <a:lnTo>
                    <a:pt x="2697" y="776"/>
                  </a:lnTo>
                  <a:lnTo>
                    <a:pt x="2700" y="779"/>
                  </a:lnTo>
                  <a:lnTo>
                    <a:pt x="2706" y="774"/>
                  </a:lnTo>
                  <a:lnTo>
                    <a:pt x="2713" y="781"/>
                  </a:lnTo>
                  <a:lnTo>
                    <a:pt x="2716" y="769"/>
                  </a:lnTo>
                  <a:lnTo>
                    <a:pt x="2729" y="761"/>
                  </a:lnTo>
                  <a:lnTo>
                    <a:pt x="2730" y="763"/>
                  </a:lnTo>
                  <a:lnTo>
                    <a:pt x="2730" y="781"/>
                  </a:lnTo>
                  <a:lnTo>
                    <a:pt x="2741" y="763"/>
                  </a:lnTo>
                  <a:lnTo>
                    <a:pt x="2759" y="756"/>
                  </a:lnTo>
                  <a:lnTo>
                    <a:pt x="2777" y="761"/>
                  </a:lnTo>
                  <a:lnTo>
                    <a:pt x="2792" y="777"/>
                  </a:lnTo>
                  <a:lnTo>
                    <a:pt x="2794" y="762"/>
                  </a:lnTo>
                  <a:lnTo>
                    <a:pt x="2818" y="748"/>
                  </a:lnTo>
                  <a:lnTo>
                    <a:pt x="2817" y="743"/>
                  </a:lnTo>
                  <a:lnTo>
                    <a:pt x="2823" y="744"/>
                  </a:lnTo>
                  <a:lnTo>
                    <a:pt x="2821" y="739"/>
                  </a:lnTo>
                  <a:lnTo>
                    <a:pt x="2833" y="732"/>
                  </a:lnTo>
                  <a:lnTo>
                    <a:pt x="2838" y="723"/>
                  </a:lnTo>
                  <a:lnTo>
                    <a:pt x="2844" y="725"/>
                  </a:lnTo>
                  <a:lnTo>
                    <a:pt x="2860" y="716"/>
                  </a:lnTo>
                  <a:lnTo>
                    <a:pt x="2862" y="708"/>
                  </a:lnTo>
                  <a:lnTo>
                    <a:pt x="2894" y="697"/>
                  </a:lnTo>
                  <a:lnTo>
                    <a:pt x="2890" y="686"/>
                  </a:lnTo>
                  <a:lnTo>
                    <a:pt x="2897" y="695"/>
                  </a:lnTo>
                  <a:lnTo>
                    <a:pt x="2899" y="692"/>
                  </a:lnTo>
                  <a:lnTo>
                    <a:pt x="2921" y="703"/>
                  </a:lnTo>
                  <a:lnTo>
                    <a:pt x="2928" y="690"/>
                  </a:lnTo>
                  <a:lnTo>
                    <a:pt x="2921" y="680"/>
                  </a:lnTo>
                  <a:lnTo>
                    <a:pt x="2927" y="680"/>
                  </a:lnTo>
                  <a:lnTo>
                    <a:pt x="2918" y="665"/>
                  </a:lnTo>
                  <a:lnTo>
                    <a:pt x="2916" y="649"/>
                  </a:lnTo>
                  <a:lnTo>
                    <a:pt x="2910" y="648"/>
                  </a:lnTo>
                  <a:lnTo>
                    <a:pt x="2914" y="646"/>
                  </a:lnTo>
                  <a:lnTo>
                    <a:pt x="2910" y="636"/>
                  </a:lnTo>
                  <a:lnTo>
                    <a:pt x="2908" y="640"/>
                  </a:lnTo>
                  <a:lnTo>
                    <a:pt x="2898" y="635"/>
                  </a:lnTo>
                  <a:lnTo>
                    <a:pt x="2897" y="623"/>
                  </a:lnTo>
                  <a:lnTo>
                    <a:pt x="2909" y="623"/>
                  </a:lnTo>
                  <a:lnTo>
                    <a:pt x="2914" y="629"/>
                  </a:lnTo>
                  <a:lnTo>
                    <a:pt x="2933" y="614"/>
                  </a:lnTo>
                  <a:lnTo>
                    <a:pt x="2935" y="611"/>
                  </a:lnTo>
                  <a:lnTo>
                    <a:pt x="2946" y="595"/>
                  </a:lnTo>
                  <a:lnTo>
                    <a:pt x="2937" y="582"/>
                  </a:lnTo>
                  <a:lnTo>
                    <a:pt x="2936" y="574"/>
                  </a:lnTo>
                  <a:lnTo>
                    <a:pt x="2946" y="572"/>
                  </a:lnTo>
                  <a:lnTo>
                    <a:pt x="2946" y="565"/>
                  </a:lnTo>
                  <a:lnTo>
                    <a:pt x="2947" y="565"/>
                  </a:lnTo>
                  <a:lnTo>
                    <a:pt x="2951" y="572"/>
                  </a:lnTo>
                  <a:lnTo>
                    <a:pt x="2957" y="565"/>
                  </a:lnTo>
                  <a:lnTo>
                    <a:pt x="2957" y="574"/>
                  </a:lnTo>
                  <a:lnTo>
                    <a:pt x="2950" y="575"/>
                  </a:lnTo>
                  <a:lnTo>
                    <a:pt x="2957" y="594"/>
                  </a:lnTo>
                  <a:lnTo>
                    <a:pt x="2987" y="593"/>
                  </a:lnTo>
                  <a:lnTo>
                    <a:pt x="2995" y="597"/>
                  </a:lnTo>
                  <a:lnTo>
                    <a:pt x="2995" y="613"/>
                  </a:lnTo>
                  <a:lnTo>
                    <a:pt x="3003" y="621"/>
                  </a:lnTo>
                  <a:lnTo>
                    <a:pt x="3011" y="623"/>
                  </a:lnTo>
                  <a:lnTo>
                    <a:pt x="3009" y="621"/>
                  </a:lnTo>
                  <a:lnTo>
                    <a:pt x="3014" y="620"/>
                  </a:lnTo>
                  <a:lnTo>
                    <a:pt x="3013" y="622"/>
                  </a:lnTo>
                  <a:lnTo>
                    <a:pt x="3022" y="627"/>
                  </a:lnTo>
                  <a:lnTo>
                    <a:pt x="3025" y="634"/>
                  </a:lnTo>
                  <a:lnTo>
                    <a:pt x="3028" y="632"/>
                  </a:lnTo>
                  <a:lnTo>
                    <a:pt x="3031" y="636"/>
                  </a:lnTo>
                  <a:lnTo>
                    <a:pt x="3034" y="628"/>
                  </a:lnTo>
                  <a:lnTo>
                    <a:pt x="3033" y="638"/>
                  </a:lnTo>
                  <a:lnTo>
                    <a:pt x="3039" y="640"/>
                  </a:lnTo>
                  <a:lnTo>
                    <a:pt x="3041" y="634"/>
                  </a:lnTo>
                  <a:lnTo>
                    <a:pt x="3038" y="632"/>
                  </a:lnTo>
                  <a:lnTo>
                    <a:pt x="3050" y="634"/>
                  </a:lnTo>
                  <a:lnTo>
                    <a:pt x="3040" y="626"/>
                  </a:lnTo>
                  <a:lnTo>
                    <a:pt x="3044" y="622"/>
                  </a:lnTo>
                  <a:lnTo>
                    <a:pt x="3038" y="621"/>
                  </a:lnTo>
                  <a:lnTo>
                    <a:pt x="3053" y="611"/>
                  </a:lnTo>
                  <a:lnTo>
                    <a:pt x="3045" y="604"/>
                  </a:lnTo>
                  <a:close/>
                  <a:moveTo>
                    <a:pt x="779" y="2096"/>
                  </a:moveTo>
                  <a:lnTo>
                    <a:pt x="785" y="2109"/>
                  </a:lnTo>
                  <a:lnTo>
                    <a:pt x="779" y="2104"/>
                  </a:lnTo>
                  <a:lnTo>
                    <a:pt x="776" y="2105"/>
                  </a:lnTo>
                  <a:lnTo>
                    <a:pt x="774" y="2099"/>
                  </a:lnTo>
                  <a:lnTo>
                    <a:pt x="766" y="2078"/>
                  </a:lnTo>
                  <a:lnTo>
                    <a:pt x="770" y="2068"/>
                  </a:lnTo>
                  <a:lnTo>
                    <a:pt x="770" y="2049"/>
                  </a:lnTo>
                  <a:lnTo>
                    <a:pt x="765" y="2042"/>
                  </a:lnTo>
                  <a:lnTo>
                    <a:pt x="766" y="2037"/>
                  </a:lnTo>
                  <a:lnTo>
                    <a:pt x="773" y="2042"/>
                  </a:lnTo>
                  <a:lnTo>
                    <a:pt x="777" y="2059"/>
                  </a:lnTo>
                  <a:lnTo>
                    <a:pt x="780" y="2065"/>
                  </a:lnTo>
                  <a:lnTo>
                    <a:pt x="777" y="2078"/>
                  </a:lnTo>
                  <a:lnTo>
                    <a:pt x="779" y="2096"/>
                  </a:lnTo>
                  <a:close/>
                  <a:moveTo>
                    <a:pt x="454" y="1682"/>
                  </a:moveTo>
                  <a:lnTo>
                    <a:pt x="457" y="1680"/>
                  </a:lnTo>
                  <a:lnTo>
                    <a:pt x="461" y="1680"/>
                  </a:lnTo>
                  <a:lnTo>
                    <a:pt x="467" y="1682"/>
                  </a:lnTo>
                  <a:lnTo>
                    <a:pt x="471" y="1690"/>
                  </a:lnTo>
                  <a:lnTo>
                    <a:pt x="484" y="1693"/>
                  </a:lnTo>
                  <a:lnTo>
                    <a:pt x="485" y="1700"/>
                  </a:lnTo>
                  <a:lnTo>
                    <a:pt x="478" y="1702"/>
                  </a:lnTo>
                  <a:lnTo>
                    <a:pt x="471" y="1707"/>
                  </a:lnTo>
                  <a:lnTo>
                    <a:pt x="457" y="1687"/>
                  </a:lnTo>
                  <a:lnTo>
                    <a:pt x="454" y="1682"/>
                  </a:lnTo>
                  <a:close/>
                  <a:moveTo>
                    <a:pt x="713" y="2005"/>
                  </a:moveTo>
                  <a:lnTo>
                    <a:pt x="704" y="1998"/>
                  </a:lnTo>
                  <a:lnTo>
                    <a:pt x="698" y="1988"/>
                  </a:lnTo>
                  <a:lnTo>
                    <a:pt x="698" y="1978"/>
                  </a:lnTo>
                  <a:lnTo>
                    <a:pt x="695" y="1969"/>
                  </a:lnTo>
                  <a:lnTo>
                    <a:pt x="698" y="1942"/>
                  </a:lnTo>
                  <a:lnTo>
                    <a:pt x="702" y="1959"/>
                  </a:lnTo>
                  <a:lnTo>
                    <a:pt x="707" y="1981"/>
                  </a:lnTo>
                  <a:lnTo>
                    <a:pt x="705" y="1988"/>
                  </a:lnTo>
                  <a:lnTo>
                    <a:pt x="715" y="1997"/>
                  </a:lnTo>
                  <a:lnTo>
                    <a:pt x="715" y="2004"/>
                  </a:lnTo>
                  <a:lnTo>
                    <a:pt x="724" y="2021"/>
                  </a:lnTo>
                  <a:lnTo>
                    <a:pt x="722" y="2024"/>
                  </a:lnTo>
                  <a:lnTo>
                    <a:pt x="715" y="2021"/>
                  </a:lnTo>
                  <a:lnTo>
                    <a:pt x="715" y="2014"/>
                  </a:lnTo>
                  <a:lnTo>
                    <a:pt x="713" y="2005"/>
                  </a:lnTo>
                  <a:close/>
                  <a:moveTo>
                    <a:pt x="726" y="1870"/>
                  </a:moveTo>
                  <a:lnTo>
                    <a:pt x="718" y="1878"/>
                  </a:lnTo>
                  <a:lnTo>
                    <a:pt x="715" y="1876"/>
                  </a:lnTo>
                  <a:lnTo>
                    <a:pt x="715" y="1871"/>
                  </a:lnTo>
                  <a:lnTo>
                    <a:pt x="726" y="1861"/>
                  </a:lnTo>
                  <a:lnTo>
                    <a:pt x="726" y="1870"/>
                  </a:lnTo>
                  <a:close/>
                  <a:moveTo>
                    <a:pt x="757" y="1924"/>
                  </a:moveTo>
                  <a:lnTo>
                    <a:pt x="764" y="1927"/>
                  </a:lnTo>
                  <a:lnTo>
                    <a:pt x="753" y="1930"/>
                  </a:lnTo>
                  <a:lnTo>
                    <a:pt x="750" y="1936"/>
                  </a:lnTo>
                  <a:lnTo>
                    <a:pt x="750" y="1932"/>
                  </a:lnTo>
                  <a:lnTo>
                    <a:pt x="746" y="1933"/>
                  </a:lnTo>
                  <a:lnTo>
                    <a:pt x="741" y="1927"/>
                  </a:lnTo>
                  <a:lnTo>
                    <a:pt x="740" y="1932"/>
                  </a:lnTo>
                  <a:lnTo>
                    <a:pt x="734" y="1934"/>
                  </a:lnTo>
                  <a:lnTo>
                    <a:pt x="733" y="1924"/>
                  </a:lnTo>
                  <a:lnTo>
                    <a:pt x="734" y="1908"/>
                  </a:lnTo>
                  <a:lnTo>
                    <a:pt x="735" y="1896"/>
                  </a:lnTo>
                  <a:lnTo>
                    <a:pt x="746" y="1890"/>
                  </a:lnTo>
                  <a:lnTo>
                    <a:pt x="753" y="1892"/>
                  </a:lnTo>
                  <a:lnTo>
                    <a:pt x="756" y="1889"/>
                  </a:lnTo>
                  <a:lnTo>
                    <a:pt x="767" y="1890"/>
                  </a:lnTo>
                  <a:lnTo>
                    <a:pt x="769" y="1898"/>
                  </a:lnTo>
                  <a:lnTo>
                    <a:pt x="778" y="1897"/>
                  </a:lnTo>
                  <a:lnTo>
                    <a:pt x="770" y="1901"/>
                  </a:lnTo>
                  <a:lnTo>
                    <a:pt x="767" y="1905"/>
                  </a:lnTo>
                  <a:lnTo>
                    <a:pt x="770" y="1908"/>
                  </a:lnTo>
                  <a:lnTo>
                    <a:pt x="757" y="1924"/>
                  </a:lnTo>
                  <a:close/>
                  <a:moveTo>
                    <a:pt x="1052" y="1305"/>
                  </a:moveTo>
                  <a:lnTo>
                    <a:pt x="1027" y="1309"/>
                  </a:lnTo>
                  <a:lnTo>
                    <a:pt x="1013" y="1303"/>
                  </a:lnTo>
                  <a:lnTo>
                    <a:pt x="1005" y="1295"/>
                  </a:lnTo>
                  <a:lnTo>
                    <a:pt x="991" y="1290"/>
                  </a:lnTo>
                  <a:lnTo>
                    <a:pt x="986" y="1274"/>
                  </a:lnTo>
                  <a:lnTo>
                    <a:pt x="986" y="1261"/>
                  </a:lnTo>
                  <a:lnTo>
                    <a:pt x="992" y="1263"/>
                  </a:lnTo>
                  <a:lnTo>
                    <a:pt x="997" y="1242"/>
                  </a:lnTo>
                  <a:lnTo>
                    <a:pt x="1001" y="1237"/>
                  </a:lnTo>
                  <a:lnTo>
                    <a:pt x="1008" y="1238"/>
                  </a:lnTo>
                  <a:lnTo>
                    <a:pt x="1006" y="1234"/>
                  </a:lnTo>
                  <a:lnTo>
                    <a:pt x="997" y="1232"/>
                  </a:lnTo>
                  <a:lnTo>
                    <a:pt x="987" y="1216"/>
                  </a:lnTo>
                  <a:lnTo>
                    <a:pt x="980" y="1209"/>
                  </a:lnTo>
                  <a:lnTo>
                    <a:pt x="978" y="1206"/>
                  </a:lnTo>
                  <a:lnTo>
                    <a:pt x="967" y="1184"/>
                  </a:lnTo>
                  <a:lnTo>
                    <a:pt x="967" y="1167"/>
                  </a:lnTo>
                  <a:lnTo>
                    <a:pt x="966" y="1173"/>
                  </a:lnTo>
                  <a:lnTo>
                    <a:pt x="961" y="1162"/>
                  </a:lnTo>
                  <a:lnTo>
                    <a:pt x="953" y="1153"/>
                  </a:lnTo>
                  <a:lnTo>
                    <a:pt x="964" y="1138"/>
                  </a:lnTo>
                  <a:lnTo>
                    <a:pt x="965" y="1128"/>
                  </a:lnTo>
                  <a:lnTo>
                    <a:pt x="967" y="1130"/>
                  </a:lnTo>
                  <a:lnTo>
                    <a:pt x="968" y="1120"/>
                  </a:lnTo>
                  <a:lnTo>
                    <a:pt x="966" y="1117"/>
                  </a:lnTo>
                  <a:lnTo>
                    <a:pt x="972" y="1118"/>
                  </a:lnTo>
                  <a:lnTo>
                    <a:pt x="975" y="1127"/>
                  </a:lnTo>
                  <a:lnTo>
                    <a:pt x="982" y="1118"/>
                  </a:lnTo>
                  <a:lnTo>
                    <a:pt x="990" y="1115"/>
                  </a:lnTo>
                  <a:lnTo>
                    <a:pt x="982" y="1111"/>
                  </a:lnTo>
                  <a:lnTo>
                    <a:pt x="1008" y="1106"/>
                  </a:lnTo>
                  <a:lnTo>
                    <a:pt x="1018" y="1096"/>
                  </a:lnTo>
                  <a:lnTo>
                    <a:pt x="1031" y="1101"/>
                  </a:lnTo>
                  <a:lnTo>
                    <a:pt x="1043" y="1099"/>
                  </a:lnTo>
                  <a:lnTo>
                    <a:pt x="1051" y="1105"/>
                  </a:lnTo>
                  <a:lnTo>
                    <a:pt x="1063" y="1125"/>
                  </a:lnTo>
                  <a:lnTo>
                    <a:pt x="1073" y="1133"/>
                  </a:lnTo>
                  <a:lnTo>
                    <a:pt x="1075" y="1138"/>
                  </a:lnTo>
                  <a:lnTo>
                    <a:pt x="1072" y="1138"/>
                  </a:lnTo>
                  <a:lnTo>
                    <a:pt x="1073" y="1143"/>
                  </a:lnTo>
                  <a:lnTo>
                    <a:pt x="1036" y="1137"/>
                  </a:lnTo>
                  <a:lnTo>
                    <a:pt x="1032" y="1140"/>
                  </a:lnTo>
                  <a:lnTo>
                    <a:pt x="1024" y="1140"/>
                  </a:lnTo>
                  <a:lnTo>
                    <a:pt x="1021" y="1145"/>
                  </a:lnTo>
                  <a:lnTo>
                    <a:pt x="1026" y="1154"/>
                  </a:lnTo>
                  <a:lnTo>
                    <a:pt x="1005" y="1154"/>
                  </a:lnTo>
                  <a:lnTo>
                    <a:pt x="1019" y="1166"/>
                  </a:lnTo>
                  <a:lnTo>
                    <a:pt x="1024" y="1183"/>
                  </a:lnTo>
                  <a:lnTo>
                    <a:pt x="1043" y="1191"/>
                  </a:lnTo>
                  <a:lnTo>
                    <a:pt x="1040" y="1209"/>
                  </a:lnTo>
                  <a:lnTo>
                    <a:pt x="1045" y="1222"/>
                  </a:lnTo>
                  <a:lnTo>
                    <a:pt x="1044" y="1211"/>
                  </a:lnTo>
                  <a:lnTo>
                    <a:pt x="1055" y="1205"/>
                  </a:lnTo>
                  <a:lnTo>
                    <a:pt x="1059" y="1206"/>
                  </a:lnTo>
                  <a:lnTo>
                    <a:pt x="1064" y="1215"/>
                  </a:lnTo>
                  <a:lnTo>
                    <a:pt x="1073" y="1224"/>
                  </a:lnTo>
                  <a:lnTo>
                    <a:pt x="1066" y="1230"/>
                  </a:lnTo>
                  <a:lnTo>
                    <a:pt x="1070" y="1231"/>
                  </a:lnTo>
                  <a:lnTo>
                    <a:pt x="1066" y="1234"/>
                  </a:lnTo>
                  <a:lnTo>
                    <a:pt x="1049" y="1230"/>
                  </a:lnTo>
                  <a:lnTo>
                    <a:pt x="1046" y="1224"/>
                  </a:lnTo>
                  <a:lnTo>
                    <a:pt x="1044" y="1238"/>
                  </a:lnTo>
                  <a:lnTo>
                    <a:pt x="1046" y="1247"/>
                  </a:lnTo>
                  <a:lnTo>
                    <a:pt x="1053" y="1244"/>
                  </a:lnTo>
                  <a:lnTo>
                    <a:pt x="1057" y="1247"/>
                  </a:lnTo>
                  <a:lnTo>
                    <a:pt x="1053" y="1249"/>
                  </a:lnTo>
                  <a:lnTo>
                    <a:pt x="1062" y="1253"/>
                  </a:lnTo>
                  <a:lnTo>
                    <a:pt x="1053" y="1258"/>
                  </a:lnTo>
                  <a:lnTo>
                    <a:pt x="1064" y="1264"/>
                  </a:lnTo>
                  <a:lnTo>
                    <a:pt x="1059" y="1274"/>
                  </a:lnTo>
                  <a:lnTo>
                    <a:pt x="1062" y="1294"/>
                  </a:lnTo>
                  <a:lnTo>
                    <a:pt x="1064" y="1305"/>
                  </a:lnTo>
                  <a:lnTo>
                    <a:pt x="1052" y="1305"/>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46" name="Title 5"/>
          <p:cNvSpPr>
            <a:spLocks noGrp="1"/>
          </p:cNvSpPr>
          <p:nvPr>
            <p:ph type="title"/>
          </p:nvPr>
        </p:nvSpPr>
        <p:spPr>
          <a:xfrm>
            <a:off x="593378" y="107950"/>
            <a:ext cx="7913255" cy="828050"/>
          </a:xfrm>
        </p:spPr>
        <p:txBody>
          <a:bodyPr/>
          <a:lstStyle/>
          <a:p>
            <a:r>
              <a:rPr lang="en-US" dirty="0" err="1" smtClean="0"/>
              <a:t>Bnef</a:t>
            </a:r>
            <a:r>
              <a:rPr lang="en-US" dirty="0" smtClean="0"/>
              <a:t>: 200 </a:t>
            </a:r>
            <a:r>
              <a:rPr lang="en-US" dirty="0" smtClean="0"/>
              <a:t>experts across six continents</a:t>
            </a:r>
            <a:endParaRPr lang="en-US" dirty="0"/>
          </a:p>
        </p:txBody>
      </p:sp>
      <p:sp>
        <p:nvSpPr>
          <p:cNvPr id="351" name="Freeform 308"/>
          <p:cNvSpPr>
            <a:spLocks/>
          </p:cNvSpPr>
          <p:nvPr/>
        </p:nvSpPr>
        <p:spPr bwMode="auto">
          <a:xfrm>
            <a:off x="1520246" y="3612657"/>
            <a:ext cx="242888" cy="312737"/>
          </a:xfrm>
          <a:custGeom>
            <a:avLst/>
            <a:gdLst>
              <a:gd name="T0" fmla="*/ 1416 w 1416"/>
              <a:gd name="T1" fmla="*/ 708 h 1828"/>
              <a:gd name="T2" fmla="*/ 708 w 1416"/>
              <a:gd name="T3" fmla="*/ 1828 h 1828"/>
              <a:gd name="T4" fmla="*/ 0 w 1416"/>
              <a:gd name="T5" fmla="*/ 708 h 1828"/>
              <a:gd name="T6" fmla="*/ 708 w 1416"/>
              <a:gd name="T7" fmla="*/ 0 h 1828"/>
              <a:gd name="T8" fmla="*/ 1416 w 1416"/>
              <a:gd name="T9" fmla="*/ 708 h 1828"/>
            </a:gdLst>
            <a:ahLst/>
            <a:cxnLst>
              <a:cxn ang="0">
                <a:pos x="T0" y="T1"/>
              </a:cxn>
              <a:cxn ang="0">
                <a:pos x="T2" y="T3"/>
              </a:cxn>
              <a:cxn ang="0">
                <a:pos x="T4" y="T5"/>
              </a:cxn>
              <a:cxn ang="0">
                <a:pos x="T6" y="T7"/>
              </a:cxn>
              <a:cxn ang="0">
                <a:pos x="T8" y="T9"/>
              </a:cxn>
            </a:cxnLst>
            <a:rect l="0" t="0" r="r" b="b"/>
            <a:pathLst>
              <a:path w="1416" h="1828">
                <a:moveTo>
                  <a:pt x="1416" y="708"/>
                </a:moveTo>
                <a:cubicBezTo>
                  <a:pt x="1416" y="1099"/>
                  <a:pt x="708" y="1828"/>
                  <a:pt x="708" y="1828"/>
                </a:cubicBezTo>
                <a:cubicBezTo>
                  <a:pt x="708" y="1828"/>
                  <a:pt x="0" y="1099"/>
                  <a:pt x="0" y="708"/>
                </a:cubicBezTo>
                <a:cubicBezTo>
                  <a:pt x="0" y="317"/>
                  <a:pt x="317" y="0"/>
                  <a:pt x="708" y="0"/>
                </a:cubicBezTo>
                <a:cubicBezTo>
                  <a:pt x="1099" y="0"/>
                  <a:pt x="1416" y="317"/>
                  <a:pt x="1416" y="70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52" name="Freeform 308"/>
          <p:cNvSpPr>
            <a:spLocks/>
          </p:cNvSpPr>
          <p:nvPr/>
        </p:nvSpPr>
        <p:spPr bwMode="auto">
          <a:xfrm>
            <a:off x="2854100" y="3531560"/>
            <a:ext cx="242888" cy="312737"/>
          </a:xfrm>
          <a:custGeom>
            <a:avLst/>
            <a:gdLst>
              <a:gd name="T0" fmla="*/ 1416 w 1416"/>
              <a:gd name="T1" fmla="*/ 708 h 1828"/>
              <a:gd name="T2" fmla="*/ 708 w 1416"/>
              <a:gd name="T3" fmla="*/ 1828 h 1828"/>
              <a:gd name="T4" fmla="*/ 0 w 1416"/>
              <a:gd name="T5" fmla="*/ 708 h 1828"/>
              <a:gd name="T6" fmla="*/ 708 w 1416"/>
              <a:gd name="T7" fmla="*/ 0 h 1828"/>
              <a:gd name="T8" fmla="*/ 1416 w 1416"/>
              <a:gd name="T9" fmla="*/ 708 h 1828"/>
            </a:gdLst>
            <a:ahLst/>
            <a:cxnLst>
              <a:cxn ang="0">
                <a:pos x="T0" y="T1"/>
              </a:cxn>
              <a:cxn ang="0">
                <a:pos x="T2" y="T3"/>
              </a:cxn>
              <a:cxn ang="0">
                <a:pos x="T4" y="T5"/>
              </a:cxn>
              <a:cxn ang="0">
                <a:pos x="T6" y="T7"/>
              </a:cxn>
              <a:cxn ang="0">
                <a:pos x="T8" y="T9"/>
              </a:cxn>
            </a:cxnLst>
            <a:rect l="0" t="0" r="r" b="b"/>
            <a:pathLst>
              <a:path w="1416" h="1828">
                <a:moveTo>
                  <a:pt x="1416" y="708"/>
                </a:moveTo>
                <a:cubicBezTo>
                  <a:pt x="1416" y="1099"/>
                  <a:pt x="708" y="1828"/>
                  <a:pt x="708" y="1828"/>
                </a:cubicBezTo>
                <a:cubicBezTo>
                  <a:pt x="708" y="1828"/>
                  <a:pt x="0" y="1099"/>
                  <a:pt x="0" y="708"/>
                </a:cubicBezTo>
                <a:cubicBezTo>
                  <a:pt x="0" y="317"/>
                  <a:pt x="317" y="0"/>
                  <a:pt x="708" y="0"/>
                </a:cubicBezTo>
                <a:cubicBezTo>
                  <a:pt x="1099" y="0"/>
                  <a:pt x="1416" y="317"/>
                  <a:pt x="1416" y="70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54" name="TextBox 353"/>
          <p:cNvSpPr txBox="1"/>
          <p:nvPr/>
        </p:nvSpPr>
        <p:spPr>
          <a:xfrm>
            <a:off x="1203984" y="3778101"/>
            <a:ext cx="1165558" cy="178272"/>
          </a:xfrm>
          <a:prstGeom prst="rect">
            <a:avLst/>
          </a:prstGeom>
          <a:noFill/>
        </p:spPr>
        <p:txBody>
          <a:bodyPr wrap="square" lIns="0" tIns="0" rIns="0" bIns="0" rtlCol="0">
            <a:noAutofit/>
          </a:bodyPr>
          <a:lstStyle/>
          <a:p>
            <a:pPr marL="0" indent="0">
              <a:buNone/>
            </a:pPr>
            <a:r>
              <a:rPr lang="en-US" sz="1200" b="1" dirty="0" smtClean="0">
                <a:solidFill>
                  <a:schemeClr val="tx1">
                    <a:lumMod val="75000"/>
                    <a:lumOff val="25000"/>
                  </a:schemeClr>
                </a:solidFill>
              </a:rPr>
              <a:t>San </a:t>
            </a:r>
            <a:br>
              <a:rPr lang="en-US" sz="1200" b="1" dirty="0" smtClean="0">
                <a:solidFill>
                  <a:schemeClr val="tx1">
                    <a:lumMod val="75000"/>
                    <a:lumOff val="25000"/>
                  </a:schemeClr>
                </a:solidFill>
              </a:rPr>
            </a:br>
            <a:r>
              <a:rPr lang="en-US" sz="1200" b="1" dirty="0" smtClean="0">
                <a:solidFill>
                  <a:schemeClr val="tx1">
                    <a:lumMod val="75000"/>
                    <a:lumOff val="25000"/>
                  </a:schemeClr>
                </a:solidFill>
              </a:rPr>
              <a:t>Francisco</a:t>
            </a:r>
          </a:p>
        </p:txBody>
      </p:sp>
      <p:sp>
        <p:nvSpPr>
          <p:cNvPr id="355" name="TextBox 354"/>
          <p:cNvSpPr txBox="1"/>
          <p:nvPr/>
        </p:nvSpPr>
        <p:spPr>
          <a:xfrm>
            <a:off x="3076439" y="3758243"/>
            <a:ext cx="1525222" cy="237690"/>
          </a:xfrm>
          <a:prstGeom prst="rect">
            <a:avLst/>
          </a:prstGeom>
          <a:noFill/>
        </p:spPr>
        <p:txBody>
          <a:bodyPr wrap="square" lIns="0" tIns="0" rIns="0" bIns="0" rtlCol="0">
            <a:noAutofit/>
          </a:bodyPr>
          <a:lstStyle/>
          <a:p>
            <a:pPr marL="0" indent="0">
              <a:buNone/>
            </a:pPr>
            <a:r>
              <a:rPr lang="en-US" sz="1200" b="1" dirty="0">
                <a:solidFill>
                  <a:schemeClr val="tx1">
                    <a:lumMod val="75000"/>
                    <a:lumOff val="25000"/>
                  </a:schemeClr>
                </a:solidFill>
              </a:rPr>
              <a:t>Washington DC</a:t>
            </a:r>
          </a:p>
        </p:txBody>
      </p:sp>
      <p:grpSp>
        <p:nvGrpSpPr>
          <p:cNvPr id="368" name="Group 367"/>
          <p:cNvGrpSpPr/>
          <p:nvPr/>
        </p:nvGrpSpPr>
        <p:grpSpPr>
          <a:xfrm>
            <a:off x="3572395" y="5395429"/>
            <a:ext cx="1797874" cy="329936"/>
            <a:chOff x="3572395" y="5351833"/>
            <a:chExt cx="1797874" cy="329936"/>
          </a:xfrm>
        </p:grpSpPr>
        <p:sp>
          <p:nvSpPr>
            <p:cNvPr id="353" name="Freeform 308"/>
            <p:cNvSpPr>
              <a:spLocks/>
            </p:cNvSpPr>
            <p:nvPr/>
          </p:nvSpPr>
          <p:spPr bwMode="auto">
            <a:xfrm>
              <a:off x="3572395" y="5351833"/>
              <a:ext cx="242888" cy="312737"/>
            </a:xfrm>
            <a:custGeom>
              <a:avLst/>
              <a:gdLst>
                <a:gd name="T0" fmla="*/ 1416 w 1416"/>
                <a:gd name="T1" fmla="*/ 708 h 1828"/>
                <a:gd name="T2" fmla="*/ 708 w 1416"/>
                <a:gd name="T3" fmla="*/ 1828 h 1828"/>
                <a:gd name="T4" fmla="*/ 0 w 1416"/>
                <a:gd name="T5" fmla="*/ 708 h 1828"/>
                <a:gd name="T6" fmla="*/ 708 w 1416"/>
                <a:gd name="T7" fmla="*/ 0 h 1828"/>
                <a:gd name="T8" fmla="*/ 1416 w 1416"/>
                <a:gd name="T9" fmla="*/ 708 h 1828"/>
              </a:gdLst>
              <a:ahLst/>
              <a:cxnLst>
                <a:cxn ang="0">
                  <a:pos x="T0" y="T1"/>
                </a:cxn>
                <a:cxn ang="0">
                  <a:pos x="T2" y="T3"/>
                </a:cxn>
                <a:cxn ang="0">
                  <a:pos x="T4" y="T5"/>
                </a:cxn>
                <a:cxn ang="0">
                  <a:pos x="T6" y="T7"/>
                </a:cxn>
                <a:cxn ang="0">
                  <a:pos x="T8" y="T9"/>
                </a:cxn>
              </a:cxnLst>
              <a:rect l="0" t="0" r="r" b="b"/>
              <a:pathLst>
                <a:path w="1416" h="1828">
                  <a:moveTo>
                    <a:pt x="1416" y="708"/>
                  </a:moveTo>
                  <a:cubicBezTo>
                    <a:pt x="1416" y="1099"/>
                    <a:pt x="708" y="1828"/>
                    <a:pt x="708" y="1828"/>
                  </a:cubicBezTo>
                  <a:cubicBezTo>
                    <a:pt x="708" y="1828"/>
                    <a:pt x="0" y="1099"/>
                    <a:pt x="0" y="708"/>
                  </a:cubicBezTo>
                  <a:cubicBezTo>
                    <a:pt x="0" y="317"/>
                    <a:pt x="317" y="0"/>
                    <a:pt x="708" y="0"/>
                  </a:cubicBezTo>
                  <a:cubicBezTo>
                    <a:pt x="1099" y="0"/>
                    <a:pt x="1416" y="317"/>
                    <a:pt x="1416" y="70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63" name="TextBox 362"/>
            <p:cNvSpPr txBox="1"/>
            <p:nvPr/>
          </p:nvSpPr>
          <p:spPr>
            <a:xfrm>
              <a:off x="3845047" y="5444079"/>
              <a:ext cx="1525222" cy="237690"/>
            </a:xfrm>
            <a:prstGeom prst="rect">
              <a:avLst/>
            </a:prstGeom>
            <a:noFill/>
          </p:spPr>
          <p:txBody>
            <a:bodyPr wrap="square" lIns="0" tIns="0" rIns="0" bIns="0" rtlCol="0">
              <a:noAutofit/>
            </a:bodyPr>
            <a:lstStyle/>
            <a:p>
              <a:pPr marL="0" indent="0">
                <a:buNone/>
              </a:pPr>
              <a:r>
                <a:rPr lang="en-US" sz="1200" b="1" dirty="0" smtClean="0">
                  <a:solidFill>
                    <a:schemeClr val="tx1">
                      <a:lumMod val="75000"/>
                      <a:lumOff val="25000"/>
                    </a:schemeClr>
                  </a:solidFill>
                </a:rPr>
                <a:t>Sao Paulo</a:t>
              </a:r>
              <a:endParaRPr lang="en-US" sz="1200" b="1" dirty="0">
                <a:solidFill>
                  <a:schemeClr val="tx1">
                    <a:lumMod val="75000"/>
                    <a:lumOff val="25000"/>
                  </a:schemeClr>
                </a:solidFill>
              </a:endParaRPr>
            </a:p>
          </p:txBody>
        </p:sp>
      </p:grpSp>
      <p:grpSp>
        <p:nvGrpSpPr>
          <p:cNvPr id="369" name="Group 368"/>
          <p:cNvGrpSpPr/>
          <p:nvPr/>
        </p:nvGrpSpPr>
        <p:grpSpPr>
          <a:xfrm>
            <a:off x="5421732" y="5732493"/>
            <a:ext cx="1797874" cy="329936"/>
            <a:chOff x="3572395" y="5351833"/>
            <a:chExt cx="1797874" cy="329936"/>
          </a:xfrm>
        </p:grpSpPr>
        <p:sp>
          <p:nvSpPr>
            <p:cNvPr id="370" name="Freeform 308"/>
            <p:cNvSpPr>
              <a:spLocks/>
            </p:cNvSpPr>
            <p:nvPr/>
          </p:nvSpPr>
          <p:spPr bwMode="auto">
            <a:xfrm>
              <a:off x="3572395" y="5351833"/>
              <a:ext cx="242888" cy="312737"/>
            </a:xfrm>
            <a:custGeom>
              <a:avLst/>
              <a:gdLst>
                <a:gd name="T0" fmla="*/ 1416 w 1416"/>
                <a:gd name="T1" fmla="*/ 708 h 1828"/>
                <a:gd name="T2" fmla="*/ 708 w 1416"/>
                <a:gd name="T3" fmla="*/ 1828 h 1828"/>
                <a:gd name="T4" fmla="*/ 0 w 1416"/>
                <a:gd name="T5" fmla="*/ 708 h 1828"/>
                <a:gd name="T6" fmla="*/ 708 w 1416"/>
                <a:gd name="T7" fmla="*/ 0 h 1828"/>
                <a:gd name="T8" fmla="*/ 1416 w 1416"/>
                <a:gd name="T9" fmla="*/ 708 h 1828"/>
              </a:gdLst>
              <a:ahLst/>
              <a:cxnLst>
                <a:cxn ang="0">
                  <a:pos x="T0" y="T1"/>
                </a:cxn>
                <a:cxn ang="0">
                  <a:pos x="T2" y="T3"/>
                </a:cxn>
                <a:cxn ang="0">
                  <a:pos x="T4" y="T5"/>
                </a:cxn>
                <a:cxn ang="0">
                  <a:pos x="T6" y="T7"/>
                </a:cxn>
                <a:cxn ang="0">
                  <a:pos x="T8" y="T9"/>
                </a:cxn>
              </a:cxnLst>
              <a:rect l="0" t="0" r="r" b="b"/>
              <a:pathLst>
                <a:path w="1416" h="1828">
                  <a:moveTo>
                    <a:pt x="1416" y="708"/>
                  </a:moveTo>
                  <a:cubicBezTo>
                    <a:pt x="1416" y="1099"/>
                    <a:pt x="708" y="1828"/>
                    <a:pt x="708" y="1828"/>
                  </a:cubicBezTo>
                  <a:cubicBezTo>
                    <a:pt x="708" y="1828"/>
                    <a:pt x="0" y="1099"/>
                    <a:pt x="0" y="708"/>
                  </a:cubicBezTo>
                  <a:cubicBezTo>
                    <a:pt x="0" y="317"/>
                    <a:pt x="317" y="0"/>
                    <a:pt x="708" y="0"/>
                  </a:cubicBezTo>
                  <a:cubicBezTo>
                    <a:pt x="1099" y="0"/>
                    <a:pt x="1416" y="317"/>
                    <a:pt x="1416" y="70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71" name="TextBox 370"/>
            <p:cNvSpPr txBox="1"/>
            <p:nvPr/>
          </p:nvSpPr>
          <p:spPr>
            <a:xfrm>
              <a:off x="3845047" y="5444079"/>
              <a:ext cx="1525222" cy="237690"/>
            </a:xfrm>
            <a:prstGeom prst="rect">
              <a:avLst/>
            </a:prstGeom>
            <a:noFill/>
          </p:spPr>
          <p:txBody>
            <a:bodyPr wrap="square" lIns="0" tIns="0" rIns="0" bIns="0" rtlCol="0">
              <a:noAutofit/>
            </a:bodyPr>
            <a:lstStyle/>
            <a:p>
              <a:pPr marL="0" indent="0">
                <a:buNone/>
              </a:pPr>
              <a:r>
                <a:rPr lang="en-US" sz="1200" b="1" dirty="0" smtClean="0">
                  <a:solidFill>
                    <a:schemeClr val="tx1">
                      <a:lumMod val="75000"/>
                      <a:lumOff val="25000"/>
                    </a:schemeClr>
                  </a:solidFill>
                </a:rPr>
                <a:t>Cape Town</a:t>
              </a:r>
              <a:endParaRPr lang="en-US" sz="1200" b="1" dirty="0">
                <a:solidFill>
                  <a:schemeClr val="tx1">
                    <a:lumMod val="75000"/>
                    <a:lumOff val="25000"/>
                  </a:schemeClr>
                </a:solidFill>
              </a:endParaRPr>
            </a:p>
          </p:txBody>
        </p:sp>
      </p:grpSp>
      <p:grpSp>
        <p:nvGrpSpPr>
          <p:cNvPr id="372" name="Group 371"/>
          <p:cNvGrpSpPr/>
          <p:nvPr/>
        </p:nvGrpSpPr>
        <p:grpSpPr>
          <a:xfrm>
            <a:off x="9088669" y="5725365"/>
            <a:ext cx="898543" cy="329936"/>
            <a:chOff x="3572395" y="5351833"/>
            <a:chExt cx="898543" cy="329936"/>
          </a:xfrm>
        </p:grpSpPr>
        <p:sp>
          <p:nvSpPr>
            <p:cNvPr id="373" name="Freeform 308"/>
            <p:cNvSpPr>
              <a:spLocks/>
            </p:cNvSpPr>
            <p:nvPr/>
          </p:nvSpPr>
          <p:spPr bwMode="auto">
            <a:xfrm>
              <a:off x="3572395" y="5351833"/>
              <a:ext cx="242888" cy="312737"/>
            </a:xfrm>
            <a:custGeom>
              <a:avLst/>
              <a:gdLst>
                <a:gd name="T0" fmla="*/ 1416 w 1416"/>
                <a:gd name="T1" fmla="*/ 708 h 1828"/>
                <a:gd name="T2" fmla="*/ 708 w 1416"/>
                <a:gd name="T3" fmla="*/ 1828 h 1828"/>
                <a:gd name="T4" fmla="*/ 0 w 1416"/>
                <a:gd name="T5" fmla="*/ 708 h 1828"/>
                <a:gd name="T6" fmla="*/ 708 w 1416"/>
                <a:gd name="T7" fmla="*/ 0 h 1828"/>
                <a:gd name="T8" fmla="*/ 1416 w 1416"/>
                <a:gd name="T9" fmla="*/ 708 h 1828"/>
              </a:gdLst>
              <a:ahLst/>
              <a:cxnLst>
                <a:cxn ang="0">
                  <a:pos x="T0" y="T1"/>
                </a:cxn>
                <a:cxn ang="0">
                  <a:pos x="T2" y="T3"/>
                </a:cxn>
                <a:cxn ang="0">
                  <a:pos x="T4" y="T5"/>
                </a:cxn>
                <a:cxn ang="0">
                  <a:pos x="T6" y="T7"/>
                </a:cxn>
                <a:cxn ang="0">
                  <a:pos x="T8" y="T9"/>
                </a:cxn>
              </a:cxnLst>
              <a:rect l="0" t="0" r="r" b="b"/>
              <a:pathLst>
                <a:path w="1416" h="1828">
                  <a:moveTo>
                    <a:pt x="1416" y="708"/>
                  </a:moveTo>
                  <a:cubicBezTo>
                    <a:pt x="1416" y="1099"/>
                    <a:pt x="708" y="1828"/>
                    <a:pt x="708" y="1828"/>
                  </a:cubicBezTo>
                  <a:cubicBezTo>
                    <a:pt x="708" y="1828"/>
                    <a:pt x="0" y="1099"/>
                    <a:pt x="0" y="708"/>
                  </a:cubicBezTo>
                  <a:cubicBezTo>
                    <a:pt x="0" y="317"/>
                    <a:pt x="317" y="0"/>
                    <a:pt x="708" y="0"/>
                  </a:cubicBezTo>
                  <a:cubicBezTo>
                    <a:pt x="1099" y="0"/>
                    <a:pt x="1416" y="317"/>
                    <a:pt x="1416" y="70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74" name="TextBox 373"/>
            <p:cNvSpPr txBox="1"/>
            <p:nvPr/>
          </p:nvSpPr>
          <p:spPr>
            <a:xfrm>
              <a:off x="3845047" y="5444079"/>
              <a:ext cx="625891" cy="237690"/>
            </a:xfrm>
            <a:prstGeom prst="rect">
              <a:avLst/>
            </a:prstGeom>
            <a:noFill/>
          </p:spPr>
          <p:txBody>
            <a:bodyPr wrap="square" lIns="0" tIns="0" rIns="0" bIns="0" rtlCol="0">
              <a:noAutofit/>
            </a:bodyPr>
            <a:lstStyle/>
            <a:p>
              <a:pPr marL="0" indent="0">
                <a:buNone/>
              </a:pPr>
              <a:r>
                <a:rPr lang="en-US" sz="1200" b="1" dirty="0" smtClean="0">
                  <a:solidFill>
                    <a:schemeClr val="tx1">
                      <a:lumMod val="75000"/>
                      <a:lumOff val="25000"/>
                    </a:schemeClr>
                  </a:solidFill>
                </a:rPr>
                <a:t>Sydney</a:t>
              </a:r>
              <a:endParaRPr lang="en-US" sz="1200" b="1" dirty="0">
                <a:solidFill>
                  <a:schemeClr val="tx1">
                    <a:lumMod val="75000"/>
                    <a:lumOff val="25000"/>
                  </a:schemeClr>
                </a:solidFill>
              </a:endParaRPr>
            </a:p>
          </p:txBody>
        </p:sp>
      </p:grpSp>
      <p:grpSp>
        <p:nvGrpSpPr>
          <p:cNvPr id="387" name="Group 386"/>
          <p:cNvGrpSpPr/>
          <p:nvPr/>
        </p:nvGrpSpPr>
        <p:grpSpPr>
          <a:xfrm>
            <a:off x="7779740" y="4665673"/>
            <a:ext cx="1797874" cy="329936"/>
            <a:chOff x="3572395" y="5351833"/>
            <a:chExt cx="1797874" cy="329936"/>
          </a:xfrm>
        </p:grpSpPr>
        <p:sp>
          <p:nvSpPr>
            <p:cNvPr id="388" name="Freeform 308"/>
            <p:cNvSpPr>
              <a:spLocks/>
            </p:cNvSpPr>
            <p:nvPr/>
          </p:nvSpPr>
          <p:spPr bwMode="auto">
            <a:xfrm>
              <a:off x="3572395" y="5351833"/>
              <a:ext cx="242888" cy="312737"/>
            </a:xfrm>
            <a:custGeom>
              <a:avLst/>
              <a:gdLst>
                <a:gd name="T0" fmla="*/ 1416 w 1416"/>
                <a:gd name="T1" fmla="*/ 708 h 1828"/>
                <a:gd name="T2" fmla="*/ 708 w 1416"/>
                <a:gd name="T3" fmla="*/ 1828 h 1828"/>
                <a:gd name="T4" fmla="*/ 0 w 1416"/>
                <a:gd name="T5" fmla="*/ 708 h 1828"/>
                <a:gd name="T6" fmla="*/ 708 w 1416"/>
                <a:gd name="T7" fmla="*/ 0 h 1828"/>
                <a:gd name="T8" fmla="*/ 1416 w 1416"/>
                <a:gd name="T9" fmla="*/ 708 h 1828"/>
              </a:gdLst>
              <a:ahLst/>
              <a:cxnLst>
                <a:cxn ang="0">
                  <a:pos x="T0" y="T1"/>
                </a:cxn>
                <a:cxn ang="0">
                  <a:pos x="T2" y="T3"/>
                </a:cxn>
                <a:cxn ang="0">
                  <a:pos x="T4" y="T5"/>
                </a:cxn>
                <a:cxn ang="0">
                  <a:pos x="T6" y="T7"/>
                </a:cxn>
                <a:cxn ang="0">
                  <a:pos x="T8" y="T9"/>
                </a:cxn>
              </a:cxnLst>
              <a:rect l="0" t="0" r="r" b="b"/>
              <a:pathLst>
                <a:path w="1416" h="1828">
                  <a:moveTo>
                    <a:pt x="1416" y="708"/>
                  </a:moveTo>
                  <a:cubicBezTo>
                    <a:pt x="1416" y="1099"/>
                    <a:pt x="708" y="1828"/>
                    <a:pt x="708" y="1828"/>
                  </a:cubicBezTo>
                  <a:cubicBezTo>
                    <a:pt x="708" y="1828"/>
                    <a:pt x="0" y="1099"/>
                    <a:pt x="0" y="708"/>
                  </a:cubicBezTo>
                  <a:cubicBezTo>
                    <a:pt x="0" y="317"/>
                    <a:pt x="317" y="0"/>
                    <a:pt x="708" y="0"/>
                  </a:cubicBezTo>
                  <a:cubicBezTo>
                    <a:pt x="1099" y="0"/>
                    <a:pt x="1416" y="317"/>
                    <a:pt x="1416" y="70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89" name="TextBox 388"/>
            <p:cNvSpPr txBox="1"/>
            <p:nvPr/>
          </p:nvSpPr>
          <p:spPr>
            <a:xfrm>
              <a:off x="3845047" y="5444079"/>
              <a:ext cx="1525222" cy="237690"/>
            </a:xfrm>
            <a:prstGeom prst="rect">
              <a:avLst/>
            </a:prstGeom>
            <a:noFill/>
          </p:spPr>
          <p:txBody>
            <a:bodyPr wrap="square" lIns="0" tIns="0" rIns="0" bIns="0" rtlCol="0">
              <a:noAutofit/>
            </a:bodyPr>
            <a:lstStyle/>
            <a:p>
              <a:pPr marL="0" indent="0">
                <a:buNone/>
              </a:pPr>
              <a:r>
                <a:rPr lang="en-US" sz="1200" b="1" dirty="0" smtClean="0">
                  <a:solidFill>
                    <a:schemeClr val="tx1">
                      <a:lumMod val="75000"/>
                      <a:lumOff val="25000"/>
                    </a:schemeClr>
                  </a:solidFill>
                </a:rPr>
                <a:t>Singapore</a:t>
              </a:r>
              <a:endParaRPr lang="en-US" sz="1200" b="1" dirty="0">
                <a:solidFill>
                  <a:schemeClr val="tx1">
                    <a:lumMod val="75000"/>
                    <a:lumOff val="25000"/>
                  </a:schemeClr>
                </a:solidFill>
              </a:endParaRPr>
            </a:p>
          </p:txBody>
        </p:sp>
      </p:grpSp>
      <p:grpSp>
        <p:nvGrpSpPr>
          <p:cNvPr id="390" name="Group 389"/>
          <p:cNvGrpSpPr/>
          <p:nvPr/>
        </p:nvGrpSpPr>
        <p:grpSpPr>
          <a:xfrm>
            <a:off x="5188094" y="3317813"/>
            <a:ext cx="1797874" cy="329936"/>
            <a:chOff x="3572395" y="5351833"/>
            <a:chExt cx="1797874" cy="329936"/>
          </a:xfrm>
        </p:grpSpPr>
        <p:sp>
          <p:nvSpPr>
            <p:cNvPr id="391" name="Freeform 308"/>
            <p:cNvSpPr>
              <a:spLocks/>
            </p:cNvSpPr>
            <p:nvPr/>
          </p:nvSpPr>
          <p:spPr bwMode="auto">
            <a:xfrm>
              <a:off x="3572395" y="5351833"/>
              <a:ext cx="242888" cy="312737"/>
            </a:xfrm>
            <a:custGeom>
              <a:avLst/>
              <a:gdLst>
                <a:gd name="T0" fmla="*/ 1416 w 1416"/>
                <a:gd name="T1" fmla="*/ 708 h 1828"/>
                <a:gd name="T2" fmla="*/ 708 w 1416"/>
                <a:gd name="T3" fmla="*/ 1828 h 1828"/>
                <a:gd name="T4" fmla="*/ 0 w 1416"/>
                <a:gd name="T5" fmla="*/ 708 h 1828"/>
                <a:gd name="T6" fmla="*/ 708 w 1416"/>
                <a:gd name="T7" fmla="*/ 0 h 1828"/>
                <a:gd name="T8" fmla="*/ 1416 w 1416"/>
                <a:gd name="T9" fmla="*/ 708 h 1828"/>
              </a:gdLst>
              <a:ahLst/>
              <a:cxnLst>
                <a:cxn ang="0">
                  <a:pos x="T0" y="T1"/>
                </a:cxn>
                <a:cxn ang="0">
                  <a:pos x="T2" y="T3"/>
                </a:cxn>
                <a:cxn ang="0">
                  <a:pos x="T4" y="T5"/>
                </a:cxn>
                <a:cxn ang="0">
                  <a:pos x="T6" y="T7"/>
                </a:cxn>
                <a:cxn ang="0">
                  <a:pos x="T8" y="T9"/>
                </a:cxn>
              </a:cxnLst>
              <a:rect l="0" t="0" r="r" b="b"/>
              <a:pathLst>
                <a:path w="1416" h="1828">
                  <a:moveTo>
                    <a:pt x="1416" y="708"/>
                  </a:moveTo>
                  <a:cubicBezTo>
                    <a:pt x="1416" y="1099"/>
                    <a:pt x="708" y="1828"/>
                    <a:pt x="708" y="1828"/>
                  </a:cubicBezTo>
                  <a:cubicBezTo>
                    <a:pt x="708" y="1828"/>
                    <a:pt x="0" y="1099"/>
                    <a:pt x="0" y="708"/>
                  </a:cubicBezTo>
                  <a:cubicBezTo>
                    <a:pt x="0" y="317"/>
                    <a:pt x="317" y="0"/>
                    <a:pt x="708" y="0"/>
                  </a:cubicBezTo>
                  <a:cubicBezTo>
                    <a:pt x="1099" y="0"/>
                    <a:pt x="1416" y="317"/>
                    <a:pt x="1416" y="70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92" name="TextBox 391"/>
            <p:cNvSpPr txBox="1"/>
            <p:nvPr/>
          </p:nvSpPr>
          <p:spPr>
            <a:xfrm>
              <a:off x="3845047" y="5444079"/>
              <a:ext cx="1525222" cy="237690"/>
            </a:xfrm>
            <a:prstGeom prst="rect">
              <a:avLst/>
            </a:prstGeom>
            <a:noFill/>
          </p:spPr>
          <p:txBody>
            <a:bodyPr wrap="square" lIns="0" tIns="0" rIns="0" bIns="0" rtlCol="0">
              <a:noAutofit/>
            </a:bodyPr>
            <a:lstStyle/>
            <a:p>
              <a:pPr marL="0" indent="0">
                <a:buNone/>
              </a:pPr>
              <a:r>
                <a:rPr lang="en-US" sz="1200" b="1" dirty="0" smtClean="0">
                  <a:solidFill>
                    <a:schemeClr val="tx1">
                      <a:lumMod val="75000"/>
                      <a:lumOff val="25000"/>
                    </a:schemeClr>
                  </a:solidFill>
                </a:rPr>
                <a:t>Zurich</a:t>
              </a:r>
              <a:endParaRPr lang="en-US" sz="1200" b="1" dirty="0">
                <a:solidFill>
                  <a:schemeClr val="tx1">
                    <a:lumMod val="75000"/>
                    <a:lumOff val="25000"/>
                  </a:schemeClr>
                </a:solidFill>
              </a:endParaRPr>
            </a:p>
          </p:txBody>
        </p:sp>
      </p:grpSp>
      <p:grpSp>
        <p:nvGrpSpPr>
          <p:cNvPr id="393" name="Group 392"/>
          <p:cNvGrpSpPr/>
          <p:nvPr/>
        </p:nvGrpSpPr>
        <p:grpSpPr>
          <a:xfrm>
            <a:off x="5269493" y="3131765"/>
            <a:ext cx="1797874" cy="329936"/>
            <a:chOff x="3572395" y="5351833"/>
            <a:chExt cx="1797874" cy="329936"/>
          </a:xfrm>
        </p:grpSpPr>
        <p:sp>
          <p:nvSpPr>
            <p:cNvPr id="394" name="Freeform 308"/>
            <p:cNvSpPr>
              <a:spLocks/>
            </p:cNvSpPr>
            <p:nvPr/>
          </p:nvSpPr>
          <p:spPr bwMode="auto">
            <a:xfrm>
              <a:off x="3572395" y="5351833"/>
              <a:ext cx="242888" cy="312737"/>
            </a:xfrm>
            <a:custGeom>
              <a:avLst/>
              <a:gdLst>
                <a:gd name="T0" fmla="*/ 1416 w 1416"/>
                <a:gd name="T1" fmla="*/ 708 h 1828"/>
                <a:gd name="T2" fmla="*/ 708 w 1416"/>
                <a:gd name="T3" fmla="*/ 1828 h 1828"/>
                <a:gd name="T4" fmla="*/ 0 w 1416"/>
                <a:gd name="T5" fmla="*/ 708 h 1828"/>
                <a:gd name="T6" fmla="*/ 708 w 1416"/>
                <a:gd name="T7" fmla="*/ 0 h 1828"/>
                <a:gd name="T8" fmla="*/ 1416 w 1416"/>
                <a:gd name="T9" fmla="*/ 708 h 1828"/>
              </a:gdLst>
              <a:ahLst/>
              <a:cxnLst>
                <a:cxn ang="0">
                  <a:pos x="T0" y="T1"/>
                </a:cxn>
                <a:cxn ang="0">
                  <a:pos x="T2" y="T3"/>
                </a:cxn>
                <a:cxn ang="0">
                  <a:pos x="T4" y="T5"/>
                </a:cxn>
                <a:cxn ang="0">
                  <a:pos x="T6" y="T7"/>
                </a:cxn>
                <a:cxn ang="0">
                  <a:pos x="T8" y="T9"/>
                </a:cxn>
              </a:cxnLst>
              <a:rect l="0" t="0" r="r" b="b"/>
              <a:pathLst>
                <a:path w="1416" h="1828">
                  <a:moveTo>
                    <a:pt x="1416" y="708"/>
                  </a:moveTo>
                  <a:cubicBezTo>
                    <a:pt x="1416" y="1099"/>
                    <a:pt x="708" y="1828"/>
                    <a:pt x="708" y="1828"/>
                  </a:cubicBezTo>
                  <a:cubicBezTo>
                    <a:pt x="708" y="1828"/>
                    <a:pt x="0" y="1099"/>
                    <a:pt x="0" y="708"/>
                  </a:cubicBezTo>
                  <a:cubicBezTo>
                    <a:pt x="0" y="317"/>
                    <a:pt x="317" y="0"/>
                    <a:pt x="708" y="0"/>
                  </a:cubicBezTo>
                  <a:cubicBezTo>
                    <a:pt x="1099" y="0"/>
                    <a:pt x="1416" y="317"/>
                    <a:pt x="1416" y="70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95" name="TextBox 394"/>
            <p:cNvSpPr txBox="1"/>
            <p:nvPr/>
          </p:nvSpPr>
          <p:spPr>
            <a:xfrm>
              <a:off x="3845047" y="5444079"/>
              <a:ext cx="1525222" cy="237690"/>
            </a:xfrm>
            <a:prstGeom prst="rect">
              <a:avLst/>
            </a:prstGeom>
            <a:noFill/>
          </p:spPr>
          <p:txBody>
            <a:bodyPr wrap="square" lIns="0" tIns="0" rIns="0" bIns="0" rtlCol="0">
              <a:noAutofit/>
            </a:bodyPr>
            <a:lstStyle/>
            <a:p>
              <a:pPr marL="0" indent="0">
                <a:buNone/>
              </a:pPr>
              <a:r>
                <a:rPr lang="en-US" sz="1200" b="1" dirty="0" smtClean="0">
                  <a:solidFill>
                    <a:schemeClr val="tx1">
                      <a:lumMod val="75000"/>
                      <a:lumOff val="25000"/>
                    </a:schemeClr>
                  </a:solidFill>
                </a:rPr>
                <a:t>Munich</a:t>
              </a:r>
              <a:endParaRPr lang="en-US" sz="1200" b="1" dirty="0">
                <a:solidFill>
                  <a:schemeClr val="tx1">
                    <a:lumMod val="75000"/>
                    <a:lumOff val="25000"/>
                  </a:schemeClr>
                </a:solidFill>
              </a:endParaRPr>
            </a:p>
          </p:txBody>
        </p:sp>
      </p:grpSp>
      <p:grpSp>
        <p:nvGrpSpPr>
          <p:cNvPr id="396" name="Group 395"/>
          <p:cNvGrpSpPr/>
          <p:nvPr/>
        </p:nvGrpSpPr>
        <p:grpSpPr>
          <a:xfrm>
            <a:off x="4882644" y="2890969"/>
            <a:ext cx="1732696" cy="453453"/>
            <a:chOff x="3648677" y="5367810"/>
            <a:chExt cx="1732696" cy="453453"/>
          </a:xfrm>
        </p:grpSpPr>
        <p:sp>
          <p:nvSpPr>
            <p:cNvPr id="397" name="Freeform 308"/>
            <p:cNvSpPr>
              <a:spLocks/>
            </p:cNvSpPr>
            <p:nvPr/>
          </p:nvSpPr>
          <p:spPr bwMode="auto">
            <a:xfrm>
              <a:off x="3648677" y="5508526"/>
              <a:ext cx="242888" cy="312737"/>
            </a:xfrm>
            <a:custGeom>
              <a:avLst/>
              <a:gdLst>
                <a:gd name="T0" fmla="*/ 1416 w 1416"/>
                <a:gd name="T1" fmla="*/ 708 h 1828"/>
                <a:gd name="T2" fmla="*/ 708 w 1416"/>
                <a:gd name="T3" fmla="*/ 1828 h 1828"/>
                <a:gd name="T4" fmla="*/ 0 w 1416"/>
                <a:gd name="T5" fmla="*/ 708 h 1828"/>
                <a:gd name="T6" fmla="*/ 708 w 1416"/>
                <a:gd name="T7" fmla="*/ 0 h 1828"/>
                <a:gd name="T8" fmla="*/ 1416 w 1416"/>
                <a:gd name="T9" fmla="*/ 708 h 1828"/>
              </a:gdLst>
              <a:ahLst/>
              <a:cxnLst>
                <a:cxn ang="0">
                  <a:pos x="T0" y="T1"/>
                </a:cxn>
                <a:cxn ang="0">
                  <a:pos x="T2" y="T3"/>
                </a:cxn>
                <a:cxn ang="0">
                  <a:pos x="T4" y="T5"/>
                </a:cxn>
                <a:cxn ang="0">
                  <a:pos x="T6" y="T7"/>
                </a:cxn>
                <a:cxn ang="0">
                  <a:pos x="T8" y="T9"/>
                </a:cxn>
              </a:cxnLst>
              <a:rect l="0" t="0" r="r" b="b"/>
              <a:pathLst>
                <a:path w="1416" h="1828">
                  <a:moveTo>
                    <a:pt x="1416" y="708"/>
                  </a:moveTo>
                  <a:cubicBezTo>
                    <a:pt x="1416" y="1099"/>
                    <a:pt x="708" y="1828"/>
                    <a:pt x="708" y="1828"/>
                  </a:cubicBezTo>
                  <a:cubicBezTo>
                    <a:pt x="708" y="1828"/>
                    <a:pt x="0" y="1099"/>
                    <a:pt x="0" y="708"/>
                  </a:cubicBezTo>
                  <a:cubicBezTo>
                    <a:pt x="0" y="317"/>
                    <a:pt x="317" y="0"/>
                    <a:pt x="708" y="0"/>
                  </a:cubicBezTo>
                  <a:cubicBezTo>
                    <a:pt x="1099" y="0"/>
                    <a:pt x="1416" y="317"/>
                    <a:pt x="1416" y="70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98" name="TextBox 397"/>
            <p:cNvSpPr txBox="1"/>
            <p:nvPr/>
          </p:nvSpPr>
          <p:spPr>
            <a:xfrm>
              <a:off x="3856151" y="5367810"/>
              <a:ext cx="1525222" cy="237690"/>
            </a:xfrm>
            <a:prstGeom prst="rect">
              <a:avLst/>
            </a:prstGeom>
            <a:noFill/>
          </p:spPr>
          <p:txBody>
            <a:bodyPr wrap="square" lIns="0" tIns="0" rIns="0" bIns="0" rtlCol="0">
              <a:noAutofit/>
            </a:bodyPr>
            <a:lstStyle/>
            <a:p>
              <a:pPr marL="0" indent="0">
                <a:buNone/>
              </a:pPr>
              <a:r>
                <a:rPr lang="en-US" sz="1200" b="1" dirty="0" smtClean="0">
                  <a:solidFill>
                    <a:schemeClr val="tx1">
                      <a:lumMod val="75000"/>
                      <a:lumOff val="25000"/>
                    </a:schemeClr>
                  </a:solidFill>
                </a:rPr>
                <a:t>London</a:t>
              </a:r>
              <a:endParaRPr lang="en-US" sz="1200" b="1" dirty="0">
                <a:solidFill>
                  <a:schemeClr val="tx1">
                    <a:lumMod val="75000"/>
                    <a:lumOff val="25000"/>
                  </a:schemeClr>
                </a:solidFill>
              </a:endParaRPr>
            </a:p>
          </p:txBody>
        </p:sp>
      </p:grpSp>
      <p:grpSp>
        <p:nvGrpSpPr>
          <p:cNvPr id="399" name="Group 398"/>
          <p:cNvGrpSpPr/>
          <p:nvPr/>
        </p:nvGrpSpPr>
        <p:grpSpPr>
          <a:xfrm>
            <a:off x="7033935" y="3978922"/>
            <a:ext cx="1797874" cy="329936"/>
            <a:chOff x="3572395" y="5351833"/>
            <a:chExt cx="1797874" cy="329936"/>
          </a:xfrm>
        </p:grpSpPr>
        <p:sp>
          <p:nvSpPr>
            <p:cNvPr id="400" name="Freeform 308"/>
            <p:cNvSpPr>
              <a:spLocks/>
            </p:cNvSpPr>
            <p:nvPr/>
          </p:nvSpPr>
          <p:spPr bwMode="auto">
            <a:xfrm>
              <a:off x="3572395" y="5351833"/>
              <a:ext cx="242888" cy="312737"/>
            </a:xfrm>
            <a:custGeom>
              <a:avLst/>
              <a:gdLst>
                <a:gd name="T0" fmla="*/ 1416 w 1416"/>
                <a:gd name="T1" fmla="*/ 708 h 1828"/>
                <a:gd name="T2" fmla="*/ 708 w 1416"/>
                <a:gd name="T3" fmla="*/ 1828 h 1828"/>
                <a:gd name="T4" fmla="*/ 0 w 1416"/>
                <a:gd name="T5" fmla="*/ 708 h 1828"/>
                <a:gd name="T6" fmla="*/ 708 w 1416"/>
                <a:gd name="T7" fmla="*/ 0 h 1828"/>
                <a:gd name="T8" fmla="*/ 1416 w 1416"/>
                <a:gd name="T9" fmla="*/ 708 h 1828"/>
              </a:gdLst>
              <a:ahLst/>
              <a:cxnLst>
                <a:cxn ang="0">
                  <a:pos x="T0" y="T1"/>
                </a:cxn>
                <a:cxn ang="0">
                  <a:pos x="T2" y="T3"/>
                </a:cxn>
                <a:cxn ang="0">
                  <a:pos x="T4" y="T5"/>
                </a:cxn>
                <a:cxn ang="0">
                  <a:pos x="T6" y="T7"/>
                </a:cxn>
                <a:cxn ang="0">
                  <a:pos x="T8" y="T9"/>
                </a:cxn>
              </a:cxnLst>
              <a:rect l="0" t="0" r="r" b="b"/>
              <a:pathLst>
                <a:path w="1416" h="1828">
                  <a:moveTo>
                    <a:pt x="1416" y="708"/>
                  </a:moveTo>
                  <a:cubicBezTo>
                    <a:pt x="1416" y="1099"/>
                    <a:pt x="708" y="1828"/>
                    <a:pt x="708" y="1828"/>
                  </a:cubicBezTo>
                  <a:cubicBezTo>
                    <a:pt x="708" y="1828"/>
                    <a:pt x="0" y="1099"/>
                    <a:pt x="0" y="708"/>
                  </a:cubicBezTo>
                  <a:cubicBezTo>
                    <a:pt x="0" y="317"/>
                    <a:pt x="317" y="0"/>
                    <a:pt x="708" y="0"/>
                  </a:cubicBezTo>
                  <a:cubicBezTo>
                    <a:pt x="1099" y="0"/>
                    <a:pt x="1416" y="317"/>
                    <a:pt x="1416" y="70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01" name="TextBox 400"/>
            <p:cNvSpPr txBox="1"/>
            <p:nvPr/>
          </p:nvSpPr>
          <p:spPr>
            <a:xfrm>
              <a:off x="3845047" y="5444079"/>
              <a:ext cx="1525222" cy="237690"/>
            </a:xfrm>
            <a:prstGeom prst="rect">
              <a:avLst/>
            </a:prstGeom>
            <a:noFill/>
          </p:spPr>
          <p:txBody>
            <a:bodyPr wrap="square" lIns="0" tIns="0" rIns="0" bIns="0" rtlCol="0">
              <a:noAutofit/>
            </a:bodyPr>
            <a:lstStyle/>
            <a:p>
              <a:pPr marL="0" indent="0">
                <a:buNone/>
              </a:pPr>
              <a:r>
                <a:rPr lang="en-US" sz="1200" b="1" dirty="0" smtClean="0">
                  <a:solidFill>
                    <a:schemeClr val="tx1">
                      <a:lumMod val="75000"/>
                      <a:lumOff val="25000"/>
                    </a:schemeClr>
                  </a:solidFill>
                </a:rPr>
                <a:t>New Delhi</a:t>
              </a:r>
              <a:endParaRPr lang="en-US" sz="1200" b="1" dirty="0">
                <a:solidFill>
                  <a:schemeClr val="tx1">
                    <a:lumMod val="75000"/>
                    <a:lumOff val="25000"/>
                  </a:schemeClr>
                </a:solidFill>
              </a:endParaRPr>
            </a:p>
          </p:txBody>
        </p:sp>
      </p:grpSp>
      <p:grpSp>
        <p:nvGrpSpPr>
          <p:cNvPr id="402" name="Group 401"/>
          <p:cNvGrpSpPr/>
          <p:nvPr/>
        </p:nvGrpSpPr>
        <p:grpSpPr>
          <a:xfrm>
            <a:off x="8063501" y="4057848"/>
            <a:ext cx="1797874" cy="329936"/>
            <a:chOff x="3572395" y="5351833"/>
            <a:chExt cx="1797874" cy="329936"/>
          </a:xfrm>
        </p:grpSpPr>
        <p:sp>
          <p:nvSpPr>
            <p:cNvPr id="403" name="Freeform 308"/>
            <p:cNvSpPr>
              <a:spLocks/>
            </p:cNvSpPr>
            <p:nvPr/>
          </p:nvSpPr>
          <p:spPr bwMode="auto">
            <a:xfrm>
              <a:off x="3572395" y="5351833"/>
              <a:ext cx="242888" cy="312737"/>
            </a:xfrm>
            <a:custGeom>
              <a:avLst/>
              <a:gdLst>
                <a:gd name="T0" fmla="*/ 1416 w 1416"/>
                <a:gd name="T1" fmla="*/ 708 h 1828"/>
                <a:gd name="T2" fmla="*/ 708 w 1416"/>
                <a:gd name="T3" fmla="*/ 1828 h 1828"/>
                <a:gd name="T4" fmla="*/ 0 w 1416"/>
                <a:gd name="T5" fmla="*/ 708 h 1828"/>
                <a:gd name="T6" fmla="*/ 708 w 1416"/>
                <a:gd name="T7" fmla="*/ 0 h 1828"/>
                <a:gd name="T8" fmla="*/ 1416 w 1416"/>
                <a:gd name="T9" fmla="*/ 708 h 1828"/>
              </a:gdLst>
              <a:ahLst/>
              <a:cxnLst>
                <a:cxn ang="0">
                  <a:pos x="T0" y="T1"/>
                </a:cxn>
                <a:cxn ang="0">
                  <a:pos x="T2" y="T3"/>
                </a:cxn>
                <a:cxn ang="0">
                  <a:pos x="T4" y="T5"/>
                </a:cxn>
                <a:cxn ang="0">
                  <a:pos x="T6" y="T7"/>
                </a:cxn>
                <a:cxn ang="0">
                  <a:pos x="T8" y="T9"/>
                </a:cxn>
              </a:cxnLst>
              <a:rect l="0" t="0" r="r" b="b"/>
              <a:pathLst>
                <a:path w="1416" h="1828">
                  <a:moveTo>
                    <a:pt x="1416" y="708"/>
                  </a:moveTo>
                  <a:cubicBezTo>
                    <a:pt x="1416" y="1099"/>
                    <a:pt x="708" y="1828"/>
                    <a:pt x="708" y="1828"/>
                  </a:cubicBezTo>
                  <a:cubicBezTo>
                    <a:pt x="708" y="1828"/>
                    <a:pt x="0" y="1099"/>
                    <a:pt x="0" y="708"/>
                  </a:cubicBezTo>
                  <a:cubicBezTo>
                    <a:pt x="0" y="317"/>
                    <a:pt x="317" y="0"/>
                    <a:pt x="708" y="0"/>
                  </a:cubicBezTo>
                  <a:cubicBezTo>
                    <a:pt x="1099" y="0"/>
                    <a:pt x="1416" y="317"/>
                    <a:pt x="1416" y="70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04" name="TextBox 403"/>
            <p:cNvSpPr txBox="1"/>
            <p:nvPr/>
          </p:nvSpPr>
          <p:spPr>
            <a:xfrm>
              <a:off x="3845047" y="5444079"/>
              <a:ext cx="1525222" cy="237690"/>
            </a:xfrm>
            <a:prstGeom prst="rect">
              <a:avLst/>
            </a:prstGeom>
            <a:noFill/>
          </p:spPr>
          <p:txBody>
            <a:bodyPr wrap="square" lIns="0" tIns="0" rIns="0" bIns="0" rtlCol="0">
              <a:noAutofit/>
            </a:bodyPr>
            <a:lstStyle/>
            <a:p>
              <a:pPr marL="0" indent="0">
                <a:buNone/>
              </a:pPr>
              <a:r>
                <a:rPr lang="en-US" sz="1200" b="1" dirty="0" smtClean="0">
                  <a:solidFill>
                    <a:schemeClr val="tx1">
                      <a:lumMod val="75000"/>
                      <a:lumOff val="25000"/>
                    </a:schemeClr>
                  </a:solidFill>
                </a:rPr>
                <a:t>Hong </a:t>
              </a:r>
              <a:br>
                <a:rPr lang="en-US" sz="1200" b="1" dirty="0" smtClean="0">
                  <a:solidFill>
                    <a:schemeClr val="tx1">
                      <a:lumMod val="75000"/>
                      <a:lumOff val="25000"/>
                    </a:schemeClr>
                  </a:solidFill>
                </a:rPr>
              </a:br>
              <a:r>
                <a:rPr lang="en-US" sz="1200" b="1" dirty="0" smtClean="0">
                  <a:solidFill>
                    <a:schemeClr val="tx1">
                      <a:lumMod val="75000"/>
                      <a:lumOff val="25000"/>
                    </a:schemeClr>
                  </a:solidFill>
                </a:rPr>
                <a:t>Kong</a:t>
              </a:r>
              <a:endParaRPr lang="en-US" sz="1200" b="1" dirty="0">
                <a:solidFill>
                  <a:schemeClr val="tx1">
                    <a:lumMod val="75000"/>
                    <a:lumOff val="25000"/>
                  </a:schemeClr>
                </a:solidFill>
              </a:endParaRPr>
            </a:p>
          </p:txBody>
        </p:sp>
      </p:grpSp>
      <p:grpSp>
        <p:nvGrpSpPr>
          <p:cNvPr id="405" name="Group 404"/>
          <p:cNvGrpSpPr/>
          <p:nvPr/>
        </p:nvGrpSpPr>
        <p:grpSpPr>
          <a:xfrm>
            <a:off x="9007704" y="3526386"/>
            <a:ext cx="1797874" cy="329936"/>
            <a:chOff x="3572395" y="5351833"/>
            <a:chExt cx="1797874" cy="329936"/>
          </a:xfrm>
        </p:grpSpPr>
        <p:sp>
          <p:nvSpPr>
            <p:cNvPr id="406" name="Freeform 308"/>
            <p:cNvSpPr>
              <a:spLocks/>
            </p:cNvSpPr>
            <p:nvPr/>
          </p:nvSpPr>
          <p:spPr bwMode="auto">
            <a:xfrm>
              <a:off x="3572395" y="5351833"/>
              <a:ext cx="242888" cy="312737"/>
            </a:xfrm>
            <a:custGeom>
              <a:avLst/>
              <a:gdLst>
                <a:gd name="T0" fmla="*/ 1416 w 1416"/>
                <a:gd name="T1" fmla="*/ 708 h 1828"/>
                <a:gd name="T2" fmla="*/ 708 w 1416"/>
                <a:gd name="T3" fmla="*/ 1828 h 1828"/>
                <a:gd name="T4" fmla="*/ 0 w 1416"/>
                <a:gd name="T5" fmla="*/ 708 h 1828"/>
                <a:gd name="T6" fmla="*/ 708 w 1416"/>
                <a:gd name="T7" fmla="*/ 0 h 1828"/>
                <a:gd name="T8" fmla="*/ 1416 w 1416"/>
                <a:gd name="T9" fmla="*/ 708 h 1828"/>
              </a:gdLst>
              <a:ahLst/>
              <a:cxnLst>
                <a:cxn ang="0">
                  <a:pos x="T0" y="T1"/>
                </a:cxn>
                <a:cxn ang="0">
                  <a:pos x="T2" y="T3"/>
                </a:cxn>
                <a:cxn ang="0">
                  <a:pos x="T4" y="T5"/>
                </a:cxn>
                <a:cxn ang="0">
                  <a:pos x="T6" y="T7"/>
                </a:cxn>
                <a:cxn ang="0">
                  <a:pos x="T8" y="T9"/>
                </a:cxn>
              </a:cxnLst>
              <a:rect l="0" t="0" r="r" b="b"/>
              <a:pathLst>
                <a:path w="1416" h="1828">
                  <a:moveTo>
                    <a:pt x="1416" y="708"/>
                  </a:moveTo>
                  <a:cubicBezTo>
                    <a:pt x="1416" y="1099"/>
                    <a:pt x="708" y="1828"/>
                    <a:pt x="708" y="1828"/>
                  </a:cubicBezTo>
                  <a:cubicBezTo>
                    <a:pt x="708" y="1828"/>
                    <a:pt x="0" y="1099"/>
                    <a:pt x="0" y="708"/>
                  </a:cubicBezTo>
                  <a:cubicBezTo>
                    <a:pt x="0" y="317"/>
                    <a:pt x="317" y="0"/>
                    <a:pt x="708" y="0"/>
                  </a:cubicBezTo>
                  <a:cubicBezTo>
                    <a:pt x="1099" y="0"/>
                    <a:pt x="1416" y="317"/>
                    <a:pt x="1416" y="70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07" name="TextBox 406"/>
            <p:cNvSpPr txBox="1"/>
            <p:nvPr/>
          </p:nvSpPr>
          <p:spPr>
            <a:xfrm>
              <a:off x="3845047" y="5444079"/>
              <a:ext cx="1525222" cy="237690"/>
            </a:xfrm>
            <a:prstGeom prst="rect">
              <a:avLst/>
            </a:prstGeom>
            <a:noFill/>
          </p:spPr>
          <p:txBody>
            <a:bodyPr wrap="square" lIns="0" tIns="0" rIns="0" bIns="0" rtlCol="0">
              <a:noAutofit/>
            </a:bodyPr>
            <a:lstStyle/>
            <a:p>
              <a:pPr marL="0" indent="0">
                <a:buNone/>
              </a:pPr>
              <a:r>
                <a:rPr lang="en-US" sz="1200" b="1" dirty="0" smtClean="0">
                  <a:solidFill>
                    <a:schemeClr val="tx1">
                      <a:lumMod val="75000"/>
                      <a:lumOff val="25000"/>
                    </a:schemeClr>
                  </a:solidFill>
                </a:rPr>
                <a:t>Tokyo</a:t>
              </a:r>
              <a:endParaRPr lang="en-US" sz="1200" b="1" dirty="0">
                <a:solidFill>
                  <a:schemeClr val="tx1">
                    <a:lumMod val="75000"/>
                    <a:lumOff val="25000"/>
                  </a:schemeClr>
                </a:solidFill>
              </a:endParaRPr>
            </a:p>
          </p:txBody>
        </p:sp>
      </p:grpSp>
      <p:grpSp>
        <p:nvGrpSpPr>
          <p:cNvPr id="408" name="Group 407"/>
          <p:cNvGrpSpPr/>
          <p:nvPr/>
        </p:nvGrpSpPr>
        <p:grpSpPr>
          <a:xfrm>
            <a:off x="8165792" y="3382262"/>
            <a:ext cx="860438" cy="415361"/>
            <a:chOff x="3572395" y="5249209"/>
            <a:chExt cx="860438" cy="415361"/>
          </a:xfrm>
        </p:grpSpPr>
        <p:sp>
          <p:nvSpPr>
            <p:cNvPr id="409" name="Freeform 308"/>
            <p:cNvSpPr>
              <a:spLocks/>
            </p:cNvSpPr>
            <p:nvPr/>
          </p:nvSpPr>
          <p:spPr bwMode="auto">
            <a:xfrm>
              <a:off x="3572395" y="5351833"/>
              <a:ext cx="242888" cy="312737"/>
            </a:xfrm>
            <a:custGeom>
              <a:avLst/>
              <a:gdLst>
                <a:gd name="T0" fmla="*/ 1416 w 1416"/>
                <a:gd name="T1" fmla="*/ 708 h 1828"/>
                <a:gd name="T2" fmla="*/ 708 w 1416"/>
                <a:gd name="T3" fmla="*/ 1828 h 1828"/>
                <a:gd name="T4" fmla="*/ 0 w 1416"/>
                <a:gd name="T5" fmla="*/ 708 h 1828"/>
                <a:gd name="T6" fmla="*/ 708 w 1416"/>
                <a:gd name="T7" fmla="*/ 0 h 1828"/>
                <a:gd name="T8" fmla="*/ 1416 w 1416"/>
                <a:gd name="T9" fmla="*/ 708 h 1828"/>
              </a:gdLst>
              <a:ahLst/>
              <a:cxnLst>
                <a:cxn ang="0">
                  <a:pos x="T0" y="T1"/>
                </a:cxn>
                <a:cxn ang="0">
                  <a:pos x="T2" y="T3"/>
                </a:cxn>
                <a:cxn ang="0">
                  <a:pos x="T4" y="T5"/>
                </a:cxn>
                <a:cxn ang="0">
                  <a:pos x="T6" y="T7"/>
                </a:cxn>
                <a:cxn ang="0">
                  <a:pos x="T8" y="T9"/>
                </a:cxn>
              </a:cxnLst>
              <a:rect l="0" t="0" r="r" b="b"/>
              <a:pathLst>
                <a:path w="1416" h="1828">
                  <a:moveTo>
                    <a:pt x="1416" y="708"/>
                  </a:moveTo>
                  <a:cubicBezTo>
                    <a:pt x="1416" y="1099"/>
                    <a:pt x="708" y="1828"/>
                    <a:pt x="708" y="1828"/>
                  </a:cubicBezTo>
                  <a:cubicBezTo>
                    <a:pt x="708" y="1828"/>
                    <a:pt x="0" y="1099"/>
                    <a:pt x="0" y="708"/>
                  </a:cubicBezTo>
                  <a:cubicBezTo>
                    <a:pt x="0" y="317"/>
                    <a:pt x="317" y="0"/>
                    <a:pt x="708" y="0"/>
                  </a:cubicBezTo>
                  <a:cubicBezTo>
                    <a:pt x="1099" y="0"/>
                    <a:pt x="1416" y="317"/>
                    <a:pt x="1416" y="70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10" name="TextBox 409"/>
            <p:cNvSpPr txBox="1"/>
            <p:nvPr/>
          </p:nvSpPr>
          <p:spPr>
            <a:xfrm>
              <a:off x="3834916" y="5249209"/>
              <a:ext cx="597917" cy="237690"/>
            </a:xfrm>
            <a:prstGeom prst="rect">
              <a:avLst/>
            </a:prstGeom>
            <a:noFill/>
          </p:spPr>
          <p:txBody>
            <a:bodyPr wrap="square" lIns="0" tIns="0" rIns="0" bIns="0" rtlCol="0">
              <a:noAutofit/>
            </a:bodyPr>
            <a:lstStyle/>
            <a:p>
              <a:pPr marL="0" indent="0">
                <a:buNone/>
              </a:pPr>
              <a:r>
                <a:rPr lang="en-US" sz="1200" b="1" dirty="0" smtClean="0">
                  <a:solidFill>
                    <a:schemeClr val="tx1">
                      <a:lumMod val="75000"/>
                      <a:lumOff val="25000"/>
                    </a:schemeClr>
                  </a:solidFill>
                </a:rPr>
                <a:t>Beijing</a:t>
              </a:r>
              <a:endParaRPr lang="en-US" sz="1200" b="1" dirty="0">
                <a:solidFill>
                  <a:schemeClr val="tx1">
                    <a:lumMod val="75000"/>
                    <a:lumOff val="25000"/>
                  </a:schemeClr>
                </a:solidFill>
              </a:endParaRPr>
            </a:p>
          </p:txBody>
        </p:sp>
      </p:grpSp>
      <p:grpSp>
        <p:nvGrpSpPr>
          <p:cNvPr id="411" name="Group 410"/>
          <p:cNvGrpSpPr/>
          <p:nvPr/>
        </p:nvGrpSpPr>
        <p:grpSpPr>
          <a:xfrm>
            <a:off x="8428845" y="3636143"/>
            <a:ext cx="1752585" cy="405895"/>
            <a:chOff x="3572395" y="5351833"/>
            <a:chExt cx="1752585" cy="405895"/>
          </a:xfrm>
        </p:grpSpPr>
        <p:sp>
          <p:nvSpPr>
            <p:cNvPr id="412" name="Freeform 308"/>
            <p:cNvSpPr>
              <a:spLocks/>
            </p:cNvSpPr>
            <p:nvPr/>
          </p:nvSpPr>
          <p:spPr bwMode="auto">
            <a:xfrm>
              <a:off x="3572395" y="5351833"/>
              <a:ext cx="242888" cy="312737"/>
            </a:xfrm>
            <a:custGeom>
              <a:avLst/>
              <a:gdLst>
                <a:gd name="T0" fmla="*/ 1416 w 1416"/>
                <a:gd name="T1" fmla="*/ 708 h 1828"/>
                <a:gd name="T2" fmla="*/ 708 w 1416"/>
                <a:gd name="T3" fmla="*/ 1828 h 1828"/>
                <a:gd name="T4" fmla="*/ 0 w 1416"/>
                <a:gd name="T5" fmla="*/ 708 h 1828"/>
                <a:gd name="T6" fmla="*/ 708 w 1416"/>
                <a:gd name="T7" fmla="*/ 0 h 1828"/>
                <a:gd name="T8" fmla="*/ 1416 w 1416"/>
                <a:gd name="T9" fmla="*/ 708 h 1828"/>
              </a:gdLst>
              <a:ahLst/>
              <a:cxnLst>
                <a:cxn ang="0">
                  <a:pos x="T0" y="T1"/>
                </a:cxn>
                <a:cxn ang="0">
                  <a:pos x="T2" y="T3"/>
                </a:cxn>
                <a:cxn ang="0">
                  <a:pos x="T4" y="T5"/>
                </a:cxn>
                <a:cxn ang="0">
                  <a:pos x="T6" y="T7"/>
                </a:cxn>
                <a:cxn ang="0">
                  <a:pos x="T8" y="T9"/>
                </a:cxn>
              </a:cxnLst>
              <a:rect l="0" t="0" r="r" b="b"/>
              <a:pathLst>
                <a:path w="1416" h="1828">
                  <a:moveTo>
                    <a:pt x="1416" y="708"/>
                  </a:moveTo>
                  <a:cubicBezTo>
                    <a:pt x="1416" y="1099"/>
                    <a:pt x="708" y="1828"/>
                    <a:pt x="708" y="1828"/>
                  </a:cubicBezTo>
                  <a:cubicBezTo>
                    <a:pt x="708" y="1828"/>
                    <a:pt x="0" y="1099"/>
                    <a:pt x="0" y="708"/>
                  </a:cubicBezTo>
                  <a:cubicBezTo>
                    <a:pt x="0" y="317"/>
                    <a:pt x="317" y="0"/>
                    <a:pt x="708" y="0"/>
                  </a:cubicBezTo>
                  <a:cubicBezTo>
                    <a:pt x="1099" y="0"/>
                    <a:pt x="1416" y="317"/>
                    <a:pt x="1416" y="70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13" name="TextBox 412"/>
            <p:cNvSpPr txBox="1"/>
            <p:nvPr/>
          </p:nvSpPr>
          <p:spPr>
            <a:xfrm>
              <a:off x="3799758" y="5520038"/>
              <a:ext cx="1525222" cy="237690"/>
            </a:xfrm>
            <a:prstGeom prst="rect">
              <a:avLst/>
            </a:prstGeom>
            <a:noFill/>
          </p:spPr>
          <p:txBody>
            <a:bodyPr wrap="square" lIns="0" tIns="0" rIns="0" bIns="0" rtlCol="0">
              <a:noAutofit/>
            </a:bodyPr>
            <a:lstStyle/>
            <a:p>
              <a:pPr marL="0" indent="0">
                <a:buNone/>
              </a:pPr>
              <a:r>
                <a:rPr lang="en-US" sz="1200" b="1" dirty="0" smtClean="0">
                  <a:solidFill>
                    <a:schemeClr val="tx1">
                      <a:lumMod val="75000"/>
                      <a:lumOff val="25000"/>
                    </a:schemeClr>
                  </a:solidFill>
                </a:rPr>
                <a:t>Seoul</a:t>
              </a:r>
              <a:endParaRPr lang="en-US" sz="1200" b="1" dirty="0">
                <a:solidFill>
                  <a:schemeClr val="tx1">
                    <a:lumMod val="75000"/>
                    <a:lumOff val="25000"/>
                  </a:schemeClr>
                </a:solidFill>
              </a:endParaRPr>
            </a:p>
          </p:txBody>
        </p:sp>
      </p:grpSp>
      <p:sp>
        <p:nvSpPr>
          <p:cNvPr id="414" name="Freeform 308"/>
          <p:cNvSpPr>
            <a:spLocks/>
          </p:cNvSpPr>
          <p:nvPr/>
        </p:nvSpPr>
        <p:spPr bwMode="auto">
          <a:xfrm>
            <a:off x="2753618" y="3613639"/>
            <a:ext cx="242888" cy="312737"/>
          </a:xfrm>
          <a:custGeom>
            <a:avLst/>
            <a:gdLst>
              <a:gd name="T0" fmla="*/ 1416 w 1416"/>
              <a:gd name="T1" fmla="*/ 708 h 1828"/>
              <a:gd name="T2" fmla="*/ 708 w 1416"/>
              <a:gd name="T3" fmla="*/ 1828 h 1828"/>
              <a:gd name="T4" fmla="*/ 0 w 1416"/>
              <a:gd name="T5" fmla="*/ 708 h 1828"/>
              <a:gd name="T6" fmla="*/ 708 w 1416"/>
              <a:gd name="T7" fmla="*/ 0 h 1828"/>
              <a:gd name="T8" fmla="*/ 1416 w 1416"/>
              <a:gd name="T9" fmla="*/ 708 h 1828"/>
            </a:gdLst>
            <a:ahLst/>
            <a:cxnLst>
              <a:cxn ang="0">
                <a:pos x="T0" y="T1"/>
              </a:cxn>
              <a:cxn ang="0">
                <a:pos x="T2" y="T3"/>
              </a:cxn>
              <a:cxn ang="0">
                <a:pos x="T4" y="T5"/>
              </a:cxn>
              <a:cxn ang="0">
                <a:pos x="T6" y="T7"/>
              </a:cxn>
              <a:cxn ang="0">
                <a:pos x="T8" y="T9"/>
              </a:cxn>
            </a:cxnLst>
            <a:rect l="0" t="0" r="r" b="b"/>
            <a:pathLst>
              <a:path w="1416" h="1828">
                <a:moveTo>
                  <a:pt x="1416" y="708"/>
                </a:moveTo>
                <a:cubicBezTo>
                  <a:pt x="1416" y="1099"/>
                  <a:pt x="708" y="1828"/>
                  <a:pt x="708" y="1828"/>
                </a:cubicBezTo>
                <a:cubicBezTo>
                  <a:pt x="708" y="1828"/>
                  <a:pt x="0" y="1099"/>
                  <a:pt x="0" y="708"/>
                </a:cubicBezTo>
                <a:cubicBezTo>
                  <a:pt x="0" y="317"/>
                  <a:pt x="317" y="0"/>
                  <a:pt x="708" y="0"/>
                </a:cubicBezTo>
                <a:cubicBezTo>
                  <a:pt x="1099" y="0"/>
                  <a:pt x="1416" y="317"/>
                  <a:pt x="1416" y="70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15" name="TextBox 414"/>
          <p:cNvSpPr txBox="1"/>
          <p:nvPr/>
        </p:nvSpPr>
        <p:spPr>
          <a:xfrm>
            <a:off x="3171487" y="3567315"/>
            <a:ext cx="845353" cy="237690"/>
          </a:xfrm>
          <a:prstGeom prst="rect">
            <a:avLst/>
          </a:prstGeom>
          <a:noFill/>
        </p:spPr>
        <p:txBody>
          <a:bodyPr wrap="square" lIns="0" tIns="0" rIns="0" bIns="0" rtlCol="0">
            <a:noAutofit/>
          </a:bodyPr>
          <a:lstStyle/>
          <a:p>
            <a:pPr marL="0" indent="0">
              <a:buNone/>
            </a:pPr>
            <a:r>
              <a:rPr lang="en-US" sz="1200" b="1" dirty="0" smtClean="0">
                <a:solidFill>
                  <a:schemeClr val="tx1">
                    <a:lumMod val="75000"/>
                    <a:lumOff val="25000"/>
                  </a:schemeClr>
                </a:solidFill>
              </a:rPr>
              <a:t>New York</a:t>
            </a:r>
            <a:endParaRPr lang="en-US" sz="1200" b="1" dirty="0">
              <a:solidFill>
                <a:schemeClr val="tx1">
                  <a:lumMod val="75000"/>
                  <a:lumOff val="25000"/>
                </a:schemeClr>
              </a:solidFill>
            </a:endParaRPr>
          </a:p>
        </p:txBody>
      </p:sp>
      <p:grpSp>
        <p:nvGrpSpPr>
          <p:cNvPr id="5" name="Group 4"/>
          <p:cNvGrpSpPr/>
          <p:nvPr/>
        </p:nvGrpSpPr>
        <p:grpSpPr>
          <a:xfrm>
            <a:off x="1623393" y="2833130"/>
            <a:ext cx="1248798" cy="509563"/>
            <a:chOff x="4535594" y="1409047"/>
            <a:chExt cx="1248798" cy="509563"/>
          </a:xfrm>
        </p:grpSpPr>
        <p:sp>
          <p:nvSpPr>
            <p:cNvPr id="45" name="Rounded Rectangle 44"/>
            <p:cNvSpPr/>
            <p:nvPr/>
          </p:nvSpPr>
          <p:spPr>
            <a:xfrm>
              <a:off x="4785909" y="1494361"/>
              <a:ext cx="998483" cy="382912"/>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marL="228600" indent="0">
                <a:lnSpc>
                  <a:spcPct val="85000"/>
                </a:lnSpc>
                <a:spcBef>
                  <a:spcPts val="0"/>
                </a:spcBef>
                <a:buNone/>
              </a:pPr>
              <a:r>
                <a:rPr lang="en-US" sz="1100" b="1" dirty="0">
                  <a:solidFill>
                    <a:schemeClr val="bg1"/>
                  </a:solidFill>
                </a:rPr>
                <a:t>North America</a:t>
              </a:r>
            </a:p>
          </p:txBody>
        </p:sp>
        <p:grpSp>
          <p:nvGrpSpPr>
            <p:cNvPr id="438" name="Group 437"/>
            <p:cNvGrpSpPr/>
            <p:nvPr/>
          </p:nvGrpSpPr>
          <p:grpSpPr>
            <a:xfrm>
              <a:off x="4535594" y="1409047"/>
              <a:ext cx="509883" cy="509563"/>
              <a:chOff x="3489107" y="1654084"/>
              <a:chExt cx="509883" cy="509563"/>
            </a:xfrm>
          </p:grpSpPr>
          <p:grpSp>
            <p:nvGrpSpPr>
              <p:cNvPr id="439" name="Group 438"/>
              <p:cNvGrpSpPr/>
              <p:nvPr/>
            </p:nvGrpSpPr>
            <p:grpSpPr>
              <a:xfrm>
                <a:off x="3489107" y="1654084"/>
                <a:ext cx="509883" cy="509563"/>
                <a:chOff x="6599768" y="1415990"/>
                <a:chExt cx="4265530" cy="4262865"/>
              </a:xfrm>
            </p:grpSpPr>
            <p:sp>
              <p:nvSpPr>
                <p:cNvPr id="441" name="Donut 440"/>
                <p:cNvSpPr/>
                <p:nvPr/>
              </p:nvSpPr>
              <p:spPr>
                <a:xfrm>
                  <a:off x="6602433" y="1415990"/>
                  <a:ext cx="4262865" cy="4262865"/>
                </a:xfrm>
                <a:prstGeom prst="donut">
                  <a:avLst>
                    <a:gd name="adj" fmla="val 20212"/>
                  </a:avLst>
                </a:prstGeom>
                <a:gradFill flip="none" rotWithShape="1">
                  <a:gsLst>
                    <a:gs pos="0">
                      <a:srgbClr val="D3D3D3"/>
                    </a:gs>
                    <a:gs pos="100000">
                      <a:srgbClr val="F5F5F5"/>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cxnSp>
              <p:nvCxnSpPr>
                <p:cNvPr id="442" name="Straight Connector 441"/>
                <p:cNvCxnSpPr/>
                <p:nvPr/>
              </p:nvCxnSpPr>
              <p:spPr>
                <a:xfrm>
                  <a:off x="6599768" y="3547418"/>
                  <a:ext cx="426306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43" name="Straight Connector 442"/>
                <p:cNvCxnSpPr/>
                <p:nvPr/>
              </p:nvCxnSpPr>
              <p:spPr>
                <a:xfrm>
                  <a:off x="7675615" y="1714462"/>
                  <a:ext cx="2102779" cy="364214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44" name="Straight Connector 443"/>
                <p:cNvCxnSpPr/>
                <p:nvPr/>
              </p:nvCxnSpPr>
              <p:spPr>
                <a:xfrm flipH="1">
                  <a:off x="7695417" y="1722953"/>
                  <a:ext cx="2091812" cy="362312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440" name="Oval 439"/>
              <p:cNvSpPr/>
              <p:nvPr/>
            </p:nvSpPr>
            <p:spPr>
              <a:xfrm>
                <a:off x="3591113" y="1753238"/>
                <a:ext cx="308824" cy="308824"/>
              </a:xfrm>
              <a:prstGeom prst="ellipse">
                <a:avLst/>
              </a:prstGeom>
              <a:gradFill flip="none" rotWithShape="1">
                <a:gsLst>
                  <a:gs pos="0">
                    <a:schemeClr val="bg1"/>
                  </a:gs>
                  <a:gs pos="100000">
                    <a:schemeClr val="bg1">
                      <a:lumMod val="95000"/>
                    </a:schemeClr>
                  </a:gs>
                </a:gsLst>
                <a:path path="circle">
                  <a:fillToRect l="50000" t="50000" r="50000" b="50000"/>
                </a:path>
                <a:tileRect/>
              </a:gradFill>
              <a:ln w="9525" cap="flat" cmpd="sng" algn="ctr">
                <a:noFill/>
                <a:prstDash val="dash"/>
                <a:miter lim="800000"/>
                <a:headEnd type="none" w="med" len="med"/>
                <a:tailEnd type="none" w="med" len="med"/>
              </a:ln>
              <a:effectLst>
                <a:innerShdw blurRad="63500">
                  <a:prstClr val="black">
                    <a:alpha val="61000"/>
                  </a:prstClr>
                </a:innerShdw>
              </a:effectLst>
            </p:spPr>
            <p:txBody>
              <a:bodyPr vert="horz" wrap="none" lIns="91440" tIns="45720" rIns="91440" bIns="45720" numCol="1" rtlCol="0" anchor="ctr" anchorCtr="0" compatLnSpc="1">
                <a:prstTxWarp prst="textNoShape">
                  <a:avLst/>
                </a:prstTxWarp>
              </a:bodyPr>
              <a:lstStyle/>
              <a:p>
                <a:pPr marL="0" indent="0" algn="ctr" defTabSz="914400">
                  <a:buClrTx/>
                  <a:buFontTx/>
                  <a:buNone/>
                </a:pPr>
                <a:r>
                  <a:rPr lang="en-US" b="1" dirty="0" smtClean="0">
                    <a:solidFill>
                      <a:schemeClr val="accent1"/>
                    </a:solidFill>
                  </a:rPr>
                  <a:t>40</a:t>
                </a:r>
                <a:endParaRPr lang="en-US" b="1" dirty="0">
                  <a:solidFill>
                    <a:schemeClr val="accent1"/>
                  </a:solidFill>
                </a:endParaRPr>
              </a:p>
            </p:txBody>
          </p:sp>
        </p:grpSp>
      </p:grpSp>
      <p:grpSp>
        <p:nvGrpSpPr>
          <p:cNvPr id="455" name="Group 454"/>
          <p:cNvGrpSpPr/>
          <p:nvPr/>
        </p:nvGrpSpPr>
        <p:grpSpPr>
          <a:xfrm>
            <a:off x="2012415" y="5092171"/>
            <a:ext cx="1248798" cy="509563"/>
            <a:chOff x="4535594" y="1409047"/>
            <a:chExt cx="1248798" cy="509563"/>
          </a:xfrm>
        </p:grpSpPr>
        <p:sp>
          <p:nvSpPr>
            <p:cNvPr id="456" name="Rounded Rectangle 455"/>
            <p:cNvSpPr/>
            <p:nvPr/>
          </p:nvSpPr>
          <p:spPr>
            <a:xfrm>
              <a:off x="4785909" y="1494361"/>
              <a:ext cx="998483" cy="382912"/>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marL="228600" indent="0">
                <a:lnSpc>
                  <a:spcPct val="85000"/>
                </a:lnSpc>
                <a:spcBef>
                  <a:spcPts val="0"/>
                </a:spcBef>
                <a:buNone/>
              </a:pPr>
              <a:r>
                <a:rPr lang="en-US" sz="1100" b="1" dirty="0" smtClean="0">
                  <a:solidFill>
                    <a:schemeClr val="bg1"/>
                  </a:solidFill>
                </a:rPr>
                <a:t>South</a:t>
              </a:r>
              <a:br>
                <a:rPr lang="en-US" sz="1100" b="1" dirty="0" smtClean="0">
                  <a:solidFill>
                    <a:schemeClr val="bg1"/>
                  </a:solidFill>
                </a:rPr>
              </a:br>
              <a:r>
                <a:rPr lang="en-US" sz="1100" b="1" dirty="0" smtClean="0">
                  <a:solidFill>
                    <a:schemeClr val="bg1"/>
                  </a:solidFill>
                </a:rPr>
                <a:t>America</a:t>
              </a:r>
              <a:endParaRPr lang="en-US" sz="1100" b="1" dirty="0">
                <a:solidFill>
                  <a:schemeClr val="bg1"/>
                </a:solidFill>
              </a:endParaRPr>
            </a:p>
          </p:txBody>
        </p:sp>
        <p:grpSp>
          <p:nvGrpSpPr>
            <p:cNvPr id="457" name="Group 456"/>
            <p:cNvGrpSpPr/>
            <p:nvPr/>
          </p:nvGrpSpPr>
          <p:grpSpPr>
            <a:xfrm>
              <a:off x="4535594" y="1409047"/>
              <a:ext cx="509883" cy="509563"/>
              <a:chOff x="3489107" y="1654084"/>
              <a:chExt cx="509883" cy="509563"/>
            </a:xfrm>
          </p:grpSpPr>
          <p:grpSp>
            <p:nvGrpSpPr>
              <p:cNvPr id="458" name="Group 457"/>
              <p:cNvGrpSpPr/>
              <p:nvPr/>
            </p:nvGrpSpPr>
            <p:grpSpPr>
              <a:xfrm>
                <a:off x="3489107" y="1654084"/>
                <a:ext cx="509883" cy="509563"/>
                <a:chOff x="6599768" y="1415990"/>
                <a:chExt cx="4265530" cy="4262865"/>
              </a:xfrm>
            </p:grpSpPr>
            <p:sp>
              <p:nvSpPr>
                <p:cNvPr id="460" name="Donut 459"/>
                <p:cNvSpPr/>
                <p:nvPr/>
              </p:nvSpPr>
              <p:spPr>
                <a:xfrm>
                  <a:off x="6602433" y="1415990"/>
                  <a:ext cx="4262865" cy="4262865"/>
                </a:xfrm>
                <a:prstGeom prst="donut">
                  <a:avLst>
                    <a:gd name="adj" fmla="val 20212"/>
                  </a:avLst>
                </a:prstGeom>
                <a:gradFill flip="none" rotWithShape="1">
                  <a:gsLst>
                    <a:gs pos="0">
                      <a:srgbClr val="D3D3D3"/>
                    </a:gs>
                    <a:gs pos="100000">
                      <a:srgbClr val="F5F5F5"/>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cxnSp>
              <p:nvCxnSpPr>
                <p:cNvPr id="461" name="Straight Connector 460"/>
                <p:cNvCxnSpPr/>
                <p:nvPr/>
              </p:nvCxnSpPr>
              <p:spPr>
                <a:xfrm>
                  <a:off x="6599768" y="3547418"/>
                  <a:ext cx="426306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62" name="Straight Connector 461"/>
                <p:cNvCxnSpPr/>
                <p:nvPr/>
              </p:nvCxnSpPr>
              <p:spPr>
                <a:xfrm>
                  <a:off x="7675615" y="1714462"/>
                  <a:ext cx="2102779" cy="364214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63" name="Straight Connector 462"/>
                <p:cNvCxnSpPr/>
                <p:nvPr/>
              </p:nvCxnSpPr>
              <p:spPr>
                <a:xfrm flipH="1">
                  <a:off x="7695417" y="1722953"/>
                  <a:ext cx="2091812" cy="362312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459" name="Oval 458"/>
              <p:cNvSpPr/>
              <p:nvPr/>
            </p:nvSpPr>
            <p:spPr>
              <a:xfrm>
                <a:off x="3591113" y="1753238"/>
                <a:ext cx="308824" cy="308824"/>
              </a:xfrm>
              <a:prstGeom prst="ellipse">
                <a:avLst/>
              </a:prstGeom>
              <a:gradFill flip="none" rotWithShape="1">
                <a:gsLst>
                  <a:gs pos="0">
                    <a:schemeClr val="bg1"/>
                  </a:gs>
                  <a:gs pos="100000">
                    <a:schemeClr val="bg1">
                      <a:lumMod val="95000"/>
                    </a:schemeClr>
                  </a:gs>
                </a:gsLst>
                <a:path path="circle">
                  <a:fillToRect l="50000" t="50000" r="50000" b="50000"/>
                </a:path>
                <a:tileRect/>
              </a:gradFill>
              <a:ln w="9525" cap="flat" cmpd="sng" algn="ctr">
                <a:noFill/>
                <a:prstDash val="dash"/>
                <a:miter lim="800000"/>
                <a:headEnd type="none" w="med" len="med"/>
                <a:tailEnd type="none" w="med" len="med"/>
              </a:ln>
              <a:effectLst>
                <a:innerShdw blurRad="63500">
                  <a:prstClr val="black">
                    <a:alpha val="61000"/>
                  </a:prstClr>
                </a:innerShdw>
              </a:effectLst>
            </p:spPr>
            <p:txBody>
              <a:bodyPr vert="horz" wrap="none" lIns="91440" tIns="45720" rIns="91440" bIns="45720" numCol="1" rtlCol="0" anchor="ctr" anchorCtr="0" compatLnSpc="1">
                <a:prstTxWarp prst="textNoShape">
                  <a:avLst/>
                </a:prstTxWarp>
              </a:bodyPr>
              <a:lstStyle/>
              <a:p>
                <a:pPr marL="0" indent="0" algn="ctr" defTabSz="914400">
                  <a:buClrTx/>
                  <a:buFontTx/>
                  <a:buNone/>
                </a:pPr>
                <a:r>
                  <a:rPr lang="en-US" b="1" dirty="0" smtClean="0">
                    <a:solidFill>
                      <a:schemeClr val="accent1"/>
                    </a:solidFill>
                  </a:rPr>
                  <a:t>5</a:t>
                </a:r>
                <a:endParaRPr lang="en-US" b="1" dirty="0">
                  <a:solidFill>
                    <a:schemeClr val="accent1"/>
                  </a:solidFill>
                </a:endParaRPr>
              </a:p>
            </p:txBody>
          </p:sp>
        </p:grpSp>
      </p:grpSp>
      <p:grpSp>
        <p:nvGrpSpPr>
          <p:cNvPr id="464" name="Group 463"/>
          <p:cNvGrpSpPr/>
          <p:nvPr/>
        </p:nvGrpSpPr>
        <p:grpSpPr>
          <a:xfrm>
            <a:off x="5752120" y="2455091"/>
            <a:ext cx="1248798" cy="509563"/>
            <a:chOff x="4535594" y="1409047"/>
            <a:chExt cx="1248798" cy="509563"/>
          </a:xfrm>
        </p:grpSpPr>
        <p:sp>
          <p:nvSpPr>
            <p:cNvPr id="465" name="Rounded Rectangle 464"/>
            <p:cNvSpPr/>
            <p:nvPr/>
          </p:nvSpPr>
          <p:spPr>
            <a:xfrm>
              <a:off x="4785909" y="1494361"/>
              <a:ext cx="998483" cy="382912"/>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marL="228600" indent="0">
                <a:lnSpc>
                  <a:spcPct val="85000"/>
                </a:lnSpc>
                <a:spcBef>
                  <a:spcPts val="0"/>
                </a:spcBef>
                <a:buNone/>
              </a:pPr>
              <a:r>
                <a:rPr lang="en-US" sz="1100" b="1" dirty="0" smtClean="0">
                  <a:solidFill>
                    <a:schemeClr val="bg1"/>
                  </a:solidFill>
                </a:rPr>
                <a:t>Europe</a:t>
              </a:r>
              <a:endParaRPr lang="en-US" sz="1100" b="1" dirty="0">
                <a:solidFill>
                  <a:schemeClr val="bg1"/>
                </a:solidFill>
              </a:endParaRPr>
            </a:p>
          </p:txBody>
        </p:sp>
        <p:grpSp>
          <p:nvGrpSpPr>
            <p:cNvPr id="466" name="Group 465"/>
            <p:cNvGrpSpPr/>
            <p:nvPr/>
          </p:nvGrpSpPr>
          <p:grpSpPr>
            <a:xfrm>
              <a:off x="4535594" y="1409047"/>
              <a:ext cx="509883" cy="509563"/>
              <a:chOff x="3489107" y="1654084"/>
              <a:chExt cx="509883" cy="509563"/>
            </a:xfrm>
          </p:grpSpPr>
          <p:grpSp>
            <p:nvGrpSpPr>
              <p:cNvPr id="467" name="Group 466"/>
              <p:cNvGrpSpPr/>
              <p:nvPr/>
            </p:nvGrpSpPr>
            <p:grpSpPr>
              <a:xfrm>
                <a:off x="3489107" y="1654084"/>
                <a:ext cx="509883" cy="509563"/>
                <a:chOff x="6599768" y="1415990"/>
                <a:chExt cx="4265530" cy="4262865"/>
              </a:xfrm>
            </p:grpSpPr>
            <p:sp>
              <p:nvSpPr>
                <p:cNvPr id="469" name="Donut 468"/>
                <p:cNvSpPr/>
                <p:nvPr/>
              </p:nvSpPr>
              <p:spPr>
                <a:xfrm>
                  <a:off x="6602433" y="1415990"/>
                  <a:ext cx="4262865" cy="4262865"/>
                </a:xfrm>
                <a:prstGeom prst="donut">
                  <a:avLst>
                    <a:gd name="adj" fmla="val 20212"/>
                  </a:avLst>
                </a:prstGeom>
                <a:gradFill flip="none" rotWithShape="1">
                  <a:gsLst>
                    <a:gs pos="0">
                      <a:srgbClr val="D3D3D3"/>
                    </a:gs>
                    <a:gs pos="100000">
                      <a:srgbClr val="F5F5F5"/>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cxnSp>
              <p:nvCxnSpPr>
                <p:cNvPr id="470" name="Straight Connector 469"/>
                <p:cNvCxnSpPr/>
                <p:nvPr/>
              </p:nvCxnSpPr>
              <p:spPr>
                <a:xfrm>
                  <a:off x="6599768" y="3547418"/>
                  <a:ext cx="426306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71" name="Straight Connector 470"/>
                <p:cNvCxnSpPr/>
                <p:nvPr/>
              </p:nvCxnSpPr>
              <p:spPr>
                <a:xfrm>
                  <a:off x="7675615" y="1714462"/>
                  <a:ext cx="2102779" cy="364214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72" name="Straight Connector 471"/>
                <p:cNvCxnSpPr/>
                <p:nvPr/>
              </p:nvCxnSpPr>
              <p:spPr>
                <a:xfrm flipH="1">
                  <a:off x="7695417" y="1722953"/>
                  <a:ext cx="2091812" cy="362312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468" name="Oval 467"/>
              <p:cNvSpPr/>
              <p:nvPr/>
            </p:nvSpPr>
            <p:spPr>
              <a:xfrm>
                <a:off x="3591113" y="1753238"/>
                <a:ext cx="308824" cy="308824"/>
              </a:xfrm>
              <a:prstGeom prst="ellipse">
                <a:avLst/>
              </a:prstGeom>
              <a:gradFill flip="none" rotWithShape="1">
                <a:gsLst>
                  <a:gs pos="0">
                    <a:schemeClr val="bg1"/>
                  </a:gs>
                  <a:gs pos="100000">
                    <a:schemeClr val="bg1">
                      <a:lumMod val="95000"/>
                    </a:schemeClr>
                  </a:gs>
                </a:gsLst>
                <a:path path="circle">
                  <a:fillToRect l="50000" t="50000" r="50000" b="50000"/>
                </a:path>
                <a:tileRect/>
              </a:gradFill>
              <a:ln w="9525" cap="flat" cmpd="sng" algn="ctr">
                <a:noFill/>
                <a:prstDash val="dash"/>
                <a:miter lim="800000"/>
                <a:headEnd type="none" w="med" len="med"/>
                <a:tailEnd type="none" w="med" len="med"/>
              </a:ln>
              <a:effectLst>
                <a:innerShdw blurRad="63500">
                  <a:prstClr val="black">
                    <a:alpha val="61000"/>
                  </a:prstClr>
                </a:innerShdw>
              </a:effectLst>
            </p:spPr>
            <p:txBody>
              <a:bodyPr vert="horz" wrap="none" lIns="91440" tIns="45720" rIns="91440" bIns="45720" numCol="1" rtlCol="0" anchor="ctr" anchorCtr="0" compatLnSpc="1">
                <a:prstTxWarp prst="textNoShape">
                  <a:avLst/>
                </a:prstTxWarp>
              </a:bodyPr>
              <a:lstStyle/>
              <a:p>
                <a:pPr marL="0" indent="0" algn="ctr" defTabSz="914400">
                  <a:buClrTx/>
                  <a:buFontTx/>
                  <a:buNone/>
                </a:pPr>
                <a:r>
                  <a:rPr lang="en-US" b="1" dirty="0" smtClean="0">
                    <a:solidFill>
                      <a:schemeClr val="accent1"/>
                    </a:solidFill>
                  </a:rPr>
                  <a:t>90</a:t>
                </a:r>
                <a:endParaRPr lang="en-US" b="1" dirty="0">
                  <a:solidFill>
                    <a:schemeClr val="accent1"/>
                  </a:solidFill>
                </a:endParaRPr>
              </a:p>
            </p:txBody>
          </p:sp>
        </p:grpSp>
      </p:grpSp>
      <p:grpSp>
        <p:nvGrpSpPr>
          <p:cNvPr id="473" name="Group 472"/>
          <p:cNvGrpSpPr/>
          <p:nvPr/>
        </p:nvGrpSpPr>
        <p:grpSpPr>
          <a:xfrm>
            <a:off x="5572492" y="4645701"/>
            <a:ext cx="1248798" cy="509563"/>
            <a:chOff x="4535594" y="1409047"/>
            <a:chExt cx="1248798" cy="509563"/>
          </a:xfrm>
        </p:grpSpPr>
        <p:sp>
          <p:nvSpPr>
            <p:cNvPr id="474" name="Rounded Rectangle 473"/>
            <p:cNvSpPr/>
            <p:nvPr/>
          </p:nvSpPr>
          <p:spPr>
            <a:xfrm>
              <a:off x="4785909" y="1494361"/>
              <a:ext cx="998483" cy="382912"/>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marL="228600" indent="0">
                <a:lnSpc>
                  <a:spcPct val="85000"/>
                </a:lnSpc>
                <a:spcBef>
                  <a:spcPts val="0"/>
                </a:spcBef>
                <a:buNone/>
              </a:pPr>
              <a:r>
                <a:rPr lang="en-US" sz="1100" b="1" dirty="0" smtClean="0">
                  <a:solidFill>
                    <a:schemeClr val="bg1"/>
                  </a:solidFill>
                </a:rPr>
                <a:t>Africa</a:t>
              </a:r>
              <a:endParaRPr lang="en-US" sz="1100" b="1" dirty="0">
                <a:solidFill>
                  <a:schemeClr val="bg1"/>
                </a:solidFill>
              </a:endParaRPr>
            </a:p>
          </p:txBody>
        </p:sp>
        <p:grpSp>
          <p:nvGrpSpPr>
            <p:cNvPr id="475" name="Group 474"/>
            <p:cNvGrpSpPr/>
            <p:nvPr/>
          </p:nvGrpSpPr>
          <p:grpSpPr>
            <a:xfrm>
              <a:off x="4535594" y="1409047"/>
              <a:ext cx="509883" cy="509563"/>
              <a:chOff x="3489107" y="1654084"/>
              <a:chExt cx="509883" cy="509563"/>
            </a:xfrm>
          </p:grpSpPr>
          <p:grpSp>
            <p:nvGrpSpPr>
              <p:cNvPr id="476" name="Group 475"/>
              <p:cNvGrpSpPr/>
              <p:nvPr/>
            </p:nvGrpSpPr>
            <p:grpSpPr>
              <a:xfrm>
                <a:off x="3489107" y="1654084"/>
                <a:ext cx="509883" cy="509563"/>
                <a:chOff x="6599768" y="1415990"/>
                <a:chExt cx="4265530" cy="4262865"/>
              </a:xfrm>
            </p:grpSpPr>
            <p:sp>
              <p:nvSpPr>
                <p:cNvPr id="478" name="Donut 477"/>
                <p:cNvSpPr/>
                <p:nvPr/>
              </p:nvSpPr>
              <p:spPr>
                <a:xfrm>
                  <a:off x="6602433" y="1415990"/>
                  <a:ext cx="4262865" cy="4262865"/>
                </a:xfrm>
                <a:prstGeom prst="donut">
                  <a:avLst>
                    <a:gd name="adj" fmla="val 20212"/>
                  </a:avLst>
                </a:prstGeom>
                <a:gradFill flip="none" rotWithShape="1">
                  <a:gsLst>
                    <a:gs pos="0">
                      <a:srgbClr val="D3D3D3"/>
                    </a:gs>
                    <a:gs pos="100000">
                      <a:srgbClr val="F5F5F5"/>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cxnSp>
              <p:nvCxnSpPr>
                <p:cNvPr id="479" name="Straight Connector 478"/>
                <p:cNvCxnSpPr/>
                <p:nvPr/>
              </p:nvCxnSpPr>
              <p:spPr>
                <a:xfrm>
                  <a:off x="6599768" y="3547418"/>
                  <a:ext cx="426306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80" name="Straight Connector 479"/>
                <p:cNvCxnSpPr/>
                <p:nvPr/>
              </p:nvCxnSpPr>
              <p:spPr>
                <a:xfrm>
                  <a:off x="7675615" y="1714462"/>
                  <a:ext cx="2102779" cy="364214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81" name="Straight Connector 480"/>
                <p:cNvCxnSpPr/>
                <p:nvPr/>
              </p:nvCxnSpPr>
              <p:spPr>
                <a:xfrm flipH="1">
                  <a:off x="7695417" y="1722953"/>
                  <a:ext cx="2091812" cy="362312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477" name="Oval 476"/>
              <p:cNvSpPr/>
              <p:nvPr/>
            </p:nvSpPr>
            <p:spPr>
              <a:xfrm>
                <a:off x="3591113" y="1753238"/>
                <a:ext cx="308824" cy="308824"/>
              </a:xfrm>
              <a:prstGeom prst="ellipse">
                <a:avLst/>
              </a:prstGeom>
              <a:gradFill flip="none" rotWithShape="1">
                <a:gsLst>
                  <a:gs pos="0">
                    <a:schemeClr val="bg1"/>
                  </a:gs>
                  <a:gs pos="100000">
                    <a:schemeClr val="bg1">
                      <a:lumMod val="95000"/>
                    </a:schemeClr>
                  </a:gs>
                </a:gsLst>
                <a:path path="circle">
                  <a:fillToRect l="50000" t="50000" r="50000" b="50000"/>
                </a:path>
                <a:tileRect/>
              </a:gradFill>
              <a:ln w="9525" cap="flat" cmpd="sng" algn="ctr">
                <a:noFill/>
                <a:prstDash val="dash"/>
                <a:miter lim="800000"/>
                <a:headEnd type="none" w="med" len="med"/>
                <a:tailEnd type="none" w="med" len="med"/>
              </a:ln>
              <a:effectLst>
                <a:innerShdw blurRad="63500">
                  <a:prstClr val="black">
                    <a:alpha val="61000"/>
                  </a:prstClr>
                </a:innerShdw>
              </a:effectLst>
            </p:spPr>
            <p:txBody>
              <a:bodyPr vert="horz" wrap="none" lIns="91440" tIns="45720" rIns="91440" bIns="45720" numCol="1" rtlCol="0" anchor="ctr" anchorCtr="0" compatLnSpc="1">
                <a:prstTxWarp prst="textNoShape">
                  <a:avLst/>
                </a:prstTxWarp>
              </a:bodyPr>
              <a:lstStyle/>
              <a:p>
                <a:pPr marL="0" indent="0" algn="ctr" defTabSz="914400">
                  <a:buClrTx/>
                  <a:buFontTx/>
                  <a:buNone/>
                </a:pPr>
                <a:r>
                  <a:rPr lang="en-US" b="1" dirty="0" smtClean="0">
                    <a:solidFill>
                      <a:schemeClr val="accent1"/>
                    </a:solidFill>
                  </a:rPr>
                  <a:t>30</a:t>
                </a:r>
                <a:endParaRPr lang="en-US" b="1" dirty="0">
                  <a:solidFill>
                    <a:schemeClr val="accent1"/>
                  </a:solidFill>
                </a:endParaRPr>
              </a:p>
            </p:txBody>
          </p:sp>
        </p:grpSp>
      </p:grpSp>
      <p:grpSp>
        <p:nvGrpSpPr>
          <p:cNvPr id="482" name="Group 481"/>
          <p:cNvGrpSpPr/>
          <p:nvPr/>
        </p:nvGrpSpPr>
        <p:grpSpPr>
          <a:xfrm>
            <a:off x="8217684" y="2794818"/>
            <a:ext cx="1248798" cy="509563"/>
            <a:chOff x="4535594" y="1409047"/>
            <a:chExt cx="1248798" cy="509563"/>
          </a:xfrm>
        </p:grpSpPr>
        <p:sp>
          <p:nvSpPr>
            <p:cNvPr id="483" name="Rounded Rectangle 482"/>
            <p:cNvSpPr/>
            <p:nvPr/>
          </p:nvSpPr>
          <p:spPr>
            <a:xfrm>
              <a:off x="4785909" y="1494361"/>
              <a:ext cx="998483" cy="382912"/>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marL="228600" indent="0">
                <a:lnSpc>
                  <a:spcPct val="85000"/>
                </a:lnSpc>
                <a:spcBef>
                  <a:spcPts val="0"/>
                </a:spcBef>
                <a:buNone/>
              </a:pPr>
              <a:r>
                <a:rPr lang="en-US" sz="1100" b="1" dirty="0" smtClean="0">
                  <a:solidFill>
                    <a:schemeClr val="bg1"/>
                  </a:solidFill>
                </a:rPr>
                <a:t>Asia</a:t>
              </a:r>
              <a:br>
                <a:rPr lang="en-US" sz="1100" b="1" dirty="0" smtClean="0">
                  <a:solidFill>
                    <a:schemeClr val="bg1"/>
                  </a:solidFill>
                </a:rPr>
              </a:br>
              <a:r>
                <a:rPr lang="en-US" sz="1100" b="1" dirty="0" smtClean="0">
                  <a:solidFill>
                    <a:schemeClr val="bg1"/>
                  </a:solidFill>
                </a:rPr>
                <a:t>Pacific</a:t>
              </a:r>
              <a:endParaRPr lang="en-US" sz="1100" b="1" dirty="0">
                <a:solidFill>
                  <a:schemeClr val="bg1"/>
                </a:solidFill>
              </a:endParaRPr>
            </a:p>
          </p:txBody>
        </p:sp>
        <p:grpSp>
          <p:nvGrpSpPr>
            <p:cNvPr id="484" name="Group 483"/>
            <p:cNvGrpSpPr/>
            <p:nvPr/>
          </p:nvGrpSpPr>
          <p:grpSpPr>
            <a:xfrm>
              <a:off x="4535594" y="1409047"/>
              <a:ext cx="509883" cy="509563"/>
              <a:chOff x="3489107" y="1654084"/>
              <a:chExt cx="509883" cy="509563"/>
            </a:xfrm>
          </p:grpSpPr>
          <p:grpSp>
            <p:nvGrpSpPr>
              <p:cNvPr id="485" name="Group 484"/>
              <p:cNvGrpSpPr/>
              <p:nvPr/>
            </p:nvGrpSpPr>
            <p:grpSpPr>
              <a:xfrm>
                <a:off x="3489107" y="1654084"/>
                <a:ext cx="509883" cy="509563"/>
                <a:chOff x="6599768" y="1415990"/>
                <a:chExt cx="4265530" cy="4262865"/>
              </a:xfrm>
            </p:grpSpPr>
            <p:sp>
              <p:nvSpPr>
                <p:cNvPr id="487" name="Donut 486"/>
                <p:cNvSpPr/>
                <p:nvPr/>
              </p:nvSpPr>
              <p:spPr>
                <a:xfrm>
                  <a:off x="6602433" y="1415990"/>
                  <a:ext cx="4262865" cy="4262865"/>
                </a:xfrm>
                <a:prstGeom prst="donut">
                  <a:avLst>
                    <a:gd name="adj" fmla="val 20212"/>
                  </a:avLst>
                </a:prstGeom>
                <a:gradFill flip="none" rotWithShape="1">
                  <a:gsLst>
                    <a:gs pos="0">
                      <a:srgbClr val="D3D3D3"/>
                    </a:gs>
                    <a:gs pos="100000">
                      <a:srgbClr val="F5F5F5"/>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cxnSp>
              <p:nvCxnSpPr>
                <p:cNvPr id="488" name="Straight Connector 487"/>
                <p:cNvCxnSpPr/>
                <p:nvPr/>
              </p:nvCxnSpPr>
              <p:spPr>
                <a:xfrm>
                  <a:off x="6599768" y="3547418"/>
                  <a:ext cx="426306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89" name="Straight Connector 488"/>
                <p:cNvCxnSpPr/>
                <p:nvPr/>
              </p:nvCxnSpPr>
              <p:spPr>
                <a:xfrm>
                  <a:off x="7675615" y="1714462"/>
                  <a:ext cx="2102779" cy="364214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90" name="Straight Connector 489"/>
                <p:cNvCxnSpPr/>
                <p:nvPr/>
              </p:nvCxnSpPr>
              <p:spPr>
                <a:xfrm flipH="1">
                  <a:off x="7695417" y="1722953"/>
                  <a:ext cx="2091812" cy="362312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486" name="Oval 485"/>
              <p:cNvSpPr/>
              <p:nvPr/>
            </p:nvSpPr>
            <p:spPr>
              <a:xfrm>
                <a:off x="3591113" y="1753238"/>
                <a:ext cx="308824" cy="308824"/>
              </a:xfrm>
              <a:prstGeom prst="ellipse">
                <a:avLst/>
              </a:prstGeom>
              <a:gradFill flip="none" rotWithShape="1">
                <a:gsLst>
                  <a:gs pos="0">
                    <a:schemeClr val="bg1"/>
                  </a:gs>
                  <a:gs pos="100000">
                    <a:schemeClr val="bg1">
                      <a:lumMod val="95000"/>
                    </a:schemeClr>
                  </a:gs>
                </a:gsLst>
                <a:path path="circle">
                  <a:fillToRect l="50000" t="50000" r="50000" b="50000"/>
                </a:path>
                <a:tileRect/>
              </a:gradFill>
              <a:ln w="9525" cap="flat" cmpd="sng" algn="ctr">
                <a:noFill/>
                <a:prstDash val="dash"/>
                <a:miter lim="800000"/>
                <a:headEnd type="none" w="med" len="med"/>
                <a:tailEnd type="none" w="med" len="med"/>
              </a:ln>
              <a:effectLst>
                <a:innerShdw blurRad="63500">
                  <a:prstClr val="black">
                    <a:alpha val="61000"/>
                  </a:prstClr>
                </a:innerShdw>
              </a:effectLst>
            </p:spPr>
            <p:txBody>
              <a:bodyPr vert="horz" wrap="none" lIns="91440" tIns="45720" rIns="91440" bIns="45720" numCol="1" rtlCol="0" anchor="ctr" anchorCtr="0" compatLnSpc="1">
                <a:prstTxWarp prst="textNoShape">
                  <a:avLst/>
                </a:prstTxWarp>
              </a:bodyPr>
              <a:lstStyle/>
              <a:p>
                <a:pPr marL="0" indent="0" algn="ctr" defTabSz="914400">
                  <a:buClrTx/>
                  <a:buFontTx/>
                  <a:buNone/>
                </a:pPr>
                <a:r>
                  <a:rPr lang="en-US" b="1" dirty="0" smtClean="0">
                    <a:solidFill>
                      <a:schemeClr val="accent1"/>
                    </a:solidFill>
                  </a:rPr>
                  <a:t>35</a:t>
                </a:r>
                <a:endParaRPr lang="en-US" b="1" dirty="0">
                  <a:solidFill>
                    <a:schemeClr val="accent1"/>
                  </a:solidFill>
                </a:endParaRPr>
              </a:p>
            </p:txBody>
          </p:sp>
        </p:grpSp>
      </p:grpSp>
    </p:spTree>
    <p:extLst>
      <p:ext uri="{BB962C8B-B14F-4D97-AF65-F5344CB8AC3E}">
        <p14:creationId xmlns:p14="http://schemas.microsoft.com/office/powerpoint/2010/main" val="4132890943"/>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9" name="Rectangle 198"/>
          <p:cNvSpPr/>
          <p:nvPr/>
        </p:nvSpPr>
        <p:spPr>
          <a:xfrm>
            <a:off x="0" y="1651475"/>
            <a:ext cx="10691813" cy="1408281"/>
          </a:xfrm>
          <a:prstGeom prst="rect">
            <a:avLst/>
          </a:prstGeom>
          <a:gradFill flip="none" rotWithShape="1">
            <a:gsLst>
              <a:gs pos="0">
                <a:srgbClr val="CDCDCD"/>
              </a:gs>
              <a:gs pos="100000">
                <a:srgbClr val="F0F0F0"/>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cxnSp>
        <p:nvCxnSpPr>
          <p:cNvPr id="201" name="Straight Connector 200"/>
          <p:cNvCxnSpPr/>
          <p:nvPr/>
        </p:nvCxnSpPr>
        <p:spPr>
          <a:xfrm>
            <a:off x="6029158" y="1509382"/>
            <a:ext cx="0" cy="1723632"/>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03" name="Straight Connector 202"/>
          <p:cNvCxnSpPr/>
          <p:nvPr/>
        </p:nvCxnSpPr>
        <p:spPr>
          <a:xfrm>
            <a:off x="3275264" y="1480141"/>
            <a:ext cx="0" cy="1723632"/>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202" name="Group 201"/>
          <p:cNvGrpSpPr/>
          <p:nvPr/>
        </p:nvGrpSpPr>
        <p:grpSpPr>
          <a:xfrm>
            <a:off x="0" y="4179962"/>
            <a:ext cx="10691813" cy="1840749"/>
            <a:chOff x="-10266" y="4650931"/>
            <a:chExt cx="10702079" cy="1080120"/>
          </a:xfrm>
        </p:grpSpPr>
        <p:sp>
          <p:nvSpPr>
            <p:cNvPr id="193" name="Rectangle 192"/>
            <p:cNvSpPr/>
            <p:nvPr/>
          </p:nvSpPr>
          <p:spPr>
            <a:xfrm>
              <a:off x="-10266" y="4800268"/>
              <a:ext cx="10702079" cy="868366"/>
            </a:xfrm>
            <a:prstGeom prst="rect">
              <a:avLst/>
            </a:prstGeom>
            <a:gradFill flip="none" rotWithShape="1">
              <a:gsLst>
                <a:gs pos="0">
                  <a:srgbClr val="CDCDCD"/>
                </a:gs>
                <a:gs pos="100000">
                  <a:srgbClr val="F0F0F0"/>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cxnSp>
          <p:nvCxnSpPr>
            <p:cNvPr id="194" name="Straight Connector 193"/>
            <p:cNvCxnSpPr/>
            <p:nvPr/>
          </p:nvCxnSpPr>
          <p:spPr>
            <a:xfrm>
              <a:off x="7067340" y="4650931"/>
              <a:ext cx="0" cy="108012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5" name="Straight Connector 194"/>
            <p:cNvCxnSpPr/>
            <p:nvPr/>
          </p:nvCxnSpPr>
          <p:spPr>
            <a:xfrm>
              <a:off x="3607448" y="4650931"/>
              <a:ext cx="0" cy="108012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43" name="Slide Number Placeholder 2"/>
          <p:cNvSpPr txBox="1">
            <a:spLocks/>
          </p:cNvSpPr>
          <p:nvPr/>
        </p:nvSpPr>
        <p:spPr>
          <a:xfrm>
            <a:off x="9079080" y="7006699"/>
            <a:ext cx="802632" cy="402483"/>
          </a:xfrm>
          <a:prstGeom prst="rect">
            <a:avLst/>
          </a:prstGeom>
        </p:spPr>
        <p:txBody>
          <a:bodyPr vert="horz" lIns="100796" tIns="50398" rIns="100796" bIns="50398" rtlCol="0" anchor="ctr"/>
          <a:lstStyle>
            <a:defPPr>
              <a:defRPr lang="en-US"/>
            </a:defPPr>
            <a:lvl1pPr marL="0" algn="r" defTabSz="457200" rtl="0" eaLnBrk="1" latinLnBrk="0" hangingPunct="1">
              <a:defRPr sz="1000" kern="1200">
                <a:solidFill>
                  <a:srgbClr val="7F7F7F"/>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sz="1102" dirty="0"/>
          </a:p>
        </p:txBody>
      </p:sp>
      <p:sp>
        <p:nvSpPr>
          <p:cNvPr id="52" name="Rectangle 51"/>
          <p:cNvSpPr/>
          <p:nvPr/>
        </p:nvSpPr>
        <p:spPr>
          <a:xfrm>
            <a:off x="4170623" y="6364296"/>
            <a:ext cx="2350565" cy="771315"/>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marL="0" indent="0" algn="ctr">
              <a:buNone/>
            </a:pPr>
            <a:r>
              <a:rPr lang="en-GB" sz="1600" b="1" dirty="0" smtClean="0">
                <a:solidFill>
                  <a:schemeClr val="accent5"/>
                </a:solidFill>
              </a:rPr>
              <a:t>Europe, Middle East </a:t>
            </a:r>
            <a:br>
              <a:rPr lang="en-GB" sz="1600" b="1" dirty="0" smtClean="0">
                <a:solidFill>
                  <a:schemeClr val="accent5"/>
                </a:solidFill>
              </a:rPr>
            </a:br>
            <a:r>
              <a:rPr lang="en-GB" sz="1600" b="1" dirty="0" smtClean="0">
                <a:solidFill>
                  <a:schemeClr val="accent5"/>
                </a:solidFill>
              </a:rPr>
              <a:t>&amp; Africa</a:t>
            </a:r>
            <a:endParaRPr lang="en-GB" sz="1600" b="1" dirty="0">
              <a:solidFill>
                <a:schemeClr val="accent5"/>
              </a:solidFill>
            </a:endParaRPr>
          </a:p>
        </p:txBody>
      </p:sp>
      <p:sp>
        <p:nvSpPr>
          <p:cNvPr id="53" name="Rectangle 52"/>
          <p:cNvSpPr/>
          <p:nvPr/>
        </p:nvSpPr>
        <p:spPr>
          <a:xfrm>
            <a:off x="8180575" y="6246778"/>
            <a:ext cx="1781591" cy="771315"/>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buNone/>
            </a:pPr>
            <a:r>
              <a:rPr lang="en-GB" sz="1600" b="1" dirty="0" smtClean="0">
                <a:solidFill>
                  <a:schemeClr val="accent2"/>
                </a:solidFill>
              </a:rPr>
              <a:t>Asia Pacific</a:t>
            </a:r>
            <a:endParaRPr lang="en-GB" sz="1600" b="1" dirty="0">
              <a:solidFill>
                <a:schemeClr val="accent2"/>
              </a:solidFill>
            </a:endParaRPr>
          </a:p>
        </p:txBody>
      </p:sp>
      <p:sp>
        <p:nvSpPr>
          <p:cNvPr id="54" name="Rectangle 53"/>
          <p:cNvSpPr/>
          <p:nvPr/>
        </p:nvSpPr>
        <p:spPr>
          <a:xfrm>
            <a:off x="1140306" y="6293785"/>
            <a:ext cx="1735097" cy="771315"/>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buNone/>
            </a:pPr>
            <a:r>
              <a:rPr lang="en-GB" sz="1600" b="1" dirty="0" smtClean="0">
                <a:solidFill>
                  <a:schemeClr val="accent1"/>
                </a:solidFill>
              </a:rPr>
              <a:t>Americas</a:t>
            </a:r>
            <a:endParaRPr lang="en-GB" sz="1600" b="1" dirty="0">
              <a:solidFill>
                <a:schemeClr val="accent1"/>
              </a:solidFill>
            </a:endParaRPr>
          </a:p>
        </p:txBody>
      </p:sp>
      <p:sp>
        <p:nvSpPr>
          <p:cNvPr id="29" name="Title 5"/>
          <p:cNvSpPr>
            <a:spLocks noGrp="1"/>
          </p:cNvSpPr>
          <p:nvPr>
            <p:ph type="title"/>
          </p:nvPr>
        </p:nvSpPr>
        <p:spPr/>
        <p:txBody>
          <a:bodyPr/>
          <a:lstStyle/>
          <a:p>
            <a:r>
              <a:rPr lang="en-GB" dirty="0" smtClean="0"/>
              <a:t>Products to help you understand </a:t>
            </a:r>
            <a:br>
              <a:rPr lang="en-GB" dirty="0" smtClean="0"/>
            </a:br>
            <a:r>
              <a:rPr lang="en-GB" dirty="0" smtClean="0"/>
              <a:t>the future of energy </a:t>
            </a:r>
            <a:endParaRPr lang="en-GB" dirty="0"/>
          </a:p>
        </p:txBody>
      </p:sp>
      <p:grpSp>
        <p:nvGrpSpPr>
          <p:cNvPr id="31" name="Group 30"/>
          <p:cNvGrpSpPr/>
          <p:nvPr/>
        </p:nvGrpSpPr>
        <p:grpSpPr>
          <a:xfrm>
            <a:off x="979594" y="1881698"/>
            <a:ext cx="554412" cy="553253"/>
            <a:chOff x="5459413" y="1395413"/>
            <a:chExt cx="1519237" cy="1516062"/>
          </a:xfrm>
          <a:solidFill>
            <a:schemeClr val="accent1"/>
          </a:solidFill>
        </p:grpSpPr>
        <p:sp>
          <p:nvSpPr>
            <p:cNvPr id="32" name="Oval 47"/>
            <p:cNvSpPr>
              <a:spLocks noChangeArrowheads="1"/>
            </p:cNvSpPr>
            <p:nvPr/>
          </p:nvSpPr>
          <p:spPr bwMode="auto">
            <a:xfrm>
              <a:off x="5829300" y="1766888"/>
              <a:ext cx="779462" cy="774700"/>
            </a:xfrm>
            <a:prstGeom prst="ellipse">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33" name="Freeform 48"/>
            <p:cNvSpPr>
              <a:spLocks/>
            </p:cNvSpPr>
            <p:nvPr/>
          </p:nvSpPr>
          <p:spPr bwMode="auto">
            <a:xfrm>
              <a:off x="5459413" y="2090738"/>
              <a:ext cx="265112" cy="125412"/>
            </a:xfrm>
            <a:custGeom>
              <a:avLst/>
              <a:gdLst>
                <a:gd name="T0" fmla="*/ 70 w 70"/>
                <a:gd name="T1" fmla="*/ 17 h 33"/>
                <a:gd name="T2" fmla="*/ 70 w 70"/>
                <a:gd name="T3" fmla="*/ 16 h 33"/>
                <a:gd name="T4" fmla="*/ 54 w 70"/>
                <a:gd name="T5" fmla="*/ 0 h 33"/>
                <a:gd name="T6" fmla="*/ 16 w 70"/>
                <a:gd name="T7" fmla="*/ 0 h 33"/>
                <a:gd name="T8" fmla="*/ 0 w 70"/>
                <a:gd name="T9" fmla="*/ 16 h 33"/>
                <a:gd name="T10" fmla="*/ 0 w 70"/>
                <a:gd name="T11" fmla="*/ 17 h 33"/>
                <a:gd name="T12" fmla="*/ 16 w 70"/>
                <a:gd name="T13" fmla="*/ 33 h 33"/>
                <a:gd name="T14" fmla="*/ 54 w 70"/>
                <a:gd name="T15" fmla="*/ 33 h 33"/>
                <a:gd name="T16" fmla="*/ 70 w 70"/>
                <a:gd name="T17"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 h="33">
                  <a:moveTo>
                    <a:pt x="70" y="17"/>
                  </a:moveTo>
                  <a:cubicBezTo>
                    <a:pt x="70" y="16"/>
                    <a:pt x="70" y="16"/>
                    <a:pt x="70" y="16"/>
                  </a:cubicBezTo>
                  <a:cubicBezTo>
                    <a:pt x="70" y="7"/>
                    <a:pt x="63" y="0"/>
                    <a:pt x="54" y="0"/>
                  </a:cubicBezTo>
                  <a:cubicBezTo>
                    <a:pt x="16" y="0"/>
                    <a:pt x="16" y="0"/>
                    <a:pt x="16" y="0"/>
                  </a:cubicBezTo>
                  <a:cubicBezTo>
                    <a:pt x="8" y="0"/>
                    <a:pt x="0" y="7"/>
                    <a:pt x="0" y="16"/>
                  </a:cubicBezTo>
                  <a:cubicBezTo>
                    <a:pt x="0" y="17"/>
                    <a:pt x="0" y="17"/>
                    <a:pt x="0" y="17"/>
                  </a:cubicBezTo>
                  <a:cubicBezTo>
                    <a:pt x="0" y="26"/>
                    <a:pt x="8" y="33"/>
                    <a:pt x="16" y="33"/>
                  </a:cubicBezTo>
                  <a:cubicBezTo>
                    <a:pt x="54" y="33"/>
                    <a:pt x="54" y="33"/>
                    <a:pt x="54" y="33"/>
                  </a:cubicBezTo>
                  <a:cubicBezTo>
                    <a:pt x="63" y="33"/>
                    <a:pt x="70" y="26"/>
                    <a:pt x="70" y="17"/>
                  </a:cubicBezTo>
                  <a:close/>
                </a:path>
              </a:pathLst>
            </a:cu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34" name="Freeform 49"/>
            <p:cNvSpPr>
              <a:spLocks/>
            </p:cNvSpPr>
            <p:nvPr/>
          </p:nvSpPr>
          <p:spPr bwMode="auto">
            <a:xfrm>
              <a:off x="6713538" y="2090738"/>
              <a:ext cx="265112" cy="125412"/>
            </a:xfrm>
            <a:custGeom>
              <a:avLst/>
              <a:gdLst>
                <a:gd name="T0" fmla="*/ 54 w 70"/>
                <a:gd name="T1" fmla="*/ 0 h 33"/>
                <a:gd name="T2" fmla="*/ 16 w 70"/>
                <a:gd name="T3" fmla="*/ 0 h 33"/>
                <a:gd name="T4" fmla="*/ 0 w 70"/>
                <a:gd name="T5" fmla="*/ 16 h 33"/>
                <a:gd name="T6" fmla="*/ 0 w 70"/>
                <a:gd name="T7" fmla="*/ 17 h 33"/>
                <a:gd name="T8" fmla="*/ 16 w 70"/>
                <a:gd name="T9" fmla="*/ 33 h 33"/>
                <a:gd name="T10" fmla="*/ 54 w 70"/>
                <a:gd name="T11" fmla="*/ 33 h 33"/>
                <a:gd name="T12" fmla="*/ 70 w 70"/>
                <a:gd name="T13" fmla="*/ 17 h 33"/>
                <a:gd name="T14" fmla="*/ 70 w 70"/>
                <a:gd name="T15" fmla="*/ 16 h 33"/>
                <a:gd name="T16" fmla="*/ 54 w 70"/>
                <a:gd name="T17"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 h="33">
                  <a:moveTo>
                    <a:pt x="54" y="0"/>
                  </a:moveTo>
                  <a:cubicBezTo>
                    <a:pt x="16" y="0"/>
                    <a:pt x="16" y="0"/>
                    <a:pt x="16" y="0"/>
                  </a:cubicBezTo>
                  <a:cubicBezTo>
                    <a:pt x="7" y="0"/>
                    <a:pt x="0" y="7"/>
                    <a:pt x="0" y="16"/>
                  </a:cubicBezTo>
                  <a:cubicBezTo>
                    <a:pt x="0" y="17"/>
                    <a:pt x="0" y="17"/>
                    <a:pt x="0" y="17"/>
                  </a:cubicBezTo>
                  <a:cubicBezTo>
                    <a:pt x="0" y="26"/>
                    <a:pt x="7" y="33"/>
                    <a:pt x="16" y="33"/>
                  </a:cubicBezTo>
                  <a:cubicBezTo>
                    <a:pt x="54" y="33"/>
                    <a:pt x="54" y="33"/>
                    <a:pt x="54" y="33"/>
                  </a:cubicBezTo>
                  <a:cubicBezTo>
                    <a:pt x="63" y="33"/>
                    <a:pt x="70" y="26"/>
                    <a:pt x="70" y="17"/>
                  </a:cubicBezTo>
                  <a:cubicBezTo>
                    <a:pt x="70" y="16"/>
                    <a:pt x="70" y="16"/>
                    <a:pt x="70" y="16"/>
                  </a:cubicBezTo>
                  <a:cubicBezTo>
                    <a:pt x="70" y="7"/>
                    <a:pt x="63" y="0"/>
                    <a:pt x="54" y="0"/>
                  </a:cubicBezTo>
                  <a:close/>
                </a:path>
              </a:pathLst>
            </a:cu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35" name="Freeform 50"/>
            <p:cNvSpPr>
              <a:spLocks/>
            </p:cNvSpPr>
            <p:nvPr/>
          </p:nvSpPr>
          <p:spPr bwMode="auto">
            <a:xfrm>
              <a:off x="6426200" y="1479550"/>
              <a:ext cx="212725" cy="263525"/>
            </a:xfrm>
            <a:custGeom>
              <a:avLst/>
              <a:gdLst>
                <a:gd name="T0" fmla="*/ 46 w 56"/>
                <a:gd name="T1" fmla="*/ 5 h 70"/>
                <a:gd name="T2" fmla="*/ 45 w 56"/>
                <a:gd name="T3" fmla="*/ 5 h 70"/>
                <a:gd name="T4" fmla="*/ 23 w 56"/>
                <a:gd name="T5" fmla="*/ 11 h 70"/>
                <a:gd name="T6" fmla="*/ 4 w 56"/>
                <a:gd name="T7" fmla="*/ 43 h 70"/>
                <a:gd name="T8" fmla="*/ 10 w 56"/>
                <a:gd name="T9" fmla="*/ 65 h 70"/>
                <a:gd name="T10" fmla="*/ 11 w 56"/>
                <a:gd name="T11" fmla="*/ 65 h 70"/>
                <a:gd name="T12" fmla="*/ 33 w 56"/>
                <a:gd name="T13" fmla="*/ 59 h 70"/>
                <a:gd name="T14" fmla="*/ 52 w 56"/>
                <a:gd name="T15" fmla="*/ 27 h 70"/>
                <a:gd name="T16" fmla="*/ 46 w 56"/>
                <a:gd name="T17" fmla="*/ 5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0">
                  <a:moveTo>
                    <a:pt x="46" y="5"/>
                  </a:moveTo>
                  <a:cubicBezTo>
                    <a:pt x="45" y="5"/>
                    <a:pt x="45" y="5"/>
                    <a:pt x="45" y="5"/>
                  </a:cubicBezTo>
                  <a:cubicBezTo>
                    <a:pt x="37" y="0"/>
                    <a:pt x="28" y="3"/>
                    <a:pt x="23" y="11"/>
                  </a:cubicBezTo>
                  <a:cubicBezTo>
                    <a:pt x="4" y="43"/>
                    <a:pt x="4" y="43"/>
                    <a:pt x="4" y="43"/>
                  </a:cubicBezTo>
                  <a:cubicBezTo>
                    <a:pt x="0" y="51"/>
                    <a:pt x="3" y="61"/>
                    <a:pt x="10" y="65"/>
                  </a:cubicBezTo>
                  <a:cubicBezTo>
                    <a:pt x="11" y="65"/>
                    <a:pt x="11" y="65"/>
                    <a:pt x="11" y="65"/>
                  </a:cubicBezTo>
                  <a:cubicBezTo>
                    <a:pt x="19" y="70"/>
                    <a:pt x="28" y="67"/>
                    <a:pt x="33" y="59"/>
                  </a:cubicBezTo>
                  <a:cubicBezTo>
                    <a:pt x="52" y="27"/>
                    <a:pt x="52" y="27"/>
                    <a:pt x="52" y="27"/>
                  </a:cubicBezTo>
                  <a:cubicBezTo>
                    <a:pt x="56" y="19"/>
                    <a:pt x="53" y="9"/>
                    <a:pt x="46" y="5"/>
                  </a:cubicBezTo>
                  <a:close/>
                </a:path>
              </a:pathLst>
            </a:cu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36" name="Freeform 51"/>
            <p:cNvSpPr>
              <a:spLocks/>
            </p:cNvSpPr>
            <p:nvPr/>
          </p:nvSpPr>
          <p:spPr bwMode="auto">
            <a:xfrm>
              <a:off x="5799138" y="2566988"/>
              <a:ext cx="212725" cy="261937"/>
            </a:xfrm>
            <a:custGeom>
              <a:avLst/>
              <a:gdLst>
                <a:gd name="T0" fmla="*/ 46 w 56"/>
                <a:gd name="T1" fmla="*/ 4 h 69"/>
                <a:gd name="T2" fmla="*/ 45 w 56"/>
                <a:gd name="T3" fmla="*/ 4 h 69"/>
                <a:gd name="T4" fmla="*/ 23 w 56"/>
                <a:gd name="T5" fmla="*/ 10 h 69"/>
                <a:gd name="T6" fmla="*/ 5 w 56"/>
                <a:gd name="T7" fmla="*/ 42 h 69"/>
                <a:gd name="T8" fmla="*/ 10 w 56"/>
                <a:gd name="T9" fmla="*/ 64 h 69"/>
                <a:gd name="T10" fmla="*/ 11 w 56"/>
                <a:gd name="T11" fmla="*/ 65 h 69"/>
                <a:gd name="T12" fmla="*/ 33 w 56"/>
                <a:gd name="T13" fmla="*/ 59 h 69"/>
                <a:gd name="T14" fmla="*/ 52 w 56"/>
                <a:gd name="T15" fmla="*/ 26 h 69"/>
                <a:gd name="T16" fmla="*/ 46 w 56"/>
                <a:gd name="T17" fmla="*/ 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69">
                  <a:moveTo>
                    <a:pt x="46" y="4"/>
                  </a:moveTo>
                  <a:cubicBezTo>
                    <a:pt x="45" y="4"/>
                    <a:pt x="45" y="4"/>
                    <a:pt x="45" y="4"/>
                  </a:cubicBezTo>
                  <a:cubicBezTo>
                    <a:pt x="38" y="0"/>
                    <a:pt x="28" y="2"/>
                    <a:pt x="23" y="10"/>
                  </a:cubicBezTo>
                  <a:cubicBezTo>
                    <a:pt x="5" y="42"/>
                    <a:pt x="5" y="42"/>
                    <a:pt x="5" y="42"/>
                  </a:cubicBezTo>
                  <a:cubicBezTo>
                    <a:pt x="0" y="50"/>
                    <a:pt x="3" y="60"/>
                    <a:pt x="10" y="64"/>
                  </a:cubicBezTo>
                  <a:cubicBezTo>
                    <a:pt x="11" y="65"/>
                    <a:pt x="11" y="65"/>
                    <a:pt x="11" y="65"/>
                  </a:cubicBezTo>
                  <a:cubicBezTo>
                    <a:pt x="19" y="69"/>
                    <a:pt x="29" y="66"/>
                    <a:pt x="33" y="59"/>
                  </a:cubicBezTo>
                  <a:cubicBezTo>
                    <a:pt x="52" y="26"/>
                    <a:pt x="52" y="26"/>
                    <a:pt x="52" y="26"/>
                  </a:cubicBezTo>
                  <a:cubicBezTo>
                    <a:pt x="56" y="19"/>
                    <a:pt x="54" y="9"/>
                    <a:pt x="46" y="4"/>
                  </a:cubicBezTo>
                  <a:close/>
                </a:path>
              </a:pathLst>
            </a:cu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37" name="Freeform 52"/>
            <p:cNvSpPr>
              <a:spLocks/>
            </p:cNvSpPr>
            <p:nvPr/>
          </p:nvSpPr>
          <p:spPr bwMode="auto">
            <a:xfrm>
              <a:off x="6426200" y="2566988"/>
              <a:ext cx="212725" cy="261937"/>
            </a:xfrm>
            <a:custGeom>
              <a:avLst/>
              <a:gdLst>
                <a:gd name="T0" fmla="*/ 33 w 56"/>
                <a:gd name="T1" fmla="*/ 10 h 69"/>
                <a:gd name="T2" fmla="*/ 11 w 56"/>
                <a:gd name="T3" fmla="*/ 4 h 69"/>
                <a:gd name="T4" fmla="*/ 10 w 56"/>
                <a:gd name="T5" fmla="*/ 4 h 69"/>
                <a:gd name="T6" fmla="*/ 4 w 56"/>
                <a:gd name="T7" fmla="*/ 26 h 69"/>
                <a:gd name="T8" fmla="*/ 23 w 56"/>
                <a:gd name="T9" fmla="*/ 59 h 69"/>
                <a:gd name="T10" fmla="*/ 45 w 56"/>
                <a:gd name="T11" fmla="*/ 65 h 69"/>
                <a:gd name="T12" fmla="*/ 46 w 56"/>
                <a:gd name="T13" fmla="*/ 64 h 69"/>
                <a:gd name="T14" fmla="*/ 52 w 56"/>
                <a:gd name="T15" fmla="*/ 42 h 69"/>
                <a:gd name="T16" fmla="*/ 33 w 56"/>
                <a:gd name="T17" fmla="*/ 1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69">
                  <a:moveTo>
                    <a:pt x="33" y="10"/>
                  </a:moveTo>
                  <a:cubicBezTo>
                    <a:pt x="28" y="2"/>
                    <a:pt x="19" y="0"/>
                    <a:pt x="11" y="4"/>
                  </a:cubicBezTo>
                  <a:cubicBezTo>
                    <a:pt x="10" y="4"/>
                    <a:pt x="10" y="4"/>
                    <a:pt x="10" y="4"/>
                  </a:cubicBezTo>
                  <a:cubicBezTo>
                    <a:pt x="3" y="9"/>
                    <a:pt x="0" y="19"/>
                    <a:pt x="4" y="26"/>
                  </a:cubicBezTo>
                  <a:cubicBezTo>
                    <a:pt x="23" y="59"/>
                    <a:pt x="23" y="59"/>
                    <a:pt x="23" y="59"/>
                  </a:cubicBezTo>
                  <a:cubicBezTo>
                    <a:pt x="28" y="66"/>
                    <a:pt x="37" y="69"/>
                    <a:pt x="45" y="65"/>
                  </a:cubicBezTo>
                  <a:cubicBezTo>
                    <a:pt x="46" y="64"/>
                    <a:pt x="46" y="64"/>
                    <a:pt x="46" y="64"/>
                  </a:cubicBezTo>
                  <a:cubicBezTo>
                    <a:pt x="53" y="60"/>
                    <a:pt x="56" y="50"/>
                    <a:pt x="52" y="42"/>
                  </a:cubicBezTo>
                  <a:lnTo>
                    <a:pt x="33" y="10"/>
                  </a:lnTo>
                  <a:close/>
                </a:path>
              </a:pathLst>
            </a:cu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38" name="Freeform 53"/>
            <p:cNvSpPr>
              <a:spLocks/>
            </p:cNvSpPr>
            <p:nvPr/>
          </p:nvSpPr>
          <p:spPr bwMode="auto">
            <a:xfrm>
              <a:off x="5799138" y="1479550"/>
              <a:ext cx="212725" cy="263525"/>
            </a:xfrm>
            <a:custGeom>
              <a:avLst/>
              <a:gdLst>
                <a:gd name="T0" fmla="*/ 23 w 56"/>
                <a:gd name="T1" fmla="*/ 59 h 70"/>
                <a:gd name="T2" fmla="*/ 45 w 56"/>
                <a:gd name="T3" fmla="*/ 65 h 70"/>
                <a:gd name="T4" fmla="*/ 46 w 56"/>
                <a:gd name="T5" fmla="*/ 65 h 70"/>
                <a:gd name="T6" fmla="*/ 52 w 56"/>
                <a:gd name="T7" fmla="*/ 43 h 70"/>
                <a:gd name="T8" fmla="*/ 33 w 56"/>
                <a:gd name="T9" fmla="*/ 11 h 70"/>
                <a:gd name="T10" fmla="*/ 11 w 56"/>
                <a:gd name="T11" fmla="*/ 5 h 70"/>
                <a:gd name="T12" fmla="*/ 10 w 56"/>
                <a:gd name="T13" fmla="*/ 5 h 70"/>
                <a:gd name="T14" fmla="*/ 5 w 56"/>
                <a:gd name="T15" fmla="*/ 27 h 70"/>
                <a:gd name="T16" fmla="*/ 23 w 56"/>
                <a:gd name="T17" fmla="*/ 59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0">
                  <a:moveTo>
                    <a:pt x="23" y="59"/>
                  </a:moveTo>
                  <a:cubicBezTo>
                    <a:pt x="28" y="67"/>
                    <a:pt x="38" y="70"/>
                    <a:pt x="45" y="65"/>
                  </a:cubicBezTo>
                  <a:cubicBezTo>
                    <a:pt x="46" y="65"/>
                    <a:pt x="46" y="65"/>
                    <a:pt x="46" y="65"/>
                  </a:cubicBezTo>
                  <a:cubicBezTo>
                    <a:pt x="54" y="61"/>
                    <a:pt x="56" y="51"/>
                    <a:pt x="52" y="43"/>
                  </a:cubicBezTo>
                  <a:cubicBezTo>
                    <a:pt x="33" y="11"/>
                    <a:pt x="33" y="11"/>
                    <a:pt x="33" y="11"/>
                  </a:cubicBezTo>
                  <a:cubicBezTo>
                    <a:pt x="29" y="3"/>
                    <a:pt x="19" y="0"/>
                    <a:pt x="11" y="5"/>
                  </a:cubicBezTo>
                  <a:cubicBezTo>
                    <a:pt x="10" y="5"/>
                    <a:pt x="10" y="5"/>
                    <a:pt x="10" y="5"/>
                  </a:cubicBezTo>
                  <a:cubicBezTo>
                    <a:pt x="3" y="9"/>
                    <a:pt x="0" y="19"/>
                    <a:pt x="5" y="27"/>
                  </a:cubicBezTo>
                  <a:lnTo>
                    <a:pt x="23" y="59"/>
                  </a:lnTo>
                  <a:close/>
                </a:path>
              </a:pathLst>
            </a:cu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39" name="Freeform 54"/>
            <p:cNvSpPr>
              <a:spLocks/>
            </p:cNvSpPr>
            <p:nvPr/>
          </p:nvSpPr>
          <p:spPr bwMode="auto">
            <a:xfrm>
              <a:off x="5546725" y="1736725"/>
              <a:ext cx="260350" cy="211137"/>
            </a:xfrm>
            <a:custGeom>
              <a:avLst/>
              <a:gdLst>
                <a:gd name="T0" fmla="*/ 59 w 69"/>
                <a:gd name="T1" fmla="*/ 23 h 56"/>
                <a:gd name="T2" fmla="*/ 26 w 69"/>
                <a:gd name="T3" fmla="*/ 4 h 56"/>
                <a:gd name="T4" fmla="*/ 5 w 69"/>
                <a:gd name="T5" fmla="*/ 10 h 56"/>
                <a:gd name="T6" fmla="*/ 4 w 69"/>
                <a:gd name="T7" fmla="*/ 11 h 56"/>
                <a:gd name="T8" fmla="*/ 10 w 69"/>
                <a:gd name="T9" fmla="*/ 33 h 56"/>
                <a:gd name="T10" fmla="*/ 43 w 69"/>
                <a:gd name="T11" fmla="*/ 51 h 56"/>
                <a:gd name="T12" fmla="*/ 64 w 69"/>
                <a:gd name="T13" fmla="*/ 45 h 56"/>
                <a:gd name="T14" fmla="*/ 65 w 69"/>
                <a:gd name="T15" fmla="*/ 45 h 56"/>
                <a:gd name="T16" fmla="*/ 59 w 69"/>
                <a:gd name="T17" fmla="*/ 23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56">
                  <a:moveTo>
                    <a:pt x="59" y="23"/>
                  </a:moveTo>
                  <a:cubicBezTo>
                    <a:pt x="26" y="4"/>
                    <a:pt x="26" y="4"/>
                    <a:pt x="26" y="4"/>
                  </a:cubicBezTo>
                  <a:cubicBezTo>
                    <a:pt x="19" y="0"/>
                    <a:pt x="9" y="2"/>
                    <a:pt x="5" y="10"/>
                  </a:cubicBezTo>
                  <a:cubicBezTo>
                    <a:pt x="4" y="11"/>
                    <a:pt x="4" y="11"/>
                    <a:pt x="4" y="11"/>
                  </a:cubicBezTo>
                  <a:cubicBezTo>
                    <a:pt x="0" y="18"/>
                    <a:pt x="2" y="28"/>
                    <a:pt x="10" y="33"/>
                  </a:cubicBezTo>
                  <a:cubicBezTo>
                    <a:pt x="43" y="51"/>
                    <a:pt x="43" y="51"/>
                    <a:pt x="43" y="51"/>
                  </a:cubicBezTo>
                  <a:cubicBezTo>
                    <a:pt x="50" y="56"/>
                    <a:pt x="60" y="53"/>
                    <a:pt x="64" y="45"/>
                  </a:cubicBezTo>
                  <a:cubicBezTo>
                    <a:pt x="65" y="45"/>
                    <a:pt x="65" y="45"/>
                    <a:pt x="65" y="45"/>
                  </a:cubicBezTo>
                  <a:cubicBezTo>
                    <a:pt x="69" y="37"/>
                    <a:pt x="67" y="27"/>
                    <a:pt x="59" y="23"/>
                  </a:cubicBezTo>
                  <a:close/>
                </a:path>
              </a:pathLst>
            </a:cu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41" name="Freeform 55"/>
            <p:cNvSpPr>
              <a:spLocks/>
            </p:cNvSpPr>
            <p:nvPr/>
          </p:nvSpPr>
          <p:spPr bwMode="auto">
            <a:xfrm>
              <a:off x="6630988" y="2363788"/>
              <a:ext cx="260350" cy="211137"/>
            </a:xfrm>
            <a:custGeom>
              <a:avLst/>
              <a:gdLst>
                <a:gd name="T0" fmla="*/ 59 w 69"/>
                <a:gd name="T1" fmla="*/ 23 h 56"/>
                <a:gd name="T2" fmla="*/ 27 w 69"/>
                <a:gd name="T3" fmla="*/ 4 h 56"/>
                <a:gd name="T4" fmla="*/ 5 w 69"/>
                <a:gd name="T5" fmla="*/ 10 h 56"/>
                <a:gd name="T6" fmla="*/ 4 w 69"/>
                <a:gd name="T7" fmla="*/ 10 h 56"/>
                <a:gd name="T8" fmla="*/ 10 w 69"/>
                <a:gd name="T9" fmla="*/ 32 h 56"/>
                <a:gd name="T10" fmla="*/ 43 w 69"/>
                <a:gd name="T11" fmla="*/ 51 h 56"/>
                <a:gd name="T12" fmla="*/ 65 w 69"/>
                <a:gd name="T13" fmla="*/ 45 h 56"/>
                <a:gd name="T14" fmla="*/ 65 w 69"/>
                <a:gd name="T15" fmla="*/ 45 h 56"/>
                <a:gd name="T16" fmla="*/ 59 w 69"/>
                <a:gd name="T17" fmla="*/ 23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56">
                  <a:moveTo>
                    <a:pt x="59" y="23"/>
                  </a:moveTo>
                  <a:cubicBezTo>
                    <a:pt x="27" y="4"/>
                    <a:pt x="27" y="4"/>
                    <a:pt x="27" y="4"/>
                  </a:cubicBezTo>
                  <a:cubicBezTo>
                    <a:pt x="19" y="0"/>
                    <a:pt x="9" y="2"/>
                    <a:pt x="5" y="10"/>
                  </a:cubicBezTo>
                  <a:cubicBezTo>
                    <a:pt x="4" y="10"/>
                    <a:pt x="4" y="10"/>
                    <a:pt x="4" y="10"/>
                  </a:cubicBezTo>
                  <a:cubicBezTo>
                    <a:pt x="0" y="18"/>
                    <a:pt x="3" y="28"/>
                    <a:pt x="10" y="32"/>
                  </a:cubicBezTo>
                  <a:cubicBezTo>
                    <a:pt x="43" y="51"/>
                    <a:pt x="43" y="51"/>
                    <a:pt x="43" y="51"/>
                  </a:cubicBezTo>
                  <a:cubicBezTo>
                    <a:pt x="50" y="56"/>
                    <a:pt x="60" y="53"/>
                    <a:pt x="65" y="45"/>
                  </a:cubicBezTo>
                  <a:cubicBezTo>
                    <a:pt x="65" y="45"/>
                    <a:pt x="65" y="45"/>
                    <a:pt x="65" y="45"/>
                  </a:cubicBezTo>
                  <a:cubicBezTo>
                    <a:pt x="69" y="37"/>
                    <a:pt x="67" y="27"/>
                    <a:pt x="59" y="23"/>
                  </a:cubicBezTo>
                  <a:close/>
                </a:path>
              </a:pathLst>
            </a:cu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42" name="Freeform 56"/>
            <p:cNvSpPr>
              <a:spLocks/>
            </p:cNvSpPr>
            <p:nvPr/>
          </p:nvSpPr>
          <p:spPr bwMode="auto">
            <a:xfrm>
              <a:off x="5546725" y="2363788"/>
              <a:ext cx="260350" cy="211137"/>
            </a:xfrm>
            <a:custGeom>
              <a:avLst/>
              <a:gdLst>
                <a:gd name="T0" fmla="*/ 64 w 69"/>
                <a:gd name="T1" fmla="*/ 10 h 56"/>
                <a:gd name="T2" fmla="*/ 43 w 69"/>
                <a:gd name="T3" fmla="*/ 4 h 56"/>
                <a:gd name="T4" fmla="*/ 10 w 69"/>
                <a:gd name="T5" fmla="*/ 23 h 56"/>
                <a:gd name="T6" fmla="*/ 4 w 69"/>
                <a:gd name="T7" fmla="*/ 45 h 56"/>
                <a:gd name="T8" fmla="*/ 5 w 69"/>
                <a:gd name="T9" fmla="*/ 45 h 56"/>
                <a:gd name="T10" fmla="*/ 26 w 69"/>
                <a:gd name="T11" fmla="*/ 51 h 56"/>
                <a:gd name="T12" fmla="*/ 59 w 69"/>
                <a:gd name="T13" fmla="*/ 32 h 56"/>
                <a:gd name="T14" fmla="*/ 65 w 69"/>
                <a:gd name="T15" fmla="*/ 10 h 56"/>
                <a:gd name="T16" fmla="*/ 64 w 69"/>
                <a:gd name="T17" fmla="*/ 1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56">
                  <a:moveTo>
                    <a:pt x="64" y="10"/>
                  </a:moveTo>
                  <a:cubicBezTo>
                    <a:pt x="60" y="2"/>
                    <a:pt x="50" y="0"/>
                    <a:pt x="43" y="4"/>
                  </a:cubicBezTo>
                  <a:cubicBezTo>
                    <a:pt x="10" y="23"/>
                    <a:pt x="10" y="23"/>
                    <a:pt x="10" y="23"/>
                  </a:cubicBezTo>
                  <a:cubicBezTo>
                    <a:pt x="2" y="27"/>
                    <a:pt x="0" y="37"/>
                    <a:pt x="4" y="45"/>
                  </a:cubicBezTo>
                  <a:cubicBezTo>
                    <a:pt x="5" y="45"/>
                    <a:pt x="5" y="45"/>
                    <a:pt x="5" y="45"/>
                  </a:cubicBezTo>
                  <a:cubicBezTo>
                    <a:pt x="9" y="53"/>
                    <a:pt x="19" y="56"/>
                    <a:pt x="26" y="51"/>
                  </a:cubicBezTo>
                  <a:cubicBezTo>
                    <a:pt x="59" y="32"/>
                    <a:pt x="59" y="32"/>
                    <a:pt x="59" y="32"/>
                  </a:cubicBezTo>
                  <a:cubicBezTo>
                    <a:pt x="67" y="28"/>
                    <a:pt x="69" y="18"/>
                    <a:pt x="65" y="10"/>
                  </a:cubicBezTo>
                  <a:lnTo>
                    <a:pt x="64" y="10"/>
                  </a:lnTo>
                  <a:close/>
                </a:path>
              </a:pathLst>
            </a:cu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44" name="Freeform 57"/>
            <p:cNvSpPr>
              <a:spLocks/>
            </p:cNvSpPr>
            <p:nvPr/>
          </p:nvSpPr>
          <p:spPr bwMode="auto">
            <a:xfrm>
              <a:off x="6630988" y="1736725"/>
              <a:ext cx="260350" cy="211137"/>
            </a:xfrm>
            <a:custGeom>
              <a:avLst/>
              <a:gdLst>
                <a:gd name="T0" fmla="*/ 5 w 69"/>
                <a:gd name="T1" fmla="*/ 45 h 56"/>
                <a:gd name="T2" fmla="*/ 27 w 69"/>
                <a:gd name="T3" fmla="*/ 51 h 56"/>
                <a:gd name="T4" fmla="*/ 59 w 69"/>
                <a:gd name="T5" fmla="*/ 33 h 56"/>
                <a:gd name="T6" fmla="*/ 65 w 69"/>
                <a:gd name="T7" fmla="*/ 11 h 56"/>
                <a:gd name="T8" fmla="*/ 65 w 69"/>
                <a:gd name="T9" fmla="*/ 10 h 56"/>
                <a:gd name="T10" fmla="*/ 43 w 69"/>
                <a:gd name="T11" fmla="*/ 4 h 56"/>
                <a:gd name="T12" fmla="*/ 10 w 69"/>
                <a:gd name="T13" fmla="*/ 23 h 56"/>
                <a:gd name="T14" fmla="*/ 4 w 69"/>
                <a:gd name="T15" fmla="*/ 45 h 56"/>
                <a:gd name="T16" fmla="*/ 5 w 69"/>
                <a:gd name="T17" fmla="*/ 45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56">
                  <a:moveTo>
                    <a:pt x="5" y="45"/>
                  </a:moveTo>
                  <a:cubicBezTo>
                    <a:pt x="9" y="53"/>
                    <a:pt x="19" y="56"/>
                    <a:pt x="27" y="51"/>
                  </a:cubicBezTo>
                  <a:cubicBezTo>
                    <a:pt x="59" y="33"/>
                    <a:pt x="59" y="33"/>
                    <a:pt x="59" y="33"/>
                  </a:cubicBezTo>
                  <a:cubicBezTo>
                    <a:pt x="67" y="28"/>
                    <a:pt x="69" y="18"/>
                    <a:pt x="65" y="11"/>
                  </a:cubicBezTo>
                  <a:cubicBezTo>
                    <a:pt x="65" y="10"/>
                    <a:pt x="65" y="10"/>
                    <a:pt x="65" y="10"/>
                  </a:cubicBezTo>
                  <a:cubicBezTo>
                    <a:pt x="60" y="2"/>
                    <a:pt x="50" y="0"/>
                    <a:pt x="43" y="4"/>
                  </a:cubicBezTo>
                  <a:cubicBezTo>
                    <a:pt x="10" y="23"/>
                    <a:pt x="10" y="23"/>
                    <a:pt x="10" y="23"/>
                  </a:cubicBezTo>
                  <a:cubicBezTo>
                    <a:pt x="3" y="27"/>
                    <a:pt x="0" y="37"/>
                    <a:pt x="4" y="45"/>
                  </a:cubicBezTo>
                  <a:lnTo>
                    <a:pt x="5" y="45"/>
                  </a:lnTo>
                  <a:close/>
                </a:path>
              </a:pathLst>
            </a:cu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45" name="Freeform 58"/>
            <p:cNvSpPr>
              <a:spLocks/>
            </p:cNvSpPr>
            <p:nvPr/>
          </p:nvSpPr>
          <p:spPr bwMode="auto">
            <a:xfrm>
              <a:off x="6157913" y="1395413"/>
              <a:ext cx="122237" cy="265112"/>
            </a:xfrm>
            <a:custGeom>
              <a:avLst/>
              <a:gdLst>
                <a:gd name="T0" fmla="*/ 16 w 32"/>
                <a:gd name="T1" fmla="*/ 70 h 70"/>
                <a:gd name="T2" fmla="*/ 16 w 32"/>
                <a:gd name="T3" fmla="*/ 70 h 70"/>
                <a:gd name="T4" fmla="*/ 32 w 32"/>
                <a:gd name="T5" fmla="*/ 54 h 70"/>
                <a:gd name="T6" fmla="*/ 32 w 32"/>
                <a:gd name="T7" fmla="*/ 16 h 70"/>
                <a:gd name="T8" fmla="*/ 16 w 32"/>
                <a:gd name="T9" fmla="*/ 0 h 70"/>
                <a:gd name="T10" fmla="*/ 16 w 32"/>
                <a:gd name="T11" fmla="*/ 0 h 70"/>
                <a:gd name="T12" fmla="*/ 0 w 32"/>
                <a:gd name="T13" fmla="*/ 16 h 70"/>
                <a:gd name="T14" fmla="*/ 0 w 32"/>
                <a:gd name="T15" fmla="*/ 54 h 70"/>
                <a:gd name="T16" fmla="*/ 16 w 32"/>
                <a:gd name="T17"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70">
                  <a:moveTo>
                    <a:pt x="16" y="70"/>
                  </a:moveTo>
                  <a:cubicBezTo>
                    <a:pt x="16" y="70"/>
                    <a:pt x="16" y="70"/>
                    <a:pt x="16" y="70"/>
                  </a:cubicBezTo>
                  <a:cubicBezTo>
                    <a:pt x="25" y="70"/>
                    <a:pt x="32" y="62"/>
                    <a:pt x="32" y="54"/>
                  </a:cubicBezTo>
                  <a:cubicBezTo>
                    <a:pt x="32" y="16"/>
                    <a:pt x="32" y="16"/>
                    <a:pt x="32" y="16"/>
                  </a:cubicBezTo>
                  <a:cubicBezTo>
                    <a:pt x="32" y="7"/>
                    <a:pt x="25" y="0"/>
                    <a:pt x="16" y="0"/>
                  </a:cubicBezTo>
                  <a:cubicBezTo>
                    <a:pt x="16" y="0"/>
                    <a:pt x="16" y="0"/>
                    <a:pt x="16" y="0"/>
                  </a:cubicBezTo>
                  <a:cubicBezTo>
                    <a:pt x="7" y="0"/>
                    <a:pt x="0" y="7"/>
                    <a:pt x="0" y="16"/>
                  </a:cubicBezTo>
                  <a:cubicBezTo>
                    <a:pt x="0" y="54"/>
                    <a:pt x="0" y="54"/>
                    <a:pt x="0" y="54"/>
                  </a:cubicBezTo>
                  <a:cubicBezTo>
                    <a:pt x="0" y="62"/>
                    <a:pt x="7" y="70"/>
                    <a:pt x="16" y="70"/>
                  </a:cubicBezTo>
                  <a:close/>
                </a:path>
              </a:pathLst>
            </a:cu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46" name="Freeform 59"/>
            <p:cNvSpPr>
              <a:spLocks/>
            </p:cNvSpPr>
            <p:nvPr/>
          </p:nvSpPr>
          <p:spPr bwMode="auto">
            <a:xfrm>
              <a:off x="6157913" y="2651125"/>
              <a:ext cx="122237" cy="260350"/>
            </a:xfrm>
            <a:custGeom>
              <a:avLst/>
              <a:gdLst>
                <a:gd name="T0" fmla="*/ 16 w 32"/>
                <a:gd name="T1" fmla="*/ 0 h 69"/>
                <a:gd name="T2" fmla="*/ 16 w 32"/>
                <a:gd name="T3" fmla="*/ 0 h 69"/>
                <a:gd name="T4" fmla="*/ 0 w 32"/>
                <a:gd name="T5" fmla="*/ 16 h 69"/>
                <a:gd name="T6" fmla="*/ 0 w 32"/>
                <a:gd name="T7" fmla="*/ 53 h 69"/>
                <a:gd name="T8" fmla="*/ 16 w 32"/>
                <a:gd name="T9" fmla="*/ 69 h 69"/>
                <a:gd name="T10" fmla="*/ 16 w 32"/>
                <a:gd name="T11" fmla="*/ 69 h 69"/>
                <a:gd name="T12" fmla="*/ 32 w 32"/>
                <a:gd name="T13" fmla="*/ 53 h 69"/>
                <a:gd name="T14" fmla="*/ 32 w 32"/>
                <a:gd name="T15" fmla="*/ 16 h 69"/>
                <a:gd name="T16" fmla="*/ 16 w 32"/>
                <a:gd name="T17"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69">
                  <a:moveTo>
                    <a:pt x="16" y="0"/>
                  </a:moveTo>
                  <a:cubicBezTo>
                    <a:pt x="16" y="0"/>
                    <a:pt x="16" y="0"/>
                    <a:pt x="16" y="0"/>
                  </a:cubicBezTo>
                  <a:cubicBezTo>
                    <a:pt x="7" y="0"/>
                    <a:pt x="0" y="7"/>
                    <a:pt x="0" y="16"/>
                  </a:cubicBezTo>
                  <a:cubicBezTo>
                    <a:pt x="0" y="53"/>
                    <a:pt x="0" y="53"/>
                    <a:pt x="0" y="53"/>
                  </a:cubicBezTo>
                  <a:cubicBezTo>
                    <a:pt x="0" y="62"/>
                    <a:pt x="7" y="69"/>
                    <a:pt x="16" y="69"/>
                  </a:cubicBezTo>
                  <a:cubicBezTo>
                    <a:pt x="16" y="69"/>
                    <a:pt x="16" y="69"/>
                    <a:pt x="16" y="69"/>
                  </a:cubicBezTo>
                  <a:cubicBezTo>
                    <a:pt x="25" y="69"/>
                    <a:pt x="32" y="62"/>
                    <a:pt x="32" y="53"/>
                  </a:cubicBezTo>
                  <a:cubicBezTo>
                    <a:pt x="32" y="16"/>
                    <a:pt x="32" y="16"/>
                    <a:pt x="32" y="16"/>
                  </a:cubicBezTo>
                  <a:cubicBezTo>
                    <a:pt x="32" y="7"/>
                    <a:pt x="25" y="0"/>
                    <a:pt x="16" y="0"/>
                  </a:cubicBezTo>
                  <a:close/>
                </a:path>
              </a:pathLst>
            </a:cu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US" dirty="0"/>
            </a:p>
          </p:txBody>
        </p:sp>
      </p:grpSp>
      <p:sp>
        <p:nvSpPr>
          <p:cNvPr id="47" name="Freeform 17"/>
          <p:cNvSpPr>
            <a:spLocks noEditPoints="1"/>
          </p:cNvSpPr>
          <p:nvPr/>
        </p:nvSpPr>
        <p:spPr bwMode="auto">
          <a:xfrm>
            <a:off x="7869995" y="1932554"/>
            <a:ext cx="593580" cy="479131"/>
          </a:xfrm>
          <a:custGeom>
            <a:avLst/>
            <a:gdLst>
              <a:gd name="T0" fmla="*/ 317 w 317"/>
              <a:gd name="T1" fmla="*/ 64 h 255"/>
              <a:gd name="T2" fmla="*/ 295 w 317"/>
              <a:gd name="T3" fmla="*/ 10 h 255"/>
              <a:gd name="T4" fmla="*/ 285 w 317"/>
              <a:gd name="T5" fmla="*/ 0 h 255"/>
              <a:gd name="T6" fmla="*/ 275 w 317"/>
              <a:gd name="T7" fmla="*/ 64 h 255"/>
              <a:gd name="T8" fmla="*/ 228 w 317"/>
              <a:gd name="T9" fmla="*/ 10 h 255"/>
              <a:gd name="T10" fmla="*/ 218 w 317"/>
              <a:gd name="T11" fmla="*/ 0 h 255"/>
              <a:gd name="T12" fmla="*/ 209 w 317"/>
              <a:gd name="T13" fmla="*/ 64 h 255"/>
              <a:gd name="T14" fmla="*/ 182 w 317"/>
              <a:gd name="T15" fmla="*/ 84 h 255"/>
              <a:gd name="T16" fmla="*/ 208 w 317"/>
              <a:gd name="T17" fmla="*/ 139 h 255"/>
              <a:gd name="T18" fmla="*/ 241 w 317"/>
              <a:gd name="T19" fmla="*/ 151 h 255"/>
              <a:gd name="T20" fmla="*/ 181 w 317"/>
              <a:gd name="T21" fmla="*/ 141 h 255"/>
              <a:gd name="T22" fmla="*/ 173 w 317"/>
              <a:gd name="T23" fmla="*/ 134 h 255"/>
              <a:gd name="T24" fmla="*/ 112 w 317"/>
              <a:gd name="T25" fmla="*/ 73 h 255"/>
              <a:gd name="T26" fmla="*/ 29 w 317"/>
              <a:gd name="T27" fmla="*/ 91 h 255"/>
              <a:gd name="T28" fmla="*/ 11 w 317"/>
              <a:gd name="T29" fmla="*/ 141 h 255"/>
              <a:gd name="T30" fmla="*/ 0 w 317"/>
              <a:gd name="T31" fmla="*/ 209 h 255"/>
              <a:gd name="T32" fmla="*/ 15 w 317"/>
              <a:gd name="T33" fmla="*/ 238 h 255"/>
              <a:gd name="T34" fmla="*/ 49 w 317"/>
              <a:gd name="T35" fmla="*/ 238 h 255"/>
              <a:gd name="T36" fmla="*/ 49 w 317"/>
              <a:gd name="T37" fmla="*/ 209 h 255"/>
              <a:gd name="T38" fmla="*/ 132 w 317"/>
              <a:gd name="T39" fmla="*/ 236 h 255"/>
              <a:gd name="T40" fmla="*/ 149 w 317"/>
              <a:gd name="T41" fmla="*/ 255 h 255"/>
              <a:gd name="T42" fmla="*/ 166 w 317"/>
              <a:gd name="T43" fmla="*/ 238 h 255"/>
              <a:gd name="T44" fmla="*/ 181 w 317"/>
              <a:gd name="T45" fmla="*/ 209 h 255"/>
              <a:gd name="T46" fmla="*/ 263 w 317"/>
              <a:gd name="T47" fmla="*/ 151 h 255"/>
              <a:gd name="T48" fmla="*/ 298 w 317"/>
              <a:gd name="T49" fmla="*/ 96 h 255"/>
              <a:gd name="T50" fmla="*/ 258 w 317"/>
              <a:gd name="T51" fmla="*/ 84 h 255"/>
              <a:gd name="T52" fmla="*/ 36 w 317"/>
              <a:gd name="T53" fmla="*/ 134 h 255"/>
              <a:gd name="T54" fmla="*/ 72 w 317"/>
              <a:gd name="T55" fmla="*/ 98 h 255"/>
              <a:gd name="T56" fmla="*/ 137 w 317"/>
              <a:gd name="T57" fmla="*/ 109 h 255"/>
              <a:gd name="T58" fmla="*/ 147 w 317"/>
              <a:gd name="T59" fmla="*/ 141 h 255"/>
              <a:gd name="T60" fmla="*/ 36 w 317"/>
              <a:gd name="T61" fmla="*/ 134 h 255"/>
              <a:gd name="T62" fmla="*/ 16 w 317"/>
              <a:gd name="T63" fmla="*/ 185 h 255"/>
              <a:gd name="T64" fmla="*/ 56 w 317"/>
              <a:gd name="T65" fmla="*/ 167 h 255"/>
              <a:gd name="T66" fmla="*/ 165 w 317"/>
              <a:gd name="T67" fmla="*/ 185 h 255"/>
              <a:gd name="T68" fmla="*/ 125 w 317"/>
              <a:gd name="T69" fmla="*/ 167 h 255"/>
              <a:gd name="T70" fmla="*/ 165 w 317"/>
              <a:gd name="T71" fmla="*/ 1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17" h="255">
                <a:moveTo>
                  <a:pt x="317" y="84"/>
                </a:moveTo>
                <a:cubicBezTo>
                  <a:pt x="317" y="64"/>
                  <a:pt x="317" y="64"/>
                  <a:pt x="317" y="64"/>
                </a:cubicBezTo>
                <a:cubicBezTo>
                  <a:pt x="295" y="64"/>
                  <a:pt x="295" y="64"/>
                  <a:pt x="295" y="64"/>
                </a:cubicBezTo>
                <a:cubicBezTo>
                  <a:pt x="295" y="10"/>
                  <a:pt x="295" y="10"/>
                  <a:pt x="295" y="10"/>
                </a:cubicBezTo>
                <a:cubicBezTo>
                  <a:pt x="295" y="7"/>
                  <a:pt x="294" y="5"/>
                  <a:pt x="292" y="3"/>
                </a:cubicBezTo>
                <a:cubicBezTo>
                  <a:pt x="290" y="1"/>
                  <a:pt x="288" y="0"/>
                  <a:pt x="285" y="0"/>
                </a:cubicBezTo>
                <a:cubicBezTo>
                  <a:pt x="280" y="0"/>
                  <a:pt x="275" y="5"/>
                  <a:pt x="275" y="10"/>
                </a:cubicBezTo>
                <a:cubicBezTo>
                  <a:pt x="275" y="64"/>
                  <a:pt x="275" y="64"/>
                  <a:pt x="275" y="64"/>
                </a:cubicBezTo>
                <a:cubicBezTo>
                  <a:pt x="228" y="64"/>
                  <a:pt x="228" y="64"/>
                  <a:pt x="228" y="64"/>
                </a:cubicBezTo>
                <a:cubicBezTo>
                  <a:pt x="228" y="10"/>
                  <a:pt x="228" y="10"/>
                  <a:pt x="228" y="10"/>
                </a:cubicBezTo>
                <a:cubicBezTo>
                  <a:pt x="228" y="7"/>
                  <a:pt x="227" y="5"/>
                  <a:pt x="225" y="3"/>
                </a:cubicBezTo>
                <a:cubicBezTo>
                  <a:pt x="223" y="1"/>
                  <a:pt x="221" y="0"/>
                  <a:pt x="218" y="0"/>
                </a:cubicBezTo>
                <a:cubicBezTo>
                  <a:pt x="213" y="0"/>
                  <a:pt x="209" y="5"/>
                  <a:pt x="209" y="10"/>
                </a:cubicBezTo>
                <a:cubicBezTo>
                  <a:pt x="209" y="64"/>
                  <a:pt x="209" y="64"/>
                  <a:pt x="209" y="64"/>
                </a:cubicBezTo>
                <a:cubicBezTo>
                  <a:pt x="182" y="64"/>
                  <a:pt x="182" y="64"/>
                  <a:pt x="182" y="64"/>
                </a:cubicBezTo>
                <a:cubicBezTo>
                  <a:pt x="182" y="84"/>
                  <a:pt x="182" y="84"/>
                  <a:pt x="182" y="84"/>
                </a:cubicBezTo>
                <a:cubicBezTo>
                  <a:pt x="201" y="84"/>
                  <a:pt x="201" y="84"/>
                  <a:pt x="201" y="84"/>
                </a:cubicBezTo>
                <a:cubicBezTo>
                  <a:pt x="208" y="139"/>
                  <a:pt x="208" y="139"/>
                  <a:pt x="208" y="139"/>
                </a:cubicBezTo>
                <a:cubicBezTo>
                  <a:pt x="210" y="151"/>
                  <a:pt x="210" y="151"/>
                  <a:pt x="210" y="151"/>
                </a:cubicBezTo>
                <a:cubicBezTo>
                  <a:pt x="241" y="151"/>
                  <a:pt x="241" y="151"/>
                  <a:pt x="241" y="151"/>
                </a:cubicBezTo>
                <a:cubicBezTo>
                  <a:pt x="239" y="187"/>
                  <a:pt x="206" y="179"/>
                  <a:pt x="181" y="172"/>
                </a:cubicBezTo>
                <a:cubicBezTo>
                  <a:pt x="181" y="141"/>
                  <a:pt x="181" y="141"/>
                  <a:pt x="181" y="141"/>
                </a:cubicBezTo>
                <a:cubicBezTo>
                  <a:pt x="173" y="141"/>
                  <a:pt x="173" y="141"/>
                  <a:pt x="173" y="141"/>
                </a:cubicBezTo>
                <a:cubicBezTo>
                  <a:pt x="173" y="134"/>
                  <a:pt x="173" y="134"/>
                  <a:pt x="173" y="134"/>
                </a:cubicBezTo>
                <a:cubicBezTo>
                  <a:pt x="173" y="117"/>
                  <a:pt x="166" y="102"/>
                  <a:pt x="155" y="91"/>
                </a:cubicBezTo>
                <a:cubicBezTo>
                  <a:pt x="144" y="80"/>
                  <a:pt x="129" y="73"/>
                  <a:pt x="112" y="73"/>
                </a:cubicBezTo>
                <a:cubicBezTo>
                  <a:pt x="72" y="73"/>
                  <a:pt x="72" y="73"/>
                  <a:pt x="72" y="73"/>
                </a:cubicBezTo>
                <a:cubicBezTo>
                  <a:pt x="55" y="73"/>
                  <a:pt x="40" y="80"/>
                  <a:pt x="29" y="91"/>
                </a:cubicBezTo>
                <a:cubicBezTo>
                  <a:pt x="18" y="102"/>
                  <a:pt x="11" y="117"/>
                  <a:pt x="11" y="134"/>
                </a:cubicBezTo>
                <a:cubicBezTo>
                  <a:pt x="11" y="141"/>
                  <a:pt x="11" y="141"/>
                  <a:pt x="11" y="141"/>
                </a:cubicBezTo>
                <a:cubicBezTo>
                  <a:pt x="0" y="141"/>
                  <a:pt x="0" y="141"/>
                  <a:pt x="0" y="141"/>
                </a:cubicBezTo>
                <a:cubicBezTo>
                  <a:pt x="0" y="209"/>
                  <a:pt x="0" y="209"/>
                  <a:pt x="0" y="209"/>
                </a:cubicBezTo>
                <a:cubicBezTo>
                  <a:pt x="15" y="209"/>
                  <a:pt x="15" y="209"/>
                  <a:pt x="15" y="209"/>
                </a:cubicBezTo>
                <a:cubicBezTo>
                  <a:pt x="15" y="238"/>
                  <a:pt x="15" y="238"/>
                  <a:pt x="15" y="238"/>
                </a:cubicBezTo>
                <a:cubicBezTo>
                  <a:pt x="15" y="247"/>
                  <a:pt x="23" y="255"/>
                  <a:pt x="32" y="255"/>
                </a:cubicBezTo>
                <a:cubicBezTo>
                  <a:pt x="41" y="255"/>
                  <a:pt x="49" y="247"/>
                  <a:pt x="49" y="238"/>
                </a:cubicBezTo>
                <a:cubicBezTo>
                  <a:pt x="49" y="238"/>
                  <a:pt x="49" y="238"/>
                  <a:pt x="49" y="238"/>
                </a:cubicBezTo>
                <a:cubicBezTo>
                  <a:pt x="49" y="209"/>
                  <a:pt x="49" y="209"/>
                  <a:pt x="49" y="209"/>
                </a:cubicBezTo>
                <a:cubicBezTo>
                  <a:pt x="132" y="209"/>
                  <a:pt x="132" y="209"/>
                  <a:pt x="132" y="209"/>
                </a:cubicBezTo>
                <a:cubicBezTo>
                  <a:pt x="132" y="236"/>
                  <a:pt x="132" y="236"/>
                  <a:pt x="132" y="236"/>
                </a:cubicBezTo>
                <a:cubicBezTo>
                  <a:pt x="132" y="236"/>
                  <a:pt x="131" y="237"/>
                  <a:pt x="131" y="238"/>
                </a:cubicBezTo>
                <a:cubicBezTo>
                  <a:pt x="131" y="247"/>
                  <a:pt x="139" y="255"/>
                  <a:pt x="149" y="255"/>
                </a:cubicBezTo>
                <a:cubicBezTo>
                  <a:pt x="158" y="255"/>
                  <a:pt x="165" y="247"/>
                  <a:pt x="166" y="238"/>
                </a:cubicBezTo>
                <a:cubicBezTo>
                  <a:pt x="166" y="238"/>
                  <a:pt x="166" y="238"/>
                  <a:pt x="166" y="238"/>
                </a:cubicBezTo>
                <a:cubicBezTo>
                  <a:pt x="166" y="209"/>
                  <a:pt x="166" y="209"/>
                  <a:pt x="166" y="209"/>
                </a:cubicBezTo>
                <a:cubicBezTo>
                  <a:pt x="181" y="209"/>
                  <a:pt x="181" y="209"/>
                  <a:pt x="181" y="209"/>
                </a:cubicBezTo>
                <a:cubicBezTo>
                  <a:pt x="181" y="193"/>
                  <a:pt x="181" y="193"/>
                  <a:pt x="181" y="193"/>
                </a:cubicBezTo>
                <a:cubicBezTo>
                  <a:pt x="222" y="206"/>
                  <a:pt x="261" y="197"/>
                  <a:pt x="263" y="151"/>
                </a:cubicBezTo>
                <a:cubicBezTo>
                  <a:pt x="290" y="151"/>
                  <a:pt x="290" y="151"/>
                  <a:pt x="290" y="151"/>
                </a:cubicBezTo>
                <a:cubicBezTo>
                  <a:pt x="298" y="96"/>
                  <a:pt x="298" y="96"/>
                  <a:pt x="298" y="96"/>
                </a:cubicBezTo>
                <a:cubicBezTo>
                  <a:pt x="258" y="91"/>
                  <a:pt x="258" y="91"/>
                  <a:pt x="258" y="91"/>
                </a:cubicBezTo>
                <a:cubicBezTo>
                  <a:pt x="258" y="84"/>
                  <a:pt x="258" y="84"/>
                  <a:pt x="258" y="84"/>
                </a:cubicBezTo>
                <a:lnTo>
                  <a:pt x="317" y="84"/>
                </a:lnTo>
                <a:close/>
                <a:moveTo>
                  <a:pt x="36" y="134"/>
                </a:moveTo>
                <a:cubicBezTo>
                  <a:pt x="36" y="124"/>
                  <a:pt x="40" y="115"/>
                  <a:pt x="47" y="109"/>
                </a:cubicBezTo>
                <a:cubicBezTo>
                  <a:pt x="53" y="102"/>
                  <a:pt x="62" y="98"/>
                  <a:pt x="72" y="98"/>
                </a:cubicBezTo>
                <a:cubicBezTo>
                  <a:pt x="112" y="98"/>
                  <a:pt x="112" y="98"/>
                  <a:pt x="112" y="98"/>
                </a:cubicBezTo>
                <a:cubicBezTo>
                  <a:pt x="122" y="98"/>
                  <a:pt x="130" y="102"/>
                  <a:pt x="137" y="109"/>
                </a:cubicBezTo>
                <a:cubicBezTo>
                  <a:pt x="143" y="115"/>
                  <a:pt x="147" y="124"/>
                  <a:pt x="147" y="134"/>
                </a:cubicBezTo>
                <a:cubicBezTo>
                  <a:pt x="147" y="141"/>
                  <a:pt x="147" y="141"/>
                  <a:pt x="147" y="141"/>
                </a:cubicBezTo>
                <a:cubicBezTo>
                  <a:pt x="36" y="141"/>
                  <a:pt x="36" y="141"/>
                  <a:pt x="36" y="141"/>
                </a:cubicBezTo>
                <a:lnTo>
                  <a:pt x="36" y="134"/>
                </a:lnTo>
                <a:close/>
                <a:moveTo>
                  <a:pt x="56" y="185"/>
                </a:moveTo>
                <a:cubicBezTo>
                  <a:pt x="16" y="185"/>
                  <a:pt x="16" y="185"/>
                  <a:pt x="16" y="185"/>
                </a:cubicBezTo>
                <a:cubicBezTo>
                  <a:pt x="16" y="161"/>
                  <a:pt x="16" y="161"/>
                  <a:pt x="16" y="161"/>
                </a:cubicBezTo>
                <a:cubicBezTo>
                  <a:pt x="56" y="167"/>
                  <a:pt x="56" y="167"/>
                  <a:pt x="56" y="167"/>
                </a:cubicBezTo>
                <a:lnTo>
                  <a:pt x="56" y="185"/>
                </a:lnTo>
                <a:close/>
                <a:moveTo>
                  <a:pt x="165" y="185"/>
                </a:moveTo>
                <a:cubicBezTo>
                  <a:pt x="125" y="185"/>
                  <a:pt x="125" y="185"/>
                  <a:pt x="125" y="185"/>
                </a:cubicBezTo>
                <a:cubicBezTo>
                  <a:pt x="125" y="167"/>
                  <a:pt x="125" y="167"/>
                  <a:pt x="125" y="167"/>
                </a:cubicBezTo>
                <a:cubicBezTo>
                  <a:pt x="165" y="161"/>
                  <a:pt x="165" y="161"/>
                  <a:pt x="165" y="161"/>
                </a:cubicBezTo>
                <a:lnTo>
                  <a:pt x="165" y="185"/>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8" name="Group 4"/>
          <p:cNvGrpSpPr>
            <a:grpSpLocks noChangeAspect="1"/>
          </p:cNvGrpSpPr>
          <p:nvPr/>
        </p:nvGrpSpPr>
        <p:grpSpPr bwMode="auto">
          <a:xfrm>
            <a:off x="3683946" y="1839157"/>
            <a:ext cx="591471" cy="531282"/>
            <a:chOff x="-481" y="1759"/>
            <a:chExt cx="1759" cy="1580"/>
          </a:xfrm>
          <a:solidFill>
            <a:schemeClr val="accent5"/>
          </a:solidFill>
        </p:grpSpPr>
        <p:sp>
          <p:nvSpPr>
            <p:cNvPr id="10" name="Freeform 5"/>
            <p:cNvSpPr>
              <a:spLocks/>
            </p:cNvSpPr>
            <p:nvPr/>
          </p:nvSpPr>
          <p:spPr bwMode="auto">
            <a:xfrm>
              <a:off x="-160" y="1759"/>
              <a:ext cx="935" cy="614"/>
            </a:xfrm>
            <a:custGeom>
              <a:avLst/>
              <a:gdLst>
                <a:gd name="T0" fmla="*/ 0 w 394"/>
                <a:gd name="T1" fmla="*/ 256 h 259"/>
                <a:gd name="T2" fmla="*/ 286 w 394"/>
                <a:gd name="T3" fmla="*/ 66 h 259"/>
                <a:gd name="T4" fmla="*/ 301 w 394"/>
                <a:gd name="T5" fmla="*/ 73 h 259"/>
                <a:gd name="T6" fmla="*/ 320 w 394"/>
                <a:gd name="T7" fmla="*/ 0 h 259"/>
                <a:gd name="T8" fmla="*/ 394 w 394"/>
                <a:gd name="T9" fmla="*/ 191 h 259"/>
                <a:gd name="T10" fmla="*/ 215 w 394"/>
                <a:gd name="T11" fmla="*/ 259 h 259"/>
                <a:gd name="T12" fmla="*/ 243 w 394"/>
                <a:gd name="T13" fmla="*/ 193 h 259"/>
                <a:gd name="T14" fmla="*/ 0 w 394"/>
                <a:gd name="T15" fmla="*/ 256 h 2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4" h="259">
                  <a:moveTo>
                    <a:pt x="0" y="256"/>
                  </a:moveTo>
                  <a:cubicBezTo>
                    <a:pt x="0" y="256"/>
                    <a:pt x="68" y="14"/>
                    <a:pt x="286" y="66"/>
                  </a:cubicBezTo>
                  <a:cubicBezTo>
                    <a:pt x="301" y="73"/>
                    <a:pt x="301" y="73"/>
                    <a:pt x="301" y="73"/>
                  </a:cubicBezTo>
                  <a:cubicBezTo>
                    <a:pt x="320" y="0"/>
                    <a:pt x="320" y="0"/>
                    <a:pt x="320" y="0"/>
                  </a:cubicBezTo>
                  <a:cubicBezTo>
                    <a:pt x="394" y="191"/>
                    <a:pt x="394" y="191"/>
                    <a:pt x="394" y="191"/>
                  </a:cubicBezTo>
                  <a:cubicBezTo>
                    <a:pt x="215" y="259"/>
                    <a:pt x="215" y="259"/>
                    <a:pt x="215" y="259"/>
                  </a:cubicBezTo>
                  <a:cubicBezTo>
                    <a:pt x="243" y="193"/>
                    <a:pt x="243" y="193"/>
                    <a:pt x="243" y="193"/>
                  </a:cubicBezTo>
                  <a:cubicBezTo>
                    <a:pt x="243" y="193"/>
                    <a:pt x="172" y="109"/>
                    <a:pt x="0" y="2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 name="Freeform 6"/>
            <p:cNvSpPr>
              <a:spLocks/>
            </p:cNvSpPr>
            <p:nvPr/>
          </p:nvSpPr>
          <p:spPr bwMode="auto">
            <a:xfrm>
              <a:off x="564" y="2274"/>
              <a:ext cx="714" cy="947"/>
            </a:xfrm>
            <a:custGeom>
              <a:avLst/>
              <a:gdLst>
                <a:gd name="T0" fmla="*/ 111 w 301"/>
                <a:gd name="T1" fmla="*/ 0 h 399"/>
                <a:gd name="T2" fmla="*/ 160 w 301"/>
                <a:gd name="T3" fmla="*/ 340 h 399"/>
                <a:gd name="T4" fmla="*/ 147 w 301"/>
                <a:gd name="T5" fmla="*/ 350 h 399"/>
                <a:gd name="T6" fmla="*/ 204 w 301"/>
                <a:gd name="T7" fmla="*/ 399 h 399"/>
                <a:gd name="T8" fmla="*/ 0 w 301"/>
                <a:gd name="T9" fmla="*/ 383 h 399"/>
                <a:gd name="T10" fmla="*/ 16 w 301"/>
                <a:gd name="T11" fmla="*/ 193 h 399"/>
                <a:gd name="T12" fmla="*/ 64 w 301"/>
                <a:gd name="T13" fmla="*/ 246 h 399"/>
                <a:gd name="T14" fmla="*/ 111 w 301"/>
                <a:gd name="T15" fmla="*/ 0 h 39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1" h="399">
                  <a:moveTo>
                    <a:pt x="111" y="0"/>
                  </a:moveTo>
                  <a:cubicBezTo>
                    <a:pt x="111" y="0"/>
                    <a:pt x="301" y="166"/>
                    <a:pt x="160" y="340"/>
                  </a:cubicBezTo>
                  <a:cubicBezTo>
                    <a:pt x="147" y="350"/>
                    <a:pt x="147" y="350"/>
                    <a:pt x="147" y="350"/>
                  </a:cubicBezTo>
                  <a:cubicBezTo>
                    <a:pt x="204" y="399"/>
                    <a:pt x="204" y="399"/>
                    <a:pt x="204" y="399"/>
                  </a:cubicBezTo>
                  <a:cubicBezTo>
                    <a:pt x="0" y="383"/>
                    <a:pt x="0" y="383"/>
                    <a:pt x="0" y="383"/>
                  </a:cubicBezTo>
                  <a:cubicBezTo>
                    <a:pt x="16" y="193"/>
                    <a:pt x="16" y="193"/>
                    <a:pt x="16" y="193"/>
                  </a:cubicBezTo>
                  <a:cubicBezTo>
                    <a:pt x="64" y="246"/>
                    <a:pt x="64" y="246"/>
                    <a:pt x="64" y="246"/>
                  </a:cubicBezTo>
                  <a:cubicBezTo>
                    <a:pt x="64" y="246"/>
                    <a:pt x="170" y="218"/>
                    <a:pt x="1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 name="Freeform 7"/>
            <p:cNvSpPr>
              <a:spLocks/>
            </p:cNvSpPr>
            <p:nvPr/>
          </p:nvSpPr>
          <p:spPr bwMode="auto">
            <a:xfrm>
              <a:off x="-481" y="2456"/>
              <a:ext cx="900" cy="883"/>
            </a:xfrm>
            <a:custGeom>
              <a:avLst/>
              <a:gdLst>
                <a:gd name="T0" fmla="*/ 379 w 379"/>
                <a:gd name="T1" fmla="*/ 314 h 372"/>
                <a:gd name="T2" fmla="*/ 73 w 379"/>
                <a:gd name="T3" fmla="*/ 156 h 372"/>
                <a:gd name="T4" fmla="*/ 73 w 379"/>
                <a:gd name="T5" fmla="*/ 140 h 372"/>
                <a:gd name="T6" fmla="*/ 0 w 379"/>
                <a:gd name="T7" fmla="*/ 157 h 372"/>
                <a:gd name="T8" fmla="*/ 131 w 379"/>
                <a:gd name="T9" fmla="*/ 0 h 372"/>
                <a:gd name="T10" fmla="*/ 277 w 379"/>
                <a:gd name="T11" fmla="*/ 125 h 372"/>
                <a:gd name="T12" fmla="*/ 206 w 379"/>
                <a:gd name="T13" fmla="*/ 132 h 372"/>
                <a:gd name="T14" fmla="*/ 379 w 379"/>
                <a:gd name="T15" fmla="*/ 314 h 3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9" h="372">
                  <a:moveTo>
                    <a:pt x="379" y="314"/>
                  </a:moveTo>
                  <a:cubicBezTo>
                    <a:pt x="379" y="314"/>
                    <a:pt x="134" y="372"/>
                    <a:pt x="73" y="156"/>
                  </a:cubicBezTo>
                  <a:cubicBezTo>
                    <a:pt x="73" y="140"/>
                    <a:pt x="73" y="140"/>
                    <a:pt x="73" y="140"/>
                  </a:cubicBezTo>
                  <a:cubicBezTo>
                    <a:pt x="0" y="157"/>
                    <a:pt x="0" y="157"/>
                    <a:pt x="0" y="157"/>
                  </a:cubicBezTo>
                  <a:cubicBezTo>
                    <a:pt x="131" y="0"/>
                    <a:pt x="131" y="0"/>
                    <a:pt x="131" y="0"/>
                  </a:cubicBezTo>
                  <a:cubicBezTo>
                    <a:pt x="277" y="125"/>
                    <a:pt x="277" y="125"/>
                    <a:pt x="277" y="125"/>
                  </a:cubicBezTo>
                  <a:cubicBezTo>
                    <a:pt x="206" y="132"/>
                    <a:pt x="206" y="132"/>
                    <a:pt x="206" y="132"/>
                  </a:cubicBezTo>
                  <a:cubicBezTo>
                    <a:pt x="206" y="132"/>
                    <a:pt x="167" y="235"/>
                    <a:pt x="379" y="3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51" name="Picture 50"/>
          <p:cNvPicPr>
            <a:picLocks noChangeAspect="1" noChangeArrowheads="1"/>
          </p:cNvPicPr>
          <p:nvPr/>
        </p:nvPicPr>
        <p:blipFill>
          <a:blip r:embed="rId3" cstate="screen"/>
          <a:srcRect/>
          <a:stretch>
            <a:fillRect/>
          </a:stretch>
        </p:blipFill>
        <p:spPr bwMode="auto">
          <a:xfrm rot="10800000" flipH="1" flipV="1">
            <a:off x="340091" y="3478867"/>
            <a:ext cx="10011631" cy="156953"/>
          </a:xfrm>
          <a:prstGeom prst="rect">
            <a:avLst/>
          </a:prstGeom>
          <a:noFill/>
          <a:ln w="9525" algn="ctr">
            <a:noFill/>
            <a:miter lim="800000"/>
            <a:headEnd/>
            <a:tailEnd/>
          </a:ln>
        </p:spPr>
      </p:pic>
      <p:sp>
        <p:nvSpPr>
          <p:cNvPr id="55" name="Text Placeholder 6"/>
          <p:cNvSpPr txBox="1">
            <a:spLocks/>
          </p:cNvSpPr>
          <p:nvPr/>
        </p:nvSpPr>
        <p:spPr>
          <a:xfrm>
            <a:off x="556342" y="2577406"/>
            <a:ext cx="1341973" cy="381745"/>
          </a:xfrm>
          <a:prstGeom prst="rect">
            <a:avLst/>
          </a:prstGeom>
          <a:noFill/>
          <a:ln w="19050">
            <a:noFill/>
          </a:ln>
        </p:spPr>
        <p:txBody>
          <a:bodyPr lIns="0" rIns="0" anchor="t"/>
          <a:lstStyle>
            <a:lvl1pPr marL="342900" indent="-342900" algn="l" defTabSz="457200" rtl="0" eaLnBrk="1" latinLnBrk="0" hangingPunct="1">
              <a:spcBef>
                <a:spcPct val="20000"/>
              </a:spcBef>
              <a:buFont typeface="Arial"/>
              <a:buChar char="•"/>
              <a:defRPr sz="20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14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14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None/>
            </a:pPr>
            <a:r>
              <a:rPr lang="en-GB" sz="1200" b="1" dirty="0" smtClean="0">
                <a:solidFill>
                  <a:schemeClr val="tx1">
                    <a:lumMod val="75000"/>
                    <a:lumOff val="25000"/>
                  </a:schemeClr>
                </a:solidFill>
              </a:rPr>
              <a:t>Solar</a:t>
            </a:r>
            <a:endParaRPr lang="en-GB" sz="1200" b="1" dirty="0">
              <a:solidFill>
                <a:schemeClr val="tx1">
                  <a:lumMod val="75000"/>
                  <a:lumOff val="25000"/>
                </a:schemeClr>
              </a:solidFill>
            </a:endParaRPr>
          </a:p>
        </p:txBody>
      </p:sp>
      <p:sp>
        <p:nvSpPr>
          <p:cNvPr id="56" name="Text Placeholder 6"/>
          <p:cNvSpPr txBox="1">
            <a:spLocks/>
          </p:cNvSpPr>
          <p:nvPr/>
        </p:nvSpPr>
        <p:spPr>
          <a:xfrm>
            <a:off x="2088676" y="2577406"/>
            <a:ext cx="1027329" cy="381745"/>
          </a:xfrm>
          <a:prstGeom prst="rect">
            <a:avLst/>
          </a:prstGeom>
          <a:noFill/>
          <a:ln w="19050">
            <a:noFill/>
          </a:ln>
        </p:spPr>
        <p:txBody>
          <a:bodyPr lIns="0" rIns="0" anchor="t"/>
          <a:lstStyle>
            <a:lvl1pPr marL="342900" indent="-342900" algn="l" defTabSz="457200" rtl="0" eaLnBrk="1" latinLnBrk="0" hangingPunct="1">
              <a:spcBef>
                <a:spcPct val="20000"/>
              </a:spcBef>
              <a:buFont typeface="Arial"/>
              <a:buChar char="•"/>
              <a:defRPr sz="20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14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14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None/>
            </a:pPr>
            <a:r>
              <a:rPr lang="en-GB" sz="1200" b="1" dirty="0" smtClean="0">
                <a:solidFill>
                  <a:schemeClr val="tx1">
                    <a:lumMod val="75000"/>
                    <a:lumOff val="25000"/>
                  </a:schemeClr>
                </a:solidFill>
              </a:rPr>
              <a:t>Wind</a:t>
            </a:r>
            <a:endParaRPr lang="en-GB" sz="1200" b="1" dirty="0">
              <a:solidFill>
                <a:schemeClr val="tx1">
                  <a:lumMod val="75000"/>
                  <a:lumOff val="25000"/>
                </a:schemeClr>
              </a:solidFill>
            </a:endParaRPr>
          </a:p>
        </p:txBody>
      </p:sp>
      <p:sp>
        <p:nvSpPr>
          <p:cNvPr id="57" name="Text Placeholder 6"/>
          <p:cNvSpPr txBox="1">
            <a:spLocks/>
          </p:cNvSpPr>
          <p:nvPr/>
        </p:nvSpPr>
        <p:spPr>
          <a:xfrm>
            <a:off x="3427187" y="2483693"/>
            <a:ext cx="1104990" cy="381745"/>
          </a:xfrm>
          <a:prstGeom prst="rect">
            <a:avLst/>
          </a:prstGeom>
          <a:noFill/>
          <a:ln w="19050">
            <a:noFill/>
          </a:ln>
        </p:spPr>
        <p:txBody>
          <a:bodyPr lIns="0" rIns="0" anchor="t"/>
          <a:lstStyle>
            <a:lvl1pPr marL="342900" indent="-342900" algn="l" defTabSz="457200" rtl="0" eaLnBrk="1" latinLnBrk="0" hangingPunct="1">
              <a:spcBef>
                <a:spcPct val="20000"/>
              </a:spcBef>
              <a:buFont typeface="Arial"/>
              <a:buChar char="•"/>
              <a:defRPr sz="20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14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14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None/>
            </a:pPr>
            <a:r>
              <a:rPr lang="en-GB" sz="1200" b="1" dirty="0" smtClean="0">
                <a:solidFill>
                  <a:schemeClr val="tx1">
                    <a:lumMod val="75000"/>
                    <a:lumOff val="25000"/>
                  </a:schemeClr>
                </a:solidFill>
              </a:rPr>
              <a:t>Other</a:t>
            </a:r>
            <a:br>
              <a:rPr lang="en-GB" sz="1200" b="1" dirty="0" smtClean="0">
                <a:solidFill>
                  <a:schemeClr val="tx1">
                    <a:lumMod val="75000"/>
                    <a:lumOff val="25000"/>
                  </a:schemeClr>
                </a:solidFill>
              </a:rPr>
            </a:br>
            <a:r>
              <a:rPr lang="en-GB" sz="1200" b="1" dirty="0" smtClean="0">
                <a:solidFill>
                  <a:schemeClr val="tx1">
                    <a:lumMod val="75000"/>
                    <a:lumOff val="25000"/>
                  </a:schemeClr>
                </a:solidFill>
              </a:rPr>
              <a:t>Renewables</a:t>
            </a:r>
            <a:endParaRPr lang="en-GB" sz="1200" b="1" dirty="0">
              <a:solidFill>
                <a:schemeClr val="tx1">
                  <a:lumMod val="75000"/>
                  <a:lumOff val="25000"/>
                </a:schemeClr>
              </a:solidFill>
            </a:endParaRPr>
          </a:p>
        </p:txBody>
      </p:sp>
      <p:sp>
        <p:nvSpPr>
          <p:cNvPr id="58" name="Text Placeholder 6"/>
          <p:cNvSpPr txBox="1">
            <a:spLocks/>
          </p:cNvSpPr>
          <p:nvPr/>
        </p:nvSpPr>
        <p:spPr>
          <a:xfrm>
            <a:off x="7500480" y="2483693"/>
            <a:ext cx="1104990" cy="381745"/>
          </a:xfrm>
          <a:prstGeom prst="rect">
            <a:avLst/>
          </a:prstGeom>
          <a:noFill/>
          <a:ln w="19050">
            <a:noFill/>
          </a:ln>
        </p:spPr>
        <p:txBody>
          <a:bodyPr lIns="0" rIns="0" anchor="t"/>
          <a:lstStyle>
            <a:lvl1pPr marL="342900" indent="-342900" algn="l" defTabSz="457200" rtl="0" eaLnBrk="1" latinLnBrk="0" hangingPunct="1">
              <a:spcBef>
                <a:spcPct val="20000"/>
              </a:spcBef>
              <a:buFont typeface="Arial"/>
              <a:buChar char="•"/>
              <a:defRPr sz="20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14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14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None/>
            </a:pPr>
            <a:r>
              <a:rPr lang="en-GB" sz="1200" b="1" dirty="0" smtClean="0">
                <a:solidFill>
                  <a:schemeClr val="tx1">
                    <a:lumMod val="75000"/>
                    <a:lumOff val="25000"/>
                  </a:schemeClr>
                </a:solidFill>
              </a:rPr>
              <a:t>Advanced</a:t>
            </a:r>
            <a:br>
              <a:rPr lang="en-GB" sz="1200" b="1" dirty="0" smtClean="0">
                <a:solidFill>
                  <a:schemeClr val="tx1">
                    <a:lumMod val="75000"/>
                    <a:lumOff val="25000"/>
                  </a:schemeClr>
                </a:solidFill>
              </a:rPr>
            </a:br>
            <a:r>
              <a:rPr lang="en-GB" sz="1200" b="1" dirty="0" smtClean="0">
                <a:solidFill>
                  <a:schemeClr val="tx1">
                    <a:lumMod val="75000"/>
                    <a:lumOff val="25000"/>
                  </a:schemeClr>
                </a:solidFill>
              </a:rPr>
              <a:t>Transport</a:t>
            </a:r>
            <a:endParaRPr lang="en-GB" sz="1200" b="1" dirty="0">
              <a:solidFill>
                <a:schemeClr val="tx1">
                  <a:lumMod val="75000"/>
                  <a:lumOff val="25000"/>
                </a:schemeClr>
              </a:solidFill>
            </a:endParaRPr>
          </a:p>
        </p:txBody>
      </p:sp>
      <p:sp>
        <p:nvSpPr>
          <p:cNvPr id="59" name="Text Placeholder 6"/>
          <p:cNvSpPr txBox="1">
            <a:spLocks/>
          </p:cNvSpPr>
          <p:nvPr/>
        </p:nvSpPr>
        <p:spPr>
          <a:xfrm>
            <a:off x="6134980" y="2483693"/>
            <a:ext cx="1238194" cy="381745"/>
          </a:xfrm>
          <a:prstGeom prst="rect">
            <a:avLst/>
          </a:prstGeom>
          <a:noFill/>
          <a:ln w="19050">
            <a:noFill/>
          </a:ln>
        </p:spPr>
        <p:txBody>
          <a:bodyPr lIns="0" rIns="0" anchor="t"/>
          <a:lstStyle>
            <a:lvl1pPr marL="342900" indent="-342900" algn="l" defTabSz="457200" rtl="0" eaLnBrk="1" latinLnBrk="0" hangingPunct="1">
              <a:spcBef>
                <a:spcPct val="20000"/>
              </a:spcBef>
              <a:buFont typeface="Arial"/>
              <a:buChar char="•"/>
              <a:defRPr sz="20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14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14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None/>
            </a:pPr>
            <a:r>
              <a:rPr lang="en-GB" sz="1200" b="1" dirty="0" smtClean="0">
                <a:solidFill>
                  <a:schemeClr val="tx1">
                    <a:lumMod val="75000"/>
                    <a:lumOff val="25000"/>
                  </a:schemeClr>
                </a:solidFill>
              </a:rPr>
              <a:t>Energy Smart Technologies</a:t>
            </a:r>
            <a:endParaRPr lang="en-GB" sz="1200" b="1" dirty="0">
              <a:solidFill>
                <a:schemeClr val="tx1">
                  <a:lumMod val="75000"/>
                  <a:lumOff val="25000"/>
                </a:schemeClr>
              </a:solidFill>
            </a:endParaRPr>
          </a:p>
        </p:txBody>
      </p:sp>
      <p:sp>
        <p:nvSpPr>
          <p:cNvPr id="60" name="Text Placeholder 6"/>
          <p:cNvSpPr txBox="1">
            <a:spLocks/>
          </p:cNvSpPr>
          <p:nvPr/>
        </p:nvSpPr>
        <p:spPr>
          <a:xfrm>
            <a:off x="4661241" y="2577406"/>
            <a:ext cx="1328091" cy="381745"/>
          </a:xfrm>
          <a:prstGeom prst="rect">
            <a:avLst/>
          </a:prstGeom>
          <a:noFill/>
          <a:ln w="19050">
            <a:noFill/>
          </a:ln>
        </p:spPr>
        <p:txBody>
          <a:bodyPr lIns="0" rIns="0" anchor="t"/>
          <a:lstStyle>
            <a:lvl1pPr marL="342900" indent="-342900" algn="l" defTabSz="457200" rtl="0" eaLnBrk="1" latinLnBrk="0" hangingPunct="1">
              <a:spcBef>
                <a:spcPct val="20000"/>
              </a:spcBef>
              <a:buFont typeface="Arial"/>
              <a:buChar char="•"/>
              <a:defRPr sz="20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14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14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None/>
            </a:pPr>
            <a:r>
              <a:rPr lang="en-GB" sz="1200" b="1" dirty="0" smtClean="0">
                <a:solidFill>
                  <a:schemeClr val="tx1">
                    <a:lumMod val="75000"/>
                    <a:lumOff val="25000"/>
                  </a:schemeClr>
                </a:solidFill>
              </a:rPr>
              <a:t>Gas</a:t>
            </a:r>
            <a:endParaRPr lang="en-GB" sz="1200" b="1" dirty="0">
              <a:solidFill>
                <a:schemeClr val="tx1">
                  <a:lumMod val="75000"/>
                  <a:lumOff val="25000"/>
                </a:schemeClr>
              </a:solidFill>
            </a:endParaRPr>
          </a:p>
        </p:txBody>
      </p:sp>
      <p:sp>
        <p:nvSpPr>
          <p:cNvPr id="61" name="Text Placeholder 6"/>
          <p:cNvSpPr txBox="1">
            <a:spLocks/>
          </p:cNvSpPr>
          <p:nvPr/>
        </p:nvSpPr>
        <p:spPr>
          <a:xfrm>
            <a:off x="8765708" y="2483693"/>
            <a:ext cx="1437284" cy="381745"/>
          </a:xfrm>
          <a:prstGeom prst="rect">
            <a:avLst/>
          </a:prstGeom>
          <a:noFill/>
          <a:ln w="19050">
            <a:noFill/>
          </a:ln>
        </p:spPr>
        <p:txBody>
          <a:bodyPr lIns="0" rIns="0" anchor="t"/>
          <a:lstStyle>
            <a:lvl1pPr marL="342900" indent="-342900" algn="l" defTabSz="457200" rtl="0" eaLnBrk="1" latinLnBrk="0" hangingPunct="1">
              <a:spcBef>
                <a:spcPct val="20000"/>
              </a:spcBef>
              <a:buFont typeface="Arial"/>
              <a:buChar char="•"/>
              <a:defRPr sz="20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14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14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None/>
            </a:pPr>
            <a:r>
              <a:rPr lang="en-GB" sz="1200" b="1" dirty="0" smtClean="0">
                <a:solidFill>
                  <a:schemeClr val="tx1">
                    <a:lumMod val="75000"/>
                    <a:lumOff val="25000"/>
                  </a:schemeClr>
                </a:solidFill>
              </a:rPr>
              <a:t>Carbon &amp; </a:t>
            </a:r>
            <a:br>
              <a:rPr lang="en-GB" sz="1200" b="1" dirty="0" smtClean="0">
                <a:solidFill>
                  <a:schemeClr val="tx1">
                    <a:lumMod val="75000"/>
                    <a:lumOff val="25000"/>
                  </a:schemeClr>
                </a:solidFill>
              </a:rPr>
            </a:br>
            <a:r>
              <a:rPr lang="en-GB" sz="1200" b="1" dirty="0" smtClean="0">
                <a:solidFill>
                  <a:schemeClr val="tx1">
                    <a:lumMod val="75000"/>
                    <a:lumOff val="25000"/>
                  </a:schemeClr>
                </a:solidFill>
              </a:rPr>
              <a:t>RECs Markets</a:t>
            </a:r>
          </a:p>
          <a:p>
            <a:pPr marL="0" indent="0" algn="ctr">
              <a:buNone/>
            </a:pPr>
            <a:endParaRPr lang="en-GB" sz="1200" b="1" dirty="0">
              <a:solidFill>
                <a:schemeClr val="tx1">
                  <a:lumMod val="75000"/>
                  <a:lumOff val="25000"/>
                </a:schemeClr>
              </a:solidFill>
            </a:endParaRPr>
          </a:p>
        </p:txBody>
      </p:sp>
      <p:grpSp>
        <p:nvGrpSpPr>
          <p:cNvPr id="62" name="Group 61"/>
          <p:cNvGrpSpPr/>
          <p:nvPr/>
        </p:nvGrpSpPr>
        <p:grpSpPr>
          <a:xfrm rot="5400000">
            <a:off x="5205204" y="3354416"/>
            <a:ext cx="281405" cy="281405"/>
            <a:chOff x="5204410" y="4647246"/>
            <a:chExt cx="281405" cy="281405"/>
          </a:xfrm>
        </p:grpSpPr>
        <p:sp>
          <p:nvSpPr>
            <p:cNvPr id="63" name="Oval 62"/>
            <p:cNvSpPr/>
            <p:nvPr/>
          </p:nvSpPr>
          <p:spPr>
            <a:xfrm>
              <a:off x="5204410" y="4647246"/>
              <a:ext cx="281405" cy="281405"/>
            </a:xfrm>
            <a:prstGeom prst="ellipse">
              <a:avLst/>
            </a:prstGeom>
            <a:gradFill flip="none" rotWithShape="1">
              <a:gsLst>
                <a:gs pos="0">
                  <a:schemeClr val="bg1"/>
                </a:gs>
                <a:gs pos="100000">
                  <a:schemeClr val="bg1">
                    <a:lumMod val="95000"/>
                  </a:schemeClr>
                </a:gs>
              </a:gsLst>
              <a:path path="circle">
                <a:fillToRect l="50000" t="50000" r="50000" b="50000"/>
              </a:path>
              <a:tileRect/>
            </a:gradFill>
            <a:ln w="9525" cap="flat" cmpd="sng" algn="ctr">
              <a:noFill/>
              <a:prstDash val="dash"/>
              <a:miter lim="800000"/>
              <a:headEnd type="none" w="med" len="med"/>
              <a:tailEnd type="none" w="med" len="med"/>
            </a:ln>
            <a:effectLst>
              <a:innerShdw blurRad="63500">
                <a:prstClr val="black">
                  <a:alpha val="42000"/>
                </a:prstClr>
              </a:innerShdw>
            </a:effectLst>
          </p:spPr>
          <p:txBody>
            <a:bodyPr vert="horz" wrap="none" lIns="91440" tIns="45720" rIns="91440" bIns="45720" numCol="1" rtlCol="0" anchor="t" anchorCtr="0" compatLnSpc="1">
              <a:prstTxWarp prst="textNoShape">
                <a:avLst/>
              </a:prstTxWarp>
            </a:bodyPr>
            <a:lstStyle/>
            <a:p>
              <a:pPr marL="0" indent="0" defTabSz="914400">
                <a:buClrTx/>
                <a:buFontTx/>
                <a:buNone/>
              </a:pPr>
              <a:endParaRPr lang="en-US" dirty="0">
                <a:solidFill>
                  <a:schemeClr val="tx1"/>
                </a:solidFill>
              </a:endParaRPr>
            </a:p>
          </p:txBody>
        </p:sp>
        <p:sp>
          <p:nvSpPr>
            <p:cNvPr id="64" name="Chevron 63"/>
            <p:cNvSpPr/>
            <p:nvPr/>
          </p:nvSpPr>
          <p:spPr>
            <a:xfrm>
              <a:off x="5285011" y="4715249"/>
              <a:ext cx="144016" cy="144016"/>
            </a:xfrm>
            <a:prstGeom prst="chevron">
              <a:avLst>
                <a:gd name="adj" fmla="val 41733"/>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marL="0" indent="0" algn="ctr">
                <a:buNone/>
              </a:pPr>
              <a:endParaRPr lang="en-US" dirty="0" smtClean="0">
                <a:solidFill>
                  <a:schemeClr val="tx1"/>
                </a:solidFill>
              </a:endParaRPr>
            </a:p>
          </p:txBody>
        </p:sp>
      </p:grpSp>
      <p:grpSp>
        <p:nvGrpSpPr>
          <p:cNvPr id="13" name="Group 10"/>
          <p:cNvGrpSpPr>
            <a:grpSpLocks noChangeAspect="1"/>
          </p:cNvGrpSpPr>
          <p:nvPr/>
        </p:nvGrpSpPr>
        <p:grpSpPr bwMode="auto">
          <a:xfrm>
            <a:off x="6465344" y="1810239"/>
            <a:ext cx="513773" cy="574802"/>
            <a:chOff x="3580" y="1150"/>
            <a:chExt cx="362" cy="405"/>
          </a:xfrm>
          <a:solidFill>
            <a:schemeClr val="accent4"/>
          </a:solidFill>
        </p:grpSpPr>
        <p:sp>
          <p:nvSpPr>
            <p:cNvPr id="50" name="Freeform 11"/>
            <p:cNvSpPr>
              <a:spLocks/>
            </p:cNvSpPr>
            <p:nvPr/>
          </p:nvSpPr>
          <p:spPr bwMode="auto">
            <a:xfrm>
              <a:off x="3749" y="1150"/>
              <a:ext cx="25" cy="58"/>
            </a:xfrm>
            <a:custGeom>
              <a:avLst/>
              <a:gdLst>
                <a:gd name="T0" fmla="*/ 62 w 62"/>
                <a:gd name="T1" fmla="*/ 110 h 141"/>
                <a:gd name="T2" fmla="*/ 62 w 62"/>
                <a:gd name="T3" fmla="*/ 31 h 141"/>
                <a:gd name="T4" fmla="*/ 31 w 62"/>
                <a:gd name="T5" fmla="*/ 0 h 141"/>
                <a:gd name="T6" fmla="*/ 0 w 62"/>
                <a:gd name="T7" fmla="*/ 31 h 141"/>
                <a:gd name="T8" fmla="*/ 0 w 62"/>
                <a:gd name="T9" fmla="*/ 110 h 141"/>
                <a:gd name="T10" fmla="*/ 31 w 62"/>
                <a:gd name="T11" fmla="*/ 141 h 141"/>
                <a:gd name="T12" fmla="*/ 62 w 62"/>
                <a:gd name="T13" fmla="*/ 110 h 141"/>
              </a:gdLst>
              <a:ahLst/>
              <a:cxnLst>
                <a:cxn ang="0">
                  <a:pos x="T0" y="T1"/>
                </a:cxn>
                <a:cxn ang="0">
                  <a:pos x="T2" y="T3"/>
                </a:cxn>
                <a:cxn ang="0">
                  <a:pos x="T4" y="T5"/>
                </a:cxn>
                <a:cxn ang="0">
                  <a:pos x="T6" y="T7"/>
                </a:cxn>
                <a:cxn ang="0">
                  <a:pos x="T8" y="T9"/>
                </a:cxn>
                <a:cxn ang="0">
                  <a:pos x="T10" y="T11"/>
                </a:cxn>
                <a:cxn ang="0">
                  <a:pos x="T12" y="T13"/>
                </a:cxn>
              </a:cxnLst>
              <a:rect l="0" t="0" r="r" b="b"/>
              <a:pathLst>
                <a:path w="62" h="141">
                  <a:moveTo>
                    <a:pt x="62" y="110"/>
                  </a:moveTo>
                  <a:cubicBezTo>
                    <a:pt x="62" y="31"/>
                    <a:pt x="62" y="31"/>
                    <a:pt x="62" y="31"/>
                  </a:cubicBezTo>
                  <a:cubicBezTo>
                    <a:pt x="62" y="14"/>
                    <a:pt x="48" y="0"/>
                    <a:pt x="31" y="0"/>
                  </a:cubicBezTo>
                  <a:cubicBezTo>
                    <a:pt x="14" y="0"/>
                    <a:pt x="0" y="14"/>
                    <a:pt x="0" y="31"/>
                  </a:cubicBezTo>
                  <a:cubicBezTo>
                    <a:pt x="0" y="110"/>
                    <a:pt x="0" y="110"/>
                    <a:pt x="0" y="110"/>
                  </a:cubicBezTo>
                  <a:cubicBezTo>
                    <a:pt x="0" y="127"/>
                    <a:pt x="14" y="141"/>
                    <a:pt x="31" y="141"/>
                  </a:cubicBezTo>
                  <a:cubicBezTo>
                    <a:pt x="48" y="141"/>
                    <a:pt x="62" y="127"/>
                    <a:pt x="62" y="1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 name="Freeform 12"/>
            <p:cNvSpPr>
              <a:spLocks/>
            </p:cNvSpPr>
            <p:nvPr/>
          </p:nvSpPr>
          <p:spPr bwMode="auto">
            <a:xfrm>
              <a:off x="3861" y="1219"/>
              <a:ext cx="55" cy="46"/>
            </a:xfrm>
            <a:custGeom>
              <a:avLst/>
              <a:gdLst>
                <a:gd name="T0" fmla="*/ 17 w 134"/>
                <a:gd name="T1" fmla="*/ 57 h 113"/>
                <a:gd name="T2" fmla="*/ 10 w 134"/>
                <a:gd name="T3" fmla="*/ 101 h 113"/>
                <a:gd name="T4" fmla="*/ 35 w 134"/>
                <a:gd name="T5" fmla="*/ 113 h 113"/>
                <a:gd name="T6" fmla="*/ 54 w 134"/>
                <a:gd name="T7" fmla="*/ 107 h 113"/>
                <a:gd name="T8" fmla="*/ 117 w 134"/>
                <a:gd name="T9" fmla="*/ 60 h 113"/>
                <a:gd name="T10" fmla="*/ 124 w 134"/>
                <a:gd name="T11" fmla="*/ 17 h 113"/>
                <a:gd name="T12" fmla="*/ 80 w 134"/>
                <a:gd name="T13" fmla="*/ 10 h 113"/>
                <a:gd name="T14" fmla="*/ 17 w 134"/>
                <a:gd name="T15" fmla="*/ 57 h 1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4" h="113">
                  <a:moveTo>
                    <a:pt x="17" y="57"/>
                  </a:moveTo>
                  <a:cubicBezTo>
                    <a:pt x="3" y="67"/>
                    <a:pt x="0" y="87"/>
                    <a:pt x="10" y="101"/>
                  </a:cubicBezTo>
                  <a:cubicBezTo>
                    <a:pt x="16" y="109"/>
                    <a:pt x="26" y="113"/>
                    <a:pt x="35" y="113"/>
                  </a:cubicBezTo>
                  <a:cubicBezTo>
                    <a:pt x="42" y="113"/>
                    <a:pt x="48" y="111"/>
                    <a:pt x="54" y="107"/>
                  </a:cubicBezTo>
                  <a:cubicBezTo>
                    <a:pt x="117" y="60"/>
                    <a:pt x="117" y="60"/>
                    <a:pt x="117" y="60"/>
                  </a:cubicBezTo>
                  <a:cubicBezTo>
                    <a:pt x="131" y="50"/>
                    <a:pt x="134" y="30"/>
                    <a:pt x="124" y="17"/>
                  </a:cubicBezTo>
                  <a:cubicBezTo>
                    <a:pt x="113" y="3"/>
                    <a:pt x="94" y="0"/>
                    <a:pt x="80" y="10"/>
                  </a:cubicBezTo>
                  <a:lnTo>
                    <a:pt x="17" y="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6" name="Freeform 13"/>
            <p:cNvSpPr>
              <a:spLocks/>
            </p:cNvSpPr>
            <p:nvPr/>
          </p:nvSpPr>
          <p:spPr bwMode="auto">
            <a:xfrm>
              <a:off x="3883" y="1364"/>
              <a:ext cx="59" cy="37"/>
            </a:xfrm>
            <a:custGeom>
              <a:avLst/>
              <a:gdLst>
                <a:gd name="T0" fmla="*/ 119 w 145"/>
                <a:gd name="T1" fmla="*/ 28 h 90"/>
                <a:gd name="T2" fmla="*/ 44 w 145"/>
                <a:gd name="T3" fmla="*/ 5 h 90"/>
                <a:gd name="T4" fmla="*/ 5 w 145"/>
                <a:gd name="T5" fmla="*/ 26 h 90"/>
                <a:gd name="T6" fmla="*/ 25 w 145"/>
                <a:gd name="T7" fmla="*/ 65 h 90"/>
                <a:gd name="T8" fmla="*/ 101 w 145"/>
                <a:gd name="T9" fmla="*/ 88 h 90"/>
                <a:gd name="T10" fmla="*/ 110 w 145"/>
                <a:gd name="T11" fmla="*/ 90 h 90"/>
                <a:gd name="T12" fmla="*/ 140 w 145"/>
                <a:gd name="T13" fmla="*/ 67 h 90"/>
                <a:gd name="T14" fmla="*/ 119 w 145"/>
                <a:gd name="T15" fmla="*/ 28 h 9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5" h="90">
                  <a:moveTo>
                    <a:pt x="119" y="28"/>
                  </a:moveTo>
                  <a:cubicBezTo>
                    <a:pt x="44" y="5"/>
                    <a:pt x="44" y="5"/>
                    <a:pt x="44" y="5"/>
                  </a:cubicBezTo>
                  <a:cubicBezTo>
                    <a:pt x="27" y="0"/>
                    <a:pt x="10" y="10"/>
                    <a:pt x="5" y="26"/>
                  </a:cubicBezTo>
                  <a:cubicBezTo>
                    <a:pt x="0" y="43"/>
                    <a:pt x="9" y="60"/>
                    <a:pt x="25" y="65"/>
                  </a:cubicBezTo>
                  <a:cubicBezTo>
                    <a:pt x="101" y="88"/>
                    <a:pt x="101" y="88"/>
                    <a:pt x="101" y="88"/>
                  </a:cubicBezTo>
                  <a:cubicBezTo>
                    <a:pt x="104" y="89"/>
                    <a:pt x="107" y="90"/>
                    <a:pt x="110" y="90"/>
                  </a:cubicBezTo>
                  <a:cubicBezTo>
                    <a:pt x="123" y="90"/>
                    <a:pt x="136" y="81"/>
                    <a:pt x="140" y="67"/>
                  </a:cubicBezTo>
                  <a:cubicBezTo>
                    <a:pt x="145" y="51"/>
                    <a:pt x="135" y="33"/>
                    <a:pt x="119"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 name="Freeform 14"/>
            <p:cNvSpPr>
              <a:spLocks/>
            </p:cNvSpPr>
            <p:nvPr/>
          </p:nvSpPr>
          <p:spPr bwMode="auto">
            <a:xfrm>
              <a:off x="3606" y="1219"/>
              <a:ext cx="55" cy="46"/>
            </a:xfrm>
            <a:custGeom>
              <a:avLst/>
              <a:gdLst>
                <a:gd name="T0" fmla="*/ 16 w 134"/>
                <a:gd name="T1" fmla="*/ 60 h 113"/>
                <a:gd name="T2" fmla="*/ 80 w 134"/>
                <a:gd name="T3" fmla="*/ 107 h 113"/>
                <a:gd name="T4" fmla="*/ 98 w 134"/>
                <a:gd name="T5" fmla="*/ 113 h 113"/>
                <a:gd name="T6" fmla="*/ 123 w 134"/>
                <a:gd name="T7" fmla="*/ 101 h 113"/>
                <a:gd name="T8" fmla="*/ 117 w 134"/>
                <a:gd name="T9" fmla="*/ 57 h 113"/>
                <a:gd name="T10" fmla="*/ 54 w 134"/>
                <a:gd name="T11" fmla="*/ 10 h 113"/>
                <a:gd name="T12" fmla="*/ 10 w 134"/>
                <a:gd name="T13" fmla="*/ 17 h 113"/>
                <a:gd name="T14" fmla="*/ 16 w 134"/>
                <a:gd name="T15" fmla="*/ 60 h 1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4" h="113">
                  <a:moveTo>
                    <a:pt x="16" y="60"/>
                  </a:moveTo>
                  <a:cubicBezTo>
                    <a:pt x="80" y="107"/>
                    <a:pt x="80" y="107"/>
                    <a:pt x="80" y="107"/>
                  </a:cubicBezTo>
                  <a:cubicBezTo>
                    <a:pt x="85" y="111"/>
                    <a:pt x="92" y="113"/>
                    <a:pt x="98" y="113"/>
                  </a:cubicBezTo>
                  <a:cubicBezTo>
                    <a:pt x="108" y="113"/>
                    <a:pt x="117" y="109"/>
                    <a:pt x="123" y="101"/>
                  </a:cubicBezTo>
                  <a:cubicBezTo>
                    <a:pt x="134" y="87"/>
                    <a:pt x="131" y="67"/>
                    <a:pt x="117" y="57"/>
                  </a:cubicBezTo>
                  <a:cubicBezTo>
                    <a:pt x="54" y="10"/>
                    <a:pt x="54" y="10"/>
                    <a:pt x="54" y="10"/>
                  </a:cubicBezTo>
                  <a:cubicBezTo>
                    <a:pt x="40" y="0"/>
                    <a:pt x="20" y="3"/>
                    <a:pt x="10" y="17"/>
                  </a:cubicBezTo>
                  <a:cubicBezTo>
                    <a:pt x="0" y="30"/>
                    <a:pt x="2" y="50"/>
                    <a:pt x="16"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8" name="Freeform 15"/>
            <p:cNvSpPr>
              <a:spLocks/>
            </p:cNvSpPr>
            <p:nvPr/>
          </p:nvSpPr>
          <p:spPr bwMode="auto">
            <a:xfrm>
              <a:off x="3580" y="1364"/>
              <a:ext cx="59" cy="37"/>
            </a:xfrm>
            <a:custGeom>
              <a:avLst/>
              <a:gdLst>
                <a:gd name="T0" fmla="*/ 140 w 145"/>
                <a:gd name="T1" fmla="*/ 26 h 90"/>
                <a:gd name="T2" fmla="*/ 101 w 145"/>
                <a:gd name="T3" fmla="*/ 5 h 90"/>
                <a:gd name="T4" fmla="*/ 26 w 145"/>
                <a:gd name="T5" fmla="*/ 28 h 90"/>
                <a:gd name="T6" fmla="*/ 5 w 145"/>
                <a:gd name="T7" fmla="*/ 67 h 90"/>
                <a:gd name="T8" fmla="*/ 35 w 145"/>
                <a:gd name="T9" fmla="*/ 90 h 90"/>
                <a:gd name="T10" fmla="*/ 44 w 145"/>
                <a:gd name="T11" fmla="*/ 88 h 90"/>
                <a:gd name="T12" fmla="*/ 119 w 145"/>
                <a:gd name="T13" fmla="*/ 65 h 90"/>
                <a:gd name="T14" fmla="*/ 140 w 145"/>
                <a:gd name="T15" fmla="*/ 26 h 9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5" h="90">
                  <a:moveTo>
                    <a:pt x="140" y="26"/>
                  </a:moveTo>
                  <a:cubicBezTo>
                    <a:pt x="135" y="10"/>
                    <a:pt x="117" y="0"/>
                    <a:pt x="101" y="5"/>
                  </a:cubicBezTo>
                  <a:cubicBezTo>
                    <a:pt x="26" y="28"/>
                    <a:pt x="26" y="28"/>
                    <a:pt x="26" y="28"/>
                  </a:cubicBezTo>
                  <a:cubicBezTo>
                    <a:pt x="9" y="33"/>
                    <a:pt x="0" y="51"/>
                    <a:pt x="5" y="67"/>
                  </a:cubicBezTo>
                  <a:cubicBezTo>
                    <a:pt x="9" y="81"/>
                    <a:pt x="21" y="90"/>
                    <a:pt x="35" y="90"/>
                  </a:cubicBezTo>
                  <a:cubicBezTo>
                    <a:pt x="38" y="90"/>
                    <a:pt x="41" y="89"/>
                    <a:pt x="44" y="88"/>
                  </a:cubicBezTo>
                  <a:cubicBezTo>
                    <a:pt x="119" y="65"/>
                    <a:pt x="119" y="65"/>
                    <a:pt x="119" y="65"/>
                  </a:cubicBezTo>
                  <a:cubicBezTo>
                    <a:pt x="136" y="60"/>
                    <a:pt x="145" y="43"/>
                    <a:pt x="140"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9" name="Freeform 16"/>
            <p:cNvSpPr>
              <a:spLocks noEditPoints="1"/>
            </p:cNvSpPr>
            <p:nvPr/>
          </p:nvSpPr>
          <p:spPr bwMode="auto">
            <a:xfrm>
              <a:off x="3648" y="1232"/>
              <a:ext cx="225" cy="323"/>
            </a:xfrm>
            <a:custGeom>
              <a:avLst/>
              <a:gdLst>
                <a:gd name="T0" fmla="*/ 84 w 553"/>
                <a:gd name="T1" fmla="*/ 438 h 792"/>
                <a:gd name="T2" fmla="*/ 109 w 553"/>
                <a:gd name="T3" fmla="*/ 531 h 792"/>
                <a:gd name="T4" fmla="*/ 103 w 553"/>
                <a:gd name="T5" fmla="*/ 548 h 792"/>
                <a:gd name="T6" fmla="*/ 96 w 553"/>
                <a:gd name="T7" fmla="*/ 598 h 792"/>
                <a:gd name="T8" fmla="*/ 101 w 553"/>
                <a:gd name="T9" fmla="*/ 682 h 792"/>
                <a:gd name="T10" fmla="*/ 155 w 553"/>
                <a:gd name="T11" fmla="*/ 727 h 792"/>
                <a:gd name="T12" fmla="*/ 197 w 553"/>
                <a:gd name="T13" fmla="*/ 734 h 792"/>
                <a:gd name="T14" fmla="*/ 260 w 553"/>
                <a:gd name="T15" fmla="*/ 792 h 792"/>
                <a:gd name="T16" fmla="*/ 368 w 553"/>
                <a:gd name="T17" fmla="*/ 738 h 792"/>
                <a:gd name="T18" fmla="*/ 376 w 553"/>
                <a:gd name="T19" fmla="*/ 727 h 792"/>
                <a:gd name="T20" fmla="*/ 420 w 553"/>
                <a:gd name="T21" fmla="*/ 722 h 792"/>
                <a:gd name="T22" fmla="*/ 467 w 553"/>
                <a:gd name="T23" fmla="*/ 670 h 792"/>
                <a:gd name="T24" fmla="*/ 467 w 553"/>
                <a:gd name="T25" fmla="*/ 555 h 792"/>
                <a:gd name="T26" fmla="*/ 454 w 553"/>
                <a:gd name="T27" fmla="*/ 548 h 792"/>
                <a:gd name="T28" fmla="*/ 454 w 553"/>
                <a:gd name="T29" fmla="*/ 485 h 792"/>
                <a:gd name="T30" fmla="*/ 529 w 553"/>
                <a:gd name="T31" fmla="*/ 355 h 792"/>
                <a:gd name="T32" fmla="*/ 373 w 553"/>
                <a:gd name="T33" fmla="*/ 16 h 792"/>
                <a:gd name="T34" fmla="*/ 132 w 553"/>
                <a:gd name="T35" fmla="*/ 46 h 792"/>
                <a:gd name="T36" fmla="*/ 281 w 553"/>
                <a:gd name="T37" fmla="*/ 76 h 792"/>
                <a:gd name="T38" fmla="*/ 458 w 553"/>
                <a:gd name="T39" fmla="*/ 329 h 792"/>
                <a:gd name="T40" fmla="*/ 378 w 553"/>
                <a:gd name="T41" fmla="*/ 474 h 792"/>
                <a:gd name="T42" fmla="*/ 308 w 553"/>
                <a:gd name="T43" fmla="*/ 531 h 792"/>
                <a:gd name="T44" fmla="*/ 308 w 553"/>
                <a:gd name="T45" fmla="*/ 477 h 792"/>
                <a:gd name="T46" fmla="*/ 297 w 553"/>
                <a:gd name="T47" fmla="*/ 447 h 792"/>
                <a:gd name="T48" fmla="*/ 305 w 553"/>
                <a:gd name="T49" fmla="*/ 403 h 792"/>
                <a:gd name="T50" fmla="*/ 312 w 553"/>
                <a:gd name="T51" fmla="*/ 380 h 792"/>
                <a:gd name="T52" fmla="*/ 415 w 553"/>
                <a:gd name="T53" fmla="*/ 172 h 792"/>
                <a:gd name="T54" fmla="*/ 288 w 553"/>
                <a:gd name="T55" fmla="*/ 247 h 792"/>
                <a:gd name="T56" fmla="*/ 354 w 553"/>
                <a:gd name="T57" fmla="*/ 271 h 792"/>
                <a:gd name="T58" fmla="*/ 305 w 553"/>
                <a:gd name="T59" fmla="*/ 343 h 792"/>
                <a:gd name="T60" fmla="*/ 287 w 553"/>
                <a:gd name="T61" fmla="*/ 380 h 792"/>
                <a:gd name="T62" fmla="*/ 262 w 553"/>
                <a:gd name="T63" fmla="*/ 378 h 792"/>
                <a:gd name="T64" fmla="*/ 254 w 553"/>
                <a:gd name="T65" fmla="*/ 368 h 792"/>
                <a:gd name="T66" fmla="*/ 200 w 553"/>
                <a:gd name="T67" fmla="*/ 319 h 792"/>
                <a:gd name="T68" fmla="*/ 142 w 553"/>
                <a:gd name="T69" fmla="*/ 259 h 792"/>
                <a:gd name="T70" fmla="*/ 177 w 553"/>
                <a:gd name="T71" fmla="*/ 367 h 792"/>
                <a:gd name="T72" fmla="*/ 243 w 553"/>
                <a:gd name="T73" fmla="*/ 385 h 792"/>
                <a:gd name="T74" fmla="*/ 253 w 553"/>
                <a:gd name="T75" fmla="*/ 399 h 792"/>
                <a:gd name="T76" fmla="*/ 271 w 553"/>
                <a:gd name="T77" fmla="*/ 445 h 792"/>
                <a:gd name="T78" fmla="*/ 257 w 553"/>
                <a:gd name="T79" fmla="*/ 467 h 792"/>
                <a:gd name="T80" fmla="*/ 257 w 553"/>
                <a:gd name="T81" fmla="*/ 531 h 792"/>
                <a:gd name="T82" fmla="*/ 185 w 553"/>
                <a:gd name="T83" fmla="*/ 473 h 792"/>
                <a:gd name="T84" fmla="*/ 105 w 553"/>
                <a:gd name="T85" fmla="*/ 199 h 7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53" h="792">
                  <a:moveTo>
                    <a:pt x="34" y="173"/>
                  </a:moveTo>
                  <a:cubicBezTo>
                    <a:pt x="0" y="264"/>
                    <a:pt x="19" y="365"/>
                    <a:pt x="84" y="438"/>
                  </a:cubicBezTo>
                  <a:cubicBezTo>
                    <a:pt x="92" y="450"/>
                    <a:pt x="103" y="467"/>
                    <a:pt x="109" y="485"/>
                  </a:cubicBezTo>
                  <a:cubicBezTo>
                    <a:pt x="109" y="531"/>
                    <a:pt x="109" y="531"/>
                    <a:pt x="109" y="531"/>
                  </a:cubicBezTo>
                  <a:cubicBezTo>
                    <a:pt x="109" y="548"/>
                    <a:pt x="109" y="548"/>
                    <a:pt x="109" y="548"/>
                  </a:cubicBezTo>
                  <a:cubicBezTo>
                    <a:pt x="103" y="548"/>
                    <a:pt x="103" y="548"/>
                    <a:pt x="103" y="548"/>
                  </a:cubicBezTo>
                  <a:cubicBezTo>
                    <a:pt x="99" y="548"/>
                    <a:pt x="96" y="551"/>
                    <a:pt x="96" y="555"/>
                  </a:cubicBezTo>
                  <a:cubicBezTo>
                    <a:pt x="96" y="598"/>
                    <a:pt x="96" y="598"/>
                    <a:pt x="96" y="598"/>
                  </a:cubicBezTo>
                  <a:cubicBezTo>
                    <a:pt x="96" y="670"/>
                    <a:pt x="96" y="670"/>
                    <a:pt x="96" y="670"/>
                  </a:cubicBezTo>
                  <a:cubicBezTo>
                    <a:pt x="96" y="674"/>
                    <a:pt x="98" y="679"/>
                    <a:pt x="101" y="682"/>
                  </a:cubicBezTo>
                  <a:cubicBezTo>
                    <a:pt x="142" y="722"/>
                    <a:pt x="142" y="722"/>
                    <a:pt x="142" y="722"/>
                  </a:cubicBezTo>
                  <a:cubicBezTo>
                    <a:pt x="146" y="725"/>
                    <a:pt x="150" y="727"/>
                    <a:pt x="155" y="727"/>
                  </a:cubicBezTo>
                  <a:cubicBezTo>
                    <a:pt x="190" y="727"/>
                    <a:pt x="190" y="727"/>
                    <a:pt x="190" y="727"/>
                  </a:cubicBezTo>
                  <a:cubicBezTo>
                    <a:pt x="194" y="727"/>
                    <a:pt x="197" y="730"/>
                    <a:pt x="197" y="734"/>
                  </a:cubicBezTo>
                  <a:cubicBezTo>
                    <a:pt x="197" y="738"/>
                    <a:pt x="197" y="738"/>
                    <a:pt x="197" y="738"/>
                  </a:cubicBezTo>
                  <a:cubicBezTo>
                    <a:pt x="197" y="768"/>
                    <a:pt x="225" y="792"/>
                    <a:pt x="260" y="792"/>
                  </a:cubicBezTo>
                  <a:cubicBezTo>
                    <a:pt x="305" y="792"/>
                    <a:pt x="305" y="792"/>
                    <a:pt x="305" y="792"/>
                  </a:cubicBezTo>
                  <a:cubicBezTo>
                    <a:pt x="340" y="792"/>
                    <a:pt x="368" y="768"/>
                    <a:pt x="368" y="738"/>
                  </a:cubicBezTo>
                  <a:cubicBezTo>
                    <a:pt x="368" y="734"/>
                    <a:pt x="368" y="734"/>
                    <a:pt x="368" y="734"/>
                  </a:cubicBezTo>
                  <a:cubicBezTo>
                    <a:pt x="368" y="730"/>
                    <a:pt x="372" y="727"/>
                    <a:pt x="376" y="727"/>
                  </a:cubicBezTo>
                  <a:cubicBezTo>
                    <a:pt x="407" y="727"/>
                    <a:pt x="407" y="727"/>
                    <a:pt x="407" y="727"/>
                  </a:cubicBezTo>
                  <a:cubicBezTo>
                    <a:pt x="412" y="727"/>
                    <a:pt x="416" y="725"/>
                    <a:pt x="420" y="722"/>
                  </a:cubicBezTo>
                  <a:cubicBezTo>
                    <a:pt x="462" y="682"/>
                    <a:pt x="462" y="682"/>
                    <a:pt x="462" y="682"/>
                  </a:cubicBezTo>
                  <a:cubicBezTo>
                    <a:pt x="465" y="679"/>
                    <a:pt x="467" y="674"/>
                    <a:pt x="467" y="670"/>
                  </a:cubicBezTo>
                  <a:cubicBezTo>
                    <a:pt x="467" y="598"/>
                    <a:pt x="467" y="598"/>
                    <a:pt x="467" y="598"/>
                  </a:cubicBezTo>
                  <a:cubicBezTo>
                    <a:pt x="467" y="555"/>
                    <a:pt x="467" y="555"/>
                    <a:pt x="467" y="555"/>
                  </a:cubicBezTo>
                  <a:cubicBezTo>
                    <a:pt x="467" y="551"/>
                    <a:pt x="464" y="548"/>
                    <a:pt x="460" y="548"/>
                  </a:cubicBezTo>
                  <a:cubicBezTo>
                    <a:pt x="454" y="548"/>
                    <a:pt x="454" y="548"/>
                    <a:pt x="454" y="548"/>
                  </a:cubicBezTo>
                  <a:cubicBezTo>
                    <a:pt x="454" y="531"/>
                    <a:pt x="454" y="531"/>
                    <a:pt x="454" y="531"/>
                  </a:cubicBezTo>
                  <a:cubicBezTo>
                    <a:pt x="454" y="485"/>
                    <a:pt x="454" y="485"/>
                    <a:pt x="454" y="485"/>
                  </a:cubicBezTo>
                  <a:cubicBezTo>
                    <a:pt x="460" y="467"/>
                    <a:pt x="470" y="450"/>
                    <a:pt x="479" y="438"/>
                  </a:cubicBezTo>
                  <a:cubicBezTo>
                    <a:pt x="501" y="414"/>
                    <a:pt x="518" y="386"/>
                    <a:pt x="529" y="355"/>
                  </a:cubicBezTo>
                  <a:cubicBezTo>
                    <a:pt x="553" y="289"/>
                    <a:pt x="550" y="217"/>
                    <a:pt x="521" y="153"/>
                  </a:cubicBezTo>
                  <a:cubicBezTo>
                    <a:pt x="491" y="89"/>
                    <a:pt x="439" y="41"/>
                    <a:pt x="373" y="16"/>
                  </a:cubicBezTo>
                  <a:cubicBezTo>
                    <a:pt x="343" y="6"/>
                    <a:pt x="313" y="0"/>
                    <a:pt x="281" y="0"/>
                  </a:cubicBezTo>
                  <a:cubicBezTo>
                    <a:pt x="228" y="0"/>
                    <a:pt x="176" y="16"/>
                    <a:pt x="132" y="46"/>
                  </a:cubicBezTo>
                  <a:cubicBezTo>
                    <a:pt x="87" y="77"/>
                    <a:pt x="53" y="121"/>
                    <a:pt x="34" y="173"/>
                  </a:cubicBezTo>
                  <a:close/>
                  <a:moveTo>
                    <a:pt x="281" y="76"/>
                  </a:moveTo>
                  <a:cubicBezTo>
                    <a:pt x="303" y="76"/>
                    <a:pt x="325" y="80"/>
                    <a:pt x="346" y="87"/>
                  </a:cubicBezTo>
                  <a:cubicBezTo>
                    <a:pt x="444" y="123"/>
                    <a:pt x="494" y="231"/>
                    <a:pt x="458" y="329"/>
                  </a:cubicBezTo>
                  <a:cubicBezTo>
                    <a:pt x="449" y="352"/>
                    <a:pt x="437" y="373"/>
                    <a:pt x="421" y="390"/>
                  </a:cubicBezTo>
                  <a:cubicBezTo>
                    <a:pt x="412" y="402"/>
                    <a:pt x="389" y="434"/>
                    <a:pt x="378" y="474"/>
                  </a:cubicBezTo>
                  <a:cubicBezTo>
                    <a:pt x="378" y="531"/>
                    <a:pt x="378" y="531"/>
                    <a:pt x="378" y="531"/>
                  </a:cubicBezTo>
                  <a:cubicBezTo>
                    <a:pt x="308" y="531"/>
                    <a:pt x="308" y="531"/>
                    <a:pt x="308" y="531"/>
                  </a:cubicBezTo>
                  <a:cubicBezTo>
                    <a:pt x="308" y="519"/>
                    <a:pt x="308" y="519"/>
                    <a:pt x="308" y="519"/>
                  </a:cubicBezTo>
                  <a:cubicBezTo>
                    <a:pt x="308" y="477"/>
                    <a:pt x="308" y="477"/>
                    <a:pt x="308" y="477"/>
                  </a:cubicBezTo>
                  <a:cubicBezTo>
                    <a:pt x="308" y="467"/>
                    <a:pt x="308" y="467"/>
                    <a:pt x="308" y="467"/>
                  </a:cubicBezTo>
                  <a:cubicBezTo>
                    <a:pt x="308" y="459"/>
                    <a:pt x="303" y="451"/>
                    <a:pt x="297" y="447"/>
                  </a:cubicBezTo>
                  <a:cubicBezTo>
                    <a:pt x="297" y="444"/>
                    <a:pt x="297" y="442"/>
                    <a:pt x="298" y="439"/>
                  </a:cubicBezTo>
                  <a:cubicBezTo>
                    <a:pt x="299" y="427"/>
                    <a:pt x="302" y="415"/>
                    <a:pt x="305" y="403"/>
                  </a:cubicBezTo>
                  <a:cubicBezTo>
                    <a:pt x="306" y="397"/>
                    <a:pt x="308" y="391"/>
                    <a:pt x="311" y="384"/>
                  </a:cubicBezTo>
                  <a:cubicBezTo>
                    <a:pt x="311" y="383"/>
                    <a:pt x="312" y="382"/>
                    <a:pt x="312" y="380"/>
                  </a:cubicBezTo>
                  <a:cubicBezTo>
                    <a:pt x="316" y="370"/>
                    <a:pt x="321" y="359"/>
                    <a:pt x="326" y="349"/>
                  </a:cubicBezTo>
                  <a:cubicBezTo>
                    <a:pt x="466" y="354"/>
                    <a:pt x="426" y="205"/>
                    <a:pt x="415" y="172"/>
                  </a:cubicBezTo>
                  <a:cubicBezTo>
                    <a:pt x="414" y="170"/>
                    <a:pt x="412" y="170"/>
                    <a:pt x="411" y="172"/>
                  </a:cubicBezTo>
                  <a:cubicBezTo>
                    <a:pt x="397" y="212"/>
                    <a:pt x="318" y="191"/>
                    <a:pt x="288" y="247"/>
                  </a:cubicBezTo>
                  <a:cubicBezTo>
                    <a:pt x="269" y="282"/>
                    <a:pt x="281" y="312"/>
                    <a:pt x="293" y="329"/>
                  </a:cubicBezTo>
                  <a:cubicBezTo>
                    <a:pt x="311" y="307"/>
                    <a:pt x="332" y="287"/>
                    <a:pt x="354" y="271"/>
                  </a:cubicBezTo>
                  <a:cubicBezTo>
                    <a:pt x="351" y="276"/>
                    <a:pt x="348" y="280"/>
                    <a:pt x="345" y="285"/>
                  </a:cubicBezTo>
                  <a:cubicBezTo>
                    <a:pt x="330" y="303"/>
                    <a:pt x="316" y="322"/>
                    <a:pt x="305" y="343"/>
                  </a:cubicBezTo>
                  <a:cubicBezTo>
                    <a:pt x="299" y="353"/>
                    <a:pt x="293" y="365"/>
                    <a:pt x="289" y="376"/>
                  </a:cubicBezTo>
                  <a:cubicBezTo>
                    <a:pt x="288" y="377"/>
                    <a:pt x="288" y="378"/>
                    <a:pt x="287" y="380"/>
                  </a:cubicBezTo>
                  <a:cubicBezTo>
                    <a:pt x="284" y="388"/>
                    <a:pt x="281" y="397"/>
                    <a:pt x="279" y="405"/>
                  </a:cubicBezTo>
                  <a:cubicBezTo>
                    <a:pt x="274" y="396"/>
                    <a:pt x="268" y="386"/>
                    <a:pt x="262" y="378"/>
                  </a:cubicBezTo>
                  <a:cubicBezTo>
                    <a:pt x="261" y="376"/>
                    <a:pt x="260" y="375"/>
                    <a:pt x="258" y="373"/>
                  </a:cubicBezTo>
                  <a:cubicBezTo>
                    <a:pt x="257" y="371"/>
                    <a:pt x="255" y="369"/>
                    <a:pt x="254" y="368"/>
                  </a:cubicBezTo>
                  <a:cubicBezTo>
                    <a:pt x="240" y="350"/>
                    <a:pt x="222" y="335"/>
                    <a:pt x="204" y="323"/>
                  </a:cubicBezTo>
                  <a:cubicBezTo>
                    <a:pt x="203" y="322"/>
                    <a:pt x="201" y="321"/>
                    <a:pt x="200" y="319"/>
                  </a:cubicBezTo>
                  <a:cubicBezTo>
                    <a:pt x="221" y="327"/>
                    <a:pt x="242" y="339"/>
                    <a:pt x="260" y="353"/>
                  </a:cubicBezTo>
                  <a:cubicBezTo>
                    <a:pt x="285" y="252"/>
                    <a:pt x="172" y="256"/>
                    <a:pt x="142" y="259"/>
                  </a:cubicBezTo>
                  <a:cubicBezTo>
                    <a:pt x="140" y="259"/>
                    <a:pt x="140" y="262"/>
                    <a:pt x="142" y="263"/>
                  </a:cubicBezTo>
                  <a:cubicBezTo>
                    <a:pt x="167" y="281"/>
                    <a:pt x="140" y="336"/>
                    <a:pt x="177" y="367"/>
                  </a:cubicBezTo>
                  <a:cubicBezTo>
                    <a:pt x="199" y="386"/>
                    <a:pt x="222" y="383"/>
                    <a:pt x="237" y="377"/>
                  </a:cubicBezTo>
                  <a:cubicBezTo>
                    <a:pt x="239" y="380"/>
                    <a:pt x="241" y="382"/>
                    <a:pt x="243" y="385"/>
                  </a:cubicBezTo>
                  <a:cubicBezTo>
                    <a:pt x="246" y="389"/>
                    <a:pt x="249" y="394"/>
                    <a:pt x="252" y="398"/>
                  </a:cubicBezTo>
                  <a:cubicBezTo>
                    <a:pt x="252" y="399"/>
                    <a:pt x="253" y="399"/>
                    <a:pt x="253" y="399"/>
                  </a:cubicBezTo>
                  <a:cubicBezTo>
                    <a:pt x="261" y="412"/>
                    <a:pt x="267" y="427"/>
                    <a:pt x="271" y="441"/>
                  </a:cubicBezTo>
                  <a:cubicBezTo>
                    <a:pt x="271" y="443"/>
                    <a:pt x="271" y="444"/>
                    <a:pt x="271" y="445"/>
                  </a:cubicBezTo>
                  <a:cubicBezTo>
                    <a:pt x="266" y="447"/>
                    <a:pt x="262" y="451"/>
                    <a:pt x="260" y="456"/>
                  </a:cubicBezTo>
                  <a:cubicBezTo>
                    <a:pt x="258" y="459"/>
                    <a:pt x="257" y="463"/>
                    <a:pt x="257" y="467"/>
                  </a:cubicBezTo>
                  <a:cubicBezTo>
                    <a:pt x="257" y="529"/>
                    <a:pt x="257" y="529"/>
                    <a:pt x="257" y="529"/>
                  </a:cubicBezTo>
                  <a:cubicBezTo>
                    <a:pt x="257" y="531"/>
                    <a:pt x="257" y="531"/>
                    <a:pt x="257" y="531"/>
                  </a:cubicBezTo>
                  <a:cubicBezTo>
                    <a:pt x="185" y="531"/>
                    <a:pt x="185" y="531"/>
                    <a:pt x="185" y="531"/>
                  </a:cubicBezTo>
                  <a:cubicBezTo>
                    <a:pt x="185" y="473"/>
                    <a:pt x="185" y="473"/>
                    <a:pt x="185" y="473"/>
                  </a:cubicBezTo>
                  <a:cubicBezTo>
                    <a:pt x="173" y="433"/>
                    <a:pt x="151" y="401"/>
                    <a:pt x="142" y="390"/>
                  </a:cubicBezTo>
                  <a:cubicBezTo>
                    <a:pt x="97" y="340"/>
                    <a:pt x="80" y="267"/>
                    <a:pt x="105" y="199"/>
                  </a:cubicBezTo>
                  <a:cubicBezTo>
                    <a:pt x="133" y="123"/>
                    <a:pt x="205" y="76"/>
                    <a:pt x="281"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73" name="Group 72"/>
          <p:cNvGrpSpPr/>
          <p:nvPr/>
        </p:nvGrpSpPr>
        <p:grpSpPr>
          <a:xfrm>
            <a:off x="601915" y="3877326"/>
            <a:ext cx="1962107" cy="2560656"/>
            <a:chOff x="222899" y="1739502"/>
            <a:chExt cx="3384228" cy="4416600"/>
          </a:xfrm>
          <a:solidFill>
            <a:schemeClr val="accent1">
              <a:lumMod val="75000"/>
            </a:schemeClr>
          </a:solidFill>
        </p:grpSpPr>
        <p:sp>
          <p:nvSpPr>
            <p:cNvPr id="74" name="Freeform 39"/>
            <p:cNvSpPr>
              <a:spLocks/>
            </p:cNvSpPr>
            <p:nvPr/>
          </p:nvSpPr>
          <p:spPr bwMode="auto">
            <a:xfrm>
              <a:off x="2527722" y="1739502"/>
              <a:ext cx="801404" cy="892939"/>
            </a:xfrm>
            <a:custGeom>
              <a:avLst/>
              <a:gdLst>
                <a:gd name="T0" fmla="*/ 13 w 429"/>
                <a:gd name="T1" fmla="*/ 135 h 478"/>
                <a:gd name="T2" fmla="*/ 54 w 429"/>
                <a:gd name="T3" fmla="*/ 168 h 478"/>
                <a:gd name="T4" fmla="*/ 136 w 429"/>
                <a:gd name="T5" fmla="*/ 189 h 478"/>
                <a:gd name="T6" fmla="*/ 156 w 429"/>
                <a:gd name="T7" fmla="*/ 187 h 478"/>
                <a:gd name="T8" fmla="*/ 169 w 429"/>
                <a:gd name="T9" fmla="*/ 162 h 478"/>
                <a:gd name="T10" fmla="*/ 199 w 429"/>
                <a:gd name="T11" fmla="*/ 193 h 478"/>
                <a:gd name="T12" fmla="*/ 202 w 429"/>
                <a:gd name="T13" fmla="*/ 220 h 478"/>
                <a:gd name="T14" fmla="*/ 238 w 429"/>
                <a:gd name="T15" fmla="*/ 241 h 478"/>
                <a:gd name="T16" fmla="*/ 266 w 429"/>
                <a:gd name="T17" fmla="*/ 291 h 478"/>
                <a:gd name="T18" fmla="*/ 248 w 429"/>
                <a:gd name="T19" fmla="*/ 358 h 478"/>
                <a:gd name="T20" fmla="*/ 190 w 429"/>
                <a:gd name="T21" fmla="*/ 362 h 478"/>
                <a:gd name="T22" fmla="*/ 201 w 429"/>
                <a:gd name="T23" fmla="*/ 401 h 478"/>
                <a:gd name="T24" fmla="*/ 233 w 429"/>
                <a:gd name="T25" fmla="*/ 392 h 478"/>
                <a:gd name="T26" fmla="*/ 258 w 429"/>
                <a:gd name="T27" fmla="*/ 409 h 478"/>
                <a:gd name="T28" fmla="*/ 297 w 429"/>
                <a:gd name="T29" fmla="*/ 450 h 478"/>
                <a:gd name="T30" fmla="*/ 319 w 429"/>
                <a:gd name="T31" fmla="*/ 459 h 478"/>
                <a:gd name="T32" fmla="*/ 360 w 429"/>
                <a:gd name="T33" fmla="*/ 477 h 478"/>
                <a:gd name="T34" fmla="*/ 321 w 429"/>
                <a:gd name="T35" fmla="*/ 416 h 478"/>
                <a:gd name="T36" fmla="*/ 378 w 429"/>
                <a:gd name="T37" fmla="*/ 457 h 478"/>
                <a:gd name="T38" fmla="*/ 376 w 429"/>
                <a:gd name="T39" fmla="*/ 433 h 478"/>
                <a:gd name="T40" fmla="*/ 372 w 429"/>
                <a:gd name="T41" fmla="*/ 405 h 478"/>
                <a:gd name="T42" fmla="*/ 356 w 429"/>
                <a:gd name="T43" fmla="*/ 381 h 478"/>
                <a:gd name="T44" fmla="*/ 342 w 429"/>
                <a:gd name="T45" fmla="*/ 367 h 478"/>
                <a:gd name="T46" fmla="*/ 329 w 429"/>
                <a:gd name="T47" fmla="*/ 324 h 478"/>
                <a:gd name="T48" fmla="*/ 346 w 429"/>
                <a:gd name="T49" fmla="*/ 327 h 478"/>
                <a:gd name="T50" fmla="*/ 377 w 429"/>
                <a:gd name="T51" fmla="*/ 360 h 478"/>
                <a:gd name="T52" fmla="*/ 397 w 429"/>
                <a:gd name="T53" fmla="*/ 377 h 478"/>
                <a:gd name="T54" fmla="*/ 420 w 429"/>
                <a:gd name="T55" fmla="*/ 337 h 478"/>
                <a:gd name="T56" fmla="*/ 427 w 429"/>
                <a:gd name="T57" fmla="*/ 328 h 478"/>
                <a:gd name="T58" fmla="*/ 405 w 429"/>
                <a:gd name="T59" fmla="*/ 291 h 478"/>
                <a:gd name="T60" fmla="*/ 376 w 429"/>
                <a:gd name="T61" fmla="*/ 260 h 478"/>
                <a:gd name="T62" fmla="*/ 347 w 429"/>
                <a:gd name="T63" fmla="*/ 254 h 478"/>
                <a:gd name="T64" fmla="*/ 334 w 429"/>
                <a:gd name="T65" fmla="*/ 221 h 478"/>
                <a:gd name="T66" fmla="*/ 345 w 429"/>
                <a:gd name="T67" fmla="*/ 187 h 478"/>
                <a:gd name="T68" fmla="*/ 321 w 429"/>
                <a:gd name="T69" fmla="*/ 172 h 478"/>
                <a:gd name="T70" fmla="*/ 295 w 429"/>
                <a:gd name="T71" fmla="*/ 159 h 478"/>
                <a:gd name="T72" fmla="*/ 269 w 429"/>
                <a:gd name="T73" fmla="*/ 134 h 478"/>
                <a:gd name="T74" fmla="*/ 258 w 429"/>
                <a:gd name="T75" fmla="*/ 110 h 478"/>
                <a:gd name="T76" fmla="*/ 240 w 429"/>
                <a:gd name="T77" fmla="*/ 115 h 478"/>
                <a:gd name="T78" fmla="*/ 223 w 429"/>
                <a:gd name="T79" fmla="*/ 83 h 478"/>
                <a:gd name="T80" fmla="*/ 176 w 429"/>
                <a:gd name="T81" fmla="*/ 71 h 478"/>
                <a:gd name="T82" fmla="*/ 137 w 429"/>
                <a:gd name="T83" fmla="*/ 92 h 478"/>
                <a:gd name="T84" fmla="*/ 139 w 429"/>
                <a:gd name="T85" fmla="*/ 44 h 478"/>
                <a:gd name="T86" fmla="*/ 98 w 429"/>
                <a:gd name="T87" fmla="*/ 8 h 478"/>
                <a:gd name="T88" fmla="*/ 86 w 429"/>
                <a:gd name="T89" fmla="*/ 27 h 478"/>
                <a:gd name="T90" fmla="*/ 69 w 429"/>
                <a:gd name="T91" fmla="*/ 36 h 478"/>
                <a:gd name="T92" fmla="*/ 63 w 429"/>
                <a:gd name="T93" fmla="*/ 89 h 478"/>
                <a:gd name="T94" fmla="*/ 76 w 429"/>
                <a:gd name="T95" fmla="*/ 128 h 478"/>
                <a:gd name="T96" fmla="*/ 58 w 429"/>
                <a:gd name="T97" fmla="*/ 70 h 478"/>
                <a:gd name="T98" fmla="*/ 15 w 429"/>
                <a:gd name="T99" fmla="*/ 32 h 478"/>
                <a:gd name="T100" fmla="*/ 5 w 429"/>
                <a:gd name="T101" fmla="*/ 79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29" h="478">
                  <a:moveTo>
                    <a:pt x="5" y="99"/>
                  </a:moveTo>
                  <a:lnTo>
                    <a:pt x="2" y="115"/>
                  </a:lnTo>
                  <a:lnTo>
                    <a:pt x="45" y="135"/>
                  </a:lnTo>
                  <a:lnTo>
                    <a:pt x="11" y="133"/>
                  </a:lnTo>
                  <a:lnTo>
                    <a:pt x="13" y="135"/>
                  </a:lnTo>
                  <a:lnTo>
                    <a:pt x="11" y="140"/>
                  </a:lnTo>
                  <a:lnTo>
                    <a:pt x="30" y="166"/>
                  </a:lnTo>
                  <a:lnTo>
                    <a:pt x="46" y="167"/>
                  </a:lnTo>
                  <a:lnTo>
                    <a:pt x="53" y="160"/>
                  </a:lnTo>
                  <a:lnTo>
                    <a:pt x="54" y="168"/>
                  </a:lnTo>
                  <a:lnTo>
                    <a:pt x="63" y="179"/>
                  </a:lnTo>
                  <a:lnTo>
                    <a:pt x="105" y="179"/>
                  </a:lnTo>
                  <a:lnTo>
                    <a:pt x="123" y="188"/>
                  </a:lnTo>
                  <a:lnTo>
                    <a:pt x="128" y="181"/>
                  </a:lnTo>
                  <a:lnTo>
                    <a:pt x="136" y="189"/>
                  </a:lnTo>
                  <a:lnTo>
                    <a:pt x="138" y="189"/>
                  </a:lnTo>
                  <a:lnTo>
                    <a:pt x="136" y="187"/>
                  </a:lnTo>
                  <a:lnTo>
                    <a:pt x="128" y="174"/>
                  </a:lnTo>
                  <a:lnTo>
                    <a:pt x="152" y="181"/>
                  </a:lnTo>
                  <a:lnTo>
                    <a:pt x="156" y="187"/>
                  </a:lnTo>
                  <a:lnTo>
                    <a:pt x="169" y="183"/>
                  </a:lnTo>
                  <a:lnTo>
                    <a:pt x="171" y="181"/>
                  </a:lnTo>
                  <a:lnTo>
                    <a:pt x="164" y="166"/>
                  </a:lnTo>
                  <a:lnTo>
                    <a:pt x="158" y="163"/>
                  </a:lnTo>
                  <a:lnTo>
                    <a:pt x="169" y="162"/>
                  </a:lnTo>
                  <a:lnTo>
                    <a:pt x="178" y="172"/>
                  </a:lnTo>
                  <a:lnTo>
                    <a:pt x="187" y="170"/>
                  </a:lnTo>
                  <a:lnTo>
                    <a:pt x="188" y="187"/>
                  </a:lnTo>
                  <a:lnTo>
                    <a:pt x="197" y="187"/>
                  </a:lnTo>
                  <a:lnTo>
                    <a:pt x="199" y="193"/>
                  </a:lnTo>
                  <a:lnTo>
                    <a:pt x="195" y="196"/>
                  </a:lnTo>
                  <a:lnTo>
                    <a:pt x="214" y="211"/>
                  </a:lnTo>
                  <a:lnTo>
                    <a:pt x="216" y="217"/>
                  </a:lnTo>
                  <a:lnTo>
                    <a:pt x="210" y="221"/>
                  </a:lnTo>
                  <a:lnTo>
                    <a:pt x="202" y="220"/>
                  </a:lnTo>
                  <a:lnTo>
                    <a:pt x="202" y="235"/>
                  </a:lnTo>
                  <a:lnTo>
                    <a:pt x="217" y="225"/>
                  </a:lnTo>
                  <a:lnTo>
                    <a:pt x="228" y="224"/>
                  </a:lnTo>
                  <a:lnTo>
                    <a:pt x="228" y="230"/>
                  </a:lnTo>
                  <a:lnTo>
                    <a:pt x="238" y="241"/>
                  </a:lnTo>
                  <a:lnTo>
                    <a:pt x="238" y="233"/>
                  </a:lnTo>
                  <a:lnTo>
                    <a:pt x="243" y="235"/>
                  </a:lnTo>
                  <a:lnTo>
                    <a:pt x="243" y="250"/>
                  </a:lnTo>
                  <a:lnTo>
                    <a:pt x="256" y="257"/>
                  </a:lnTo>
                  <a:lnTo>
                    <a:pt x="266" y="291"/>
                  </a:lnTo>
                  <a:lnTo>
                    <a:pt x="258" y="302"/>
                  </a:lnTo>
                  <a:lnTo>
                    <a:pt x="256" y="311"/>
                  </a:lnTo>
                  <a:lnTo>
                    <a:pt x="235" y="332"/>
                  </a:lnTo>
                  <a:lnTo>
                    <a:pt x="248" y="353"/>
                  </a:lnTo>
                  <a:lnTo>
                    <a:pt x="248" y="358"/>
                  </a:lnTo>
                  <a:lnTo>
                    <a:pt x="239" y="355"/>
                  </a:lnTo>
                  <a:lnTo>
                    <a:pt x="221" y="364"/>
                  </a:lnTo>
                  <a:lnTo>
                    <a:pt x="191" y="358"/>
                  </a:lnTo>
                  <a:lnTo>
                    <a:pt x="194" y="362"/>
                  </a:lnTo>
                  <a:lnTo>
                    <a:pt x="190" y="362"/>
                  </a:lnTo>
                  <a:lnTo>
                    <a:pt x="191" y="368"/>
                  </a:lnTo>
                  <a:lnTo>
                    <a:pt x="183" y="374"/>
                  </a:lnTo>
                  <a:lnTo>
                    <a:pt x="180" y="386"/>
                  </a:lnTo>
                  <a:lnTo>
                    <a:pt x="186" y="395"/>
                  </a:lnTo>
                  <a:lnTo>
                    <a:pt x="201" y="401"/>
                  </a:lnTo>
                  <a:lnTo>
                    <a:pt x="214" y="395"/>
                  </a:lnTo>
                  <a:lnTo>
                    <a:pt x="213" y="389"/>
                  </a:lnTo>
                  <a:lnTo>
                    <a:pt x="216" y="388"/>
                  </a:lnTo>
                  <a:lnTo>
                    <a:pt x="232" y="394"/>
                  </a:lnTo>
                  <a:lnTo>
                    <a:pt x="233" y="392"/>
                  </a:lnTo>
                  <a:lnTo>
                    <a:pt x="227" y="381"/>
                  </a:lnTo>
                  <a:lnTo>
                    <a:pt x="232" y="379"/>
                  </a:lnTo>
                  <a:lnTo>
                    <a:pt x="233" y="386"/>
                  </a:lnTo>
                  <a:lnTo>
                    <a:pt x="248" y="388"/>
                  </a:lnTo>
                  <a:lnTo>
                    <a:pt x="258" y="409"/>
                  </a:lnTo>
                  <a:lnTo>
                    <a:pt x="281" y="422"/>
                  </a:lnTo>
                  <a:lnTo>
                    <a:pt x="273" y="427"/>
                  </a:lnTo>
                  <a:lnTo>
                    <a:pt x="271" y="424"/>
                  </a:lnTo>
                  <a:lnTo>
                    <a:pt x="282" y="441"/>
                  </a:lnTo>
                  <a:lnTo>
                    <a:pt x="297" y="450"/>
                  </a:lnTo>
                  <a:lnTo>
                    <a:pt x="303" y="445"/>
                  </a:lnTo>
                  <a:lnTo>
                    <a:pt x="304" y="450"/>
                  </a:lnTo>
                  <a:lnTo>
                    <a:pt x="310" y="448"/>
                  </a:lnTo>
                  <a:lnTo>
                    <a:pt x="316" y="460"/>
                  </a:lnTo>
                  <a:lnTo>
                    <a:pt x="319" y="459"/>
                  </a:lnTo>
                  <a:lnTo>
                    <a:pt x="323" y="465"/>
                  </a:lnTo>
                  <a:lnTo>
                    <a:pt x="342" y="473"/>
                  </a:lnTo>
                  <a:lnTo>
                    <a:pt x="349" y="470"/>
                  </a:lnTo>
                  <a:lnTo>
                    <a:pt x="356" y="478"/>
                  </a:lnTo>
                  <a:lnTo>
                    <a:pt x="360" y="477"/>
                  </a:lnTo>
                  <a:lnTo>
                    <a:pt x="359" y="463"/>
                  </a:lnTo>
                  <a:lnTo>
                    <a:pt x="337" y="441"/>
                  </a:lnTo>
                  <a:lnTo>
                    <a:pt x="321" y="424"/>
                  </a:lnTo>
                  <a:lnTo>
                    <a:pt x="318" y="418"/>
                  </a:lnTo>
                  <a:lnTo>
                    <a:pt x="321" y="416"/>
                  </a:lnTo>
                  <a:lnTo>
                    <a:pt x="331" y="427"/>
                  </a:lnTo>
                  <a:lnTo>
                    <a:pt x="337" y="424"/>
                  </a:lnTo>
                  <a:lnTo>
                    <a:pt x="350" y="440"/>
                  </a:lnTo>
                  <a:lnTo>
                    <a:pt x="369" y="442"/>
                  </a:lnTo>
                  <a:lnTo>
                    <a:pt x="378" y="457"/>
                  </a:lnTo>
                  <a:lnTo>
                    <a:pt x="379" y="455"/>
                  </a:lnTo>
                  <a:lnTo>
                    <a:pt x="376" y="446"/>
                  </a:lnTo>
                  <a:lnTo>
                    <a:pt x="383" y="447"/>
                  </a:lnTo>
                  <a:lnTo>
                    <a:pt x="382" y="440"/>
                  </a:lnTo>
                  <a:lnTo>
                    <a:pt x="376" y="433"/>
                  </a:lnTo>
                  <a:lnTo>
                    <a:pt x="376" y="427"/>
                  </a:lnTo>
                  <a:lnTo>
                    <a:pt x="383" y="432"/>
                  </a:lnTo>
                  <a:lnTo>
                    <a:pt x="384" y="418"/>
                  </a:lnTo>
                  <a:lnTo>
                    <a:pt x="382" y="408"/>
                  </a:lnTo>
                  <a:lnTo>
                    <a:pt x="372" y="405"/>
                  </a:lnTo>
                  <a:lnTo>
                    <a:pt x="376" y="389"/>
                  </a:lnTo>
                  <a:lnTo>
                    <a:pt x="370" y="385"/>
                  </a:lnTo>
                  <a:lnTo>
                    <a:pt x="366" y="388"/>
                  </a:lnTo>
                  <a:lnTo>
                    <a:pt x="365" y="380"/>
                  </a:lnTo>
                  <a:lnTo>
                    <a:pt x="356" y="381"/>
                  </a:lnTo>
                  <a:lnTo>
                    <a:pt x="359" y="377"/>
                  </a:lnTo>
                  <a:lnTo>
                    <a:pt x="352" y="377"/>
                  </a:lnTo>
                  <a:lnTo>
                    <a:pt x="350" y="381"/>
                  </a:lnTo>
                  <a:lnTo>
                    <a:pt x="345" y="367"/>
                  </a:lnTo>
                  <a:lnTo>
                    <a:pt x="342" y="367"/>
                  </a:lnTo>
                  <a:lnTo>
                    <a:pt x="342" y="353"/>
                  </a:lnTo>
                  <a:lnTo>
                    <a:pt x="331" y="353"/>
                  </a:lnTo>
                  <a:lnTo>
                    <a:pt x="333" y="342"/>
                  </a:lnTo>
                  <a:lnTo>
                    <a:pt x="344" y="340"/>
                  </a:lnTo>
                  <a:lnTo>
                    <a:pt x="329" y="324"/>
                  </a:lnTo>
                  <a:lnTo>
                    <a:pt x="334" y="321"/>
                  </a:lnTo>
                  <a:lnTo>
                    <a:pt x="343" y="328"/>
                  </a:lnTo>
                  <a:lnTo>
                    <a:pt x="339" y="318"/>
                  </a:lnTo>
                  <a:lnTo>
                    <a:pt x="347" y="318"/>
                  </a:lnTo>
                  <a:lnTo>
                    <a:pt x="346" y="327"/>
                  </a:lnTo>
                  <a:lnTo>
                    <a:pt x="362" y="335"/>
                  </a:lnTo>
                  <a:lnTo>
                    <a:pt x="363" y="340"/>
                  </a:lnTo>
                  <a:lnTo>
                    <a:pt x="370" y="340"/>
                  </a:lnTo>
                  <a:lnTo>
                    <a:pt x="370" y="350"/>
                  </a:lnTo>
                  <a:lnTo>
                    <a:pt x="377" y="360"/>
                  </a:lnTo>
                  <a:lnTo>
                    <a:pt x="381" y="356"/>
                  </a:lnTo>
                  <a:lnTo>
                    <a:pt x="379" y="364"/>
                  </a:lnTo>
                  <a:lnTo>
                    <a:pt x="383" y="368"/>
                  </a:lnTo>
                  <a:lnTo>
                    <a:pt x="388" y="367"/>
                  </a:lnTo>
                  <a:lnTo>
                    <a:pt x="397" y="377"/>
                  </a:lnTo>
                  <a:lnTo>
                    <a:pt x="402" y="363"/>
                  </a:lnTo>
                  <a:lnTo>
                    <a:pt x="399" y="348"/>
                  </a:lnTo>
                  <a:lnTo>
                    <a:pt x="410" y="354"/>
                  </a:lnTo>
                  <a:lnTo>
                    <a:pt x="414" y="340"/>
                  </a:lnTo>
                  <a:lnTo>
                    <a:pt x="420" y="337"/>
                  </a:lnTo>
                  <a:lnTo>
                    <a:pt x="412" y="336"/>
                  </a:lnTo>
                  <a:lnTo>
                    <a:pt x="416" y="329"/>
                  </a:lnTo>
                  <a:lnTo>
                    <a:pt x="412" y="328"/>
                  </a:lnTo>
                  <a:lnTo>
                    <a:pt x="424" y="329"/>
                  </a:lnTo>
                  <a:lnTo>
                    <a:pt x="427" y="328"/>
                  </a:lnTo>
                  <a:lnTo>
                    <a:pt x="424" y="324"/>
                  </a:lnTo>
                  <a:lnTo>
                    <a:pt x="429" y="317"/>
                  </a:lnTo>
                  <a:lnTo>
                    <a:pt x="417" y="302"/>
                  </a:lnTo>
                  <a:lnTo>
                    <a:pt x="401" y="306"/>
                  </a:lnTo>
                  <a:lnTo>
                    <a:pt x="405" y="291"/>
                  </a:lnTo>
                  <a:lnTo>
                    <a:pt x="388" y="293"/>
                  </a:lnTo>
                  <a:lnTo>
                    <a:pt x="391" y="286"/>
                  </a:lnTo>
                  <a:lnTo>
                    <a:pt x="383" y="271"/>
                  </a:lnTo>
                  <a:lnTo>
                    <a:pt x="375" y="269"/>
                  </a:lnTo>
                  <a:lnTo>
                    <a:pt x="376" y="260"/>
                  </a:lnTo>
                  <a:lnTo>
                    <a:pt x="362" y="266"/>
                  </a:lnTo>
                  <a:lnTo>
                    <a:pt x="357" y="263"/>
                  </a:lnTo>
                  <a:lnTo>
                    <a:pt x="360" y="258"/>
                  </a:lnTo>
                  <a:lnTo>
                    <a:pt x="358" y="254"/>
                  </a:lnTo>
                  <a:lnTo>
                    <a:pt x="347" y="254"/>
                  </a:lnTo>
                  <a:lnTo>
                    <a:pt x="350" y="247"/>
                  </a:lnTo>
                  <a:lnTo>
                    <a:pt x="326" y="238"/>
                  </a:lnTo>
                  <a:lnTo>
                    <a:pt x="336" y="235"/>
                  </a:lnTo>
                  <a:lnTo>
                    <a:pt x="329" y="227"/>
                  </a:lnTo>
                  <a:lnTo>
                    <a:pt x="334" y="221"/>
                  </a:lnTo>
                  <a:lnTo>
                    <a:pt x="323" y="214"/>
                  </a:lnTo>
                  <a:lnTo>
                    <a:pt x="353" y="211"/>
                  </a:lnTo>
                  <a:lnTo>
                    <a:pt x="318" y="199"/>
                  </a:lnTo>
                  <a:lnTo>
                    <a:pt x="342" y="192"/>
                  </a:lnTo>
                  <a:lnTo>
                    <a:pt x="345" y="187"/>
                  </a:lnTo>
                  <a:lnTo>
                    <a:pt x="343" y="183"/>
                  </a:lnTo>
                  <a:lnTo>
                    <a:pt x="329" y="167"/>
                  </a:lnTo>
                  <a:lnTo>
                    <a:pt x="326" y="175"/>
                  </a:lnTo>
                  <a:lnTo>
                    <a:pt x="316" y="181"/>
                  </a:lnTo>
                  <a:lnTo>
                    <a:pt x="321" y="172"/>
                  </a:lnTo>
                  <a:lnTo>
                    <a:pt x="306" y="173"/>
                  </a:lnTo>
                  <a:lnTo>
                    <a:pt x="323" y="163"/>
                  </a:lnTo>
                  <a:lnTo>
                    <a:pt x="324" y="154"/>
                  </a:lnTo>
                  <a:lnTo>
                    <a:pt x="308" y="146"/>
                  </a:lnTo>
                  <a:lnTo>
                    <a:pt x="295" y="159"/>
                  </a:lnTo>
                  <a:lnTo>
                    <a:pt x="303" y="143"/>
                  </a:lnTo>
                  <a:lnTo>
                    <a:pt x="288" y="151"/>
                  </a:lnTo>
                  <a:lnTo>
                    <a:pt x="293" y="138"/>
                  </a:lnTo>
                  <a:lnTo>
                    <a:pt x="292" y="134"/>
                  </a:lnTo>
                  <a:lnTo>
                    <a:pt x="269" y="134"/>
                  </a:lnTo>
                  <a:lnTo>
                    <a:pt x="284" y="129"/>
                  </a:lnTo>
                  <a:lnTo>
                    <a:pt x="285" y="125"/>
                  </a:lnTo>
                  <a:lnTo>
                    <a:pt x="280" y="112"/>
                  </a:lnTo>
                  <a:lnTo>
                    <a:pt x="262" y="102"/>
                  </a:lnTo>
                  <a:lnTo>
                    <a:pt x="258" y="110"/>
                  </a:lnTo>
                  <a:lnTo>
                    <a:pt x="252" y="110"/>
                  </a:lnTo>
                  <a:lnTo>
                    <a:pt x="252" y="121"/>
                  </a:lnTo>
                  <a:lnTo>
                    <a:pt x="247" y="115"/>
                  </a:lnTo>
                  <a:lnTo>
                    <a:pt x="247" y="110"/>
                  </a:lnTo>
                  <a:lnTo>
                    <a:pt x="240" y="115"/>
                  </a:lnTo>
                  <a:lnTo>
                    <a:pt x="248" y="98"/>
                  </a:lnTo>
                  <a:lnTo>
                    <a:pt x="226" y="104"/>
                  </a:lnTo>
                  <a:lnTo>
                    <a:pt x="235" y="96"/>
                  </a:lnTo>
                  <a:lnTo>
                    <a:pt x="236" y="85"/>
                  </a:lnTo>
                  <a:lnTo>
                    <a:pt x="223" y="83"/>
                  </a:lnTo>
                  <a:lnTo>
                    <a:pt x="226" y="73"/>
                  </a:lnTo>
                  <a:lnTo>
                    <a:pt x="216" y="60"/>
                  </a:lnTo>
                  <a:lnTo>
                    <a:pt x="188" y="52"/>
                  </a:lnTo>
                  <a:lnTo>
                    <a:pt x="173" y="62"/>
                  </a:lnTo>
                  <a:lnTo>
                    <a:pt x="176" y="71"/>
                  </a:lnTo>
                  <a:lnTo>
                    <a:pt x="165" y="77"/>
                  </a:lnTo>
                  <a:lnTo>
                    <a:pt x="154" y="72"/>
                  </a:lnTo>
                  <a:lnTo>
                    <a:pt x="154" y="63"/>
                  </a:lnTo>
                  <a:lnTo>
                    <a:pt x="150" y="78"/>
                  </a:lnTo>
                  <a:lnTo>
                    <a:pt x="137" y="92"/>
                  </a:lnTo>
                  <a:lnTo>
                    <a:pt x="136" y="85"/>
                  </a:lnTo>
                  <a:lnTo>
                    <a:pt x="142" y="83"/>
                  </a:lnTo>
                  <a:lnTo>
                    <a:pt x="138" y="81"/>
                  </a:lnTo>
                  <a:lnTo>
                    <a:pt x="145" y="53"/>
                  </a:lnTo>
                  <a:lnTo>
                    <a:pt x="139" y="44"/>
                  </a:lnTo>
                  <a:lnTo>
                    <a:pt x="142" y="36"/>
                  </a:lnTo>
                  <a:lnTo>
                    <a:pt x="130" y="27"/>
                  </a:lnTo>
                  <a:lnTo>
                    <a:pt x="134" y="23"/>
                  </a:lnTo>
                  <a:lnTo>
                    <a:pt x="129" y="1"/>
                  </a:lnTo>
                  <a:lnTo>
                    <a:pt x="98" y="8"/>
                  </a:lnTo>
                  <a:lnTo>
                    <a:pt x="93" y="14"/>
                  </a:lnTo>
                  <a:lnTo>
                    <a:pt x="97" y="18"/>
                  </a:lnTo>
                  <a:lnTo>
                    <a:pt x="97" y="24"/>
                  </a:lnTo>
                  <a:lnTo>
                    <a:pt x="85" y="17"/>
                  </a:lnTo>
                  <a:lnTo>
                    <a:pt x="86" y="27"/>
                  </a:lnTo>
                  <a:lnTo>
                    <a:pt x="76" y="23"/>
                  </a:lnTo>
                  <a:lnTo>
                    <a:pt x="76" y="27"/>
                  </a:lnTo>
                  <a:lnTo>
                    <a:pt x="78" y="31"/>
                  </a:lnTo>
                  <a:lnTo>
                    <a:pt x="93" y="38"/>
                  </a:lnTo>
                  <a:lnTo>
                    <a:pt x="69" y="36"/>
                  </a:lnTo>
                  <a:lnTo>
                    <a:pt x="91" y="51"/>
                  </a:lnTo>
                  <a:lnTo>
                    <a:pt x="66" y="45"/>
                  </a:lnTo>
                  <a:lnTo>
                    <a:pt x="69" y="68"/>
                  </a:lnTo>
                  <a:lnTo>
                    <a:pt x="79" y="70"/>
                  </a:lnTo>
                  <a:lnTo>
                    <a:pt x="63" y="89"/>
                  </a:lnTo>
                  <a:lnTo>
                    <a:pt x="71" y="103"/>
                  </a:lnTo>
                  <a:lnTo>
                    <a:pt x="82" y="105"/>
                  </a:lnTo>
                  <a:lnTo>
                    <a:pt x="79" y="133"/>
                  </a:lnTo>
                  <a:lnTo>
                    <a:pt x="77" y="137"/>
                  </a:lnTo>
                  <a:lnTo>
                    <a:pt x="76" y="128"/>
                  </a:lnTo>
                  <a:lnTo>
                    <a:pt x="52" y="134"/>
                  </a:lnTo>
                  <a:lnTo>
                    <a:pt x="77" y="122"/>
                  </a:lnTo>
                  <a:lnTo>
                    <a:pt x="58" y="94"/>
                  </a:lnTo>
                  <a:lnTo>
                    <a:pt x="54" y="85"/>
                  </a:lnTo>
                  <a:lnTo>
                    <a:pt x="58" y="70"/>
                  </a:lnTo>
                  <a:lnTo>
                    <a:pt x="52" y="58"/>
                  </a:lnTo>
                  <a:lnTo>
                    <a:pt x="59" y="30"/>
                  </a:lnTo>
                  <a:lnTo>
                    <a:pt x="77" y="0"/>
                  </a:lnTo>
                  <a:lnTo>
                    <a:pt x="40" y="1"/>
                  </a:lnTo>
                  <a:lnTo>
                    <a:pt x="15" y="32"/>
                  </a:lnTo>
                  <a:lnTo>
                    <a:pt x="11" y="50"/>
                  </a:lnTo>
                  <a:lnTo>
                    <a:pt x="14" y="51"/>
                  </a:lnTo>
                  <a:lnTo>
                    <a:pt x="9" y="51"/>
                  </a:lnTo>
                  <a:lnTo>
                    <a:pt x="4" y="70"/>
                  </a:lnTo>
                  <a:lnTo>
                    <a:pt x="5" y="79"/>
                  </a:lnTo>
                  <a:lnTo>
                    <a:pt x="8" y="79"/>
                  </a:lnTo>
                  <a:lnTo>
                    <a:pt x="0" y="89"/>
                  </a:lnTo>
                  <a:lnTo>
                    <a:pt x="5" y="99"/>
                  </a:lnTo>
                  <a:close/>
                </a:path>
              </a:pathLst>
            </a:custGeom>
            <a:grpFill/>
            <a:ln>
              <a:no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lt1"/>
                </a:solidFill>
              </a:endParaRPr>
            </a:p>
          </p:txBody>
        </p:sp>
        <p:sp>
          <p:nvSpPr>
            <p:cNvPr id="75" name="Freeform 53"/>
            <p:cNvSpPr>
              <a:spLocks noEditPoints="1"/>
            </p:cNvSpPr>
            <p:nvPr/>
          </p:nvSpPr>
          <p:spPr bwMode="auto">
            <a:xfrm>
              <a:off x="222899" y="1864744"/>
              <a:ext cx="3384228" cy="4291358"/>
            </a:xfrm>
            <a:custGeom>
              <a:avLst/>
              <a:gdLst>
                <a:gd name="T0" fmla="*/ 1746 w 1981"/>
                <a:gd name="T1" fmla="*/ 1575 h 2512"/>
                <a:gd name="T2" fmla="*/ 1581 w 1981"/>
                <a:gd name="T3" fmla="*/ 1419 h 2512"/>
                <a:gd name="T4" fmla="*/ 1435 w 1981"/>
                <a:gd name="T5" fmla="*/ 1404 h 2512"/>
                <a:gd name="T6" fmla="*/ 1261 w 1981"/>
                <a:gd name="T7" fmla="*/ 1412 h 2512"/>
                <a:gd name="T8" fmla="*/ 1149 w 1981"/>
                <a:gd name="T9" fmla="*/ 1273 h 2512"/>
                <a:gd name="T10" fmla="*/ 1085 w 1981"/>
                <a:gd name="T11" fmla="*/ 1117 h 2512"/>
                <a:gd name="T12" fmla="*/ 1272 w 1981"/>
                <a:gd name="T13" fmla="*/ 1133 h 2512"/>
                <a:gd name="T14" fmla="*/ 1373 w 1981"/>
                <a:gd name="T15" fmla="*/ 998 h 2512"/>
                <a:gd name="T16" fmla="*/ 1384 w 1981"/>
                <a:gd name="T17" fmla="*/ 944 h 2512"/>
                <a:gd name="T18" fmla="*/ 1540 w 1981"/>
                <a:gd name="T19" fmla="*/ 796 h 2512"/>
                <a:gd name="T20" fmla="*/ 1538 w 1981"/>
                <a:gd name="T21" fmla="*/ 783 h 2512"/>
                <a:gd name="T22" fmla="*/ 1575 w 1981"/>
                <a:gd name="T23" fmla="*/ 700 h 2512"/>
                <a:gd name="T24" fmla="*/ 1595 w 1981"/>
                <a:gd name="T25" fmla="*/ 614 h 2512"/>
                <a:gd name="T26" fmla="*/ 1581 w 1981"/>
                <a:gd name="T27" fmla="*/ 536 h 2512"/>
                <a:gd name="T28" fmla="*/ 1529 w 1981"/>
                <a:gd name="T29" fmla="*/ 461 h 2512"/>
                <a:gd name="T30" fmla="*/ 1463 w 1981"/>
                <a:gd name="T31" fmla="*/ 465 h 2512"/>
                <a:gd name="T32" fmla="*/ 1341 w 1981"/>
                <a:gd name="T33" fmla="*/ 425 h 2512"/>
                <a:gd name="T34" fmla="*/ 1326 w 1981"/>
                <a:gd name="T35" fmla="*/ 677 h 2512"/>
                <a:gd name="T36" fmla="*/ 1124 w 1981"/>
                <a:gd name="T37" fmla="*/ 518 h 2512"/>
                <a:gd name="T38" fmla="*/ 1112 w 1981"/>
                <a:gd name="T39" fmla="*/ 321 h 2512"/>
                <a:gd name="T40" fmla="*/ 1242 w 1981"/>
                <a:gd name="T41" fmla="*/ 240 h 2512"/>
                <a:gd name="T42" fmla="*/ 1240 w 1981"/>
                <a:gd name="T43" fmla="*/ 130 h 2512"/>
                <a:gd name="T44" fmla="*/ 1138 w 1981"/>
                <a:gd name="T45" fmla="*/ 84 h 2512"/>
                <a:gd name="T46" fmla="*/ 1103 w 1981"/>
                <a:gd name="T47" fmla="*/ 137 h 2512"/>
                <a:gd name="T48" fmla="*/ 1052 w 1981"/>
                <a:gd name="T49" fmla="*/ 187 h 2512"/>
                <a:gd name="T50" fmla="*/ 924 w 1981"/>
                <a:gd name="T51" fmla="*/ 144 h 2512"/>
                <a:gd name="T52" fmla="*/ 788 w 1981"/>
                <a:gd name="T53" fmla="*/ 160 h 2512"/>
                <a:gd name="T54" fmla="*/ 592 w 1981"/>
                <a:gd name="T55" fmla="*/ 71 h 2512"/>
                <a:gd name="T56" fmla="*/ 369 w 1981"/>
                <a:gd name="T57" fmla="*/ 84 h 2512"/>
                <a:gd name="T58" fmla="*/ 123 w 1981"/>
                <a:gd name="T59" fmla="*/ 69 h 2512"/>
                <a:gd name="T60" fmla="*/ 85 w 1981"/>
                <a:gd name="T61" fmla="*/ 205 h 2512"/>
                <a:gd name="T62" fmla="*/ 28 w 1981"/>
                <a:gd name="T63" fmla="*/ 273 h 2512"/>
                <a:gd name="T64" fmla="*/ 27 w 1981"/>
                <a:gd name="T65" fmla="*/ 400 h 2512"/>
                <a:gd name="T66" fmla="*/ 97 w 1981"/>
                <a:gd name="T67" fmla="*/ 480 h 2512"/>
                <a:gd name="T68" fmla="*/ 72 w 1981"/>
                <a:gd name="T69" fmla="*/ 580 h 2512"/>
                <a:gd name="T70" fmla="*/ 204 w 1981"/>
                <a:gd name="T71" fmla="*/ 493 h 2512"/>
                <a:gd name="T72" fmla="*/ 240 w 1981"/>
                <a:gd name="T73" fmla="*/ 466 h 2512"/>
                <a:gd name="T74" fmla="*/ 331 w 1981"/>
                <a:gd name="T75" fmla="*/ 425 h 2512"/>
                <a:gd name="T76" fmla="*/ 461 w 1981"/>
                <a:gd name="T77" fmla="*/ 477 h 2512"/>
                <a:gd name="T78" fmla="*/ 515 w 1981"/>
                <a:gd name="T79" fmla="*/ 525 h 2512"/>
                <a:gd name="T80" fmla="*/ 579 w 1981"/>
                <a:gd name="T81" fmla="*/ 634 h 2512"/>
                <a:gd name="T82" fmla="*/ 668 w 1981"/>
                <a:gd name="T83" fmla="*/ 712 h 2512"/>
                <a:gd name="T84" fmla="*/ 654 w 1981"/>
                <a:gd name="T85" fmla="*/ 880 h 2512"/>
                <a:gd name="T86" fmla="*/ 781 w 1981"/>
                <a:gd name="T87" fmla="*/ 1102 h 2512"/>
                <a:gd name="T88" fmla="*/ 814 w 1981"/>
                <a:gd name="T89" fmla="*/ 1118 h 2512"/>
                <a:gd name="T90" fmla="*/ 937 w 1981"/>
                <a:gd name="T91" fmla="*/ 1254 h 2512"/>
                <a:gd name="T92" fmla="*/ 1226 w 1981"/>
                <a:gd name="T93" fmla="*/ 1415 h 2512"/>
                <a:gd name="T94" fmla="*/ 1348 w 1981"/>
                <a:gd name="T95" fmla="*/ 1468 h 2512"/>
                <a:gd name="T96" fmla="*/ 1345 w 1981"/>
                <a:gd name="T97" fmla="*/ 1734 h 2512"/>
                <a:gd name="T98" fmla="*/ 1404 w 1981"/>
                <a:gd name="T99" fmla="*/ 2208 h 2512"/>
                <a:gd name="T100" fmla="*/ 1405 w 1981"/>
                <a:gd name="T101" fmla="*/ 2330 h 2512"/>
                <a:gd name="T102" fmla="*/ 1409 w 1981"/>
                <a:gd name="T103" fmla="*/ 2380 h 2512"/>
                <a:gd name="T104" fmla="*/ 1415 w 1981"/>
                <a:gd name="T105" fmla="*/ 2465 h 2512"/>
                <a:gd name="T106" fmla="*/ 1481 w 1981"/>
                <a:gd name="T107" fmla="*/ 2426 h 2512"/>
                <a:gd name="T108" fmla="*/ 1551 w 1981"/>
                <a:gd name="T109" fmla="*/ 2251 h 2512"/>
                <a:gd name="T110" fmla="*/ 1630 w 1981"/>
                <a:gd name="T111" fmla="*/ 2099 h 2512"/>
                <a:gd name="T112" fmla="*/ 1910 w 1981"/>
                <a:gd name="T113" fmla="*/ 1838 h 2512"/>
                <a:gd name="T114" fmla="*/ 1311 w 1981"/>
                <a:gd name="T115" fmla="*/ 873 h 2512"/>
                <a:gd name="T116" fmla="*/ 1314 w 1981"/>
                <a:gd name="T117" fmla="*/ 820 h 2512"/>
                <a:gd name="T118" fmla="*/ 1216 w 1981"/>
                <a:gd name="T119" fmla="*/ 823 h 2512"/>
                <a:gd name="T120" fmla="*/ 1179 w 1981"/>
                <a:gd name="T121" fmla="*/ 743 h 2512"/>
                <a:gd name="T122" fmla="*/ 1146 w 1981"/>
                <a:gd name="T123" fmla="*/ 775 h 2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81" h="2512">
                  <a:moveTo>
                    <a:pt x="1971" y="1642"/>
                  </a:moveTo>
                  <a:lnTo>
                    <a:pt x="1948" y="1638"/>
                  </a:lnTo>
                  <a:lnTo>
                    <a:pt x="1912" y="1610"/>
                  </a:lnTo>
                  <a:lnTo>
                    <a:pt x="1906" y="1607"/>
                  </a:lnTo>
                  <a:lnTo>
                    <a:pt x="1877" y="1607"/>
                  </a:lnTo>
                  <a:lnTo>
                    <a:pt x="1852" y="1598"/>
                  </a:lnTo>
                  <a:lnTo>
                    <a:pt x="1839" y="1604"/>
                  </a:lnTo>
                  <a:lnTo>
                    <a:pt x="1841" y="1598"/>
                  </a:lnTo>
                  <a:lnTo>
                    <a:pt x="1835" y="1596"/>
                  </a:lnTo>
                  <a:lnTo>
                    <a:pt x="1838" y="1592"/>
                  </a:lnTo>
                  <a:lnTo>
                    <a:pt x="1833" y="1586"/>
                  </a:lnTo>
                  <a:lnTo>
                    <a:pt x="1826" y="1590"/>
                  </a:lnTo>
                  <a:lnTo>
                    <a:pt x="1824" y="1584"/>
                  </a:lnTo>
                  <a:lnTo>
                    <a:pt x="1800" y="1574"/>
                  </a:lnTo>
                  <a:lnTo>
                    <a:pt x="1786" y="1575"/>
                  </a:lnTo>
                  <a:lnTo>
                    <a:pt x="1780" y="1586"/>
                  </a:lnTo>
                  <a:lnTo>
                    <a:pt x="1773" y="1590"/>
                  </a:lnTo>
                  <a:lnTo>
                    <a:pt x="1767" y="1600"/>
                  </a:lnTo>
                  <a:lnTo>
                    <a:pt x="1766" y="1591"/>
                  </a:lnTo>
                  <a:lnTo>
                    <a:pt x="1736" y="1592"/>
                  </a:lnTo>
                  <a:lnTo>
                    <a:pt x="1735" y="1594"/>
                  </a:lnTo>
                  <a:lnTo>
                    <a:pt x="1735" y="1590"/>
                  </a:lnTo>
                  <a:lnTo>
                    <a:pt x="1747" y="1590"/>
                  </a:lnTo>
                  <a:lnTo>
                    <a:pt x="1747" y="1583"/>
                  </a:lnTo>
                  <a:lnTo>
                    <a:pt x="1743" y="1579"/>
                  </a:lnTo>
                  <a:lnTo>
                    <a:pt x="1746" y="1575"/>
                  </a:lnTo>
                  <a:lnTo>
                    <a:pt x="1737" y="1581"/>
                  </a:lnTo>
                  <a:lnTo>
                    <a:pt x="1735" y="1571"/>
                  </a:lnTo>
                  <a:lnTo>
                    <a:pt x="1755" y="1549"/>
                  </a:lnTo>
                  <a:lnTo>
                    <a:pt x="1759" y="1540"/>
                  </a:lnTo>
                  <a:lnTo>
                    <a:pt x="1750" y="1538"/>
                  </a:lnTo>
                  <a:lnTo>
                    <a:pt x="1740" y="1506"/>
                  </a:lnTo>
                  <a:lnTo>
                    <a:pt x="1735" y="1502"/>
                  </a:lnTo>
                  <a:lnTo>
                    <a:pt x="1734" y="1505"/>
                  </a:lnTo>
                  <a:lnTo>
                    <a:pt x="1729" y="1499"/>
                  </a:lnTo>
                  <a:lnTo>
                    <a:pt x="1717" y="1488"/>
                  </a:lnTo>
                  <a:lnTo>
                    <a:pt x="1699" y="1481"/>
                  </a:lnTo>
                  <a:lnTo>
                    <a:pt x="1697" y="1483"/>
                  </a:lnTo>
                  <a:lnTo>
                    <a:pt x="1697" y="1480"/>
                  </a:lnTo>
                  <a:lnTo>
                    <a:pt x="1683" y="1476"/>
                  </a:lnTo>
                  <a:lnTo>
                    <a:pt x="1652" y="1477"/>
                  </a:lnTo>
                  <a:lnTo>
                    <a:pt x="1642" y="1465"/>
                  </a:lnTo>
                  <a:lnTo>
                    <a:pt x="1630" y="1463"/>
                  </a:lnTo>
                  <a:lnTo>
                    <a:pt x="1627" y="1451"/>
                  </a:lnTo>
                  <a:lnTo>
                    <a:pt x="1614" y="1442"/>
                  </a:lnTo>
                  <a:lnTo>
                    <a:pt x="1611" y="1442"/>
                  </a:lnTo>
                  <a:lnTo>
                    <a:pt x="1605" y="1436"/>
                  </a:lnTo>
                  <a:lnTo>
                    <a:pt x="1599" y="1439"/>
                  </a:lnTo>
                  <a:lnTo>
                    <a:pt x="1593" y="1438"/>
                  </a:lnTo>
                  <a:lnTo>
                    <a:pt x="1597" y="1435"/>
                  </a:lnTo>
                  <a:lnTo>
                    <a:pt x="1593" y="1425"/>
                  </a:lnTo>
                  <a:lnTo>
                    <a:pt x="1581" y="1419"/>
                  </a:lnTo>
                  <a:lnTo>
                    <a:pt x="1573" y="1419"/>
                  </a:lnTo>
                  <a:lnTo>
                    <a:pt x="1569" y="1412"/>
                  </a:lnTo>
                  <a:lnTo>
                    <a:pt x="1564" y="1410"/>
                  </a:lnTo>
                  <a:lnTo>
                    <a:pt x="1578" y="1405"/>
                  </a:lnTo>
                  <a:lnTo>
                    <a:pt x="1546" y="1405"/>
                  </a:lnTo>
                  <a:lnTo>
                    <a:pt x="1545" y="1406"/>
                  </a:lnTo>
                  <a:lnTo>
                    <a:pt x="1551" y="1409"/>
                  </a:lnTo>
                  <a:lnTo>
                    <a:pt x="1532" y="1412"/>
                  </a:lnTo>
                  <a:lnTo>
                    <a:pt x="1523" y="1412"/>
                  </a:lnTo>
                  <a:lnTo>
                    <a:pt x="1516" y="1406"/>
                  </a:lnTo>
                  <a:lnTo>
                    <a:pt x="1488" y="1409"/>
                  </a:lnTo>
                  <a:lnTo>
                    <a:pt x="1483" y="1397"/>
                  </a:lnTo>
                  <a:lnTo>
                    <a:pt x="1465" y="1393"/>
                  </a:lnTo>
                  <a:lnTo>
                    <a:pt x="1460" y="1382"/>
                  </a:lnTo>
                  <a:lnTo>
                    <a:pt x="1455" y="1390"/>
                  </a:lnTo>
                  <a:lnTo>
                    <a:pt x="1461" y="1391"/>
                  </a:lnTo>
                  <a:lnTo>
                    <a:pt x="1462" y="1393"/>
                  </a:lnTo>
                  <a:lnTo>
                    <a:pt x="1447" y="1397"/>
                  </a:lnTo>
                  <a:lnTo>
                    <a:pt x="1437" y="1404"/>
                  </a:lnTo>
                  <a:lnTo>
                    <a:pt x="1437" y="1410"/>
                  </a:lnTo>
                  <a:lnTo>
                    <a:pt x="1442" y="1419"/>
                  </a:lnTo>
                  <a:lnTo>
                    <a:pt x="1443" y="1425"/>
                  </a:lnTo>
                  <a:lnTo>
                    <a:pt x="1435" y="1430"/>
                  </a:lnTo>
                  <a:lnTo>
                    <a:pt x="1430" y="1421"/>
                  </a:lnTo>
                  <a:lnTo>
                    <a:pt x="1430" y="1415"/>
                  </a:lnTo>
                  <a:lnTo>
                    <a:pt x="1435" y="1404"/>
                  </a:lnTo>
                  <a:lnTo>
                    <a:pt x="1431" y="1391"/>
                  </a:lnTo>
                  <a:lnTo>
                    <a:pt x="1438" y="1387"/>
                  </a:lnTo>
                  <a:lnTo>
                    <a:pt x="1441" y="1383"/>
                  </a:lnTo>
                  <a:lnTo>
                    <a:pt x="1434" y="1379"/>
                  </a:lnTo>
                  <a:lnTo>
                    <a:pt x="1428" y="1383"/>
                  </a:lnTo>
                  <a:lnTo>
                    <a:pt x="1424" y="1389"/>
                  </a:lnTo>
                  <a:lnTo>
                    <a:pt x="1411" y="1395"/>
                  </a:lnTo>
                  <a:lnTo>
                    <a:pt x="1397" y="1396"/>
                  </a:lnTo>
                  <a:lnTo>
                    <a:pt x="1392" y="1404"/>
                  </a:lnTo>
                  <a:lnTo>
                    <a:pt x="1390" y="1400"/>
                  </a:lnTo>
                  <a:lnTo>
                    <a:pt x="1384" y="1400"/>
                  </a:lnTo>
                  <a:lnTo>
                    <a:pt x="1374" y="1409"/>
                  </a:lnTo>
                  <a:lnTo>
                    <a:pt x="1373" y="1423"/>
                  </a:lnTo>
                  <a:lnTo>
                    <a:pt x="1357" y="1436"/>
                  </a:lnTo>
                  <a:lnTo>
                    <a:pt x="1357" y="1445"/>
                  </a:lnTo>
                  <a:lnTo>
                    <a:pt x="1348" y="1436"/>
                  </a:lnTo>
                  <a:lnTo>
                    <a:pt x="1337" y="1425"/>
                  </a:lnTo>
                  <a:lnTo>
                    <a:pt x="1321" y="1421"/>
                  </a:lnTo>
                  <a:lnTo>
                    <a:pt x="1314" y="1421"/>
                  </a:lnTo>
                  <a:lnTo>
                    <a:pt x="1311" y="1429"/>
                  </a:lnTo>
                  <a:lnTo>
                    <a:pt x="1307" y="1426"/>
                  </a:lnTo>
                  <a:lnTo>
                    <a:pt x="1292" y="1432"/>
                  </a:lnTo>
                  <a:lnTo>
                    <a:pt x="1278" y="1430"/>
                  </a:lnTo>
                  <a:lnTo>
                    <a:pt x="1275" y="1423"/>
                  </a:lnTo>
                  <a:lnTo>
                    <a:pt x="1270" y="1421"/>
                  </a:lnTo>
                  <a:lnTo>
                    <a:pt x="1261" y="1412"/>
                  </a:lnTo>
                  <a:lnTo>
                    <a:pt x="1255" y="1400"/>
                  </a:lnTo>
                  <a:lnTo>
                    <a:pt x="1253" y="1393"/>
                  </a:lnTo>
                  <a:lnTo>
                    <a:pt x="1261" y="1340"/>
                  </a:lnTo>
                  <a:lnTo>
                    <a:pt x="1248" y="1329"/>
                  </a:lnTo>
                  <a:lnTo>
                    <a:pt x="1234" y="1324"/>
                  </a:lnTo>
                  <a:lnTo>
                    <a:pt x="1185" y="1327"/>
                  </a:lnTo>
                  <a:lnTo>
                    <a:pt x="1178" y="1324"/>
                  </a:lnTo>
                  <a:lnTo>
                    <a:pt x="1187" y="1308"/>
                  </a:lnTo>
                  <a:lnTo>
                    <a:pt x="1189" y="1289"/>
                  </a:lnTo>
                  <a:lnTo>
                    <a:pt x="1184" y="1286"/>
                  </a:lnTo>
                  <a:lnTo>
                    <a:pt x="1188" y="1280"/>
                  </a:lnTo>
                  <a:lnTo>
                    <a:pt x="1190" y="1280"/>
                  </a:lnTo>
                  <a:lnTo>
                    <a:pt x="1189" y="1285"/>
                  </a:lnTo>
                  <a:lnTo>
                    <a:pt x="1192" y="1292"/>
                  </a:lnTo>
                  <a:lnTo>
                    <a:pt x="1197" y="1273"/>
                  </a:lnTo>
                  <a:lnTo>
                    <a:pt x="1195" y="1270"/>
                  </a:lnTo>
                  <a:lnTo>
                    <a:pt x="1197" y="1268"/>
                  </a:lnTo>
                  <a:lnTo>
                    <a:pt x="1195" y="1267"/>
                  </a:lnTo>
                  <a:lnTo>
                    <a:pt x="1208" y="1242"/>
                  </a:lnTo>
                  <a:lnTo>
                    <a:pt x="1205" y="1237"/>
                  </a:lnTo>
                  <a:lnTo>
                    <a:pt x="1197" y="1236"/>
                  </a:lnTo>
                  <a:lnTo>
                    <a:pt x="1194" y="1240"/>
                  </a:lnTo>
                  <a:lnTo>
                    <a:pt x="1194" y="1236"/>
                  </a:lnTo>
                  <a:lnTo>
                    <a:pt x="1189" y="1235"/>
                  </a:lnTo>
                  <a:lnTo>
                    <a:pt x="1155" y="1244"/>
                  </a:lnTo>
                  <a:lnTo>
                    <a:pt x="1149" y="1273"/>
                  </a:lnTo>
                  <a:lnTo>
                    <a:pt x="1140" y="1277"/>
                  </a:lnTo>
                  <a:lnTo>
                    <a:pt x="1142" y="1281"/>
                  </a:lnTo>
                  <a:lnTo>
                    <a:pt x="1137" y="1285"/>
                  </a:lnTo>
                  <a:lnTo>
                    <a:pt x="1125" y="1281"/>
                  </a:lnTo>
                  <a:lnTo>
                    <a:pt x="1094" y="1289"/>
                  </a:lnTo>
                  <a:lnTo>
                    <a:pt x="1086" y="1283"/>
                  </a:lnTo>
                  <a:lnTo>
                    <a:pt x="1077" y="1280"/>
                  </a:lnTo>
                  <a:lnTo>
                    <a:pt x="1070" y="1274"/>
                  </a:lnTo>
                  <a:lnTo>
                    <a:pt x="1065" y="1262"/>
                  </a:lnTo>
                  <a:lnTo>
                    <a:pt x="1053" y="1245"/>
                  </a:lnTo>
                  <a:lnTo>
                    <a:pt x="1054" y="1237"/>
                  </a:lnTo>
                  <a:lnTo>
                    <a:pt x="1047" y="1228"/>
                  </a:lnTo>
                  <a:lnTo>
                    <a:pt x="1047" y="1208"/>
                  </a:lnTo>
                  <a:lnTo>
                    <a:pt x="1045" y="1186"/>
                  </a:lnTo>
                  <a:lnTo>
                    <a:pt x="1049" y="1176"/>
                  </a:lnTo>
                  <a:lnTo>
                    <a:pt x="1057" y="1173"/>
                  </a:lnTo>
                  <a:lnTo>
                    <a:pt x="1057" y="1167"/>
                  </a:lnTo>
                  <a:lnTo>
                    <a:pt x="1052" y="1153"/>
                  </a:lnTo>
                  <a:lnTo>
                    <a:pt x="1052" y="1147"/>
                  </a:lnTo>
                  <a:lnTo>
                    <a:pt x="1049" y="1145"/>
                  </a:lnTo>
                  <a:lnTo>
                    <a:pt x="1053" y="1144"/>
                  </a:lnTo>
                  <a:lnTo>
                    <a:pt x="1052" y="1135"/>
                  </a:lnTo>
                  <a:lnTo>
                    <a:pt x="1066" y="1125"/>
                  </a:lnTo>
                  <a:lnTo>
                    <a:pt x="1065" y="1120"/>
                  </a:lnTo>
                  <a:lnTo>
                    <a:pt x="1077" y="1120"/>
                  </a:lnTo>
                  <a:lnTo>
                    <a:pt x="1085" y="1117"/>
                  </a:lnTo>
                  <a:lnTo>
                    <a:pt x="1088" y="1102"/>
                  </a:lnTo>
                  <a:lnTo>
                    <a:pt x="1092" y="1105"/>
                  </a:lnTo>
                  <a:lnTo>
                    <a:pt x="1090" y="1107"/>
                  </a:lnTo>
                  <a:lnTo>
                    <a:pt x="1103" y="1102"/>
                  </a:lnTo>
                  <a:lnTo>
                    <a:pt x="1126" y="1105"/>
                  </a:lnTo>
                  <a:lnTo>
                    <a:pt x="1132" y="1102"/>
                  </a:lnTo>
                  <a:lnTo>
                    <a:pt x="1149" y="1112"/>
                  </a:lnTo>
                  <a:lnTo>
                    <a:pt x="1157" y="1112"/>
                  </a:lnTo>
                  <a:lnTo>
                    <a:pt x="1161" y="1107"/>
                  </a:lnTo>
                  <a:lnTo>
                    <a:pt x="1170" y="1114"/>
                  </a:lnTo>
                  <a:lnTo>
                    <a:pt x="1172" y="1113"/>
                  </a:lnTo>
                  <a:lnTo>
                    <a:pt x="1165" y="1105"/>
                  </a:lnTo>
                  <a:lnTo>
                    <a:pt x="1170" y="1096"/>
                  </a:lnTo>
                  <a:lnTo>
                    <a:pt x="1156" y="1096"/>
                  </a:lnTo>
                  <a:lnTo>
                    <a:pt x="1155" y="1092"/>
                  </a:lnTo>
                  <a:lnTo>
                    <a:pt x="1187" y="1092"/>
                  </a:lnTo>
                  <a:lnTo>
                    <a:pt x="1190" y="1081"/>
                  </a:lnTo>
                  <a:lnTo>
                    <a:pt x="1190" y="1093"/>
                  </a:lnTo>
                  <a:lnTo>
                    <a:pt x="1204" y="1088"/>
                  </a:lnTo>
                  <a:lnTo>
                    <a:pt x="1204" y="1089"/>
                  </a:lnTo>
                  <a:lnTo>
                    <a:pt x="1215" y="1089"/>
                  </a:lnTo>
                  <a:lnTo>
                    <a:pt x="1230" y="1102"/>
                  </a:lnTo>
                  <a:lnTo>
                    <a:pt x="1249" y="1096"/>
                  </a:lnTo>
                  <a:lnTo>
                    <a:pt x="1267" y="1112"/>
                  </a:lnTo>
                  <a:lnTo>
                    <a:pt x="1268" y="1134"/>
                  </a:lnTo>
                  <a:lnTo>
                    <a:pt x="1272" y="1133"/>
                  </a:lnTo>
                  <a:lnTo>
                    <a:pt x="1269" y="1141"/>
                  </a:lnTo>
                  <a:lnTo>
                    <a:pt x="1276" y="1150"/>
                  </a:lnTo>
                  <a:lnTo>
                    <a:pt x="1278" y="1150"/>
                  </a:lnTo>
                  <a:lnTo>
                    <a:pt x="1283" y="1165"/>
                  </a:lnTo>
                  <a:lnTo>
                    <a:pt x="1288" y="1169"/>
                  </a:lnTo>
                  <a:lnTo>
                    <a:pt x="1293" y="1179"/>
                  </a:lnTo>
                  <a:lnTo>
                    <a:pt x="1304" y="1175"/>
                  </a:lnTo>
                  <a:lnTo>
                    <a:pt x="1307" y="1164"/>
                  </a:lnTo>
                  <a:lnTo>
                    <a:pt x="1307" y="1150"/>
                  </a:lnTo>
                  <a:lnTo>
                    <a:pt x="1286" y="1087"/>
                  </a:lnTo>
                  <a:lnTo>
                    <a:pt x="1295" y="1061"/>
                  </a:lnTo>
                  <a:lnTo>
                    <a:pt x="1301" y="1059"/>
                  </a:lnTo>
                  <a:lnTo>
                    <a:pt x="1299" y="1054"/>
                  </a:lnTo>
                  <a:lnTo>
                    <a:pt x="1308" y="1054"/>
                  </a:lnTo>
                  <a:lnTo>
                    <a:pt x="1321" y="1043"/>
                  </a:lnTo>
                  <a:lnTo>
                    <a:pt x="1326" y="1034"/>
                  </a:lnTo>
                  <a:lnTo>
                    <a:pt x="1343" y="1027"/>
                  </a:lnTo>
                  <a:lnTo>
                    <a:pt x="1348" y="1020"/>
                  </a:lnTo>
                  <a:lnTo>
                    <a:pt x="1363" y="1014"/>
                  </a:lnTo>
                  <a:lnTo>
                    <a:pt x="1363" y="1010"/>
                  </a:lnTo>
                  <a:lnTo>
                    <a:pt x="1359" y="1010"/>
                  </a:lnTo>
                  <a:lnTo>
                    <a:pt x="1363" y="1005"/>
                  </a:lnTo>
                  <a:lnTo>
                    <a:pt x="1358" y="1002"/>
                  </a:lnTo>
                  <a:lnTo>
                    <a:pt x="1363" y="1001"/>
                  </a:lnTo>
                  <a:lnTo>
                    <a:pt x="1367" y="1004"/>
                  </a:lnTo>
                  <a:lnTo>
                    <a:pt x="1373" y="998"/>
                  </a:lnTo>
                  <a:lnTo>
                    <a:pt x="1371" y="994"/>
                  </a:lnTo>
                  <a:lnTo>
                    <a:pt x="1370" y="998"/>
                  </a:lnTo>
                  <a:lnTo>
                    <a:pt x="1367" y="994"/>
                  </a:lnTo>
                  <a:lnTo>
                    <a:pt x="1359" y="994"/>
                  </a:lnTo>
                  <a:lnTo>
                    <a:pt x="1360" y="986"/>
                  </a:lnTo>
                  <a:lnTo>
                    <a:pt x="1363" y="991"/>
                  </a:lnTo>
                  <a:lnTo>
                    <a:pt x="1367" y="989"/>
                  </a:lnTo>
                  <a:lnTo>
                    <a:pt x="1373" y="990"/>
                  </a:lnTo>
                  <a:lnTo>
                    <a:pt x="1370" y="975"/>
                  </a:lnTo>
                  <a:lnTo>
                    <a:pt x="1363" y="975"/>
                  </a:lnTo>
                  <a:lnTo>
                    <a:pt x="1366" y="972"/>
                  </a:lnTo>
                  <a:lnTo>
                    <a:pt x="1363" y="962"/>
                  </a:lnTo>
                  <a:lnTo>
                    <a:pt x="1365" y="958"/>
                  </a:lnTo>
                  <a:lnTo>
                    <a:pt x="1351" y="946"/>
                  </a:lnTo>
                  <a:lnTo>
                    <a:pt x="1351" y="944"/>
                  </a:lnTo>
                  <a:lnTo>
                    <a:pt x="1364" y="952"/>
                  </a:lnTo>
                  <a:lnTo>
                    <a:pt x="1361" y="946"/>
                  </a:lnTo>
                  <a:lnTo>
                    <a:pt x="1361" y="931"/>
                  </a:lnTo>
                  <a:lnTo>
                    <a:pt x="1371" y="925"/>
                  </a:lnTo>
                  <a:lnTo>
                    <a:pt x="1365" y="938"/>
                  </a:lnTo>
                  <a:lnTo>
                    <a:pt x="1367" y="938"/>
                  </a:lnTo>
                  <a:lnTo>
                    <a:pt x="1366" y="946"/>
                  </a:lnTo>
                  <a:lnTo>
                    <a:pt x="1374" y="956"/>
                  </a:lnTo>
                  <a:lnTo>
                    <a:pt x="1370" y="965"/>
                  </a:lnTo>
                  <a:lnTo>
                    <a:pt x="1371" y="971"/>
                  </a:lnTo>
                  <a:lnTo>
                    <a:pt x="1384" y="944"/>
                  </a:lnTo>
                  <a:lnTo>
                    <a:pt x="1377" y="924"/>
                  </a:lnTo>
                  <a:lnTo>
                    <a:pt x="1386" y="931"/>
                  </a:lnTo>
                  <a:lnTo>
                    <a:pt x="1386" y="937"/>
                  </a:lnTo>
                  <a:lnTo>
                    <a:pt x="1397" y="923"/>
                  </a:lnTo>
                  <a:lnTo>
                    <a:pt x="1400" y="913"/>
                  </a:lnTo>
                  <a:lnTo>
                    <a:pt x="1397" y="907"/>
                  </a:lnTo>
                  <a:lnTo>
                    <a:pt x="1397" y="904"/>
                  </a:lnTo>
                  <a:lnTo>
                    <a:pt x="1415" y="892"/>
                  </a:lnTo>
                  <a:lnTo>
                    <a:pt x="1436" y="889"/>
                  </a:lnTo>
                  <a:lnTo>
                    <a:pt x="1441" y="884"/>
                  </a:lnTo>
                  <a:lnTo>
                    <a:pt x="1443" y="886"/>
                  </a:lnTo>
                  <a:lnTo>
                    <a:pt x="1461" y="884"/>
                  </a:lnTo>
                  <a:lnTo>
                    <a:pt x="1460" y="878"/>
                  </a:lnTo>
                  <a:lnTo>
                    <a:pt x="1458" y="884"/>
                  </a:lnTo>
                  <a:lnTo>
                    <a:pt x="1454" y="884"/>
                  </a:lnTo>
                  <a:lnTo>
                    <a:pt x="1444" y="871"/>
                  </a:lnTo>
                  <a:lnTo>
                    <a:pt x="1456" y="843"/>
                  </a:lnTo>
                  <a:lnTo>
                    <a:pt x="1471" y="836"/>
                  </a:lnTo>
                  <a:lnTo>
                    <a:pt x="1476" y="826"/>
                  </a:lnTo>
                  <a:lnTo>
                    <a:pt x="1483" y="832"/>
                  </a:lnTo>
                  <a:lnTo>
                    <a:pt x="1502" y="823"/>
                  </a:lnTo>
                  <a:lnTo>
                    <a:pt x="1503" y="821"/>
                  </a:lnTo>
                  <a:lnTo>
                    <a:pt x="1502" y="818"/>
                  </a:lnTo>
                  <a:lnTo>
                    <a:pt x="1502" y="813"/>
                  </a:lnTo>
                  <a:lnTo>
                    <a:pt x="1523" y="810"/>
                  </a:lnTo>
                  <a:lnTo>
                    <a:pt x="1540" y="796"/>
                  </a:lnTo>
                  <a:lnTo>
                    <a:pt x="1543" y="798"/>
                  </a:lnTo>
                  <a:lnTo>
                    <a:pt x="1535" y="805"/>
                  </a:lnTo>
                  <a:lnTo>
                    <a:pt x="1536" y="808"/>
                  </a:lnTo>
                  <a:lnTo>
                    <a:pt x="1559" y="808"/>
                  </a:lnTo>
                  <a:lnTo>
                    <a:pt x="1546" y="814"/>
                  </a:lnTo>
                  <a:lnTo>
                    <a:pt x="1542" y="809"/>
                  </a:lnTo>
                  <a:lnTo>
                    <a:pt x="1517" y="824"/>
                  </a:lnTo>
                  <a:lnTo>
                    <a:pt x="1521" y="824"/>
                  </a:lnTo>
                  <a:lnTo>
                    <a:pt x="1517" y="833"/>
                  </a:lnTo>
                  <a:lnTo>
                    <a:pt x="1517" y="840"/>
                  </a:lnTo>
                  <a:lnTo>
                    <a:pt x="1527" y="847"/>
                  </a:lnTo>
                  <a:lnTo>
                    <a:pt x="1545" y="830"/>
                  </a:lnTo>
                  <a:lnTo>
                    <a:pt x="1547" y="824"/>
                  </a:lnTo>
                  <a:lnTo>
                    <a:pt x="1554" y="826"/>
                  </a:lnTo>
                  <a:lnTo>
                    <a:pt x="1554" y="821"/>
                  </a:lnTo>
                  <a:lnTo>
                    <a:pt x="1565" y="821"/>
                  </a:lnTo>
                  <a:lnTo>
                    <a:pt x="1593" y="809"/>
                  </a:lnTo>
                  <a:lnTo>
                    <a:pt x="1587" y="808"/>
                  </a:lnTo>
                  <a:lnTo>
                    <a:pt x="1588" y="803"/>
                  </a:lnTo>
                  <a:lnTo>
                    <a:pt x="1580" y="802"/>
                  </a:lnTo>
                  <a:lnTo>
                    <a:pt x="1579" y="797"/>
                  </a:lnTo>
                  <a:lnTo>
                    <a:pt x="1567" y="802"/>
                  </a:lnTo>
                  <a:lnTo>
                    <a:pt x="1548" y="795"/>
                  </a:lnTo>
                  <a:lnTo>
                    <a:pt x="1552" y="792"/>
                  </a:lnTo>
                  <a:lnTo>
                    <a:pt x="1540" y="788"/>
                  </a:lnTo>
                  <a:lnTo>
                    <a:pt x="1538" y="783"/>
                  </a:lnTo>
                  <a:lnTo>
                    <a:pt x="1535" y="771"/>
                  </a:lnTo>
                  <a:lnTo>
                    <a:pt x="1529" y="771"/>
                  </a:lnTo>
                  <a:lnTo>
                    <a:pt x="1536" y="756"/>
                  </a:lnTo>
                  <a:lnTo>
                    <a:pt x="1532" y="753"/>
                  </a:lnTo>
                  <a:lnTo>
                    <a:pt x="1523" y="757"/>
                  </a:lnTo>
                  <a:lnTo>
                    <a:pt x="1521" y="752"/>
                  </a:lnTo>
                  <a:lnTo>
                    <a:pt x="1510" y="750"/>
                  </a:lnTo>
                  <a:lnTo>
                    <a:pt x="1521" y="748"/>
                  </a:lnTo>
                  <a:lnTo>
                    <a:pt x="1529" y="750"/>
                  </a:lnTo>
                  <a:lnTo>
                    <a:pt x="1545" y="738"/>
                  </a:lnTo>
                  <a:lnTo>
                    <a:pt x="1543" y="729"/>
                  </a:lnTo>
                  <a:lnTo>
                    <a:pt x="1533" y="723"/>
                  </a:lnTo>
                  <a:lnTo>
                    <a:pt x="1509" y="725"/>
                  </a:lnTo>
                  <a:lnTo>
                    <a:pt x="1483" y="737"/>
                  </a:lnTo>
                  <a:lnTo>
                    <a:pt x="1465" y="752"/>
                  </a:lnTo>
                  <a:lnTo>
                    <a:pt x="1449" y="772"/>
                  </a:lnTo>
                  <a:lnTo>
                    <a:pt x="1442" y="776"/>
                  </a:lnTo>
                  <a:lnTo>
                    <a:pt x="1455" y="763"/>
                  </a:lnTo>
                  <a:lnTo>
                    <a:pt x="1462" y="748"/>
                  </a:lnTo>
                  <a:lnTo>
                    <a:pt x="1468" y="744"/>
                  </a:lnTo>
                  <a:lnTo>
                    <a:pt x="1475" y="732"/>
                  </a:lnTo>
                  <a:lnTo>
                    <a:pt x="1488" y="721"/>
                  </a:lnTo>
                  <a:lnTo>
                    <a:pt x="1499" y="720"/>
                  </a:lnTo>
                  <a:lnTo>
                    <a:pt x="1506" y="706"/>
                  </a:lnTo>
                  <a:lnTo>
                    <a:pt x="1514" y="700"/>
                  </a:lnTo>
                  <a:lnTo>
                    <a:pt x="1575" y="700"/>
                  </a:lnTo>
                  <a:lnTo>
                    <a:pt x="1584" y="704"/>
                  </a:lnTo>
                  <a:lnTo>
                    <a:pt x="1605" y="695"/>
                  </a:lnTo>
                  <a:lnTo>
                    <a:pt x="1605" y="699"/>
                  </a:lnTo>
                  <a:lnTo>
                    <a:pt x="1607" y="700"/>
                  </a:lnTo>
                  <a:lnTo>
                    <a:pt x="1631" y="675"/>
                  </a:lnTo>
                  <a:lnTo>
                    <a:pt x="1658" y="669"/>
                  </a:lnTo>
                  <a:lnTo>
                    <a:pt x="1672" y="654"/>
                  </a:lnTo>
                  <a:lnTo>
                    <a:pt x="1666" y="649"/>
                  </a:lnTo>
                  <a:lnTo>
                    <a:pt x="1672" y="649"/>
                  </a:lnTo>
                  <a:lnTo>
                    <a:pt x="1666" y="645"/>
                  </a:lnTo>
                  <a:lnTo>
                    <a:pt x="1671" y="643"/>
                  </a:lnTo>
                  <a:lnTo>
                    <a:pt x="1669" y="634"/>
                  </a:lnTo>
                  <a:lnTo>
                    <a:pt x="1662" y="629"/>
                  </a:lnTo>
                  <a:lnTo>
                    <a:pt x="1671" y="629"/>
                  </a:lnTo>
                  <a:lnTo>
                    <a:pt x="1666" y="622"/>
                  </a:lnTo>
                  <a:lnTo>
                    <a:pt x="1669" y="621"/>
                  </a:lnTo>
                  <a:lnTo>
                    <a:pt x="1653" y="614"/>
                  </a:lnTo>
                  <a:lnTo>
                    <a:pt x="1647" y="625"/>
                  </a:lnTo>
                  <a:lnTo>
                    <a:pt x="1647" y="604"/>
                  </a:lnTo>
                  <a:lnTo>
                    <a:pt x="1636" y="606"/>
                  </a:lnTo>
                  <a:lnTo>
                    <a:pt x="1642" y="607"/>
                  </a:lnTo>
                  <a:lnTo>
                    <a:pt x="1627" y="609"/>
                  </a:lnTo>
                  <a:lnTo>
                    <a:pt x="1603" y="628"/>
                  </a:lnTo>
                  <a:lnTo>
                    <a:pt x="1604" y="621"/>
                  </a:lnTo>
                  <a:lnTo>
                    <a:pt x="1592" y="616"/>
                  </a:lnTo>
                  <a:lnTo>
                    <a:pt x="1595" y="614"/>
                  </a:lnTo>
                  <a:lnTo>
                    <a:pt x="1605" y="619"/>
                  </a:lnTo>
                  <a:lnTo>
                    <a:pt x="1608" y="613"/>
                  </a:lnTo>
                  <a:lnTo>
                    <a:pt x="1627" y="606"/>
                  </a:lnTo>
                  <a:lnTo>
                    <a:pt x="1617" y="607"/>
                  </a:lnTo>
                  <a:lnTo>
                    <a:pt x="1646" y="595"/>
                  </a:lnTo>
                  <a:lnTo>
                    <a:pt x="1637" y="584"/>
                  </a:lnTo>
                  <a:lnTo>
                    <a:pt x="1631" y="589"/>
                  </a:lnTo>
                  <a:lnTo>
                    <a:pt x="1625" y="588"/>
                  </a:lnTo>
                  <a:lnTo>
                    <a:pt x="1619" y="578"/>
                  </a:lnTo>
                  <a:lnTo>
                    <a:pt x="1612" y="587"/>
                  </a:lnTo>
                  <a:lnTo>
                    <a:pt x="1614" y="578"/>
                  </a:lnTo>
                  <a:lnTo>
                    <a:pt x="1612" y="575"/>
                  </a:lnTo>
                  <a:lnTo>
                    <a:pt x="1600" y="577"/>
                  </a:lnTo>
                  <a:lnTo>
                    <a:pt x="1604" y="572"/>
                  </a:lnTo>
                  <a:lnTo>
                    <a:pt x="1603" y="564"/>
                  </a:lnTo>
                  <a:lnTo>
                    <a:pt x="1588" y="561"/>
                  </a:lnTo>
                  <a:lnTo>
                    <a:pt x="1587" y="552"/>
                  </a:lnTo>
                  <a:lnTo>
                    <a:pt x="1579" y="552"/>
                  </a:lnTo>
                  <a:lnTo>
                    <a:pt x="1581" y="550"/>
                  </a:lnTo>
                  <a:lnTo>
                    <a:pt x="1578" y="545"/>
                  </a:lnTo>
                  <a:lnTo>
                    <a:pt x="1581" y="542"/>
                  </a:lnTo>
                  <a:lnTo>
                    <a:pt x="1564" y="541"/>
                  </a:lnTo>
                  <a:lnTo>
                    <a:pt x="1575" y="538"/>
                  </a:lnTo>
                  <a:lnTo>
                    <a:pt x="1573" y="536"/>
                  </a:lnTo>
                  <a:lnTo>
                    <a:pt x="1581" y="539"/>
                  </a:lnTo>
                  <a:lnTo>
                    <a:pt x="1581" y="536"/>
                  </a:lnTo>
                  <a:lnTo>
                    <a:pt x="1586" y="530"/>
                  </a:lnTo>
                  <a:lnTo>
                    <a:pt x="1579" y="518"/>
                  </a:lnTo>
                  <a:lnTo>
                    <a:pt x="1571" y="519"/>
                  </a:lnTo>
                  <a:lnTo>
                    <a:pt x="1580" y="515"/>
                  </a:lnTo>
                  <a:lnTo>
                    <a:pt x="1574" y="506"/>
                  </a:lnTo>
                  <a:lnTo>
                    <a:pt x="1569" y="506"/>
                  </a:lnTo>
                  <a:lnTo>
                    <a:pt x="1573" y="503"/>
                  </a:lnTo>
                  <a:lnTo>
                    <a:pt x="1569" y="499"/>
                  </a:lnTo>
                  <a:lnTo>
                    <a:pt x="1560" y="501"/>
                  </a:lnTo>
                  <a:lnTo>
                    <a:pt x="1569" y="492"/>
                  </a:lnTo>
                  <a:lnTo>
                    <a:pt x="1554" y="490"/>
                  </a:lnTo>
                  <a:lnTo>
                    <a:pt x="1565" y="485"/>
                  </a:lnTo>
                  <a:lnTo>
                    <a:pt x="1559" y="480"/>
                  </a:lnTo>
                  <a:lnTo>
                    <a:pt x="1560" y="473"/>
                  </a:lnTo>
                  <a:lnTo>
                    <a:pt x="1545" y="475"/>
                  </a:lnTo>
                  <a:lnTo>
                    <a:pt x="1558" y="468"/>
                  </a:lnTo>
                  <a:lnTo>
                    <a:pt x="1548" y="462"/>
                  </a:lnTo>
                  <a:lnTo>
                    <a:pt x="1552" y="459"/>
                  </a:lnTo>
                  <a:lnTo>
                    <a:pt x="1546" y="458"/>
                  </a:lnTo>
                  <a:lnTo>
                    <a:pt x="1545" y="448"/>
                  </a:lnTo>
                  <a:lnTo>
                    <a:pt x="1540" y="448"/>
                  </a:lnTo>
                  <a:lnTo>
                    <a:pt x="1542" y="444"/>
                  </a:lnTo>
                  <a:lnTo>
                    <a:pt x="1540" y="436"/>
                  </a:lnTo>
                  <a:lnTo>
                    <a:pt x="1535" y="436"/>
                  </a:lnTo>
                  <a:lnTo>
                    <a:pt x="1525" y="453"/>
                  </a:lnTo>
                  <a:lnTo>
                    <a:pt x="1529" y="461"/>
                  </a:lnTo>
                  <a:lnTo>
                    <a:pt x="1522" y="466"/>
                  </a:lnTo>
                  <a:lnTo>
                    <a:pt x="1523" y="470"/>
                  </a:lnTo>
                  <a:lnTo>
                    <a:pt x="1521" y="477"/>
                  </a:lnTo>
                  <a:lnTo>
                    <a:pt x="1516" y="477"/>
                  </a:lnTo>
                  <a:lnTo>
                    <a:pt x="1521" y="484"/>
                  </a:lnTo>
                  <a:lnTo>
                    <a:pt x="1517" y="491"/>
                  </a:lnTo>
                  <a:lnTo>
                    <a:pt x="1517" y="483"/>
                  </a:lnTo>
                  <a:lnTo>
                    <a:pt x="1510" y="479"/>
                  </a:lnTo>
                  <a:lnTo>
                    <a:pt x="1507" y="490"/>
                  </a:lnTo>
                  <a:lnTo>
                    <a:pt x="1493" y="500"/>
                  </a:lnTo>
                  <a:lnTo>
                    <a:pt x="1490" y="491"/>
                  </a:lnTo>
                  <a:lnTo>
                    <a:pt x="1488" y="493"/>
                  </a:lnTo>
                  <a:lnTo>
                    <a:pt x="1490" y="485"/>
                  </a:lnTo>
                  <a:lnTo>
                    <a:pt x="1483" y="500"/>
                  </a:lnTo>
                  <a:lnTo>
                    <a:pt x="1474" y="501"/>
                  </a:lnTo>
                  <a:lnTo>
                    <a:pt x="1483" y="499"/>
                  </a:lnTo>
                  <a:lnTo>
                    <a:pt x="1484" y="491"/>
                  </a:lnTo>
                  <a:lnTo>
                    <a:pt x="1481" y="478"/>
                  </a:lnTo>
                  <a:lnTo>
                    <a:pt x="1452" y="484"/>
                  </a:lnTo>
                  <a:lnTo>
                    <a:pt x="1460" y="480"/>
                  </a:lnTo>
                  <a:lnTo>
                    <a:pt x="1457" y="475"/>
                  </a:lnTo>
                  <a:lnTo>
                    <a:pt x="1463" y="479"/>
                  </a:lnTo>
                  <a:lnTo>
                    <a:pt x="1469" y="475"/>
                  </a:lnTo>
                  <a:lnTo>
                    <a:pt x="1465" y="470"/>
                  </a:lnTo>
                  <a:lnTo>
                    <a:pt x="1469" y="466"/>
                  </a:lnTo>
                  <a:lnTo>
                    <a:pt x="1463" y="465"/>
                  </a:lnTo>
                  <a:lnTo>
                    <a:pt x="1467" y="457"/>
                  </a:lnTo>
                  <a:lnTo>
                    <a:pt x="1463" y="448"/>
                  </a:lnTo>
                  <a:lnTo>
                    <a:pt x="1439" y="444"/>
                  </a:lnTo>
                  <a:lnTo>
                    <a:pt x="1467" y="444"/>
                  </a:lnTo>
                  <a:lnTo>
                    <a:pt x="1462" y="431"/>
                  </a:lnTo>
                  <a:lnTo>
                    <a:pt x="1467" y="418"/>
                  </a:lnTo>
                  <a:lnTo>
                    <a:pt x="1463" y="413"/>
                  </a:lnTo>
                  <a:lnTo>
                    <a:pt x="1457" y="420"/>
                  </a:lnTo>
                  <a:lnTo>
                    <a:pt x="1454" y="413"/>
                  </a:lnTo>
                  <a:lnTo>
                    <a:pt x="1434" y="410"/>
                  </a:lnTo>
                  <a:lnTo>
                    <a:pt x="1430" y="401"/>
                  </a:lnTo>
                  <a:lnTo>
                    <a:pt x="1435" y="397"/>
                  </a:lnTo>
                  <a:lnTo>
                    <a:pt x="1424" y="399"/>
                  </a:lnTo>
                  <a:lnTo>
                    <a:pt x="1426" y="395"/>
                  </a:lnTo>
                  <a:lnTo>
                    <a:pt x="1424" y="387"/>
                  </a:lnTo>
                  <a:lnTo>
                    <a:pt x="1416" y="390"/>
                  </a:lnTo>
                  <a:lnTo>
                    <a:pt x="1419" y="378"/>
                  </a:lnTo>
                  <a:lnTo>
                    <a:pt x="1400" y="369"/>
                  </a:lnTo>
                  <a:lnTo>
                    <a:pt x="1382" y="378"/>
                  </a:lnTo>
                  <a:lnTo>
                    <a:pt x="1346" y="365"/>
                  </a:lnTo>
                  <a:lnTo>
                    <a:pt x="1337" y="376"/>
                  </a:lnTo>
                  <a:lnTo>
                    <a:pt x="1338" y="390"/>
                  </a:lnTo>
                  <a:lnTo>
                    <a:pt x="1347" y="393"/>
                  </a:lnTo>
                  <a:lnTo>
                    <a:pt x="1337" y="421"/>
                  </a:lnTo>
                  <a:lnTo>
                    <a:pt x="1346" y="423"/>
                  </a:lnTo>
                  <a:lnTo>
                    <a:pt x="1341" y="425"/>
                  </a:lnTo>
                  <a:lnTo>
                    <a:pt x="1343" y="433"/>
                  </a:lnTo>
                  <a:lnTo>
                    <a:pt x="1346" y="440"/>
                  </a:lnTo>
                  <a:lnTo>
                    <a:pt x="1344" y="446"/>
                  </a:lnTo>
                  <a:lnTo>
                    <a:pt x="1351" y="446"/>
                  </a:lnTo>
                  <a:lnTo>
                    <a:pt x="1347" y="454"/>
                  </a:lnTo>
                  <a:lnTo>
                    <a:pt x="1353" y="458"/>
                  </a:lnTo>
                  <a:lnTo>
                    <a:pt x="1344" y="457"/>
                  </a:lnTo>
                  <a:lnTo>
                    <a:pt x="1344" y="466"/>
                  </a:lnTo>
                  <a:lnTo>
                    <a:pt x="1328" y="473"/>
                  </a:lnTo>
                  <a:lnTo>
                    <a:pt x="1328" y="480"/>
                  </a:lnTo>
                  <a:lnTo>
                    <a:pt x="1346" y="496"/>
                  </a:lnTo>
                  <a:lnTo>
                    <a:pt x="1356" y="531"/>
                  </a:lnTo>
                  <a:lnTo>
                    <a:pt x="1358" y="550"/>
                  </a:lnTo>
                  <a:lnTo>
                    <a:pt x="1363" y="542"/>
                  </a:lnTo>
                  <a:lnTo>
                    <a:pt x="1366" y="551"/>
                  </a:lnTo>
                  <a:lnTo>
                    <a:pt x="1358" y="552"/>
                  </a:lnTo>
                  <a:lnTo>
                    <a:pt x="1345" y="575"/>
                  </a:lnTo>
                  <a:lnTo>
                    <a:pt x="1315" y="596"/>
                  </a:lnTo>
                  <a:lnTo>
                    <a:pt x="1325" y="611"/>
                  </a:lnTo>
                  <a:lnTo>
                    <a:pt x="1328" y="647"/>
                  </a:lnTo>
                  <a:lnTo>
                    <a:pt x="1334" y="652"/>
                  </a:lnTo>
                  <a:lnTo>
                    <a:pt x="1340" y="654"/>
                  </a:lnTo>
                  <a:lnTo>
                    <a:pt x="1333" y="654"/>
                  </a:lnTo>
                  <a:lnTo>
                    <a:pt x="1324" y="662"/>
                  </a:lnTo>
                  <a:lnTo>
                    <a:pt x="1330" y="671"/>
                  </a:lnTo>
                  <a:lnTo>
                    <a:pt x="1326" y="677"/>
                  </a:lnTo>
                  <a:lnTo>
                    <a:pt x="1318" y="671"/>
                  </a:lnTo>
                  <a:lnTo>
                    <a:pt x="1315" y="673"/>
                  </a:lnTo>
                  <a:lnTo>
                    <a:pt x="1313" y="673"/>
                  </a:lnTo>
                  <a:lnTo>
                    <a:pt x="1314" y="681"/>
                  </a:lnTo>
                  <a:lnTo>
                    <a:pt x="1304" y="675"/>
                  </a:lnTo>
                  <a:lnTo>
                    <a:pt x="1293" y="682"/>
                  </a:lnTo>
                  <a:lnTo>
                    <a:pt x="1301" y="673"/>
                  </a:lnTo>
                  <a:lnTo>
                    <a:pt x="1299" y="665"/>
                  </a:lnTo>
                  <a:lnTo>
                    <a:pt x="1292" y="658"/>
                  </a:lnTo>
                  <a:lnTo>
                    <a:pt x="1278" y="658"/>
                  </a:lnTo>
                  <a:lnTo>
                    <a:pt x="1288" y="652"/>
                  </a:lnTo>
                  <a:lnTo>
                    <a:pt x="1275" y="635"/>
                  </a:lnTo>
                  <a:lnTo>
                    <a:pt x="1276" y="628"/>
                  </a:lnTo>
                  <a:lnTo>
                    <a:pt x="1274" y="606"/>
                  </a:lnTo>
                  <a:lnTo>
                    <a:pt x="1275" y="581"/>
                  </a:lnTo>
                  <a:lnTo>
                    <a:pt x="1230" y="577"/>
                  </a:lnTo>
                  <a:lnTo>
                    <a:pt x="1224" y="589"/>
                  </a:lnTo>
                  <a:lnTo>
                    <a:pt x="1230" y="575"/>
                  </a:lnTo>
                  <a:lnTo>
                    <a:pt x="1221" y="567"/>
                  </a:lnTo>
                  <a:lnTo>
                    <a:pt x="1197" y="559"/>
                  </a:lnTo>
                  <a:lnTo>
                    <a:pt x="1188" y="545"/>
                  </a:lnTo>
                  <a:lnTo>
                    <a:pt x="1172" y="537"/>
                  </a:lnTo>
                  <a:lnTo>
                    <a:pt x="1144" y="523"/>
                  </a:lnTo>
                  <a:lnTo>
                    <a:pt x="1118" y="533"/>
                  </a:lnTo>
                  <a:lnTo>
                    <a:pt x="1124" y="526"/>
                  </a:lnTo>
                  <a:lnTo>
                    <a:pt x="1124" y="518"/>
                  </a:lnTo>
                  <a:lnTo>
                    <a:pt x="1112" y="483"/>
                  </a:lnTo>
                  <a:lnTo>
                    <a:pt x="1099" y="481"/>
                  </a:lnTo>
                  <a:lnTo>
                    <a:pt x="1097" y="490"/>
                  </a:lnTo>
                  <a:lnTo>
                    <a:pt x="1094" y="479"/>
                  </a:lnTo>
                  <a:lnTo>
                    <a:pt x="1087" y="473"/>
                  </a:lnTo>
                  <a:lnTo>
                    <a:pt x="1088" y="468"/>
                  </a:lnTo>
                  <a:lnTo>
                    <a:pt x="1090" y="431"/>
                  </a:lnTo>
                  <a:lnTo>
                    <a:pt x="1099" y="410"/>
                  </a:lnTo>
                  <a:lnTo>
                    <a:pt x="1093" y="403"/>
                  </a:lnTo>
                  <a:lnTo>
                    <a:pt x="1107" y="395"/>
                  </a:lnTo>
                  <a:lnTo>
                    <a:pt x="1111" y="390"/>
                  </a:lnTo>
                  <a:lnTo>
                    <a:pt x="1110" y="387"/>
                  </a:lnTo>
                  <a:lnTo>
                    <a:pt x="1112" y="387"/>
                  </a:lnTo>
                  <a:lnTo>
                    <a:pt x="1117" y="378"/>
                  </a:lnTo>
                  <a:lnTo>
                    <a:pt x="1122" y="382"/>
                  </a:lnTo>
                  <a:lnTo>
                    <a:pt x="1122" y="365"/>
                  </a:lnTo>
                  <a:lnTo>
                    <a:pt x="1132" y="365"/>
                  </a:lnTo>
                  <a:lnTo>
                    <a:pt x="1126" y="364"/>
                  </a:lnTo>
                  <a:lnTo>
                    <a:pt x="1125" y="357"/>
                  </a:lnTo>
                  <a:lnTo>
                    <a:pt x="1139" y="358"/>
                  </a:lnTo>
                  <a:lnTo>
                    <a:pt x="1151" y="351"/>
                  </a:lnTo>
                  <a:lnTo>
                    <a:pt x="1148" y="335"/>
                  </a:lnTo>
                  <a:lnTo>
                    <a:pt x="1135" y="328"/>
                  </a:lnTo>
                  <a:lnTo>
                    <a:pt x="1126" y="334"/>
                  </a:lnTo>
                  <a:lnTo>
                    <a:pt x="1129" y="329"/>
                  </a:lnTo>
                  <a:lnTo>
                    <a:pt x="1112" y="321"/>
                  </a:lnTo>
                  <a:lnTo>
                    <a:pt x="1111" y="325"/>
                  </a:lnTo>
                  <a:lnTo>
                    <a:pt x="1107" y="321"/>
                  </a:lnTo>
                  <a:lnTo>
                    <a:pt x="1110" y="317"/>
                  </a:lnTo>
                  <a:lnTo>
                    <a:pt x="1129" y="326"/>
                  </a:lnTo>
                  <a:lnTo>
                    <a:pt x="1138" y="325"/>
                  </a:lnTo>
                  <a:lnTo>
                    <a:pt x="1151" y="335"/>
                  </a:lnTo>
                  <a:lnTo>
                    <a:pt x="1159" y="329"/>
                  </a:lnTo>
                  <a:lnTo>
                    <a:pt x="1161" y="319"/>
                  </a:lnTo>
                  <a:lnTo>
                    <a:pt x="1164" y="319"/>
                  </a:lnTo>
                  <a:lnTo>
                    <a:pt x="1163" y="315"/>
                  </a:lnTo>
                  <a:lnTo>
                    <a:pt x="1174" y="318"/>
                  </a:lnTo>
                  <a:lnTo>
                    <a:pt x="1189" y="312"/>
                  </a:lnTo>
                  <a:lnTo>
                    <a:pt x="1207" y="277"/>
                  </a:lnTo>
                  <a:lnTo>
                    <a:pt x="1175" y="272"/>
                  </a:lnTo>
                  <a:lnTo>
                    <a:pt x="1157" y="254"/>
                  </a:lnTo>
                  <a:lnTo>
                    <a:pt x="1159" y="252"/>
                  </a:lnTo>
                  <a:lnTo>
                    <a:pt x="1181" y="259"/>
                  </a:lnTo>
                  <a:lnTo>
                    <a:pt x="1190" y="272"/>
                  </a:lnTo>
                  <a:lnTo>
                    <a:pt x="1201" y="271"/>
                  </a:lnTo>
                  <a:lnTo>
                    <a:pt x="1220" y="245"/>
                  </a:lnTo>
                  <a:lnTo>
                    <a:pt x="1220" y="238"/>
                  </a:lnTo>
                  <a:lnTo>
                    <a:pt x="1210" y="235"/>
                  </a:lnTo>
                  <a:lnTo>
                    <a:pt x="1214" y="227"/>
                  </a:lnTo>
                  <a:lnTo>
                    <a:pt x="1230" y="227"/>
                  </a:lnTo>
                  <a:lnTo>
                    <a:pt x="1233" y="239"/>
                  </a:lnTo>
                  <a:lnTo>
                    <a:pt x="1242" y="240"/>
                  </a:lnTo>
                  <a:lnTo>
                    <a:pt x="1243" y="234"/>
                  </a:lnTo>
                  <a:lnTo>
                    <a:pt x="1254" y="241"/>
                  </a:lnTo>
                  <a:lnTo>
                    <a:pt x="1248" y="227"/>
                  </a:lnTo>
                  <a:lnTo>
                    <a:pt x="1250" y="222"/>
                  </a:lnTo>
                  <a:lnTo>
                    <a:pt x="1260" y="234"/>
                  </a:lnTo>
                  <a:lnTo>
                    <a:pt x="1270" y="227"/>
                  </a:lnTo>
                  <a:lnTo>
                    <a:pt x="1291" y="202"/>
                  </a:lnTo>
                  <a:lnTo>
                    <a:pt x="1291" y="192"/>
                  </a:lnTo>
                  <a:lnTo>
                    <a:pt x="1278" y="176"/>
                  </a:lnTo>
                  <a:lnTo>
                    <a:pt x="1280" y="164"/>
                  </a:lnTo>
                  <a:lnTo>
                    <a:pt x="1276" y="167"/>
                  </a:lnTo>
                  <a:lnTo>
                    <a:pt x="1276" y="160"/>
                  </a:lnTo>
                  <a:lnTo>
                    <a:pt x="1270" y="154"/>
                  </a:lnTo>
                  <a:lnTo>
                    <a:pt x="1278" y="151"/>
                  </a:lnTo>
                  <a:lnTo>
                    <a:pt x="1281" y="156"/>
                  </a:lnTo>
                  <a:lnTo>
                    <a:pt x="1288" y="149"/>
                  </a:lnTo>
                  <a:lnTo>
                    <a:pt x="1291" y="140"/>
                  </a:lnTo>
                  <a:lnTo>
                    <a:pt x="1280" y="137"/>
                  </a:lnTo>
                  <a:lnTo>
                    <a:pt x="1291" y="127"/>
                  </a:lnTo>
                  <a:lnTo>
                    <a:pt x="1276" y="123"/>
                  </a:lnTo>
                  <a:lnTo>
                    <a:pt x="1269" y="114"/>
                  </a:lnTo>
                  <a:lnTo>
                    <a:pt x="1272" y="111"/>
                  </a:lnTo>
                  <a:lnTo>
                    <a:pt x="1269" y="103"/>
                  </a:lnTo>
                  <a:lnTo>
                    <a:pt x="1228" y="98"/>
                  </a:lnTo>
                  <a:lnTo>
                    <a:pt x="1228" y="119"/>
                  </a:lnTo>
                  <a:lnTo>
                    <a:pt x="1240" y="130"/>
                  </a:lnTo>
                  <a:lnTo>
                    <a:pt x="1233" y="137"/>
                  </a:lnTo>
                  <a:lnTo>
                    <a:pt x="1240" y="141"/>
                  </a:lnTo>
                  <a:lnTo>
                    <a:pt x="1224" y="145"/>
                  </a:lnTo>
                  <a:lnTo>
                    <a:pt x="1223" y="158"/>
                  </a:lnTo>
                  <a:lnTo>
                    <a:pt x="1213" y="183"/>
                  </a:lnTo>
                  <a:lnTo>
                    <a:pt x="1211" y="195"/>
                  </a:lnTo>
                  <a:lnTo>
                    <a:pt x="1201" y="202"/>
                  </a:lnTo>
                  <a:lnTo>
                    <a:pt x="1184" y="175"/>
                  </a:lnTo>
                  <a:lnTo>
                    <a:pt x="1187" y="156"/>
                  </a:lnTo>
                  <a:lnTo>
                    <a:pt x="1188" y="161"/>
                  </a:lnTo>
                  <a:lnTo>
                    <a:pt x="1192" y="160"/>
                  </a:lnTo>
                  <a:lnTo>
                    <a:pt x="1187" y="137"/>
                  </a:lnTo>
                  <a:lnTo>
                    <a:pt x="1175" y="121"/>
                  </a:lnTo>
                  <a:lnTo>
                    <a:pt x="1168" y="122"/>
                  </a:lnTo>
                  <a:lnTo>
                    <a:pt x="1164" y="130"/>
                  </a:lnTo>
                  <a:lnTo>
                    <a:pt x="1164" y="144"/>
                  </a:lnTo>
                  <a:lnTo>
                    <a:pt x="1156" y="160"/>
                  </a:lnTo>
                  <a:lnTo>
                    <a:pt x="1152" y="151"/>
                  </a:lnTo>
                  <a:lnTo>
                    <a:pt x="1155" y="140"/>
                  </a:lnTo>
                  <a:lnTo>
                    <a:pt x="1140" y="116"/>
                  </a:lnTo>
                  <a:lnTo>
                    <a:pt x="1146" y="118"/>
                  </a:lnTo>
                  <a:lnTo>
                    <a:pt x="1148" y="110"/>
                  </a:lnTo>
                  <a:lnTo>
                    <a:pt x="1120" y="104"/>
                  </a:lnTo>
                  <a:lnTo>
                    <a:pt x="1132" y="91"/>
                  </a:lnTo>
                  <a:lnTo>
                    <a:pt x="1125" y="82"/>
                  </a:lnTo>
                  <a:lnTo>
                    <a:pt x="1138" y="84"/>
                  </a:lnTo>
                  <a:lnTo>
                    <a:pt x="1117" y="53"/>
                  </a:lnTo>
                  <a:lnTo>
                    <a:pt x="1116" y="31"/>
                  </a:lnTo>
                  <a:lnTo>
                    <a:pt x="1106" y="20"/>
                  </a:lnTo>
                  <a:lnTo>
                    <a:pt x="1105" y="9"/>
                  </a:lnTo>
                  <a:lnTo>
                    <a:pt x="1094" y="13"/>
                  </a:lnTo>
                  <a:lnTo>
                    <a:pt x="1092" y="8"/>
                  </a:lnTo>
                  <a:lnTo>
                    <a:pt x="1094" y="2"/>
                  </a:lnTo>
                  <a:lnTo>
                    <a:pt x="1086" y="0"/>
                  </a:lnTo>
                  <a:lnTo>
                    <a:pt x="1074" y="18"/>
                  </a:lnTo>
                  <a:lnTo>
                    <a:pt x="1079" y="24"/>
                  </a:lnTo>
                  <a:lnTo>
                    <a:pt x="1078" y="33"/>
                  </a:lnTo>
                  <a:lnTo>
                    <a:pt x="1072" y="27"/>
                  </a:lnTo>
                  <a:lnTo>
                    <a:pt x="1066" y="33"/>
                  </a:lnTo>
                  <a:lnTo>
                    <a:pt x="1065" y="53"/>
                  </a:lnTo>
                  <a:lnTo>
                    <a:pt x="1072" y="60"/>
                  </a:lnTo>
                  <a:lnTo>
                    <a:pt x="1062" y="72"/>
                  </a:lnTo>
                  <a:lnTo>
                    <a:pt x="1062" y="85"/>
                  </a:lnTo>
                  <a:lnTo>
                    <a:pt x="1094" y="114"/>
                  </a:lnTo>
                  <a:lnTo>
                    <a:pt x="1105" y="110"/>
                  </a:lnTo>
                  <a:lnTo>
                    <a:pt x="1106" y="121"/>
                  </a:lnTo>
                  <a:lnTo>
                    <a:pt x="1103" y="123"/>
                  </a:lnTo>
                  <a:lnTo>
                    <a:pt x="1104" y="115"/>
                  </a:lnTo>
                  <a:lnTo>
                    <a:pt x="1099" y="116"/>
                  </a:lnTo>
                  <a:lnTo>
                    <a:pt x="1091" y="142"/>
                  </a:lnTo>
                  <a:lnTo>
                    <a:pt x="1099" y="141"/>
                  </a:lnTo>
                  <a:lnTo>
                    <a:pt x="1103" y="137"/>
                  </a:lnTo>
                  <a:lnTo>
                    <a:pt x="1099" y="137"/>
                  </a:lnTo>
                  <a:lnTo>
                    <a:pt x="1101" y="131"/>
                  </a:lnTo>
                  <a:lnTo>
                    <a:pt x="1107" y="148"/>
                  </a:lnTo>
                  <a:lnTo>
                    <a:pt x="1091" y="169"/>
                  </a:lnTo>
                  <a:lnTo>
                    <a:pt x="1077" y="168"/>
                  </a:lnTo>
                  <a:lnTo>
                    <a:pt x="1079" y="173"/>
                  </a:lnTo>
                  <a:lnTo>
                    <a:pt x="1077" y="182"/>
                  </a:lnTo>
                  <a:lnTo>
                    <a:pt x="1081" y="189"/>
                  </a:lnTo>
                  <a:lnTo>
                    <a:pt x="1081" y="202"/>
                  </a:lnTo>
                  <a:lnTo>
                    <a:pt x="1077" y="199"/>
                  </a:lnTo>
                  <a:lnTo>
                    <a:pt x="1079" y="195"/>
                  </a:lnTo>
                  <a:lnTo>
                    <a:pt x="1072" y="199"/>
                  </a:lnTo>
                  <a:lnTo>
                    <a:pt x="1072" y="192"/>
                  </a:lnTo>
                  <a:lnTo>
                    <a:pt x="1066" y="189"/>
                  </a:lnTo>
                  <a:lnTo>
                    <a:pt x="1072" y="185"/>
                  </a:lnTo>
                  <a:lnTo>
                    <a:pt x="1070" y="181"/>
                  </a:lnTo>
                  <a:lnTo>
                    <a:pt x="1072" y="162"/>
                  </a:lnTo>
                  <a:lnTo>
                    <a:pt x="1061" y="170"/>
                  </a:lnTo>
                  <a:lnTo>
                    <a:pt x="1064" y="160"/>
                  </a:lnTo>
                  <a:lnTo>
                    <a:pt x="1058" y="160"/>
                  </a:lnTo>
                  <a:lnTo>
                    <a:pt x="1052" y="151"/>
                  </a:lnTo>
                  <a:lnTo>
                    <a:pt x="1032" y="156"/>
                  </a:lnTo>
                  <a:lnTo>
                    <a:pt x="1041" y="176"/>
                  </a:lnTo>
                  <a:lnTo>
                    <a:pt x="1054" y="175"/>
                  </a:lnTo>
                  <a:lnTo>
                    <a:pt x="1054" y="183"/>
                  </a:lnTo>
                  <a:lnTo>
                    <a:pt x="1052" y="187"/>
                  </a:lnTo>
                  <a:lnTo>
                    <a:pt x="1039" y="181"/>
                  </a:lnTo>
                  <a:lnTo>
                    <a:pt x="1034" y="168"/>
                  </a:lnTo>
                  <a:lnTo>
                    <a:pt x="1031" y="170"/>
                  </a:lnTo>
                  <a:lnTo>
                    <a:pt x="1036" y="181"/>
                  </a:lnTo>
                  <a:lnTo>
                    <a:pt x="1007" y="176"/>
                  </a:lnTo>
                  <a:lnTo>
                    <a:pt x="979" y="183"/>
                  </a:lnTo>
                  <a:lnTo>
                    <a:pt x="963" y="167"/>
                  </a:lnTo>
                  <a:lnTo>
                    <a:pt x="942" y="167"/>
                  </a:lnTo>
                  <a:lnTo>
                    <a:pt x="942" y="162"/>
                  </a:lnTo>
                  <a:lnTo>
                    <a:pt x="929" y="153"/>
                  </a:lnTo>
                  <a:lnTo>
                    <a:pt x="931" y="151"/>
                  </a:lnTo>
                  <a:lnTo>
                    <a:pt x="927" y="143"/>
                  </a:lnTo>
                  <a:lnTo>
                    <a:pt x="929" y="141"/>
                  </a:lnTo>
                  <a:lnTo>
                    <a:pt x="919" y="131"/>
                  </a:lnTo>
                  <a:lnTo>
                    <a:pt x="888" y="145"/>
                  </a:lnTo>
                  <a:lnTo>
                    <a:pt x="880" y="156"/>
                  </a:lnTo>
                  <a:lnTo>
                    <a:pt x="893" y="167"/>
                  </a:lnTo>
                  <a:lnTo>
                    <a:pt x="898" y="164"/>
                  </a:lnTo>
                  <a:lnTo>
                    <a:pt x="893" y="160"/>
                  </a:lnTo>
                  <a:lnTo>
                    <a:pt x="899" y="156"/>
                  </a:lnTo>
                  <a:lnTo>
                    <a:pt x="912" y="160"/>
                  </a:lnTo>
                  <a:lnTo>
                    <a:pt x="914" y="154"/>
                  </a:lnTo>
                  <a:lnTo>
                    <a:pt x="911" y="151"/>
                  </a:lnTo>
                  <a:lnTo>
                    <a:pt x="915" y="151"/>
                  </a:lnTo>
                  <a:lnTo>
                    <a:pt x="914" y="148"/>
                  </a:lnTo>
                  <a:lnTo>
                    <a:pt x="924" y="144"/>
                  </a:lnTo>
                  <a:lnTo>
                    <a:pt x="916" y="162"/>
                  </a:lnTo>
                  <a:lnTo>
                    <a:pt x="898" y="168"/>
                  </a:lnTo>
                  <a:lnTo>
                    <a:pt x="896" y="173"/>
                  </a:lnTo>
                  <a:lnTo>
                    <a:pt x="898" y="174"/>
                  </a:lnTo>
                  <a:lnTo>
                    <a:pt x="891" y="181"/>
                  </a:lnTo>
                  <a:lnTo>
                    <a:pt x="904" y="206"/>
                  </a:lnTo>
                  <a:lnTo>
                    <a:pt x="902" y="207"/>
                  </a:lnTo>
                  <a:lnTo>
                    <a:pt x="904" y="213"/>
                  </a:lnTo>
                  <a:lnTo>
                    <a:pt x="896" y="214"/>
                  </a:lnTo>
                  <a:lnTo>
                    <a:pt x="896" y="220"/>
                  </a:lnTo>
                  <a:lnTo>
                    <a:pt x="886" y="207"/>
                  </a:lnTo>
                  <a:lnTo>
                    <a:pt x="896" y="205"/>
                  </a:lnTo>
                  <a:lnTo>
                    <a:pt x="892" y="198"/>
                  </a:lnTo>
                  <a:lnTo>
                    <a:pt x="884" y="194"/>
                  </a:lnTo>
                  <a:lnTo>
                    <a:pt x="883" y="185"/>
                  </a:lnTo>
                  <a:lnTo>
                    <a:pt x="880" y="194"/>
                  </a:lnTo>
                  <a:lnTo>
                    <a:pt x="878" y="181"/>
                  </a:lnTo>
                  <a:lnTo>
                    <a:pt x="866" y="181"/>
                  </a:lnTo>
                  <a:lnTo>
                    <a:pt x="862" y="169"/>
                  </a:lnTo>
                  <a:lnTo>
                    <a:pt x="836" y="183"/>
                  </a:lnTo>
                  <a:lnTo>
                    <a:pt x="793" y="181"/>
                  </a:lnTo>
                  <a:lnTo>
                    <a:pt x="780" y="174"/>
                  </a:lnTo>
                  <a:lnTo>
                    <a:pt x="785" y="170"/>
                  </a:lnTo>
                  <a:lnTo>
                    <a:pt x="785" y="164"/>
                  </a:lnTo>
                  <a:lnTo>
                    <a:pt x="793" y="162"/>
                  </a:lnTo>
                  <a:lnTo>
                    <a:pt x="788" y="160"/>
                  </a:lnTo>
                  <a:lnTo>
                    <a:pt x="804" y="160"/>
                  </a:lnTo>
                  <a:lnTo>
                    <a:pt x="801" y="150"/>
                  </a:lnTo>
                  <a:lnTo>
                    <a:pt x="786" y="132"/>
                  </a:lnTo>
                  <a:lnTo>
                    <a:pt x="771" y="131"/>
                  </a:lnTo>
                  <a:lnTo>
                    <a:pt x="774" y="140"/>
                  </a:lnTo>
                  <a:lnTo>
                    <a:pt x="760" y="135"/>
                  </a:lnTo>
                  <a:lnTo>
                    <a:pt x="713" y="116"/>
                  </a:lnTo>
                  <a:lnTo>
                    <a:pt x="689" y="98"/>
                  </a:lnTo>
                  <a:lnTo>
                    <a:pt x="669" y="98"/>
                  </a:lnTo>
                  <a:lnTo>
                    <a:pt x="663" y="115"/>
                  </a:lnTo>
                  <a:lnTo>
                    <a:pt x="648" y="116"/>
                  </a:lnTo>
                  <a:lnTo>
                    <a:pt x="655" y="102"/>
                  </a:lnTo>
                  <a:lnTo>
                    <a:pt x="648" y="101"/>
                  </a:lnTo>
                  <a:lnTo>
                    <a:pt x="648" y="84"/>
                  </a:lnTo>
                  <a:lnTo>
                    <a:pt x="644" y="84"/>
                  </a:lnTo>
                  <a:lnTo>
                    <a:pt x="646" y="88"/>
                  </a:lnTo>
                  <a:lnTo>
                    <a:pt x="645" y="91"/>
                  </a:lnTo>
                  <a:lnTo>
                    <a:pt x="643" y="89"/>
                  </a:lnTo>
                  <a:lnTo>
                    <a:pt x="633" y="106"/>
                  </a:lnTo>
                  <a:lnTo>
                    <a:pt x="637" y="109"/>
                  </a:lnTo>
                  <a:lnTo>
                    <a:pt x="630" y="115"/>
                  </a:lnTo>
                  <a:lnTo>
                    <a:pt x="625" y="115"/>
                  </a:lnTo>
                  <a:lnTo>
                    <a:pt x="615" y="102"/>
                  </a:lnTo>
                  <a:lnTo>
                    <a:pt x="606" y="77"/>
                  </a:lnTo>
                  <a:lnTo>
                    <a:pt x="594" y="65"/>
                  </a:lnTo>
                  <a:lnTo>
                    <a:pt x="592" y="71"/>
                  </a:lnTo>
                  <a:lnTo>
                    <a:pt x="600" y="79"/>
                  </a:lnTo>
                  <a:lnTo>
                    <a:pt x="579" y="102"/>
                  </a:lnTo>
                  <a:lnTo>
                    <a:pt x="583" y="91"/>
                  </a:lnTo>
                  <a:lnTo>
                    <a:pt x="560" y="103"/>
                  </a:lnTo>
                  <a:lnTo>
                    <a:pt x="550" y="123"/>
                  </a:lnTo>
                  <a:lnTo>
                    <a:pt x="550" y="111"/>
                  </a:lnTo>
                  <a:lnTo>
                    <a:pt x="522" y="127"/>
                  </a:lnTo>
                  <a:lnTo>
                    <a:pt x="538" y="109"/>
                  </a:lnTo>
                  <a:lnTo>
                    <a:pt x="552" y="108"/>
                  </a:lnTo>
                  <a:lnTo>
                    <a:pt x="571" y="91"/>
                  </a:lnTo>
                  <a:lnTo>
                    <a:pt x="574" y="86"/>
                  </a:lnTo>
                  <a:lnTo>
                    <a:pt x="571" y="78"/>
                  </a:lnTo>
                  <a:lnTo>
                    <a:pt x="508" y="118"/>
                  </a:lnTo>
                  <a:lnTo>
                    <a:pt x="498" y="129"/>
                  </a:lnTo>
                  <a:lnTo>
                    <a:pt x="505" y="143"/>
                  </a:lnTo>
                  <a:lnTo>
                    <a:pt x="503" y="150"/>
                  </a:lnTo>
                  <a:lnTo>
                    <a:pt x="495" y="137"/>
                  </a:lnTo>
                  <a:lnTo>
                    <a:pt x="485" y="136"/>
                  </a:lnTo>
                  <a:lnTo>
                    <a:pt x="489" y="145"/>
                  </a:lnTo>
                  <a:lnTo>
                    <a:pt x="486" y="145"/>
                  </a:lnTo>
                  <a:lnTo>
                    <a:pt x="469" y="134"/>
                  </a:lnTo>
                  <a:lnTo>
                    <a:pt x="455" y="134"/>
                  </a:lnTo>
                  <a:lnTo>
                    <a:pt x="428" y="106"/>
                  </a:lnTo>
                  <a:lnTo>
                    <a:pt x="403" y="101"/>
                  </a:lnTo>
                  <a:lnTo>
                    <a:pt x="398" y="104"/>
                  </a:lnTo>
                  <a:lnTo>
                    <a:pt x="369" y="84"/>
                  </a:lnTo>
                  <a:lnTo>
                    <a:pt x="339" y="89"/>
                  </a:lnTo>
                  <a:lnTo>
                    <a:pt x="279" y="69"/>
                  </a:lnTo>
                  <a:lnTo>
                    <a:pt x="243" y="69"/>
                  </a:lnTo>
                  <a:lnTo>
                    <a:pt x="246" y="65"/>
                  </a:lnTo>
                  <a:lnTo>
                    <a:pt x="240" y="63"/>
                  </a:lnTo>
                  <a:lnTo>
                    <a:pt x="236" y="60"/>
                  </a:lnTo>
                  <a:lnTo>
                    <a:pt x="237" y="53"/>
                  </a:lnTo>
                  <a:lnTo>
                    <a:pt x="226" y="54"/>
                  </a:lnTo>
                  <a:lnTo>
                    <a:pt x="221" y="47"/>
                  </a:lnTo>
                  <a:lnTo>
                    <a:pt x="207" y="53"/>
                  </a:lnTo>
                  <a:lnTo>
                    <a:pt x="195" y="39"/>
                  </a:lnTo>
                  <a:lnTo>
                    <a:pt x="188" y="44"/>
                  </a:lnTo>
                  <a:lnTo>
                    <a:pt x="190" y="58"/>
                  </a:lnTo>
                  <a:lnTo>
                    <a:pt x="188" y="56"/>
                  </a:lnTo>
                  <a:lnTo>
                    <a:pt x="176" y="52"/>
                  </a:lnTo>
                  <a:lnTo>
                    <a:pt x="187" y="38"/>
                  </a:lnTo>
                  <a:lnTo>
                    <a:pt x="169" y="28"/>
                  </a:lnTo>
                  <a:lnTo>
                    <a:pt x="151" y="52"/>
                  </a:lnTo>
                  <a:lnTo>
                    <a:pt x="132" y="53"/>
                  </a:lnTo>
                  <a:lnTo>
                    <a:pt x="132" y="59"/>
                  </a:lnTo>
                  <a:lnTo>
                    <a:pt x="128" y="56"/>
                  </a:lnTo>
                  <a:lnTo>
                    <a:pt x="135" y="48"/>
                  </a:lnTo>
                  <a:lnTo>
                    <a:pt x="123" y="56"/>
                  </a:lnTo>
                  <a:lnTo>
                    <a:pt x="119" y="60"/>
                  </a:lnTo>
                  <a:lnTo>
                    <a:pt x="128" y="66"/>
                  </a:lnTo>
                  <a:lnTo>
                    <a:pt x="123" y="69"/>
                  </a:lnTo>
                  <a:lnTo>
                    <a:pt x="120" y="78"/>
                  </a:lnTo>
                  <a:lnTo>
                    <a:pt x="117" y="75"/>
                  </a:lnTo>
                  <a:lnTo>
                    <a:pt x="119" y="66"/>
                  </a:lnTo>
                  <a:lnTo>
                    <a:pt x="117" y="63"/>
                  </a:lnTo>
                  <a:lnTo>
                    <a:pt x="91" y="83"/>
                  </a:lnTo>
                  <a:lnTo>
                    <a:pt x="93" y="77"/>
                  </a:lnTo>
                  <a:lnTo>
                    <a:pt x="91" y="77"/>
                  </a:lnTo>
                  <a:lnTo>
                    <a:pt x="87" y="86"/>
                  </a:lnTo>
                  <a:lnTo>
                    <a:pt x="94" y="93"/>
                  </a:lnTo>
                  <a:lnTo>
                    <a:pt x="84" y="88"/>
                  </a:lnTo>
                  <a:lnTo>
                    <a:pt x="78" y="98"/>
                  </a:lnTo>
                  <a:lnTo>
                    <a:pt x="86" y="99"/>
                  </a:lnTo>
                  <a:lnTo>
                    <a:pt x="76" y="101"/>
                  </a:lnTo>
                  <a:lnTo>
                    <a:pt x="83" y="108"/>
                  </a:lnTo>
                  <a:lnTo>
                    <a:pt x="76" y="104"/>
                  </a:lnTo>
                  <a:lnTo>
                    <a:pt x="74" y="115"/>
                  </a:lnTo>
                  <a:lnTo>
                    <a:pt x="61" y="131"/>
                  </a:lnTo>
                  <a:lnTo>
                    <a:pt x="27" y="137"/>
                  </a:lnTo>
                  <a:lnTo>
                    <a:pt x="26" y="151"/>
                  </a:lnTo>
                  <a:lnTo>
                    <a:pt x="29" y="151"/>
                  </a:lnTo>
                  <a:lnTo>
                    <a:pt x="18" y="157"/>
                  </a:lnTo>
                  <a:lnTo>
                    <a:pt x="55" y="183"/>
                  </a:lnTo>
                  <a:lnTo>
                    <a:pt x="63" y="192"/>
                  </a:lnTo>
                  <a:lnTo>
                    <a:pt x="66" y="207"/>
                  </a:lnTo>
                  <a:lnTo>
                    <a:pt x="78" y="212"/>
                  </a:lnTo>
                  <a:lnTo>
                    <a:pt x="85" y="205"/>
                  </a:lnTo>
                  <a:lnTo>
                    <a:pt x="84" y="212"/>
                  </a:lnTo>
                  <a:lnTo>
                    <a:pt x="97" y="211"/>
                  </a:lnTo>
                  <a:lnTo>
                    <a:pt x="98" y="213"/>
                  </a:lnTo>
                  <a:lnTo>
                    <a:pt x="92" y="220"/>
                  </a:lnTo>
                  <a:lnTo>
                    <a:pt x="100" y="228"/>
                  </a:lnTo>
                  <a:lnTo>
                    <a:pt x="102" y="222"/>
                  </a:lnTo>
                  <a:lnTo>
                    <a:pt x="128" y="227"/>
                  </a:lnTo>
                  <a:lnTo>
                    <a:pt x="110" y="235"/>
                  </a:lnTo>
                  <a:lnTo>
                    <a:pt x="94" y="231"/>
                  </a:lnTo>
                  <a:lnTo>
                    <a:pt x="90" y="224"/>
                  </a:lnTo>
                  <a:lnTo>
                    <a:pt x="92" y="231"/>
                  </a:lnTo>
                  <a:lnTo>
                    <a:pt x="91" y="237"/>
                  </a:lnTo>
                  <a:lnTo>
                    <a:pt x="98" y="238"/>
                  </a:lnTo>
                  <a:lnTo>
                    <a:pt x="93" y="250"/>
                  </a:lnTo>
                  <a:lnTo>
                    <a:pt x="66" y="246"/>
                  </a:lnTo>
                  <a:lnTo>
                    <a:pt x="59" y="240"/>
                  </a:lnTo>
                  <a:lnTo>
                    <a:pt x="64" y="238"/>
                  </a:lnTo>
                  <a:lnTo>
                    <a:pt x="64" y="228"/>
                  </a:lnTo>
                  <a:lnTo>
                    <a:pt x="61" y="227"/>
                  </a:lnTo>
                  <a:lnTo>
                    <a:pt x="51" y="227"/>
                  </a:lnTo>
                  <a:lnTo>
                    <a:pt x="34" y="239"/>
                  </a:lnTo>
                  <a:lnTo>
                    <a:pt x="38" y="244"/>
                  </a:lnTo>
                  <a:lnTo>
                    <a:pt x="26" y="242"/>
                  </a:lnTo>
                  <a:lnTo>
                    <a:pt x="0" y="259"/>
                  </a:lnTo>
                  <a:lnTo>
                    <a:pt x="12" y="271"/>
                  </a:lnTo>
                  <a:lnTo>
                    <a:pt x="28" y="273"/>
                  </a:lnTo>
                  <a:lnTo>
                    <a:pt x="18" y="277"/>
                  </a:lnTo>
                  <a:lnTo>
                    <a:pt x="29" y="299"/>
                  </a:lnTo>
                  <a:lnTo>
                    <a:pt x="48" y="304"/>
                  </a:lnTo>
                  <a:lnTo>
                    <a:pt x="67" y="299"/>
                  </a:lnTo>
                  <a:lnTo>
                    <a:pt x="74" y="304"/>
                  </a:lnTo>
                  <a:lnTo>
                    <a:pt x="76" y="300"/>
                  </a:lnTo>
                  <a:lnTo>
                    <a:pt x="70" y="297"/>
                  </a:lnTo>
                  <a:lnTo>
                    <a:pt x="74" y="297"/>
                  </a:lnTo>
                  <a:lnTo>
                    <a:pt x="80" y="310"/>
                  </a:lnTo>
                  <a:lnTo>
                    <a:pt x="94" y="290"/>
                  </a:lnTo>
                  <a:lnTo>
                    <a:pt x="109" y="292"/>
                  </a:lnTo>
                  <a:lnTo>
                    <a:pt x="106" y="300"/>
                  </a:lnTo>
                  <a:lnTo>
                    <a:pt x="99" y="300"/>
                  </a:lnTo>
                  <a:lnTo>
                    <a:pt x="109" y="322"/>
                  </a:lnTo>
                  <a:lnTo>
                    <a:pt x="105" y="334"/>
                  </a:lnTo>
                  <a:lnTo>
                    <a:pt x="86" y="335"/>
                  </a:lnTo>
                  <a:lnTo>
                    <a:pt x="76" y="350"/>
                  </a:lnTo>
                  <a:lnTo>
                    <a:pt x="65" y="351"/>
                  </a:lnTo>
                  <a:lnTo>
                    <a:pt x="59" y="356"/>
                  </a:lnTo>
                  <a:lnTo>
                    <a:pt x="59" y="361"/>
                  </a:lnTo>
                  <a:lnTo>
                    <a:pt x="51" y="361"/>
                  </a:lnTo>
                  <a:lnTo>
                    <a:pt x="38" y="373"/>
                  </a:lnTo>
                  <a:lnTo>
                    <a:pt x="34" y="387"/>
                  </a:lnTo>
                  <a:lnTo>
                    <a:pt x="28" y="390"/>
                  </a:lnTo>
                  <a:lnTo>
                    <a:pt x="31" y="394"/>
                  </a:lnTo>
                  <a:lnTo>
                    <a:pt x="27" y="400"/>
                  </a:lnTo>
                  <a:lnTo>
                    <a:pt x="41" y="395"/>
                  </a:lnTo>
                  <a:lnTo>
                    <a:pt x="32" y="402"/>
                  </a:lnTo>
                  <a:lnTo>
                    <a:pt x="40" y="402"/>
                  </a:lnTo>
                  <a:lnTo>
                    <a:pt x="39" y="408"/>
                  </a:lnTo>
                  <a:lnTo>
                    <a:pt x="41" y="415"/>
                  </a:lnTo>
                  <a:lnTo>
                    <a:pt x="47" y="413"/>
                  </a:lnTo>
                  <a:lnTo>
                    <a:pt x="52" y="414"/>
                  </a:lnTo>
                  <a:lnTo>
                    <a:pt x="50" y="419"/>
                  </a:lnTo>
                  <a:lnTo>
                    <a:pt x="53" y="420"/>
                  </a:lnTo>
                  <a:lnTo>
                    <a:pt x="64" y="420"/>
                  </a:lnTo>
                  <a:lnTo>
                    <a:pt x="53" y="438"/>
                  </a:lnTo>
                  <a:lnTo>
                    <a:pt x="55" y="446"/>
                  </a:lnTo>
                  <a:lnTo>
                    <a:pt x="64" y="446"/>
                  </a:lnTo>
                  <a:lnTo>
                    <a:pt x="57" y="447"/>
                  </a:lnTo>
                  <a:lnTo>
                    <a:pt x="63" y="454"/>
                  </a:lnTo>
                  <a:lnTo>
                    <a:pt x="74" y="455"/>
                  </a:lnTo>
                  <a:lnTo>
                    <a:pt x="84" y="440"/>
                  </a:lnTo>
                  <a:lnTo>
                    <a:pt x="81" y="435"/>
                  </a:lnTo>
                  <a:lnTo>
                    <a:pt x="86" y="427"/>
                  </a:lnTo>
                  <a:lnTo>
                    <a:pt x="97" y="420"/>
                  </a:lnTo>
                  <a:lnTo>
                    <a:pt x="84" y="435"/>
                  </a:lnTo>
                  <a:lnTo>
                    <a:pt x="94" y="458"/>
                  </a:lnTo>
                  <a:lnTo>
                    <a:pt x="90" y="468"/>
                  </a:lnTo>
                  <a:lnTo>
                    <a:pt x="97" y="471"/>
                  </a:lnTo>
                  <a:lnTo>
                    <a:pt x="93" y="474"/>
                  </a:lnTo>
                  <a:lnTo>
                    <a:pt x="97" y="480"/>
                  </a:lnTo>
                  <a:lnTo>
                    <a:pt x="87" y="485"/>
                  </a:lnTo>
                  <a:lnTo>
                    <a:pt x="109" y="477"/>
                  </a:lnTo>
                  <a:lnTo>
                    <a:pt x="116" y="466"/>
                  </a:lnTo>
                  <a:lnTo>
                    <a:pt x="116" y="477"/>
                  </a:lnTo>
                  <a:lnTo>
                    <a:pt x="125" y="477"/>
                  </a:lnTo>
                  <a:lnTo>
                    <a:pt x="135" y="492"/>
                  </a:lnTo>
                  <a:lnTo>
                    <a:pt x="138" y="488"/>
                  </a:lnTo>
                  <a:lnTo>
                    <a:pt x="136" y="481"/>
                  </a:lnTo>
                  <a:lnTo>
                    <a:pt x="142" y="474"/>
                  </a:lnTo>
                  <a:lnTo>
                    <a:pt x="142" y="479"/>
                  </a:lnTo>
                  <a:lnTo>
                    <a:pt x="148" y="485"/>
                  </a:lnTo>
                  <a:lnTo>
                    <a:pt x="168" y="471"/>
                  </a:lnTo>
                  <a:lnTo>
                    <a:pt x="158" y="486"/>
                  </a:lnTo>
                  <a:lnTo>
                    <a:pt x="157" y="493"/>
                  </a:lnTo>
                  <a:lnTo>
                    <a:pt x="159" y="493"/>
                  </a:lnTo>
                  <a:lnTo>
                    <a:pt x="149" y="522"/>
                  </a:lnTo>
                  <a:lnTo>
                    <a:pt x="142" y="526"/>
                  </a:lnTo>
                  <a:lnTo>
                    <a:pt x="138" y="535"/>
                  </a:lnTo>
                  <a:lnTo>
                    <a:pt x="116" y="546"/>
                  </a:lnTo>
                  <a:lnTo>
                    <a:pt x="111" y="559"/>
                  </a:lnTo>
                  <a:lnTo>
                    <a:pt x="116" y="562"/>
                  </a:lnTo>
                  <a:lnTo>
                    <a:pt x="100" y="556"/>
                  </a:lnTo>
                  <a:lnTo>
                    <a:pt x="70" y="580"/>
                  </a:lnTo>
                  <a:lnTo>
                    <a:pt x="67" y="580"/>
                  </a:lnTo>
                  <a:lnTo>
                    <a:pt x="71" y="587"/>
                  </a:lnTo>
                  <a:lnTo>
                    <a:pt x="72" y="580"/>
                  </a:lnTo>
                  <a:lnTo>
                    <a:pt x="81" y="582"/>
                  </a:lnTo>
                  <a:lnTo>
                    <a:pt x="80" y="576"/>
                  </a:lnTo>
                  <a:lnTo>
                    <a:pt x="83" y="581"/>
                  </a:lnTo>
                  <a:lnTo>
                    <a:pt x="89" y="580"/>
                  </a:lnTo>
                  <a:lnTo>
                    <a:pt x="97" y="567"/>
                  </a:lnTo>
                  <a:lnTo>
                    <a:pt x="98" y="567"/>
                  </a:lnTo>
                  <a:lnTo>
                    <a:pt x="97" y="574"/>
                  </a:lnTo>
                  <a:lnTo>
                    <a:pt x="122" y="561"/>
                  </a:lnTo>
                  <a:lnTo>
                    <a:pt x="124" y="569"/>
                  </a:lnTo>
                  <a:lnTo>
                    <a:pt x="128" y="559"/>
                  </a:lnTo>
                  <a:lnTo>
                    <a:pt x="139" y="556"/>
                  </a:lnTo>
                  <a:lnTo>
                    <a:pt x="132" y="544"/>
                  </a:lnTo>
                  <a:lnTo>
                    <a:pt x="138" y="549"/>
                  </a:lnTo>
                  <a:lnTo>
                    <a:pt x="151" y="544"/>
                  </a:lnTo>
                  <a:lnTo>
                    <a:pt x="148" y="542"/>
                  </a:lnTo>
                  <a:lnTo>
                    <a:pt x="157" y="541"/>
                  </a:lnTo>
                  <a:lnTo>
                    <a:pt x="157" y="535"/>
                  </a:lnTo>
                  <a:lnTo>
                    <a:pt x="171" y="529"/>
                  </a:lnTo>
                  <a:lnTo>
                    <a:pt x="172" y="523"/>
                  </a:lnTo>
                  <a:lnTo>
                    <a:pt x="170" y="522"/>
                  </a:lnTo>
                  <a:lnTo>
                    <a:pt x="182" y="515"/>
                  </a:lnTo>
                  <a:lnTo>
                    <a:pt x="183" y="509"/>
                  </a:lnTo>
                  <a:lnTo>
                    <a:pt x="188" y="510"/>
                  </a:lnTo>
                  <a:lnTo>
                    <a:pt x="193" y="503"/>
                  </a:lnTo>
                  <a:lnTo>
                    <a:pt x="207" y="497"/>
                  </a:lnTo>
                  <a:lnTo>
                    <a:pt x="204" y="493"/>
                  </a:lnTo>
                  <a:lnTo>
                    <a:pt x="207" y="488"/>
                  </a:lnTo>
                  <a:lnTo>
                    <a:pt x="217" y="479"/>
                  </a:lnTo>
                  <a:lnTo>
                    <a:pt x="213" y="473"/>
                  </a:lnTo>
                  <a:lnTo>
                    <a:pt x="204" y="473"/>
                  </a:lnTo>
                  <a:lnTo>
                    <a:pt x="207" y="462"/>
                  </a:lnTo>
                  <a:lnTo>
                    <a:pt x="228" y="446"/>
                  </a:lnTo>
                  <a:lnTo>
                    <a:pt x="221" y="436"/>
                  </a:lnTo>
                  <a:lnTo>
                    <a:pt x="229" y="439"/>
                  </a:lnTo>
                  <a:lnTo>
                    <a:pt x="241" y="418"/>
                  </a:lnTo>
                  <a:lnTo>
                    <a:pt x="258" y="406"/>
                  </a:lnTo>
                  <a:lnTo>
                    <a:pt x="265" y="375"/>
                  </a:lnTo>
                  <a:lnTo>
                    <a:pt x="265" y="389"/>
                  </a:lnTo>
                  <a:lnTo>
                    <a:pt x="259" y="406"/>
                  </a:lnTo>
                  <a:lnTo>
                    <a:pt x="266" y="408"/>
                  </a:lnTo>
                  <a:lnTo>
                    <a:pt x="278" y="399"/>
                  </a:lnTo>
                  <a:lnTo>
                    <a:pt x="267" y="413"/>
                  </a:lnTo>
                  <a:lnTo>
                    <a:pt x="281" y="419"/>
                  </a:lnTo>
                  <a:lnTo>
                    <a:pt x="262" y="415"/>
                  </a:lnTo>
                  <a:lnTo>
                    <a:pt x="248" y="422"/>
                  </a:lnTo>
                  <a:lnTo>
                    <a:pt x="248" y="436"/>
                  </a:lnTo>
                  <a:lnTo>
                    <a:pt x="240" y="453"/>
                  </a:lnTo>
                  <a:lnTo>
                    <a:pt x="245" y="457"/>
                  </a:lnTo>
                  <a:lnTo>
                    <a:pt x="253" y="452"/>
                  </a:lnTo>
                  <a:lnTo>
                    <a:pt x="248" y="461"/>
                  </a:lnTo>
                  <a:lnTo>
                    <a:pt x="241" y="461"/>
                  </a:lnTo>
                  <a:lnTo>
                    <a:pt x="240" y="466"/>
                  </a:lnTo>
                  <a:lnTo>
                    <a:pt x="242" y="470"/>
                  </a:lnTo>
                  <a:lnTo>
                    <a:pt x="253" y="466"/>
                  </a:lnTo>
                  <a:lnTo>
                    <a:pt x="263" y="458"/>
                  </a:lnTo>
                  <a:lnTo>
                    <a:pt x="262" y="464"/>
                  </a:lnTo>
                  <a:lnTo>
                    <a:pt x="266" y="455"/>
                  </a:lnTo>
                  <a:lnTo>
                    <a:pt x="271" y="454"/>
                  </a:lnTo>
                  <a:lnTo>
                    <a:pt x="273" y="447"/>
                  </a:lnTo>
                  <a:lnTo>
                    <a:pt x="273" y="454"/>
                  </a:lnTo>
                  <a:lnTo>
                    <a:pt x="275" y="442"/>
                  </a:lnTo>
                  <a:lnTo>
                    <a:pt x="289" y="446"/>
                  </a:lnTo>
                  <a:lnTo>
                    <a:pt x="297" y="429"/>
                  </a:lnTo>
                  <a:lnTo>
                    <a:pt x="288" y="431"/>
                  </a:lnTo>
                  <a:lnTo>
                    <a:pt x="293" y="423"/>
                  </a:lnTo>
                  <a:lnTo>
                    <a:pt x="288" y="421"/>
                  </a:lnTo>
                  <a:lnTo>
                    <a:pt x="300" y="408"/>
                  </a:lnTo>
                  <a:lnTo>
                    <a:pt x="299" y="419"/>
                  </a:lnTo>
                  <a:lnTo>
                    <a:pt x="301" y="416"/>
                  </a:lnTo>
                  <a:lnTo>
                    <a:pt x="301" y="410"/>
                  </a:lnTo>
                  <a:lnTo>
                    <a:pt x="305" y="416"/>
                  </a:lnTo>
                  <a:lnTo>
                    <a:pt x="318" y="413"/>
                  </a:lnTo>
                  <a:lnTo>
                    <a:pt x="317" y="420"/>
                  </a:lnTo>
                  <a:lnTo>
                    <a:pt x="324" y="420"/>
                  </a:lnTo>
                  <a:lnTo>
                    <a:pt x="317" y="423"/>
                  </a:lnTo>
                  <a:lnTo>
                    <a:pt x="326" y="421"/>
                  </a:lnTo>
                  <a:lnTo>
                    <a:pt x="323" y="425"/>
                  </a:lnTo>
                  <a:lnTo>
                    <a:pt x="331" y="425"/>
                  </a:lnTo>
                  <a:lnTo>
                    <a:pt x="330" y="429"/>
                  </a:lnTo>
                  <a:lnTo>
                    <a:pt x="338" y="435"/>
                  </a:lnTo>
                  <a:lnTo>
                    <a:pt x="342" y="431"/>
                  </a:lnTo>
                  <a:lnTo>
                    <a:pt x="357" y="446"/>
                  </a:lnTo>
                  <a:lnTo>
                    <a:pt x="396" y="444"/>
                  </a:lnTo>
                  <a:lnTo>
                    <a:pt x="396" y="448"/>
                  </a:lnTo>
                  <a:lnTo>
                    <a:pt x="407" y="453"/>
                  </a:lnTo>
                  <a:lnTo>
                    <a:pt x="417" y="451"/>
                  </a:lnTo>
                  <a:lnTo>
                    <a:pt x="423" y="444"/>
                  </a:lnTo>
                  <a:lnTo>
                    <a:pt x="431" y="449"/>
                  </a:lnTo>
                  <a:lnTo>
                    <a:pt x="428" y="452"/>
                  </a:lnTo>
                  <a:lnTo>
                    <a:pt x="428" y="458"/>
                  </a:lnTo>
                  <a:lnTo>
                    <a:pt x="425" y="446"/>
                  </a:lnTo>
                  <a:lnTo>
                    <a:pt x="423" y="457"/>
                  </a:lnTo>
                  <a:lnTo>
                    <a:pt x="420" y="459"/>
                  </a:lnTo>
                  <a:lnTo>
                    <a:pt x="437" y="471"/>
                  </a:lnTo>
                  <a:lnTo>
                    <a:pt x="446" y="462"/>
                  </a:lnTo>
                  <a:lnTo>
                    <a:pt x="446" y="462"/>
                  </a:lnTo>
                  <a:lnTo>
                    <a:pt x="444" y="465"/>
                  </a:lnTo>
                  <a:lnTo>
                    <a:pt x="444" y="474"/>
                  </a:lnTo>
                  <a:lnTo>
                    <a:pt x="454" y="483"/>
                  </a:lnTo>
                  <a:lnTo>
                    <a:pt x="453" y="486"/>
                  </a:lnTo>
                  <a:lnTo>
                    <a:pt x="467" y="496"/>
                  </a:lnTo>
                  <a:lnTo>
                    <a:pt x="474" y="492"/>
                  </a:lnTo>
                  <a:lnTo>
                    <a:pt x="474" y="488"/>
                  </a:lnTo>
                  <a:lnTo>
                    <a:pt x="461" y="477"/>
                  </a:lnTo>
                  <a:lnTo>
                    <a:pt x="463" y="474"/>
                  </a:lnTo>
                  <a:lnTo>
                    <a:pt x="473" y="481"/>
                  </a:lnTo>
                  <a:lnTo>
                    <a:pt x="475" y="477"/>
                  </a:lnTo>
                  <a:lnTo>
                    <a:pt x="479" y="486"/>
                  </a:lnTo>
                  <a:lnTo>
                    <a:pt x="477" y="492"/>
                  </a:lnTo>
                  <a:lnTo>
                    <a:pt x="483" y="490"/>
                  </a:lnTo>
                  <a:lnTo>
                    <a:pt x="486" y="496"/>
                  </a:lnTo>
                  <a:lnTo>
                    <a:pt x="488" y="496"/>
                  </a:lnTo>
                  <a:lnTo>
                    <a:pt x="489" y="491"/>
                  </a:lnTo>
                  <a:lnTo>
                    <a:pt x="483" y="470"/>
                  </a:lnTo>
                  <a:lnTo>
                    <a:pt x="485" y="462"/>
                  </a:lnTo>
                  <a:lnTo>
                    <a:pt x="495" y="492"/>
                  </a:lnTo>
                  <a:lnTo>
                    <a:pt x="505" y="496"/>
                  </a:lnTo>
                  <a:lnTo>
                    <a:pt x="508" y="503"/>
                  </a:lnTo>
                  <a:lnTo>
                    <a:pt x="513" y="498"/>
                  </a:lnTo>
                  <a:lnTo>
                    <a:pt x="511" y="501"/>
                  </a:lnTo>
                  <a:lnTo>
                    <a:pt x="508" y="504"/>
                  </a:lnTo>
                  <a:lnTo>
                    <a:pt x="511" y="509"/>
                  </a:lnTo>
                  <a:lnTo>
                    <a:pt x="514" y="507"/>
                  </a:lnTo>
                  <a:lnTo>
                    <a:pt x="521" y="517"/>
                  </a:lnTo>
                  <a:lnTo>
                    <a:pt x="513" y="511"/>
                  </a:lnTo>
                  <a:lnTo>
                    <a:pt x="513" y="515"/>
                  </a:lnTo>
                  <a:lnTo>
                    <a:pt x="515" y="515"/>
                  </a:lnTo>
                  <a:lnTo>
                    <a:pt x="515" y="520"/>
                  </a:lnTo>
                  <a:lnTo>
                    <a:pt x="519" y="522"/>
                  </a:lnTo>
                  <a:lnTo>
                    <a:pt x="515" y="525"/>
                  </a:lnTo>
                  <a:lnTo>
                    <a:pt x="524" y="526"/>
                  </a:lnTo>
                  <a:lnTo>
                    <a:pt x="526" y="533"/>
                  </a:lnTo>
                  <a:lnTo>
                    <a:pt x="521" y="529"/>
                  </a:lnTo>
                  <a:lnTo>
                    <a:pt x="524" y="533"/>
                  </a:lnTo>
                  <a:lnTo>
                    <a:pt x="532" y="539"/>
                  </a:lnTo>
                  <a:lnTo>
                    <a:pt x="534" y="546"/>
                  </a:lnTo>
                  <a:lnTo>
                    <a:pt x="542" y="552"/>
                  </a:lnTo>
                  <a:lnTo>
                    <a:pt x="538" y="554"/>
                  </a:lnTo>
                  <a:lnTo>
                    <a:pt x="532" y="564"/>
                  </a:lnTo>
                  <a:lnTo>
                    <a:pt x="534" y="569"/>
                  </a:lnTo>
                  <a:lnTo>
                    <a:pt x="540" y="561"/>
                  </a:lnTo>
                  <a:lnTo>
                    <a:pt x="550" y="554"/>
                  </a:lnTo>
                  <a:lnTo>
                    <a:pt x="553" y="575"/>
                  </a:lnTo>
                  <a:lnTo>
                    <a:pt x="557" y="575"/>
                  </a:lnTo>
                  <a:lnTo>
                    <a:pt x="558" y="580"/>
                  </a:lnTo>
                  <a:lnTo>
                    <a:pt x="552" y="583"/>
                  </a:lnTo>
                  <a:lnTo>
                    <a:pt x="553" y="589"/>
                  </a:lnTo>
                  <a:lnTo>
                    <a:pt x="565" y="583"/>
                  </a:lnTo>
                  <a:lnTo>
                    <a:pt x="565" y="591"/>
                  </a:lnTo>
                  <a:lnTo>
                    <a:pt x="561" y="591"/>
                  </a:lnTo>
                  <a:lnTo>
                    <a:pt x="560" y="598"/>
                  </a:lnTo>
                  <a:lnTo>
                    <a:pt x="567" y="604"/>
                  </a:lnTo>
                  <a:lnTo>
                    <a:pt x="565" y="610"/>
                  </a:lnTo>
                  <a:lnTo>
                    <a:pt x="577" y="623"/>
                  </a:lnTo>
                  <a:lnTo>
                    <a:pt x="580" y="622"/>
                  </a:lnTo>
                  <a:lnTo>
                    <a:pt x="579" y="634"/>
                  </a:lnTo>
                  <a:lnTo>
                    <a:pt x="585" y="646"/>
                  </a:lnTo>
                  <a:lnTo>
                    <a:pt x="592" y="645"/>
                  </a:lnTo>
                  <a:lnTo>
                    <a:pt x="592" y="649"/>
                  </a:lnTo>
                  <a:lnTo>
                    <a:pt x="598" y="648"/>
                  </a:lnTo>
                  <a:lnTo>
                    <a:pt x="599" y="667"/>
                  </a:lnTo>
                  <a:lnTo>
                    <a:pt x="604" y="665"/>
                  </a:lnTo>
                  <a:lnTo>
                    <a:pt x="604" y="669"/>
                  </a:lnTo>
                  <a:lnTo>
                    <a:pt x="606" y="671"/>
                  </a:lnTo>
                  <a:lnTo>
                    <a:pt x="600" y="673"/>
                  </a:lnTo>
                  <a:lnTo>
                    <a:pt x="605" y="675"/>
                  </a:lnTo>
                  <a:lnTo>
                    <a:pt x="600" y="677"/>
                  </a:lnTo>
                  <a:lnTo>
                    <a:pt x="602" y="680"/>
                  </a:lnTo>
                  <a:lnTo>
                    <a:pt x="609" y="685"/>
                  </a:lnTo>
                  <a:lnTo>
                    <a:pt x="622" y="682"/>
                  </a:lnTo>
                  <a:lnTo>
                    <a:pt x="620" y="685"/>
                  </a:lnTo>
                  <a:lnTo>
                    <a:pt x="628" y="690"/>
                  </a:lnTo>
                  <a:lnTo>
                    <a:pt x="624" y="693"/>
                  </a:lnTo>
                  <a:lnTo>
                    <a:pt x="646" y="695"/>
                  </a:lnTo>
                  <a:lnTo>
                    <a:pt x="644" y="704"/>
                  </a:lnTo>
                  <a:lnTo>
                    <a:pt x="646" y="707"/>
                  </a:lnTo>
                  <a:lnTo>
                    <a:pt x="652" y="711"/>
                  </a:lnTo>
                  <a:lnTo>
                    <a:pt x="656" y="710"/>
                  </a:lnTo>
                  <a:lnTo>
                    <a:pt x="656" y="704"/>
                  </a:lnTo>
                  <a:lnTo>
                    <a:pt x="662" y="712"/>
                  </a:lnTo>
                  <a:lnTo>
                    <a:pt x="662" y="719"/>
                  </a:lnTo>
                  <a:lnTo>
                    <a:pt x="668" y="712"/>
                  </a:lnTo>
                  <a:lnTo>
                    <a:pt x="668" y="723"/>
                  </a:lnTo>
                  <a:lnTo>
                    <a:pt x="677" y="723"/>
                  </a:lnTo>
                  <a:lnTo>
                    <a:pt x="671" y="725"/>
                  </a:lnTo>
                  <a:lnTo>
                    <a:pt x="674" y="729"/>
                  </a:lnTo>
                  <a:lnTo>
                    <a:pt x="681" y="736"/>
                  </a:lnTo>
                  <a:lnTo>
                    <a:pt x="677" y="740"/>
                  </a:lnTo>
                  <a:lnTo>
                    <a:pt x="681" y="743"/>
                  </a:lnTo>
                  <a:lnTo>
                    <a:pt x="682" y="752"/>
                  </a:lnTo>
                  <a:lnTo>
                    <a:pt x="672" y="764"/>
                  </a:lnTo>
                  <a:lnTo>
                    <a:pt x="671" y="761"/>
                  </a:lnTo>
                  <a:lnTo>
                    <a:pt x="675" y="752"/>
                  </a:lnTo>
                  <a:lnTo>
                    <a:pt x="675" y="748"/>
                  </a:lnTo>
                  <a:lnTo>
                    <a:pt x="648" y="742"/>
                  </a:lnTo>
                  <a:lnTo>
                    <a:pt x="646" y="745"/>
                  </a:lnTo>
                  <a:lnTo>
                    <a:pt x="655" y="772"/>
                  </a:lnTo>
                  <a:lnTo>
                    <a:pt x="656" y="772"/>
                  </a:lnTo>
                  <a:lnTo>
                    <a:pt x="656" y="777"/>
                  </a:lnTo>
                  <a:lnTo>
                    <a:pt x="658" y="779"/>
                  </a:lnTo>
                  <a:lnTo>
                    <a:pt x="658" y="783"/>
                  </a:lnTo>
                  <a:lnTo>
                    <a:pt x="656" y="781"/>
                  </a:lnTo>
                  <a:lnTo>
                    <a:pt x="656" y="787"/>
                  </a:lnTo>
                  <a:lnTo>
                    <a:pt x="668" y="790"/>
                  </a:lnTo>
                  <a:lnTo>
                    <a:pt x="658" y="794"/>
                  </a:lnTo>
                  <a:lnTo>
                    <a:pt x="654" y="848"/>
                  </a:lnTo>
                  <a:lnTo>
                    <a:pt x="650" y="859"/>
                  </a:lnTo>
                  <a:lnTo>
                    <a:pt x="654" y="880"/>
                  </a:lnTo>
                  <a:lnTo>
                    <a:pt x="656" y="889"/>
                  </a:lnTo>
                  <a:lnTo>
                    <a:pt x="652" y="911"/>
                  </a:lnTo>
                  <a:lnTo>
                    <a:pt x="661" y="923"/>
                  </a:lnTo>
                  <a:lnTo>
                    <a:pt x="662" y="938"/>
                  </a:lnTo>
                  <a:lnTo>
                    <a:pt x="672" y="953"/>
                  </a:lnTo>
                  <a:lnTo>
                    <a:pt x="677" y="956"/>
                  </a:lnTo>
                  <a:lnTo>
                    <a:pt x="680" y="952"/>
                  </a:lnTo>
                  <a:lnTo>
                    <a:pt x="687" y="952"/>
                  </a:lnTo>
                  <a:lnTo>
                    <a:pt x="681" y="956"/>
                  </a:lnTo>
                  <a:lnTo>
                    <a:pt x="685" y="964"/>
                  </a:lnTo>
                  <a:lnTo>
                    <a:pt x="681" y="959"/>
                  </a:lnTo>
                  <a:lnTo>
                    <a:pt x="680" y="960"/>
                  </a:lnTo>
                  <a:lnTo>
                    <a:pt x="682" y="971"/>
                  </a:lnTo>
                  <a:lnTo>
                    <a:pt x="689" y="976"/>
                  </a:lnTo>
                  <a:lnTo>
                    <a:pt x="689" y="985"/>
                  </a:lnTo>
                  <a:lnTo>
                    <a:pt x="708" y="1008"/>
                  </a:lnTo>
                  <a:lnTo>
                    <a:pt x="708" y="1017"/>
                  </a:lnTo>
                  <a:lnTo>
                    <a:pt x="737" y="1027"/>
                  </a:lnTo>
                  <a:lnTo>
                    <a:pt x="741" y="1033"/>
                  </a:lnTo>
                  <a:lnTo>
                    <a:pt x="747" y="1035"/>
                  </a:lnTo>
                  <a:lnTo>
                    <a:pt x="756" y="1043"/>
                  </a:lnTo>
                  <a:lnTo>
                    <a:pt x="758" y="1054"/>
                  </a:lnTo>
                  <a:lnTo>
                    <a:pt x="767" y="1067"/>
                  </a:lnTo>
                  <a:lnTo>
                    <a:pt x="776" y="1092"/>
                  </a:lnTo>
                  <a:lnTo>
                    <a:pt x="779" y="1092"/>
                  </a:lnTo>
                  <a:lnTo>
                    <a:pt x="781" y="1102"/>
                  </a:lnTo>
                  <a:lnTo>
                    <a:pt x="792" y="1108"/>
                  </a:lnTo>
                  <a:lnTo>
                    <a:pt x="805" y="1125"/>
                  </a:lnTo>
                  <a:lnTo>
                    <a:pt x="804" y="1137"/>
                  </a:lnTo>
                  <a:lnTo>
                    <a:pt x="792" y="1135"/>
                  </a:lnTo>
                  <a:lnTo>
                    <a:pt x="792" y="1138"/>
                  </a:lnTo>
                  <a:lnTo>
                    <a:pt x="812" y="1152"/>
                  </a:lnTo>
                  <a:lnTo>
                    <a:pt x="817" y="1153"/>
                  </a:lnTo>
                  <a:lnTo>
                    <a:pt x="818" y="1150"/>
                  </a:lnTo>
                  <a:lnTo>
                    <a:pt x="820" y="1156"/>
                  </a:lnTo>
                  <a:lnTo>
                    <a:pt x="831" y="1163"/>
                  </a:lnTo>
                  <a:lnTo>
                    <a:pt x="833" y="1171"/>
                  </a:lnTo>
                  <a:lnTo>
                    <a:pt x="832" y="1186"/>
                  </a:lnTo>
                  <a:lnTo>
                    <a:pt x="838" y="1186"/>
                  </a:lnTo>
                  <a:lnTo>
                    <a:pt x="858" y="1204"/>
                  </a:lnTo>
                  <a:lnTo>
                    <a:pt x="866" y="1217"/>
                  </a:lnTo>
                  <a:lnTo>
                    <a:pt x="872" y="1212"/>
                  </a:lnTo>
                  <a:lnTo>
                    <a:pt x="873" y="1206"/>
                  </a:lnTo>
                  <a:lnTo>
                    <a:pt x="862" y="1193"/>
                  </a:lnTo>
                  <a:lnTo>
                    <a:pt x="859" y="1196"/>
                  </a:lnTo>
                  <a:lnTo>
                    <a:pt x="856" y="1193"/>
                  </a:lnTo>
                  <a:lnTo>
                    <a:pt x="843" y="1154"/>
                  </a:lnTo>
                  <a:lnTo>
                    <a:pt x="839" y="1152"/>
                  </a:lnTo>
                  <a:lnTo>
                    <a:pt x="839" y="1157"/>
                  </a:lnTo>
                  <a:lnTo>
                    <a:pt x="838" y="1156"/>
                  </a:lnTo>
                  <a:lnTo>
                    <a:pt x="818" y="1119"/>
                  </a:lnTo>
                  <a:lnTo>
                    <a:pt x="814" y="1118"/>
                  </a:lnTo>
                  <a:lnTo>
                    <a:pt x="811" y="1111"/>
                  </a:lnTo>
                  <a:lnTo>
                    <a:pt x="801" y="1102"/>
                  </a:lnTo>
                  <a:lnTo>
                    <a:pt x="798" y="1096"/>
                  </a:lnTo>
                  <a:lnTo>
                    <a:pt x="792" y="1065"/>
                  </a:lnTo>
                  <a:lnTo>
                    <a:pt x="802" y="1073"/>
                  </a:lnTo>
                  <a:lnTo>
                    <a:pt x="808" y="1073"/>
                  </a:lnTo>
                  <a:lnTo>
                    <a:pt x="818" y="1079"/>
                  </a:lnTo>
                  <a:lnTo>
                    <a:pt x="825" y="1100"/>
                  </a:lnTo>
                  <a:lnTo>
                    <a:pt x="838" y="1121"/>
                  </a:lnTo>
                  <a:lnTo>
                    <a:pt x="849" y="1133"/>
                  </a:lnTo>
                  <a:lnTo>
                    <a:pt x="856" y="1134"/>
                  </a:lnTo>
                  <a:lnTo>
                    <a:pt x="858" y="1144"/>
                  </a:lnTo>
                  <a:lnTo>
                    <a:pt x="878" y="1159"/>
                  </a:lnTo>
                  <a:lnTo>
                    <a:pt x="875" y="1167"/>
                  </a:lnTo>
                  <a:lnTo>
                    <a:pt x="877" y="1172"/>
                  </a:lnTo>
                  <a:lnTo>
                    <a:pt x="880" y="1171"/>
                  </a:lnTo>
                  <a:lnTo>
                    <a:pt x="880" y="1175"/>
                  </a:lnTo>
                  <a:lnTo>
                    <a:pt x="891" y="1178"/>
                  </a:lnTo>
                  <a:lnTo>
                    <a:pt x="896" y="1183"/>
                  </a:lnTo>
                  <a:lnTo>
                    <a:pt x="897" y="1190"/>
                  </a:lnTo>
                  <a:lnTo>
                    <a:pt x="911" y="1201"/>
                  </a:lnTo>
                  <a:lnTo>
                    <a:pt x="919" y="1212"/>
                  </a:lnTo>
                  <a:lnTo>
                    <a:pt x="930" y="1221"/>
                  </a:lnTo>
                  <a:lnTo>
                    <a:pt x="937" y="1242"/>
                  </a:lnTo>
                  <a:lnTo>
                    <a:pt x="934" y="1250"/>
                  </a:lnTo>
                  <a:lnTo>
                    <a:pt x="937" y="1254"/>
                  </a:lnTo>
                  <a:lnTo>
                    <a:pt x="930" y="1256"/>
                  </a:lnTo>
                  <a:lnTo>
                    <a:pt x="934" y="1266"/>
                  </a:lnTo>
                  <a:lnTo>
                    <a:pt x="942" y="1273"/>
                  </a:lnTo>
                  <a:lnTo>
                    <a:pt x="956" y="1281"/>
                  </a:lnTo>
                  <a:lnTo>
                    <a:pt x="964" y="1288"/>
                  </a:lnTo>
                  <a:lnTo>
                    <a:pt x="986" y="1294"/>
                  </a:lnTo>
                  <a:lnTo>
                    <a:pt x="1000" y="1306"/>
                  </a:lnTo>
                  <a:lnTo>
                    <a:pt x="1033" y="1315"/>
                  </a:lnTo>
                  <a:lnTo>
                    <a:pt x="1047" y="1324"/>
                  </a:lnTo>
                  <a:lnTo>
                    <a:pt x="1070" y="1329"/>
                  </a:lnTo>
                  <a:lnTo>
                    <a:pt x="1086" y="1321"/>
                  </a:lnTo>
                  <a:lnTo>
                    <a:pt x="1093" y="1321"/>
                  </a:lnTo>
                  <a:lnTo>
                    <a:pt x="1110" y="1327"/>
                  </a:lnTo>
                  <a:lnTo>
                    <a:pt x="1127" y="1345"/>
                  </a:lnTo>
                  <a:lnTo>
                    <a:pt x="1140" y="1355"/>
                  </a:lnTo>
                  <a:lnTo>
                    <a:pt x="1159" y="1359"/>
                  </a:lnTo>
                  <a:lnTo>
                    <a:pt x="1181" y="1367"/>
                  </a:lnTo>
                  <a:lnTo>
                    <a:pt x="1188" y="1367"/>
                  </a:lnTo>
                  <a:lnTo>
                    <a:pt x="1194" y="1364"/>
                  </a:lnTo>
                  <a:lnTo>
                    <a:pt x="1197" y="1364"/>
                  </a:lnTo>
                  <a:lnTo>
                    <a:pt x="1201" y="1370"/>
                  </a:lnTo>
                  <a:lnTo>
                    <a:pt x="1197" y="1370"/>
                  </a:lnTo>
                  <a:lnTo>
                    <a:pt x="1197" y="1371"/>
                  </a:lnTo>
                  <a:lnTo>
                    <a:pt x="1224" y="1398"/>
                  </a:lnTo>
                  <a:lnTo>
                    <a:pt x="1222" y="1409"/>
                  </a:lnTo>
                  <a:lnTo>
                    <a:pt x="1226" y="1415"/>
                  </a:lnTo>
                  <a:lnTo>
                    <a:pt x="1234" y="1421"/>
                  </a:lnTo>
                  <a:lnTo>
                    <a:pt x="1235" y="1416"/>
                  </a:lnTo>
                  <a:lnTo>
                    <a:pt x="1233" y="1413"/>
                  </a:lnTo>
                  <a:lnTo>
                    <a:pt x="1236" y="1413"/>
                  </a:lnTo>
                  <a:lnTo>
                    <a:pt x="1242" y="1423"/>
                  </a:lnTo>
                  <a:lnTo>
                    <a:pt x="1254" y="1428"/>
                  </a:lnTo>
                  <a:lnTo>
                    <a:pt x="1255" y="1436"/>
                  </a:lnTo>
                  <a:lnTo>
                    <a:pt x="1260" y="1438"/>
                  </a:lnTo>
                  <a:lnTo>
                    <a:pt x="1261" y="1435"/>
                  </a:lnTo>
                  <a:lnTo>
                    <a:pt x="1265" y="1439"/>
                  </a:lnTo>
                  <a:lnTo>
                    <a:pt x="1266" y="1443"/>
                  </a:lnTo>
                  <a:lnTo>
                    <a:pt x="1268" y="1439"/>
                  </a:lnTo>
                  <a:lnTo>
                    <a:pt x="1283" y="1442"/>
                  </a:lnTo>
                  <a:lnTo>
                    <a:pt x="1291" y="1450"/>
                  </a:lnTo>
                  <a:lnTo>
                    <a:pt x="1294" y="1449"/>
                  </a:lnTo>
                  <a:lnTo>
                    <a:pt x="1296" y="1457"/>
                  </a:lnTo>
                  <a:lnTo>
                    <a:pt x="1301" y="1457"/>
                  </a:lnTo>
                  <a:lnTo>
                    <a:pt x="1307" y="1452"/>
                  </a:lnTo>
                  <a:lnTo>
                    <a:pt x="1302" y="1447"/>
                  </a:lnTo>
                  <a:lnTo>
                    <a:pt x="1302" y="1442"/>
                  </a:lnTo>
                  <a:lnTo>
                    <a:pt x="1321" y="1430"/>
                  </a:lnTo>
                  <a:lnTo>
                    <a:pt x="1333" y="1438"/>
                  </a:lnTo>
                  <a:lnTo>
                    <a:pt x="1338" y="1439"/>
                  </a:lnTo>
                  <a:lnTo>
                    <a:pt x="1334" y="1447"/>
                  </a:lnTo>
                  <a:lnTo>
                    <a:pt x="1340" y="1455"/>
                  </a:lnTo>
                  <a:lnTo>
                    <a:pt x="1348" y="1468"/>
                  </a:lnTo>
                  <a:lnTo>
                    <a:pt x="1347" y="1507"/>
                  </a:lnTo>
                  <a:lnTo>
                    <a:pt x="1354" y="1507"/>
                  </a:lnTo>
                  <a:lnTo>
                    <a:pt x="1346" y="1516"/>
                  </a:lnTo>
                  <a:lnTo>
                    <a:pt x="1345" y="1523"/>
                  </a:lnTo>
                  <a:lnTo>
                    <a:pt x="1331" y="1527"/>
                  </a:lnTo>
                  <a:lnTo>
                    <a:pt x="1330" y="1538"/>
                  </a:lnTo>
                  <a:lnTo>
                    <a:pt x="1325" y="1540"/>
                  </a:lnTo>
                  <a:lnTo>
                    <a:pt x="1326" y="1544"/>
                  </a:lnTo>
                  <a:lnTo>
                    <a:pt x="1308" y="1553"/>
                  </a:lnTo>
                  <a:lnTo>
                    <a:pt x="1308" y="1562"/>
                  </a:lnTo>
                  <a:lnTo>
                    <a:pt x="1304" y="1575"/>
                  </a:lnTo>
                  <a:lnTo>
                    <a:pt x="1298" y="1579"/>
                  </a:lnTo>
                  <a:lnTo>
                    <a:pt x="1298" y="1598"/>
                  </a:lnTo>
                  <a:lnTo>
                    <a:pt x="1305" y="1604"/>
                  </a:lnTo>
                  <a:lnTo>
                    <a:pt x="1311" y="1597"/>
                  </a:lnTo>
                  <a:lnTo>
                    <a:pt x="1313" y="1603"/>
                  </a:lnTo>
                  <a:lnTo>
                    <a:pt x="1311" y="1610"/>
                  </a:lnTo>
                  <a:lnTo>
                    <a:pt x="1304" y="1616"/>
                  </a:lnTo>
                  <a:lnTo>
                    <a:pt x="1291" y="1629"/>
                  </a:lnTo>
                  <a:lnTo>
                    <a:pt x="1293" y="1642"/>
                  </a:lnTo>
                  <a:lnTo>
                    <a:pt x="1296" y="1646"/>
                  </a:lnTo>
                  <a:lnTo>
                    <a:pt x="1293" y="1651"/>
                  </a:lnTo>
                  <a:lnTo>
                    <a:pt x="1311" y="1665"/>
                  </a:lnTo>
                  <a:lnTo>
                    <a:pt x="1318" y="1680"/>
                  </a:lnTo>
                  <a:lnTo>
                    <a:pt x="1326" y="1688"/>
                  </a:lnTo>
                  <a:lnTo>
                    <a:pt x="1345" y="1734"/>
                  </a:lnTo>
                  <a:lnTo>
                    <a:pt x="1363" y="1762"/>
                  </a:lnTo>
                  <a:lnTo>
                    <a:pt x="1364" y="1778"/>
                  </a:lnTo>
                  <a:lnTo>
                    <a:pt x="1382" y="1794"/>
                  </a:lnTo>
                  <a:lnTo>
                    <a:pt x="1402" y="1807"/>
                  </a:lnTo>
                  <a:lnTo>
                    <a:pt x="1423" y="1816"/>
                  </a:lnTo>
                  <a:lnTo>
                    <a:pt x="1450" y="1838"/>
                  </a:lnTo>
                  <a:lnTo>
                    <a:pt x="1455" y="1865"/>
                  </a:lnTo>
                  <a:lnTo>
                    <a:pt x="1456" y="1890"/>
                  </a:lnTo>
                  <a:lnTo>
                    <a:pt x="1454" y="1911"/>
                  </a:lnTo>
                  <a:lnTo>
                    <a:pt x="1449" y="1919"/>
                  </a:lnTo>
                  <a:lnTo>
                    <a:pt x="1450" y="1950"/>
                  </a:lnTo>
                  <a:lnTo>
                    <a:pt x="1447" y="1959"/>
                  </a:lnTo>
                  <a:lnTo>
                    <a:pt x="1447" y="1975"/>
                  </a:lnTo>
                  <a:lnTo>
                    <a:pt x="1436" y="2011"/>
                  </a:lnTo>
                  <a:lnTo>
                    <a:pt x="1438" y="2027"/>
                  </a:lnTo>
                  <a:lnTo>
                    <a:pt x="1434" y="2034"/>
                  </a:lnTo>
                  <a:lnTo>
                    <a:pt x="1432" y="2040"/>
                  </a:lnTo>
                  <a:lnTo>
                    <a:pt x="1436" y="2072"/>
                  </a:lnTo>
                  <a:lnTo>
                    <a:pt x="1434" y="2095"/>
                  </a:lnTo>
                  <a:lnTo>
                    <a:pt x="1415" y="2148"/>
                  </a:lnTo>
                  <a:lnTo>
                    <a:pt x="1411" y="2148"/>
                  </a:lnTo>
                  <a:lnTo>
                    <a:pt x="1411" y="2156"/>
                  </a:lnTo>
                  <a:lnTo>
                    <a:pt x="1405" y="2160"/>
                  </a:lnTo>
                  <a:lnTo>
                    <a:pt x="1405" y="2183"/>
                  </a:lnTo>
                  <a:lnTo>
                    <a:pt x="1409" y="2201"/>
                  </a:lnTo>
                  <a:lnTo>
                    <a:pt x="1404" y="2208"/>
                  </a:lnTo>
                  <a:lnTo>
                    <a:pt x="1400" y="2238"/>
                  </a:lnTo>
                  <a:lnTo>
                    <a:pt x="1408" y="2246"/>
                  </a:lnTo>
                  <a:lnTo>
                    <a:pt x="1415" y="2241"/>
                  </a:lnTo>
                  <a:lnTo>
                    <a:pt x="1424" y="2243"/>
                  </a:lnTo>
                  <a:lnTo>
                    <a:pt x="1417" y="2250"/>
                  </a:lnTo>
                  <a:lnTo>
                    <a:pt x="1422" y="2251"/>
                  </a:lnTo>
                  <a:lnTo>
                    <a:pt x="1423" y="2259"/>
                  </a:lnTo>
                  <a:lnTo>
                    <a:pt x="1421" y="2257"/>
                  </a:lnTo>
                  <a:lnTo>
                    <a:pt x="1418" y="2258"/>
                  </a:lnTo>
                  <a:lnTo>
                    <a:pt x="1421" y="2262"/>
                  </a:lnTo>
                  <a:lnTo>
                    <a:pt x="1417" y="2265"/>
                  </a:lnTo>
                  <a:lnTo>
                    <a:pt x="1418" y="2270"/>
                  </a:lnTo>
                  <a:lnTo>
                    <a:pt x="1413" y="2279"/>
                  </a:lnTo>
                  <a:lnTo>
                    <a:pt x="1416" y="2286"/>
                  </a:lnTo>
                  <a:lnTo>
                    <a:pt x="1411" y="2295"/>
                  </a:lnTo>
                  <a:lnTo>
                    <a:pt x="1418" y="2299"/>
                  </a:lnTo>
                  <a:lnTo>
                    <a:pt x="1419" y="2306"/>
                  </a:lnTo>
                  <a:lnTo>
                    <a:pt x="1409" y="2312"/>
                  </a:lnTo>
                  <a:lnTo>
                    <a:pt x="1409" y="2317"/>
                  </a:lnTo>
                  <a:lnTo>
                    <a:pt x="1412" y="2319"/>
                  </a:lnTo>
                  <a:lnTo>
                    <a:pt x="1406" y="2322"/>
                  </a:lnTo>
                  <a:lnTo>
                    <a:pt x="1405" y="2325"/>
                  </a:lnTo>
                  <a:lnTo>
                    <a:pt x="1411" y="2323"/>
                  </a:lnTo>
                  <a:lnTo>
                    <a:pt x="1408" y="2327"/>
                  </a:lnTo>
                  <a:lnTo>
                    <a:pt x="1411" y="2328"/>
                  </a:lnTo>
                  <a:lnTo>
                    <a:pt x="1405" y="2330"/>
                  </a:lnTo>
                  <a:lnTo>
                    <a:pt x="1405" y="2337"/>
                  </a:lnTo>
                  <a:lnTo>
                    <a:pt x="1409" y="2332"/>
                  </a:lnTo>
                  <a:lnTo>
                    <a:pt x="1408" y="2338"/>
                  </a:lnTo>
                  <a:lnTo>
                    <a:pt x="1402" y="2344"/>
                  </a:lnTo>
                  <a:lnTo>
                    <a:pt x="1402" y="2338"/>
                  </a:lnTo>
                  <a:lnTo>
                    <a:pt x="1399" y="2342"/>
                  </a:lnTo>
                  <a:lnTo>
                    <a:pt x="1397" y="2340"/>
                  </a:lnTo>
                  <a:lnTo>
                    <a:pt x="1398" y="2336"/>
                  </a:lnTo>
                  <a:lnTo>
                    <a:pt x="1396" y="2330"/>
                  </a:lnTo>
                  <a:lnTo>
                    <a:pt x="1384" y="2330"/>
                  </a:lnTo>
                  <a:lnTo>
                    <a:pt x="1389" y="2337"/>
                  </a:lnTo>
                  <a:lnTo>
                    <a:pt x="1377" y="2344"/>
                  </a:lnTo>
                  <a:lnTo>
                    <a:pt x="1376" y="2350"/>
                  </a:lnTo>
                  <a:lnTo>
                    <a:pt x="1379" y="2353"/>
                  </a:lnTo>
                  <a:lnTo>
                    <a:pt x="1378" y="2348"/>
                  </a:lnTo>
                  <a:lnTo>
                    <a:pt x="1382" y="2345"/>
                  </a:lnTo>
                  <a:lnTo>
                    <a:pt x="1389" y="2350"/>
                  </a:lnTo>
                  <a:lnTo>
                    <a:pt x="1396" y="2349"/>
                  </a:lnTo>
                  <a:lnTo>
                    <a:pt x="1399" y="2355"/>
                  </a:lnTo>
                  <a:lnTo>
                    <a:pt x="1397" y="2357"/>
                  </a:lnTo>
                  <a:lnTo>
                    <a:pt x="1399" y="2359"/>
                  </a:lnTo>
                  <a:lnTo>
                    <a:pt x="1392" y="2363"/>
                  </a:lnTo>
                  <a:lnTo>
                    <a:pt x="1399" y="2367"/>
                  </a:lnTo>
                  <a:lnTo>
                    <a:pt x="1398" y="2372"/>
                  </a:lnTo>
                  <a:lnTo>
                    <a:pt x="1402" y="2369"/>
                  </a:lnTo>
                  <a:lnTo>
                    <a:pt x="1409" y="2380"/>
                  </a:lnTo>
                  <a:lnTo>
                    <a:pt x="1397" y="2377"/>
                  </a:lnTo>
                  <a:lnTo>
                    <a:pt x="1397" y="2382"/>
                  </a:lnTo>
                  <a:lnTo>
                    <a:pt x="1392" y="2375"/>
                  </a:lnTo>
                  <a:lnTo>
                    <a:pt x="1393" y="2386"/>
                  </a:lnTo>
                  <a:lnTo>
                    <a:pt x="1400" y="2385"/>
                  </a:lnTo>
                  <a:lnTo>
                    <a:pt x="1403" y="2389"/>
                  </a:lnTo>
                  <a:lnTo>
                    <a:pt x="1396" y="2387"/>
                  </a:lnTo>
                  <a:lnTo>
                    <a:pt x="1396" y="2408"/>
                  </a:lnTo>
                  <a:lnTo>
                    <a:pt x="1402" y="2401"/>
                  </a:lnTo>
                  <a:lnTo>
                    <a:pt x="1400" y="2409"/>
                  </a:lnTo>
                  <a:lnTo>
                    <a:pt x="1402" y="2413"/>
                  </a:lnTo>
                  <a:lnTo>
                    <a:pt x="1396" y="2415"/>
                  </a:lnTo>
                  <a:lnTo>
                    <a:pt x="1390" y="2425"/>
                  </a:lnTo>
                  <a:lnTo>
                    <a:pt x="1400" y="2433"/>
                  </a:lnTo>
                  <a:lnTo>
                    <a:pt x="1397" y="2435"/>
                  </a:lnTo>
                  <a:lnTo>
                    <a:pt x="1398" y="2438"/>
                  </a:lnTo>
                  <a:lnTo>
                    <a:pt x="1403" y="2438"/>
                  </a:lnTo>
                  <a:lnTo>
                    <a:pt x="1404" y="2440"/>
                  </a:lnTo>
                  <a:lnTo>
                    <a:pt x="1398" y="2442"/>
                  </a:lnTo>
                  <a:lnTo>
                    <a:pt x="1398" y="2447"/>
                  </a:lnTo>
                  <a:lnTo>
                    <a:pt x="1405" y="2454"/>
                  </a:lnTo>
                  <a:lnTo>
                    <a:pt x="1406" y="2470"/>
                  </a:lnTo>
                  <a:lnTo>
                    <a:pt x="1409" y="2470"/>
                  </a:lnTo>
                  <a:lnTo>
                    <a:pt x="1408" y="2459"/>
                  </a:lnTo>
                  <a:lnTo>
                    <a:pt x="1412" y="2470"/>
                  </a:lnTo>
                  <a:lnTo>
                    <a:pt x="1415" y="2465"/>
                  </a:lnTo>
                  <a:lnTo>
                    <a:pt x="1412" y="2461"/>
                  </a:lnTo>
                  <a:lnTo>
                    <a:pt x="1419" y="2463"/>
                  </a:lnTo>
                  <a:lnTo>
                    <a:pt x="1415" y="2458"/>
                  </a:lnTo>
                  <a:lnTo>
                    <a:pt x="1422" y="2463"/>
                  </a:lnTo>
                  <a:lnTo>
                    <a:pt x="1419" y="2469"/>
                  </a:lnTo>
                  <a:lnTo>
                    <a:pt x="1423" y="2476"/>
                  </a:lnTo>
                  <a:lnTo>
                    <a:pt x="1418" y="2483"/>
                  </a:lnTo>
                  <a:lnTo>
                    <a:pt x="1436" y="2483"/>
                  </a:lnTo>
                  <a:lnTo>
                    <a:pt x="1442" y="2490"/>
                  </a:lnTo>
                  <a:lnTo>
                    <a:pt x="1438" y="2497"/>
                  </a:lnTo>
                  <a:lnTo>
                    <a:pt x="1428" y="2504"/>
                  </a:lnTo>
                  <a:lnTo>
                    <a:pt x="1426" y="2500"/>
                  </a:lnTo>
                  <a:lnTo>
                    <a:pt x="1424" y="2500"/>
                  </a:lnTo>
                  <a:lnTo>
                    <a:pt x="1425" y="2506"/>
                  </a:lnTo>
                  <a:lnTo>
                    <a:pt x="1434" y="2512"/>
                  </a:lnTo>
                  <a:lnTo>
                    <a:pt x="1442" y="2512"/>
                  </a:lnTo>
                  <a:lnTo>
                    <a:pt x="1447" y="2487"/>
                  </a:lnTo>
                  <a:lnTo>
                    <a:pt x="1469" y="2473"/>
                  </a:lnTo>
                  <a:lnTo>
                    <a:pt x="1483" y="2476"/>
                  </a:lnTo>
                  <a:lnTo>
                    <a:pt x="1474" y="2461"/>
                  </a:lnTo>
                  <a:lnTo>
                    <a:pt x="1468" y="2459"/>
                  </a:lnTo>
                  <a:lnTo>
                    <a:pt x="1474" y="2457"/>
                  </a:lnTo>
                  <a:lnTo>
                    <a:pt x="1471" y="2446"/>
                  </a:lnTo>
                  <a:lnTo>
                    <a:pt x="1467" y="2446"/>
                  </a:lnTo>
                  <a:lnTo>
                    <a:pt x="1473" y="2432"/>
                  </a:lnTo>
                  <a:lnTo>
                    <a:pt x="1481" y="2426"/>
                  </a:lnTo>
                  <a:lnTo>
                    <a:pt x="1478" y="2416"/>
                  </a:lnTo>
                  <a:lnTo>
                    <a:pt x="1483" y="2424"/>
                  </a:lnTo>
                  <a:lnTo>
                    <a:pt x="1490" y="2420"/>
                  </a:lnTo>
                  <a:lnTo>
                    <a:pt x="1495" y="2400"/>
                  </a:lnTo>
                  <a:lnTo>
                    <a:pt x="1519" y="2380"/>
                  </a:lnTo>
                  <a:lnTo>
                    <a:pt x="1522" y="2367"/>
                  </a:lnTo>
                  <a:lnTo>
                    <a:pt x="1521" y="2357"/>
                  </a:lnTo>
                  <a:lnTo>
                    <a:pt x="1507" y="2355"/>
                  </a:lnTo>
                  <a:lnTo>
                    <a:pt x="1499" y="2345"/>
                  </a:lnTo>
                  <a:lnTo>
                    <a:pt x="1494" y="2337"/>
                  </a:lnTo>
                  <a:lnTo>
                    <a:pt x="1495" y="2332"/>
                  </a:lnTo>
                  <a:lnTo>
                    <a:pt x="1506" y="2317"/>
                  </a:lnTo>
                  <a:lnTo>
                    <a:pt x="1515" y="2312"/>
                  </a:lnTo>
                  <a:lnTo>
                    <a:pt x="1525" y="2312"/>
                  </a:lnTo>
                  <a:lnTo>
                    <a:pt x="1523" y="2306"/>
                  </a:lnTo>
                  <a:lnTo>
                    <a:pt x="1529" y="2298"/>
                  </a:lnTo>
                  <a:lnTo>
                    <a:pt x="1529" y="2282"/>
                  </a:lnTo>
                  <a:lnTo>
                    <a:pt x="1534" y="2276"/>
                  </a:lnTo>
                  <a:lnTo>
                    <a:pt x="1543" y="2271"/>
                  </a:lnTo>
                  <a:lnTo>
                    <a:pt x="1533" y="2265"/>
                  </a:lnTo>
                  <a:lnTo>
                    <a:pt x="1540" y="2260"/>
                  </a:lnTo>
                  <a:lnTo>
                    <a:pt x="1545" y="2266"/>
                  </a:lnTo>
                  <a:lnTo>
                    <a:pt x="1552" y="2266"/>
                  </a:lnTo>
                  <a:lnTo>
                    <a:pt x="1554" y="2262"/>
                  </a:lnTo>
                  <a:lnTo>
                    <a:pt x="1553" y="2254"/>
                  </a:lnTo>
                  <a:lnTo>
                    <a:pt x="1551" y="2251"/>
                  </a:lnTo>
                  <a:lnTo>
                    <a:pt x="1543" y="2254"/>
                  </a:lnTo>
                  <a:lnTo>
                    <a:pt x="1546" y="2258"/>
                  </a:lnTo>
                  <a:lnTo>
                    <a:pt x="1540" y="2259"/>
                  </a:lnTo>
                  <a:lnTo>
                    <a:pt x="1533" y="2251"/>
                  </a:lnTo>
                  <a:lnTo>
                    <a:pt x="1529" y="2227"/>
                  </a:lnTo>
                  <a:lnTo>
                    <a:pt x="1534" y="2224"/>
                  </a:lnTo>
                  <a:lnTo>
                    <a:pt x="1551" y="2234"/>
                  </a:lnTo>
                  <a:lnTo>
                    <a:pt x="1561" y="2234"/>
                  </a:lnTo>
                  <a:lnTo>
                    <a:pt x="1569" y="2230"/>
                  </a:lnTo>
                  <a:lnTo>
                    <a:pt x="1573" y="2225"/>
                  </a:lnTo>
                  <a:lnTo>
                    <a:pt x="1571" y="2212"/>
                  </a:lnTo>
                  <a:lnTo>
                    <a:pt x="1577" y="2200"/>
                  </a:lnTo>
                  <a:lnTo>
                    <a:pt x="1573" y="2196"/>
                  </a:lnTo>
                  <a:lnTo>
                    <a:pt x="1573" y="2187"/>
                  </a:lnTo>
                  <a:lnTo>
                    <a:pt x="1577" y="2191"/>
                  </a:lnTo>
                  <a:lnTo>
                    <a:pt x="1592" y="2191"/>
                  </a:lnTo>
                  <a:lnTo>
                    <a:pt x="1636" y="2181"/>
                  </a:lnTo>
                  <a:lnTo>
                    <a:pt x="1642" y="2175"/>
                  </a:lnTo>
                  <a:lnTo>
                    <a:pt x="1644" y="2169"/>
                  </a:lnTo>
                  <a:lnTo>
                    <a:pt x="1655" y="2155"/>
                  </a:lnTo>
                  <a:lnTo>
                    <a:pt x="1656" y="2141"/>
                  </a:lnTo>
                  <a:lnTo>
                    <a:pt x="1650" y="2140"/>
                  </a:lnTo>
                  <a:lnTo>
                    <a:pt x="1645" y="2133"/>
                  </a:lnTo>
                  <a:lnTo>
                    <a:pt x="1647" y="2123"/>
                  </a:lnTo>
                  <a:lnTo>
                    <a:pt x="1631" y="2110"/>
                  </a:lnTo>
                  <a:lnTo>
                    <a:pt x="1630" y="2099"/>
                  </a:lnTo>
                  <a:lnTo>
                    <a:pt x="1638" y="2107"/>
                  </a:lnTo>
                  <a:lnTo>
                    <a:pt x="1647" y="2108"/>
                  </a:lnTo>
                  <a:lnTo>
                    <a:pt x="1663" y="2115"/>
                  </a:lnTo>
                  <a:lnTo>
                    <a:pt x="1683" y="2116"/>
                  </a:lnTo>
                  <a:lnTo>
                    <a:pt x="1694" y="2111"/>
                  </a:lnTo>
                  <a:lnTo>
                    <a:pt x="1704" y="2095"/>
                  </a:lnTo>
                  <a:lnTo>
                    <a:pt x="1718" y="2079"/>
                  </a:lnTo>
                  <a:lnTo>
                    <a:pt x="1721" y="2069"/>
                  </a:lnTo>
                  <a:lnTo>
                    <a:pt x="1740" y="2055"/>
                  </a:lnTo>
                  <a:lnTo>
                    <a:pt x="1750" y="2038"/>
                  </a:lnTo>
                  <a:lnTo>
                    <a:pt x="1759" y="2019"/>
                  </a:lnTo>
                  <a:lnTo>
                    <a:pt x="1775" y="2001"/>
                  </a:lnTo>
                  <a:lnTo>
                    <a:pt x="1777" y="1985"/>
                  </a:lnTo>
                  <a:lnTo>
                    <a:pt x="1779" y="1982"/>
                  </a:lnTo>
                  <a:lnTo>
                    <a:pt x="1776" y="1978"/>
                  </a:lnTo>
                  <a:lnTo>
                    <a:pt x="1775" y="1965"/>
                  </a:lnTo>
                  <a:lnTo>
                    <a:pt x="1781" y="1953"/>
                  </a:lnTo>
                  <a:lnTo>
                    <a:pt x="1805" y="1930"/>
                  </a:lnTo>
                  <a:lnTo>
                    <a:pt x="1835" y="1917"/>
                  </a:lnTo>
                  <a:lnTo>
                    <a:pt x="1838" y="1913"/>
                  </a:lnTo>
                  <a:lnTo>
                    <a:pt x="1871" y="1910"/>
                  </a:lnTo>
                  <a:lnTo>
                    <a:pt x="1874" y="1905"/>
                  </a:lnTo>
                  <a:lnTo>
                    <a:pt x="1886" y="1896"/>
                  </a:lnTo>
                  <a:lnTo>
                    <a:pt x="1890" y="1885"/>
                  </a:lnTo>
                  <a:lnTo>
                    <a:pt x="1906" y="1857"/>
                  </a:lnTo>
                  <a:lnTo>
                    <a:pt x="1910" y="1838"/>
                  </a:lnTo>
                  <a:lnTo>
                    <a:pt x="1916" y="1829"/>
                  </a:lnTo>
                  <a:lnTo>
                    <a:pt x="1919" y="1800"/>
                  </a:lnTo>
                  <a:lnTo>
                    <a:pt x="1917" y="1779"/>
                  </a:lnTo>
                  <a:lnTo>
                    <a:pt x="1920" y="1761"/>
                  </a:lnTo>
                  <a:lnTo>
                    <a:pt x="1931" y="1754"/>
                  </a:lnTo>
                  <a:lnTo>
                    <a:pt x="1943" y="1732"/>
                  </a:lnTo>
                  <a:lnTo>
                    <a:pt x="1958" y="1719"/>
                  </a:lnTo>
                  <a:lnTo>
                    <a:pt x="1975" y="1699"/>
                  </a:lnTo>
                  <a:lnTo>
                    <a:pt x="1981" y="1669"/>
                  </a:lnTo>
                  <a:lnTo>
                    <a:pt x="1976" y="1649"/>
                  </a:lnTo>
                  <a:lnTo>
                    <a:pt x="1971" y="1642"/>
                  </a:lnTo>
                  <a:close/>
                  <a:moveTo>
                    <a:pt x="104" y="244"/>
                  </a:moveTo>
                  <a:lnTo>
                    <a:pt x="98" y="238"/>
                  </a:lnTo>
                  <a:lnTo>
                    <a:pt x="106" y="239"/>
                  </a:lnTo>
                  <a:lnTo>
                    <a:pt x="104" y="244"/>
                  </a:lnTo>
                  <a:close/>
                  <a:moveTo>
                    <a:pt x="1311" y="873"/>
                  </a:moveTo>
                  <a:lnTo>
                    <a:pt x="1282" y="886"/>
                  </a:lnTo>
                  <a:lnTo>
                    <a:pt x="1265" y="886"/>
                  </a:lnTo>
                  <a:lnTo>
                    <a:pt x="1259" y="884"/>
                  </a:lnTo>
                  <a:lnTo>
                    <a:pt x="1263" y="876"/>
                  </a:lnTo>
                  <a:lnTo>
                    <a:pt x="1273" y="878"/>
                  </a:lnTo>
                  <a:lnTo>
                    <a:pt x="1293" y="863"/>
                  </a:lnTo>
                  <a:lnTo>
                    <a:pt x="1301" y="866"/>
                  </a:lnTo>
                  <a:lnTo>
                    <a:pt x="1308" y="861"/>
                  </a:lnTo>
                  <a:lnTo>
                    <a:pt x="1326" y="861"/>
                  </a:lnTo>
                  <a:lnTo>
                    <a:pt x="1311" y="873"/>
                  </a:lnTo>
                  <a:close/>
                  <a:moveTo>
                    <a:pt x="1273" y="871"/>
                  </a:moveTo>
                  <a:lnTo>
                    <a:pt x="1266" y="869"/>
                  </a:lnTo>
                  <a:lnTo>
                    <a:pt x="1268" y="865"/>
                  </a:lnTo>
                  <a:lnTo>
                    <a:pt x="1270" y="865"/>
                  </a:lnTo>
                  <a:lnTo>
                    <a:pt x="1273" y="871"/>
                  </a:lnTo>
                  <a:close/>
                  <a:moveTo>
                    <a:pt x="1321" y="842"/>
                  </a:moveTo>
                  <a:lnTo>
                    <a:pt x="1338" y="837"/>
                  </a:lnTo>
                  <a:lnTo>
                    <a:pt x="1353" y="839"/>
                  </a:lnTo>
                  <a:lnTo>
                    <a:pt x="1351" y="834"/>
                  </a:lnTo>
                  <a:lnTo>
                    <a:pt x="1354" y="835"/>
                  </a:lnTo>
                  <a:lnTo>
                    <a:pt x="1373" y="824"/>
                  </a:lnTo>
                  <a:lnTo>
                    <a:pt x="1364" y="835"/>
                  </a:lnTo>
                  <a:lnTo>
                    <a:pt x="1367" y="836"/>
                  </a:lnTo>
                  <a:lnTo>
                    <a:pt x="1365" y="840"/>
                  </a:lnTo>
                  <a:lnTo>
                    <a:pt x="1367" y="846"/>
                  </a:lnTo>
                  <a:lnTo>
                    <a:pt x="1354" y="850"/>
                  </a:lnTo>
                  <a:lnTo>
                    <a:pt x="1338" y="848"/>
                  </a:lnTo>
                  <a:lnTo>
                    <a:pt x="1324" y="853"/>
                  </a:lnTo>
                  <a:lnTo>
                    <a:pt x="1313" y="852"/>
                  </a:lnTo>
                  <a:lnTo>
                    <a:pt x="1321" y="842"/>
                  </a:lnTo>
                  <a:close/>
                  <a:moveTo>
                    <a:pt x="1246" y="783"/>
                  </a:moveTo>
                  <a:lnTo>
                    <a:pt x="1248" y="788"/>
                  </a:lnTo>
                  <a:lnTo>
                    <a:pt x="1298" y="797"/>
                  </a:lnTo>
                  <a:lnTo>
                    <a:pt x="1308" y="808"/>
                  </a:lnTo>
                  <a:lnTo>
                    <a:pt x="1308" y="813"/>
                  </a:lnTo>
                  <a:lnTo>
                    <a:pt x="1314" y="820"/>
                  </a:lnTo>
                  <a:lnTo>
                    <a:pt x="1308" y="818"/>
                  </a:lnTo>
                  <a:lnTo>
                    <a:pt x="1308" y="824"/>
                  </a:lnTo>
                  <a:lnTo>
                    <a:pt x="1299" y="821"/>
                  </a:lnTo>
                  <a:lnTo>
                    <a:pt x="1295" y="824"/>
                  </a:lnTo>
                  <a:lnTo>
                    <a:pt x="1294" y="816"/>
                  </a:lnTo>
                  <a:lnTo>
                    <a:pt x="1292" y="817"/>
                  </a:lnTo>
                  <a:lnTo>
                    <a:pt x="1291" y="810"/>
                  </a:lnTo>
                  <a:lnTo>
                    <a:pt x="1285" y="810"/>
                  </a:lnTo>
                  <a:lnTo>
                    <a:pt x="1288" y="821"/>
                  </a:lnTo>
                  <a:lnTo>
                    <a:pt x="1283" y="834"/>
                  </a:lnTo>
                  <a:lnTo>
                    <a:pt x="1282" y="850"/>
                  </a:lnTo>
                  <a:lnTo>
                    <a:pt x="1273" y="856"/>
                  </a:lnTo>
                  <a:lnTo>
                    <a:pt x="1266" y="835"/>
                  </a:lnTo>
                  <a:lnTo>
                    <a:pt x="1260" y="837"/>
                  </a:lnTo>
                  <a:lnTo>
                    <a:pt x="1255" y="843"/>
                  </a:lnTo>
                  <a:lnTo>
                    <a:pt x="1250" y="842"/>
                  </a:lnTo>
                  <a:lnTo>
                    <a:pt x="1260" y="828"/>
                  </a:lnTo>
                  <a:lnTo>
                    <a:pt x="1257" y="810"/>
                  </a:lnTo>
                  <a:lnTo>
                    <a:pt x="1243" y="802"/>
                  </a:lnTo>
                  <a:lnTo>
                    <a:pt x="1235" y="802"/>
                  </a:lnTo>
                  <a:lnTo>
                    <a:pt x="1235" y="808"/>
                  </a:lnTo>
                  <a:lnTo>
                    <a:pt x="1228" y="810"/>
                  </a:lnTo>
                  <a:lnTo>
                    <a:pt x="1228" y="817"/>
                  </a:lnTo>
                  <a:lnTo>
                    <a:pt x="1226" y="820"/>
                  </a:lnTo>
                  <a:lnTo>
                    <a:pt x="1224" y="814"/>
                  </a:lnTo>
                  <a:lnTo>
                    <a:pt x="1216" y="823"/>
                  </a:lnTo>
                  <a:lnTo>
                    <a:pt x="1213" y="843"/>
                  </a:lnTo>
                  <a:lnTo>
                    <a:pt x="1216" y="855"/>
                  </a:lnTo>
                  <a:lnTo>
                    <a:pt x="1216" y="865"/>
                  </a:lnTo>
                  <a:lnTo>
                    <a:pt x="1209" y="879"/>
                  </a:lnTo>
                  <a:lnTo>
                    <a:pt x="1203" y="885"/>
                  </a:lnTo>
                  <a:lnTo>
                    <a:pt x="1197" y="881"/>
                  </a:lnTo>
                  <a:lnTo>
                    <a:pt x="1192" y="871"/>
                  </a:lnTo>
                  <a:lnTo>
                    <a:pt x="1192" y="853"/>
                  </a:lnTo>
                  <a:lnTo>
                    <a:pt x="1198" y="826"/>
                  </a:lnTo>
                  <a:lnTo>
                    <a:pt x="1204" y="813"/>
                  </a:lnTo>
                  <a:lnTo>
                    <a:pt x="1203" y="810"/>
                  </a:lnTo>
                  <a:lnTo>
                    <a:pt x="1200" y="820"/>
                  </a:lnTo>
                  <a:lnTo>
                    <a:pt x="1190" y="824"/>
                  </a:lnTo>
                  <a:lnTo>
                    <a:pt x="1192" y="820"/>
                  </a:lnTo>
                  <a:lnTo>
                    <a:pt x="1203" y="803"/>
                  </a:lnTo>
                  <a:lnTo>
                    <a:pt x="1210" y="798"/>
                  </a:lnTo>
                  <a:lnTo>
                    <a:pt x="1210" y="802"/>
                  </a:lnTo>
                  <a:lnTo>
                    <a:pt x="1230" y="794"/>
                  </a:lnTo>
                  <a:lnTo>
                    <a:pt x="1239" y="798"/>
                  </a:lnTo>
                  <a:lnTo>
                    <a:pt x="1241" y="794"/>
                  </a:lnTo>
                  <a:lnTo>
                    <a:pt x="1250" y="795"/>
                  </a:lnTo>
                  <a:lnTo>
                    <a:pt x="1244" y="785"/>
                  </a:lnTo>
                  <a:lnTo>
                    <a:pt x="1246" y="783"/>
                  </a:lnTo>
                  <a:close/>
                  <a:moveTo>
                    <a:pt x="1170" y="749"/>
                  </a:moveTo>
                  <a:lnTo>
                    <a:pt x="1178" y="738"/>
                  </a:lnTo>
                  <a:lnTo>
                    <a:pt x="1179" y="743"/>
                  </a:lnTo>
                  <a:lnTo>
                    <a:pt x="1184" y="733"/>
                  </a:lnTo>
                  <a:lnTo>
                    <a:pt x="1184" y="742"/>
                  </a:lnTo>
                  <a:lnTo>
                    <a:pt x="1190" y="729"/>
                  </a:lnTo>
                  <a:lnTo>
                    <a:pt x="1200" y="732"/>
                  </a:lnTo>
                  <a:lnTo>
                    <a:pt x="1204" y="744"/>
                  </a:lnTo>
                  <a:lnTo>
                    <a:pt x="1204" y="733"/>
                  </a:lnTo>
                  <a:lnTo>
                    <a:pt x="1215" y="735"/>
                  </a:lnTo>
                  <a:lnTo>
                    <a:pt x="1224" y="752"/>
                  </a:lnTo>
                  <a:lnTo>
                    <a:pt x="1236" y="752"/>
                  </a:lnTo>
                  <a:lnTo>
                    <a:pt x="1235" y="759"/>
                  </a:lnTo>
                  <a:lnTo>
                    <a:pt x="1240" y="765"/>
                  </a:lnTo>
                  <a:lnTo>
                    <a:pt x="1240" y="775"/>
                  </a:lnTo>
                  <a:lnTo>
                    <a:pt x="1243" y="776"/>
                  </a:lnTo>
                  <a:lnTo>
                    <a:pt x="1242" y="785"/>
                  </a:lnTo>
                  <a:lnTo>
                    <a:pt x="1234" y="783"/>
                  </a:lnTo>
                  <a:lnTo>
                    <a:pt x="1233" y="779"/>
                  </a:lnTo>
                  <a:lnTo>
                    <a:pt x="1217" y="779"/>
                  </a:lnTo>
                  <a:lnTo>
                    <a:pt x="1209" y="785"/>
                  </a:lnTo>
                  <a:lnTo>
                    <a:pt x="1201" y="785"/>
                  </a:lnTo>
                  <a:lnTo>
                    <a:pt x="1190" y="776"/>
                  </a:lnTo>
                  <a:lnTo>
                    <a:pt x="1183" y="779"/>
                  </a:lnTo>
                  <a:lnTo>
                    <a:pt x="1183" y="775"/>
                  </a:lnTo>
                  <a:lnTo>
                    <a:pt x="1192" y="763"/>
                  </a:lnTo>
                  <a:lnTo>
                    <a:pt x="1157" y="782"/>
                  </a:lnTo>
                  <a:lnTo>
                    <a:pt x="1148" y="783"/>
                  </a:lnTo>
                  <a:lnTo>
                    <a:pt x="1146" y="775"/>
                  </a:lnTo>
                  <a:lnTo>
                    <a:pt x="1130" y="782"/>
                  </a:lnTo>
                  <a:lnTo>
                    <a:pt x="1142" y="769"/>
                  </a:lnTo>
                  <a:lnTo>
                    <a:pt x="1164" y="752"/>
                  </a:lnTo>
                  <a:lnTo>
                    <a:pt x="1170" y="749"/>
                  </a:lnTo>
                  <a:close/>
                </a:path>
              </a:pathLst>
            </a:custGeom>
            <a:grpFill/>
            <a:ln>
              <a:no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lt1"/>
                </a:solidFill>
              </a:endParaRPr>
            </a:p>
          </p:txBody>
        </p:sp>
      </p:grpSp>
      <p:grpSp>
        <p:nvGrpSpPr>
          <p:cNvPr id="76" name="Group 4"/>
          <p:cNvGrpSpPr>
            <a:grpSpLocks noChangeAspect="1"/>
          </p:cNvGrpSpPr>
          <p:nvPr/>
        </p:nvGrpSpPr>
        <p:grpSpPr bwMode="auto">
          <a:xfrm>
            <a:off x="7791724" y="3968224"/>
            <a:ext cx="2691827" cy="2411741"/>
            <a:chOff x="1300" y="526"/>
            <a:chExt cx="4123" cy="3694"/>
          </a:xfrm>
          <a:solidFill>
            <a:srgbClr val="008A5F"/>
          </a:solidFill>
        </p:grpSpPr>
        <p:sp>
          <p:nvSpPr>
            <p:cNvPr id="77" name="Freeform 5"/>
            <p:cNvSpPr>
              <a:spLocks/>
            </p:cNvSpPr>
            <p:nvPr/>
          </p:nvSpPr>
          <p:spPr bwMode="auto">
            <a:xfrm>
              <a:off x="1402" y="1034"/>
              <a:ext cx="97" cy="29"/>
            </a:xfrm>
            <a:custGeom>
              <a:avLst/>
              <a:gdLst>
                <a:gd name="T0" fmla="*/ 71 w 97"/>
                <a:gd name="T1" fmla="*/ 0 h 29"/>
                <a:gd name="T2" fmla="*/ 52 w 97"/>
                <a:gd name="T3" fmla="*/ 17 h 29"/>
                <a:gd name="T4" fmla="*/ 0 w 97"/>
                <a:gd name="T5" fmla="*/ 29 h 29"/>
                <a:gd name="T6" fmla="*/ 97 w 97"/>
                <a:gd name="T7" fmla="*/ 8 h 29"/>
                <a:gd name="T8" fmla="*/ 71 w 97"/>
                <a:gd name="T9" fmla="*/ 0 h 29"/>
              </a:gdLst>
              <a:ahLst/>
              <a:cxnLst>
                <a:cxn ang="0">
                  <a:pos x="T0" y="T1"/>
                </a:cxn>
                <a:cxn ang="0">
                  <a:pos x="T2" y="T3"/>
                </a:cxn>
                <a:cxn ang="0">
                  <a:pos x="T4" y="T5"/>
                </a:cxn>
                <a:cxn ang="0">
                  <a:pos x="T6" y="T7"/>
                </a:cxn>
                <a:cxn ang="0">
                  <a:pos x="T8" y="T9"/>
                </a:cxn>
              </a:cxnLst>
              <a:rect l="0" t="0" r="r" b="b"/>
              <a:pathLst>
                <a:path w="97" h="29">
                  <a:moveTo>
                    <a:pt x="71" y="0"/>
                  </a:moveTo>
                  <a:lnTo>
                    <a:pt x="52" y="17"/>
                  </a:lnTo>
                  <a:lnTo>
                    <a:pt x="0" y="29"/>
                  </a:lnTo>
                  <a:lnTo>
                    <a:pt x="97" y="8"/>
                  </a:lnTo>
                  <a:lnTo>
                    <a:pt x="7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8" name="Freeform 6"/>
            <p:cNvSpPr>
              <a:spLocks/>
            </p:cNvSpPr>
            <p:nvPr/>
          </p:nvSpPr>
          <p:spPr bwMode="auto">
            <a:xfrm>
              <a:off x="1499" y="1037"/>
              <a:ext cx="33" cy="7"/>
            </a:xfrm>
            <a:custGeom>
              <a:avLst/>
              <a:gdLst>
                <a:gd name="T0" fmla="*/ 10 w 14"/>
                <a:gd name="T1" fmla="*/ 0 h 3"/>
                <a:gd name="T2" fmla="*/ 0 w 14"/>
                <a:gd name="T3" fmla="*/ 2 h 3"/>
                <a:gd name="T4" fmla="*/ 14 w 14"/>
                <a:gd name="T5" fmla="*/ 3 h 3"/>
                <a:gd name="T6" fmla="*/ 10 w 14"/>
                <a:gd name="T7" fmla="*/ 0 h 3"/>
              </a:gdLst>
              <a:ahLst/>
              <a:cxnLst>
                <a:cxn ang="0">
                  <a:pos x="T0" y="T1"/>
                </a:cxn>
                <a:cxn ang="0">
                  <a:pos x="T2" y="T3"/>
                </a:cxn>
                <a:cxn ang="0">
                  <a:pos x="T4" y="T5"/>
                </a:cxn>
                <a:cxn ang="0">
                  <a:pos x="T6" y="T7"/>
                </a:cxn>
              </a:cxnLst>
              <a:rect l="0" t="0" r="r" b="b"/>
              <a:pathLst>
                <a:path w="14" h="3">
                  <a:moveTo>
                    <a:pt x="10" y="0"/>
                  </a:moveTo>
                  <a:cubicBezTo>
                    <a:pt x="0" y="2"/>
                    <a:pt x="0" y="2"/>
                    <a:pt x="0" y="2"/>
                  </a:cubicBezTo>
                  <a:cubicBezTo>
                    <a:pt x="0" y="2"/>
                    <a:pt x="6" y="2"/>
                    <a:pt x="14" y="3"/>
                  </a:cubicBez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9" name="Freeform 7"/>
            <p:cNvSpPr>
              <a:spLocks/>
            </p:cNvSpPr>
            <p:nvPr/>
          </p:nvSpPr>
          <p:spPr bwMode="auto">
            <a:xfrm>
              <a:off x="1558" y="1347"/>
              <a:ext cx="3"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0" y="0"/>
                    <a:pt x="0" y="0"/>
                    <a:pt x="0" y="0"/>
                  </a:cubicBezTo>
                  <a:cubicBezTo>
                    <a:pt x="0" y="0"/>
                    <a:pt x="0"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0" name="Freeform 8"/>
            <p:cNvSpPr>
              <a:spLocks/>
            </p:cNvSpPr>
            <p:nvPr/>
          </p:nvSpPr>
          <p:spPr bwMode="auto">
            <a:xfrm>
              <a:off x="1563" y="1269"/>
              <a:ext cx="21" cy="38"/>
            </a:xfrm>
            <a:custGeom>
              <a:avLst/>
              <a:gdLst>
                <a:gd name="T0" fmla="*/ 3 w 9"/>
                <a:gd name="T1" fmla="*/ 16 h 16"/>
                <a:gd name="T2" fmla="*/ 6 w 9"/>
                <a:gd name="T3" fmla="*/ 14 h 16"/>
                <a:gd name="T4" fmla="*/ 3 w 9"/>
                <a:gd name="T5" fmla="*/ 13 h 16"/>
                <a:gd name="T6" fmla="*/ 9 w 9"/>
                <a:gd name="T7" fmla="*/ 8 h 16"/>
                <a:gd name="T8" fmla="*/ 1 w 9"/>
                <a:gd name="T9" fmla="*/ 0 h 16"/>
                <a:gd name="T10" fmla="*/ 0 w 9"/>
                <a:gd name="T11" fmla="*/ 15 h 16"/>
                <a:gd name="T12" fmla="*/ 3 w 9"/>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9" h="16">
                  <a:moveTo>
                    <a:pt x="3" y="16"/>
                  </a:moveTo>
                  <a:cubicBezTo>
                    <a:pt x="6" y="14"/>
                    <a:pt x="6" y="14"/>
                    <a:pt x="6" y="14"/>
                  </a:cubicBezTo>
                  <a:cubicBezTo>
                    <a:pt x="3" y="13"/>
                    <a:pt x="3" y="13"/>
                    <a:pt x="3" y="13"/>
                  </a:cubicBezTo>
                  <a:cubicBezTo>
                    <a:pt x="9" y="8"/>
                    <a:pt x="9" y="8"/>
                    <a:pt x="9" y="8"/>
                  </a:cubicBezTo>
                  <a:cubicBezTo>
                    <a:pt x="1" y="0"/>
                    <a:pt x="1" y="0"/>
                    <a:pt x="1" y="0"/>
                  </a:cubicBezTo>
                  <a:cubicBezTo>
                    <a:pt x="1" y="0"/>
                    <a:pt x="1" y="8"/>
                    <a:pt x="0" y="15"/>
                  </a:cubicBezTo>
                  <a:lnTo>
                    <a:pt x="3"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1" name="Freeform 9"/>
            <p:cNvSpPr>
              <a:spLocks/>
            </p:cNvSpPr>
            <p:nvPr/>
          </p:nvSpPr>
          <p:spPr bwMode="auto">
            <a:xfrm>
              <a:off x="5409" y="4073"/>
              <a:ext cx="14" cy="15"/>
            </a:xfrm>
            <a:custGeom>
              <a:avLst/>
              <a:gdLst>
                <a:gd name="T0" fmla="*/ 2 w 14"/>
                <a:gd name="T1" fmla="*/ 5 h 15"/>
                <a:gd name="T2" fmla="*/ 7 w 14"/>
                <a:gd name="T3" fmla="*/ 15 h 15"/>
                <a:gd name="T4" fmla="*/ 14 w 14"/>
                <a:gd name="T5" fmla="*/ 0 h 15"/>
                <a:gd name="T6" fmla="*/ 0 w 14"/>
                <a:gd name="T7" fmla="*/ 3 h 15"/>
                <a:gd name="T8" fmla="*/ 2 w 14"/>
                <a:gd name="T9" fmla="*/ 5 h 15"/>
              </a:gdLst>
              <a:ahLst/>
              <a:cxnLst>
                <a:cxn ang="0">
                  <a:pos x="T0" y="T1"/>
                </a:cxn>
                <a:cxn ang="0">
                  <a:pos x="T2" y="T3"/>
                </a:cxn>
                <a:cxn ang="0">
                  <a:pos x="T4" y="T5"/>
                </a:cxn>
                <a:cxn ang="0">
                  <a:pos x="T6" y="T7"/>
                </a:cxn>
                <a:cxn ang="0">
                  <a:pos x="T8" y="T9"/>
                </a:cxn>
              </a:cxnLst>
              <a:rect l="0" t="0" r="r" b="b"/>
              <a:pathLst>
                <a:path w="14" h="15">
                  <a:moveTo>
                    <a:pt x="2" y="5"/>
                  </a:moveTo>
                  <a:lnTo>
                    <a:pt x="7" y="15"/>
                  </a:lnTo>
                  <a:lnTo>
                    <a:pt x="14" y="0"/>
                  </a:lnTo>
                  <a:lnTo>
                    <a:pt x="0" y="3"/>
                  </a:lnTo>
                  <a:lnTo>
                    <a:pt x="2"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2" name="Freeform 10"/>
            <p:cNvSpPr>
              <a:spLocks/>
            </p:cNvSpPr>
            <p:nvPr/>
          </p:nvSpPr>
          <p:spPr bwMode="auto">
            <a:xfrm>
              <a:off x="5094" y="3716"/>
              <a:ext cx="173" cy="267"/>
            </a:xfrm>
            <a:custGeom>
              <a:avLst/>
              <a:gdLst>
                <a:gd name="T0" fmla="*/ 19 w 173"/>
                <a:gd name="T1" fmla="*/ 38 h 267"/>
                <a:gd name="T2" fmla="*/ 24 w 173"/>
                <a:gd name="T3" fmla="*/ 31 h 267"/>
                <a:gd name="T4" fmla="*/ 21 w 173"/>
                <a:gd name="T5" fmla="*/ 38 h 267"/>
                <a:gd name="T6" fmla="*/ 24 w 173"/>
                <a:gd name="T7" fmla="*/ 45 h 267"/>
                <a:gd name="T8" fmla="*/ 43 w 173"/>
                <a:gd name="T9" fmla="*/ 69 h 267"/>
                <a:gd name="T10" fmla="*/ 38 w 173"/>
                <a:gd name="T11" fmla="*/ 61 h 267"/>
                <a:gd name="T12" fmla="*/ 47 w 173"/>
                <a:gd name="T13" fmla="*/ 61 h 267"/>
                <a:gd name="T14" fmla="*/ 47 w 173"/>
                <a:gd name="T15" fmla="*/ 83 h 267"/>
                <a:gd name="T16" fmla="*/ 52 w 173"/>
                <a:gd name="T17" fmla="*/ 92 h 267"/>
                <a:gd name="T18" fmla="*/ 62 w 173"/>
                <a:gd name="T19" fmla="*/ 92 h 267"/>
                <a:gd name="T20" fmla="*/ 57 w 173"/>
                <a:gd name="T21" fmla="*/ 99 h 267"/>
                <a:gd name="T22" fmla="*/ 64 w 173"/>
                <a:gd name="T23" fmla="*/ 106 h 267"/>
                <a:gd name="T24" fmla="*/ 64 w 173"/>
                <a:gd name="T25" fmla="*/ 132 h 267"/>
                <a:gd name="T26" fmla="*/ 59 w 173"/>
                <a:gd name="T27" fmla="*/ 135 h 267"/>
                <a:gd name="T28" fmla="*/ 54 w 173"/>
                <a:gd name="T29" fmla="*/ 163 h 267"/>
                <a:gd name="T30" fmla="*/ 38 w 173"/>
                <a:gd name="T31" fmla="*/ 170 h 267"/>
                <a:gd name="T32" fmla="*/ 31 w 173"/>
                <a:gd name="T33" fmla="*/ 182 h 267"/>
                <a:gd name="T34" fmla="*/ 73 w 173"/>
                <a:gd name="T35" fmla="*/ 213 h 267"/>
                <a:gd name="T36" fmla="*/ 73 w 173"/>
                <a:gd name="T37" fmla="*/ 232 h 267"/>
                <a:gd name="T38" fmla="*/ 59 w 173"/>
                <a:gd name="T39" fmla="*/ 256 h 267"/>
                <a:gd name="T40" fmla="*/ 83 w 173"/>
                <a:gd name="T41" fmla="*/ 267 h 267"/>
                <a:gd name="T42" fmla="*/ 118 w 173"/>
                <a:gd name="T43" fmla="*/ 225 h 267"/>
                <a:gd name="T44" fmla="*/ 128 w 173"/>
                <a:gd name="T45" fmla="*/ 199 h 267"/>
                <a:gd name="T46" fmla="*/ 123 w 173"/>
                <a:gd name="T47" fmla="*/ 187 h 267"/>
                <a:gd name="T48" fmla="*/ 133 w 173"/>
                <a:gd name="T49" fmla="*/ 175 h 267"/>
                <a:gd name="T50" fmla="*/ 156 w 173"/>
                <a:gd name="T51" fmla="*/ 173 h 267"/>
                <a:gd name="T52" fmla="*/ 156 w 173"/>
                <a:gd name="T53" fmla="*/ 156 h 267"/>
                <a:gd name="T54" fmla="*/ 166 w 173"/>
                <a:gd name="T55" fmla="*/ 151 h 267"/>
                <a:gd name="T56" fmla="*/ 173 w 173"/>
                <a:gd name="T57" fmla="*/ 118 h 267"/>
                <a:gd name="T58" fmla="*/ 159 w 173"/>
                <a:gd name="T59" fmla="*/ 111 h 267"/>
                <a:gd name="T60" fmla="*/ 130 w 173"/>
                <a:gd name="T61" fmla="*/ 128 h 267"/>
                <a:gd name="T62" fmla="*/ 97 w 173"/>
                <a:gd name="T63" fmla="*/ 116 h 267"/>
                <a:gd name="T64" fmla="*/ 90 w 173"/>
                <a:gd name="T65" fmla="*/ 83 h 267"/>
                <a:gd name="T66" fmla="*/ 80 w 173"/>
                <a:gd name="T67" fmla="*/ 76 h 267"/>
                <a:gd name="T68" fmla="*/ 80 w 173"/>
                <a:gd name="T69" fmla="*/ 102 h 267"/>
                <a:gd name="T70" fmla="*/ 76 w 173"/>
                <a:gd name="T71" fmla="*/ 92 h 267"/>
                <a:gd name="T72" fmla="*/ 59 w 173"/>
                <a:gd name="T73" fmla="*/ 90 h 267"/>
                <a:gd name="T74" fmla="*/ 64 w 173"/>
                <a:gd name="T75" fmla="*/ 73 h 267"/>
                <a:gd name="T76" fmla="*/ 47 w 173"/>
                <a:gd name="T77" fmla="*/ 52 h 267"/>
                <a:gd name="T78" fmla="*/ 54 w 173"/>
                <a:gd name="T79" fmla="*/ 52 h 267"/>
                <a:gd name="T80" fmla="*/ 47 w 173"/>
                <a:gd name="T81" fmla="*/ 31 h 267"/>
                <a:gd name="T82" fmla="*/ 19 w 173"/>
                <a:gd name="T83" fmla="*/ 14 h 267"/>
                <a:gd name="T84" fmla="*/ 14 w 173"/>
                <a:gd name="T85" fmla="*/ 17 h 267"/>
                <a:gd name="T86" fmla="*/ 5 w 173"/>
                <a:gd name="T87" fmla="*/ 0 h 267"/>
                <a:gd name="T88" fmla="*/ 0 w 173"/>
                <a:gd name="T89" fmla="*/ 0 h 267"/>
                <a:gd name="T90" fmla="*/ 14 w 173"/>
                <a:gd name="T91" fmla="*/ 31 h 267"/>
                <a:gd name="T92" fmla="*/ 19 w 173"/>
                <a:gd name="T93" fmla="*/ 38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73" h="267">
                  <a:moveTo>
                    <a:pt x="19" y="38"/>
                  </a:moveTo>
                  <a:lnTo>
                    <a:pt x="24" y="31"/>
                  </a:lnTo>
                  <a:lnTo>
                    <a:pt x="21" y="38"/>
                  </a:lnTo>
                  <a:lnTo>
                    <a:pt x="24" y="45"/>
                  </a:lnTo>
                  <a:lnTo>
                    <a:pt x="43" y="69"/>
                  </a:lnTo>
                  <a:lnTo>
                    <a:pt x="38" y="61"/>
                  </a:lnTo>
                  <a:lnTo>
                    <a:pt x="47" y="61"/>
                  </a:lnTo>
                  <a:lnTo>
                    <a:pt x="47" y="83"/>
                  </a:lnTo>
                  <a:lnTo>
                    <a:pt x="52" y="92"/>
                  </a:lnTo>
                  <a:lnTo>
                    <a:pt x="62" y="92"/>
                  </a:lnTo>
                  <a:lnTo>
                    <a:pt x="57" y="99"/>
                  </a:lnTo>
                  <a:lnTo>
                    <a:pt x="64" y="106"/>
                  </a:lnTo>
                  <a:lnTo>
                    <a:pt x="64" y="132"/>
                  </a:lnTo>
                  <a:lnTo>
                    <a:pt x="59" y="135"/>
                  </a:lnTo>
                  <a:lnTo>
                    <a:pt x="54" y="163"/>
                  </a:lnTo>
                  <a:lnTo>
                    <a:pt x="38" y="170"/>
                  </a:lnTo>
                  <a:lnTo>
                    <a:pt x="31" y="182"/>
                  </a:lnTo>
                  <a:lnTo>
                    <a:pt x="73" y="213"/>
                  </a:lnTo>
                  <a:lnTo>
                    <a:pt x="73" y="232"/>
                  </a:lnTo>
                  <a:lnTo>
                    <a:pt x="59" y="256"/>
                  </a:lnTo>
                  <a:lnTo>
                    <a:pt x="83" y="267"/>
                  </a:lnTo>
                  <a:lnTo>
                    <a:pt x="118" y="225"/>
                  </a:lnTo>
                  <a:lnTo>
                    <a:pt x="128" y="199"/>
                  </a:lnTo>
                  <a:lnTo>
                    <a:pt x="123" y="187"/>
                  </a:lnTo>
                  <a:lnTo>
                    <a:pt x="133" y="175"/>
                  </a:lnTo>
                  <a:lnTo>
                    <a:pt x="156" y="173"/>
                  </a:lnTo>
                  <a:lnTo>
                    <a:pt x="156" y="156"/>
                  </a:lnTo>
                  <a:lnTo>
                    <a:pt x="166" y="151"/>
                  </a:lnTo>
                  <a:lnTo>
                    <a:pt x="173" y="118"/>
                  </a:lnTo>
                  <a:lnTo>
                    <a:pt x="159" y="111"/>
                  </a:lnTo>
                  <a:lnTo>
                    <a:pt x="130" y="128"/>
                  </a:lnTo>
                  <a:lnTo>
                    <a:pt x="97" y="116"/>
                  </a:lnTo>
                  <a:lnTo>
                    <a:pt x="90" y="83"/>
                  </a:lnTo>
                  <a:lnTo>
                    <a:pt x="80" y="76"/>
                  </a:lnTo>
                  <a:lnTo>
                    <a:pt x="80" y="102"/>
                  </a:lnTo>
                  <a:lnTo>
                    <a:pt x="76" y="92"/>
                  </a:lnTo>
                  <a:lnTo>
                    <a:pt x="59" y="90"/>
                  </a:lnTo>
                  <a:lnTo>
                    <a:pt x="64" y="73"/>
                  </a:lnTo>
                  <a:lnTo>
                    <a:pt x="47" y="52"/>
                  </a:lnTo>
                  <a:lnTo>
                    <a:pt x="54" y="52"/>
                  </a:lnTo>
                  <a:lnTo>
                    <a:pt x="47" y="31"/>
                  </a:lnTo>
                  <a:lnTo>
                    <a:pt x="19" y="14"/>
                  </a:lnTo>
                  <a:lnTo>
                    <a:pt x="14" y="17"/>
                  </a:lnTo>
                  <a:lnTo>
                    <a:pt x="5" y="0"/>
                  </a:lnTo>
                  <a:lnTo>
                    <a:pt x="0" y="0"/>
                  </a:lnTo>
                  <a:lnTo>
                    <a:pt x="14" y="31"/>
                  </a:lnTo>
                  <a:lnTo>
                    <a:pt x="19"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3" name="Freeform 11"/>
            <p:cNvSpPr>
              <a:spLocks/>
            </p:cNvSpPr>
            <p:nvPr/>
          </p:nvSpPr>
          <p:spPr bwMode="auto">
            <a:xfrm>
              <a:off x="4912" y="3943"/>
              <a:ext cx="227" cy="253"/>
            </a:xfrm>
            <a:custGeom>
              <a:avLst/>
              <a:gdLst>
                <a:gd name="T0" fmla="*/ 0 w 227"/>
                <a:gd name="T1" fmla="*/ 218 h 253"/>
                <a:gd name="T2" fmla="*/ 4 w 227"/>
                <a:gd name="T3" fmla="*/ 218 h 253"/>
                <a:gd name="T4" fmla="*/ 2 w 227"/>
                <a:gd name="T5" fmla="*/ 227 h 253"/>
                <a:gd name="T6" fmla="*/ 9 w 227"/>
                <a:gd name="T7" fmla="*/ 218 h 253"/>
                <a:gd name="T8" fmla="*/ 4 w 227"/>
                <a:gd name="T9" fmla="*/ 232 h 253"/>
                <a:gd name="T10" fmla="*/ 33 w 227"/>
                <a:gd name="T11" fmla="*/ 232 h 253"/>
                <a:gd name="T12" fmla="*/ 38 w 227"/>
                <a:gd name="T13" fmla="*/ 239 h 253"/>
                <a:gd name="T14" fmla="*/ 73 w 227"/>
                <a:gd name="T15" fmla="*/ 253 h 253"/>
                <a:gd name="T16" fmla="*/ 92 w 227"/>
                <a:gd name="T17" fmla="*/ 249 h 253"/>
                <a:gd name="T18" fmla="*/ 123 w 227"/>
                <a:gd name="T19" fmla="*/ 223 h 253"/>
                <a:gd name="T20" fmla="*/ 146 w 227"/>
                <a:gd name="T21" fmla="*/ 140 h 253"/>
                <a:gd name="T22" fmla="*/ 154 w 227"/>
                <a:gd name="T23" fmla="*/ 145 h 253"/>
                <a:gd name="T24" fmla="*/ 175 w 227"/>
                <a:gd name="T25" fmla="*/ 128 h 253"/>
                <a:gd name="T26" fmla="*/ 194 w 227"/>
                <a:gd name="T27" fmla="*/ 135 h 253"/>
                <a:gd name="T28" fmla="*/ 184 w 227"/>
                <a:gd name="T29" fmla="*/ 126 h 253"/>
                <a:gd name="T30" fmla="*/ 187 w 227"/>
                <a:gd name="T31" fmla="*/ 107 h 253"/>
                <a:gd name="T32" fmla="*/ 201 w 227"/>
                <a:gd name="T33" fmla="*/ 92 h 253"/>
                <a:gd name="T34" fmla="*/ 227 w 227"/>
                <a:gd name="T35" fmla="*/ 52 h 253"/>
                <a:gd name="T36" fmla="*/ 225 w 227"/>
                <a:gd name="T37" fmla="*/ 29 h 253"/>
                <a:gd name="T38" fmla="*/ 227 w 227"/>
                <a:gd name="T39" fmla="*/ 24 h 253"/>
                <a:gd name="T40" fmla="*/ 220 w 227"/>
                <a:gd name="T41" fmla="*/ 19 h 253"/>
                <a:gd name="T42" fmla="*/ 217 w 227"/>
                <a:gd name="T43" fmla="*/ 31 h 253"/>
                <a:gd name="T44" fmla="*/ 217 w 227"/>
                <a:gd name="T45" fmla="*/ 17 h 253"/>
                <a:gd name="T46" fmla="*/ 217 w 227"/>
                <a:gd name="T47" fmla="*/ 17 h 253"/>
                <a:gd name="T48" fmla="*/ 196 w 227"/>
                <a:gd name="T49" fmla="*/ 31 h 253"/>
                <a:gd name="T50" fmla="*/ 180 w 227"/>
                <a:gd name="T51" fmla="*/ 0 h 253"/>
                <a:gd name="T52" fmla="*/ 165 w 227"/>
                <a:gd name="T53" fmla="*/ 19 h 253"/>
                <a:gd name="T54" fmla="*/ 158 w 227"/>
                <a:gd name="T55" fmla="*/ 40 h 253"/>
                <a:gd name="T56" fmla="*/ 144 w 227"/>
                <a:gd name="T57" fmla="*/ 52 h 253"/>
                <a:gd name="T58" fmla="*/ 130 w 227"/>
                <a:gd name="T59" fmla="*/ 90 h 253"/>
                <a:gd name="T60" fmla="*/ 75 w 227"/>
                <a:gd name="T61" fmla="*/ 135 h 253"/>
                <a:gd name="T62" fmla="*/ 47 w 227"/>
                <a:gd name="T63" fmla="*/ 142 h 253"/>
                <a:gd name="T64" fmla="*/ 28 w 227"/>
                <a:gd name="T65" fmla="*/ 173 h 253"/>
                <a:gd name="T66" fmla="*/ 28 w 227"/>
                <a:gd name="T67" fmla="*/ 180 h 253"/>
                <a:gd name="T68" fmla="*/ 21 w 227"/>
                <a:gd name="T69" fmla="*/ 178 h 253"/>
                <a:gd name="T70" fmla="*/ 16 w 227"/>
                <a:gd name="T71" fmla="*/ 180 h 253"/>
                <a:gd name="T72" fmla="*/ 14 w 227"/>
                <a:gd name="T73" fmla="*/ 189 h 253"/>
                <a:gd name="T74" fmla="*/ 21 w 227"/>
                <a:gd name="T75" fmla="*/ 194 h 253"/>
                <a:gd name="T76" fmla="*/ 9 w 227"/>
                <a:gd name="T77" fmla="*/ 194 h 253"/>
                <a:gd name="T78" fmla="*/ 7 w 227"/>
                <a:gd name="T79" fmla="*/ 201 h 253"/>
                <a:gd name="T80" fmla="*/ 12 w 227"/>
                <a:gd name="T81" fmla="*/ 204 h 253"/>
                <a:gd name="T82" fmla="*/ 9 w 227"/>
                <a:gd name="T83" fmla="*/ 211 h 253"/>
                <a:gd name="T84" fmla="*/ 0 w 227"/>
                <a:gd name="T85" fmla="*/ 218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27" h="253">
                  <a:moveTo>
                    <a:pt x="0" y="218"/>
                  </a:moveTo>
                  <a:lnTo>
                    <a:pt x="4" y="218"/>
                  </a:lnTo>
                  <a:lnTo>
                    <a:pt x="2" y="227"/>
                  </a:lnTo>
                  <a:lnTo>
                    <a:pt x="9" y="218"/>
                  </a:lnTo>
                  <a:lnTo>
                    <a:pt x="4" y="232"/>
                  </a:lnTo>
                  <a:lnTo>
                    <a:pt x="33" y="232"/>
                  </a:lnTo>
                  <a:lnTo>
                    <a:pt x="38" y="239"/>
                  </a:lnTo>
                  <a:lnTo>
                    <a:pt x="73" y="253"/>
                  </a:lnTo>
                  <a:lnTo>
                    <a:pt x="92" y="249"/>
                  </a:lnTo>
                  <a:lnTo>
                    <a:pt x="123" y="223"/>
                  </a:lnTo>
                  <a:lnTo>
                    <a:pt x="146" y="140"/>
                  </a:lnTo>
                  <a:lnTo>
                    <a:pt x="154" y="145"/>
                  </a:lnTo>
                  <a:lnTo>
                    <a:pt x="175" y="128"/>
                  </a:lnTo>
                  <a:lnTo>
                    <a:pt x="194" y="135"/>
                  </a:lnTo>
                  <a:lnTo>
                    <a:pt x="184" y="126"/>
                  </a:lnTo>
                  <a:lnTo>
                    <a:pt x="187" y="107"/>
                  </a:lnTo>
                  <a:lnTo>
                    <a:pt x="201" y="92"/>
                  </a:lnTo>
                  <a:lnTo>
                    <a:pt x="227" y="52"/>
                  </a:lnTo>
                  <a:lnTo>
                    <a:pt x="225" y="29"/>
                  </a:lnTo>
                  <a:lnTo>
                    <a:pt x="227" y="24"/>
                  </a:lnTo>
                  <a:lnTo>
                    <a:pt x="220" y="19"/>
                  </a:lnTo>
                  <a:lnTo>
                    <a:pt x="217" y="31"/>
                  </a:lnTo>
                  <a:lnTo>
                    <a:pt x="217" y="17"/>
                  </a:lnTo>
                  <a:lnTo>
                    <a:pt x="217" y="17"/>
                  </a:lnTo>
                  <a:lnTo>
                    <a:pt x="196" y="31"/>
                  </a:lnTo>
                  <a:lnTo>
                    <a:pt x="180" y="0"/>
                  </a:lnTo>
                  <a:lnTo>
                    <a:pt x="165" y="19"/>
                  </a:lnTo>
                  <a:lnTo>
                    <a:pt x="158" y="40"/>
                  </a:lnTo>
                  <a:lnTo>
                    <a:pt x="144" y="52"/>
                  </a:lnTo>
                  <a:lnTo>
                    <a:pt x="130" y="90"/>
                  </a:lnTo>
                  <a:lnTo>
                    <a:pt x="75" y="135"/>
                  </a:lnTo>
                  <a:lnTo>
                    <a:pt x="47" y="142"/>
                  </a:lnTo>
                  <a:lnTo>
                    <a:pt x="28" y="173"/>
                  </a:lnTo>
                  <a:lnTo>
                    <a:pt x="28" y="180"/>
                  </a:lnTo>
                  <a:lnTo>
                    <a:pt x="21" y="178"/>
                  </a:lnTo>
                  <a:lnTo>
                    <a:pt x="16" y="180"/>
                  </a:lnTo>
                  <a:lnTo>
                    <a:pt x="14" y="189"/>
                  </a:lnTo>
                  <a:lnTo>
                    <a:pt x="21" y="194"/>
                  </a:lnTo>
                  <a:lnTo>
                    <a:pt x="9" y="194"/>
                  </a:lnTo>
                  <a:lnTo>
                    <a:pt x="7" y="201"/>
                  </a:lnTo>
                  <a:lnTo>
                    <a:pt x="12" y="204"/>
                  </a:lnTo>
                  <a:lnTo>
                    <a:pt x="9" y="211"/>
                  </a:lnTo>
                  <a:lnTo>
                    <a:pt x="0" y="2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4" name="Freeform 12"/>
            <p:cNvSpPr>
              <a:spLocks/>
            </p:cNvSpPr>
            <p:nvPr/>
          </p:nvSpPr>
          <p:spPr bwMode="auto">
            <a:xfrm>
              <a:off x="4943" y="4196"/>
              <a:ext cx="16" cy="24"/>
            </a:xfrm>
            <a:custGeom>
              <a:avLst/>
              <a:gdLst>
                <a:gd name="T0" fmla="*/ 4 w 16"/>
                <a:gd name="T1" fmla="*/ 0 h 24"/>
                <a:gd name="T2" fmla="*/ 0 w 16"/>
                <a:gd name="T3" fmla="*/ 24 h 24"/>
                <a:gd name="T4" fmla="*/ 16 w 16"/>
                <a:gd name="T5" fmla="*/ 17 h 24"/>
                <a:gd name="T6" fmla="*/ 9 w 16"/>
                <a:gd name="T7" fmla="*/ 3 h 24"/>
                <a:gd name="T8" fmla="*/ 4 w 16"/>
                <a:gd name="T9" fmla="*/ 0 h 24"/>
              </a:gdLst>
              <a:ahLst/>
              <a:cxnLst>
                <a:cxn ang="0">
                  <a:pos x="T0" y="T1"/>
                </a:cxn>
                <a:cxn ang="0">
                  <a:pos x="T2" y="T3"/>
                </a:cxn>
                <a:cxn ang="0">
                  <a:pos x="T4" y="T5"/>
                </a:cxn>
                <a:cxn ang="0">
                  <a:pos x="T6" y="T7"/>
                </a:cxn>
                <a:cxn ang="0">
                  <a:pos x="T8" y="T9"/>
                </a:cxn>
              </a:cxnLst>
              <a:rect l="0" t="0" r="r" b="b"/>
              <a:pathLst>
                <a:path w="16" h="24">
                  <a:moveTo>
                    <a:pt x="4" y="0"/>
                  </a:moveTo>
                  <a:lnTo>
                    <a:pt x="0" y="24"/>
                  </a:lnTo>
                  <a:lnTo>
                    <a:pt x="16" y="17"/>
                  </a:lnTo>
                  <a:lnTo>
                    <a:pt x="9" y="3"/>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5" name="Freeform 13"/>
            <p:cNvSpPr>
              <a:spLocks/>
            </p:cNvSpPr>
            <p:nvPr/>
          </p:nvSpPr>
          <p:spPr bwMode="auto">
            <a:xfrm>
              <a:off x="2327" y="2336"/>
              <a:ext cx="64" cy="116"/>
            </a:xfrm>
            <a:custGeom>
              <a:avLst/>
              <a:gdLst>
                <a:gd name="T0" fmla="*/ 19 w 64"/>
                <a:gd name="T1" fmla="*/ 3 h 116"/>
                <a:gd name="T2" fmla="*/ 12 w 64"/>
                <a:gd name="T3" fmla="*/ 0 h 116"/>
                <a:gd name="T4" fmla="*/ 7 w 64"/>
                <a:gd name="T5" fmla="*/ 3 h 116"/>
                <a:gd name="T6" fmla="*/ 17 w 64"/>
                <a:gd name="T7" fmla="*/ 10 h 116"/>
                <a:gd name="T8" fmla="*/ 12 w 64"/>
                <a:gd name="T9" fmla="*/ 12 h 116"/>
                <a:gd name="T10" fmla="*/ 3 w 64"/>
                <a:gd name="T11" fmla="*/ 50 h 116"/>
                <a:gd name="T12" fmla="*/ 0 w 64"/>
                <a:gd name="T13" fmla="*/ 50 h 116"/>
                <a:gd name="T14" fmla="*/ 3 w 64"/>
                <a:gd name="T15" fmla="*/ 90 h 116"/>
                <a:gd name="T16" fmla="*/ 15 w 64"/>
                <a:gd name="T17" fmla="*/ 111 h 116"/>
                <a:gd name="T18" fmla="*/ 33 w 64"/>
                <a:gd name="T19" fmla="*/ 116 h 116"/>
                <a:gd name="T20" fmla="*/ 62 w 64"/>
                <a:gd name="T21" fmla="*/ 92 h 116"/>
                <a:gd name="T22" fmla="*/ 64 w 64"/>
                <a:gd name="T23" fmla="*/ 66 h 116"/>
                <a:gd name="T24" fmla="*/ 36 w 64"/>
                <a:gd name="T25" fmla="*/ 19 h 116"/>
                <a:gd name="T26" fmla="*/ 19 w 64"/>
                <a:gd name="T27" fmla="*/ 3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 h="116">
                  <a:moveTo>
                    <a:pt x="19" y="3"/>
                  </a:moveTo>
                  <a:lnTo>
                    <a:pt x="12" y="0"/>
                  </a:lnTo>
                  <a:lnTo>
                    <a:pt x="7" y="3"/>
                  </a:lnTo>
                  <a:lnTo>
                    <a:pt x="17" y="10"/>
                  </a:lnTo>
                  <a:lnTo>
                    <a:pt x="12" y="12"/>
                  </a:lnTo>
                  <a:lnTo>
                    <a:pt x="3" y="50"/>
                  </a:lnTo>
                  <a:lnTo>
                    <a:pt x="0" y="50"/>
                  </a:lnTo>
                  <a:lnTo>
                    <a:pt x="3" y="90"/>
                  </a:lnTo>
                  <a:lnTo>
                    <a:pt x="15" y="111"/>
                  </a:lnTo>
                  <a:lnTo>
                    <a:pt x="33" y="116"/>
                  </a:lnTo>
                  <a:lnTo>
                    <a:pt x="62" y="92"/>
                  </a:lnTo>
                  <a:lnTo>
                    <a:pt x="64" y="66"/>
                  </a:lnTo>
                  <a:lnTo>
                    <a:pt x="36" y="19"/>
                  </a:lnTo>
                  <a:lnTo>
                    <a:pt x="19"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6" name="Freeform 14"/>
            <p:cNvSpPr>
              <a:spLocks/>
            </p:cNvSpPr>
            <p:nvPr/>
          </p:nvSpPr>
          <p:spPr bwMode="auto">
            <a:xfrm>
              <a:off x="4346" y="1110"/>
              <a:ext cx="43" cy="33"/>
            </a:xfrm>
            <a:custGeom>
              <a:avLst/>
              <a:gdLst>
                <a:gd name="T0" fmla="*/ 43 w 43"/>
                <a:gd name="T1" fmla="*/ 5 h 33"/>
                <a:gd name="T2" fmla="*/ 40 w 43"/>
                <a:gd name="T3" fmla="*/ 0 h 33"/>
                <a:gd name="T4" fmla="*/ 24 w 43"/>
                <a:gd name="T5" fmla="*/ 10 h 33"/>
                <a:gd name="T6" fmla="*/ 12 w 43"/>
                <a:gd name="T7" fmla="*/ 7 h 33"/>
                <a:gd name="T8" fmla="*/ 0 w 43"/>
                <a:gd name="T9" fmla="*/ 26 h 33"/>
                <a:gd name="T10" fmla="*/ 2 w 43"/>
                <a:gd name="T11" fmla="*/ 33 h 33"/>
                <a:gd name="T12" fmla="*/ 43 w 43"/>
                <a:gd name="T13" fmla="*/ 5 h 33"/>
              </a:gdLst>
              <a:ahLst/>
              <a:cxnLst>
                <a:cxn ang="0">
                  <a:pos x="T0" y="T1"/>
                </a:cxn>
                <a:cxn ang="0">
                  <a:pos x="T2" y="T3"/>
                </a:cxn>
                <a:cxn ang="0">
                  <a:pos x="T4" y="T5"/>
                </a:cxn>
                <a:cxn ang="0">
                  <a:pos x="T6" y="T7"/>
                </a:cxn>
                <a:cxn ang="0">
                  <a:pos x="T8" y="T9"/>
                </a:cxn>
                <a:cxn ang="0">
                  <a:pos x="T10" y="T11"/>
                </a:cxn>
                <a:cxn ang="0">
                  <a:pos x="T12" y="T13"/>
                </a:cxn>
              </a:cxnLst>
              <a:rect l="0" t="0" r="r" b="b"/>
              <a:pathLst>
                <a:path w="43" h="33">
                  <a:moveTo>
                    <a:pt x="43" y="5"/>
                  </a:moveTo>
                  <a:lnTo>
                    <a:pt x="40" y="0"/>
                  </a:lnTo>
                  <a:lnTo>
                    <a:pt x="24" y="10"/>
                  </a:lnTo>
                  <a:lnTo>
                    <a:pt x="12" y="7"/>
                  </a:lnTo>
                  <a:lnTo>
                    <a:pt x="0" y="26"/>
                  </a:lnTo>
                  <a:lnTo>
                    <a:pt x="2" y="33"/>
                  </a:lnTo>
                  <a:lnTo>
                    <a:pt x="43"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7" name="Freeform 15"/>
            <p:cNvSpPr>
              <a:spLocks/>
            </p:cNvSpPr>
            <p:nvPr/>
          </p:nvSpPr>
          <p:spPr bwMode="auto">
            <a:xfrm>
              <a:off x="4332" y="1136"/>
              <a:ext cx="16" cy="19"/>
            </a:xfrm>
            <a:custGeom>
              <a:avLst/>
              <a:gdLst>
                <a:gd name="T0" fmla="*/ 16 w 16"/>
                <a:gd name="T1" fmla="*/ 7 h 19"/>
                <a:gd name="T2" fmla="*/ 14 w 16"/>
                <a:gd name="T3" fmla="*/ 0 h 19"/>
                <a:gd name="T4" fmla="*/ 0 w 16"/>
                <a:gd name="T5" fmla="*/ 19 h 19"/>
                <a:gd name="T6" fmla="*/ 16 w 16"/>
                <a:gd name="T7" fmla="*/ 7 h 19"/>
              </a:gdLst>
              <a:ahLst/>
              <a:cxnLst>
                <a:cxn ang="0">
                  <a:pos x="T0" y="T1"/>
                </a:cxn>
                <a:cxn ang="0">
                  <a:pos x="T2" y="T3"/>
                </a:cxn>
                <a:cxn ang="0">
                  <a:pos x="T4" y="T5"/>
                </a:cxn>
                <a:cxn ang="0">
                  <a:pos x="T6" y="T7"/>
                </a:cxn>
              </a:cxnLst>
              <a:rect l="0" t="0" r="r" b="b"/>
              <a:pathLst>
                <a:path w="16" h="19">
                  <a:moveTo>
                    <a:pt x="16" y="7"/>
                  </a:moveTo>
                  <a:lnTo>
                    <a:pt x="14" y="0"/>
                  </a:lnTo>
                  <a:lnTo>
                    <a:pt x="0" y="19"/>
                  </a:lnTo>
                  <a:lnTo>
                    <a:pt x="16"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8" name="Freeform 16"/>
            <p:cNvSpPr>
              <a:spLocks/>
            </p:cNvSpPr>
            <p:nvPr/>
          </p:nvSpPr>
          <p:spPr bwMode="auto">
            <a:xfrm>
              <a:off x="4287" y="1155"/>
              <a:ext cx="26" cy="31"/>
            </a:xfrm>
            <a:custGeom>
              <a:avLst/>
              <a:gdLst>
                <a:gd name="T0" fmla="*/ 26 w 26"/>
                <a:gd name="T1" fmla="*/ 5 h 31"/>
                <a:gd name="T2" fmla="*/ 21 w 26"/>
                <a:gd name="T3" fmla="*/ 0 h 31"/>
                <a:gd name="T4" fmla="*/ 0 w 26"/>
                <a:gd name="T5" fmla="*/ 24 h 31"/>
                <a:gd name="T6" fmla="*/ 0 w 26"/>
                <a:gd name="T7" fmla="*/ 31 h 31"/>
                <a:gd name="T8" fmla="*/ 26 w 26"/>
                <a:gd name="T9" fmla="*/ 5 h 31"/>
              </a:gdLst>
              <a:ahLst/>
              <a:cxnLst>
                <a:cxn ang="0">
                  <a:pos x="T0" y="T1"/>
                </a:cxn>
                <a:cxn ang="0">
                  <a:pos x="T2" y="T3"/>
                </a:cxn>
                <a:cxn ang="0">
                  <a:pos x="T4" y="T5"/>
                </a:cxn>
                <a:cxn ang="0">
                  <a:pos x="T6" y="T7"/>
                </a:cxn>
                <a:cxn ang="0">
                  <a:pos x="T8" y="T9"/>
                </a:cxn>
              </a:cxnLst>
              <a:rect l="0" t="0" r="r" b="b"/>
              <a:pathLst>
                <a:path w="26" h="31">
                  <a:moveTo>
                    <a:pt x="26" y="5"/>
                  </a:moveTo>
                  <a:lnTo>
                    <a:pt x="21" y="0"/>
                  </a:lnTo>
                  <a:lnTo>
                    <a:pt x="0" y="24"/>
                  </a:lnTo>
                  <a:lnTo>
                    <a:pt x="0" y="31"/>
                  </a:lnTo>
                  <a:lnTo>
                    <a:pt x="26"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9" name="Freeform 17"/>
            <p:cNvSpPr>
              <a:spLocks/>
            </p:cNvSpPr>
            <p:nvPr/>
          </p:nvSpPr>
          <p:spPr bwMode="auto">
            <a:xfrm>
              <a:off x="4408" y="1082"/>
              <a:ext cx="30" cy="23"/>
            </a:xfrm>
            <a:custGeom>
              <a:avLst/>
              <a:gdLst>
                <a:gd name="T0" fmla="*/ 30 w 30"/>
                <a:gd name="T1" fmla="*/ 0 h 23"/>
                <a:gd name="T2" fmla="*/ 14 w 30"/>
                <a:gd name="T3" fmla="*/ 7 h 23"/>
                <a:gd name="T4" fmla="*/ 0 w 30"/>
                <a:gd name="T5" fmla="*/ 23 h 23"/>
                <a:gd name="T6" fmla="*/ 30 w 30"/>
                <a:gd name="T7" fmla="*/ 0 h 23"/>
              </a:gdLst>
              <a:ahLst/>
              <a:cxnLst>
                <a:cxn ang="0">
                  <a:pos x="T0" y="T1"/>
                </a:cxn>
                <a:cxn ang="0">
                  <a:pos x="T2" y="T3"/>
                </a:cxn>
                <a:cxn ang="0">
                  <a:pos x="T4" y="T5"/>
                </a:cxn>
                <a:cxn ang="0">
                  <a:pos x="T6" y="T7"/>
                </a:cxn>
              </a:cxnLst>
              <a:rect l="0" t="0" r="r" b="b"/>
              <a:pathLst>
                <a:path w="30" h="23">
                  <a:moveTo>
                    <a:pt x="30" y="0"/>
                  </a:moveTo>
                  <a:lnTo>
                    <a:pt x="14" y="7"/>
                  </a:lnTo>
                  <a:lnTo>
                    <a:pt x="0" y="23"/>
                  </a:lnTo>
                  <a:lnTo>
                    <a:pt x="3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0" name="Freeform 18"/>
            <p:cNvSpPr>
              <a:spLocks/>
            </p:cNvSpPr>
            <p:nvPr/>
          </p:nvSpPr>
          <p:spPr bwMode="auto">
            <a:xfrm>
              <a:off x="4173" y="701"/>
              <a:ext cx="90" cy="267"/>
            </a:xfrm>
            <a:custGeom>
              <a:avLst/>
              <a:gdLst>
                <a:gd name="T0" fmla="*/ 64 w 90"/>
                <a:gd name="T1" fmla="*/ 241 h 267"/>
                <a:gd name="T2" fmla="*/ 90 w 90"/>
                <a:gd name="T3" fmla="*/ 267 h 267"/>
                <a:gd name="T4" fmla="*/ 76 w 90"/>
                <a:gd name="T5" fmla="*/ 239 h 267"/>
                <a:gd name="T6" fmla="*/ 48 w 90"/>
                <a:gd name="T7" fmla="*/ 137 h 267"/>
                <a:gd name="T8" fmla="*/ 43 w 90"/>
                <a:gd name="T9" fmla="*/ 102 h 267"/>
                <a:gd name="T10" fmla="*/ 50 w 90"/>
                <a:gd name="T11" fmla="*/ 75 h 267"/>
                <a:gd name="T12" fmla="*/ 36 w 90"/>
                <a:gd name="T13" fmla="*/ 9 h 267"/>
                <a:gd name="T14" fmla="*/ 29 w 90"/>
                <a:gd name="T15" fmla="*/ 0 h 267"/>
                <a:gd name="T16" fmla="*/ 19 w 90"/>
                <a:gd name="T17" fmla="*/ 4 h 267"/>
                <a:gd name="T18" fmla="*/ 31 w 90"/>
                <a:gd name="T19" fmla="*/ 33 h 267"/>
                <a:gd name="T20" fmla="*/ 24 w 90"/>
                <a:gd name="T21" fmla="*/ 45 h 267"/>
                <a:gd name="T22" fmla="*/ 7 w 90"/>
                <a:gd name="T23" fmla="*/ 42 h 267"/>
                <a:gd name="T24" fmla="*/ 0 w 90"/>
                <a:gd name="T25" fmla="*/ 99 h 267"/>
                <a:gd name="T26" fmla="*/ 3 w 90"/>
                <a:gd name="T27" fmla="*/ 130 h 267"/>
                <a:gd name="T28" fmla="*/ 15 w 90"/>
                <a:gd name="T29" fmla="*/ 154 h 267"/>
                <a:gd name="T30" fmla="*/ 12 w 90"/>
                <a:gd name="T31" fmla="*/ 177 h 267"/>
                <a:gd name="T32" fmla="*/ 17 w 90"/>
                <a:gd name="T33" fmla="*/ 203 h 267"/>
                <a:gd name="T34" fmla="*/ 62 w 90"/>
                <a:gd name="T35" fmla="*/ 244 h 267"/>
                <a:gd name="T36" fmla="*/ 64 w 90"/>
                <a:gd name="T37" fmla="*/ 241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0" h="267">
                  <a:moveTo>
                    <a:pt x="64" y="241"/>
                  </a:moveTo>
                  <a:lnTo>
                    <a:pt x="90" y="267"/>
                  </a:lnTo>
                  <a:lnTo>
                    <a:pt x="76" y="239"/>
                  </a:lnTo>
                  <a:lnTo>
                    <a:pt x="48" y="137"/>
                  </a:lnTo>
                  <a:lnTo>
                    <a:pt x="43" y="102"/>
                  </a:lnTo>
                  <a:lnTo>
                    <a:pt x="50" y="75"/>
                  </a:lnTo>
                  <a:lnTo>
                    <a:pt x="36" y="9"/>
                  </a:lnTo>
                  <a:lnTo>
                    <a:pt x="29" y="0"/>
                  </a:lnTo>
                  <a:lnTo>
                    <a:pt x="19" y="4"/>
                  </a:lnTo>
                  <a:lnTo>
                    <a:pt x="31" y="33"/>
                  </a:lnTo>
                  <a:lnTo>
                    <a:pt x="24" y="45"/>
                  </a:lnTo>
                  <a:lnTo>
                    <a:pt x="7" y="42"/>
                  </a:lnTo>
                  <a:lnTo>
                    <a:pt x="0" y="99"/>
                  </a:lnTo>
                  <a:lnTo>
                    <a:pt x="3" y="130"/>
                  </a:lnTo>
                  <a:lnTo>
                    <a:pt x="15" y="154"/>
                  </a:lnTo>
                  <a:lnTo>
                    <a:pt x="12" y="177"/>
                  </a:lnTo>
                  <a:lnTo>
                    <a:pt x="17" y="203"/>
                  </a:lnTo>
                  <a:lnTo>
                    <a:pt x="62" y="244"/>
                  </a:lnTo>
                  <a:lnTo>
                    <a:pt x="64" y="2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1" name="Freeform 19"/>
            <p:cNvSpPr>
              <a:spLocks/>
            </p:cNvSpPr>
            <p:nvPr/>
          </p:nvSpPr>
          <p:spPr bwMode="auto">
            <a:xfrm>
              <a:off x="4180" y="904"/>
              <a:ext cx="55" cy="185"/>
            </a:xfrm>
            <a:custGeom>
              <a:avLst/>
              <a:gdLst>
                <a:gd name="T0" fmla="*/ 0 w 55"/>
                <a:gd name="T1" fmla="*/ 67 h 185"/>
                <a:gd name="T2" fmla="*/ 10 w 55"/>
                <a:gd name="T3" fmla="*/ 97 h 185"/>
                <a:gd name="T4" fmla="*/ 0 w 55"/>
                <a:gd name="T5" fmla="*/ 154 h 185"/>
                <a:gd name="T6" fmla="*/ 3 w 55"/>
                <a:gd name="T7" fmla="*/ 183 h 185"/>
                <a:gd name="T8" fmla="*/ 8 w 55"/>
                <a:gd name="T9" fmla="*/ 185 h 185"/>
                <a:gd name="T10" fmla="*/ 22 w 55"/>
                <a:gd name="T11" fmla="*/ 154 h 185"/>
                <a:gd name="T12" fmla="*/ 45 w 55"/>
                <a:gd name="T13" fmla="*/ 161 h 185"/>
                <a:gd name="T14" fmla="*/ 48 w 55"/>
                <a:gd name="T15" fmla="*/ 183 h 185"/>
                <a:gd name="T16" fmla="*/ 50 w 55"/>
                <a:gd name="T17" fmla="*/ 175 h 185"/>
                <a:gd name="T18" fmla="*/ 48 w 55"/>
                <a:gd name="T19" fmla="*/ 152 h 185"/>
                <a:gd name="T20" fmla="*/ 36 w 55"/>
                <a:gd name="T21" fmla="*/ 147 h 185"/>
                <a:gd name="T22" fmla="*/ 22 w 55"/>
                <a:gd name="T23" fmla="*/ 114 h 185"/>
                <a:gd name="T24" fmla="*/ 36 w 55"/>
                <a:gd name="T25" fmla="*/ 45 h 185"/>
                <a:gd name="T26" fmla="*/ 55 w 55"/>
                <a:gd name="T27" fmla="*/ 41 h 185"/>
                <a:gd name="T28" fmla="*/ 10 w 55"/>
                <a:gd name="T29" fmla="*/ 0 h 185"/>
                <a:gd name="T30" fmla="*/ 10 w 55"/>
                <a:gd name="T31" fmla="*/ 10 h 185"/>
                <a:gd name="T32" fmla="*/ 0 w 55"/>
                <a:gd name="T33" fmla="*/ 6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5" h="185">
                  <a:moveTo>
                    <a:pt x="0" y="67"/>
                  </a:moveTo>
                  <a:lnTo>
                    <a:pt x="10" y="97"/>
                  </a:lnTo>
                  <a:lnTo>
                    <a:pt x="0" y="154"/>
                  </a:lnTo>
                  <a:lnTo>
                    <a:pt x="3" y="183"/>
                  </a:lnTo>
                  <a:lnTo>
                    <a:pt x="8" y="185"/>
                  </a:lnTo>
                  <a:lnTo>
                    <a:pt x="22" y="154"/>
                  </a:lnTo>
                  <a:lnTo>
                    <a:pt x="45" y="161"/>
                  </a:lnTo>
                  <a:lnTo>
                    <a:pt x="48" y="183"/>
                  </a:lnTo>
                  <a:lnTo>
                    <a:pt x="50" y="175"/>
                  </a:lnTo>
                  <a:lnTo>
                    <a:pt x="48" y="152"/>
                  </a:lnTo>
                  <a:lnTo>
                    <a:pt x="36" y="147"/>
                  </a:lnTo>
                  <a:lnTo>
                    <a:pt x="22" y="114"/>
                  </a:lnTo>
                  <a:lnTo>
                    <a:pt x="36" y="45"/>
                  </a:lnTo>
                  <a:lnTo>
                    <a:pt x="55" y="41"/>
                  </a:lnTo>
                  <a:lnTo>
                    <a:pt x="10" y="0"/>
                  </a:lnTo>
                  <a:lnTo>
                    <a:pt x="10" y="10"/>
                  </a:lnTo>
                  <a:lnTo>
                    <a:pt x="0"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2" name="Freeform 20"/>
            <p:cNvSpPr>
              <a:spLocks/>
            </p:cNvSpPr>
            <p:nvPr/>
          </p:nvSpPr>
          <p:spPr bwMode="auto">
            <a:xfrm>
              <a:off x="4024" y="3756"/>
              <a:ext cx="45" cy="17"/>
            </a:xfrm>
            <a:custGeom>
              <a:avLst/>
              <a:gdLst>
                <a:gd name="T0" fmla="*/ 0 w 45"/>
                <a:gd name="T1" fmla="*/ 7 h 17"/>
                <a:gd name="T2" fmla="*/ 3 w 45"/>
                <a:gd name="T3" fmla="*/ 17 h 17"/>
                <a:gd name="T4" fmla="*/ 10 w 45"/>
                <a:gd name="T5" fmla="*/ 17 h 17"/>
                <a:gd name="T6" fmla="*/ 45 w 45"/>
                <a:gd name="T7" fmla="*/ 12 h 17"/>
                <a:gd name="T8" fmla="*/ 22 w 45"/>
                <a:gd name="T9" fmla="*/ 0 h 17"/>
                <a:gd name="T10" fmla="*/ 0 w 45"/>
                <a:gd name="T11" fmla="*/ 7 h 17"/>
              </a:gdLst>
              <a:ahLst/>
              <a:cxnLst>
                <a:cxn ang="0">
                  <a:pos x="T0" y="T1"/>
                </a:cxn>
                <a:cxn ang="0">
                  <a:pos x="T2" y="T3"/>
                </a:cxn>
                <a:cxn ang="0">
                  <a:pos x="T4" y="T5"/>
                </a:cxn>
                <a:cxn ang="0">
                  <a:pos x="T6" y="T7"/>
                </a:cxn>
                <a:cxn ang="0">
                  <a:pos x="T8" y="T9"/>
                </a:cxn>
                <a:cxn ang="0">
                  <a:pos x="T10" y="T11"/>
                </a:cxn>
              </a:cxnLst>
              <a:rect l="0" t="0" r="r" b="b"/>
              <a:pathLst>
                <a:path w="45" h="17">
                  <a:moveTo>
                    <a:pt x="0" y="7"/>
                  </a:moveTo>
                  <a:lnTo>
                    <a:pt x="3" y="17"/>
                  </a:lnTo>
                  <a:lnTo>
                    <a:pt x="10" y="17"/>
                  </a:lnTo>
                  <a:lnTo>
                    <a:pt x="45" y="12"/>
                  </a:lnTo>
                  <a:lnTo>
                    <a:pt x="22" y="0"/>
                  </a:ln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3" name="Freeform 21"/>
            <p:cNvSpPr>
              <a:spLocks/>
            </p:cNvSpPr>
            <p:nvPr/>
          </p:nvSpPr>
          <p:spPr bwMode="auto">
            <a:xfrm>
              <a:off x="3328" y="2944"/>
              <a:ext cx="1200" cy="945"/>
            </a:xfrm>
            <a:custGeom>
              <a:avLst/>
              <a:gdLst>
                <a:gd name="T0" fmla="*/ 1118 w 1200"/>
                <a:gd name="T1" fmla="*/ 363 h 945"/>
                <a:gd name="T2" fmla="*/ 1087 w 1200"/>
                <a:gd name="T3" fmla="*/ 367 h 945"/>
                <a:gd name="T4" fmla="*/ 1063 w 1200"/>
                <a:gd name="T5" fmla="*/ 296 h 945"/>
                <a:gd name="T6" fmla="*/ 1004 w 1200"/>
                <a:gd name="T7" fmla="*/ 265 h 945"/>
                <a:gd name="T8" fmla="*/ 973 w 1200"/>
                <a:gd name="T9" fmla="*/ 192 h 945"/>
                <a:gd name="T10" fmla="*/ 919 w 1200"/>
                <a:gd name="T11" fmla="*/ 116 h 945"/>
                <a:gd name="T12" fmla="*/ 888 w 1200"/>
                <a:gd name="T13" fmla="*/ 38 h 945"/>
                <a:gd name="T14" fmla="*/ 864 w 1200"/>
                <a:gd name="T15" fmla="*/ 10 h 945"/>
                <a:gd name="T16" fmla="*/ 845 w 1200"/>
                <a:gd name="T17" fmla="*/ 135 h 945"/>
                <a:gd name="T18" fmla="*/ 777 w 1200"/>
                <a:gd name="T19" fmla="*/ 204 h 945"/>
                <a:gd name="T20" fmla="*/ 692 w 1200"/>
                <a:gd name="T21" fmla="*/ 164 h 945"/>
                <a:gd name="T22" fmla="*/ 673 w 1200"/>
                <a:gd name="T23" fmla="*/ 95 h 945"/>
                <a:gd name="T24" fmla="*/ 694 w 1200"/>
                <a:gd name="T25" fmla="*/ 78 h 945"/>
                <a:gd name="T26" fmla="*/ 694 w 1200"/>
                <a:gd name="T27" fmla="*/ 52 h 945"/>
                <a:gd name="T28" fmla="*/ 673 w 1200"/>
                <a:gd name="T29" fmla="*/ 45 h 945"/>
                <a:gd name="T30" fmla="*/ 623 w 1200"/>
                <a:gd name="T31" fmla="*/ 45 h 945"/>
                <a:gd name="T32" fmla="*/ 580 w 1200"/>
                <a:gd name="T33" fmla="*/ 29 h 945"/>
                <a:gd name="T34" fmla="*/ 552 w 1200"/>
                <a:gd name="T35" fmla="*/ 22 h 945"/>
                <a:gd name="T36" fmla="*/ 559 w 1200"/>
                <a:gd name="T37" fmla="*/ 52 h 945"/>
                <a:gd name="T38" fmla="*/ 519 w 1200"/>
                <a:gd name="T39" fmla="*/ 57 h 945"/>
                <a:gd name="T40" fmla="*/ 507 w 1200"/>
                <a:gd name="T41" fmla="*/ 86 h 945"/>
                <a:gd name="T42" fmla="*/ 488 w 1200"/>
                <a:gd name="T43" fmla="*/ 131 h 945"/>
                <a:gd name="T44" fmla="*/ 445 w 1200"/>
                <a:gd name="T45" fmla="*/ 135 h 945"/>
                <a:gd name="T46" fmla="*/ 405 w 1200"/>
                <a:gd name="T47" fmla="*/ 97 h 945"/>
                <a:gd name="T48" fmla="*/ 372 w 1200"/>
                <a:gd name="T49" fmla="*/ 123 h 945"/>
                <a:gd name="T50" fmla="*/ 348 w 1200"/>
                <a:gd name="T51" fmla="*/ 133 h 945"/>
                <a:gd name="T52" fmla="*/ 332 w 1200"/>
                <a:gd name="T53" fmla="*/ 173 h 945"/>
                <a:gd name="T54" fmla="*/ 306 w 1200"/>
                <a:gd name="T55" fmla="*/ 171 h 945"/>
                <a:gd name="T56" fmla="*/ 306 w 1200"/>
                <a:gd name="T57" fmla="*/ 211 h 945"/>
                <a:gd name="T58" fmla="*/ 263 w 1200"/>
                <a:gd name="T59" fmla="*/ 209 h 945"/>
                <a:gd name="T60" fmla="*/ 228 w 1200"/>
                <a:gd name="T61" fmla="*/ 275 h 945"/>
                <a:gd name="T62" fmla="*/ 131 w 1200"/>
                <a:gd name="T63" fmla="*/ 308 h 945"/>
                <a:gd name="T64" fmla="*/ 38 w 1200"/>
                <a:gd name="T65" fmla="*/ 346 h 945"/>
                <a:gd name="T66" fmla="*/ 15 w 1200"/>
                <a:gd name="T67" fmla="*/ 363 h 945"/>
                <a:gd name="T68" fmla="*/ 29 w 1200"/>
                <a:gd name="T69" fmla="*/ 483 h 945"/>
                <a:gd name="T70" fmla="*/ 12 w 1200"/>
                <a:gd name="T71" fmla="*/ 500 h 945"/>
                <a:gd name="T72" fmla="*/ 29 w 1200"/>
                <a:gd name="T73" fmla="*/ 547 h 945"/>
                <a:gd name="T74" fmla="*/ 76 w 1200"/>
                <a:gd name="T75" fmla="*/ 725 h 945"/>
                <a:gd name="T76" fmla="*/ 69 w 1200"/>
                <a:gd name="T77" fmla="*/ 765 h 945"/>
                <a:gd name="T78" fmla="*/ 152 w 1200"/>
                <a:gd name="T79" fmla="*/ 789 h 945"/>
                <a:gd name="T80" fmla="*/ 310 w 1200"/>
                <a:gd name="T81" fmla="*/ 746 h 945"/>
                <a:gd name="T82" fmla="*/ 476 w 1200"/>
                <a:gd name="T83" fmla="*/ 668 h 945"/>
                <a:gd name="T84" fmla="*/ 580 w 1200"/>
                <a:gd name="T85" fmla="*/ 682 h 945"/>
                <a:gd name="T86" fmla="*/ 623 w 1200"/>
                <a:gd name="T87" fmla="*/ 718 h 945"/>
                <a:gd name="T88" fmla="*/ 654 w 1200"/>
                <a:gd name="T89" fmla="*/ 772 h 945"/>
                <a:gd name="T90" fmla="*/ 692 w 1200"/>
                <a:gd name="T91" fmla="*/ 758 h 945"/>
                <a:gd name="T92" fmla="*/ 739 w 1200"/>
                <a:gd name="T93" fmla="*/ 725 h 945"/>
                <a:gd name="T94" fmla="*/ 708 w 1200"/>
                <a:gd name="T95" fmla="*/ 789 h 945"/>
                <a:gd name="T96" fmla="*/ 753 w 1200"/>
                <a:gd name="T97" fmla="*/ 784 h 945"/>
                <a:gd name="T98" fmla="*/ 777 w 1200"/>
                <a:gd name="T99" fmla="*/ 817 h 945"/>
                <a:gd name="T100" fmla="*/ 798 w 1200"/>
                <a:gd name="T101" fmla="*/ 881 h 945"/>
                <a:gd name="T102" fmla="*/ 871 w 1200"/>
                <a:gd name="T103" fmla="*/ 916 h 945"/>
                <a:gd name="T104" fmla="*/ 942 w 1200"/>
                <a:gd name="T105" fmla="*/ 895 h 945"/>
                <a:gd name="T106" fmla="*/ 964 w 1200"/>
                <a:gd name="T107" fmla="*/ 921 h 945"/>
                <a:gd name="T108" fmla="*/ 987 w 1200"/>
                <a:gd name="T109" fmla="*/ 928 h 945"/>
                <a:gd name="T110" fmla="*/ 1096 w 1200"/>
                <a:gd name="T111" fmla="*/ 883 h 945"/>
                <a:gd name="T112" fmla="*/ 1136 w 1200"/>
                <a:gd name="T113" fmla="*/ 751 h 945"/>
                <a:gd name="T114" fmla="*/ 1200 w 1200"/>
                <a:gd name="T115" fmla="*/ 573 h 9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00" h="945">
                  <a:moveTo>
                    <a:pt x="1189" y="476"/>
                  </a:moveTo>
                  <a:lnTo>
                    <a:pt x="1167" y="438"/>
                  </a:lnTo>
                  <a:lnTo>
                    <a:pt x="1122" y="400"/>
                  </a:lnTo>
                  <a:lnTo>
                    <a:pt x="1118" y="363"/>
                  </a:lnTo>
                  <a:lnTo>
                    <a:pt x="1113" y="370"/>
                  </a:lnTo>
                  <a:lnTo>
                    <a:pt x="1099" y="355"/>
                  </a:lnTo>
                  <a:lnTo>
                    <a:pt x="1094" y="365"/>
                  </a:lnTo>
                  <a:lnTo>
                    <a:pt x="1087" y="367"/>
                  </a:lnTo>
                  <a:lnTo>
                    <a:pt x="1080" y="334"/>
                  </a:lnTo>
                  <a:lnTo>
                    <a:pt x="1068" y="315"/>
                  </a:lnTo>
                  <a:lnTo>
                    <a:pt x="1058" y="308"/>
                  </a:lnTo>
                  <a:lnTo>
                    <a:pt x="1063" y="296"/>
                  </a:lnTo>
                  <a:lnTo>
                    <a:pt x="1042" y="284"/>
                  </a:lnTo>
                  <a:lnTo>
                    <a:pt x="1025" y="282"/>
                  </a:lnTo>
                  <a:lnTo>
                    <a:pt x="1020" y="265"/>
                  </a:lnTo>
                  <a:lnTo>
                    <a:pt x="1004" y="265"/>
                  </a:lnTo>
                  <a:lnTo>
                    <a:pt x="990" y="258"/>
                  </a:lnTo>
                  <a:lnTo>
                    <a:pt x="987" y="244"/>
                  </a:lnTo>
                  <a:lnTo>
                    <a:pt x="980" y="239"/>
                  </a:lnTo>
                  <a:lnTo>
                    <a:pt x="973" y="192"/>
                  </a:lnTo>
                  <a:lnTo>
                    <a:pt x="964" y="183"/>
                  </a:lnTo>
                  <a:lnTo>
                    <a:pt x="957" y="133"/>
                  </a:lnTo>
                  <a:lnTo>
                    <a:pt x="935" y="112"/>
                  </a:lnTo>
                  <a:lnTo>
                    <a:pt x="919" y="116"/>
                  </a:lnTo>
                  <a:lnTo>
                    <a:pt x="909" y="112"/>
                  </a:lnTo>
                  <a:lnTo>
                    <a:pt x="897" y="60"/>
                  </a:lnTo>
                  <a:lnTo>
                    <a:pt x="888" y="50"/>
                  </a:lnTo>
                  <a:lnTo>
                    <a:pt x="888" y="38"/>
                  </a:lnTo>
                  <a:lnTo>
                    <a:pt x="881" y="34"/>
                  </a:lnTo>
                  <a:lnTo>
                    <a:pt x="881" y="10"/>
                  </a:lnTo>
                  <a:lnTo>
                    <a:pt x="876" y="0"/>
                  </a:lnTo>
                  <a:lnTo>
                    <a:pt x="864" y="10"/>
                  </a:lnTo>
                  <a:lnTo>
                    <a:pt x="845" y="55"/>
                  </a:lnTo>
                  <a:lnTo>
                    <a:pt x="850" y="60"/>
                  </a:lnTo>
                  <a:lnTo>
                    <a:pt x="843" y="93"/>
                  </a:lnTo>
                  <a:lnTo>
                    <a:pt x="845" y="135"/>
                  </a:lnTo>
                  <a:lnTo>
                    <a:pt x="836" y="183"/>
                  </a:lnTo>
                  <a:lnTo>
                    <a:pt x="822" y="211"/>
                  </a:lnTo>
                  <a:lnTo>
                    <a:pt x="800" y="218"/>
                  </a:lnTo>
                  <a:lnTo>
                    <a:pt x="777" y="204"/>
                  </a:lnTo>
                  <a:lnTo>
                    <a:pt x="767" y="190"/>
                  </a:lnTo>
                  <a:lnTo>
                    <a:pt x="741" y="183"/>
                  </a:lnTo>
                  <a:lnTo>
                    <a:pt x="715" y="161"/>
                  </a:lnTo>
                  <a:lnTo>
                    <a:pt x="692" y="164"/>
                  </a:lnTo>
                  <a:lnTo>
                    <a:pt x="689" y="145"/>
                  </a:lnTo>
                  <a:lnTo>
                    <a:pt x="665" y="133"/>
                  </a:lnTo>
                  <a:lnTo>
                    <a:pt x="680" y="93"/>
                  </a:lnTo>
                  <a:lnTo>
                    <a:pt x="673" y="95"/>
                  </a:lnTo>
                  <a:lnTo>
                    <a:pt x="677" y="81"/>
                  </a:lnTo>
                  <a:lnTo>
                    <a:pt x="684" y="86"/>
                  </a:lnTo>
                  <a:lnTo>
                    <a:pt x="684" y="76"/>
                  </a:lnTo>
                  <a:lnTo>
                    <a:pt x="694" y="78"/>
                  </a:lnTo>
                  <a:lnTo>
                    <a:pt x="696" y="74"/>
                  </a:lnTo>
                  <a:lnTo>
                    <a:pt x="694" y="67"/>
                  </a:lnTo>
                  <a:lnTo>
                    <a:pt x="703" y="52"/>
                  </a:lnTo>
                  <a:lnTo>
                    <a:pt x="694" y="52"/>
                  </a:lnTo>
                  <a:lnTo>
                    <a:pt x="692" y="41"/>
                  </a:lnTo>
                  <a:lnTo>
                    <a:pt x="677" y="60"/>
                  </a:lnTo>
                  <a:lnTo>
                    <a:pt x="677" y="45"/>
                  </a:lnTo>
                  <a:lnTo>
                    <a:pt x="673" y="45"/>
                  </a:lnTo>
                  <a:lnTo>
                    <a:pt x="677" y="41"/>
                  </a:lnTo>
                  <a:lnTo>
                    <a:pt x="654" y="50"/>
                  </a:lnTo>
                  <a:lnTo>
                    <a:pt x="639" y="43"/>
                  </a:lnTo>
                  <a:lnTo>
                    <a:pt x="623" y="45"/>
                  </a:lnTo>
                  <a:lnTo>
                    <a:pt x="609" y="36"/>
                  </a:lnTo>
                  <a:lnTo>
                    <a:pt x="590" y="34"/>
                  </a:lnTo>
                  <a:lnTo>
                    <a:pt x="583" y="24"/>
                  </a:lnTo>
                  <a:lnTo>
                    <a:pt x="580" y="29"/>
                  </a:lnTo>
                  <a:lnTo>
                    <a:pt x="566" y="17"/>
                  </a:lnTo>
                  <a:lnTo>
                    <a:pt x="564" y="22"/>
                  </a:lnTo>
                  <a:lnTo>
                    <a:pt x="559" y="17"/>
                  </a:lnTo>
                  <a:lnTo>
                    <a:pt x="552" y="22"/>
                  </a:lnTo>
                  <a:lnTo>
                    <a:pt x="557" y="22"/>
                  </a:lnTo>
                  <a:lnTo>
                    <a:pt x="576" y="31"/>
                  </a:lnTo>
                  <a:lnTo>
                    <a:pt x="576" y="45"/>
                  </a:lnTo>
                  <a:lnTo>
                    <a:pt x="559" y="52"/>
                  </a:lnTo>
                  <a:lnTo>
                    <a:pt x="531" y="50"/>
                  </a:lnTo>
                  <a:lnTo>
                    <a:pt x="526" y="55"/>
                  </a:lnTo>
                  <a:lnTo>
                    <a:pt x="526" y="67"/>
                  </a:lnTo>
                  <a:lnTo>
                    <a:pt x="519" y="57"/>
                  </a:lnTo>
                  <a:lnTo>
                    <a:pt x="505" y="67"/>
                  </a:lnTo>
                  <a:lnTo>
                    <a:pt x="505" y="78"/>
                  </a:lnTo>
                  <a:lnTo>
                    <a:pt x="507" y="78"/>
                  </a:lnTo>
                  <a:lnTo>
                    <a:pt x="507" y="86"/>
                  </a:lnTo>
                  <a:lnTo>
                    <a:pt x="495" y="88"/>
                  </a:lnTo>
                  <a:lnTo>
                    <a:pt x="481" y="114"/>
                  </a:lnTo>
                  <a:lnTo>
                    <a:pt x="490" y="128"/>
                  </a:lnTo>
                  <a:lnTo>
                    <a:pt x="488" y="131"/>
                  </a:lnTo>
                  <a:lnTo>
                    <a:pt x="488" y="138"/>
                  </a:lnTo>
                  <a:lnTo>
                    <a:pt x="474" y="128"/>
                  </a:lnTo>
                  <a:lnTo>
                    <a:pt x="455" y="128"/>
                  </a:lnTo>
                  <a:lnTo>
                    <a:pt x="445" y="135"/>
                  </a:lnTo>
                  <a:lnTo>
                    <a:pt x="436" y="152"/>
                  </a:lnTo>
                  <a:lnTo>
                    <a:pt x="443" y="123"/>
                  </a:lnTo>
                  <a:lnTo>
                    <a:pt x="426" y="107"/>
                  </a:lnTo>
                  <a:lnTo>
                    <a:pt x="405" y="97"/>
                  </a:lnTo>
                  <a:lnTo>
                    <a:pt x="384" y="109"/>
                  </a:lnTo>
                  <a:lnTo>
                    <a:pt x="379" y="100"/>
                  </a:lnTo>
                  <a:lnTo>
                    <a:pt x="379" y="119"/>
                  </a:lnTo>
                  <a:lnTo>
                    <a:pt x="372" y="123"/>
                  </a:lnTo>
                  <a:lnTo>
                    <a:pt x="372" y="119"/>
                  </a:lnTo>
                  <a:lnTo>
                    <a:pt x="355" y="121"/>
                  </a:lnTo>
                  <a:lnTo>
                    <a:pt x="360" y="138"/>
                  </a:lnTo>
                  <a:lnTo>
                    <a:pt x="348" y="133"/>
                  </a:lnTo>
                  <a:lnTo>
                    <a:pt x="351" y="145"/>
                  </a:lnTo>
                  <a:lnTo>
                    <a:pt x="337" y="149"/>
                  </a:lnTo>
                  <a:lnTo>
                    <a:pt x="339" y="159"/>
                  </a:lnTo>
                  <a:lnTo>
                    <a:pt x="332" y="173"/>
                  </a:lnTo>
                  <a:lnTo>
                    <a:pt x="334" y="180"/>
                  </a:lnTo>
                  <a:lnTo>
                    <a:pt x="325" y="180"/>
                  </a:lnTo>
                  <a:lnTo>
                    <a:pt x="318" y="168"/>
                  </a:lnTo>
                  <a:lnTo>
                    <a:pt x="306" y="171"/>
                  </a:lnTo>
                  <a:lnTo>
                    <a:pt x="306" y="183"/>
                  </a:lnTo>
                  <a:lnTo>
                    <a:pt x="315" y="197"/>
                  </a:lnTo>
                  <a:lnTo>
                    <a:pt x="308" y="197"/>
                  </a:lnTo>
                  <a:lnTo>
                    <a:pt x="306" y="211"/>
                  </a:lnTo>
                  <a:lnTo>
                    <a:pt x="287" y="176"/>
                  </a:lnTo>
                  <a:lnTo>
                    <a:pt x="284" y="187"/>
                  </a:lnTo>
                  <a:lnTo>
                    <a:pt x="270" y="197"/>
                  </a:lnTo>
                  <a:lnTo>
                    <a:pt x="263" y="209"/>
                  </a:lnTo>
                  <a:lnTo>
                    <a:pt x="270" y="225"/>
                  </a:lnTo>
                  <a:lnTo>
                    <a:pt x="256" y="242"/>
                  </a:lnTo>
                  <a:lnTo>
                    <a:pt x="247" y="263"/>
                  </a:lnTo>
                  <a:lnTo>
                    <a:pt x="228" y="275"/>
                  </a:lnTo>
                  <a:lnTo>
                    <a:pt x="187" y="287"/>
                  </a:lnTo>
                  <a:lnTo>
                    <a:pt x="173" y="287"/>
                  </a:lnTo>
                  <a:lnTo>
                    <a:pt x="164" y="296"/>
                  </a:lnTo>
                  <a:lnTo>
                    <a:pt x="131" y="308"/>
                  </a:lnTo>
                  <a:lnTo>
                    <a:pt x="102" y="303"/>
                  </a:lnTo>
                  <a:lnTo>
                    <a:pt x="79" y="320"/>
                  </a:lnTo>
                  <a:lnTo>
                    <a:pt x="64" y="339"/>
                  </a:lnTo>
                  <a:lnTo>
                    <a:pt x="38" y="346"/>
                  </a:lnTo>
                  <a:lnTo>
                    <a:pt x="26" y="367"/>
                  </a:lnTo>
                  <a:lnTo>
                    <a:pt x="24" y="341"/>
                  </a:lnTo>
                  <a:lnTo>
                    <a:pt x="22" y="346"/>
                  </a:lnTo>
                  <a:lnTo>
                    <a:pt x="15" y="363"/>
                  </a:lnTo>
                  <a:lnTo>
                    <a:pt x="15" y="396"/>
                  </a:lnTo>
                  <a:lnTo>
                    <a:pt x="5" y="415"/>
                  </a:lnTo>
                  <a:lnTo>
                    <a:pt x="5" y="429"/>
                  </a:lnTo>
                  <a:lnTo>
                    <a:pt x="29" y="483"/>
                  </a:lnTo>
                  <a:lnTo>
                    <a:pt x="22" y="493"/>
                  </a:lnTo>
                  <a:lnTo>
                    <a:pt x="15" y="483"/>
                  </a:lnTo>
                  <a:lnTo>
                    <a:pt x="19" y="497"/>
                  </a:lnTo>
                  <a:lnTo>
                    <a:pt x="12" y="500"/>
                  </a:lnTo>
                  <a:lnTo>
                    <a:pt x="5" y="490"/>
                  </a:lnTo>
                  <a:lnTo>
                    <a:pt x="0" y="488"/>
                  </a:lnTo>
                  <a:lnTo>
                    <a:pt x="22" y="516"/>
                  </a:lnTo>
                  <a:lnTo>
                    <a:pt x="29" y="547"/>
                  </a:lnTo>
                  <a:lnTo>
                    <a:pt x="52" y="587"/>
                  </a:lnTo>
                  <a:lnTo>
                    <a:pt x="55" y="625"/>
                  </a:lnTo>
                  <a:lnTo>
                    <a:pt x="76" y="673"/>
                  </a:lnTo>
                  <a:lnTo>
                    <a:pt x="76" y="725"/>
                  </a:lnTo>
                  <a:lnTo>
                    <a:pt x="69" y="739"/>
                  </a:lnTo>
                  <a:lnTo>
                    <a:pt x="57" y="739"/>
                  </a:lnTo>
                  <a:lnTo>
                    <a:pt x="57" y="762"/>
                  </a:lnTo>
                  <a:lnTo>
                    <a:pt x="69" y="765"/>
                  </a:lnTo>
                  <a:lnTo>
                    <a:pt x="88" y="784"/>
                  </a:lnTo>
                  <a:lnTo>
                    <a:pt x="140" y="793"/>
                  </a:lnTo>
                  <a:lnTo>
                    <a:pt x="142" y="789"/>
                  </a:lnTo>
                  <a:lnTo>
                    <a:pt x="152" y="789"/>
                  </a:lnTo>
                  <a:lnTo>
                    <a:pt x="171" y="772"/>
                  </a:lnTo>
                  <a:lnTo>
                    <a:pt x="185" y="770"/>
                  </a:lnTo>
                  <a:lnTo>
                    <a:pt x="204" y="751"/>
                  </a:lnTo>
                  <a:lnTo>
                    <a:pt x="310" y="746"/>
                  </a:lnTo>
                  <a:lnTo>
                    <a:pt x="325" y="720"/>
                  </a:lnTo>
                  <a:lnTo>
                    <a:pt x="384" y="691"/>
                  </a:lnTo>
                  <a:lnTo>
                    <a:pt x="443" y="687"/>
                  </a:lnTo>
                  <a:lnTo>
                    <a:pt x="476" y="668"/>
                  </a:lnTo>
                  <a:lnTo>
                    <a:pt x="528" y="668"/>
                  </a:lnTo>
                  <a:lnTo>
                    <a:pt x="552" y="673"/>
                  </a:lnTo>
                  <a:lnTo>
                    <a:pt x="571" y="687"/>
                  </a:lnTo>
                  <a:lnTo>
                    <a:pt x="580" y="682"/>
                  </a:lnTo>
                  <a:lnTo>
                    <a:pt x="602" y="691"/>
                  </a:lnTo>
                  <a:lnTo>
                    <a:pt x="602" y="689"/>
                  </a:lnTo>
                  <a:lnTo>
                    <a:pt x="625" y="703"/>
                  </a:lnTo>
                  <a:lnTo>
                    <a:pt x="623" y="718"/>
                  </a:lnTo>
                  <a:lnTo>
                    <a:pt x="642" y="725"/>
                  </a:lnTo>
                  <a:lnTo>
                    <a:pt x="661" y="765"/>
                  </a:lnTo>
                  <a:lnTo>
                    <a:pt x="663" y="777"/>
                  </a:lnTo>
                  <a:lnTo>
                    <a:pt x="654" y="772"/>
                  </a:lnTo>
                  <a:lnTo>
                    <a:pt x="654" y="777"/>
                  </a:lnTo>
                  <a:lnTo>
                    <a:pt x="677" y="793"/>
                  </a:lnTo>
                  <a:lnTo>
                    <a:pt x="677" y="777"/>
                  </a:lnTo>
                  <a:lnTo>
                    <a:pt x="692" y="758"/>
                  </a:lnTo>
                  <a:lnTo>
                    <a:pt x="715" y="744"/>
                  </a:lnTo>
                  <a:lnTo>
                    <a:pt x="729" y="718"/>
                  </a:lnTo>
                  <a:lnTo>
                    <a:pt x="732" y="701"/>
                  </a:lnTo>
                  <a:lnTo>
                    <a:pt x="739" y="725"/>
                  </a:lnTo>
                  <a:lnTo>
                    <a:pt x="736" y="739"/>
                  </a:lnTo>
                  <a:lnTo>
                    <a:pt x="722" y="760"/>
                  </a:lnTo>
                  <a:lnTo>
                    <a:pt x="722" y="786"/>
                  </a:lnTo>
                  <a:lnTo>
                    <a:pt x="708" y="789"/>
                  </a:lnTo>
                  <a:lnTo>
                    <a:pt x="706" y="798"/>
                  </a:lnTo>
                  <a:lnTo>
                    <a:pt x="729" y="796"/>
                  </a:lnTo>
                  <a:lnTo>
                    <a:pt x="741" y="762"/>
                  </a:lnTo>
                  <a:lnTo>
                    <a:pt x="753" y="784"/>
                  </a:lnTo>
                  <a:lnTo>
                    <a:pt x="753" y="800"/>
                  </a:lnTo>
                  <a:lnTo>
                    <a:pt x="744" y="812"/>
                  </a:lnTo>
                  <a:lnTo>
                    <a:pt x="779" y="805"/>
                  </a:lnTo>
                  <a:lnTo>
                    <a:pt x="777" y="817"/>
                  </a:lnTo>
                  <a:lnTo>
                    <a:pt x="789" y="833"/>
                  </a:lnTo>
                  <a:lnTo>
                    <a:pt x="793" y="848"/>
                  </a:lnTo>
                  <a:lnTo>
                    <a:pt x="791" y="864"/>
                  </a:lnTo>
                  <a:lnTo>
                    <a:pt x="798" y="881"/>
                  </a:lnTo>
                  <a:lnTo>
                    <a:pt x="812" y="897"/>
                  </a:lnTo>
                  <a:lnTo>
                    <a:pt x="843" y="914"/>
                  </a:lnTo>
                  <a:lnTo>
                    <a:pt x="852" y="909"/>
                  </a:lnTo>
                  <a:lnTo>
                    <a:pt x="871" y="916"/>
                  </a:lnTo>
                  <a:lnTo>
                    <a:pt x="900" y="931"/>
                  </a:lnTo>
                  <a:lnTo>
                    <a:pt x="938" y="909"/>
                  </a:lnTo>
                  <a:lnTo>
                    <a:pt x="931" y="904"/>
                  </a:lnTo>
                  <a:lnTo>
                    <a:pt x="942" y="895"/>
                  </a:lnTo>
                  <a:lnTo>
                    <a:pt x="949" y="904"/>
                  </a:lnTo>
                  <a:lnTo>
                    <a:pt x="942" y="914"/>
                  </a:lnTo>
                  <a:lnTo>
                    <a:pt x="959" y="909"/>
                  </a:lnTo>
                  <a:lnTo>
                    <a:pt x="964" y="921"/>
                  </a:lnTo>
                  <a:lnTo>
                    <a:pt x="990" y="945"/>
                  </a:lnTo>
                  <a:lnTo>
                    <a:pt x="994" y="935"/>
                  </a:lnTo>
                  <a:lnTo>
                    <a:pt x="987" y="935"/>
                  </a:lnTo>
                  <a:lnTo>
                    <a:pt x="987" y="928"/>
                  </a:lnTo>
                  <a:lnTo>
                    <a:pt x="1002" y="928"/>
                  </a:lnTo>
                  <a:lnTo>
                    <a:pt x="1042" y="897"/>
                  </a:lnTo>
                  <a:lnTo>
                    <a:pt x="1077" y="893"/>
                  </a:lnTo>
                  <a:lnTo>
                    <a:pt x="1096" y="883"/>
                  </a:lnTo>
                  <a:lnTo>
                    <a:pt x="1103" y="819"/>
                  </a:lnTo>
                  <a:lnTo>
                    <a:pt x="1115" y="796"/>
                  </a:lnTo>
                  <a:lnTo>
                    <a:pt x="1118" y="800"/>
                  </a:lnTo>
                  <a:lnTo>
                    <a:pt x="1136" y="751"/>
                  </a:lnTo>
                  <a:lnTo>
                    <a:pt x="1134" y="741"/>
                  </a:lnTo>
                  <a:lnTo>
                    <a:pt x="1170" y="699"/>
                  </a:lnTo>
                  <a:lnTo>
                    <a:pt x="1184" y="663"/>
                  </a:lnTo>
                  <a:lnTo>
                    <a:pt x="1200" y="573"/>
                  </a:lnTo>
                  <a:lnTo>
                    <a:pt x="1189" y="521"/>
                  </a:lnTo>
                  <a:lnTo>
                    <a:pt x="1189" y="4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4" name="Freeform 22"/>
            <p:cNvSpPr>
              <a:spLocks/>
            </p:cNvSpPr>
            <p:nvPr/>
          </p:nvSpPr>
          <p:spPr bwMode="auto">
            <a:xfrm>
              <a:off x="4370" y="3934"/>
              <a:ext cx="9" cy="7"/>
            </a:xfrm>
            <a:custGeom>
              <a:avLst/>
              <a:gdLst>
                <a:gd name="T0" fmla="*/ 0 w 9"/>
                <a:gd name="T1" fmla="*/ 4 h 7"/>
                <a:gd name="T2" fmla="*/ 9 w 9"/>
                <a:gd name="T3" fmla="*/ 7 h 7"/>
                <a:gd name="T4" fmla="*/ 5 w 9"/>
                <a:gd name="T5" fmla="*/ 0 h 7"/>
                <a:gd name="T6" fmla="*/ 0 w 9"/>
                <a:gd name="T7" fmla="*/ 4 h 7"/>
              </a:gdLst>
              <a:ahLst/>
              <a:cxnLst>
                <a:cxn ang="0">
                  <a:pos x="T0" y="T1"/>
                </a:cxn>
                <a:cxn ang="0">
                  <a:pos x="T2" y="T3"/>
                </a:cxn>
                <a:cxn ang="0">
                  <a:pos x="T4" y="T5"/>
                </a:cxn>
                <a:cxn ang="0">
                  <a:pos x="T6" y="T7"/>
                </a:cxn>
              </a:cxnLst>
              <a:rect l="0" t="0" r="r" b="b"/>
              <a:pathLst>
                <a:path w="9" h="7">
                  <a:moveTo>
                    <a:pt x="0" y="4"/>
                  </a:moveTo>
                  <a:lnTo>
                    <a:pt x="9" y="7"/>
                  </a:lnTo>
                  <a:lnTo>
                    <a:pt x="5" y="0"/>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5" name="Freeform 23"/>
            <p:cNvSpPr>
              <a:spLocks/>
            </p:cNvSpPr>
            <p:nvPr/>
          </p:nvSpPr>
          <p:spPr bwMode="auto">
            <a:xfrm>
              <a:off x="4022" y="3039"/>
              <a:ext cx="12" cy="17"/>
            </a:xfrm>
            <a:custGeom>
              <a:avLst/>
              <a:gdLst>
                <a:gd name="T0" fmla="*/ 0 w 12"/>
                <a:gd name="T1" fmla="*/ 0 h 17"/>
                <a:gd name="T2" fmla="*/ 0 w 12"/>
                <a:gd name="T3" fmla="*/ 17 h 17"/>
                <a:gd name="T4" fmla="*/ 12 w 12"/>
                <a:gd name="T5" fmla="*/ 14 h 17"/>
                <a:gd name="T6" fmla="*/ 7 w 12"/>
                <a:gd name="T7" fmla="*/ 0 h 17"/>
                <a:gd name="T8" fmla="*/ 0 w 12"/>
                <a:gd name="T9" fmla="*/ 0 h 17"/>
              </a:gdLst>
              <a:ahLst/>
              <a:cxnLst>
                <a:cxn ang="0">
                  <a:pos x="T0" y="T1"/>
                </a:cxn>
                <a:cxn ang="0">
                  <a:pos x="T2" y="T3"/>
                </a:cxn>
                <a:cxn ang="0">
                  <a:pos x="T4" y="T5"/>
                </a:cxn>
                <a:cxn ang="0">
                  <a:pos x="T6" y="T7"/>
                </a:cxn>
                <a:cxn ang="0">
                  <a:pos x="T8" y="T9"/>
                </a:cxn>
              </a:cxnLst>
              <a:rect l="0" t="0" r="r" b="b"/>
              <a:pathLst>
                <a:path w="12" h="17">
                  <a:moveTo>
                    <a:pt x="0" y="0"/>
                  </a:moveTo>
                  <a:lnTo>
                    <a:pt x="0" y="17"/>
                  </a:lnTo>
                  <a:lnTo>
                    <a:pt x="12" y="14"/>
                  </a:lnTo>
                  <a:lnTo>
                    <a:pt x="7"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6" name="Freeform 24"/>
            <p:cNvSpPr>
              <a:spLocks/>
            </p:cNvSpPr>
            <p:nvPr/>
          </p:nvSpPr>
          <p:spPr bwMode="auto">
            <a:xfrm>
              <a:off x="3837" y="2961"/>
              <a:ext cx="33" cy="21"/>
            </a:xfrm>
            <a:custGeom>
              <a:avLst/>
              <a:gdLst>
                <a:gd name="T0" fmla="*/ 33 w 33"/>
                <a:gd name="T1" fmla="*/ 12 h 21"/>
                <a:gd name="T2" fmla="*/ 26 w 33"/>
                <a:gd name="T3" fmla="*/ 0 h 21"/>
                <a:gd name="T4" fmla="*/ 10 w 33"/>
                <a:gd name="T5" fmla="*/ 7 h 21"/>
                <a:gd name="T6" fmla="*/ 0 w 33"/>
                <a:gd name="T7" fmla="*/ 0 h 21"/>
                <a:gd name="T8" fmla="*/ 5 w 33"/>
                <a:gd name="T9" fmla="*/ 12 h 21"/>
                <a:gd name="T10" fmla="*/ 17 w 33"/>
                <a:gd name="T11" fmla="*/ 21 h 21"/>
                <a:gd name="T12" fmla="*/ 33 w 33"/>
                <a:gd name="T13" fmla="*/ 12 h 21"/>
              </a:gdLst>
              <a:ahLst/>
              <a:cxnLst>
                <a:cxn ang="0">
                  <a:pos x="T0" y="T1"/>
                </a:cxn>
                <a:cxn ang="0">
                  <a:pos x="T2" y="T3"/>
                </a:cxn>
                <a:cxn ang="0">
                  <a:pos x="T4" y="T5"/>
                </a:cxn>
                <a:cxn ang="0">
                  <a:pos x="T6" y="T7"/>
                </a:cxn>
                <a:cxn ang="0">
                  <a:pos x="T8" y="T9"/>
                </a:cxn>
                <a:cxn ang="0">
                  <a:pos x="T10" y="T11"/>
                </a:cxn>
                <a:cxn ang="0">
                  <a:pos x="T12" y="T13"/>
                </a:cxn>
              </a:cxnLst>
              <a:rect l="0" t="0" r="r" b="b"/>
              <a:pathLst>
                <a:path w="33" h="21">
                  <a:moveTo>
                    <a:pt x="33" y="12"/>
                  </a:moveTo>
                  <a:lnTo>
                    <a:pt x="26" y="0"/>
                  </a:lnTo>
                  <a:lnTo>
                    <a:pt x="10" y="7"/>
                  </a:lnTo>
                  <a:lnTo>
                    <a:pt x="0" y="0"/>
                  </a:lnTo>
                  <a:lnTo>
                    <a:pt x="5" y="12"/>
                  </a:lnTo>
                  <a:lnTo>
                    <a:pt x="17" y="21"/>
                  </a:lnTo>
                  <a:lnTo>
                    <a:pt x="3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7" name="Freeform 25"/>
            <p:cNvSpPr>
              <a:spLocks/>
            </p:cNvSpPr>
            <p:nvPr/>
          </p:nvSpPr>
          <p:spPr bwMode="auto">
            <a:xfrm>
              <a:off x="3828" y="2968"/>
              <a:ext cx="14" cy="14"/>
            </a:xfrm>
            <a:custGeom>
              <a:avLst/>
              <a:gdLst>
                <a:gd name="T0" fmla="*/ 0 w 14"/>
                <a:gd name="T1" fmla="*/ 7 h 14"/>
                <a:gd name="T2" fmla="*/ 2 w 14"/>
                <a:gd name="T3" fmla="*/ 14 h 14"/>
                <a:gd name="T4" fmla="*/ 14 w 14"/>
                <a:gd name="T5" fmla="*/ 12 h 14"/>
                <a:gd name="T6" fmla="*/ 5 w 14"/>
                <a:gd name="T7" fmla="*/ 0 h 14"/>
                <a:gd name="T8" fmla="*/ 0 w 14"/>
                <a:gd name="T9" fmla="*/ 7 h 14"/>
              </a:gdLst>
              <a:ahLst/>
              <a:cxnLst>
                <a:cxn ang="0">
                  <a:pos x="T0" y="T1"/>
                </a:cxn>
                <a:cxn ang="0">
                  <a:pos x="T2" y="T3"/>
                </a:cxn>
                <a:cxn ang="0">
                  <a:pos x="T4" y="T5"/>
                </a:cxn>
                <a:cxn ang="0">
                  <a:pos x="T6" y="T7"/>
                </a:cxn>
                <a:cxn ang="0">
                  <a:pos x="T8" y="T9"/>
                </a:cxn>
              </a:cxnLst>
              <a:rect l="0" t="0" r="r" b="b"/>
              <a:pathLst>
                <a:path w="14" h="14">
                  <a:moveTo>
                    <a:pt x="0" y="7"/>
                  </a:moveTo>
                  <a:lnTo>
                    <a:pt x="2" y="14"/>
                  </a:lnTo>
                  <a:lnTo>
                    <a:pt x="14" y="12"/>
                  </a:lnTo>
                  <a:lnTo>
                    <a:pt x="5" y="0"/>
                  </a:ln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8" name="Freeform 26"/>
            <p:cNvSpPr>
              <a:spLocks/>
            </p:cNvSpPr>
            <p:nvPr/>
          </p:nvSpPr>
          <p:spPr bwMode="auto">
            <a:xfrm>
              <a:off x="4105" y="3120"/>
              <a:ext cx="16" cy="11"/>
            </a:xfrm>
            <a:custGeom>
              <a:avLst/>
              <a:gdLst>
                <a:gd name="T0" fmla="*/ 0 w 16"/>
                <a:gd name="T1" fmla="*/ 11 h 11"/>
                <a:gd name="T2" fmla="*/ 16 w 16"/>
                <a:gd name="T3" fmla="*/ 4 h 11"/>
                <a:gd name="T4" fmla="*/ 9 w 16"/>
                <a:gd name="T5" fmla="*/ 0 h 11"/>
                <a:gd name="T6" fmla="*/ 0 w 16"/>
                <a:gd name="T7" fmla="*/ 7 h 11"/>
                <a:gd name="T8" fmla="*/ 0 w 16"/>
                <a:gd name="T9" fmla="*/ 11 h 11"/>
              </a:gdLst>
              <a:ahLst/>
              <a:cxnLst>
                <a:cxn ang="0">
                  <a:pos x="T0" y="T1"/>
                </a:cxn>
                <a:cxn ang="0">
                  <a:pos x="T2" y="T3"/>
                </a:cxn>
                <a:cxn ang="0">
                  <a:pos x="T4" y="T5"/>
                </a:cxn>
                <a:cxn ang="0">
                  <a:pos x="T6" y="T7"/>
                </a:cxn>
                <a:cxn ang="0">
                  <a:pos x="T8" y="T9"/>
                </a:cxn>
              </a:cxnLst>
              <a:rect l="0" t="0" r="r" b="b"/>
              <a:pathLst>
                <a:path w="16" h="11">
                  <a:moveTo>
                    <a:pt x="0" y="11"/>
                  </a:moveTo>
                  <a:lnTo>
                    <a:pt x="16" y="4"/>
                  </a:lnTo>
                  <a:lnTo>
                    <a:pt x="9" y="0"/>
                  </a:lnTo>
                  <a:lnTo>
                    <a:pt x="0" y="7"/>
                  </a:lnTo>
                  <a:lnTo>
                    <a:pt x="0"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9" name="Freeform 27"/>
            <p:cNvSpPr>
              <a:spLocks/>
            </p:cNvSpPr>
            <p:nvPr/>
          </p:nvSpPr>
          <p:spPr bwMode="auto">
            <a:xfrm>
              <a:off x="4517" y="3382"/>
              <a:ext cx="9" cy="29"/>
            </a:xfrm>
            <a:custGeom>
              <a:avLst/>
              <a:gdLst>
                <a:gd name="T0" fmla="*/ 0 w 9"/>
                <a:gd name="T1" fmla="*/ 29 h 29"/>
                <a:gd name="T2" fmla="*/ 9 w 9"/>
                <a:gd name="T3" fmla="*/ 14 h 29"/>
                <a:gd name="T4" fmla="*/ 2 w 9"/>
                <a:gd name="T5" fmla="*/ 0 h 29"/>
                <a:gd name="T6" fmla="*/ 0 w 9"/>
                <a:gd name="T7" fmla="*/ 29 h 29"/>
              </a:gdLst>
              <a:ahLst/>
              <a:cxnLst>
                <a:cxn ang="0">
                  <a:pos x="T0" y="T1"/>
                </a:cxn>
                <a:cxn ang="0">
                  <a:pos x="T2" y="T3"/>
                </a:cxn>
                <a:cxn ang="0">
                  <a:pos x="T4" y="T5"/>
                </a:cxn>
                <a:cxn ang="0">
                  <a:pos x="T6" y="T7"/>
                </a:cxn>
              </a:cxnLst>
              <a:rect l="0" t="0" r="r" b="b"/>
              <a:pathLst>
                <a:path w="9" h="29">
                  <a:moveTo>
                    <a:pt x="0" y="29"/>
                  </a:moveTo>
                  <a:lnTo>
                    <a:pt x="9" y="14"/>
                  </a:lnTo>
                  <a:lnTo>
                    <a:pt x="2" y="0"/>
                  </a:lnTo>
                  <a:lnTo>
                    <a:pt x="0"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0" name="Freeform 28"/>
            <p:cNvSpPr>
              <a:spLocks/>
            </p:cNvSpPr>
            <p:nvPr/>
          </p:nvSpPr>
          <p:spPr bwMode="auto">
            <a:xfrm>
              <a:off x="4363" y="3912"/>
              <a:ext cx="12" cy="19"/>
            </a:xfrm>
            <a:custGeom>
              <a:avLst/>
              <a:gdLst>
                <a:gd name="T0" fmla="*/ 12 w 12"/>
                <a:gd name="T1" fmla="*/ 17 h 19"/>
                <a:gd name="T2" fmla="*/ 12 w 12"/>
                <a:gd name="T3" fmla="*/ 7 h 19"/>
                <a:gd name="T4" fmla="*/ 0 w 12"/>
                <a:gd name="T5" fmla="*/ 0 h 19"/>
                <a:gd name="T6" fmla="*/ 7 w 12"/>
                <a:gd name="T7" fmla="*/ 19 h 19"/>
                <a:gd name="T8" fmla="*/ 12 w 12"/>
                <a:gd name="T9" fmla="*/ 17 h 19"/>
              </a:gdLst>
              <a:ahLst/>
              <a:cxnLst>
                <a:cxn ang="0">
                  <a:pos x="T0" y="T1"/>
                </a:cxn>
                <a:cxn ang="0">
                  <a:pos x="T2" y="T3"/>
                </a:cxn>
                <a:cxn ang="0">
                  <a:pos x="T4" y="T5"/>
                </a:cxn>
                <a:cxn ang="0">
                  <a:pos x="T6" y="T7"/>
                </a:cxn>
                <a:cxn ang="0">
                  <a:pos x="T8" y="T9"/>
                </a:cxn>
              </a:cxnLst>
              <a:rect l="0" t="0" r="r" b="b"/>
              <a:pathLst>
                <a:path w="12" h="19">
                  <a:moveTo>
                    <a:pt x="12" y="17"/>
                  </a:moveTo>
                  <a:lnTo>
                    <a:pt x="12" y="7"/>
                  </a:lnTo>
                  <a:lnTo>
                    <a:pt x="0" y="0"/>
                  </a:lnTo>
                  <a:lnTo>
                    <a:pt x="7" y="19"/>
                  </a:lnTo>
                  <a:lnTo>
                    <a:pt x="12"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1" name="Freeform 29"/>
            <p:cNvSpPr>
              <a:spLocks/>
            </p:cNvSpPr>
            <p:nvPr/>
          </p:nvSpPr>
          <p:spPr bwMode="auto">
            <a:xfrm>
              <a:off x="4270" y="3948"/>
              <a:ext cx="105" cy="116"/>
            </a:xfrm>
            <a:custGeom>
              <a:avLst/>
              <a:gdLst>
                <a:gd name="T0" fmla="*/ 52 w 105"/>
                <a:gd name="T1" fmla="*/ 19 h 116"/>
                <a:gd name="T2" fmla="*/ 0 w 105"/>
                <a:gd name="T3" fmla="*/ 0 h 116"/>
                <a:gd name="T4" fmla="*/ 0 w 105"/>
                <a:gd name="T5" fmla="*/ 21 h 116"/>
                <a:gd name="T6" fmla="*/ 22 w 105"/>
                <a:gd name="T7" fmla="*/ 64 h 116"/>
                <a:gd name="T8" fmla="*/ 17 w 105"/>
                <a:gd name="T9" fmla="*/ 69 h 116"/>
                <a:gd name="T10" fmla="*/ 12 w 105"/>
                <a:gd name="T11" fmla="*/ 57 h 116"/>
                <a:gd name="T12" fmla="*/ 17 w 105"/>
                <a:gd name="T13" fmla="*/ 83 h 116"/>
                <a:gd name="T14" fmla="*/ 31 w 105"/>
                <a:gd name="T15" fmla="*/ 102 h 116"/>
                <a:gd name="T16" fmla="*/ 43 w 105"/>
                <a:gd name="T17" fmla="*/ 106 h 116"/>
                <a:gd name="T18" fmla="*/ 38 w 105"/>
                <a:gd name="T19" fmla="*/ 113 h 116"/>
                <a:gd name="T20" fmla="*/ 62 w 105"/>
                <a:gd name="T21" fmla="*/ 116 h 116"/>
                <a:gd name="T22" fmla="*/ 67 w 105"/>
                <a:gd name="T23" fmla="*/ 102 h 116"/>
                <a:gd name="T24" fmla="*/ 76 w 105"/>
                <a:gd name="T25" fmla="*/ 102 h 116"/>
                <a:gd name="T26" fmla="*/ 83 w 105"/>
                <a:gd name="T27" fmla="*/ 85 h 116"/>
                <a:gd name="T28" fmla="*/ 93 w 105"/>
                <a:gd name="T29" fmla="*/ 83 h 116"/>
                <a:gd name="T30" fmla="*/ 105 w 105"/>
                <a:gd name="T31" fmla="*/ 52 h 116"/>
                <a:gd name="T32" fmla="*/ 105 w 105"/>
                <a:gd name="T33" fmla="*/ 24 h 116"/>
                <a:gd name="T34" fmla="*/ 97 w 105"/>
                <a:gd name="T35" fmla="*/ 5 h 116"/>
                <a:gd name="T36" fmla="*/ 52 w 105"/>
                <a:gd name="T37" fmla="*/ 19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5" h="116">
                  <a:moveTo>
                    <a:pt x="52" y="19"/>
                  </a:moveTo>
                  <a:lnTo>
                    <a:pt x="0" y="0"/>
                  </a:lnTo>
                  <a:lnTo>
                    <a:pt x="0" y="21"/>
                  </a:lnTo>
                  <a:lnTo>
                    <a:pt x="22" y="64"/>
                  </a:lnTo>
                  <a:lnTo>
                    <a:pt x="17" y="69"/>
                  </a:lnTo>
                  <a:lnTo>
                    <a:pt x="12" y="57"/>
                  </a:lnTo>
                  <a:lnTo>
                    <a:pt x="17" y="83"/>
                  </a:lnTo>
                  <a:lnTo>
                    <a:pt x="31" y="102"/>
                  </a:lnTo>
                  <a:lnTo>
                    <a:pt x="43" y="106"/>
                  </a:lnTo>
                  <a:lnTo>
                    <a:pt x="38" y="113"/>
                  </a:lnTo>
                  <a:lnTo>
                    <a:pt x="62" y="116"/>
                  </a:lnTo>
                  <a:lnTo>
                    <a:pt x="67" y="102"/>
                  </a:lnTo>
                  <a:lnTo>
                    <a:pt x="76" y="102"/>
                  </a:lnTo>
                  <a:lnTo>
                    <a:pt x="83" y="85"/>
                  </a:lnTo>
                  <a:lnTo>
                    <a:pt x="93" y="83"/>
                  </a:lnTo>
                  <a:lnTo>
                    <a:pt x="105" y="52"/>
                  </a:lnTo>
                  <a:lnTo>
                    <a:pt x="105" y="24"/>
                  </a:lnTo>
                  <a:lnTo>
                    <a:pt x="97" y="5"/>
                  </a:lnTo>
                  <a:lnTo>
                    <a:pt x="52"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2" name="Freeform 30"/>
            <p:cNvSpPr>
              <a:spLocks/>
            </p:cNvSpPr>
            <p:nvPr/>
          </p:nvSpPr>
          <p:spPr bwMode="auto">
            <a:xfrm>
              <a:off x="4438" y="2907"/>
              <a:ext cx="15" cy="9"/>
            </a:xfrm>
            <a:custGeom>
              <a:avLst/>
              <a:gdLst>
                <a:gd name="T0" fmla="*/ 3 w 15"/>
                <a:gd name="T1" fmla="*/ 7 h 9"/>
                <a:gd name="T2" fmla="*/ 15 w 15"/>
                <a:gd name="T3" fmla="*/ 9 h 9"/>
                <a:gd name="T4" fmla="*/ 12 w 15"/>
                <a:gd name="T5" fmla="*/ 2 h 9"/>
                <a:gd name="T6" fmla="*/ 0 w 15"/>
                <a:gd name="T7" fmla="*/ 0 h 9"/>
                <a:gd name="T8" fmla="*/ 3 w 15"/>
                <a:gd name="T9" fmla="*/ 7 h 9"/>
              </a:gdLst>
              <a:ahLst/>
              <a:cxnLst>
                <a:cxn ang="0">
                  <a:pos x="T0" y="T1"/>
                </a:cxn>
                <a:cxn ang="0">
                  <a:pos x="T2" y="T3"/>
                </a:cxn>
                <a:cxn ang="0">
                  <a:pos x="T4" y="T5"/>
                </a:cxn>
                <a:cxn ang="0">
                  <a:pos x="T6" y="T7"/>
                </a:cxn>
                <a:cxn ang="0">
                  <a:pos x="T8" y="T9"/>
                </a:cxn>
              </a:cxnLst>
              <a:rect l="0" t="0" r="r" b="b"/>
              <a:pathLst>
                <a:path w="15" h="9">
                  <a:moveTo>
                    <a:pt x="3" y="7"/>
                  </a:moveTo>
                  <a:lnTo>
                    <a:pt x="15" y="9"/>
                  </a:lnTo>
                  <a:lnTo>
                    <a:pt x="12" y="2"/>
                  </a:lnTo>
                  <a:lnTo>
                    <a:pt x="0" y="0"/>
                  </a:lnTo>
                  <a:lnTo>
                    <a:pt x="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3" name="Freeform 31"/>
            <p:cNvSpPr>
              <a:spLocks/>
            </p:cNvSpPr>
            <p:nvPr/>
          </p:nvSpPr>
          <p:spPr bwMode="auto">
            <a:xfrm>
              <a:off x="4375" y="2753"/>
              <a:ext cx="120" cy="61"/>
            </a:xfrm>
            <a:custGeom>
              <a:avLst/>
              <a:gdLst>
                <a:gd name="T0" fmla="*/ 26 w 120"/>
                <a:gd name="T1" fmla="*/ 56 h 61"/>
                <a:gd name="T2" fmla="*/ 33 w 120"/>
                <a:gd name="T3" fmla="*/ 56 h 61"/>
                <a:gd name="T4" fmla="*/ 42 w 120"/>
                <a:gd name="T5" fmla="*/ 61 h 61"/>
                <a:gd name="T6" fmla="*/ 71 w 120"/>
                <a:gd name="T7" fmla="*/ 61 h 61"/>
                <a:gd name="T8" fmla="*/ 89 w 120"/>
                <a:gd name="T9" fmla="*/ 54 h 61"/>
                <a:gd name="T10" fmla="*/ 99 w 120"/>
                <a:gd name="T11" fmla="*/ 40 h 61"/>
                <a:gd name="T12" fmla="*/ 108 w 120"/>
                <a:gd name="T13" fmla="*/ 40 h 61"/>
                <a:gd name="T14" fmla="*/ 120 w 120"/>
                <a:gd name="T15" fmla="*/ 7 h 61"/>
                <a:gd name="T16" fmla="*/ 113 w 120"/>
                <a:gd name="T17" fmla="*/ 0 h 61"/>
                <a:gd name="T18" fmla="*/ 97 w 120"/>
                <a:gd name="T19" fmla="*/ 2 h 61"/>
                <a:gd name="T20" fmla="*/ 99 w 120"/>
                <a:gd name="T21" fmla="*/ 19 h 61"/>
                <a:gd name="T22" fmla="*/ 71 w 120"/>
                <a:gd name="T23" fmla="*/ 38 h 61"/>
                <a:gd name="T24" fmla="*/ 52 w 120"/>
                <a:gd name="T25" fmla="*/ 35 h 61"/>
                <a:gd name="T26" fmla="*/ 54 w 120"/>
                <a:gd name="T27" fmla="*/ 23 h 61"/>
                <a:gd name="T28" fmla="*/ 42 w 120"/>
                <a:gd name="T29" fmla="*/ 40 h 61"/>
                <a:gd name="T30" fmla="*/ 0 w 120"/>
                <a:gd name="T31" fmla="*/ 40 h 61"/>
                <a:gd name="T32" fmla="*/ 7 w 120"/>
                <a:gd name="T33" fmla="*/ 49 h 61"/>
                <a:gd name="T34" fmla="*/ 26 w 120"/>
                <a:gd name="T35" fmla="*/ 56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0" h="61">
                  <a:moveTo>
                    <a:pt x="26" y="56"/>
                  </a:moveTo>
                  <a:lnTo>
                    <a:pt x="33" y="56"/>
                  </a:lnTo>
                  <a:lnTo>
                    <a:pt x="42" y="61"/>
                  </a:lnTo>
                  <a:lnTo>
                    <a:pt x="71" y="61"/>
                  </a:lnTo>
                  <a:lnTo>
                    <a:pt x="89" y="54"/>
                  </a:lnTo>
                  <a:lnTo>
                    <a:pt x="99" y="40"/>
                  </a:lnTo>
                  <a:lnTo>
                    <a:pt x="108" y="40"/>
                  </a:lnTo>
                  <a:lnTo>
                    <a:pt x="120" y="7"/>
                  </a:lnTo>
                  <a:lnTo>
                    <a:pt x="113" y="0"/>
                  </a:lnTo>
                  <a:lnTo>
                    <a:pt x="97" y="2"/>
                  </a:lnTo>
                  <a:lnTo>
                    <a:pt x="99" y="19"/>
                  </a:lnTo>
                  <a:lnTo>
                    <a:pt x="71" y="38"/>
                  </a:lnTo>
                  <a:lnTo>
                    <a:pt x="52" y="35"/>
                  </a:lnTo>
                  <a:lnTo>
                    <a:pt x="54" y="23"/>
                  </a:lnTo>
                  <a:lnTo>
                    <a:pt x="42" y="40"/>
                  </a:lnTo>
                  <a:lnTo>
                    <a:pt x="0" y="40"/>
                  </a:lnTo>
                  <a:lnTo>
                    <a:pt x="7" y="49"/>
                  </a:lnTo>
                  <a:lnTo>
                    <a:pt x="26" y="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4" name="Freeform 32"/>
            <p:cNvSpPr>
              <a:spLocks/>
            </p:cNvSpPr>
            <p:nvPr/>
          </p:nvSpPr>
          <p:spPr bwMode="auto">
            <a:xfrm>
              <a:off x="4358" y="2793"/>
              <a:ext cx="9" cy="7"/>
            </a:xfrm>
            <a:custGeom>
              <a:avLst/>
              <a:gdLst>
                <a:gd name="T0" fmla="*/ 9 w 9"/>
                <a:gd name="T1" fmla="*/ 0 h 7"/>
                <a:gd name="T2" fmla="*/ 0 w 9"/>
                <a:gd name="T3" fmla="*/ 0 h 7"/>
                <a:gd name="T4" fmla="*/ 9 w 9"/>
                <a:gd name="T5" fmla="*/ 7 h 7"/>
                <a:gd name="T6" fmla="*/ 9 w 9"/>
                <a:gd name="T7" fmla="*/ 0 h 7"/>
              </a:gdLst>
              <a:ahLst/>
              <a:cxnLst>
                <a:cxn ang="0">
                  <a:pos x="T0" y="T1"/>
                </a:cxn>
                <a:cxn ang="0">
                  <a:pos x="T2" y="T3"/>
                </a:cxn>
                <a:cxn ang="0">
                  <a:pos x="T4" y="T5"/>
                </a:cxn>
                <a:cxn ang="0">
                  <a:pos x="T6" y="T7"/>
                </a:cxn>
              </a:cxnLst>
              <a:rect l="0" t="0" r="r" b="b"/>
              <a:pathLst>
                <a:path w="9" h="7">
                  <a:moveTo>
                    <a:pt x="9" y="0"/>
                  </a:moveTo>
                  <a:lnTo>
                    <a:pt x="0" y="0"/>
                  </a:lnTo>
                  <a:lnTo>
                    <a:pt x="9" y="7"/>
                  </a:lnTo>
                  <a:lnTo>
                    <a:pt x="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5" name="Freeform 33"/>
            <p:cNvSpPr>
              <a:spLocks/>
            </p:cNvSpPr>
            <p:nvPr/>
          </p:nvSpPr>
          <p:spPr bwMode="auto">
            <a:xfrm>
              <a:off x="4495" y="2734"/>
              <a:ext cx="24" cy="35"/>
            </a:xfrm>
            <a:custGeom>
              <a:avLst/>
              <a:gdLst>
                <a:gd name="T0" fmla="*/ 17 w 24"/>
                <a:gd name="T1" fmla="*/ 35 h 35"/>
                <a:gd name="T2" fmla="*/ 24 w 24"/>
                <a:gd name="T3" fmla="*/ 23 h 35"/>
                <a:gd name="T4" fmla="*/ 17 w 24"/>
                <a:gd name="T5" fmla="*/ 12 h 35"/>
                <a:gd name="T6" fmla="*/ 0 w 24"/>
                <a:gd name="T7" fmla="*/ 0 h 35"/>
                <a:gd name="T8" fmla="*/ 14 w 24"/>
                <a:gd name="T9" fmla="*/ 35 h 35"/>
                <a:gd name="T10" fmla="*/ 17 w 24"/>
                <a:gd name="T11" fmla="*/ 35 h 35"/>
              </a:gdLst>
              <a:ahLst/>
              <a:cxnLst>
                <a:cxn ang="0">
                  <a:pos x="T0" y="T1"/>
                </a:cxn>
                <a:cxn ang="0">
                  <a:pos x="T2" y="T3"/>
                </a:cxn>
                <a:cxn ang="0">
                  <a:pos x="T4" y="T5"/>
                </a:cxn>
                <a:cxn ang="0">
                  <a:pos x="T6" y="T7"/>
                </a:cxn>
                <a:cxn ang="0">
                  <a:pos x="T8" y="T9"/>
                </a:cxn>
                <a:cxn ang="0">
                  <a:pos x="T10" y="T11"/>
                </a:cxn>
              </a:cxnLst>
              <a:rect l="0" t="0" r="r" b="b"/>
              <a:pathLst>
                <a:path w="24" h="35">
                  <a:moveTo>
                    <a:pt x="17" y="35"/>
                  </a:moveTo>
                  <a:lnTo>
                    <a:pt x="24" y="23"/>
                  </a:lnTo>
                  <a:lnTo>
                    <a:pt x="17" y="12"/>
                  </a:lnTo>
                  <a:lnTo>
                    <a:pt x="0" y="0"/>
                  </a:lnTo>
                  <a:lnTo>
                    <a:pt x="14" y="35"/>
                  </a:lnTo>
                  <a:lnTo>
                    <a:pt x="17"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6" name="Freeform 34"/>
            <p:cNvSpPr>
              <a:spLocks/>
            </p:cNvSpPr>
            <p:nvPr/>
          </p:nvSpPr>
          <p:spPr bwMode="auto">
            <a:xfrm>
              <a:off x="3447" y="2289"/>
              <a:ext cx="68" cy="87"/>
            </a:xfrm>
            <a:custGeom>
              <a:avLst/>
              <a:gdLst>
                <a:gd name="T0" fmla="*/ 45 w 68"/>
                <a:gd name="T1" fmla="*/ 54 h 87"/>
                <a:gd name="T2" fmla="*/ 45 w 68"/>
                <a:gd name="T3" fmla="*/ 47 h 87"/>
                <a:gd name="T4" fmla="*/ 68 w 68"/>
                <a:gd name="T5" fmla="*/ 31 h 87"/>
                <a:gd name="T6" fmla="*/ 64 w 68"/>
                <a:gd name="T7" fmla="*/ 0 h 87"/>
                <a:gd name="T8" fmla="*/ 54 w 68"/>
                <a:gd name="T9" fmla="*/ 31 h 87"/>
                <a:gd name="T10" fmla="*/ 4 w 68"/>
                <a:gd name="T11" fmla="*/ 76 h 87"/>
                <a:gd name="T12" fmla="*/ 0 w 68"/>
                <a:gd name="T13" fmla="*/ 87 h 87"/>
                <a:gd name="T14" fmla="*/ 21 w 68"/>
                <a:gd name="T15" fmla="*/ 76 h 87"/>
                <a:gd name="T16" fmla="*/ 45 w 68"/>
                <a:gd name="T17" fmla="*/ 54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87">
                  <a:moveTo>
                    <a:pt x="45" y="54"/>
                  </a:moveTo>
                  <a:lnTo>
                    <a:pt x="45" y="47"/>
                  </a:lnTo>
                  <a:lnTo>
                    <a:pt x="68" y="31"/>
                  </a:lnTo>
                  <a:lnTo>
                    <a:pt x="64" y="0"/>
                  </a:lnTo>
                  <a:lnTo>
                    <a:pt x="54" y="31"/>
                  </a:lnTo>
                  <a:lnTo>
                    <a:pt x="4" y="76"/>
                  </a:lnTo>
                  <a:lnTo>
                    <a:pt x="0" y="87"/>
                  </a:lnTo>
                  <a:lnTo>
                    <a:pt x="21" y="76"/>
                  </a:lnTo>
                  <a:lnTo>
                    <a:pt x="45"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7" name="Freeform 35"/>
            <p:cNvSpPr>
              <a:spLocks/>
            </p:cNvSpPr>
            <p:nvPr/>
          </p:nvSpPr>
          <p:spPr bwMode="auto">
            <a:xfrm>
              <a:off x="3523" y="2473"/>
              <a:ext cx="11" cy="8"/>
            </a:xfrm>
            <a:custGeom>
              <a:avLst/>
              <a:gdLst>
                <a:gd name="T0" fmla="*/ 0 w 11"/>
                <a:gd name="T1" fmla="*/ 8 h 8"/>
                <a:gd name="T2" fmla="*/ 11 w 11"/>
                <a:gd name="T3" fmla="*/ 0 h 8"/>
                <a:gd name="T4" fmla="*/ 2 w 11"/>
                <a:gd name="T5" fmla="*/ 3 h 8"/>
                <a:gd name="T6" fmla="*/ 0 w 11"/>
                <a:gd name="T7" fmla="*/ 8 h 8"/>
              </a:gdLst>
              <a:ahLst/>
              <a:cxnLst>
                <a:cxn ang="0">
                  <a:pos x="T0" y="T1"/>
                </a:cxn>
                <a:cxn ang="0">
                  <a:pos x="T2" y="T3"/>
                </a:cxn>
                <a:cxn ang="0">
                  <a:pos x="T4" y="T5"/>
                </a:cxn>
                <a:cxn ang="0">
                  <a:pos x="T6" y="T7"/>
                </a:cxn>
              </a:cxnLst>
              <a:rect l="0" t="0" r="r" b="b"/>
              <a:pathLst>
                <a:path w="11" h="8">
                  <a:moveTo>
                    <a:pt x="0" y="8"/>
                  </a:moveTo>
                  <a:lnTo>
                    <a:pt x="11" y="0"/>
                  </a:lnTo>
                  <a:lnTo>
                    <a:pt x="2" y="3"/>
                  </a:lnTo>
                  <a:lnTo>
                    <a:pt x="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8" name="Freeform 36"/>
            <p:cNvSpPr>
              <a:spLocks/>
            </p:cNvSpPr>
            <p:nvPr/>
          </p:nvSpPr>
          <p:spPr bwMode="auto">
            <a:xfrm>
              <a:off x="3556" y="2447"/>
              <a:ext cx="14" cy="10"/>
            </a:xfrm>
            <a:custGeom>
              <a:avLst/>
              <a:gdLst>
                <a:gd name="T0" fmla="*/ 0 w 14"/>
                <a:gd name="T1" fmla="*/ 7 h 10"/>
                <a:gd name="T2" fmla="*/ 11 w 14"/>
                <a:gd name="T3" fmla="*/ 10 h 10"/>
                <a:gd name="T4" fmla="*/ 14 w 14"/>
                <a:gd name="T5" fmla="*/ 5 h 10"/>
                <a:gd name="T6" fmla="*/ 4 w 14"/>
                <a:gd name="T7" fmla="*/ 0 h 10"/>
                <a:gd name="T8" fmla="*/ 0 w 14"/>
                <a:gd name="T9" fmla="*/ 7 h 10"/>
              </a:gdLst>
              <a:ahLst/>
              <a:cxnLst>
                <a:cxn ang="0">
                  <a:pos x="T0" y="T1"/>
                </a:cxn>
                <a:cxn ang="0">
                  <a:pos x="T2" y="T3"/>
                </a:cxn>
                <a:cxn ang="0">
                  <a:pos x="T4" y="T5"/>
                </a:cxn>
                <a:cxn ang="0">
                  <a:pos x="T6" y="T7"/>
                </a:cxn>
                <a:cxn ang="0">
                  <a:pos x="T8" y="T9"/>
                </a:cxn>
              </a:cxnLst>
              <a:rect l="0" t="0" r="r" b="b"/>
              <a:pathLst>
                <a:path w="14" h="10">
                  <a:moveTo>
                    <a:pt x="0" y="7"/>
                  </a:moveTo>
                  <a:lnTo>
                    <a:pt x="11" y="10"/>
                  </a:lnTo>
                  <a:lnTo>
                    <a:pt x="14" y="5"/>
                  </a:lnTo>
                  <a:lnTo>
                    <a:pt x="4" y="0"/>
                  </a:ln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9" name="Freeform 37"/>
            <p:cNvSpPr>
              <a:spLocks/>
            </p:cNvSpPr>
            <p:nvPr/>
          </p:nvSpPr>
          <p:spPr bwMode="auto">
            <a:xfrm>
              <a:off x="3582" y="2431"/>
              <a:ext cx="14" cy="7"/>
            </a:xfrm>
            <a:custGeom>
              <a:avLst/>
              <a:gdLst>
                <a:gd name="T0" fmla="*/ 4 w 14"/>
                <a:gd name="T1" fmla="*/ 7 h 7"/>
                <a:gd name="T2" fmla="*/ 14 w 14"/>
                <a:gd name="T3" fmla="*/ 0 h 7"/>
                <a:gd name="T4" fmla="*/ 0 w 14"/>
                <a:gd name="T5" fmla="*/ 0 h 7"/>
                <a:gd name="T6" fmla="*/ 4 w 14"/>
                <a:gd name="T7" fmla="*/ 7 h 7"/>
              </a:gdLst>
              <a:ahLst/>
              <a:cxnLst>
                <a:cxn ang="0">
                  <a:pos x="T0" y="T1"/>
                </a:cxn>
                <a:cxn ang="0">
                  <a:pos x="T2" y="T3"/>
                </a:cxn>
                <a:cxn ang="0">
                  <a:pos x="T4" y="T5"/>
                </a:cxn>
                <a:cxn ang="0">
                  <a:pos x="T6" y="T7"/>
                </a:cxn>
              </a:cxnLst>
              <a:rect l="0" t="0" r="r" b="b"/>
              <a:pathLst>
                <a:path w="14" h="7">
                  <a:moveTo>
                    <a:pt x="4" y="7"/>
                  </a:moveTo>
                  <a:lnTo>
                    <a:pt x="14" y="0"/>
                  </a:lnTo>
                  <a:lnTo>
                    <a:pt x="0" y="0"/>
                  </a:lnTo>
                  <a:lnTo>
                    <a:pt x="4"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0" name="Freeform 38"/>
            <p:cNvSpPr>
              <a:spLocks/>
            </p:cNvSpPr>
            <p:nvPr/>
          </p:nvSpPr>
          <p:spPr bwMode="auto">
            <a:xfrm>
              <a:off x="3584" y="2339"/>
              <a:ext cx="137" cy="123"/>
            </a:xfrm>
            <a:custGeom>
              <a:avLst/>
              <a:gdLst>
                <a:gd name="T0" fmla="*/ 104 w 137"/>
                <a:gd name="T1" fmla="*/ 0 h 123"/>
                <a:gd name="T2" fmla="*/ 107 w 137"/>
                <a:gd name="T3" fmla="*/ 21 h 123"/>
                <a:gd name="T4" fmla="*/ 85 w 137"/>
                <a:gd name="T5" fmla="*/ 23 h 123"/>
                <a:gd name="T6" fmla="*/ 81 w 137"/>
                <a:gd name="T7" fmla="*/ 37 h 123"/>
                <a:gd name="T8" fmla="*/ 71 w 137"/>
                <a:gd name="T9" fmla="*/ 37 h 123"/>
                <a:gd name="T10" fmla="*/ 66 w 137"/>
                <a:gd name="T11" fmla="*/ 47 h 123"/>
                <a:gd name="T12" fmla="*/ 54 w 137"/>
                <a:gd name="T13" fmla="*/ 52 h 123"/>
                <a:gd name="T14" fmla="*/ 54 w 137"/>
                <a:gd name="T15" fmla="*/ 33 h 123"/>
                <a:gd name="T16" fmla="*/ 45 w 137"/>
                <a:gd name="T17" fmla="*/ 30 h 123"/>
                <a:gd name="T18" fmla="*/ 28 w 137"/>
                <a:gd name="T19" fmla="*/ 47 h 123"/>
                <a:gd name="T20" fmla="*/ 12 w 137"/>
                <a:gd name="T21" fmla="*/ 52 h 123"/>
                <a:gd name="T22" fmla="*/ 0 w 137"/>
                <a:gd name="T23" fmla="*/ 78 h 123"/>
                <a:gd name="T24" fmla="*/ 2 w 137"/>
                <a:gd name="T25" fmla="*/ 85 h 123"/>
                <a:gd name="T26" fmla="*/ 10 w 137"/>
                <a:gd name="T27" fmla="*/ 85 h 123"/>
                <a:gd name="T28" fmla="*/ 21 w 137"/>
                <a:gd name="T29" fmla="*/ 61 h 123"/>
                <a:gd name="T30" fmla="*/ 28 w 137"/>
                <a:gd name="T31" fmla="*/ 61 h 123"/>
                <a:gd name="T32" fmla="*/ 28 w 137"/>
                <a:gd name="T33" fmla="*/ 71 h 123"/>
                <a:gd name="T34" fmla="*/ 38 w 137"/>
                <a:gd name="T35" fmla="*/ 61 h 123"/>
                <a:gd name="T36" fmla="*/ 45 w 137"/>
                <a:gd name="T37" fmla="*/ 68 h 123"/>
                <a:gd name="T38" fmla="*/ 54 w 137"/>
                <a:gd name="T39" fmla="*/ 54 h 123"/>
                <a:gd name="T40" fmla="*/ 69 w 137"/>
                <a:gd name="T41" fmla="*/ 68 h 123"/>
                <a:gd name="T42" fmla="*/ 62 w 137"/>
                <a:gd name="T43" fmla="*/ 82 h 123"/>
                <a:gd name="T44" fmla="*/ 69 w 137"/>
                <a:gd name="T45" fmla="*/ 101 h 123"/>
                <a:gd name="T46" fmla="*/ 90 w 137"/>
                <a:gd name="T47" fmla="*/ 115 h 123"/>
                <a:gd name="T48" fmla="*/ 99 w 137"/>
                <a:gd name="T49" fmla="*/ 108 h 123"/>
                <a:gd name="T50" fmla="*/ 107 w 137"/>
                <a:gd name="T51" fmla="*/ 123 h 123"/>
                <a:gd name="T52" fmla="*/ 114 w 137"/>
                <a:gd name="T53" fmla="*/ 108 h 123"/>
                <a:gd name="T54" fmla="*/ 104 w 137"/>
                <a:gd name="T55" fmla="*/ 92 h 123"/>
                <a:gd name="T56" fmla="*/ 107 w 137"/>
                <a:gd name="T57" fmla="*/ 85 h 123"/>
                <a:gd name="T58" fmla="*/ 121 w 137"/>
                <a:gd name="T59" fmla="*/ 71 h 123"/>
                <a:gd name="T60" fmla="*/ 128 w 137"/>
                <a:gd name="T61" fmla="*/ 101 h 123"/>
                <a:gd name="T62" fmla="*/ 137 w 137"/>
                <a:gd name="T63" fmla="*/ 68 h 123"/>
                <a:gd name="T64" fmla="*/ 130 w 137"/>
                <a:gd name="T65" fmla="*/ 37 h 123"/>
                <a:gd name="T66" fmla="*/ 128 w 137"/>
                <a:gd name="T67" fmla="*/ 33 h 123"/>
                <a:gd name="T68" fmla="*/ 130 w 137"/>
                <a:gd name="T69" fmla="*/ 30 h 123"/>
                <a:gd name="T70" fmla="*/ 128 w 137"/>
                <a:gd name="T71" fmla="*/ 16 h 123"/>
                <a:gd name="T72" fmla="*/ 111 w 137"/>
                <a:gd name="T73" fmla="*/ 0 h 123"/>
                <a:gd name="T74" fmla="*/ 104 w 137"/>
                <a:gd name="T75"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7" h="123">
                  <a:moveTo>
                    <a:pt x="104" y="0"/>
                  </a:moveTo>
                  <a:lnTo>
                    <a:pt x="107" y="21"/>
                  </a:lnTo>
                  <a:lnTo>
                    <a:pt x="85" y="23"/>
                  </a:lnTo>
                  <a:lnTo>
                    <a:pt x="81" y="37"/>
                  </a:lnTo>
                  <a:lnTo>
                    <a:pt x="71" y="37"/>
                  </a:lnTo>
                  <a:lnTo>
                    <a:pt x="66" y="47"/>
                  </a:lnTo>
                  <a:lnTo>
                    <a:pt x="54" y="52"/>
                  </a:lnTo>
                  <a:lnTo>
                    <a:pt x="54" y="33"/>
                  </a:lnTo>
                  <a:lnTo>
                    <a:pt x="45" y="30"/>
                  </a:lnTo>
                  <a:lnTo>
                    <a:pt x="28" y="47"/>
                  </a:lnTo>
                  <a:lnTo>
                    <a:pt x="12" y="52"/>
                  </a:lnTo>
                  <a:lnTo>
                    <a:pt x="0" y="78"/>
                  </a:lnTo>
                  <a:lnTo>
                    <a:pt x="2" y="85"/>
                  </a:lnTo>
                  <a:lnTo>
                    <a:pt x="10" y="85"/>
                  </a:lnTo>
                  <a:lnTo>
                    <a:pt x="21" y="61"/>
                  </a:lnTo>
                  <a:lnTo>
                    <a:pt x="28" y="61"/>
                  </a:lnTo>
                  <a:lnTo>
                    <a:pt x="28" y="71"/>
                  </a:lnTo>
                  <a:lnTo>
                    <a:pt x="38" y="61"/>
                  </a:lnTo>
                  <a:lnTo>
                    <a:pt x="45" y="68"/>
                  </a:lnTo>
                  <a:lnTo>
                    <a:pt x="54" y="54"/>
                  </a:lnTo>
                  <a:lnTo>
                    <a:pt x="69" y="68"/>
                  </a:lnTo>
                  <a:lnTo>
                    <a:pt x="62" y="82"/>
                  </a:lnTo>
                  <a:lnTo>
                    <a:pt x="69" y="101"/>
                  </a:lnTo>
                  <a:lnTo>
                    <a:pt x="90" y="115"/>
                  </a:lnTo>
                  <a:lnTo>
                    <a:pt x="99" y="108"/>
                  </a:lnTo>
                  <a:lnTo>
                    <a:pt x="107" y="123"/>
                  </a:lnTo>
                  <a:lnTo>
                    <a:pt x="114" y="108"/>
                  </a:lnTo>
                  <a:lnTo>
                    <a:pt x="104" y="92"/>
                  </a:lnTo>
                  <a:lnTo>
                    <a:pt x="107" y="85"/>
                  </a:lnTo>
                  <a:lnTo>
                    <a:pt x="121" y="71"/>
                  </a:lnTo>
                  <a:lnTo>
                    <a:pt x="128" y="101"/>
                  </a:lnTo>
                  <a:lnTo>
                    <a:pt x="137" y="68"/>
                  </a:lnTo>
                  <a:lnTo>
                    <a:pt x="130" y="37"/>
                  </a:lnTo>
                  <a:lnTo>
                    <a:pt x="128" y="33"/>
                  </a:lnTo>
                  <a:lnTo>
                    <a:pt x="130" y="30"/>
                  </a:lnTo>
                  <a:lnTo>
                    <a:pt x="128" y="16"/>
                  </a:lnTo>
                  <a:lnTo>
                    <a:pt x="111" y="0"/>
                  </a:lnTo>
                  <a:lnTo>
                    <a:pt x="10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1" name="Freeform 39"/>
            <p:cNvSpPr>
              <a:spLocks/>
            </p:cNvSpPr>
            <p:nvPr/>
          </p:nvSpPr>
          <p:spPr bwMode="auto">
            <a:xfrm>
              <a:off x="3643" y="2327"/>
              <a:ext cx="22" cy="16"/>
            </a:xfrm>
            <a:custGeom>
              <a:avLst/>
              <a:gdLst>
                <a:gd name="T0" fmla="*/ 3 w 22"/>
                <a:gd name="T1" fmla="*/ 16 h 16"/>
                <a:gd name="T2" fmla="*/ 19 w 22"/>
                <a:gd name="T3" fmla="*/ 14 h 16"/>
                <a:gd name="T4" fmla="*/ 22 w 22"/>
                <a:gd name="T5" fmla="*/ 0 h 16"/>
                <a:gd name="T6" fmla="*/ 10 w 22"/>
                <a:gd name="T7" fmla="*/ 0 h 16"/>
                <a:gd name="T8" fmla="*/ 0 w 22"/>
                <a:gd name="T9" fmla="*/ 9 h 16"/>
                <a:gd name="T10" fmla="*/ 3 w 22"/>
                <a:gd name="T11" fmla="*/ 16 h 16"/>
              </a:gdLst>
              <a:ahLst/>
              <a:cxnLst>
                <a:cxn ang="0">
                  <a:pos x="T0" y="T1"/>
                </a:cxn>
                <a:cxn ang="0">
                  <a:pos x="T2" y="T3"/>
                </a:cxn>
                <a:cxn ang="0">
                  <a:pos x="T4" y="T5"/>
                </a:cxn>
                <a:cxn ang="0">
                  <a:pos x="T6" y="T7"/>
                </a:cxn>
                <a:cxn ang="0">
                  <a:pos x="T8" y="T9"/>
                </a:cxn>
                <a:cxn ang="0">
                  <a:pos x="T10" y="T11"/>
                </a:cxn>
              </a:cxnLst>
              <a:rect l="0" t="0" r="r" b="b"/>
              <a:pathLst>
                <a:path w="22" h="16">
                  <a:moveTo>
                    <a:pt x="3" y="16"/>
                  </a:moveTo>
                  <a:lnTo>
                    <a:pt x="19" y="14"/>
                  </a:lnTo>
                  <a:lnTo>
                    <a:pt x="22" y="0"/>
                  </a:lnTo>
                  <a:lnTo>
                    <a:pt x="10" y="0"/>
                  </a:lnTo>
                  <a:lnTo>
                    <a:pt x="0" y="9"/>
                  </a:lnTo>
                  <a:lnTo>
                    <a:pt x="3"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2" name="Freeform 40"/>
            <p:cNvSpPr>
              <a:spLocks/>
            </p:cNvSpPr>
            <p:nvPr/>
          </p:nvSpPr>
          <p:spPr bwMode="auto">
            <a:xfrm>
              <a:off x="3629" y="2294"/>
              <a:ext cx="17" cy="54"/>
            </a:xfrm>
            <a:custGeom>
              <a:avLst/>
              <a:gdLst>
                <a:gd name="T0" fmla="*/ 0 w 17"/>
                <a:gd name="T1" fmla="*/ 54 h 54"/>
                <a:gd name="T2" fmla="*/ 17 w 17"/>
                <a:gd name="T3" fmla="*/ 26 h 54"/>
                <a:gd name="T4" fmla="*/ 17 w 17"/>
                <a:gd name="T5" fmla="*/ 0 h 54"/>
                <a:gd name="T6" fmla="*/ 0 w 17"/>
                <a:gd name="T7" fmla="*/ 42 h 54"/>
                <a:gd name="T8" fmla="*/ 0 w 17"/>
                <a:gd name="T9" fmla="*/ 54 h 54"/>
              </a:gdLst>
              <a:ahLst/>
              <a:cxnLst>
                <a:cxn ang="0">
                  <a:pos x="T0" y="T1"/>
                </a:cxn>
                <a:cxn ang="0">
                  <a:pos x="T2" y="T3"/>
                </a:cxn>
                <a:cxn ang="0">
                  <a:pos x="T4" y="T5"/>
                </a:cxn>
                <a:cxn ang="0">
                  <a:pos x="T6" y="T7"/>
                </a:cxn>
                <a:cxn ang="0">
                  <a:pos x="T8" y="T9"/>
                </a:cxn>
              </a:cxnLst>
              <a:rect l="0" t="0" r="r" b="b"/>
              <a:pathLst>
                <a:path w="17" h="54">
                  <a:moveTo>
                    <a:pt x="0" y="54"/>
                  </a:moveTo>
                  <a:lnTo>
                    <a:pt x="17" y="26"/>
                  </a:lnTo>
                  <a:lnTo>
                    <a:pt x="17" y="0"/>
                  </a:lnTo>
                  <a:lnTo>
                    <a:pt x="0" y="42"/>
                  </a:lnTo>
                  <a:lnTo>
                    <a:pt x="0"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3" name="Freeform 41"/>
            <p:cNvSpPr>
              <a:spLocks/>
            </p:cNvSpPr>
            <p:nvPr/>
          </p:nvSpPr>
          <p:spPr bwMode="auto">
            <a:xfrm>
              <a:off x="3693" y="2320"/>
              <a:ext cx="2" cy="16"/>
            </a:xfrm>
            <a:custGeom>
              <a:avLst/>
              <a:gdLst>
                <a:gd name="T0" fmla="*/ 2 w 2"/>
                <a:gd name="T1" fmla="*/ 0 h 16"/>
                <a:gd name="T2" fmla="*/ 0 w 2"/>
                <a:gd name="T3" fmla="*/ 7 h 16"/>
                <a:gd name="T4" fmla="*/ 2 w 2"/>
                <a:gd name="T5" fmla="*/ 16 h 16"/>
                <a:gd name="T6" fmla="*/ 2 w 2"/>
                <a:gd name="T7" fmla="*/ 0 h 16"/>
              </a:gdLst>
              <a:ahLst/>
              <a:cxnLst>
                <a:cxn ang="0">
                  <a:pos x="T0" y="T1"/>
                </a:cxn>
                <a:cxn ang="0">
                  <a:pos x="T2" y="T3"/>
                </a:cxn>
                <a:cxn ang="0">
                  <a:pos x="T4" y="T5"/>
                </a:cxn>
                <a:cxn ang="0">
                  <a:pos x="T6" y="T7"/>
                </a:cxn>
              </a:cxnLst>
              <a:rect l="0" t="0" r="r" b="b"/>
              <a:pathLst>
                <a:path w="2" h="16">
                  <a:moveTo>
                    <a:pt x="2" y="0"/>
                  </a:moveTo>
                  <a:lnTo>
                    <a:pt x="0" y="7"/>
                  </a:lnTo>
                  <a:lnTo>
                    <a:pt x="2" y="16"/>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4" name="Freeform 42"/>
            <p:cNvSpPr>
              <a:spLocks/>
            </p:cNvSpPr>
            <p:nvPr/>
          </p:nvSpPr>
          <p:spPr bwMode="auto">
            <a:xfrm>
              <a:off x="3657" y="2286"/>
              <a:ext cx="26" cy="45"/>
            </a:xfrm>
            <a:custGeom>
              <a:avLst/>
              <a:gdLst>
                <a:gd name="T0" fmla="*/ 10 w 26"/>
                <a:gd name="T1" fmla="*/ 17 h 45"/>
                <a:gd name="T2" fmla="*/ 12 w 26"/>
                <a:gd name="T3" fmla="*/ 36 h 45"/>
                <a:gd name="T4" fmla="*/ 19 w 26"/>
                <a:gd name="T5" fmla="*/ 45 h 45"/>
                <a:gd name="T6" fmla="*/ 19 w 26"/>
                <a:gd name="T7" fmla="*/ 38 h 45"/>
                <a:gd name="T8" fmla="*/ 26 w 26"/>
                <a:gd name="T9" fmla="*/ 38 h 45"/>
                <a:gd name="T10" fmla="*/ 19 w 26"/>
                <a:gd name="T11" fmla="*/ 10 h 45"/>
                <a:gd name="T12" fmla="*/ 0 w 26"/>
                <a:gd name="T13" fmla="*/ 0 h 45"/>
                <a:gd name="T14" fmla="*/ 3 w 26"/>
                <a:gd name="T15" fmla="*/ 19 h 45"/>
                <a:gd name="T16" fmla="*/ 10 w 26"/>
                <a:gd name="T17" fmla="*/ 1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45">
                  <a:moveTo>
                    <a:pt x="10" y="17"/>
                  </a:moveTo>
                  <a:lnTo>
                    <a:pt x="12" y="36"/>
                  </a:lnTo>
                  <a:lnTo>
                    <a:pt x="19" y="45"/>
                  </a:lnTo>
                  <a:lnTo>
                    <a:pt x="19" y="38"/>
                  </a:lnTo>
                  <a:lnTo>
                    <a:pt x="26" y="38"/>
                  </a:lnTo>
                  <a:lnTo>
                    <a:pt x="19" y="10"/>
                  </a:lnTo>
                  <a:lnTo>
                    <a:pt x="0" y="0"/>
                  </a:lnTo>
                  <a:lnTo>
                    <a:pt x="3" y="19"/>
                  </a:lnTo>
                  <a:lnTo>
                    <a:pt x="10"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5" name="Freeform 43"/>
            <p:cNvSpPr>
              <a:spLocks/>
            </p:cNvSpPr>
            <p:nvPr/>
          </p:nvSpPr>
          <p:spPr bwMode="auto">
            <a:xfrm>
              <a:off x="3601" y="2301"/>
              <a:ext cx="30" cy="59"/>
            </a:xfrm>
            <a:custGeom>
              <a:avLst/>
              <a:gdLst>
                <a:gd name="T0" fmla="*/ 14 w 30"/>
                <a:gd name="T1" fmla="*/ 4 h 59"/>
                <a:gd name="T2" fmla="*/ 7 w 30"/>
                <a:gd name="T3" fmla="*/ 30 h 59"/>
                <a:gd name="T4" fmla="*/ 0 w 30"/>
                <a:gd name="T5" fmla="*/ 30 h 59"/>
                <a:gd name="T6" fmla="*/ 0 w 30"/>
                <a:gd name="T7" fmla="*/ 38 h 59"/>
                <a:gd name="T8" fmla="*/ 19 w 30"/>
                <a:gd name="T9" fmla="*/ 59 h 59"/>
                <a:gd name="T10" fmla="*/ 21 w 30"/>
                <a:gd name="T11" fmla="*/ 54 h 59"/>
                <a:gd name="T12" fmla="*/ 21 w 30"/>
                <a:gd name="T13" fmla="*/ 35 h 59"/>
                <a:gd name="T14" fmla="*/ 30 w 30"/>
                <a:gd name="T15" fmla="*/ 9 h 59"/>
                <a:gd name="T16" fmla="*/ 30 w 30"/>
                <a:gd name="T17" fmla="*/ 4 h 59"/>
                <a:gd name="T18" fmla="*/ 21 w 30"/>
                <a:gd name="T19" fmla="*/ 0 h 59"/>
                <a:gd name="T20" fmla="*/ 14 w 30"/>
                <a:gd name="T21" fmla="*/ 4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59">
                  <a:moveTo>
                    <a:pt x="14" y="4"/>
                  </a:moveTo>
                  <a:lnTo>
                    <a:pt x="7" y="30"/>
                  </a:lnTo>
                  <a:lnTo>
                    <a:pt x="0" y="30"/>
                  </a:lnTo>
                  <a:lnTo>
                    <a:pt x="0" y="38"/>
                  </a:lnTo>
                  <a:lnTo>
                    <a:pt x="19" y="59"/>
                  </a:lnTo>
                  <a:lnTo>
                    <a:pt x="21" y="54"/>
                  </a:lnTo>
                  <a:lnTo>
                    <a:pt x="21" y="35"/>
                  </a:lnTo>
                  <a:lnTo>
                    <a:pt x="30" y="9"/>
                  </a:lnTo>
                  <a:lnTo>
                    <a:pt x="30" y="4"/>
                  </a:lnTo>
                  <a:lnTo>
                    <a:pt x="21" y="0"/>
                  </a:lnTo>
                  <a:lnTo>
                    <a:pt x="1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6" name="Freeform 44"/>
            <p:cNvSpPr>
              <a:spLocks/>
            </p:cNvSpPr>
            <p:nvPr/>
          </p:nvSpPr>
          <p:spPr bwMode="auto">
            <a:xfrm>
              <a:off x="3584" y="2275"/>
              <a:ext cx="36" cy="45"/>
            </a:xfrm>
            <a:custGeom>
              <a:avLst/>
              <a:gdLst>
                <a:gd name="T0" fmla="*/ 0 w 36"/>
                <a:gd name="T1" fmla="*/ 0 h 45"/>
                <a:gd name="T2" fmla="*/ 2 w 36"/>
                <a:gd name="T3" fmla="*/ 45 h 45"/>
                <a:gd name="T4" fmla="*/ 33 w 36"/>
                <a:gd name="T5" fmla="*/ 23 h 45"/>
                <a:gd name="T6" fmla="*/ 36 w 36"/>
                <a:gd name="T7" fmla="*/ 9 h 45"/>
                <a:gd name="T8" fmla="*/ 17 w 36"/>
                <a:gd name="T9" fmla="*/ 7 h 45"/>
                <a:gd name="T10" fmla="*/ 0 w 36"/>
                <a:gd name="T11" fmla="*/ 0 h 45"/>
              </a:gdLst>
              <a:ahLst/>
              <a:cxnLst>
                <a:cxn ang="0">
                  <a:pos x="T0" y="T1"/>
                </a:cxn>
                <a:cxn ang="0">
                  <a:pos x="T2" y="T3"/>
                </a:cxn>
                <a:cxn ang="0">
                  <a:pos x="T4" y="T5"/>
                </a:cxn>
                <a:cxn ang="0">
                  <a:pos x="T6" y="T7"/>
                </a:cxn>
                <a:cxn ang="0">
                  <a:pos x="T8" y="T9"/>
                </a:cxn>
                <a:cxn ang="0">
                  <a:pos x="T10" y="T11"/>
                </a:cxn>
              </a:cxnLst>
              <a:rect l="0" t="0" r="r" b="b"/>
              <a:pathLst>
                <a:path w="36" h="45">
                  <a:moveTo>
                    <a:pt x="0" y="0"/>
                  </a:moveTo>
                  <a:lnTo>
                    <a:pt x="2" y="45"/>
                  </a:lnTo>
                  <a:lnTo>
                    <a:pt x="33" y="23"/>
                  </a:lnTo>
                  <a:lnTo>
                    <a:pt x="36" y="9"/>
                  </a:lnTo>
                  <a:lnTo>
                    <a:pt x="17" y="7"/>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7" name="Freeform 45"/>
            <p:cNvSpPr>
              <a:spLocks/>
            </p:cNvSpPr>
            <p:nvPr/>
          </p:nvSpPr>
          <p:spPr bwMode="auto">
            <a:xfrm>
              <a:off x="3657" y="2256"/>
              <a:ext cx="41" cy="45"/>
            </a:xfrm>
            <a:custGeom>
              <a:avLst/>
              <a:gdLst>
                <a:gd name="T0" fmla="*/ 41 w 41"/>
                <a:gd name="T1" fmla="*/ 45 h 45"/>
                <a:gd name="T2" fmla="*/ 34 w 41"/>
                <a:gd name="T3" fmla="*/ 26 h 45"/>
                <a:gd name="T4" fmla="*/ 34 w 41"/>
                <a:gd name="T5" fmla="*/ 9 h 45"/>
                <a:gd name="T6" fmla="*/ 26 w 41"/>
                <a:gd name="T7" fmla="*/ 0 h 45"/>
                <a:gd name="T8" fmla="*/ 0 w 41"/>
                <a:gd name="T9" fmla="*/ 0 h 45"/>
                <a:gd name="T10" fmla="*/ 26 w 41"/>
                <a:gd name="T11" fmla="*/ 42 h 45"/>
                <a:gd name="T12" fmla="*/ 41 w 41"/>
                <a:gd name="T13" fmla="*/ 45 h 45"/>
              </a:gdLst>
              <a:ahLst/>
              <a:cxnLst>
                <a:cxn ang="0">
                  <a:pos x="T0" y="T1"/>
                </a:cxn>
                <a:cxn ang="0">
                  <a:pos x="T2" y="T3"/>
                </a:cxn>
                <a:cxn ang="0">
                  <a:pos x="T4" y="T5"/>
                </a:cxn>
                <a:cxn ang="0">
                  <a:pos x="T6" y="T7"/>
                </a:cxn>
                <a:cxn ang="0">
                  <a:pos x="T8" y="T9"/>
                </a:cxn>
                <a:cxn ang="0">
                  <a:pos x="T10" y="T11"/>
                </a:cxn>
                <a:cxn ang="0">
                  <a:pos x="T12" y="T13"/>
                </a:cxn>
              </a:cxnLst>
              <a:rect l="0" t="0" r="r" b="b"/>
              <a:pathLst>
                <a:path w="41" h="45">
                  <a:moveTo>
                    <a:pt x="41" y="45"/>
                  </a:moveTo>
                  <a:lnTo>
                    <a:pt x="34" y="26"/>
                  </a:lnTo>
                  <a:lnTo>
                    <a:pt x="34" y="9"/>
                  </a:lnTo>
                  <a:lnTo>
                    <a:pt x="26" y="0"/>
                  </a:lnTo>
                  <a:lnTo>
                    <a:pt x="0" y="0"/>
                  </a:lnTo>
                  <a:lnTo>
                    <a:pt x="26" y="42"/>
                  </a:lnTo>
                  <a:lnTo>
                    <a:pt x="41" y="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8" name="Freeform 46"/>
            <p:cNvSpPr>
              <a:spLocks/>
            </p:cNvSpPr>
            <p:nvPr/>
          </p:nvSpPr>
          <p:spPr bwMode="auto">
            <a:xfrm>
              <a:off x="3622" y="2251"/>
              <a:ext cx="24" cy="26"/>
            </a:xfrm>
            <a:custGeom>
              <a:avLst/>
              <a:gdLst>
                <a:gd name="T0" fmla="*/ 24 w 24"/>
                <a:gd name="T1" fmla="*/ 19 h 26"/>
                <a:gd name="T2" fmla="*/ 2 w 24"/>
                <a:gd name="T3" fmla="*/ 0 h 26"/>
                <a:gd name="T4" fmla="*/ 0 w 24"/>
                <a:gd name="T5" fmla="*/ 19 h 26"/>
                <a:gd name="T6" fmla="*/ 9 w 24"/>
                <a:gd name="T7" fmla="*/ 14 h 26"/>
                <a:gd name="T8" fmla="*/ 24 w 24"/>
                <a:gd name="T9" fmla="*/ 26 h 26"/>
                <a:gd name="T10" fmla="*/ 24 w 24"/>
                <a:gd name="T11" fmla="*/ 19 h 26"/>
              </a:gdLst>
              <a:ahLst/>
              <a:cxnLst>
                <a:cxn ang="0">
                  <a:pos x="T0" y="T1"/>
                </a:cxn>
                <a:cxn ang="0">
                  <a:pos x="T2" y="T3"/>
                </a:cxn>
                <a:cxn ang="0">
                  <a:pos x="T4" y="T5"/>
                </a:cxn>
                <a:cxn ang="0">
                  <a:pos x="T6" y="T7"/>
                </a:cxn>
                <a:cxn ang="0">
                  <a:pos x="T8" y="T9"/>
                </a:cxn>
                <a:cxn ang="0">
                  <a:pos x="T10" y="T11"/>
                </a:cxn>
              </a:cxnLst>
              <a:rect l="0" t="0" r="r" b="b"/>
              <a:pathLst>
                <a:path w="24" h="26">
                  <a:moveTo>
                    <a:pt x="24" y="19"/>
                  </a:moveTo>
                  <a:lnTo>
                    <a:pt x="2" y="0"/>
                  </a:lnTo>
                  <a:lnTo>
                    <a:pt x="0" y="19"/>
                  </a:lnTo>
                  <a:lnTo>
                    <a:pt x="9" y="14"/>
                  </a:lnTo>
                  <a:lnTo>
                    <a:pt x="24" y="26"/>
                  </a:lnTo>
                  <a:lnTo>
                    <a:pt x="2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9" name="Freeform 47"/>
            <p:cNvSpPr>
              <a:spLocks/>
            </p:cNvSpPr>
            <p:nvPr/>
          </p:nvSpPr>
          <p:spPr bwMode="auto">
            <a:xfrm>
              <a:off x="3586" y="2251"/>
              <a:ext cx="5" cy="14"/>
            </a:xfrm>
            <a:custGeom>
              <a:avLst/>
              <a:gdLst>
                <a:gd name="T0" fmla="*/ 0 w 5"/>
                <a:gd name="T1" fmla="*/ 14 h 14"/>
                <a:gd name="T2" fmla="*/ 5 w 5"/>
                <a:gd name="T3" fmla="*/ 0 h 14"/>
                <a:gd name="T4" fmla="*/ 0 w 5"/>
                <a:gd name="T5" fmla="*/ 5 h 14"/>
                <a:gd name="T6" fmla="*/ 0 w 5"/>
                <a:gd name="T7" fmla="*/ 14 h 14"/>
              </a:gdLst>
              <a:ahLst/>
              <a:cxnLst>
                <a:cxn ang="0">
                  <a:pos x="T0" y="T1"/>
                </a:cxn>
                <a:cxn ang="0">
                  <a:pos x="T2" y="T3"/>
                </a:cxn>
                <a:cxn ang="0">
                  <a:pos x="T4" y="T5"/>
                </a:cxn>
                <a:cxn ang="0">
                  <a:pos x="T6" y="T7"/>
                </a:cxn>
              </a:cxnLst>
              <a:rect l="0" t="0" r="r" b="b"/>
              <a:pathLst>
                <a:path w="5" h="14">
                  <a:moveTo>
                    <a:pt x="0" y="14"/>
                  </a:moveTo>
                  <a:lnTo>
                    <a:pt x="5" y="0"/>
                  </a:lnTo>
                  <a:lnTo>
                    <a:pt x="0" y="5"/>
                  </a:lnTo>
                  <a:lnTo>
                    <a:pt x="0"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 name="Freeform 48"/>
            <p:cNvSpPr>
              <a:spLocks/>
            </p:cNvSpPr>
            <p:nvPr/>
          </p:nvSpPr>
          <p:spPr bwMode="auto">
            <a:xfrm>
              <a:off x="3582" y="2225"/>
              <a:ext cx="7" cy="9"/>
            </a:xfrm>
            <a:custGeom>
              <a:avLst/>
              <a:gdLst>
                <a:gd name="T0" fmla="*/ 2 w 7"/>
                <a:gd name="T1" fmla="*/ 5 h 9"/>
                <a:gd name="T2" fmla="*/ 7 w 7"/>
                <a:gd name="T3" fmla="*/ 9 h 9"/>
                <a:gd name="T4" fmla="*/ 7 w 7"/>
                <a:gd name="T5" fmla="*/ 2 h 9"/>
                <a:gd name="T6" fmla="*/ 0 w 7"/>
                <a:gd name="T7" fmla="*/ 0 h 9"/>
                <a:gd name="T8" fmla="*/ 2 w 7"/>
                <a:gd name="T9" fmla="*/ 5 h 9"/>
              </a:gdLst>
              <a:ahLst/>
              <a:cxnLst>
                <a:cxn ang="0">
                  <a:pos x="T0" y="T1"/>
                </a:cxn>
                <a:cxn ang="0">
                  <a:pos x="T2" y="T3"/>
                </a:cxn>
                <a:cxn ang="0">
                  <a:pos x="T4" y="T5"/>
                </a:cxn>
                <a:cxn ang="0">
                  <a:pos x="T6" y="T7"/>
                </a:cxn>
                <a:cxn ang="0">
                  <a:pos x="T8" y="T9"/>
                </a:cxn>
              </a:cxnLst>
              <a:rect l="0" t="0" r="r" b="b"/>
              <a:pathLst>
                <a:path w="7" h="9">
                  <a:moveTo>
                    <a:pt x="2" y="5"/>
                  </a:moveTo>
                  <a:lnTo>
                    <a:pt x="7" y="9"/>
                  </a:lnTo>
                  <a:lnTo>
                    <a:pt x="7" y="2"/>
                  </a:lnTo>
                  <a:lnTo>
                    <a:pt x="0" y="0"/>
                  </a:lnTo>
                  <a:lnTo>
                    <a:pt x="2"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1" name="Freeform 49"/>
            <p:cNvSpPr>
              <a:spLocks/>
            </p:cNvSpPr>
            <p:nvPr/>
          </p:nvSpPr>
          <p:spPr bwMode="auto">
            <a:xfrm>
              <a:off x="3584" y="2178"/>
              <a:ext cx="2" cy="11"/>
            </a:xfrm>
            <a:custGeom>
              <a:avLst/>
              <a:gdLst>
                <a:gd name="T0" fmla="*/ 2 w 2"/>
                <a:gd name="T1" fmla="*/ 0 h 11"/>
                <a:gd name="T2" fmla="*/ 0 w 2"/>
                <a:gd name="T3" fmla="*/ 2 h 11"/>
                <a:gd name="T4" fmla="*/ 2 w 2"/>
                <a:gd name="T5" fmla="*/ 11 h 11"/>
                <a:gd name="T6" fmla="*/ 2 w 2"/>
                <a:gd name="T7" fmla="*/ 0 h 11"/>
              </a:gdLst>
              <a:ahLst/>
              <a:cxnLst>
                <a:cxn ang="0">
                  <a:pos x="T0" y="T1"/>
                </a:cxn>
                <a:cxn ang="0">
                  <a:pos x="T2" y="T3"/>
                </a:cxn>
                <a:cxn ang="0">
                  <a:pos x="T4" y="T5"/>
                </a:cxn>
                <a:cxn ang="0">
                  <a:pos x="T6" y="T7"/>
                </a:cxn>
              </a:cxnLst>
              <a:rect l="0" t="0" r="r" b="b"/>
              <a:pathLst>
                <a:path w="2" h="11">
                  <a:moveTo>
                    <a:pt x="2" y="0"/>
                  </a:moveTo>
                  <a:lnTo>
                    <a:pt x="0" y="2"/>
                  </a:lnTo>
                  <a:lnTo>
                    <a:pt x="2" y="11"/>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2" name="Freeform 50"/>
            <p:cNvSpPr>
              <a:spLocks/>
            </p:cNvSpPr>
            <p:nvPr/>
          </p:nvSpPr>
          <p:spPr bwMode="auto">
            <a:xfrm>
              <a:off x="3523" y="2069"/>
              <a:ext cx="127" cy="187"/>
            </a:xfrm>
            <a:custGeom>
              <a:avLst/>
              <a:gdLst>
                <a:gd name="T0" fmla="*/ 21 w 127"/>
                <a:gd name="T1" fmla="*/ 128 h 187"/>
                <a:gd name="T2" fmla="*/ 23 w 127"/>
                <a:gd name="T3" fmla="*/ 118 h 187"/>
                <a:gd name="T4" fmla="*/ 33 w 127"/>
                <a:gd name="T5" fmla="*/ 120 h 187"/>
                <a:gd name="T6" fmla="*/ 23 w 127"/>
                <a:gd name="T7" fmla="*/ 137 h 187"/>
                <a:gd name="T8" fmla="*/ 26 w 127"/>
                <a:gd name="T9" fmla="*/ 149 h 187"/>
                <a:gd name="T10" fmla="*/ 44 w 127"/>
                <a:gd name="T11" fmla="*/ 151 h 187"/>
                <a:gd name="T12" fmla="*/ 52 w 127"/>
                <a:gd name="T13" fmla="*/ 144 h 187"/>
                <a:gd name="T14" fmla="*/ 61 w 127"/>
                <a:gd name="T15" fmla="*/ 144 h 187"/>
                <a:gd name="T16" fmla="*/ 85 w 127"/>
                <a:gd name="T17" fmla="*/ 165 h 187"/>
                <a:gd name="T18" fmla="*/ 78 w 127"/>
                <a:gd name="T19" fmla="*/ 144 h 187"/>
                <a:gd name="T20" fmla="*/ 85 w 127"/>
                <a:gd name="T21" fmla="*/ 144 h 187"/>
                <a:gd name="T22" fmla="*/ 104 w 127"/>
                <a:gd name="T23" fmla="*/ 168 h 187"/>
                <a:gd name="T24" fmla="*/ 123 w 127"/>
                <a:gd name="T25" fmla="*/ 175 h 187"/>
                <a:gd name="T26" fmla="*/ 120 w 127"/>
                <a:gd name="T27" fmla="*/ 180 h 187"/>
                <a:gd name="T28" fmla="*/ 123 w 127"/>
                <a:gd name="T29" fmla="*/ 187 h 187"/>
                <a:gd name="T30" fmla="*/ 127 w 127"/>
                <a:gd name="T31" fmla="*/ 172 h 187"/>
                <a:gd name="T32" fmla="*/ 120 w 127"/>
                <a:gd name="T33" fmla="*/ 168 h 187"/>
                <a:gd name="T34" fmla="*/ 120 w 127"/>
                <a:gd name="T35" fmla="*/ 163 h 187"/>
                <a:gd name="T36" fmla="*/ 111 w 127"/>
                <a:gd name="T37" fmla="*/ 154 h 187"/>
                <a:gd name="T38" fmla="*/ 120 w 127"/>
                <a:gd name="T39" fmla="*/ 149 h 187"/>
                <a:gd name="T40" fmla="*/ 101 w 127"/>
                <a:gd name="T41" fmla="*/ 142 h 187"/>
                <a:gd name="T42" fmla="*/ 99 w 127"/>
                <a:gd name="T43" fmla="*/ 149 h 187"/>
                <a:gd name="T44" fmla="*/ 85 w 127"/>
                <a:gd name="T45" fmla="*/ 130 h 187"/>
                <a:gd name="T46" fmla="*/ 71 w 127"/>
                <a:gd name="T47" fmla="*/ 135 h 187"/>
                <a:gd name="T48" fmla="*/ 71 w 127"/>
                <a:gd name="T49" fmla="*/ 142 h 187"/>
                <a:gd name="T50" fmla="*/ 63 w 127"/>
                <a:gd name="T51" fmla="*/ 144 h 187"/>
                <a:gd name="T52" fmla="*/ 52 w 127"/>
                <a:gd name="T53" fmla="*/ 128 h 187"/>
                <a:gd name="T54" fmla="*/ 47 w 127"/>
                <a:gd name="T55" fmla="*/ 99 h 187"/>
                <a:gd name="T56" fmla="*/ 56 w 127"/>
                <a:gd name="T57" fmla="*/ 83 h 187"/>
                <a:gd name="T58" fmla="*/ 68 w 127"/>
                <a:gd name="T59" fmla="*/ 75 h 187"/>
                <a:gd name="T60" fmla="*/ 78 w 127"/>
                <a:gd name="T61" fmla="*/ 52 h 187"/>
                <a:gd name="T62" fmla="*/ 68 w 127"/>
                <a:gd name="T63" fmla="*/ 33 h 187"/>
                <a:gd name="T64" fmla="*/ 71 w 127"/>
                <a:gd name="T65" fmla="*/ 4 h 187"/>
                <a:gd name="T66" fmla="*/ 66 w 127"/>
                <a:gd name="T67" fmla="*/ 0 h 187"/>
                <a:gd name="T68" fmla="*/ 63 w 127"/>
                <a:gd name="T69" fmla="*/ 7 h 187"/>
                <a:gd name="T70" fmla="*/ 54 w 127"/>
                <a:gd name="T71" fmla="*/ 7 h 187"/>
                <a:gd name="T72" fmla="*/ 26 w 127"/>
                <a:gd name="T73" fmla="*/ 0 h 187"/>
                <a:gd name="T74" fmla="*/ 23 w 127"/>
                <a:gd name="T75" fmla="*/ 2 h 187"/>
                <a:gd name="T76" fmla="*/ 16 w 127"/>
                <a:gd name="T77" fmla="*/ 75 h 187"/>
                <a:gd name="T78" fmla="*/ 0 w 127"/>
                <a:gd name="T79" fmla="*/ 75 h 187"/>
                <a:gd name="T80" fmla="*/ 7 w 127"/>
                <a:gd name="T81" fmla="*/ 109 h 187"/>
                <a:gd name="T82" fmla="*/ 21 w 127"/>
                <a:gd name="T83" fmla="*/ 12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7" h="187">
                  <a:moveTo>
                    <a:pt x="21" y="128"/>
                  </a:moveTo>
                  <a:lnTo>
                    <a:pt x="23" y="118"/>
                  </a:lnTo>
                  <a:lnTo>
                    <a:pt x="33" y="120"/>
                  </a:lnTo>
                  <a:lnTo>
                    <a:pt x="23" y="137"/>
                  </a:lnTo>
                  <a:lnTo>
                    <a:pt x="26" y="149"/>
                  </a:lnTo>
                  <a:lnTo>
                    <a:pt x="44" y="151"/>
                  </a:lnTo>
                  <a:lnTo>
                    <a:pt x="52" y="144"/>
                  </a:lnTo>
                  <a:lnTo>
                    <a:pt x="61" y="144"/>
                  </a:lnTo>
                  <a:lnTo>
                    <a:pt x="85" y="165"/>
                  </a:lnTo>
                  <a:lnTo>
                    <a:pt x="78" y="144"/>
                  </a:lnTo>
                  <a:lnTo>
                    <a:pt x="85" y="144"/>
                  </a:lnTo>
                  <a:lnTo>
                    <a:pt x="104" y="168"/>
                  </a:lnTo>
                  <a:lnTo>
                    <a:pt x="123" y="175"/>
                  </a:lnTo>
                  <a:lnTo>
                    <a:pt x="120" y="180"/>
                  </a:lnTo>
                  <a:lnTo>
                    <a:pt x="123" y="187"/>
                  </a:lnTo>
                  <a:lnTo>
                    <a:pt x="127" y="172"/>
                  </a:lnTo>
                  <a:lnTo>
                    <a:pt x="120" y="168"/>
                  </a:lnTo>
                  <a:lnTo>
                    <a:pt x="120" y="163"/>
                  </a:lnTo>
                  <a:lnTo>
                    <a:pt x="111" y="154"/>
                  </a:lnTo>
                  <a:lnTo>
                    <a:pt x="120" y="149"/>
                  </a:lnTo>
                  <a:lnTo>
                    <a:pt x="101" y="142"/>
                  </a:lnTo>
                  <a:lnTo>
                    <a:pt x="99" y="149"/>
                  </a:lnTo>
                  <a:lnTo>
                    <a:pt x="85" y="130"/>
                  </a:lnTo>
                  <a:lnTo>
                    <a:pt x="71" y="135"/>
                  </a:lnTo>
                  <a:lnTo>
                    <a:pt x="71" y="142"/>
                  </a:lnTo>
                  <a:lnTo>
                    <a:pt x="63" y="144"/>
                  </a:lnTo>
                  <a:lnTo>
                    <a:pt x="52" y="128"/>
                  </a:lnTo>
                  <a:lnTo>
                    <a:pt x="47" y="99"/>
                  </a:lnTo>
                  <a:lnTo>
                    <a:pt x="56" y="83"/>
                  </a:lnTo>
                  <a:lnTo>
                    <a:pt x="68" y="75"/>
                  </a:lnTo>
                  <a:lnTo>
                    <a:pt x="78" y="52"/>
                  </a:lnTo>
                  <a:lnTo>
                    <a:pt x="68" y="33"/>
                  </a:lnTo>
                  <a:lnTo>
                    <a:pt x="71" y="4"/>
                  </a:lnTo>
                  <a:lnTo>
                    <a:pt x="66" y="0"/>
                  </a:lnTo>
                  <a:lnTo>
                    <a:pt x="63" y="7"/>
                  </a:lnTo>
                  <a:lnTo>
                    <a:pt x="54" y="7"/>
                  </a:lnTo>
                  <a:lnTo>
                    <a:pt x="26" y="0"/>
                  </a:lnTo>
                  <a:lnTo>
                    <a:pt x="23" y="2"/>
                  </a:lnTo>
                  <a:lnTo>
                    <a:pt x="16" y="75"/>
                  </a:lnTo>
                  <a:lnTo>
                    <a:pt x="0" y="75"/>
                  </a:lnTo>
                  <a:lnTo>
                    <a:pt x="7" y="109"/>
                  </a:lnTo>
                  <a:lnTo>
                    <a:pt x="21" y="1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3" name="Freeform 51"/>
            <p:cNvSpPr>
              <a:spLocks/>
            </p:cNvSpPr>
            <p:nvPr/>
          </p:nvSpPr>
          <p:spPr bwMode="auto">
            <a:xfrm>
              <a:off x="3539" y="2227"/>
              <a:ext cx="33" cy="38"/>
            </a:xfrm>
            <a:custGeom>
              <a:avLst/>
              <a:gdLst>
                <a:gd name="T0" fmla="*/ 33 w 33"/>
                <a:gd name="T1" fmla="*/ 7 h 38"/>
                <a:gd name="T2" fmla="*/ 19 w 33"/>
                <a:gd name="T3" fmla="*/ 0 h 38"/>
                <a:gd name="T4" fmla="*/ 0 w 33"/>
                <a:gd name="T5" fmla="*/ 0 h 38"/>
                <a:gd name="T6" fmla="*/ 7 w 33"/>
                <a:gd name="T7" fmla="*/ 7 h 38"/>
                <a:gd name="T8" fmla="*/ 24 w 33"/>
                <a:gd name="T9" fmla="*/ 38 h 38"/>
                <a:gd name="T10" fmla="*/ 33 w 33"/>
                <a:gd name="T11" fmla="*/ 33 h 38"/>
                <a:gd name="T12" fmla="*/ 33 w 33"/>
                <a:gd name="T13" fmla="*/ 7 h 38"/>
              </a:gdLst>
              <a:ahLst/>
              <a:cxnLst>
                <a:cxn ang="0">
                  <a:pos x="T0" y="T1"/>
                </a:cxn>
                <a:cxn ang="0">
                  <a:pos x="T2" y="T3"/>
                </a:cxn>
                <a:cxn ang="0">
                  <a:pos x="T4" y="T5"/>
                </a:cxn>
                <a:cxn ang="0">
                  <a:pos x="T6" y="T7"/>
                </a:cxn>
                <a:cxn ang="0">
                  <a:pos x="T8" y="T9"/>
                </a:cxn>
                <a:cxn ang="0">
                  <a:pos x="T10" y="T11"/>
                </a:cxn>
                <a:cxn ang="0">
                  <a:pos x="T12" y="T13"/>
                </a:cxn>
              </a:cxnLst>
              <a:rect l="0" t="0" r="r" b="b"/>
              <a:pathLst>
                <a:path w="33" h="38">
                  <a:moveTo>
                    <a:pt x="33" y="7"/>
                  </a:moveTo>
                  <a:lnTo>
                    <a:pt x="19" y="0"/>
                  </a:lnTo>
                  <a:lnTo>
                    <a:pt x="0" y="0"/>
                  </a:lnTo>
                  <a:lnTo>
                    <a:pt x="7" y="7"/>
                  </a:lnTo>
                  <a:lnTo>
                    <a:pt x="24" y="38"/>
                  </a:lnTo>
                  <a:lnTo>
                    <a:pt x="33" y="33"/>
                  </a:lnTo>
                  <a:lnTo>
                    <a:pt x="3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4" name="Freeform 52"/>
            <p:cNvSpPr>
              <a:spLocks/>
            </p:cNvSpPr>
            <p:nvPr/>
          </p:nvSpPr>
          <p:spPr bwMode="auto">
            <a:xfrm>
              <a:off x="2654" y="1936"/>
              <a:ext cx="5" cy="14"/>
            </a:xfrm>
            <a:custGeom>
              <a:avLst/>
              <a:gdLst>
                <a:gd name="T0" fmla="*/ 0 w 5"/>
                <a:gd name="T1" fmla="*/ 12 h 14"/>
                <a:gd name="T2" fmla="*/ 2 w 5"/>
                <a:gd name="T3" fmla="*/ 14 h 14"/>
                <a:gd name="T4" fmla="*/ 5 w 5"/>
                <a:gd name="T5" fmla="*/ 5 h 14"/>
                <a:gd name="T6" fmla="*/ 0 w 5"/>
                <a:gd name="T7" fmla="*/ 0 h 14"/>
                <a:gd name="T8" fmla="*/ 0 w 5"/>
                <a:gd name="T9" fmla="*/ 12 h 14"/>
              </a:gdLst>
              <a:ahLst/>
              <a:cxnLst>
                <a:cxn ang="0">
                  <a:pos x="T0" y="T1"/>
                </a:cxn>
                <a:cxn ang="0">
                  <a:pos x="T2" y="T3"/>
                </a:cxn>
                <a:cxn ang="0">
                  <a:pos x="T4" y="T5"/>
                </a:cxn>
                <a:cxn ang="0">
                  <a:pos x="T6" y="T7"/>
                </a:cxn>
                <a:cxn ang="0">
                  <a:pos x="T8" y="T9"/>
                </a:cxn>
              </a:cxnLst>
              <a:rect l="0" t="0" r="r" b="b"/>
              <a:pathLst>
                <a:path w="5" h="14">
                  <a:moveTo>
                    <a:pt x="0" y="12"/>
                  </a:moveTo>
                  <a:lnTo>
                    <a:pt x="2" y="14"/>
                  </a:lnTo>
                  <a:lnTo>
                    <a:pt x="5" y="5"/>
                  </a:lnTo>
                  <a:lnTo>
                    <a:pt x="0" y="0"/>
                  </a:lnTo>
                  <a:lnTo>
                    <a:pt x="0"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5" name="Freeform 53"/>
            <p:cNvSpPr>
              <a:spLocks/>
            </p:cNvSpPr>
            <p:nvPr/>
          </p:nvSpPr>
          <p:spPr bwMode="auto">
            <a:xfrm>
              <a:off x="2881" y="2275"/>
              <a:ext cx="7" cy="7"/>
            </a:xfrm>
            <a:custGeom>
              <a:avLst/>
              <a:gdLst>
                <a:gd name="T0" fmla="*/ 7 w 7"/>
                <a:gd name="T1" fmla="*/ 0 h 7"/>
                <a:gd name="T2" fmla="*/ 0 w 7"/>
                <a:gd name="T3" fmla="*/ 7 h 7"/>
                <a:gd name="T4" fmla="*/ 7 w 7"/>
                <a:gd name="T5" fmla="*/ 7 h 7"/>
                <a:gd name="T6" fmla="*/ 7 w 7"/>
                <a:gd name="T7" fmla="*/ 0 h 7"/>
              </a:gdLst>
              <a:ahLst/>
              <a:cxnLst>
                <a:cxn ang="0">
                  <a:pos x="T0" y="T1"/>
                </a:cxn>
                <a:cxn ang="0">
                  <a:pos x="T2" y="T3"/>
                </a:cxn>
                <a:cxn ang="0">
                  <a:pos x="T4" y="T5"/>
                </a:cxn>
                <a:cxn ang="0">
                  <a:pos x="T6" y="T7"/>
                </a:cxn>
              </a:cxnLst>
              <a:rect l="0" t="0" r="r" b="b"/>
              <a:pathLst>
                <a:path w="7" h="7">
                  <a:moveTo>
                    <a:pt x="7" y="0"/>
                  </a:moveTo>
                  <a:lnTo>
                    <a:pt x="0" y="7"/>
                  </a:lnTo>
                  <a:lnTo>
                    <a:pt x="7" y="7"/>
                  </a:lnTo>
                  <a:lnTo>
                    <a:pt x="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6" name="Freeform 54"/>
            <p:cNvSpPr>
              <a:spLocks/>
            </p:cNvSpPr>
            <p:nvPr/>
          </p:nvSpPr>
          <p:spPr bwMode="auto">
            <a:xfrm>
              <a:off x="3189" y="2021"/>
              <a:ext cx="71" cy="57"/>
            </a:xfrm>
            <a:custGeom>
              <a:avLst/>
              <a:gdLst>
                <a:gd name="T0" fmla="*/ 54 w 71"/>
                <a:gd name="T1" fmla="*/ 38 h 57"/>
                <a:gd name="T2" fmla="*/ 71 w 71"/>
                <a:gd name="T3" fmla="*/ 12 h 57"/>
                <a:gd name="T4" fmla="*/ 66 w 71"/>
                <a:gd name="T5" fmla="*/ 0 h 57"/>
                <a:gd name="T6" fmla="*/ 54 w 71"/>
                <a:gd name="T7" fmla="*/ 0 h 57"/>
                <a:gd name="T8" fmla="*/ 26 w 71"/>
                <a:gd name="T9" fmla="*/ 3 h 57"/>
                <a:gd name="T10" fmla="*/ 0 w 71"/>
                <a:gd name="T11" fmla="*/ 24 h 57"/>
                <a:gd name="T12" fmla="*/ 7 w 71"/>
                <a:gd name="T13" fmla="*/ 50 h 57"/>
                <a:gd name="T14" fmla="*/ 33 w 71"/>
                <a:gd name="T15" fmla="*/ 57 h 57"/>
                <a:gd name="T16" fmla="*/ 54 w 71"/>
                <a:gd name="T17" fmla="*/ 3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 h="57">
                  <a:moveTo>
                    <a:pt x="54" y="38"/>
                  </a:moveTo>
                  <a:lnTo>
                    <a:pt x="71" y="12"/>
                  </a:lnTo>
                  <a:lnTo>
                    <a:pt x="66" y="0"/>
                  </a:lnTo>
                  <a:lnTo>
                    <a:pt x="54" y="0"/>
                  </a:lnTo>
                  <a:lnTo>
                    <a:pt x="26" y="3"/>
                  </a:lnTo>
                  <a:lnTo>
                    <a:pt x="0" y="24"/>
                  </a:lnTo>
                  <a:lnTo>
                    <a:pt x="7" y="50"/>
                  </a:lnTo>
                  <a:lnTo>
                    <a:pt x="33" y="57"/>
                  </a:lnTo>
                  <a:lnTo>
                    <a:pt x="54"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7" name="Freeform 55"/>
            <p:cNvSpPr>
              <a:spLocks/>
            </p:cNvSpPr>
            <p:nvPr/>
          </p:nvSpPr>
          <p:spPr bwMode="auto">
            <a:xfrm>
              <a:off x="3530" y="1856"/>
              <a:ext cx="52" cy="106"/>
            </a:xfrm>
            <a:custGeom>
              <a:avLst/>
              <a:gdLst>
                <a:gd name="T0" fmla="*/ 21 w 52"/>
                <a:gd name="T1" fmla="*/ 106 h 106"/>
                <a:gd name="T2" fmla="*/ 52 w 52"/>
                <a:gd name="T3" fmla="*/ 19 h 106"/>
                <a:gd name="T4" fmla="*/ 52 w 52"/>
                <a:gd name="T5" fmla="*/ 4 h 106"/>
                <a:gd name="T6" fmla="*/ 40 w 52"/>
                <a:gd name="T7" fmla="*/ 0 h 106"/>
                <a:gd name="T8" fmla="*/ 26 w 52"/>
                <a:gd name="T9" fmla="*/ 4 h 106"/>
                <a:gd name="T10" fmla="*/ 0 w 52"/>
                <a:gd name="T11" fmla="*/ 54 h 106"/>
                <a:gd name="T12" fmla="*/ 2 w 52"/>
                <a:gd name="T13" fmla="*/ 78 h 106"/>
                <a:gd name="T14" fmla="*/ 21 w 52"/>
                <a:gd name="T15" fmla="*/ 106 h 1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 h="106">
                  <a:moveTo>
                    <a:pt x="21" y="106"/>
                  </a:moveTo>
                  <a:lnTo>
                    <a:pt x="52" y="19"/>
                  </a:lnTo>
                  <a:lnTo>
                    <a:pt x="52" y="4"/>
                  </a:lnTo>
                  <a:lnTo>
                    <a:pt x="40" y="0"/>
                  </a:lnTo>
                  <a:lnTo>
                    <a:pt x="26" y="4"/>
                  </a:lnTo>
                  <a:lnTo>
                    <a:pt x="0" y="54"/>
                  </a:lnTo>
                  <a:lnTo>
                    <a:pt x="2" y="78"/>
                  </a:lnTo>
                  <a:lnTo>
                    <a:pt x="21" y="1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8" name="Freeform 56"/>
            <p:cNvSpPr>
              <a:spLocks/>
            </p:cNvSpPr>
            <p:nvPr/>
          </p:nvSpPr>
          <p:spPr bwMode="auto">
            <a:xfrm>
              <a:off x="4119" y="1113"/>
              <a:ext cx="180" cy="163"/>
            </a:xfrm>
            <a:custGeom>
              <a:avLst/>
              <a:gdLst>
                <a:gd name="T0" fmla="*/ 7 w 180"/>
                <a:gd name="T1" fmla="*/ 163 h 163"/>
                <a:gd name="T2" fmla="*/ 40 w 180"/>
                <a:gd name="T3" fmla="*/ 149 h 163"/>
                <a:gd name="T4" fmla="*/ 19 w 180"/>
                <a:gd name="T5" fmla="*/ 134 h 163"/>
                <a:gd name="T6" fmla="*/ 14 w 180"/>
                <a:gd name="T7" fmla="*/ 127 h 163"/>
                <a:gd name="T8" fmla="*/ 21 w 180"/>
                <a:gd name="T9" fmla="*/ 123 h 163"/>
                <a:gd name="T10" fmla="*/ 40 w 180"/>
                <a:gd name="T11" fmla="*/ 125 h 163"/>
                <a:gd name="T12" fmla="*/ 61 w 180"/>
                <a:gd name="T13" fmla="*/ 120 h 163"/>
                <a:gd name="T14" fmla="*/ 102 w 180"/>
                <a:gd name="T15" fmla="*/ 144 h 163"/>
                <a:gd name="T16" fmla="*/ 121 w 180"/>
                <a:gd name="T17" fmla="*/ 108 h 163"/>
                <a:gd name="T18" fmla="*/ 175 w 180"/>
                <a:gd name="T19" fmla="*/ 89 h 163"/>
                <a:gd name="T20" fmla="*/ 180 w 180"/>
                <a:gd name="T21" fmla="*/ 82 h 163"/>
                <a:gd name="T22" fmla="*/ 163 w 180"/>
                <a:gd name="T23" fmla="*/ 87 h 163"/>
                <a:gd name="T24" fmla="*/ 158 w 180"/>
                <a:gd name="T25" fmla="*/ 68 h 163"/>
                <a:gd name="T26" fmla="*/ 166 w 180"/>
                <a:gd name="T27" fmla="*/ 49 h 163"/>
                <a:gd name="T28" fmla="*/ 154 w 180"/>
                <a:gd name="T29" fmla="*/ 59 h 163"/>
                <a:gd name="T30" fmla="*/ 142 w 180"/>
                <a:gd name="T31" fmla="*/ 63 h 163"/>
                <a:gd name="T32" fmla="*/ 106 w 180"/>
                <a:gd name="T33" fmla="*/ 49 h 163"/>
                <a:gd name="T34" fmla="*/ 61 w 180"/>
                <a:gd name="T35" fmla="*/ 0 h 163"/>
                <a:gd name="T36" fmla="*/ 54 w 180"/>
                <a:gd name="T37" fmla="*/ 7 h 163"/>
                <a:gd name="T38" fmla="*/ 59 w 180"/>
                <a:gd name="T39" fmla="*/ 30 h 163"/>
                <a:gd name="T40" fmla="*/ 54 w 180"/>
                <a:gd name="T41" fmla="*/ 59 h 163"/>
                <a:gd name="T42" fmla="*/ 47 w 180"/>
                <a:gd name="T43" fmla="*/ 71 h 163"/>
                <a:gd name="T44" fmla="*/ 47 w 180"/>
                <a:gd name="T45" fmla="*/ 82 h 163"/>
                <a:gd name="T46" fmla="*/ 45 w 180"/>
                <a:gd name="T47" fmla="*/ 94 h 163"/>
                <a:gd name="T48" fmla="*/ 19 w 180"/>
                <a:gd name="T49" fmla="*/ 89 h 163"/>
                <a:gd name="T50" fmla="*/ 19 w 180"/>
                <a:gd name="T51" fmla="*/ 104 h 163"/>
                <a:gd name="T52" fmla="*/ 2 w 180"/>
                <a:gd name="T53" fmla="*/ 120 h 163"/>
                <a:gd name="T54" fmla="*/ 0 w 180"/>
                <a:gd name="T55" fmla="*/ 132 h 163"/>
                <a:gd name="T56" fmla="*/ 9 w 180"/>
                <a:gd name="T57" fmla="*/ 142 h 163"/>
                <a:gd name="T58" fmla="*/ 7 w 180"/>
                <a:gd name="T59" fmla="*/ 16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0" h="163">
                  <a:moveTo>
                    <a:pt x="7" y="163"/>
                  </a:moveTo>
                  <a:lnTo>
                    <a:pt x="40" y="149"/>
                  </a:lnTo>
                  <a:lnTo>
                    <a:pt x="19" y="134"/>
                  </a:lnTo>
                  <a:lnTo>
                    <a:pt x="14" y="127"/>
                  </a:lnTo>
                  <a:lnTo>
                    <a:pt x="21" y="123"/>
                  </a:lnTo>
                  <a:lnTo>
                    <a:pt x="40" y="125"/>
                  </a:lnTo>
                  <a:lnTo>
                    <a:pt x="61" y="120"/>
                  </a:lnTo>
                  <a:lnTo>
                    <a:pt x="102" y="144"/>
                  </a:lnTo>
                  <a:lnTo>
                    <a:pt x="121" y="108"/>
                  </a:lnTo>
                  <a:lnTo>
                    <a:pt x="175" y="89"/>
                  </a:lnTo>
                  <a:lnTo>
                    <a:pt x="180" y="82"/>
                  </a:lnTo>
                  <a:lnTo>
                    <a:pt x="163" y="87"/>
                  </a:lnTo>
                  <a:lnTo>
                    <a:pt x="158" y="68"/>
                  </a:lnTo>
                  <a:lnTo>
                    <a:pt x="166" y="49"/>
                  </a:lnTo>
                  <a:lnTo>
                    <a:pt x="154" y="59"/>
                  </a:lnTo>
                  <a:lnTo>
                    <a:pt x="142" y="63"/>
                  </a:lnTo>
                  <a:lnTo>
                    <a:pt x="106" y="49"/>
                  </a:lnTo>
                  <a:lnTo>
                    <a:pt x="61" y="0"/>
                  </a:lnTo>
                  <a:lnTo>
                    <a:pt x="54" y="7"/>
                  </a:lnTo>
                  <a:lnTo>
                    <a:pt x="59" y="30"/>
                  </a:lnTo>
                  <a:lnTo>
                    <a:pt x="54" y="59"/>
                  </a:lnTo>
                  <a:lnTo>
                    <a:pt x="47" y="71"/>
                  </a:lnTo>
                  <a:lnTo>
                    <a:pt x="47" y="82"/>
                  </a:lnTo>
                  <a:lnTo>
                    <a:pt x="45" y="94"/>
                  </a:lnTo>
                  <a:lnTo>
                    <a:pt x="19" y="89"/>
                  </a:lnTo>
                  <a:lnTo>
                    <a:pt x="19" y="104"/>
                  </a:lnTo>
                  <a:lnTo>
                    <a:pt x="2" y="120"/>
                  </a:lnTo>
                  <a:lnTo>
                    <a:pt x="0" y="132"/>
                  </a:lnTo>
                  <a:lnTo>
                    <a:pt x="9" y="142"/>
                  </a:lnTo>
                  <a:lnTo>
                    <a:pt x="7" y="1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9" name="Freeform 57"/>
            <p:cNvSpPr>
              <a:spLocks/>
            </p:cNvSpPr>
            <p:nvPr/>
          </p:nvSpPr>
          <p:spPr bwMode="auto">
            <a:xfrm>
              <a:off x="3797" y="1588"/>
              <a:ext cx="5" cy="10"/>
            </a:xfrm>
            <a:custGeom>
              <a:avLst/>
              <a:gdLst>
                <a:gd name="T0" fmla="*/ 0 w 5"/>
                <a:gd name="T1" fmla="*/ 0 h 10"/>
                <a:gd name="T2" fmla="*/ 0 w 5"/>
                <a:gd name="T3" fmla="*/ 10 h 10"/>
                <a:gd name="T4" fmla="*/ 5 w 5"/>
                <a:gd name="T5" fmla="*/ 5 h 10"/>
                <a:gd name="T6" fmla="*/ 0 w 5"/>
                <a:gd name="T7" fmla="*/ 0 h 10"/>
              </a:gdLst>
              <a:ahLst/>
              <a:cxnLst>
                <a:cxn ang="0">
                  <a:pos x="T0" y="T1"/>
                </a:cxn>
                <a:cxn ang="0">
                  <a:pos x="T2" y="T3"/>
                </a:cxn>
                <a:cxn ang="0">
                  <a:pos x="T4" y="T5"/>
                </a:cxn>
                <a:cxn ang="0">
                  <a:pos x="T6" y="T7"/>
                </a:cxn>
              </a:cxnLst>
              <a:rect l="0" t="0" r="r" b="b"/>
              <a:pathLst>
                <a:path w="5" h="10">
                  <a:moveTo>
                    <a:pt x="0" y="0"/>
                  </a:moveTo>
                  <a:lnTo>
                    <a:pt x="0" y="10"/>
                  </a:lnTo>
                  <a:lnTo>
                    <a:pt x="5" y="5"/>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0" name="Freeform 58"/>
            <p:cNvSpPr>
              <a:spLocks/>
            </p:cNvSpPr>
            <p:nvPr/>
          </p:nvSpPr>
          <p:spPr bwMode="auto">
            <a:xfrm>
              <a:off x="3840" y="1683"/>
              <a:ext cx="7" cy="5"/>
            </a:xfrm>
            <a:custGeom>
              <a:avLst/>
              <a:gdLst>
                <a:gd name="T0" fmla="*/ 2 w 7"/>
                <a:gd name="T1" fmla="*/ 0 h 5"/>
                <a:gd name="T2" fmla="*/ 0 w 7"/>
                <a:gd name="T3" fmla="*/ 5 h 5"/>
                <a:gd name="T4" fmla="*/ 7 w 7"/>
                <a:gd name="T5" fmla="*/ 5 h 5"/>
                <a:gd name="T6" fmla="*/ 2 w 7"/>
                <a:gd name="T7" fmla="*/ 0 h 5"/>
              </a:gdLst>
              <a:ahLst/>
              <a:cxnLst>
                <a:cxn ang="0">
                  <a:pos x="T0" y="T1"/>
                </a:cxn>
                <a:cxn ang="0">
                  <a:pos x="T2" y="T3"/>
                </a:cxn>
                <a:cxn ang="0">
                  <a:pos x="T4" y="T5"/>
                </a:cxn>
                <a:cxn ang="0">
                  <a:pos x="T6" y="T7"/>
                </a:cxn>
              </a:cxnLst>
              <a:rect l="0" t="0" r="r" b="b"/>
              <a:pathLst>
                <a:path w="7" h="5">
                  <a:moveTo>
                    <a:pt x="2" y="0"/>
                  </a:moveTo>
                  <a:lnTo>
                    <a:pt x="0" y="5"/>
                  </a:lnTo>
                  <a:lnTo>
                    <a:pt x="7" y="5"/>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1" name="Freeform 59"/>
            <p:cNvSpPr>
              <a:spLocks/>
            </p:cNvSpPr>
            <p:nvPr/>
          </p:nvSpPr>
          <p:spPr bwMode="auto">
            <a:xfrm>
              <a:off x="3816" y="1560"/>
              <a:ext cx="69" cy="99"/>
            </a:xfrm>
            <a:custGeom>
              <a:avLst/>
              <a:gdLst>
                <a:gd name="T0" fmla="*/ 7 w 69"/>
                <a:gd name="T1" fmla="*/ 38 h 99"/>
                <a:gd name="T2" fmla="*/ 0 w 69"/>
                <a:gd name="T3" fmla="*/ 33 h 99"/>
                <a:gd name="T4" fmla="*/ 2 w 69"/>
                <a:gd name="T5" fmla="*/ 47 h 99"/>
                <a:gd name="T6" fmla="*/ 17 w 69"/>
                <a:gd name="T7" fmla="*/ 45 h 99"/>
                <a:gd name="T8" fmla="*/ 17 w 69"/>
                <a:gd name="T9" fmla="*/ 26 h 99"/>
                <a:gd name="T10" fmla="*/ 26 w 69"/>
                <a:gd name="T11" fmla="*/ 40 h 99"/>
                <a:gd name="T12" fmla="*/ 26 w 69"/>
                <a:gd name="T13" fmla="*/ 54 h 99"/>
                <a:gd name="T14" fmla="*/ 17 w 69"/>
                <a:gd name="T15" fmla="*/ 68 h 99"/>
                <a:gd name="T16" fmla="*/ 17 w 69"/>
                <a:gd name="T17" fmla="*/ 90 h 99"/>
                <a:gd name="T18" fmla="*/ 26 w 69"/>
                <a:gd name="T19" fmla="*/ 95 h 99"/>
                <a:gd name="T20" fmla="*/ 31 w 69"/>
                <a:gd name="T21" fmla="*/ 78 h 99"/>
                <a:gd name="T22" fmla="*/ 33 w 69"/>
                <a:gd name="T23" fmla="*/ 78 h 99"/>
                <a:gd name="T24" fmla="*/ 33 w 69"/>
                <a:gd name="T25" fmla="*/ 99 h 99"/>
                <a:gd name="T26" fmla="*/ 47 w 69"/>
                <a:gd name="T27" fmla="*/ 87 h 99"/>
                <a:gd name="T28" fmla="*/ 69 w 69"/>
                <a:gd name="T29" fmla="*/ 38 h 99"/>
                <a:gd name="T30" fmla="*/ 64 w 69"/>
                <a:gd name="T31" fmla="*/ 24 h 99"/>
                <a:gd name="T32" fmla="*/ 57 w 69"/>
                <a:gd name="T33" fmla="*/ 24 h 99"/>
                <a:gd name="T34" fmla="*/ 59 w 69"/>
                <a:gd name="T35" fmla="*/ 9 h 99"/>
                <a:gd name="T36" fmla="*/ 47 w 69"/>
                <a:gd name="T37" fmla="*/ 12 h 99"/>
                <a:gd name="T38" fmla="*/ 33 w 69"/>
                <a:gd name="T39" fmla="*/ 0 h 99"/>
                <a:gd name="T40" fmla="*/ 0 w 69"/>
                <a:gd name="T41" fmla="*/ 24 h 99"/>
                <a:gd name="T42" fmla="*/ 7 w 69"/>
                <a:gd name="T43" fmla="*/ 33 h 99"/>
                <a:gd name="T44" fmla="*/ 7 w 69"/>
                <a:gd name="T45" fmla="*/ 38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9" h="99">
                  <a:moveTo>
                    <a:pt x="7" y="38"/>
                  </a:moveTo>
                  <a:lnTo>
                    <a:pt x="0" y="33"/>
                  </a:lnTo>
                  <a:lnTo>
                    <a:pt x="2" y="47"/>
                  </a:lnTo>
                  <a:lnTo>
                    <a:pt x="17" y="45"/>
                  </a:lnTo>
                  <a:lnTo>
                    <a:pt x="17" y="26"/>
                  </a:lnTo>
                  <a:lnTo>
                    <a:pt x="26" y="40"/>
                  </a:lnTo>
                  <a:lnTo>
                    <a:pt x="26" y="54"/>
                  </a:lnTo>
                  <a:lnTo>
                    <a:pt x="17" y="68"/>
                  </a:lnTo>
                  <a:lnTo>
                    <a:pt x="17" y="90"/>
                  </a:lnTo>
                  <a:lnTo>
                    <a:pt x="26" y="95"/>
                  </a:lnTo>
                  <a:lnTo>
                    <a:pt x="31" y="78"/>
                  </a:lnTo>
                  <a:lnTo>
                    <a:pt x="33" y="78"/>
                  </a:lnTo>
                  <a:lnTo>
                    <a:pt x="33" y="99"/>
                  </a:lnTo>
                  <a:lnTo>
                    <a:pt x="47" y="87"/>
                  </a:lnTo>
                  <a:lnTo>
                    <a:pt x="69" y="38"/>
                  </a:lnTo>
                  <a:lnTo>
                    <a:pt x="64" y="24"/>
                  </a:lnTo>
                  <a:lnTo>
                    <a:pt x="57" y="24"/>
                  </a:lnTo>
                  <a:lnTo>
                    <a:pt x="59" y="9"/>
                  </a:lnTo>
                  <a:lnTo>
                    <a:pt x="47" y="12"/>
                  </a:lnTo>
                  <a:lnTo>
                    <a:pt x="33" y="0"/>
                  </a:lnTo>
                  <a:lnTo>
                    <a:pt x="0" y="24"/>
                  </a:lnTo>
                  <a:lnTo>
                    <a:pt x="7" y="33"/>
                  </a:lnTo>
                  <a:lnTo>
                    <a:pt x="7"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2" name="Freeform 60"/>
            <p:cNvSpPr>
              <a:spLocks/>
            </p:cNvSpPr>
            <p:nvPr/>
          </p:nvSpPr>
          <p:spPr bwMode="auto">
            <a:xfrm>
              <a:off x="3967" y="1534"/>
              <a:ext cx="8" cy="14"/>
            </a:xfrm>
            <a:custGeom>
              <a:avLst/>
              <a:gdLst>
                <a:gd name="T0" fmla="*/ 8 w 8"/>
                <a:gd name="T1" fmla="*/ 0 h 14"/>
                <a:gd name="T2" fmla="*/ 0 w 8"/>
                <a:gd name="T3" fmla="*/ 14 h 14"/>
                <a:gd name="T4" fmla="*/ 8 w 8"/>
                <a:gd name="T5" fmla="*/ 14 h 14"/>
                <a:gd name="T6" fmla="*/ 8 w 8"/>
                <a:gd name="T7" fmla="*/ 0 h 14"/>
              </a:gdLst>
              <a:ahLst/>
              <a:cxnLst>
                <a:cxn ang="0">
                  <a:pos x="T0" y="T1"/>
                </a:cxn>
                <a:cxn ang="0">
                  <a:pos x="T2" y="T3"/>
                </a:cxn>
                <a:cxn ang="0">
                  <a:pos x="T4" y="T5"/>
                </a:cxn>
                <a:cxn ang="0">
                  <a:pos x="T6" y="T7"/>
                </a:cxn>
              </a:cxnLst>
              <a:rect l="0" t="0" r="r" b="b"/>
              <a:pathLst>
                <a:path w="8" h="14">
                  <a:moveTo>
                    <a:pt x="8" y="0"/>
                  </a:moveTo>
                  <a:lnTo>
                    <a:pt x="0" y="14"/>
                  </a:lnTo>
                  <a:lnTo>
                    <a:pt x="8" y="14"/>
                  </a:lnTo>
                  <a:lnTo>
                    <a:pt x="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3" name="Freeform 61"/>
            <p:cNvSpPr>
              <a:spLocks/>
            </p:cNvSpPr>
            <p:nvPr/>
          </p:nvSpPr>
          <p:spPr bwMode="auto">
            <a:xfrm>
              <a:off x="3892" y="1543"/>
              <a:ext cx="75" cy="57"/>
            </a:xfrm>
            <a:custGeom>
              <a:avLst/>
              <a:gdLst>
                <a:gd name="T0" fmla="*/ 19 w 75"/>
                <a:gd name="T1" fmla="*/ 57 h 57"/>
                <a:gd name="T2" fmla="*/ 26 w 75"/>
                <a:gd name="T3" fmla="*/ 57 h 57"/>
                <a:gd name="T4" fmla="*/ 38 w 75"/>
                <a:gd name="T5" fmla="*/ 33 h 57"/>
                <a:gd name="T6" fmla="*/ 59 w 75"/>
                <a:gd name="T7" fmla="*/ 41 h 57"/>
                <a:gd name="T8" fmla="*/ 75 w 75"/>
                <a:gd name="T9" fmla="*/ 22 h 57"/>
                <a:gd name="T10" fmla="*/ 71 w 75"/>
                <a:gd name="T11" fmla="*/ 5 h 57"/>
                <a:gd name="T12" fmla="*/ 54 w 75"/>
                <a:gd name="T13" fmla="*/ 0 h 57"/>
                <a:gd name="T14" fmla="*/ 33 w 75"/>
                <a:gd name="T15" fmla="*/ 14 h 57"/>
                <a:gd name="T16" fmla="*/ 19 w 75"/>
                <a:gd name="T17" fmla="*/ 12 h 57"/>
                <a:gd name="T18" fmla="*/ 0 w 75"/>
                <a:gd name="T19" fmla="*/ 36 h 57"/>
                <a:gd name="T20" fmla="*/ 9 w 75"/>
                <a:gd name="T21" fmla="*/ 38 h 57"/>
                <a:gd name="T22" fmla="*/ 19 w 75"/>
                <a:gd name="T23"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57">
                  <a:moveTo>
                    <a:pt x="19" y="57"/>
                  </a:moveTo>
                  <a:lnTo>
                    <a:pt x="26" y="57"/>
                  </a:lnTo>
                  <a:lnTo>
                    <a:pt x="38" y="33"/>
                  </a:lnTo>
                  <a:lnTo>
                    <a:pt x="59" y="41"/>
                  </a:lnTo>
                  <a:lnTo>
                    <a:pt x="75" y="22"/>
                  </a:lnTo>
                  <a:lnTo>
                    <a:pt x="71" y="5"/>
                  </a:lnTo>
                  <a:lnTo>
                    <a:pt x="54" y="0"/>
                  </a:lnTo>
                  <a:lnTo>
                    <a:pt x="33" y="14"/>
                  </a:lnTo>
                  <a:lnTo>
                    <a:pt x="19" y="12"/>
                  </a:lnTo>
                  <a:lnTo>
                    <a:pt x="0" y="36"/>
                  </a:lnTo>
                  <a:lnTo>
                    <a:pt x="9" y="38"/>
                  </a:lnTo>
                  <a:lnTo>
                    <a:pt x="19" y="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4" name="Freeform 62"/>
            <p:cNvSpPr>
              <a:spLocks/>
            </p:cNvSpPr>
            <p:nvPr/>
          </p:nvSpPr>
          <p:spPr bwMode="auto">
            <a:xfrm>
              <a:off x="4157" y="1122"/>
              <a:ext cx="7" cy="5"/>
            </a:xfrm>
            <a:custGeom>
              <a:avLst/>
              <a:gdLst>
                <a:gd name="T0" fmla="*/ 2 w 7"/>
                <a:gd name="T1" fmla="*/ 0 h 5"/>
                <a:gd name="T2" fmla="*/ 0 w 7"/>
                <a:gd name="T3" fmla="*/ 2 h 5"/>
                <a:gd name="T4" fmla="*/ 7 w 7"/>
                <a:gd name="T5" fmla="*/ 5 h 5"/>
                <a:gd name="T6" fmla="*/ 2 w 7"/>
                <a:gd name="T7" fmla="*/ 0 h 5"/>
              </a:gdLst>
              <a:ahLst/>
              <a:cxnLst>
                <a:cxn ang="0">
                  <a:pos x="T0" y="T1"/>
                </a:cxn>
                <a:cxn ang="0">
                  <a:pos x="T2" y="T3"/>
                </a:cxn>
                <a:cxn ang="0">
                  <a:pos x="T4" y="T5"/>
                </a:cxn>
                <a:cxn ang="0">
                  <a:pos x="T6" y="T7"/>
                </a:cxn>
              </a:cxnLst>
              <a:rect l="0" t="0" r="r" b="b"/>
              <a:pathLst>
                <a:path w="7" h="5">
                  <a:moveTo>
                    <a:pt x="2" y="0"/>
                  </a:moveTo>
                  <a:lnTo>
                    <a:pt x="0" y="2"/>
                  </a:lnTo>
                  <a:lnTo>
                    <a:pt x="7" y="5"/>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5" name="Freeform 63"/>
            <p:cNvSpPr>
              <a:spLocks/>
            </p:cNvSpPr>
            <p:nvPr/>
          </p:nvSpPr>
          <p:spPr bwMode="auto">
            <a:xfrm>
              <a:off x="3712" y="1579"/>
              <a:ext cx="21" cy="7"/>
            </a:xfrm>
            <a:custGeom>
              <a:avLst/>
              <a:gdLst>
                <a:gd name="T0" fmla="*/ 21 w 21"/>
                <a:gd name="T1" fmla="*/ 0 h 7"/>
                <a:gd name="T2" fmla="*/ 2 w 21"/>
                <a:gd name="T3" fmla="*/ 0 h 7"/>
                <a:gd name="T4" fmla="*/ 0 w 21"/>
                <a:gd name="T5" fmla="*/ 5 h 7"/>
                <a:gd name="T6" fmla="*/ 7 w 21"/>
                <a:gd name="T7" fmla="*/ 7 h 7"/>
                <a:gd name="T8" fmla="*/ 21 w 21"/>
                <a:gd name="T9" fmla="*/ 0 h 7"/>
              </a:gdLst>
              <a:ahLst/>
              <a:cxnLst>
                <a:cxn ang="0">
                  <a:pos x="T0" y="T1"/>
                </a:cxn>
                <a:cxn ang="0">
                  <a:pos x="T2" y="T3"/>
                </a:cxn>
                <a:cxn ang="0">
                  <a:pos x="T4" y="T5"/>
                </a:cxn>
                <a:cxn ang="0">
                  <a:pos x="T6" y="T7"/>
                </a:cxn>
                <a:cxn ang="0">
                  <a:pos x="T8" y="T9"/>
                </a:cxn>
              </a:cxnLst>
              <a:rect l="0" t="0" r="r" b="b"/>
              <a:pathLst>
                <a:path w="21" h="7">
                  <a:moveTo>
                    <a:pt x="21" y="0"/>
                  </a:moveTo>
                  <a:lnTo>
                    <a:pt x="2" y="0"/>
                  </a:lnTo>
                  <a:lnTo>
                    <a:pt x="0" y="5"/>
                  </a:lnTo>
                  <a:lnTo>
                    <a:pt x="7" y="7"/>
                  </a:ln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6" name="Freeform 64"/>
            <p:cNvSpPr>
              <a:spLocks/>
            </p:cNvSpPr>
            <p:nvPr/>
          </p:nvSpPr>
          <p:spPr bwMode="auto">
            <a:xfrm>
              <a:off x="3044" y="2582"/>
              <a:ext cx="10" cy="5"/>
            </a:xfrm>
            <a:custGeom>
              <a:avLst/>
              <a:gdLst>
                <a:gd name="T0" fmla="*/ 5 w 10"/>
                <a:gd name="T1" fmla="*/ 0 h 5"/>
                <a:gd name="T2" fmla="*/ 0 w 10"/>
                <a:gd name="T3" fmla="*/ 5 h 5"/>
                <a:gd name="T4" fmla="*/ 10 w 10"/>
                <a:gd name="T5" fmla="*/ 3 h 5"/>
                <a:gd name="T6" fmla="*/ 5 w 10"/>
                <a:gd name="T7" fmla="*/ 0 h 5"/>
              </a:gdLst>
              <a:ahLst/>
              <a:cxnLst>
                <a:cxn ang="0">
                  <a:pos x="T0" y="T1"/>
                </a:cxn>
                <a:cxn ang="0">
                  <a:pos x="T2" y="T3"/>
                </a:cxn>
                <a:cxn ang="0">
                  <a:pos x="T4" y="T5"/>
                </a:cxn>
                <a:cxn ang="0">
                  <a:pos x="T6" y="T7"/>
                </a:cxn>
              </a:cxnLst>
              <a:rect l="0" t="0" r="r" b="b"/>
              <a:pathLst>
                <a:path w="10" h="5">
                  <a:moveTo>
                    <a:pt x="5" y="0"/>
                  </a:moveTo>
                  <a:lnTo>
                    <a:pt x="0" y="5"/>
                  </a:lnTo>
                  <a:lnTo>
                    <a:pt x="10" y="3"/>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7" name="Freeform 65"/>
            <p:cNvSpPr>
              <a:spLocks/>
            </p:cNvSpPr>
            <p:nvPr/>
          </p:nvSpPr>
          <p:spPr bwMode="auto">
            <a:xfrm>
              <a:off x="2794" y="2462"/>
              <a:ext cx="319" cy="340"/>
            </a:xfrm>
            <a:custGeom>
              <a:avLst/>
              <a:gdLst>
                <a:gd name="T0" fmla="*/ 314 w 319"/>
                <a:gd name="T1" fmla="*/ 338 h 340"/>
                <a:gd name="T2" fmla="*/ 319 w 319"/>
                <a:gd name="T3" fmla="*/ 255 h 340"/>
                <a:gd name="T4" fmla="*/ 307 w 319"/>
                <a:gd name="T5" fmla="*/ 239 h 340"/>
                <a:gd name="T6" fmla="*/ 284 w 319"/>
                <a:gd name="T7" fmla="*/ 236 h 340"/>
                <a:gd name="T8" fmla="*/ 286 w 319"/>
                <a:gd name="T9" fmla="*/ 227 h 340"/>
                <a:gd name="T10" fmla="*/ 276 w 319"/>
                <a:gd name="T11" fmla="*/ 220 h 340"/>
                <a:gd name="T12" fmla="*/ 269 w 319"/>
                <a:gd name="T13" fmla="*/ 198 h 340"/>
                <a:gd name="T14" fmla="*/ 246 w 319"/>
                <a:gd name="T15" fmla="*/ 189 h 340"/>
                <a:gd name="T16" fmla="*/ 243 w 319"/>
                <a:gd name="T17" fmla="*/ 187 h 340"/>
                <a:gd name="T18" fmla="*/ 250 w 319"/>
                <a:gd name="T19" fmla="*/ 172 h 340"/>
                <a:gd name="T20" fmla="*/ 246 w 319"/>
                <a:gd name="T21" fmla="*/ 172 h 340"/>
                <a:gd name="T22" fmla="*/ 253 w 319"/>
                <a:gd name="T23" fmla="*/ 165 h 340"/>
                <a:gd name="T24" fmla="*/ 250 w 319"/>
                <a:gd name="T25" fmla="*/ 156 h 340"/>
                <a:gd name="T26" fmla="*/ 241 w 319"/>
                <a:gd name="T27" fmla="*/ 151 h 340"/>
                <a:gd name="T28" fmla="*/ 229 w 319"/>
                <a:gd name="T29" fmla="*/ 156 h 340"/>
                <a:gd name="T30" fmla="*/ 231 w 319"/>
                <a:gd name="T31" fmla="*/ 153 h 340"/>
                <a:gd name="T32" fmla="*/ 231 w 319"/>
                <a:gd name="T33" fmla="*/ 137 h 340"/>
                <a:gd name="T34" fmla="*/ 217 w 319"/>
                <a:gd name="T35" fmla="*/ 134 h 340"/>
                <a:gd name="T36" fmla="*/ 208 w 319"/>
                <a:gd name="T37" fmla="*/ 127 h 340"/>
                <a:gd name="T38" fmla="*/ 208 w 319"/>
                <a:gd name="T39" fmla="*/ 130 h 340"/>
                <a:gd name="T40" fmla="*/ 201 w 319"/>
                <a:gd name="T41" fmla="*/ 123 h 340"/>
                <a:gd name="T42" fmla="*/ 182 w 319"/>
                <a:gd name="T43" fmla="*/ 113 h 340"/>
                <a:gd name="T44" fmla="*/ 172 w 319"/>
                <a:gd name="T45" fmla="*/ 99 h 340"/>
                <a:gd name="T46" fmla="*/ 165 w 319"/>
                <a:gd name="T47" fmla="*/ 104 h 340"/>
                <a:gd name="T48" fmla="*/ 160 w 319"/>
                <a:gd name="T49" fmla="*/ 99 h 340"/>
                <a:gd name="T50" fmla="*/ 123 w 319"/>
                <a:gd name="T51" fmla="*/ 66 h 340"/>
                <a:gd name="T52" fmla="*/ 89 w 319"/>
                <a:gd name="T53" fmla="*/ 45 h 340"/>
                <a:gd name="T54" fmla="*/ 71 w 319"/>
                <a:gd name="T55" fmla="*/ 14 h 340"/>
                <a:gd name="T56" fmla="*/ 33 w 319"/>
                <a:gd name="T57" fmla="*/ 9 h 340"/>
                <a:gd name="T58" fmla="*/ 14 w 319"/>
                <a:gd name="T59" fmla="*/ 0 h 340"/>
                <a:gd name="T60" fmla="*/ 0 w 319"/>
                <a:gd name="T61" fmla="*/ 0 h 340"/>
                <a:gd name="T62" fmla="*/ 9 w 319"/>
                <a:gd name="T63" fmla="*/ 23 h 340"/>
                <a:gd name="T64" fmla="*/ 40 w 319"/>
                <a:gd name="T65" fmla="*/ 54 h 340"/>
                <a:gd name="T66" fmla="*/ 56 w 319"/>
                <a:gd name="T67" fmla="*/ 61 h 340"/>
                <a:gd name="T68" fmla="*/ 71 w 319"/>
                <a:gd name="T69" fmla="*/ 82 h 340"/>
                <a:gd name="T70" fmla="*/ 73 w 319"/>
                <a:gd name="T71" fmla="*/ 97 h 340"/>
                <a:gd name="T72" fmla="*/ 97 w 319"/>
                <a:gd name="T73" fmla="*/ 106 h 340"/>
                <a:gd name="T74" fmla="*/ 106 w 319"/>
                <a:gd name="T75" fmla="*/ 116 h 340"/>
                <a:gd name="T76" fmla="*/ 120 w 319"/>
                <a:gd name="T77" fmla="*/ 156 h 340"/>
                <a:gd name="T78" fmla="*/ 134 w 319"/>
                <a:gd name="T79" fmla="*/ 165 h 340"/>
                <a:gd name="T80" fmla="*/ 149 w 319"/>
                <a:gd name="T81" fmla="*/ 187 h 340"/>
                <a:gd name="T82" fmla="*/ 170 w 319"/>
                <a:gd name="T83" fmla="*/ 234 h 340"/>
                <a:gd name="T84" fmla="*/ 208 w 319"/>
                <a:gd name="T85" fmla="*/ 272 h 340"/>
                <a:gd name="T86" fmla="*/ 215 w 319"/>
                <a:gd name="T87" fmla="*/ 286 h 340"/>
                <a:gd name="T88" fmla="*/ 253 w 319"/>
                <a:gd name="T89" fmla="*/ 314 h 340"/>
                <a:gd name="T90" fmla="*/ 281 w 319"/>
                <a:gd name="T91" fmla="*/ 340 h 340"/>
                <a:gd name="T92" fmla="*/ 281 w 319"/>
                <a:gd name="T93" fmla="*/ 331 h 340"/>
                <a:gd name="T94" fmla="*/ 284 w 319"/>
                <a:gd name="T95" fmla="*/ 329 h 340"/>
                <a:gd name="T96" fmla="*/ 293 w 319"/>
                <a:gd name="T97" fmla="*/ 336 h 340"/>
                <a:gd name="T98" fmla="*/ 300 w 319"/>
                <a:gd name="T99" fmla="*/ 329 h 340"/>
                <a:gd name="T100" fmla="*/ 314 w 319"/>
                <a:gd name="T101" fmla="*/ 338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19" h="340">
                  <a:moveTo>
                    <a:pt x="314" y="338"/>
                  </a:moveTo>
                  <a:lnTo>
                    <a:pt x="319" y="255"/>
                  </a:lnTo>
                  <a:lnTo>
                    <a:pt x="307" y="239"/>
                  </a:lnTo>
                  <a:lnTo>
                    <a:pt x="284" y="236"/>
                  </a:lnTo>
                  <a:lnTo>
                    <a:pt x="286" y="227"/>
                  </a:lnTo>
                  <a:lnTo>
                    <a:pt x="276" y="220"/>
                  </a:lnTo>
                  <a:lnTo>
                    <a:pt x="269" y="198"/>
                  </a:lnTo>
                  <a:lnTo>
                    <a:pt x="246" y="189"/>
                  </a:lnTo>
                  <a:lnTo>
                    <a:pt x="243" y="187"/>
                  </a:lnTo>
                  <a:lnTo>
                    <a:pt x="250" y="172"/>
                  </a:lnTo>
                  <a:lnTo>
                    <a:pt x="246" y="172"/>
                  </a:lnTo>
                  <a:lnTo>
                    <a:pt x="253" y="165"/>
                  </a:lnTo>
                  <a:lnTo>
                    <a:pt x="250" y="156"/>
                  </a:lnTo>
                  <a:lnTo>
                    <a:pt x="241" y="151"/>
                  </a:lnTo>
                  <a:lnTo>
                    <a:pt x="229" y="156"/>
                  </a:lnTo>
                  <a:lnTo>
                    <a:pt x="231" y="153"/>
                  </a:lnTo>
                  <a:lnTo>
                    <a:pt x="231" y="137"/>
                  </a:lnTo>
                  <a:lnTo>
                    <a:pt x="217" y="134"/>
                  </a:lnTo>
                  <a:lnTo>
                    <a:pt x="208" y="127"/>
                  </a:lnTo>
                  <a:lnTo>
                    <a:pt x="208" y="130"/>
                  </a:lnTo>
                  <a:lnTo>
                    <a:pt x="201" y="123"/>
                  </a:lnTo>
                  <a:lnTo>
                    <a:pt x="182" y="113"/>
                  </a:lnTo>
                  <a:lnTo>
                    <a:pt x="172" y="99"/>
                  </a:lnTo>
                  <a:lnTo>
                    <a:pt x="165" y="104"/>
                  </a:lnTo>
                  <a:lnTo>
                    <a:pt x="160" y="99"/>
                  </a:lnTo>
                  <a:lnTo>
                    <a:pt x="123" y="66"/>
                  </a:lnTo>
                  <a:lnTo>
                    <a:pt x="89" y="45"/>
                  </a:lnTo>
                  <a:lnTo>
                    <a:pt x="71" y="14"/>
                  </a:lnTo>
                  <a:lnTo>
                    <a:pt x="33" y="9"/>
                  </a:lnTo>
                  <a:lnTo>
                    <a:pt x="14" y="0"/>
                  </a:lnTo>
                  <a:lnTo>
                    <a:pt x="0" y="0"/>
                  </a:lnTo>
                  <a:lnTo>
                    <a:pt x="9" y="23"/>
                  </a:lnTo>
                  <a:lnTo>
                    <a:pt x="40" y="54"/>
                  </a:lnTo>
                  <a:lnTo>
                    <a:pt x="56" y="61"/>
                  </a:lnTo>
                  <a:lnTo>
                    <a:pt x="71" y="82"/>
                  </a:lnTo>
                  <a:lnTo>
                    <a:pt x="73" y="97"/>
                  </a:lnTo>
                  <a:lnTo>
                    <a:pt x="97" y="106"/>
                  </a:lnTo>
                  <a:lnTo>
                    <a:pt x="106" y="116"/>
                  </a:lnTo>
                  <a:lnTo>
                    <a:pt x="120" y="156"/>
                  </a:lnTo>
                  <a:lnTo>
                    <a:pt x="134" y="165"/>
                  </a:lnTo>
                  <a:lnTo>
                    <a:pt x="149" y="187"/>
                  </a:lnTo>
                  <a:lnTo>
                    <a:pt x="170" y="234"/>
                  </a:lnTo>
                  <a:lnTo>
                    <a:pt x="208" y="272"/>
                  </a:lnTo>
                  <a:lnTo>
                    <a:pt x="215" y="286"/>
                  </a:lnTo>
                  <a:lnTo>
                    <a:pt x="253" y="314"/>
                  </a:lnTo>
                  <a:lnTo>
                    <a:pt x="281" y="340"/>
                  </a:lnTo>
                  <a:lnTo>
                    <a:pt x="281" y="331"/>
                  </a:lnTo>
                  <a:lnTo>
                    <a:pt x="284" y="329"/>
                  </a:lnTo>
                  <a:lnTo>
                    <a:pt x="293" y="336"/>
                  </a:lnTo>
                  <a:lnTo>
                    <a:pt x="300" y="329"/>
                  </a:lnTo>
                  <a:lnTo>
                    <a:pt x="314" y="3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8" name="Freeform 66"/>
            <p:cNvSpPr>
              <a:spLocks/>
            </p:cNvSpPr>
            <p:nvPr/>
          </p:nvSpPr>
          <p:spPr bwMode="auto">
            <a:xfrm>
              <a:off x="3854" y="2639"/>
              <a:ext cx="596" cy="305"/>
            </a:xfrm>
            <a:custGeom>
              <a:avLst/>
              <a:gdLst>
                <a:gd name="T0" fmla="*/ 26 w 596"/>
                <a:gd name="T1" fmla="*/ 36 h 305"/>
                <a:gd name="T2" fmla="*/ 42 w 596"/>
                <a:gd name="T3" fmla="*/ 57 h 305"/>
                <a:gd name="T4" fmla="*/ 83 w 596"/>
                <a:gd name="T5" fmla="*/ 64 h 305"/>
                <a:gd name="T6" fmla="*/ 66 w 596"/>
                <a:gd name="T7" fmla="*/ 64 h 305"/>
                <a:gd name="T8" fmla="*/ 31 w 596"/>
                <a:gd name="T9" fmla="*/ 71 h 305"/>
                <a:gd name="T10" fmla="*/ 42 w 596"/>
                <a:gd name="T11" fmla="*/ 78 h 305"/>
                <a:gd name="T12" fmla="*/ 59 w 596"/>
                <a:gd name="T13" fmla="*/ 109 h 305"/>
                <a:gd name="T14" fmla="*/ 85 w 596"/>
                <a:gd name="T15" fmla="*/ 78 h 305"/>
                <a:gd name="T16" fmla="*/ 102 w 596"/>
                <a:gd name="T17" fmla="*/ 109 h 305"/>
                <a:gd name="T18" fmla="*/ 125 w 596"/>
                <a:gd name="T19" fmla="*/ 121 h 305"/>
                <a:gd name="T20" fmla="*/ 213 w 596"/>
                <a:gd name="T21" fmla="*/ 149 h 305"/>
                <a:gd name="T22" fmla="*/ 227 w 596"/>
                <a:gd name="T23" fmla="*/ 194 h 305"/>
                <a:gd name="T24" fmla="*/ 234 w 596"/>
                <a:gd name="T25" fmla="*/ 206 h 305"/>
                <a:gd name="T26" fmla="*/ 229 w 596"/>
                <a:gd name="T27" fmla="*/ 208 h 305"/>
                <a:gd name="T28" fmla="*/ 203 w 596"/>
                <a:gd name="T29" fmla="*/ 239 h 305"/>
                <a:gd name="T30" fmla="*/ 241 w 596"/>
                <a:gd name="T31" fmla="*/ 230 h 305"/>
                <a:gd name="T32" fmla="*/ 310 w 596"/>
                <a:gd name="T33" fmla="*/ 260 h 305"/>
                <a:gd name="T34" fmla="*/ 371 w 596"/>
                <a:gd name="T35" fmla="*/ 253 h 305"/>
                <a:gd name="T36" fmla="*/ 376 w 596"/>
                <a:gd name="T37" fmla="*/ 232 h 305"/>
                <a:gd name="T38" fmla="*/ 388 w 596"/>
                <a:gd name="T39" fmla="*/ 225 h 305"/>
                <a:gd name="T40" fmla="*/ 395 w 596"/>
                <a:gd name="T41" fmla="*/ 218 h 305"/>
                <a:gd name="T42" fmla="*/ 457 w 596"/>
                <a:gd name="T43" fmla="*/ 234 h 305"/>
                <a:gd name="T44" fmla="*/ 480 w 596"/>
                <a:gd name="T45" fmla="*/ 258 h 305"/>
                <a:gd name="T46" fmla="*/ 504 w 596"/>
                <a:gd name="T47" fmla="*/ 289 h 305"/>
                <a:gd name="T48" fmla="*/ 580 w 596"/>
                <a:gd name="T49" fmla="*/ 305 h 305"/>
                <a:gd name="T50" fmla="*/ 580 w 596"/>
                <a:gd name="T51" fmla="*/ 296 h 305"/>
                <a:gd name="T52" fmla="*/ 565 w 596"/>
                <a:gd name="T53" fmla="*/ 284 h 305"/>
                <a:gd name="T54" fmla="*/ 547 w 596"/>
                <a:gd name="T55" fmla="*/ 270 h 305"/>
                <a:gd name="T56" fmla="*/ 530 w 596"/>
                <a:gd name="T57" fmla="*/ 256 h 305"/>
                <a:gd name="T58" fmla="*/ 490 w 596"/>
                <a:gd name="T59" fmla="*/ 208 h 305"/>
                <a:gd name="T60" fmla="*/ 506 w 596"/>
                <a:gd name="T61" fmla="*/ 189 h 305"/>
                <a:gd name="T62" fmla="*/ 447 w 596"/>
                <a:gd name="T63" fmla="*/ 152 h 305"/>
                <a:gd name="T64" fmla="*/ 402 w 596"/>
                <a:gd name="T65" fmla="*/ 102 h 305"/>
                <a:gd name="T66" fmla="*/ 258 w 596"/>
                <a:gd name="T67" fmla="*/ 57 h 305"/>
                <a:gd name="T68" fmla="*/ 189 w 596"/>
                <a:gd name="T69" fmla="*/ 43 h 305"/>
                <a:gd name="T70" fmla="*/ 163 w 596"/>
                <a:gd name="T71" fmla="*/ 55 h 305"/>
                <a:gd name="T72" fmla="*/ 128 w 596"/>
                <a:gd name="T73" fmla="*/ 88 h 305"/>
                <a:gd name="T74" fmla="*/ 109 w 596"/>
                <a:gd name="T75" fmla="*/ 66 h 305"/>
                <a:gd name="T76" fmla="*/ 104 w 596"/>
                <a:gd name="T77" fmla="*/ 71 h 305"/>
                <a:gd name="T78" fmla="*/ 97 w 596"/>
                <a:gd name="T79" fmla="*/ 26 h 305"/>
                <a:gd name="T80" fmla="*/ 71 w 596"/>
                <a:gd name="T81" fmla="*/ 12 h 305"/>
                <a:gd name="T82" fmla="*/ 42 w 596"/>
                <a:gd name="T83" fmla="*/ 0 h 305"/>
                <a:gd name="T84" fmla="*/ 0 w 596"/>
                <a:gd name="T85" fmla="*/ 31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96" h="305">
                  <a:moveTo>
                    <a:pt x="0" y="31"/>
                  </a:moveTo>
                  <a:lnTo>
                    <a:pt x="26" y="36"/>
                  </a:lnTo>
                  <a:lnTo>
                    <a:pt x="33" y="55"/>
                  </a:lnTo>
                  <a:lnTo>
                    <a:pt x="42" y="57"/>
                  </a:lnTo>
                  <a:lnTo>
                    <a:pt x="87" y="50"/>
                  </a:lnTo>
                  <a:lnTo>
                    <a:pt x="83" y="64"/>
                  </a:lnTo>
                  <a:lnTo>
                    <a:pt x="80" y="64"/>
                  </a:lnTo>
                  <a:lnTo>
                    <a:pt x="66" y="64"/>
                  </a:lnTo>
                  <a:lnTo>
                    <a:pt x="52" y="71"/>
                  </a:lnTo>
                  <a:lnTo>
                    <a:pt x="31" y="71"/>
                  </a:lnTo>
                  <a:lnTo>
                    <a:pt x="31" y="76"/>
                  </a:lnTo>
                  <a:lnTo>
                    <a:pt x="42" y="78"/>
                  </a:lnTo>
                  <a:lnTo>
                    <a:pt x="54" y="88"/>
                  </a:lnTo>
                  <a:lnTo>
                    <a:pt x="59" y="109"/>
                  </a:lnTo>
                  <a:lnTo>
                    <a:pt x="76" y="107"/>
                  </a:lnTo>
                  <a:lnTo>
                    <a:pt x="85" y="78"/>
                  </a:lnTo>
                  <a:lnTo>
                    <a:pt x="85" y="97"/>
                  </a:lnTo>
                  <a:lnTo>
                    <a:pt x="102" y="109"/>
                  </a:lnTo>
                  <a:lnTo>
                    <a:pt x="113" y="109"/>
                  </a:lnTo>
                  <a:lnTo>
                    <a:pt x="125" y="121"/>
                  </a:lnTo>
                  <a:lnTo>
                    <a:pt x="170" y="130"/>
                  </a:lnTo>
                  <a:lnTo>
                    <a:pt x="213" y="149"/>
                  </a:lnTo>
                  <a:lnTo>
                    <a:pt x="234" y="185"/>
                  </a:lnTo>
                  <a:lnTo>
                    <a:pt x="227" y="194"/>
                  </a:lnTo>
                  <a:lnTo>
                    <a:pt x="241" y="201"/>
                  </a:lnTo>
                  <a:lnTo>
                    <a:pt x="234" y="206"/>
                  </a:lnTo>
                  <a:lnTo>
                    <a:pt x="241" y="213"/>
                  </a:lnTo>
                  <a:lnTo>
                    <a:pt x="229" y="208"/>
                  </a:lnTo>
                  <a:lnTo>
                    <a:pt x="220" y="208"/>
                  </a:lnTo>
                  <a:lnTo>
                    <a:pt x="203" y="239"/>
                  </a:lnTo>
                  <a:lnTo>
                    <a:pt x="239" y="237"/>
                  </a:lnTo>
                  <a:lnTo>
                    <a:pt x="241" y="230"/>
                  </a:lnTo>
                  <a:lnTo>
                    <a:pt x="267" y="230"/>
                  </a:lnTo>
                  <a:lnTo>
                    <a:pt x="310" y="260"/>
                  </a:lnTo>
                  <a:lnTo>
                    <a:pt x="355" y="265"/>
                  </a:lnTo>
                  <a:lnTo>
                    <a:pt x="371" y="253"/>
                  </a:lnTo>
                  <a:lnTo>
                    <a:pt x="362" y="239"/>
                  </a:lnTo>
                  <a:lnTo>
                    <a:pt x="376" y="232"/>
                  </a:lnTo>
                  <a:lnTo>
                    <a:pt x="379" y="227"/>
                  </a:lnTo>
                  <a:lnTo>
                    <a:pt x="388" y="225"/>
                  </a:lnTo>
                  <a:lnTo>
                    <a:pt x="386" y="213"/>
                  </a:lnTo>
                  <a:lnTo>
                    <a:pt x="395" y="218"/>
                  </a:lnTo>
                  <a:lnTo>
                    <a:pt x="405" y="213"/>
                  </a:lnTo>
                  <a:lnTo>
                    <a:pt x="457" y="234"/>
                  </a:lnTo>
                  <a:lnTo>
                    <a:pt x="471" y="258"/>
                  </a:lnTo>
                  <a:lnTo>
                    <a:pt x="480" y="258"/>
                  </a:lnTo>
                  <a:lnTo>
                    <a:pt x="480" y="265"/>
                  </a:lnTo>
                  <a:lnTo>
                    <a:pt x="504" y="289"/>
                  </a:lnTo>
                  <a:lnTo>
                    <a:pt x="568" y="298"/>
                  </a:lnTo>
                  <a:lnTo>
                    <a:pt x="580" y="305"/>
                  </a:lnTo>
                  <a:lnTo>
                    <a:pt x="589" y="301"/>
                  </a:lnTo>
                  <a:lnTo>
                    <a:pt x="580" y="296"/>
                  </a:lnTo>
                  <a:lnTo>
                    <a:pt x="596" y="294"/>
                  </a:lnTo>
                  <a:lnTo>
                    <a:pt x="565" y="284"/>
                  </a:lnTo>
                  <a:lnTo>
                    <a:pt x="570" y="277"/>
                  </a:lnTo>
                  <a:lnTo>
                    <a:pt x="547" y="270"/>
                  </a:lnTo>
                  <a:lnTo>
                    <a:pt x="547" y="258"/>
                  </a:lnTo>
                  <a:lnTo>
                    <a:pt x="530" y="256"/>
                  </a:lnTo>
                  <a:lnTo>
                    <a:pt x="509" y="230"/>
                  </a:lnTo>
                  <a:lnTo>
                    <a:pt x="490" y="208"/>
                  </a:lnTo>
                  <a:lnTo>
                    <a:pt x="483" y="192"/>
                  </a:lnTo>
                  <a:lnTo>
                    <a:pt x="506" y="189"/>
                  </a:lnTo>
                  <a:lnTo>
                    <a:pt x="499" y="170"/>
                  </a:lnTo>
                  <a:lnTo>
                    <a:pt x="447" y="152"/>
                  </a:lnTo>
                  <a:lnTo>
                    <a:pt x="438" y="126"/>
                  </a:lnTo>
                  <a:lnTo>
                    <a:pt x="402" y="102"/>
                  </a:lnTo>
                  <a:lnTo>
                    <a:pt x="303" y="64"/>
                  </a:lnTo>
                  <a:lnTo>
                    <a:pt x="258" y="57"/>
                  </a:lnTo>
                  <a:lnTo>
                    <a:pt x="206" y="31"/>
                  </a:lnTo>
                  <a:lnTo>
                    <a:pt x="189" y="43"/>
                  </a:lnTo>
                  <a:lnTo>
                    <a:pt x="182" y="55"/>
                  </a:lnTo>
                  <a:lnTo>
                    <a:pt x="163" y="55"/>
                  </a:lnTo>
                  <a:lnTo>
                    <a:pt x="137" y="88"/>
                  </a:lnTo>
                  <a:lnTo>
                    <a:pt x="128" y="88"/>
                  </a:lnTo>
                  <a:lnTo>
                    <a:pt x="118" y="83"/>
                  </a:lnTo>
                  <a:lnTo>
                    <a:pt x="109" y="66"/>
                  </a:lnTo>
                  <a:lnTo>
                    <a:pt x="106" y="64"/>
                  </a:lnTo>
                  <a:lnTo>
                    <a:pt x="104" y="71"/>
                  </a:lnTo>
                  <a:lnTo>
                    <a:pt x="97" y="62"/>
                  </a:lnTo>
                  <a:lnTo>
                    <a:pt x="97" y="26"/>
                  </a:lnTo>
                  <a:lnTo>
                    <a:pt x="92" y="12"/>
                  </a:lnTo>
                  <a:lnTo>
                    <a:pt x="71" y="12"/>
                  </a:lnTo>
                  <a:lnTo>
                    <a:pt x="57" y="0"/>
                  </a:lnTo>
                  <a:lnTo>
                    <a:pt x="42" y="0"/>
                  </a:lnTo>
                  <a:lnTo>
                    <a:pt x="9" y="17"/>
                  </a:lnTo>
                  <a:lnTo>
                    <a:pt x="0"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9" name="Freeform 67"/>
            <p:cNvSpPr>
              <a:spLocks/>
            </p:cNvSpPr>
            <p:nvPr/>
          </p:nvSpPr>
          <p:spPr bwMode="auto">
            <a:xfrm>
              <a:off x="3747" y="2670"/>
              <a:ext cx="24" cy="9"/>
            </a:xfrm>
            <a:custGeom>
              <a:avLst/>
              <a:gdLst>
                <a:gd name="T0" fmla="*/ 0 w 24"/>
                <a:gd name="T1" fmla="*/ 2 h 9"/>
                <a:gd name="T2" fmla="*/ 3 w 24"/>
                <a:gd name="T3" fmla="*/ 9 h 9"/>
                <a:gd name="T4" fmla="*/ 24 w 24"/>
                <a:gd name="T5" fmla="*/ 5 h 9"/>
                <a:gd name="T6" fmla="*/ 12 w 24"/>
                <a:gd name="T7" fmla="*/ 0 h 9"/>
                <a:gd name="T8" fmla="*/ 0 w 24"/>
                <a:gd name="T9" fmla="*/ 2 h 9"/>
              </a:gdLst>
              <a:ahLst/>
              <a:cxnLst>
                <a:cxn ang="0">
                  <a:pos x="T0" y="T1"/>
                </a:cxn>
                <a:cxn ang="0">
                  <a:pos x="T2" y="T3"/>
                </a:cxn>
                <a:cxn ang="0">
                  <a:pos x="T4" y="T5"/>
                </a:cxn>
                <a:cxn ang="0">
                  <a:pos x="T6" y="T7"/>
                </a:cxn>
                <a:cxn ang="0">
                  <a:pos x="T8" y="T9"/>
                </a:cxn>
              </a:cxnLst>
              <a:rect l="0" t="0" r="r" b="b"/>
              <a:pathLst>
                <a:path w="24" h="9">
                  <a:moveTo>
                    <a:pt x="0" y="2"/>
                  </a:moveTo>
                  <a:lnTo>
                    <a:pt x="3" y="9"/>
                  </a:lnTo>
                  <a:lnTo>
                    <a:pt x="24" y="5"/>
                  </a:lnTo>
                  <a:lnTo>
                    <a:pt x="12" y="0"/>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0" name="Freeform 68"/>
            <p:cNvSpPr>
              <a:spLocks/>
            </p:cNvSpPr>
            <p:nvPr/>
          </p:nvSpPr>
          <p:spPr bwMode="auto">
            <a:xfrm>
              <a:off x="3745" y="2639"/>
              <a:ext cx="14" cy="17"/>
            </a:xfrm>
            <a:custGeom>
              <a:avLst/>
              <a:gdLst>
                <a:gd name="T0" fmla="*/ 14 w 14"/>
                <a:gd name="T1" fmla="*/ 17 h 17"/>
                <a:gd name="T2" fmla="*/ 5 w 14"/>
                <a:gd name="T3" fmla="*/ 0 h 17"/>
                <a:gd name="T4" fmla="*/ 0 w 14"/>
                <a:gd name="T5" fmla="*/ 0 h 17"/>
                <a:gd name="T6" fmla="*/ 5 w 14"/>
                <a:gd name="T7" fmla="*/ 12 h 17"/>
                <a:gd name="T8" fmla="*/ 14 w 14"/>
                <a:gd name="T9" fmla="*/ 17 h 17"/>
              </a:gdLst>
              <a:ahLst/>
              <a:cxnLst>
                <a:cxn ang="0">
                  <a:pos x="T0" y="T1"/>
                </a:cxn>
                <a:cxn ang="0">
                  <a:pos x="T2" y="T3"/>
                </a:cxn>
                <a:cxn ang="0">
                  <a:pos x="T4" y="T5"/>
                </a:cxn>
                <a:cxn ang="0">
                  <a:pos x="T6" y="T7"/>
                </a:cxn>
                <a:cxn ang="0">
                  <a:pos x="T8" y="T9"/>
                </a:cxn>
              </a:cxnLst>
              <a:rect l="0" t="0" r="r" b="b"/>
              <a:pathLst>
                <a:path w="14" h="17">
                  <a:moveTo>
                    <a:pt x="14" y="17"/>
                  </a:moveTo>
                  <a:lnTo>
                    <a:pt x="5" y="0"/>
                  </a:lnTo>
                  <a:lnTo>
                    <a:pt x="0" y="0"/>
                  </a:lnTo>
                  <a:lnTo>
                    <a:pt x="5" y="12"/>
                  </a:lnTo>
                  <a:lnTo>
                    <a:pt x="14"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1" name="Freeform 69"/>
            <p:cNvSpPr>
              <a:spLocks/>
            </p:cNvSpPr>
            <p:nvPr/>
          </p:nvSpPr>
          <p:spPr bwMode="auto">
            <a:xfrm>
              <a:off x="3747" y="2561"/>
              <a:ext cx="43" cy="95"/>
            </a:xfrm>
            <a:custGeom>
              <a:avLst/>
              <a:gdLst>
                <a:gd name="T0" fmla="*/ 26 w 43"/>
                <a:gd name="T1" fmla="*/ 95 h 95"/>
                <a:gd name="T2" fmla="*/ 17 w 43"/>
                <a:gd name="T3" fmla="*/ 73 h 95"/>
                <a:gd name="T4" fmla="*/ 17 w 43"/>
                <a:gd name="T5" fmla="*/ 57 h 95"/>
                <a:gd name="T6" fmla="*/ 19 w 43"/>
                <a:gd name="T7" fmla="*/ 54 h 95"/>
                <a:gd name="T8" fmla="*/ 43 w 43"/>
                <a:gd name="T9" fmla="*/ 59 h 95"/>
                <a:gd name="T10" fmla="*/ 29 w 43"/>
                <a:gd name="T11" fmla="*/ 45 h 95"/>
                <a:gd name="T12" fmla="*/ 41 w 43"/>
                <a:gd name="T13" fmla="*/ 35 h 95"/>
                <a:gd name="T14" fmla="*/ 41 w 43"/>
                <a:gd name="T15" fmla="*/ 28 h 95"/>
                <a:gd name="T16" fmla="*/ 31 w 43"/>
                <a:gd name="T17" fmla="*/ 21 h 95"/>
                <a:gd name="T18" fmla="*/ 12 w 43"/>
                <a:gd name="T19" fmla="*/ 43 h 95"/>
                <a:gd name="T20" fmla="*/ 7 w 43"/>
                <a:gd name="T21" fmla="*/ 40 h 95"/>
                <a:gd name="T22" fmla="*/ 19 w 43"/>
                <a:gd name="T23" fmla="*/ 28 h 95"/>
                <a:gd name="T24" fmla="*/ 17 w 43"/>
                <a:gd name="T25" fmla="*/ 0 h 95"/>
                <a:gd name="T26" fmla="*/ 5 w 43"/>
                <a:gd name="T27" fmla="*/ 14 h 95"/>
                <a:gd name="T28" fmla="*/ 0 w 43"/>
                <a:gd name="T29" fmla="*/ 33 h 95"/>
                <a:gd name="T30" fmla="*/ 12 w 43"/>
                <a:gd name="T31" fmla="*/ 73 h 95"/>
                <a:gd name="T32" fmla="*/ 26 w 43"/>
                <a:gd name="T33" fmla="*/ 9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3" h="95">
                  <a:moveTo>
                    <a:pt x="26" y="95"/>
                  </a:moveTo>
                  <a:lnTo>
                    <a:pt x="17" y="73"/>
                  </a:lnTo>
                  <a:lnTo>
                    <a:pt x="17" y="57"/>
                  </a:lnTo>
                  <a:lnTo>
                    <a:pt x="19" y="54"/>
                  </a:lnTo>
                  <a:lnTo>
                    <a:pt x="43" y="59"/>
                  </a:lnTo>
                  <a:lnTo>
                    <a:pt x="29" y="45"/>
                  </a:lnTo>
                  <a:lnTo>
                    <a:pt x="41" y="35"/>
                  </a:lnTo>
                  <a:lnTo>
                    <a:pt x="41" y="28"/>
                  </a:lnTo>
                  <a:lnTo>
                    <a:pt x="31" y="21"/>
                  </a:lnTo>
                  <a:lnTo>
                    <a:pt x="12" y="43"/>
                  </a:lnTo>
                  <a:lnTo>
                    <a:pt x="7" y="40"/>
                  </a:lnTo>
                  <a:lnTo>
                    <a:pt x="19" y="28"/>
                  </a:lnTo>
                  <a:lnTo>
                    <a:pt x="17" y="0"/>
                  </a:lnTo>
                  <a:lnTo>
                    <a:pt x="5" y="14"/>
                  </a:lnTo>
                  <a:lnTo>
                    <a:pt x="0" y="33"/>
                  </a:lnTo>
                  <a:lnTo>
                    <a:pt x="12" y="73"/>
                  </a:lnTo>
                  <a:lnTo>
                    <a:pt x="26" y="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2" name="Freeform 70"/>
            <p:cNvSpPr>
              <a:spLocks/>
            </p:cNvSpPr>
            <p:nvPr/>
          </p:nvSpPr>
          <p:spPr bwMode="auto">
            <a:xfrm>
              <a:off x="3773" y="2549"/>
              <a:ext cx="12" cy="19"/>
            </a:xfrm>
            <a:custGeom>
              <a:avLst/>
              <a:gdLst>
                <a:gd name="T0" fmla="*/ 12 w 12"/>
                <a:gd name="T1" fmla="*/ 12 h 19"/>
                <a:gd name="T2" fmla="*/ 10 w 12"/>
                <a:gd name="T3" fmla="*/ 0 h 19"/>
                <a:gd name="T4" fmla="*/ 0 w 12"/>
                <a:gd name="T5" fmla="*/ 7 h 19"/>
                <a:gd name="T6" fmla="*/ 3 w 12"/>
                <a:gd name="T7" fmla="*/ 19 h 19"/>
                <a:gd name="T8" fmla="*/ 12 w 12"/>
                <a:gd name="T9" fmla="*/ 12 h 19"/>
              </a:gdLst>
              <a:ahLst/>
              <a:cxnLst>
                <a:cxn ang="0">
                  <a:pos x="T0" y="T1"/>
                </a:cxn>
                <a:cxn ang="0">
                  <a:pos x="T2" y="T3"/>
                </a:cxn>
                <a:cxn ang="0">
                  <a:pos x="T4" y="T5"/>
                </a:cxn>
                <a:cxn ang="0">
                  <a:pos x="T6" y="T7"/>
                </a:cxn>
                <a:cxn ang="0">
                  <a:pos x="T8" y="T9"/>
                </a:cxn>
              </a:cxnLst>
              <a:rect l="0" t="0" r="r" b="b"/>
              <a:pathLst>
                <a:path w="12" h="19">
                  <a:moveTo>
                    <a:pt x="12" y="12"/>
                  </a:moveTo>
                  <a:lnTo>
                    <a:pt x="10" y="0"/>
                  </a:lnTo>
                  <a:lnTo>
                    <a:pt x="0" y="7"/>
                  </a:lnTo>
                  <a:lnTo>
                    <a:pt x="3" y="19"/>
                  </a:lnTo>
                  <a:lnTo>
                    <a:pt x="12"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3" name="Freeform 71"/>
            <p:cNvSpPr>
              <a:spLocks/>
            </p:cNvSpPr>
            <p:nvPr/>
          </p:nvSpPr>
          <p:spPr bwMode="auto">
            <a:xfrm>
              <a:off x="3707" y="2717"/>
              <a:ext cx="36" cy="26"/>
            </a:xfrm>
            <a:custGeom>
              <a:avLst/>
              <a:gdLst>
                <a:gd name="T0" fmla="*/ 0 w 36"/>
                <a:gd name="T1" fmla="*/ 3 h 26"/>
                <a:gd name="T2" fmla="*/ 5 w 36"/>
                <a:gd name="T3" fmla="*/ 14 h 26"/>
                <a:gd name="T4" fmla="*/ 14 w 36"/>
                <a:gd name="T5" fmla="*/ 24 h 26"/>
                <a:gd name="T6" fmla="*/ 21 w 36"/>
                <a:gd name="T7" fmla="*/ 26 h 26"/>
                <a:gd name="T8" fmla="*/ 36 w 36"/>
                <a:gd name="T9" fmla="*/ 17 h 26"/>
                <a:gd name="T10" fmla="*/ 36 w 36"/>
                <a:gd name="T11" fmla="*/ 10 h 26"/>
                <a:gd name="T12" fmla="*/ 21 w 36"/>
                <a:gd name="T13" fmla="*/ 0 h 26"/>
                <a:gd name="T14" fmla="*/ 0 w 36"/>
                <a:gd name="T15" fmla="*/ 3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26">
                  <a:moveTo>
                    <a:pt x="0" y="3"/>
                  </a:moveTo>
                  <a:lnTo>
                    <a:pt x="5" y="14"/>
                  </a:lnTo>
                  <a:lnTo>
                    <a:pt x="14" y="24"/>
                  </a:lnTo>
                  <a:lnTo>
                    <a:pt x="21" y="26"/>
                  </a:lnTo>
                  <a:lnTo>
                    <a:pt x="36" y="17"/>
                  </a:lnTo>
                  <a:lnTo>
                    <a:pt x="36" y="10"/>
                  </a:lnTo>
                  <a:lnTo>
                    <a:pt x="21" y="0"/>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4" name="Freeform 72"/>
            <p:cNvSpPr>
              <a:spLocks/>
            </p:cNvSpPr>
            <p:nvPr/>
          </p:nvSpPr>
          <p:spPr bwMode="auto">
            <a:xfrm>
              <a:off x="3688" y="2682"/>
              <a:ext cx="26" cy="4"/>
            </a:xfrm>
            <a:custGeom>
              <a:avLst/>
              <a:gdLst>
                <a:gd name="T0" fmla="*/ 0 w 26"/>
                <a:gd name="T1" fmla="*/ 0 h 4"/>
                <a:gd name="T2" fmla="*/ 5 w 26"/>
                <a:gd name="T3" fmla="*/ 4 h 4"/>
                <a:gd name="T4" fmla="*/ 26 w 26"/>
                <a:gd name="T5" fmla="*/ 0 h 4"/>
                <a:gd name="T6" fmla="*/ 0 w 26"/>
                <a:gd name="T7" fmla="*/ 0 h 4"/>
              </a:gdLst>
              <a:ahLst/>
              <a:cxnLst>
                <a:cxn ang="0">
                  <a:pos x="T0" y="T1"/>
                </a:cxn>
                <a:cxn ang="0">
                  <a:pos x="T2" y="T3"/>
                </a:cxn>
                <a:cxn ang="0">
                  <a:pos x="T4" y="T5"/>
                </a:cxn>
                <a:cxn ang="0">
                  <a:pos x="T6" y="T7"/>
                </a:cxn>
              </a:cxnLst>
              <a:rect l="0" t="0" r="r" b="b"/>
              <a:pathLst>
                <a:path w="26" h="4">
                  <a:moveTo>
                    <a:pt x="0" y="0"/>
                  </a:moveTo>
                  <a:lnTo>
                    <a:pt x="5" y="4"/>
                  </a:lnTo>
                  <a:lnTo>
                    <a:pt x="26"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5" name="Freeform 73"/>
            <p:cNvSpPr>
              <a:spLocks/>
            </p:cNvSpPr>
            <p:nvPr/>
          </p:nvSpPr>
          <p:spPr bwMode="auto">
            <a:xfrm>
              <a:off x="3660" y="2677"/>
              <a:ext cx="23" cy="12"/>
            </a:xfrm>
            <a:custGeom>
              <a:avLst/>
              <a:gdLst>
                <a:gd name="T0" fmla="*/ 0 w 23"/>
                <a:gd name="T1" fmla="*/ 0 h 12"/>
                <a:gd name="T2" fmla="*/ 5 w 23"/>
                <a:gd name="T3" fmla="*/ 12 h 12"/>
                <a:gd name="T4" fmla="*/ 23 w 23"/>
                <a:gd name="T5" fmla="*/ 5 h 12"/>
                <a:gd name="T6" fmla="*/ 0 w 23"/>
                <a:gd name="T7" fmla="*/ 0 h 12"/>
              </a:gdLst>
              <a:ahLst/>
              <a:cxnLst>
                <a:cxn ang="0">
                  <a:pos x="T0" y="T1"/>
                </a:cxn>
                <a:cxn ang="0">
                  <a:pos x="T2" y="T3"/>
                </a:cxn>
                <a:cxn ang="0">
                  <a:pos x="T4" y="T5"/>
                </a:cxn>
                <a:cxn ang="0">
                  <a:pos x="T6" y="T7"/>
                </a:cxn>
              </a:cxnLst>
              <a:rect l="0" t="0" r="r" b="b"/>
              <a:pathLst>
                <a:path w="23" h="12">
                  <a:moveTo>
                    <a:pt x="0" y="0"/>
                  </a:moveTo>
                  <a:lnTo>
                    <a:pt x="5" y="12"/>
                  </a:lnTo>
                  <a:lnTo>
                    <a:pt x="23" y="5"/>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6" name="Freeform 74"/>
            <p:cNvSpPr>
              <a:spLocks/>
            </p:cNvSpPr>
            <p:nvPr/>
          </p:nvSpPr>
          <p:spPr bwMode="auto">
            <a:xfrm>
              <a:off x="3622" y="2667"/>
              <a:ext cx="9" cy="8"/>
            </a:xfrm>
            <a:custGeom>
              <a:avLst/>
              <a:gdLst>
                <a:gd name="T0" fmla="*/ 9 w 9"/>
                <a:gd name="T1" fmla="*/ 0 h 8"/>
                <a:gd name="T2" fmla="*/ 0 w 9"/>
                <a:gd name="T3" fmla="*/ 3 h 8"/>
                <a:gd name="T4" fmla="*/ 2 w 9"/>
                <a:gd name="T5" fmla="*/ 8 h 8"/>
                <a:gd name="T6" fmla="*/ 7 w 9"/>
                <a:gd name="T7" fmla="*/ 5 h 8"/>
                <a:gd name="T8" fmla="*/ 9 w 9"/>
                <a:gd name="T9" fmla="*/ 0 h 8"/>
              </a:gdLst>
              <a:ahLst/>
              <a:cxnLst>
                <a:cxn ang="0">
                  <a:pos x="T0" y="T1"/>
                </a:cxn>
                <a:cxn ang="0">
                  <a:pos x="T2" y="T3"/>
                </a:cxn>
                <a:cxn ang="0">
                  <a:pos x="T4" y="T5"/>
                </a:cxn>
                <a:cxn ang="0">
                  <a:pos x="T6" y="T7"/>
                </a:cxn>
                <a:cxn ang="0">
                  <a:pos x="T8" y="T9"/>
                </a:cxn>
              </a:cxnLst>
              <a:rect l="0" t="0" r="r" b="b"/>
              <a:pathLst>
                <a:path w="9" h="8">
                  <a:moveTo>
                    <a:pt x="9" y="0"/>
                  </a:moveTo>
                  <a:lnTo>
                    <a:pt x="0" y="3"/>
                  </a:lnTo>
                  <a:lnTo>
                    <a:pt x="2" y="8"/>
                  </a:lnTo>
                  <a:lnTo>
                    <a:pt x="7" y="5"/>
                  </a:lnTo>
                  <a:lnTo>
                    <a:pt x="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7" name="Freeform 75"/>
            <p:cNvSpPr>
              <a:spLocks/>
            </p:cNvSpPr>
            <p:nvPr/>
          </p:nvSpPr>
          <p:spPr bwMode="auto">
            <a:xfrm>
              <a:off x="3612" y="2663"/>
              <a:ext cx="10" cy="9"/>
            </a:xfrm>
            <a:custGeom>
              <a:avLst/>
              <a:gdLst>
                <a:gd name="T0" fmla="*/ 0 w 10"/>
                <a:gd name="T1" fmla="*/ 2 h 9"/>
                <a:gd name="T2" fmla="*/ 0 w 10"/>
                <a:gd name="T3" fmla="*/ 9 h 9"/>
                <a:gd name="T4" fmla="*/ 10 w 10"/>
                <a:gd name="T5" fmla="*/ 4 h 9"/>
                <a:gd name="T6" fmla="*/ 8 w 10"/>
                <a:gd name="T7" fmla="*/ 0 h 9"/>
                <a:gd name="T8" fmla="*/ 0 w 10"/>
                <a:gd name="T9" fmla="*/ 2 h 9"/>
              </a:gdLst>
              <a:ahLst/>
              <a:cxnLst>
                <a:cxn ang="0">
                  <a:pos x="T0" y="T1"/>
                </a:cxn>
                <a:cxn ang="0">
                  <a:pos x="T2" y="T3"/>
                </a:cxn>
                <a:cxn ang="0">
                  <a:pos x="T4" y="T5"/>
                </a:cxn>
                <a:cxn ang="0">
                  <a:pos x="T6" y="T7"/>
                </a:cxn>
                <a:cxn ang="0">
                  <a:pos x="T8" y="T9"/>
                </a:cxn>
              </a:cxnLst>
              <a:rect l="0" t="0" r="r" b="b"/>
              <a:pathLst>
                <a:path w="10" h="9">
                  <a:moveTo>
                    <a:pt x="0" y="2"/>
                  </a:moveTo>
                  <a:lnTo>
                    <a:pt x="0" y="9"/>
                  </a:lnTo>
                  <a:lnTo>
                    <a:pt x="10" y="4"/>
                  </a:lnTo>
                  <a:lnTo>
                    <a:pt x="8" y="0"/>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8" name="Freeform 76"/>
            <p:cNvSpPr>
              <a:spLocks/>
            </p:cNvSpPr>
            <p:nvPr/>
          </p:nvSpPr>
          <p:spPr bwMode="auto">
            <a:xfrm>
              <a:off x="3617" y="2748"/>
              <a:ext cx="5" cy="5"/>
            </a:xfrm>
            <a:custGeom>
              <a:avLst/>
              <a:gdLst>
                <a:gd name="T0" fmla="*/ 5 w 5"/>
                <a:gd name="T1" fmla="*/ 0 h 5"/>
                <a:gd name="T2" fmla="*/ 0 w 5"/>
                <a:gd name="T3" fmla="*/ 0 h 5"/>
                <a:gd name="T4" fmla="*/ 5 w 5"/>
                <a:gd name="T5" fmla="*/ 5 h 5"/>
                <a:gd name="T6" fmla="*/ 5 w 5"/>
                <a:gd name="T7" fmla="*/ 0 h 5"/>
              </a:gdLst>
              <a:ahLst/>
              <a:cxnLst>
                <a:cxn ang="0">
                  <a:pos x="T0" y="T1"/>
                </a:cxn>
                <a:cxn ang="0">
                  <a:pos x="T2" y="T3"/>
                </a:cxn>
                <a:cxn ang="0">
                  <a:pos x="T4" y="T5"/>
                </a:cxn>
                <a:cxn ang="0">
                  <a:pos x="T6" y="T7"/>
                </a:cxn>
              </a:cxnLst>
              <a:rect l="0" t="0" r="r" b="b"/>
              <a:pathLst>
                <a:path w="5" h="5">
                  <a:moveTo>
                    <a:pt x="5" y="0"/>
                  </a:moveTo>
                  <a:lnTo>
                    <a:pt x="0" y="0"/>
                  </a:lnTo>
                  <a:lnTo>
                    <a:pt x="5" y="5"/>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9" name="Freeform 77"/>
            <p:cNvSpPr>
              <a:spLocks/>
            </p:cNvSpPr>
            <p:nvPr/>
          </p:nvSpPr>
          <p:spPr bwMode="auto">
            <a:xfrm>
              <a:off x="3608" y="2757"/>
              <a:ext cx="14" cy="38"/>
            </a:xfrm>
            <a:custGeom>
              <a:avLst/>
              <a:gdLst>
                <a:gd name="T0" fmla="*/ 0 w 14"/>
                <a:gd name="T1" fmla="*/ 31 h 38"/>
                <a:gd name="T2" fmla="*/ 4 w 14"/>
                <a:gd name="T3" fmla="*/ 38 h 38"/>
                <a:gd name="T4" fmla="*/ 14 w 14"/>
                <a:gd name="T5" fmla="*/ 29 h 38"/>
                <a:gd name="T6" fmla="*/ 9 w 14"/>
                <a:gd name="T7" fmla="*/ 19 h 38"/>
                <a:gd name="T8" fmla="*/ 14 w 14"/>
                <a:gd name="T9" fmla="*/ 12 h 38"/>
                <a:gd name="T10" fmla="*/ 9 w 14"/>
                <a:gd name="T11" fmla="*/ 0 h 38"/>
                <a:gd name="T12" fmla="*/ 4 w 14"/>
                <a:gd name="T13" fmla="*/ 19 h 38"/>
                <a:gd name="T14" fmla="*/ 0 w 14"/>
                <a:gd name="T15" fmla="*/ 31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38">
                  <a:moveTo>
                    <a:pt x="0" y="31"/>
                  </a:moveTo>
                  <a:lnTo>
                    <a:pt x="4" y="38"/>
                  </a:lnTo>
                  <a:lnTo>
                    <a:pt x="14" y="29"/>
                  </a:lnTo>
                  <a:lnTo>
                    <a:pt x="9" y="19"/>
                  </a:lnTo>
                  <a:lnTo>
                    <a:pt x="14" y="12"/>
                  </a:lnTo>
                  <a:lnTo>
                    <a:pt x="9" y="0"/>
                  </a:lnTo>
                  <a:lnTo>
                    <a:pt x="4" y="19"/>
                  </a:lnTo>
                  <a:lnTo>
                    <a:pt x="0"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0" name="Freeform 78"/>
            <p:cNvSpPr>
              <a:spLocks/>
            </p:cNvSpPr>
            <p:nvPr/>
          </p:nvSpPr>
          <p:spPr bwMode="auto">
            <a:xfrm>
              <a:off x="3584" y="2779"/>
              <a:ext cx="7" cy="9"/>
            </a:xfrm>
            <a:custGeom>
              <a:avLst/>
              <a:gdLst>
                <a:gd name="T0" fmla="*/ 2 w 7"/>
                <a:gd name="T1" fmla="*/ 0 h 9"/>
                <a:gd name="T2" fmla="*/ 0 w 7"/>
                <a:gd name="T3" fmla="*/ 4 h 9"/>
                <a:gd name="T4" fmla="*/ 7 w 7"/>
                <a:gd name="T5" fmla="*/ 9 h 9"/>
                <a:gd name="T6" fmla="*/ 2 w 7"/>
                <a:gd name="T7" fmla="*/ 0 h 9"/>
              </a:gdLst>
              <a:ahLst/>
              <a:cxnLst>
                <a:cxn ang="0">
                  <a:pos x="T0" y="T1"/>
                </a:cxn>
                <a:cxn ang="0">
                  <a:pos x="T2" y="T3"/>
                </a:cxn>
                <a:cxn ang="0">
                  <a:pos x="T4" y="T5"/>
                </a:cxn>
                <a:cxn ang="0">
                  <a:pos x="T6" y="T7"/>
                </a:cxn>
              </a:cxnLst>
              <a:rect l="0" t="0" r="r" b="b"/>
              <a:pathLst>
                <a:path w="7" h="9">
                  <a:moveTo>
                    <a:pt x="2" y="0"/>
                  </a:moveTo>
                  <a:lnTo>
                    <a:pt x="0" y="4"/>
                  </a:lnTo>
                  <a:lnTo>
                    <a:pt x="7" y="9"/>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1" name="Freeform 79"/>
            <p:cNvSpPr>
              <a:spLocks/>
            </p:cNvSpPr>
            <p:nvPr/>
          </p:nvSpPr>
          <p:spPr bwMode="auto">
            <a:xfrm>
              <a:off x="3496" y="2578"/>
              <a:ext cx="185" cy="217"/>
            </a:xfrm>
            <a:custGeom>
              <a:avLst/>
              <a:gdLst>
                <a:gd name="T0" fmla="*/ 12 w 185"/>
                <a:gd name="T1" fmla="*/ 87 h 217"/>
                <a:gd name="T2" fmla="*/ 12 w 185"/>
                <a:gd name="T3" fmla="*/ 104 h 217"/>
                <a:gd name="T4" fmla="*/ 0 w 185"/>
                <a:gd name="T5" fmla="*/ 130 h 217"/>
                <a:gd name="T6" fmla="*/ 5 w 185"/>
                <a:gd name="T7" fmla="*/ 153 h 217"/>
                <a:gd name="T8" fmla="*/ 17 w 185"/>
                <a:gd name="T9" fmla="*/ 153 h 217"/>
                <a:gd name="T10" fmla="*/ 22 w 185"/>
                <a:gd name="T11" fmla="*/ 170 h 217"/>
                <a:gd name="T12" fmla="*/ 12 w 185"/>
                <a:gd name="T13" fmla="*/ 208 h 217"/>
                <a:gd name="T14" fmla="*/ 22 w 185"/>
                <a:gd name="T15" fmla="*/ 217 h 217"/>
                <a:gd name="T16" fmla="*/ 45 w 185"/>
                <a:gd name="T17" fmla="*/ 215 h 217"/>
                <a:gd name="T18" fmla="*/ 43 w 185"/>
                <a:gd name="T19" fmla="*/ 149 h 217"/>
                <a:gd name="T20" fmla="*/ 41 w 185"/>
                <a:gd name="T21" fmla="*/ 142 h 217"/>
                <a:gd name="T22" fmla="*/ 57 w 185"/>
                <a:gd name="T23" fmla="*/ 127 h 217"/>
                <a:gd name="T24" fmla="*/ 64 w 185"/>
                <a:gd name="T25" fmla="*/ 132 h 217"/>
                <a:gd name="T26" fmla="*/ 60 w 185"/>
                <a:gd name="T27" fmla="*/ 149 h 217"/>
                <a:gd name="T28" fmla="*/ 64 w 185"/>
                <a:gd name="T29" fmla="*/ 158 h 217"/>
                <a:gd name="T30" fmla="*/ 79 w 185"/>
                <a:gd name="T31" fmla="*/ 172 h 217"/>
                <a:gd name="T32" fmla="*/ 81 w 185"/>
                <a:gd name="T33" fmla="*/ 194 h 217"/>
                <a:gd name="T34" fmla="*/ 88 w 185"/>
                <a:gd name="T35" fmla="*/ 194 h 217"/>
                <a:gd name="T36" fmla="*/ 98 w 185"/>
                <a:gd name="T37" fmla="*/ 184 h 217"/>
                <a:gd name="T38" fmla="*/ 116 w 185"/>
                <a:gd name="T39" fmla="*/ 179 h 217"/>
                <a:gd name="T40" fmla="*/ 116 w 185"/>
                <a:gd name="T41" fmla="*/ 172 h 217"/>
                <a:gd name="T42" fmla="*/ 109 w 185"/>
                <a:gd name="T43" fmla="*/ 170 h 217"/>
                <a:gd name="T44" fmla="*/ 100 w 185"/>
                <a:gd name="T45" fmla="*/ 158 h 217"/>
                <a:gd name="T46" fmla="*/ 105 w 185"/>
                <a:gd name="T47" fmla="*/ 144 h 217"/>
                <a:gd name="T48" fmla="*/ 74 w 185"/>
                <a:gd name="T49" fmla="*/ 104 h 217"/>
                <a:gd name="T50" fmla="*/ 83 w 185"/>
                <a:gd name="T51" fmla="*/ 104 h 217"/>
                <a:gd name="T52" fmla="*/ 102 w 185"/>
                <a:gd name="T53" fmla="*/ 97 h 217"/>
                <a:gd name="T54" fmla="*/ 116 w 185"/>
                <a:gd name="T55" fmla="*/ 78 h 217"/>
                <a:gd name="T56" fmla="*/ 133 w 185"/>
                <a:gd name="T57" fmla="*/ 78 h 217"/>
                <a:gd name="T58" fmla="*/ 133 w 185"/>
                <a:gd name="T59" fmla="*/ 66 h 217"/>
                <a:gd name="T60" fmla="*/ 126 w 185"/>
                <a:gd name="T61" fmla="*/ 66 h 217"/>
                <a:gd name="T62" fmla="*/ 116 w 185"/>
                <a:gd name="T63" fmla="*/ 73 h 217"/>
                <a:gd name="T64" fmla="*/ 95 w 185"/>
                <a:gd name="T65" fmla="*/ 73 h 217"/>
                <a:gd name="T66" fmla="*/ 93 w 185"/>
                <a:gd name="T67" fmla="*/ 78 h 217"/>
                <a:gd name="T68" fmla="*/ 81 w 185"/>
                <a:gd name="T69" fmla="*/ 78 h 217"/>
                <a:gd name="T70" fmla="*/ 64 w 185"/>
                <a:gd name="T71" fmla="*/ 92 h 217"/>
                <a:gd name="T72" fmla="*/ 53 w 185"/>
                <a:gd name="T73" fmla="*/ 92 h 217"/>
                <a:gd name="T74" fmla="*/ 36 w 185"/>
                <a:gd name="T75" fmla="*/ 73 h 217"/>
                <a:gd name="T76" fmla="*/ 43 w 185"/>
                <a:gd name="T77" fmla="*/ 42 h 217"/>
                <a:gd name="T78" fmla="*/ 45 w 185"/>
                <a:gd name="T79" fmla="*/ 37 h 217"/>
                <a:gd name="T80" fmla="*/ 71 w 185"/>
                <a:gd name="T81" fmla="*/ 35 h 217"/>
                <a:gd name="T82" fmla="*/ 159 w 185"/>
                <a:gd name="T83" fmla="*/ 40 h 217"/>
                <a:gd name="T84" fmla="*/ 185 w 185"/>
                <a:gd name="T85" fmla="*/ 9 h 217"/>
                <a:gd name="T86" fmla="*/ 180 w 185"/>
                <a:gd name="T87" fmla="*/ 0 h 217"/>
                <a:gd name="T88" fmla="*/ 147 w 185"/>
                <a:gd name="T89" fmla="*/ 23 h 217"/>
                <a:gd name="T90" fmla="*/ 116 w 185"/>
                <a:gd name="T91" fmla="*/ 23 h 217"/>
                <a:gd name="T92" fmla="*/ 64 w 185"/>
                <a:gd name="T93" fmla="*/ 11 h 217"/>
                <a:gd name="T94" fmla="*/ 55 w 185"/>
                <a:gd name="T95" fmla="*/ 14 h 217"/>
                <a:gd name="T96" fmla="*/ 50 w 185"/>
                <a:gd name="T97" fmla="*/ 26 h 217"/>
                <a:gd name="T98" fmla="*/ 41 w 185"/>
                <a:gd name="T99" fmla="*/ 23 h 217"/>
                <a:gd name="T100" fmla="*/ 34 w 185"/>
                <a:gd name="T101" fmla="*/ 28 h 217"/>
                <a:gd name="T102" fmla="*/ 22 w 185"/>
                <a:gd name="T103" fmla="*/ 52 h 217"/>
                <a:gd name="T104" fmla="*/ 27 w 185"/>
                <a:gd name="T105" fmla="*/ 66 h 217"/>
                <a:gd name="T106" fmla="*/ 12 w 185"/>
                <a:gd name="T107" fmla="*/ 87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5" h="217">
                  <a:moveTo>
                    <a:pt x="12" y="87"/>
                  </a:moveTo>
                  <a:lnTo>
                    <a:pt x="12" y="104"/>
                  </a:lnTo>
                  <a:lnTo>
                    <a:pt x="0" y="130"/>
                  </a:lnTo>
                  <a:lnTo>
                    <a:pt x="5" y="153"/>
                  </a:lnTo>
                  <a:lnTo>
                    <a:pt x="17" y="153"/>
                  </a:lnTo>
                  <a:lnTo>
                    <a:pt x="22" y="170"/>
                  </a:lnTo>
                  <a:lnTo>
                    <a:pt x="12" y="208"/>
                  </a:lnTo>
                  <a:lnTo>
                    <a:pt x="22" y="217"/>
                  </a:lnTo>
                  <a:lnTo>
                    <a:pt x="45" y="215"/>
                  </a:lnTo>
                  <a:lnTo>
                    <a:pt x="43" y="149"/>
                  </a:lnTo>
                  <a:lnTo>
                    <a:pt x="41" y="142"/>
                  </a:lnTo>
                  <a:lnTo>
                    <a:pt x="57" y="127"/>
                  </a:lnTo>
                  <a:lnTo>
                    <a:pt x="64" y="132"/>
                  </a:lnTo>
                  <a:lnTo>
                    <a:pt x="60" y="149"/>
                  </a:lnTo>
                  <a:lnTo>
                    <a:pt x="64" y="158"/>
                  </a:lnTo>
                  <a:lnTo>
                    <a:pt x="79" y="172"/>
                  </a:lnTo>
                  <a:lnTo>
                    <a:pt x="81" y="194"/>
                  </a:lnTo>
                  <a:lnTo>
                    <a:pt x="88" y="194"/>
                  </a:lnTo>
                  <a:lnTo>
                    <a:pt x="98" y="184"/>
                  </a:lnTo>
                  <a:lnTo>
                    <a:pt x="116" y="179"/>
                  </a:lnTo>
                  <a:lnTo>
                    <a:pt x="116" y="172"/>
                  </a:lnTo>
                  <a:lnTo>
                    <a:pt x="109" y="170"/>
                  </a:lnTo>
                  <a:lnTo>
                    <a:pt x="100" y="158"/>
                  </a:lnTo>
                  <a:lnTo>
                    <a:pt x="105" y="144"/>
                  </a:lnTo>
                  <a:lnTo>
                    <a:pt x="74" y="104"/>
                  </a:lnTo>
                  <a:lnTo>
                    <a:pt x="83" y="104"/>
                  </a:lnTo>
                  <a:lnTo>
                    <a:pt x="102" y="97"/>
                  </a:lnTo>
                  <a:lnTo>
                    <a:pt x="116" y="78"/>
                  </a:lnTo>
                  <a:lnTo>
                    <a:pt x="133" y="78"/>
                  </a:lnTo>
                  <a:lnTo>
                    <a:pt x="133" y="66"/>
                  </a:lnTo>
                  <a:lnTo>
                    <a:pt x="126" y="66"/>
                  </a:lnTo>
                  <a:lnTo>
                    <a:pt x="116" y="73"/>
                  </a:lnTo>
                  <a:lnTo>
                    <a:pt x="95" y="73"/>
                  </a:lnTo>
                  <a:lnTo>
                    <a:pt x="93" y="78"/>
                  </a:lnTo>
                  <a:lnTo>
                    <a:pt x="81" y="78"/>
                  </a:lnTo>
                  <a:lnTo>
                    <a:pt x="64" y="92"/>
                  </a:lnTo>
                  <a:lnTo>
                    <a:pt x="53" y="92"/>
                  </a:lnTo>
                  <a:lnTo>
                    <a:pt x="36" y="73"/>
                  </a:lnTo>
                  <a:lnTo>
                    <a:pt x="43" y="42"/>
                  </a:lnTo>
                  <a:lnTo>
                    <a:pt x="45" y="37"/>
                  </a:lnTo>
                  <a:lnTo>
                    <a:pt x="71" y="35"/>
                  </a:lnTo>
                  <a:lnTo>
                    <a:pt x="159" y="40"/>
                  </a:lnTo>
                  <a:lnTo>
                    <a:pt x="185" y="9"/>
                  </a:lnTo>
                  <a:lnTo>
                    <a:pt x="180" y="0"/>
                  </a:lnTo>
                  <a:lnTo>
                    <a:pt x="147" y="23"/>
                  </a:lnTo>
                  <a:lnTo>
                    <a:pt x="116" y="23"/>
                  </a:lnTo>
                  <a:lnTo>
                    <a:pt x="64" y="11"/>
                  </a:lnTo>
                  <a:lnTo>
                    <a:pt x="55" y="14"/>
                  </a:lnTo>
                  <a:lnTo>
                    <a:pt x="50" y="26"/>
                  </a:lnTo>
                  <a:lnTo>
                    <a:pt x="41" y="23"/>
                  </a:lnTo>
                  <a:lnTo>
                    <a:pt x="34" y="28"/>
                  </a:lnTo>
                  <a:lnTo>
                    <a:pt x="22" y="52"/>
                  </a:lnTo>
                  <a:lnTo>
                    <a:pt x="27" y="66"/>
                  </a:lnTo>
                  <a:lnTo>
                    <a:pt x="12"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2" name="Freeform 80"/>
            <p:cNvSpPr>
              <a:spLocks/>
            </p:cNvSpPr>
            <p:nvPr/>
          </p:nvSpPr>
          <p:spPr bwMode="auto">
            <a:xfrm>
              <a:off x="3388" y="2831"/>
              <a:ext cx="9" cy="5"/>
            </a:xfrm>
            <a:custGeom>
              <a:avLst/>
              <a:gdLst>
                <a:gd name="T0" fmla="*/ 9 w 9"/>
                <a:gd name="T1" fmla="*/ 0 h 5"/>
                <a:gd name="T2" fmla="*/ 0 w 9"/>
                <a:gd name="T3" fmla="*/ 0 h 5"/>
                <a:gd name="T4" fmla="*/ 4 w 9"/>
                <a:gd name="T5" fmla="*/ 5 h 5"/>
                <a:gd name="T6" fmla="*/ 9 w 9"/>
                <a:gd name="T7" fmla="*/ 0 h 5"/>
              </a:gdLst>
              <a:ahLst/>
              <a:cxnLst>
                <a:cxn ang="0">
                  <a:pos x="T0" y="T1"/>
                </a:cxn>
                <a:cxn ang="0">
                  <a:pos x="T2" y="T3"/>
                </a:cxn>
                <a:cxn ang="0">
                  <a:pos x="T4" y="T5"/>
                </a:cxn>
                <a:cxn ang="0">
                  <a:pos x="T6" y="T7"/>
                </a:cxn>
              </a:cxnLst>
              <a:rect l="0" t="0" r="r" b="b"/>
              <a:pathLst>
                <a:path w="9" h="5">
                  <a:moveTo>
                    <a:pt x="9" y="0"/>
                  </a:moveTo>
                  <a:lnTo>
                    <a:pt x="0" y="0"/>
                  </a:lnTo>
                  <a:lnTo>
                    <a:pt x="4" y="5"/>
                  </a:lnTo>
                  <a:lnTo>
                    <a:pt x="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3" name="Freeform 81"/>
            <p:cNvSpPr>
              <a:spLocks/>
            </p:cNvSpPr>
            <p:nvPr/>
          </p:nvSpPr>
          <p:spPr bwMode="auto">
            <a:xfrm>
              <a:off x="3312" y="2831"/>
              <a:ext cx="38" cy="9"/>
            </a:xfrm>
            <a:custGeom>
              <a:avLst/>
              <a:gdLst>
                <a:gd name="T0" fmla="*/ 5 w 38"/>
                <a:gd name="T1" fmla="*/ 9 h 9"/>
                <a:gd name="T2" fmla="*/ 21 w 38"/>
                <a:gd name="T3" fmla="*/ 9 h 9"/>
                <a:gd name="T4" fmla="*/ 38 w 38"/>
                <a:gd name="T5" fmla="*/ 7 h 9"/>
                <a:gd name="T6" fmla="*/ 35 w 38"/>
                <a:gd name="T7" fmla="*/ 0 h 9"/>
                <a:gd name="T8" fmla="*/ 0 w 38"/>
                <a:gd name="T9" fmla="*/ 2 h 9"/>
                <a:gd name="T10" fmla="*/ 5 w 38"/>
                <a:gd name="T11" fmla="*/ 9 h 9"/>
              </a:gdLst>
              <a:ahLst/>
              <a:cxnLst>
                <a:cxn ang="0">
                  <a:pos x="T0" y="T1"/>
                </a:cxn>
                <a:cxn ang="0">
                  <a:pos x="T2" y="T3"/>
                </a:cxn>
                <a:cxn ang="0">
                  <a:pos x="T4" y="T5"/>
                </a:cxn>
                <a:cxn ang="0">
                  <a:pos x="T6" y="T7"/>
                </a:cxn>
                <a:cxn ang="0">
                  <a:pos x="T8" y="T9"/>
                </a:cxn>
                <a:cxn ang="0">
                  <a:pos x="T10" y="T11"/>
                </a:cxn>
              </a:cxnLst>
              <a:rect l="0" t="0" r="r" b="b"/>
              <a:pathLst>
                <a:path w="38" h="9">
                  <a:moveTo>
                    <a:pt x="5" y="9"/>
                  </a:moveTo>
                  <a:lnTo>
                    <a:pt x="21" y="9"/>
                  </a:lnTo>
                  <a:lnTo>
                    <a:pt x="38" y="7"/>
                  </a:lnTo>
                  <a:lnTo>
                    <a:pt x="35" y="0"/>
                  </a:lnTo>
                  <a:lnTo>
                    <a:pt x="0" y="2"/>
                  </a:lnTo>
                  <a:lnTo>
                    <a:pt x="5"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4" name="Freeform 82"/>
            <p:cNvSpPr>
              <a:spLocks/>
            </p:cNvSpPr>
            <p:nvPr/>
          </p:nvSpPr>
          <p:spPr bwMode="auto">
            <a:xfrm>
              <a:off x="3366" y="2869"/>
              <a:ext cx="31" cy="21"/>
            </a:xfrm>
            <a:custGeom>
              <a:avLst/>
              <a:gdLst>
                <a:gd name="T0" fmla="*/ 0 w 31"/>
                <a:gd name="T1" fmla="*/ 0 h 21"/>
                <a:gd name="T2" fmla="*/ 0 w 31"/>
                <a:gd name="T3" fmla="*/ 4 h 21"/>
                <a:gd name="T4" fmla="*/ 12 w 31"/>
                <a:gd name="T5" fmla="*/ 9 h 21"/>
                <a:gd name="T6" fmla="*/ 22 w 31"/>
                <a:gd name="T7" fmla="*/ 21 h 21"/>
                <a:gd name="T8" fmla="*/ 31 w 31"/>
                <a:gd name="T9" fmla="*/ 4 h 21"/>
                <a:gd name="T10" fmla="*/ 26 w 31"/>
                <a:gd name="T11" fmla="*/ 0 h 21"/>
                <a:gd name="T12" fmla="*/ 14 w 31"/>
                <a:gd name="T13" fmla="*/ 0 h 21"/>
                <a:gd name="T14" fmla="*/ 0 w 31"/>
                <a:gd name="T15" fmla="*/ 0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 h="21">
                  <a:moveTo>
                    <a:pt x="0" y="0"/>
                  </a:moveTo>
                  <a:lnTo>
                    <a:pt x="0" y="4"/>
                  </a:lnTo>
                  <a:lnTo>
                    <a:pt x="12" y="9"/>
                  </a:lnTo>
                  <a:lnTo>
                    <a:pt x="22" y="21"/>
                  </a:lnTo>
                  <a:lnTo>
                    <a:pt x="31" y="4"/>
                  </a:lnTo>
                  <a:lnTo>
                    <a:pt x="26" y="0"/>
                  </a:lnTo>
                  <a:lnTo>
                    <a:pt x="14"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5" name="Freeform 83"/>
            <p:cNvSpPr>
              <a:spLocks/>
            </p:cNvSpPr>
            <p:nvPr/>
          </p:nvSpPr>
          <p:spPr bwMode="auto">
            <a:xfrm>
              <a:off x="3409" y="2871"/>
              <a:ext cx="21" cy="21"/>
            </a:xfrm>
            <a:custGeom>
              <a:avLst/>
              <a:gdLst>
                <a:gd name="T0" fmla="*/ 0 w 21"/>
                <a:gd name="T1" fmla="*/ 21 h 21"/>
                <a:gd name="T2" fmla="*/ 19 w 21"/>
                <a:gd name="T3" fmla="*/ 21 h 21"/>
                <a:gd name="T4" fmla="*/ 21 w 21"/>
                <a:gd name="T5" fmla="*/ 5 h 21"/>
                <a:gd name="T6" fmla="*/ 9 w 21"/>
                <a:gd name="T7" fmla="*/ 0 h 21"/>
                <a:gd name="T8" fmla="*/ 2 w 21"/>
                <a:gd name="T9" fmla="*/ 7 h 21"/>
                <a:gd name="T10" fmla="*/ 0 w 21"/>
                <a:gd name="T11" fmla="*/ 21 h 21"/>
              </a:gdLst>
              <a:ahLst/>
              <a:cxnLst>
                <a:cxn ang="0">
                  <a:pos x="T0" y="T1"/>
                </a:cxn>
                <a:cxn ang="0">
                  <a:pos x="T2" y="T3"/>
                </a:cxn>
                <a:cxn ang="0">
                  <a:pos x="T4" y="T5"/>
                </a:cxn>
                <a:cxn ang="0">
                  <a:pos x="T6" y="T7"/>
                </a:cxn>
                <a:cxn ang="0">
                  <a:pos x="T8" y="T9"/>
                </a:cxn>
                <a:cxn ang="0">
                  <a:pos x="T10" y="T11"/>
                </a:cxn>
              </a:cxnLst>
              <a:rect l="0" t="0" r="r" b="b"/>
              <a:pathLst>
                <a:path w="21" h="21">
                  <a:moveTo>
                    <a:pt x="0" y="21"/>
                  </a:moveTo>
                  <a:lnTo>
                    <a:pt x="19" y="21"/>
                  </a:lnTo>
                  <a:lnTo>
                    <a:pt x="21" y="5"/>
                  </a:lnTo>
                  <a:lnTo>
                    <a:pt x="9" y="0"/>
                  </a:lnTo>
                  <a:lnTo>
                    <a:pt x="2" y="7"/>
                  </a:lnTo>
                  <a:lnTo>
                    <a:pt x="0"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6" name="Freeform 84"/>
            <p:cNvSpPr>
              <a:spLocks/>
            </p:cNvSpPr>
            <p:nvPr/>
          </p:nvSpPr>
          <p:spPr bwMode="auto">
            <a:xfrm>
              <a:off x="3433" y="2869"/>
              <a:ext cx="71" cy="28"/>
            </a:xfrm>
            <a:custGeom>
              <a:avLst/>
              <a:gdLst>
                <a:gd name="T0" fmla="*/ 23 w 71"/>
                <a:gd name="T1" fmla="*/ 9 h 28"/>
                <a:gd name="T2" fmla="*/ 9 w 71"/>
                <a:gd name="T3" fmla="*/ 9 h 28"/>
                <a:gd name="T4" fmla="*/ 0 w 71"/>
                <a:gd name="T5" fmla="*/ 16 h 28"/>
                <a:gd name="T6" fmla="*/ 7 w 71"/>
                <a:gd name="T7" fmla="*/ 28 h 28"/>
                <a:gd name="T8" fmla="*/ 52 w 71"/>
                <a:gd name="T9" fmla="*/ 16 h 28"/>
                <a:gd name="T10" fmla="*/ 54 w 71"/>
                <a:gd name="T11" fmla="*/ 21 h 28"/>
                <a:gd name="T12" fmla="*/ 71 w 71"/>
                <a:gd name="T13" fmla="*/ 16 h 28"/>
                <a:gd name="T14" fmla="*/ 63 w 71"/>
                <a:gd name="T15" fmla="*/ 4 h 28"/>
                <a:gd name="T16" fmla="*/ 54 w 71"/>
                <a:gd name="T17" fmla="*/ 11 h 28"/>
                <a:gd name="T18" fmla="*/ 52 w 71"/>
                <a:gd name="T19" fmla="*/ 4 h 28"/>
                <a:gd name="T20" fmla="*/ 42 w 71"/>
                <a:gd name="T21" fmla="*/ 7 h 28"/>
                <a:gd name="T22" fmla="*/ 35 w 71"/>
                <a:gd name="T23" fmla="*/ 0 h 28"/>
                <a:gd name="T24" fmla="*/ 30 w 71"/>
                <a:gd name="T25" fmla="*/ 7 h 28"/>
                <a:gd name="T26" fmla="*/ 42 w 71"/>
                <a:gd name="T27" fmla="*/ 14 h 28"/>
                <a:gd name="T28" fmla="*/ 35 w 71"/>
                <a:gd name="T29" fmla="*/ 16 h 28"/>
                <a:gd name="T30" fmla="*/ 23 w 71"/>
                <a:gd name="T31" fmla="*/ 9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1" h="28">
                  <a:moveTo>
                    <a:pt x="23" y="9"/>
                  </a:moveTo>
                  <a:lnTo>
                    <a:pt x="9" y="9"/>
                  </a:lnTo>
                  <a:lnTo>
                    <a:pt x="0" y="16"/>
                  </a:lnTo>
                  <a:lnTo>
                    <a:pt x="7" y="28"/>
                  </a:lnTo>
                  <a:lnTo>
                    <a:pt x="52" y="16"/>
                  </a:lnTo>
                  <a:lnTo>
                    <a:pt x="54" y="21"/>
                  </a:lnTo>
                  <a:lnTo>
                    <a:pt x="71" y="16"/>
                  </a:lnTo>
                  <a:lnTo>
                    <a:pt x="63" y="4"/>
                  </a:lnTo>
                  <a:lnTo>
                    <a:pt x="54" y="11"/>
                  </a:lnTo>
                  <a:lnTo>
                    <a:pt x="52" y="4"/>
                  </a:lnTo>
                  <a:lnTo>
                    <a:pt x="42" y="7"/>
                  </a:lnTo>
                  <a:lnTo>
                    <a:pt x="35" y="0"/>
                  </a:lnTo>
                  <a:lnTo>
                    <a:pt x="30" y="7"/>
                  </a:lnTo>
                  <a:lnTo>
                    <a:pt x="42" y="14"/>
                  </a:lnTo>
                  <a:lnTo>
                    <a:pt x="35" y="16"/>
                  </a:lnTo>
                  <a:lnTo>
                    <a:pt x="23"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7" name="Freeform 85"/>
            <p:cNvSpPr>
              <a:spLocks/>
            </p:cNvSpPr>
            <p:nvPr/>
          </p:nvSpPr>
          <p:spPr bwMode="auto">
            <a:xfrm>
              <a:off x="3501" y="2904"/>
              <a:ext cx="52" cy="31"/>
            </a:xfrm>
            <a:custGeom>
              <a:avLst/>
              <a:gdLst>
                <a:gd name="T0" fmla="*/ 17 w 52"/>
                <a:gd name="T1" fmla="*/ 14 h 31"/>
                <a:gd name="T2" fmla="*/ 38 w 52"/>
                <a:gd name="T3" fmla="*/ 31 h 31"/>
                <a:gd name="T4" fmla="*/ 52 w 52"/>
                <a:gd name="T5" fmla="*/ 24 h 31"/>
                <a:gd name="T6" fmla="*/ 45 w 52"/>
                <a:gd name="T7" fmla="*/ 12 h 31"/>
                <a:gd name="T8" fmla="*/ 24 w 52"/>
                <a:gd name="T9" fmla="*/ 0 h 31"/>
                <a:gd name="T10" fmla="*/ 0 w 52"/>
                <a:gd name="T11" fmla="*/ 5 h 31"/>
                <a:gd name="T12" fmla="*/ 3 w 52"/>
                <a:gd name="T13" fmla="*/ 14 h 31"/>
                <a:gd name="T14" fmla="*/ 17 w 52"/>
                <a:gd name="T15" fmla="*/ 14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 h="31">
                  <a:moveTo>
                    <a:pt x="17" y="14"/>
                  </a:moveTo>
                  <a:lnTo>
                    <a:pt x="38" y="31"/>
                  </a:lnTo>
                  <a:lnTo>
                    <a:pt x="52" y="24"/>
                  </a:lnTo>
                  <a:lnTo>
                    <a:pt x="45" y="12"/>
                  </a:lnTo>
                  <a:lnTo>
                    <a:pt x="24" y="0"/>
                  </a:lnTo>
                  <a:lnTo>
                    <a:pt x="0" y="5"/>
                  </a:lnTo>
                  <a:lnTo>
                    <a:pt x="3" y="14"/>
                  </a:lnTo>
                  <a:lnTo>
                    <a:pt x="1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8" name="Freeform 86"/>
            <p:cNvSpPr>
              <a:spLocks/>
            </p:cNvSpPr>
            <p:nvPr/>
          </p:nvSpPr>
          <p:spPr bwMode="auto">
            <a:xfrm>
              <a:off x="3525" y="2866"/>
              <a:ext cx="92" cy="29"/>
            </a:xfrm>
            <a:custGeom>
              <a:avLst/>
              <a:gdLst>
                <a:gd name="T0" fmla="*/ 80 w 92"/>
                <a:gd name="T1" fmla="*/ 19 h 29"/>
                <a:gd name="T2" fmla="*/ 92 w 92"/>
                <a:gd name="T3" fmla="*/ 10 h 29"/>
                <a:gd name="T4" fmla="*/ 87 w 92"/>
                <a:gd name="T5" fmla="*/ 0 h 29"/>
                <a:gd name="T6" fmla="*/ 87 w 92"/>
                <a:gd name="T7" fmla="*/ 7 h 29"/>
                <a:gd name="T8" fmla="*/ 76 w 92"/>
                <a:gd name="T9" fmla="*/ 17 h 29"/>
                <a:gd name="T10" fmla="*/ 64 w 92"/>
                <a:gd name="T11" fmla="*/ 12 h 29"/>
                <a:gd name="T12" fmla="*/ 47 w 92"/>
                <a:gd name="T13" fmla="*/ 17 h 29"/>
                <a:gd name="T14" fmla="*/ 21 w 92"/>
                <a:gd name="T15" fmla="*/ 5 h 29"/>
                <a:gd name="T16" fmla="*/ 0 w 92"/>
                <a:gd name="T17" fmla="*/ 12 h 29"/>
                <a:gd name="T18" fmla="*/ 0 w 92"/>
                <a:gd name="T19" fmla="*/ 24 h 29"/>
                <a:gd name="T20" fmla="*/ 35 w 92"/>
                <a:gd name="T21" fmla="*/ 29 h 29"/>
                <a:gd name="T22" fmla="*/ 80 w 92"/>
                <a:gd name="T23"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2" h="29">
                  <a:moveTo>
                    <a:pt x="80" y="19"/>
                  </a:moveTo>
                  <a:lnTo>
                    <a:pt x="92" y="10"/>
                  </a:lnTo>
                  <a:lnTo>
                    <a:pt x="87" y="0"/>
                  </a:lnTo>
                  <a:lnTo>
                    <a:pt x="87" y="7"/>
                  </a:lnTo>
                  <a:lnTo>
                    <a:pt x="76" y="17"/>
                  </a:lnTo>
                  <a:lnTo>
                    <a:pt x="64" y="12"/>
                  </a:lnTo>
                  <a:lnTo>
                    <a:pt x="47" y="17"/>
                  </a:lnTo>
                  <a:lnTo>
                    <a:pt x="21" y="5"/>
                  </a:lnTo>
                  <a:lnTo>
                    <a:pt x="0" y="12"/>
                  </a:lnTo>
                  <a:lnTo>
                    <a:pt x="0" y="24"/>
                  </a:lnTo>
                  <a:lnTo>
                    <a:pt x="35" y="29"/>
                  </a:lnTo>
                  <a:lnTo>
                    <a:pt x="80"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9" name="Freeform 87"/>
            <p:cNvSpPr>
              <a:spLocks/>
            </p:cNvSpPr>
            <p:nvPr/>
          </p:nvSpPr>
          <p:spPr bwMode="auto">
            <a:xfrm>
              <a:off x="3627" y="2871"/>
              <a:ext cx="11" cy="9"/>
            </a:xfrm>
            <a:custGeom>
              <a:avLst/>
              <a:gdLst>
                <a:gd name="T0" fmla="*/ 11 w 11"/>
                <a:gd name="T1" fmla="*/ 0 h 9"/>
                <a:gd name="T2" fmla="*/ 7 w 11"/>
                <a:gd name="T3" fmla="*/ 5 h 9"/>
                <a:gd name="T4" fmla="*/ 2 w 11"/>
                <a:gd name="T5" fmla="*/ 0 h 9"/>
                <a:gd name="T6" fmla="*/ 0 w 11"/>
                <a:gd name="T7" fmla="*/ 9 h 9"/>
                <a:gd name="T8" fmla="*/ 9 w 11"/>
                <a:gd name="T9" fmla="*/ 9 h 9"/>
                <a:gd name="T10" fmla="*/ 11 w 11"/>
                <a:gd name="T11" fmla="*/ 0 h 9"/>
              </a:gdLst>
              <a:ahLst/>
              <a:cxnLst>
                <a:cxn ang="0">
                  <a:pos x="T0" y="T1"/>
                </a:cxn>
                <a:cxn ang="0">
                  <a:pos x="T2" y="T3"/>
                </a:cxn>
                <a:cxn ang="0">
                  <a:pos x="T4" y="T5"/>
                </a:cxn>
                <a:cxn ang="0">
                  <a:pos x="T6" y="T7"/>
                </a:cxn>
                <a:cxn ang="0">
                  <a:pos x="T8" y="T9"/>
                </a:cxn>
                <a:cxn ang="0">
                  <a:pos x="T10" y="T11"/>
                </a:cxn>
              </a:cxnLst>
              <a:rect l="0" t="0" r="r" b="b"/>
              <a:pathLst>
                <a:path w="11" h="9">
                  <a:moveTo>
                    <a:pt x="11" y="0"/>
                  </a:moveTo>
                  <a:lnTo>
                    <a:pt x="7" y="5"/>
                  </a:lnTo>
                  <a:lnTo>
                    <a:pt x="2" y="0"/>
                  </a:lnTo>
                  <a:lnTo>
                    <a:pt x="0" y="9"/>
                  </a:lnTo>
                  <a:lnTo>
                    <a:pt x="9" y="9"/>
                  </a:lnTo>
                  <a:lnTo>
                    <a:pt x="1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0" name="Freeform 88"/>
            <p:cNvSpPr>
              <a:spLocks/>
            </p:cNvSpPr>
            <p:nvPr/>
          </p:nvSpPr>
          <p:spPr bwMode="auto">
            <a:xfrm>
              <a:off x="3646" y="2871"/>
              <a:ext cx="9" cy="12"/>
            </a:xfrm>
            <a:custGeom>
              <a:avLst/>
              <a:gdLst>
                <a:gd name="T0" fmla="*/ 0 w 9"/>
                <a:gd name="T1" fmla="*/ 7 h 12"/>
                <a:gd name="T2" fmla="*/ 4 w 9"/>
                <a:gd name="T3" fmla="*/ 12 h 12"/>
                <a:gd name="T4" fmla="*/ 9 w 9"/>
                <a:gd name="T5" fmla="*/ 0 h 12"/>
                <a:gd name="T6" fmla="*/ 0 w 9"/>
                <a:gd name="T7" fmla="*/ 7 h 12"/>
              </a:gdLst>
              <a:ahLst/>
              <a:cxnLst>
                <a:cxn ang="0">
                  <a:pos x="T0" y="T1"/>
                </a:cxn>
                <a:cxn ang="0">
                  <a:pos x="T2" y="T3"/>
                </a:cxn>
                <a:cxn ang="0">
                  <a:pos x="T4" y="T5"/>
                </a:cxn>
                <a:cxn ang="0">
                  <a:pos x="T6" y="T7"/>
                </a:cxn>
              </a:cxnLst>
              <a:rect l="0" t="0" r="r" b="b"/>
              <a:pathLst>
                <a:path w="9" h="12">
                  <a:moveTo>
                    <a:pt x="0" y="7"/>
                  </a:moveTo>
                  <a:lnTo>
                    <a:pt x="4" y="12"/>
                  </a:lnTo>
                  <a:lnTo>
                    <a:pt x="9" y="0"/>
                  </a:ln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1" name="Freeform 89"/>
            <p:cNvSpPr>
              <a:spLocks/>
            </p:cNvSpPr>
            <p:nvPr/>
          </p:nvSpPr>
          <p:spPr bwMode="auto">
            <a:xfrm>
              <a:off x="3660" y="2871"/>
              <a:ext cx="19" cy="7"/>
            </a:xfrm>
            <a:custGeom>
              <a:avLst/>
              <a:gdLst>
                <a:gd name="T0" fmla="*/ 5 w 19"/>
                <a:gd name="T1" fmla="*/ 7 h 7"/>
                <a:gd name="T2" fmla="*/ 19 w 19"/>
                <a:gd name="T3" fmla="*/ 2 h 7"/>
                <a:gd name="T4" fmla="*/ 0 w 19"/>
                <a:gd name="T5" fmla="*/ 0 h 7"/>
                <a:gd name="T6" fmla="*/ 5 w 19"/>
                <a:gd name="T7" fmla="*/ 7 h 7"/>
              </a:gdLst>
              <a:ahLst/>
              <a:cxnLst>
                <a:cxn ang="0">
                  <a:pos x="T0" y="T1"/>
                </a:cxn>
                <a:cxn ang="0">
                  <a:pos x="T2" y="T3"/>
                </a:cxn>
                <a:cxn ang="0">
                  <a:pos x="T4" y="T5"/>
                </a:cxn>
                <a:cxn ang="0">
                  <a:pos x="T6" y="T7"/>
                </a:cxn>
              </a:cxnLst>
              <a:rect l="0" t="0" r="r" b="b"/>
              <a:pathLst>
                <a:path w="19" h="7">
                  <a:moveTo>
                    <a:pt x="5" y="7"/>
                  </a:moveTo>
                  <a:lnTo>
                    <a:pt x="19" y="2"/>
                  </a:lnTo>
                  <a:lnTo>
                    <a:pt x="0" y="0"/>
                  </a:lnTo>
                  <a:lnTo>
                    <a:pt x="5"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2" name="Freeform 90"/>
            <p:cNvSpPr>
              <a:spLocks/>
            </p:cNvSpPr>
            <p:nvPr/>
          </p:nvSpPr>
          <p:spPr bwMode="auto">
            <a:xfrm>
              <a:off x="3612" y="2940"/>
              <a:ext cx="17" cy="11"/>
            </a:xfrm>
            <a:custGeom>
              <a:avLst/>
              <a:gdLst>
                <a:gd name="T0" fmla="*/ 17 w 17"/>
                <a:gd name="T1" fmla="*/ 0 h 11"/>
                <a:gd name="T2" fmla="*/ 0 w 17"/>
                <a:gd name="T3" fmla="*/ 11 h 11"/>
                <a:gd name="T4" fmla="*/ 12 w 17"/>
                <a:gd name="T5" fmla="*/ 9 h 11"/>
                <a:gd name="T6" fmla="*/ 17 w 17"/>
                <a:gd name="T7" fmla="*/ 0 h 11"/>
              </a:gdLst>
              <a:ahLst/>
              <a:cxnLst>
                <a:cxn ang="0">
                  <a:pos x="T0" y="T1"/>
                </a:cxn>
                <a:cxn ang="0">
                  <a:pos x="T2" y="T3"/>
                </a:cxn>
                <a:cxn ang="0">
                  <a:pos x="T4" y="T5"/>
                </a:cxn>
                <a:cxn ang="0">
                  <a:pos x="T6" y="T7"/>
                </a:cxn>
              </a:cxnLst>
              <a:rect l="0" t="0" r="r" b="b"/>
              <a:pathLst>
                <a:path w="17" h="11">
                  <a:moveTo>
                    <a:pt x="17" y="0"/>
                  </a:moveTo>
                  <a:lnTo>
                    <a:pt x="0" y="11"/>
                  </a:lnTo>
                  <a:lnTo>
                    <a:pt x="12" y="9"/>
                  </a:lnTo>
                  <a:lnTo>
                    <a:pt x="1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3" name="Freeform 91"/>
            <p:cNvSpPr>
              <a:spLocks/>
            </p:cNvSpPr>
            <p:nvPr/>
          </p:nvSpPr>
          <p:spPr bwMode="auto">
            <a:xfrm>
              <a:off x="3634" y="2878"/>
              <a:ext cx="109" cy="57"/>
            </a:xfrm>
            <a:custGeom>
              <a:avLst/>
              <a:gdLst>
                <a:gd name="T0" fmla="*/ 33 w 109"/>
                <a:gd name="T1" fmla="*/ 50 h 57"/>
                <a:gd name="T2" fmla="*/ 45 w 109"/>
                <a:gd name="T3" fmla="*/ 29 h 57"/>
                <a:gd name="T4" fmla="*/ 106 w 109"/>
                <a:gd name="T5" fmla="*/ 7 h 57"/>
                <a:gd name="T6" fmla="*/ 109 w 109"/>
                <a:gd name="T7" fmla="*/ 0 h 57"/>
                <a:gd name="T8" fmla="*/ 45 w 109"/>
                <a:gd name="T9" fmla="*/ 7 h 57"/>
                <a:gd name="T10" fmla="*/ 35 w 109"/>
                <a:gd name="T11" fmla="*/ 19 h 57"/>
                <a:gd name="T12" fmla="*/ 9 w 109"/>
                <a:gd name="T13" fmla="*/ 33 h 57"/>
                <a:gd name="T14" fmla="*/ 0 w 109"/>
                <a:gd name="T15" fmla="*/ 57 h 57"/>
                <a:gd name="T16" fmla="*/ 12 w 109"/>
                <a:gd name="T17" fmla="*/ 57 h 57"/>
                <a:gd name="T18" fmla="*/ 33 w 109"/>
                <a:gd name="T19" fmla="*/ 5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 h="57">
                  <a:moveTo>
                    <a:pt x="33" y="50"/>
                  </a:moveTo>
                  <a:lnTo>
                    <a:pt x="45" y="29"/>
                  </a:lnTo>
                  <a:lnTo>
                    <a:pt x="106" y="7"/>
                  </a:lnTo>
                  <a:lnTo>
                    <a:pt x="109" y="0"/>
                  </a:lnTo>
                  <a:lnTo>
                    <a:pt x="45" y="7"/>
                  </a:lnTo>
                  <a:lnTo>
                    <a:pt x="35" y="19"/>
                  </a:lnTo>
                  <a:lnTo>
                    <a:pt x="9" y="33"/>
                  </a:lnTo>
                  <a:lnTo>
                    <a:pt x="0" y="57"/>
                  </a:lnTo>
                  <a:lnTo>
                    <a:pt x="12" y="57"/>
                  </a:lnTo>
                  <a:lnTo>
                    <a:pt x="33" y="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4" name="Freeform 92"/>
            <p:cNvSpPr>
              <a:spLocks/>
            </p:cNvSpPr>
            <p:nvPr/>
          </p:nvSpPr>
          <p:spPr bwMode="auto">
            <a:xfrm>
              <a:off x="3705" y="2852"/>
              <a:ext cx="28" cy="14"/>
            </a:xfrm>
            <a:custGeom>
              <a:avLst/>
              <a:gdLst>
                <a:gd name="T0" fmla="*/ 28 w 28"/>
                <a:gd name="T1" fmla="*/ 5 h 14"/>
                <a:gd name="T2" fmla="*/ 21 w 28"/>
                <a:gd name="T3" fmla="*/ 0 h 14"/>
                <a:gd name="T4" fmla="*/ 0 w 28"/>
                <a:gd name="T5" fmla="*/ 5 h 14"/>
                <a:gd name="T6" fmla="*/ 0 w 28"/>
                <a:gd name="T7" fmla="*/ 14 h 14"/>
                <a:gd name="T8" fmla="*/ 16 w 28"/>
                <a:gd name="T9" fmla="*/ 12 h 14"/>
                <a:gd name="T10" fmla="*/ 28 w 28"/>
                <a:gd name="T11" fmla="*/ 5 h 14"/>
              </a:gdLst>
              <a:ahLst/>
              <a:cxnLst>
                <a:cxn ang="0">
                  <a:pos x="T0" y="T1"/>
                </a:cxn>
                <a:cxn ang="0">
                  <a:pos x="T2" y="T3"/>
                </a:cxn>
                <a:cxn ang="0">
                  <a:pos x="T4" y="T5"/>
                </a:cxn>
                <a:cxn ang="0">
                  <a:pos x="T6" y="T7"/>
                </a:cxn>
                <a:cxn ang="0">
                  <a:pos x="T8" y="T9"/>
                </a:cxn>
                <a:cxn ang="0">
                  <a:pos x="T10" y="T11"/>
                </a:cxn>
              </a:cxnLst>
              <a:rect l="0" t="0" r="r" b="b"/>
              <a:pathLst>
                <a:path w="28" h="14">
                  <a:moveTo>
                    <a:pt x="28" y="5"/>
                  </a:moveTo>
                  <a:lnTo>
                    <a:pt x="21" y="0"/>
                  </a:lnTo>
                  <a:lnTo>
                    <a:pt x="0" y="5"/>
                  </a:lnTo>
                  <a:lnTo>
                    <a:pt x="0" y="14"/>
                  </a:lnTo>
                  <a:lnTo>
                    <a:pt x="16" y="12"/>
                  </a:lnTo>
                  <a:lnTo>
                    <a:pt x="28"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5" name="Freeform 93"/>
            <p:cNvSpPr>
              <a:spLocks/>
            </p:cNvSpPr>
            <p:nvPr/>
          </p:nvSpPr>
          <p:spPr bwMode="auto">
            <a:xfrm>
              <a:off x="3861" y="2840"/>
              <a:ext cx="14" cy="26"/>
            </a:xfrm>
            <a:custGeom>
              <a:avLst/>
              <a:gdLst>
                <a:gd name="T0" fmla="*/ 14 w 14"/>
                <a:gd name="T1" fmla="*/ 0 h 26"/>
                <a:gd name="T2" fmla="*/ 9 w 14"/>
                <a:gd name="T3" fmla="*/ 0 h 26"/>
                <a:gd name="T4" fmla="*/ 0 w 14"/>
                <a:gd name="T5" fmla="*/ 19 h 26"/>
                <a:gd name="T6" fmla="*/ 5 w 14"/>
                <a:gd name="T7" fmla="*/ 26 h 26"/>
                <a:gd name="T8" fmla="*/ 14 w 14"/>
                <a:gd name="T9" fmla="*/ 12 h 26"/>
                <a:gd name="T10" fmla="*/ 14 w 14"/>
                <a:gd name="T11" fmla="*/ 0 h 26"/>
              </a:gdLst>
              <a:ahLst/>
              <a:cxnLst>
                <a:cxn ang="0">
                  <a:pos x="T0" y="T1"/>
                </a:cxn>
                <a:cxn ang="0">
                  <a:pos x="T2" y="T3"/>
                </a:cxn>
                <a:cxn ang="0">
                  <a:pos x="T4" y="T5"/>
                </a:cxn>
                <a:cxn ang="0">
                  <a:pos x="T6" y="T7"/>
                </a:cxn>
                <a:cxn ang="0">
                  <a:pos x="T8" y="T9"/>
                </a:cxn>
                <a:cxn ang="0">
                  <a:pos x="T10" y="T11"/>
                </a:cxn>
              </a:cxnLst>
              <a:rect l="0" t="0" r="r" b="b"/>
              <a:pathLst>
                <a:path w="14" h="26">
                  <a:moveTo>
                    <a:pt x="14" y="0"/>
                  </a:moveTo>
                  <a:lnTo>
                    <a:pt x="9" y="0"/>
                  </a:lnTo>
                  <a:lnTo>
                    <a:pt x="0" y="19"/>
                  </a:lnTo>
                  <a:lnTo>
                    <a:pt x="5" y="26"/>
                  </a:lnTo>
                  <a:lnTo>
                    <a:pt x="14" y="12"/>
                  </a:lnTo>
                  <a:lnTo>
                    <a:pt x="1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6" name="Freeform 94"/>
            <p:cNvSpPr>
              <a:spLocks/>
            </p:cNvSpPr>
            <p:nvPr/>
          </p:nvSpPr>
          <p:spPr bwMode="auto">
            <a:xfrm>
              <a:off x="3946" y="2814"/>
              <a:ext cx="12" cy="19"/>
            </a:xfrm>
            <a:custGeom>
              <a:avLst/>
              <a:gdLst>
                <a:gd name="T0" fmla="*/ 7 w 12"/>
                <a:gd name="T1" fmla="*/ 19 h 19"/>
                <a:gd name="T2" fmla="*/ 12 w 12"/>
                <a:gd name="T3" fmla="*/ 10 h 19"/>
                <a:gd name="T4" fmla="*/ 3 w 12"/>
                <a:gd name="T5" fmla="*/ 0 h 19"/>
                <a:gd name="T6" fmla="*/ 5 w 12"/>
                <a:gd name="T7" fmla="*/ 12 h 19"/>
                <a:gd name="T8" fmla="*/ 0 w 12"/>
                <a:gd name="T9" fmla="*/ 10 h 19"/>
                <a:gd name="T10" fmla="*/ 7 w 12"/>
                <a:gd name="T11" fmla="*/ 19 h 19"/>
              </a:gdLst>
              <a:ahLst/>
              <a:cxnLst>
                <a:cxn ang="0">
                  <a:pos x="T0" y="T1"/>
                </a:cxn>
                <a:cxn ang="0">
                  <a:pos x="T2" y="T3"/>
                </a:cxn>
                <a:cxn ang="0">
                  <a:pos x="T4" y="T5"/>
                </a:cxn>
                <a:cxn ang="0">
                  <a:pos x="T6" y="T7"/>
                </a:cxn>
                <a:cxn ang="0">
                  <a:pos x="T8" y="T9"/>
                </a:cxn>
                <a:cxn ang="0">
                  <a:pos x="T10" y="T11"/>
                </a:cxn>
              </a:cxnLst>
              <a:rect l="0" t="0" r="r" b="b"/>
              <a:pathLst>
                <a:path w="12" h="19">
                  <a:moveTo>
                    <a:pt x="7" y="19"/>
                  </a:moveTo>
                  <a:lnTo>
                    <a:pt x="12" y="10"/>
                  </a:lnTo>
                  <a:lnTo>
                    <a:pt x="3" y="0"/>
                  </a:lnTo>
                  <a:lnTo>
                    <a:pt x="5" y="12"/>
                  </a:lnTo>
                  <a:lnTo>
                    <a:pt x="0" y="10"/>
                  </a:lnTo>
                  <a:lnTo>
                    <a:pt x="7"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7" name="Freeform 95"/>
            <p:cNvSpPr>
              <a:spLocks/>
            </p:cNvSpPr>
            <p:nvPr/>
          </p:nvSpPr>
          <p:spPr bwMode="auto">
            <a:xfrm>
              <a:off x="3951" y="2788"/>
              <a:ext cx="12" cy="36"/>
            </a:xfrm>
            <a:custGeom>
              <a:avLst/>
              <a:gdLst>
                <a:gd name="T0" fmla="*/ 12 w 12"/>
                <a:gd name="T1" fmla="*/ 3 h 36"/>
                <a:gd name="T2" fmla="*/ 7 w 12"/>
                <a:gd name="T3" fmla="*/ 0 h 36"/>
                <a:gd name="T4" fmla="*/ 2 w 12"/>
                <a:gd name="T5" fmla="*/ 12 h 36"/>
                <a:gd name="T6" fmla="*/ 5 w 12"/>
                <a:gd name="T7" fmla="*/ 14 h 36"/>
                <a:gd name="T8" fmla="*/ 5 w 12"/>
                <a:gd name="T9" fmla="*/ 24 h 36"/>
                <a:gd name="T10" fmla="*/ 0 w 12"/>
                <a:gd name="T11" fmla="*/ 19 h 36"/>
                <a:gd name="T12" fmla="*/ 0 w 12"/>
                <a:gd name="T13" fmla="*/ 26 h 36"/>
                <a:gd name="T14" fmla="*/ 12 w 12"/>
                <a:gd name="T15" fmla="*/ 36 h 36"/>
                <a:gd name="T16" fmla="*/ 9 w 12"/>
                <a:gd name="T17" fmla="*/ 29 h 36"/>
                <a:gd name="T18" fmla="*/ 12 w 12"/>
                <a:gd name="T19" fmla="*/ 29 h 36"/>
                <a:gd name="T20" fmla="*/ 12 w 12"/>
                <a:gd name="T21" fmla="*/ 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 h="36">
                  <a:moveTo>
                    <a:pt x="12" y="3"/>
                  </a:moveTo>
                  <a:lnTo>
                    <a:pt x="7" y="0"/>
                  </a:lnTo>
                  <a:lnTo>
                    <a:pt x="2" y="12"/>
                  </a:lnTo>
                  <a:lnTo>
                    <a:pt x="5" y="14"/>
                  </a:lnTo>
                  <a:lnTo>
                    <a:pt x="5" y="24"/>
                  </a:lnTo>
                  <a:lnTo>
                    <a:pt x="0" y="19"/>
                  </a:lnTo>
                  <a:lnTo>
                    <a:pt x="0" y="26"/>
                  </a:lnTo>
                  <a:lnTo>
                    <a:pt x="12" y="36"/>
                  </a:lnTo>
                  <a:lnTo>
                    <a:pt x="9" y="29"/>
                  </a:lnTo>
                  <a:lnTo>
                    <a:pt x="12" y="29"/>
                  </a:lnTo>
                  <a:lnTo>
                    <a:pt x="1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8" name="Freeform 96"/>
            <p:cNvSpPr>
              <a:spLocks/>
            </p:cNvSpPr>
            <p:nvPr/>
          </p:nvSpPr>
          <p:spPr bwMode="auto">
            <a:xfrm>
              <a:off x="3915" y="2786"/>
              <a:ext cx="7" cy="16"/>
            </a:xfrm>
            <a:custGeom>
              <a:avLst/>
              <a:gdLst>
                <a:gd name="T0" fmla="*/ 7 w 7"/>
                <a:gd name="T1" fmla="*/ 0 h 16"/>
                <a:gd name="T2" fmla="*/ 3 w 7"/>
                <a:gd name="T3" fmla="*/ 2 h 16"/>
                <a:gd name="T4" fmla="*/ 0 w 7"/>
                <a:gd name="T5" fmla="*/ 16 h 16"/>
                <a:gd name="T6" fmla="*/ 7 w 7"/>
                <a:gd name="T7" fmla="*/ 0 h 16"/>
              </a:gdLst>
              <a:ahLst/>
              <a:cxnLst>
                <a:cxn ang="0">
                  <a:pos x="T0" y="T1"/>
                </a:cxn>
                <a:cxn ang="0">
                  <a:pos x="T2" y="T3"/>
                </a:cxn>
                <a:cxn ang="0">
                  <a:pos x="T4" y="T5"/>
                </a:cxn>
                <a:cxn ang="0">
                  <a:pos x="T6" y="T7"/>
                </a:cxn>
              </a:cxnLst>
              <a:rect l="0" t="0" r="r" b="b"/>
              <a:pathLst>
                <a:path w="7" h="16">
                  <a:moveTo>
                    <a:pt x="7" y="0"/>
                  </a:moveTo>
                  <a:lnTo>
                    <a:pt x="3" y="2"/>
                  </a:lnTo>
                  <a:lnTo>
                    <a:pt x="0" y="16"/>
                  </a:lnTo>
                  <a:lnTo>
                    <a:pt x="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9" name="Freeform 97"/>
            <p:cNvSpPr>
              <a:spLocks/>
            </p:cNvSpPr>
            <p:nvPr/>
          </p:nvSpPr>
          <p:spPr bwMode="auto">
            <a:xfrm>
              <a:off x="3764" y="2710"/>
              <a:ext cx="85" cy="33"/>
            </a:xfrm>
            <a:custGeom>
              <a:avLst/>
              <a:gdLst>
                <a:gd name="T0" fmla="*/ 0 w 85"/>
                <a:gd name="T1" fmla="*/ 14 h 33"/>
                <a:gd name="T2" fmla="*/ 0 w 85"/>
                <a:gd name="T3" fmla="*/ 21 h 33"/>
                <a:gd name="T4" fmla="*/ 7 w 85"/>
                <a:gd name="T5" fmla="*/ 12 h 33"/>
                <a:gd name="T6" fmla="*/ 16 w 85"/>
                <a:gd name="T7" fmla="*/ 21 h 33"/>
                <a:gd name="T8" fmla="*/ 28 w 85"/>
                <a:gd name="T9" fmla="*/ 14 h 33"/>
                <a:gd name="T10" fmla="*/ 38 w 85"/>
                <a:gd name="T11" fmla="*/ 21 h 33"/>
                <a:gd name="T12" fmla="*/ 52 w 85"/>
                <a:gd name="T13" fmla="*/ 17 h 33"/>
                <a:gd name="T14" fmla="*/ 85 w 85"/>
                <a:gd name="T15" fmla="*/ 33 h 33"/>
                <a:gd name="T16" fmla="*/ 85 w 85"/>
                <a:gd name="T17" fmla="*/ 28 h 33"/>
                <a:gd name="T18" fmla="*/ 76 w 85"/>
                <a:gd name="T19" fmla="*/ 10 h 33"/>
                <a:gd name="T20" fmla="*/ 47 w 85"/>
                <a:gd name="T21" fmla="*/ 0 h 33"/>
                <a:gd name="T22" fmla="*/ 7 w 85"/>
                <a:gd name="T23" fmla="*/ 2 h 33"/>
                <a:gd name="T24" fmla="*/ 0 w 85"/>
                <a:gd name="T25" fmla="*/ 14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33">
                  <a:moveTo>
                    <a:pt x="0" y="14"/>
                  </a:moveTo>
                  <a:lnTo>
                    <a:pt x="0" y="21"/>
                  </a:lnTo>
                  <a:lnTo>
                    <a:pt x="7" y="12"/>
                  </a:lnTo>
                  <a:lnTo>
                    <a:pt x="16" y="21"/>
                  </a:lnTo>
                  <a:lnTo>
                    <a:pt x="28" y="14"/>
                  </a:lnTo>
                  <a:lnTo>
                    <a:pt x="38" y="21"/>
                  </a:lnTo>
                  <a:lnTo>
                    <a:pt x="52" y="17"/>
                  </a:lnTo>
                  <a:lnTo>
                    <a:pt x="85" y="33"/>
                  </a:lnTo>
                  <a:lnTo>
                    <a:pt x="85" y="28"/>
                  </a:lnTo>
                  <a:lnTo>
                    <a:pt x="76" y="10"/>
                  </a:lnTo>
                  <a:lnTo>
                    <a:pt x="47" y="0"/>
                  </a:lnTo>
                  <a:lnTo>
                    <a:pt x="7" y="2"/>
                  </a:lnTo>
                  <a:lnTo>
                    <a:pt x="0"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0" name="Freeform 98"/>
            <p:cNvSpPr>
              <a:spLocks/>
            </p:cNvSpPr>
            <p:nvPr/>
          </p:nvSpPr>
          <p:spPr bwMode="auto">
            <a:xfrm>
              <a:off x="3818" y="2679"/>
              <a:ext cx="17" cy="10"/>
            </a:xfrm>
            <a:custGeom>
              <a:avLst/>
              <a:gdLst>
                <a:gd name="T0" fmla="*/ 0 w 17"/>
                <a:gd name="T1" fmla="*/ 3 h 10"/>
                <a:gd name="T2" fmla="*/ 7 w 17"/>
                <a:gd name="T3" fmla="*/ 10 h 10"/>
                <a:gd name="T4" fmla="*/ 17 w 17"/>
                <a:gd name="T5" fmla="*/ 7 h 10"/>
                <a:gd name="T6" fmla="*/ 15 w 17"/>
                <a:gd name="T7" fmla="*/ 0 h 10"/>
                <a:gd name="T8" fmla="*/ 0 w 17"/>
                <a:gd name="T9" fmla="*/ 3 h 10"/>
              </a:gdLst>
              <a:ahLst/>
              <a:cxnLst>
                <a:cxn ang="0">
                  <a:pos x="T0" y="T1"/>
                </a:cxn>
                <a:cxn ang="0">
                  <a:pos x="T2" y="T3"/>
                </a:cxn>
                <a:cxn ang="0">
                  <a:pos x="T4" y="T5"/>
                </a:cxn>
                <a:cxn ang="0">
                  <a:pos x="T6" y="T7"/>
                </a:cxn>
                <a:cxn ang="0">
                  <a:pos x="T8" y="T9"/>
                </a:cxn>
              </a:cxnLst>
              <a:rect l="0" t="0" r="r" b="b"/>
              <a:pathLst>
                <a:path w="17" h="10">
                  <a:moveTo>
                    <a:pt x="0" y="3"/>
                  </a:moveTo>
                  <a:lnTo>
                    <a:pt x="7" y="10"/>
                  </a:lnTo>
                  <a:lnTo>
                    <a:pt x="17" y="7"/>
                  </a:lnTo>
                  <a:lnTo>
                    <a:pt x="15" y="0"/>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1" name="Freeform 99"/>
            <p:cNvSpPr>
              <a:spLocks/>
            </p:cNvSpPr>
            <p:nvPr/>
          </p:nvSpPr>
          <p:spPr bwMode="auto">
            <a:xfrm>
              <a:off x="3847" y="2656"/>
              <a:ext cx="7" cy="9"/>
            </a:xfrm>
            <a:custGeom>
              <a:avLst/>
              <a:gdLst>
                <a:gd name="T0" fmla="*/ 7 w 7"/>
                <a:gd name="T1" fmla="*/ 9 h 9"/>
                <a:gd name="T2" fmla="*/ 7 w 7"/>
                <a:gd name="T3" fmla="*/ 0 h 9"/>
                <a:gd name="T4" fmla="*/ 0 w 7"/>
                <a:gd name="T5" fmla="*/ 2 h 9"/>
                <a:gd name="T6" fmla="*/ 2 w 7"/>
                <a:gd name="T7" fmla="*/ 9 h 9"/>
                <a:gd name="T8" fmla="*/ 7 w 7"/>
                <a:gd name="T9" fmla="*/ 9 h 9"/>
              </a:gdLst>
              <a:ahLst/>
              <a:cxnLst>
                <a:cxn ang="0">
                  <a:pos x="T0" y="T1"/>
                </a:cxn>
                <a:cxn ang="0">
                  <a:pos x="T2" y="T3"/>
                </a:cxn>
                <a:cxn ang="0">
                  <a:pos x="T4" y="T5"/>
                </a:cxn>
                <a:cxn ang="0">
                  <a:pos x="T6" y="T7"/>
                </a:cxn>
                <a:cxn ang="0">
                  <a:pos x="T8" y="T9"/>
                </a:cxn>
              </a:cxnLst>
              <a:rect l="0" t="0" r="r" b="b"/>
              <a:pathLst>
                <a:path w="7" h="9">
                  <a:moveTo>
                    <a:pt x="7" y="9"/>
                  </a:moveTo>
                  <a:lnTo>
                    <a:pt x="7" y="0"/>
                  </a:lnTo>
                  <a:lnTo>
                    <a:pt x="0" y="2"/>
                  </a:lnTo>
                  <a:lnTo>
                    <a:pt x="2" y="9"/>
                  </a:lnTo>
                  <a:lnTo>
                    <a:pt x="7"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2" name="Freeform 100"/>
            <p:cNvSpPr>
              <a:spLocks/>
            </p:cNvSpPr>
            <p:nvPr/>
          </p:nvSpPr>
          <p:spPr bwMode="auto">
            <a:xfrm>
              <a:off x="3837" y="2630"/>
              <a:ext cx="26" cy="11"/>
            </a:xfrm>
            <a:custGeom>
              <a:avLst/>
              <a:gdLst>
                <a:gd name="T0" fmla="*/ 12 w 26"/>
                <a:gd name="T1" fmla="*/ 11 h 11"/>
                <a:gd name="T2" fmla="*/ 26 w 26"/>
                <a:gd name="T3" fmla="*/ 7 h 11"/>
                <a:gd name="T4" fmla="*/ 10 w 26"/>
                <a:gd name="T5" fmla="*/ 0 h 11"/>
                <a:gd name="T6" fmla="*/ 0 w 26"/>
                <a:gd name="T7" fmla="*/ 2 h 11"/>
                <a:gd name="T8" fmla="*/ 12 w 26"/>
                <a:gd name="T9" fmla="*/ 11 h 11"/>
              </a:gdLst>
              <a:ahLst/>
              <a:cxnLst>
                <a:cxn ang="0">
                  <a:pos x="T0" y="T1"/>
                </a:cxn>
                <a:cxn ang="0">
                  <a:pos x="T2" y="T3"/>
                </a:cxn>
                <a:cxn ang="0">
                  <a:pos x="T4" y="T5"/>
                </a:cxn>
                <a:cxn ang="0">
                  <a:pos x="T6" y="T7"/>
                </a:cxn>
                <a:cxn ang="0">
                  <a:pos x="T8" y="T9"/>
                </a:cxn>
              </a:cxnLst>
              <a:rect l="0" t="0" r="r" b="b"/>
              <a:pathLst>
                <a:path w="26" h="11">
                  <a:moveTo>
                    <a:pt x="12" y="11"/>
                  </a:moveTo>
                  <a:lnTo>
                    <a:pt x="26" y="7"/>
                  </a:lnTo>
                  <a:lnTo>
                    <a:pt x="10" y="0"/>
                  </a:lnTo>
                  <a:lnTo>
                    <a:pt x="0" y="2"/>
                  </a:lnTo>
                  <a:lnTo>
                    <a:pt x="12"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3" name="Freeform 101"/>
            <p:cNvSpPr>
              <a:spLocks/>
            </p:cNvSpPr>
            <p:nvPr/>
          </p:nvSpPr>
          <p:spPr bwMode="auto">
            <a:xfrm>
              <a:off x="3991" y="2672"/>
              <a:ext cx="38" cy="10"/>
            </a:xfrm>
            <a:custGeom>
              <a:avLst/>
              <a:gdLst>
                <a:gd name="T0" fmla="*/ 0 w 38"/>
                <a:gd name="T1" fmla="*/ 5 h 10"/>
                <a:gd name="T2" fmla="*/ 38 w 38"/>
                <a:gd name="T3" fmla="*/ 10 h 10"/>
                <a:gd name="T4" fmla="*/ 36 w 38"/>
                <a:gd name="T5" fmla="*/ 7 h 10"/>
                <a:gd name="T6" fmla="*/ 10 w 38"/>
                <a:gd name="T7" fmla="*/ 0 h 10"/>
                <a:gd name="T8" fmla="*/ 0 w 38"/>
                <a:gd name="T9" fmla="*/ 5 h 10"/>
              </a:gdLst>
              <a:ahLst/>
              <a:cxnLst>
                <a:cxn ang="0">
                  <a:pos x="T0" y="T1"/>
                </a:cxn>
                <a:cxn ang="0">
                  <a:pos x="T2" y="T3"/>
                </a:cxn>
                <a:cxn ang="0">
                  <a:pos x="T4" y="T5"/>
                </a:cxn>
                <a:cxn ang="0">
                  <a:pos x="T6" y="T7"/>
                </a:cxn>
                <a:cxn ang="0">
                  <a:pos x="T8" y="T9"/>
                </a:cxn>
              </a:cxnLst>
              <a:rect l="0" t="0" r="r" b="b"/>
              <a:pathLst>
                <a:path w="38" h="10">
                  <a:moveTo>
                    <a:pt x="0" y="5"/>
                  </a:moveTo>
                  <a:lnTo>
                    <a:pt x="38" y="10"/>
                  </a:lnTo>
                  <a:lnTo>
                    <a:pt x="36" y="7"/>
                  </a:lnTo>
                  <a:lnTo>
                    <a:pt x="10" y="0"/>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4" name="Freeform 102"/>
            <p:cNvSpPr>
              <a:spLocks/>
            </p:cNvSpPr>
            <p:nvPr/>
          </p:nvSpPr>
          <p:spPr bwMode="auto">
            <a:xfrm>
              <a:off x="3989" y="2651"/>
              <a:ext cx="23" cy="14"/>
            </a:xfrm>
            <a:custGeom>
              <a:avLst/>
              <a:gdLst>
                <a:gd name="T0" fmla="*/ 23 w 23"/>
                <a:gd name="T1" fmla="*/ 12 h 14"/>
                <a:gd name="T2" fmla="*/ 12 w 23"/>
                <a:gd name="T3" fmla="*/ 0 h 14"/>
                <a:gd name="T4" fmla="*/ 0 w 23"/>
                <a:gd name="T5" fmla="*/ 0 h 14"/>
                <a:gd name="T6" fmla="*/ 16 w 23"/>
                <a:gd name="T7" fmla="*/ 14 h 14"/>
                <a:gd name="T8" fmla="*/ 23 w 23"/>
                <a:gd name="T9" fmla="*/ 12 h 14"/>
              </a:gdLst>
              <a:ahLst/>
              <a:cxnLst>
                <a:cxn ang="0">
                  <a:pos x="T0" y="T1"/>
                </a:cxn>
                <a:cxn ang="0">
                  <a:pos x="T2" y="T3"/>
                </a:cxn>
                <a:cxn ang="0">
                  <a:pos x="T4" y="T5"/>
                </a:cxn>
                <a:cxn ang="0">
                  <a:pos x="T6" y="T7"/>
                </a:cxn>
                <a:cxn ang="0">
                  <a:pos x="T8" y="T9"/>
                </a:cxn>
              </a:cxnLst>
              <a:rect l="0" t="0" r="r" b="b"/>
              <a:pathLst>
                <a:path w="23" h="14">
                  <a:moveTo>
                    <a:pt x="23" y="12"/>
                  </a:moveTo>
                  <a:lnTo>
                    <a:pt x="12" y="0"/>
                  </a:lnTo>
                  <a:lnTo>
                    <a:pt x="0" y="0"/>
                  </a:lnTo>
                  <a:lnTo>
                    <a:pt x="16" y="14"/>
                  </a:lnTo>
                  <a:lnTo>
                    <a:pt x="2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5" name="Freeform 103"/>
            <p:cNvSpPr>
              <a:spLocks/>
            </p:cNvSpPr>
            <p:nvPr/>
          </p:nvSpPr>
          <p:spPr bwMode="auto">
            <a:xfrm>
              <a:off x="3766" y="2731"/>
              <a:ext cx="10" cy="10"/>
            </a:xfrm>
            <a:custGeom>
              <a:avLst/>
              <a:gdLst>
                <a:gd name="T0" fmla="*/ 0 w 10"/>
                <a:gd name="T1" fmla="*/ 10 h 10"/>
                <a:gd name="T2" fmla="*/ 10 w 10"/>
                <a:gd name="T3" fmla="*/ 0 h 10"/>
                <a:gd name="T4" fmla="*/ 0 w 10"/>
                <a:gd name="T5" fmla="*/ 5 h 10"/>
                <a:gd name="T6" fmla="*/ 0 w 10"/>
                <a:gd name="T7" fmla="*/ 10 h 10"/>
              </a:gdLst>
              <a:ahLst/>
              <a:cxnLst>
                <a:cxn ang="0">
                  <a:pos x="T0" y="T1"/>
                </a:cxn>
                <a:cxn ang="0">
                  <a:pos x="T2" y="T3"/>
                </a:cxn>
                <a:cxn ang="0">
                  <a:pos x="T4" y="T5"/>
                </a:cxn>
                <a:cxn ang="0">
                  <a:pos x="T6" y="T7"/>
                </a:cxn>
              </a:cxnLst>
              <a:rect l="0" t="0" r="r" b="b"/>
              <a:pathLst>
                <a:path w="10" h="10">
                  <a:moveTo>
                    <a:pt x="0" y="10"/>
                  </a:moveTo>
                  <a:lnTo>
                    <a:pt x="10" y="0"/>
                  </a:lnTo>
                  <a:lnTo>
                    <a:pt x="0" y="5"/>
                  </a:lnTo>
                  <a:lnTo>
                    <a:pt x="0"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6" name="Freeform 104"/>
            <p:cNvSpPr>
              <a:spLocks/>
            </p:cNvSpPr>
            <p:nvPr/>
          </p:nvSpPr>
          <p:spPr bwMode="auto">
            <a:xfrm>
              <a:off x="3414" y="2727"/>
              <a:ext cx="7" cy="21"/>
            </a:xfrm>
            <a:custGeom>
              <a:avLst/>
              <a:gdLst>
                <a:gd name="T0" fmla="*/ 4 w 7"/>
                <a:gd name="T1" fmla="*/ 0 h 21"/>
                <a:gd name="T2" fmla="*/ 0 w 7"/>
                <a:gd name="T3" fmla="*/ 7 h 21"/>
                <a:gd name="T4" fmla="*/ 2 w 7"/>
                <a:gd name="T5" fmla="*/ 21 h 21"/>
                <a:gd name="T6" fmla="*/ 7 w 7"/>
                <a:gd name="T7" fmla="*/ 16 h 21"/>
                <a:gd name="T8" fmla="*/ 4 w 7"/>
                <a:gd name="T9" fmla="*/ 0 h 21"/>
              </a:gdLst>
              <a:ahLst/>
              <a:cxnLst>
                <a:cxn ang="0">
                  <a:pos x="T0" y="T1"/>
                </a:cxn>
                <a:cxn ang="0">
                  <a:pos x="T2" y="T3"/>
                </a:cxn>
                <a:cxn ang="0">
                  <a:pos x="T4" y="T5"/>
                </a:cxn>
                <a:cxn ang="0">
                  <a:pos x="T6" y="T7"/>
                </a:cxn>
                <a:cxn ang="0">
                  <a:pos x="T8" y="T9"/>
                </a:cxn>
              </a:cxnLst>
              <a:rect l="0" t="0" r="r" b="b"/>
              <a:pathLst>
                <a:path w="7" h="21">
                  <a:moveTo>
                    <a:pt x="4" y="0"/>
                  </a:moveTo>
                  <a:lnTo>
                    <a:pt x="0" y="7"/>
                  </a:lnTo>
                  <a:lnTo>
                    <a:pt x="2" y="21"/>
                  </a:lnTo>
                  <a:lnTo>
                    <a:pt x="7" y="16"/>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7" name="Freeform 105"/>
            <p:cNvSpPr>
              <a:spLocks/>
            </p:cNvSpPr>
            <p:nvPr/>
          </p:nvSpPr>
          <p:spPr bwMode="auto">
            <a:xfrm>
              <a:off x="3201" y="2424"/>
              <a:ext cx="305" cy="326"/>
            </a:xfrm>
            <a:custGeom>
              <a:avLst/>
              <a:gdLst>
                <a:gd name="T0" fmla="*/ 28 w 305"/>
                <a:gd name="T1" fmla="*/ 241 h 326"/>
                <a:gd name="T2" fmla="*/ 64 w 305"/>
                <a:gd name="T3" fmla="*/ 293 h 326"/>
                <a:gd name="T4" fmla="*/ 87 w 305"/>
                <a:gd name="T5" fmla="*/ 307 h 326"/>
                <a:gd name="T6" fmla="*/ 120 w 305"/>
                <a:gd name="T7" fmla="*/ 293 h 326"/>
                <a:gd name="T8" fmla="*/ 142 w 305"/>
                <a:gd name="T9" fmla="*/ 307 h 326"/>
                <a:gd name="T10" fmla="*/ 165 w 305"/>
                <a:gd name="T11" fmla="*/ 310 h 326"/>
                <a:gd name="T12" fmla="*/ 175 w 305"/>
                <a:gd name="T13" fmla="*/ 326 h 326"/>
                <a:gd name="T14" fmla="*/ 227 w 305"/>
                <a:gd name="T15" fmla="*/ 270 h 326"/>
                <a:gd name="T16" fmla="*/ 241 w 305"/>
                <a:gd name="T17" fmla="*/ 239 h 326"/>
                <a:gd name="T18" fmla="*/ 255 w 305"/>
                <a:gd name="T19" fmla="*/ 194 h 326"/>
                <a:gd name="T20" fmla="*/ 269 w 305"/>
                <a:gd name="T21" fmla="*/ 172 h 326"/>
                <a:gd name="T22" fmla="*/ 295 w 305"/>
                <a:gd name="T23" fmla="*/ 177 h 326"/>
                <a:gd name="T24" fmla="*/ 269 w 305"/>
                <a:gd name="T25" fmla="*/ 137 h 326"/>
                <a:gd name="T26" fmla="*/ 262 w 305"/>
                <a:gd name="T27" fmla="*/ 94 h 326"/>
                <a:gd name="T28" fmla="*/ 255 w 305"/>
                <a:gd name="T29" fmla="*/ 80 h 326"/>
                <a:gd name="T30" fmla="*/ 269 w 305"/>
                <a:gd name="T31" fmla="*/ 80 h 326"/>
                <a:gd name="T32" fmla="*/ 274 w 305"/>
                <a:gd name="T33" fmla="*/ 59 h 326"/>
                <a:gd name="T34" fmla="*/ 305 w 305"/>
                <a:gd name="T35" fmla="*/ 49 h 326"/>
                <a:gd name="T36" fmla="*/ 269 w 305"/>
                <a:gd name="T37" fmla="*/ 35 h 326"/>
                <a:gd name="T38" fmla="*/ 258 w 305"/>
                <a:gd name="T39" fmla="*/ 28 h 326"/>
                <a:gd name="T40" fmla="*/ 246 w 305"/>
                <a:gd name="T41" fmla="*/ 7 h 326"/>
                <a:gd name="T42" fmla="*/ 229 w 305"/>
                <a:gd name="T43" fmla="*/ 9 h 326"/>
                <a:gd name="T44" fmla="*/ 201 w 305"/>
                <a:gd name="T45" fmla="*/ 40 h 326"/>
                <a:gd name="T46" fmla="*/ 194 w 305"/>
                <a:gd name="T47" fmla="*/ 52 h 326"/>
                <a:gd name="T48" fmla="*/ 177 w 305"/>
                <a:gd name="T49" fmla="*/ 52 h 326"/>
                <a:gd name="T50" fmla="*/ 142 w 305"/>
                <a:gd name="T51" fmla="*/ 83 h 326"/>
                <a:gd name="T52" fmla="*/ 78 w 305"/>
                <a:gd name="T53" fmla="*/ 120 h 326"/>
                <a:gd name="T54" fmla="*/ 66 w 305"/>
                <a:gd name="T55" fmla="*/ 137 h 326"/>
                <a:gd name="T56" fmla="*/ 30 w 305"/>
                <a:gd name="T57" fmla="*/ 151 h 326"/>
                <a:gd name="T58" fmla="*/ 19 w 305"/>
                <a:gd name="T59" fmla="*/ 144 h 326"/>
                <a:gd name="T60" fmla="*/ 4 w 305"/>
                <a:gd name="T61" fmla="*/ 158 h 326"/>
                <a:gd name="T62" fmla="*/ 7 w 305"/>
                <a:gd name="T63" fmla="*/ 217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5" h="326">
                  <a:moveTo>
                    <a:pt x="21" y="225"/>
                  </a:moveTo>
                  <a:lnTo>
                    <a:pt x="28" y="241"/>
                  </a:lnTo>
                  <a:lnTo>
                    <a:pt x="40" y="291"/>
                  </a:lnTo>
                  <a:lnTo>
                    <a:pt x="64" y="293"/>
                  </a:lnTo>
                  <a:lnTo>
                    <a:pt x="80" y="286"/>
                  </a:lnTo>
                  <a:lnTo>
                    <a:pt x="87" y="307"/>
                  </a:lnTo>
                  <a:lnTo>
                    <a:pt x="106" y="303"/>
                  </a:lnTo>
                  <a:lnTo>
                    <a:pt x="120" y="293"/>
                  </a:lnTo>
                  <a:lnTo>
                    <a:pt x="139" y="298"/>
                  </a:lnTo>
                  <a:lnTo>
                    <a:pt x="142" y="307"/>
                  </a:lnTo>
                  <a:lnTo>
                    <a:pt x="158" y="303"/>
                  </a:lnTo>
                  <a:lnTo>
                    <a:pt x="165" y="310"/>
                  </a:lnTo>
                  <a:lnTo>
                    <a:pt x="170" y="326"/>
                  </a:lnTo>
                  <a:lnTo>
                    <a:pt x="175" y="326"/>
                  </a:lnTo>
                  <a:lnTo>
                    <a:pt x="208" y="307"/>
                  </a:lnTo>
                  <a:lnTo>
                    <a:pt x="227" y="270"/>
                  </a:lnTo>
                  <a:lnTo>
                    <a:pt x="217" y="258"/>
                  </a:lnTo>
                  <a:lnTo>
                    <a:pt x="241" y="239"/>
                  </a:lnTo>
                  <a:lnTo>
                    <a:pt x="253" y="220"/>
                  </a:lnTo>
                  <a:lnTo>
                    <a:pt x="255" y="194"/>
                  </a:lnTo>
                  <a:lnTo>
                    <a:pt x="269" y="180"/>
                  </a:lnTo>
                  <a:lnTo>
                    <a:pt x="269" y="172"/>
                  </a:lnTo>
                  <a:lnTo>
                    <a:pt x="279" y="180"/>
                  </a:lnTo>
                  <a:lnTo>
                    <a:pt x="295" y="177"/>
                  </a:lnTo>
                  <a:lnTo>
                    <a:pt x="267" y="149"/>
                  </a:lnTo>
                  <a:lnTo>
                    <a:pt x="269" y="137"/>
                  </a:lnTo>
                  <a:lnTo>
                    <a:pt x="246" y="99"/>
                  </a:lnTo>
                  <a:lnTo>
                    <a:pt x="262" y="94"/>
                  </a:lnTo>
                  <a:lnTo>
                    <a:pt x="250" y="83"/>
                  </a:lnTo>
                  <a:lnTo>
                    <a:pt x="255" y="80"/>
                  </a:lnTo>
                  <a:lnTo>
                    <a:pt x="260" y="75"/>
                  </a:lnTo>
                  <a:lnTo>
                    <a:pt x="269" y="80"/>
                  </a:lnTo>
                  <a:lnTo>
                    <a:pt x="284" y="73"/>
                  </a:lnTo>
                  <a:lnTo>
                    <a:pt x="274" y="59"/>
                  </a:lnTo>
                  <a:lnTo>
                    <a:pt x="291" y="59"/>
                  </a:lnTo>
                  <a:lnTo>
                    <a:pt x="305" y="49"/>
                  </a:lnTo>
                  <a:lnTo>
                    <a:pt x="277" y="35"/>
                  </a:lnTo>
                  <a:lnTo>
                    <a:pt x="269" y="35"/>
                  </a:lnTo>
                  <a:lnTo>
                    <a:pt x="269" y="28"/>
                  </a:lnTo>
                  <a:lnTo>
                    <a:pt x="258" y="28"/>
                  </a:lnTo>
                  <a:lnTo>
                    <a:pt x="258" y="14"/>
                  </a:lnTo>
                  <a:lnTo>
                    <a:pt x="246" y="7"/>
                  </a:lnTo>
                  <a:lnTo>
                    <a:pt x="241" y="0"/>
                  </a:lnTo>
                  <a:lnTo>
                    <a:pt x="229" y="9"/>
                  </a:lnTo>
                  <a:lnTo>
                    <a:pt x="229" y="0"/>
                  </a:lnTo>
                  <a:lnTo>
                    <a:pt x="201" y="40"/>
                  </a:lnTo>
                  <a:lnTo>
                    <a:pt x="191" y="42"/>
                  </a:lnTo>
                  <a:lnTo>
                    <a:pt x="194" y="52"/>
                  </a:lnTo>
                  <a:lnTo>
                    <a:pt x="184" y="59"/>
                  </a:lnTo>
                  <a:lnTo>
                    <a:pt x="177" y="52"/>
                  </a:lnTo>
                  <a:lnTo>
                    <a:pt x="149" y="68"/>
                  </a:lnTo>
                  <a:lnTo>
                    <a:pt x="142" y="83"/>
                  </a:lnTo>
                  <a:lnTo>
                    <a:pt x="116" y="113"/>
                  </a:lnTo>
                  <a:lnTo>
                    <a:pt x="78" y="120"/>
                  </a:lnTo>
                  <a:lnTo>
                    <a:pt x="73" y="137"/>
                  </a:lnTo>
                  <a:lnTo>
                    <a:pt x="66" y="137"/>
                  </a:lnTo>
                  <a:lnTo>
                    <a:pt x="61" y="158"/>
                  </a:lnTo>
                  <a:lnTo>
                    <a:pt x="30" y="151"/>
                  </a:lnTo>
                  <a:lnTo>
                    <a:pt x="21" y="142"/>
                  </a:lnTo>
                  <a:lnTo>
                    <a:pt x="19" y="144"/>
                  </a:lnTo>
                  <a:lnTo>
                    <a:pt x="16" y="144"/>
                  </a:lnTo>
                  <a:lnTo>
                    <a:pt x="4" y="158"/>
                  </a:lnTo>
                  <a:lnTo>
                    <a:pt x="0" y="189"/>
                  </a:lnTo>
                  <a:lnTo>
                    <a:pt x="7" y="217"/>
                  </a:lnTo>
                  <a:lnTo>
                    <a:pt x="21" y="2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8" name="Freeform 106"/>
            <p:cNvSpPr>
              <a:spLocks/>
            </p:cNvSpPr>
            <p:nvPr/>
          </p:nvSpPr>
          <p:spPr bwMode="auto">
            <a:xfrm>
              <a:off x="3092" y="2802"/>
              <a:ext cx="274" cy="88"/>
            </a:xfrm>
            <a:custGeom>
              <a:avLst/>
              <a:gdLst>
                <a:gd name="T0" fmla="*/ 270 w 274"/>
                <a:gd name="T1" fmla="*/ 76 h 88"/>
                <a:gd name="T2" fmla="*/ 272 w 274"/>
                <a:gd name="T3" fmla="*/ 57 h 88"/>
                <a:gd name="T4" fmla="*/ 229 w 274"/>
                <a:gd name="T5" fmla="*/ 52 h 88"/>
                <a:gd name="T6" fmla="*/ 213 w 274"/>
                <a:gd name="T7" fmla="*/ 29 h 88"/>
                <a:gd name="T8" fmla="*/ 184 w 274"/>
                <a:gd name="T9" fmla="*/ 22 h 88"/>
                <a:gd name="T10" fmla="*/ 175 w 274"/>
                <a:gd name="T11" fmla="*/ 24 h 88"/>
                <a:gd name="T12" fmla="*/ 168 w 274"/>
                <a:gd name="T13" fmla="*/ 15 h 88"/>
                <a:gd name="T14" fmla="*/ 158 w 274"/>
                <a:gd name="T15" fmla="*/ 19 h 88"/>
                <a:gd name="T16" fmla="*/ 151 w 274"/>
                <a:gd name="T17" fmla="*/ 31 h 88"/>
                <a:gd name="T18" fmla="*/ 106 w 274"/>
                <a:gd name="T19" fmla="*/ 29 h 88"/>
                <a:gd name="T20" fmla="*/ 87 w 274"/>
                <a:gd name="T21" fmla="*/ 12 h 88"/>
                <a:gd name="T22" fmla="*/ 64 w 274"/>
                <a:gd name="T23" fmla="*/ 7 h 88"/>
                <a:gd name="T24" fmla="*/ 61 w 274"/>
                <a:gd name="T25" fmla="*/ 0 h 88"/>
                <a:gd name="T26" fmla="*/ 47 w 274"/>
                <a:gd name="T27" fmla="*/ 5 h 88"/>
                <a:gd name="T28" fmla="*/ 28 w 274"/>
                <a:gd name="T29" fmla="*/ 0 h 88"/>
                <a:gd name="T30" fmla="*/ 21 w 274"/>
                <a:gd name="T31" fmla="*/ 5 h 88"/>
                <a:gd name="T32" fmla="*/ 9 w 274"/>
                <a:gd name="T33" fmla="*/ 22 h 88"/>
                <a:gd name="T34" fmla="*/ 0 w 274"/>
                <a:gd name="T35" fmla="*/ 22 h 88"/>
                <a:gd name="T36" fmla="*/ 2 w 274"/>
                <a:gd name="T37" fmla="*/ 26 h 88"/>
                <a:gd name="T38" fmla="*/ 38 w 274"/>
                <a:gd name="T39" fmla="*/ 34 h 88"/>
                <a:gd name="T40" fmla="*/ 33 w 274"/>
                <a:gd name="T41" fmla="*/ 38 h 88"/>
                <a:gd name="T42" fmla="*/ 49 w 274"/>
                <a:gd name="T43" fmla="*/ 45 h 88"/>
                <a:gd name="T44" fmla="*/ 94 w 274"/>
                <a:gd name="T45" fmla="*/ 57 h 88"/>
                <a:gd name="T46" fmla="*/ 104 w 274"/>
                <a:gd name="T47" fmla="*/ 52 h 88"/>
                <a:gd name="T48" fmla="*/ 130 w 274"/>
                <a:gd name="T49" fmla="*/ 55 h 88"/>
                <a:gd name="T50" fmla="*/ 163 w 274"/>
                <a:gd name="T51" fmla="*/ 69 h 88"/>
                <a:gd name="T52" fmla="*/ 189 w 274"/>
                <a:gd name="T53" fmla="*/ 74 h 88"/>
                <a:gd name="T54" fmla="*/ 203 w 274"/>
                <a:gd name="T55" fmla="*/ 71 h 88"/>
                <a:gd name="T56" fmla="*/ 220 w 274"/>
                <a:gd name="T57" fmla="*/ 76 h 88"/>
                <a:gd name="T58" fmla="*/ 234 w 274"/>
                <a:gd name="T59" fmla="*/ 71 h 88"/>
                <a:gd name="T60" fmla="*/ 274 w 274"/>
                <a:gd name="T61" fmla="*/ 88 h 88"/>
                <a:gd name="T62" fmla="*/ 270 w 274"/>
                <a:gd name="T63" fmla="*/ 7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74" h="88">
                  <a:moveTo>
                    <a:pt x="270" y="76"/>
                  </a:moveTo>
                  <a:lnTo>
                    <a:pt x="272" y="57"/>
                  </a:lnTo>
                  <a:lnTo>
                    <a:pt x="229" y="52"/>
                  </a:lnTo>
                  <a:lnTo>
                    <a:pt x="213" y="29"/>
                  </a:lnTo>
                  <a:lnTo>
                    <a:pt x="184" y="22"/>
                  </a:lnTo>
                  <a:lnTo>
                    <a:pt x="175" y="24"/>
                  </a:lnTo>
                  <a:lnTo>
                    <a:pt x="168" y="15"/>
                  </a:lnTo>
                  <a:lnTo>
                    <a:pt x="158" y="19"/>
                  </a:lnTo>
                  <a:lnTo>
                    <a:pt x="151" y="31"/>
                  </a:lnTo>
                  <a:lnTo>
                    <a:pt x="106" y="29"/>
                  </a:lnTo>
                  <a:lnTo>
                    <a:pt x="87" y="12"/>
                  </a:lnTo>
                  <a:lnTo>
                    <a:pt x="64" y="7"/>
                  </a:lnTo>
                  <a:lnTo>
                    <a:pt x="61" y="0"/>
                  </a:lnTo>
                  <a:lnTo>
                    <a:pt x="47" y="5"/>
                  </a:lnTo>
                  <a:lnTo>
                    <a:pt x="28" y="0"/>
                  </a:lnTo>
                  <a:lnTo>
                    <a:pt x="21" y="5"/>
                  </a:lnTo>
                  <a:lnTo>
                    <a:pt x="9" y="22"/>
                  </a:lnTo>
                  <a:lnTo>
                    <a:pt x="0" y="22"/>
                  </a:lnTo>
                  <a:lnTo>
                    <a:pt x="2" y="26"/>
                  </a:lnTo>
                  <a:lnTo>
                    <a:pt x="38" y="34"/>
                  </a:lnTo>
                  <a:lnTo>
                    <a:pt x="33" y="38"/>
                  </a:lnTo>
                  <a:lnTo>
                    <a:pt x="49" y="45"/>
                  </a:lnTo>
                  <a:lnTo>
                    <a:pt x="94" y="57"/>
                  </a:lnTo>
                  <a:lnTo>
                    <a:pt x="104" y="52"/>
                  </a:lnTo>
                  <a:lnTo>
                    <a:pt x="130" y="55"/>
                  </a:lnTo>
                  <a:lnTo>
                    <a:pt x="163" y="69"/>
                  </a:lnTo>
                  <a:lnTo>
                    <a:pt x="189" y="74"/>
                  </a:lnTo>
                  <a:lnTo>
                    <a:pt x="203" y="71"/>
                  </a:lnTo>
                  <a:lnTo>
                    <a:pt x="220" y="76"/>
                  </a:lnTo>
                  <a:lnTo>
                    <a:pt x="234" y="71"/>
                  </a:lnTo>
                  <a:lnTo>
                    <a:pt x="274" y="88"/>
                  </a:lnTo>
                  <a:lnTo>
                    <a:pt x="270"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9" name="Freeform 107"/>
            <p:cNvSpPr>
              <a:spLocks/>
            </p:cNvSpPr>
            <p:nvPr/>
          </p:nvSpPr>
          <p:spPr bwMode="auto">
            <a:xfrm>
              <a:off x="3163" y="2703"/>
              <a:ext cx="16" cy="17"/>
            </a:xfrm>
            <a:custGeom>
              <a:avLst/>
              <a:gdLst>
                <a:gd name="T0" fmla="*/ 16 w 16"/>
                <a:gd name="T1" fmla="*/ 7 h 17"/>
                <a:gd name="T2" fmla="*/ 2 w 16"/>
                <a:gd name="T3" fmla="*/ 0 h 17"/>
                <a:gd name="T4" fmla="*/ 0 w 16"/>
                <a:gd name="T5" fmla="*/ 17 h 17"/>
                <a:gd name="T6" fmla="*/ 14 w 16"/>
                <a:gd name="T7" fmla="*/ 17 h 17"/>
                <a:gd name="T8" fmla="*/ 16 w 16"/>
                <a:gd name="T9" fmla="*/ 7 h 17"/>
              </a:gdLst>
              <a:ahLst/>
              <a:cxnLst>
                <a:cxn ang="0">
                  <a:pos x="T0" y="T1"/>
                </a:cxn>
                <a:cxn ang="0">
                  <a:pos x="T2" y="T3"/>
                </a:cxn>
                <a:cxn ang="0">
                  <a:pos x="T4" y="T5"/>
                </a:cxn>
                <a:cxn ang="0">
                  <a:pos x="T6" y="T7"/>
                </a:cxn>
                <a:cxn ang="0">
                  <a:pos x="T8" y="T9"/>
                </a:cxn>
              </a:cxnLst>
              <a:rect l="0" t="0" r="r" b="b"/>
              <a:pathLst>
                <a:path w="16" h="17">
                  <a:moveTo>
                    <a:pt x="16" y="7"/>
                  </a:moveTo>
                  <a:lnTo>
                    <a:pt x="2" y="0"/>
                  </a:lnTo>
                  <a:lnTo>
                    <a:pt x="0" y="17"/>
                  </a:lnTo>
                  <a:lnTo>
                    <a:pt x="14" y="17"/>
                  </a:lnTo>
                  <a:lnTo>
                    <a:pt x="16"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0" name="Freeform 108"/>
            <p:cNvSpPr>
              <a:spLocks/>
            </p:cNvSpPr>
            <p:nvPr/>
          </p:nvSpPr>
          <p:spPr bwMode="auto">
            <a:xfrm>
              <a:off x="3089" y="2672"/>
              <a:ext cx="45" cy="45"/>
            </a:xfrm>
            <a:custGeom>
              <a:avLst/>
              <a:gdLst>
                <a:gd name="T0" fmla="*/ 29 w 45"/>
                <a:gd name="T1" fmla="*/ 38 h 45"/>
                <a:gd name="T2" fmla="*/ 45 w 45"/>
                <a:gd name="T3" fmla="*/ 45 h 45"/>
                <a:gd name="T4" fmla="*/ 45 w 45"/>
                <a:gd name="T5" fmla="*/ 31 h 45"/>
                <a:gd name="T6" fmla="*/ 34 w 45"/>
                <a:gd name="T7" fmla="*/ 29 h 45"/>
                <a:gd name="T8" fmla="*/ 22 w 45"/>
                <a:gd name="T9" fmla="*/ 0 h 45"/>
                <a:gd name="T10" fmla="*/ 17 w 45"/>
                <a:gd name="T11" fmla="*/ 7 h 45"/>
                <a:gd name="T12" fmla="*/ 7 w 45"/>
                <a:gd name="T13" fmla="*/ 3 h 45"/>
                <a:gd name="T14" fmla="*/ 0 w 45"/>
                <a:gd name="T15" fmla="*/ 14 h 45"/>
                <a:gd name="T16" fmla="*/ 19 w 45"/>
                <a:gd name="T17" fmla="*/ 22 h 45"/>
                <a:gd name="T18" fmla="*/ 29 w 45"/>
                <a:gd name="T19" fmla="*/ 3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 h="45">
                  <a:moveTo>
                    <a:pt x="29" y="38"/>
                  </a:moveTo>
                  <a:lnTo>
                    <a:pt x="45" y="45"/>
                  </a:lnTo>
                  <a:lnTo>
                    <a:pt x="45" y="31"/>
                  </a:lnTo>
                  <a:lnTo>
                    <a:pt x="34" y="29"/>
                  </a:lnTo>
                  <a:lnTo>
                    <a:pt x="22" y="0"/>
                  </a:lnTo>
                  <a:lnTo>
                    <a:pt x="17" y="7"/>
                  </a:lnTo>
                  <a:lnTo>
                    <a:pt x="7" y="3"/>
                  </a:lnTo>
                  <a:lnTo>
                    <a:pt x="0" y="14"/>
                  </a:lnTo>
                  <a:lnTo>
                    <a:pt x="19" y="22"/>
                  </a:lnTo>
                  <a:lnTo>
                    <a:pt x="29"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1" name="Freeform 109"/>
            <p:cNvSpPr>
              <a:spLocks/>
            </p:cNvSpPr>
            <p:nvPr/>
          </p:nvSpPr>
          <p:spPr bwMode="auto">
            <a:xfrm>
              <a:off x="3063" y="2637"/>
              <a:ext cx="7" cy="7"/>
            </a:xfrm>
            <a:custGeom>
              <a:avLst/>
              <a:gdLst>
                <a:gd name="T0" fmla="*/ 7 w 7"/>
                <a:gd name="T1" fmla="*/ 7 h 7"/>
                <a:gd name="T2" fmla="*/ 5 w 7"/>
                <a:gd name="T3" fmla="*/ 0 h 7"/>
                <a:gd name="T4" fmla="*/ 0 w 7"/>
                <a:gd name="T5" fmla="*/ 7 h 7"/>
                <a:gd name="T6" fmla="*/ 3 w 7"/>
                <a:gd name="T7" fmla="*/ 7 h 7"/>
                <a:gd name="T8" fmla="*/ 7 w 7"/>
                <a:gd name="T9" fmla="*/ 7 h 7"/>
              </a:gdLst>
              <a:ahLst/>
              <a:cxnLst>
                <a:cxn ang="0">
                  <a:pos x="T0" y="T1"/>
                </a:cxn>
                <a:cxn ang="0">
                  <a:pos x="T2" y="T3"/>
                </a:cxn>
                <a:cxn ang="0">
                  <a:pos x="T4" y="T5"/>
                </a:cxn>
                <a:cxn ang="0">
                  <a:pos x="T6" y="T7"/>
                </a:cxn>
                <a:cxn ang="0">
                  <a:pos x="T8" y="T9"/>
                </a:cxn>
              </a:cxnLst>
              <a:rect l="0" t="0" r="r" b="b"/>
              <a:pathLst>
                <a:path w="7" h="7">
                  <a:moveTo>
                    <a:pt x="7" y="7"/>
                  </a:moveTo>
                  <a:lnTo>
                    <a:pt x="5" y="0"/>
                  </a:lnTo>
                  <a:lnTo>
                    <a:pt x="0" y="7"/>
                  </a:lnTo>
                  <a:lnTo>
                    <a:pt x="3" y="7"/>
                  </a:lnTo>
                  <a:lnTo>
                    <a:pt x="7"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2" name="Freeform 110"/>
            <p:cNvSpPr>
              <a:spLocks/>
            </p:cNvSpPr>
            <p:nvPr/>
          </p:nvSpPr>
          <p:spPr bwMode="auto">
            <a:xfrm>
              <a:off x="3063" y="2592"/>
              <a:ext cx="7" cy="9"/>
            </a:xfrm>
            <a:custGeom>
              <a:avLst/>
              <a:gdLst>
                <a:gd name="T0" fmla="*/ 7 w 7"/>
                <a:gd name="T1" fmla="*/ 2 h 9"/>
                <a:gd name="T2" fmla="*/ 0 w 7"/>
                <a:gd name="T3" fmla="*/ 0 h 9"/>
                <a:gd name="T4" fmla="*/ 7 w 7"/>
                <a:gd name="T5" fmla="*/ 9 h 9"/>
                <a:gd name="T6" fmla="*/ 7 w 7"/>
                <a:gd name="T7" fmla="*/ 2 h 9"/>
              </a:gdLst>
              <a:ahLst/>
              <a:cxnLst>
                <a:cxn ang="0">
                  <a:pos x="T0" y="T1"/>
                </a:cxn>
                <a:cxn ang="0">
                  <a:pos x="T2" y="T3"/>
                </a:cxn>
                <a:cxn ang="0">
                  <a:pos x="T4" y="T5"/>
                </a:cxn>
                <a:cxn ang="0">
                  <a:pos x="T6" y="T7"/>
                </a:cxn>
              </a:cxnLst>
              <a:rect l="0" t="0" r="r" b="b"/>
              <a:pathLst>
                <a:path w="7" h="9">
                  <a:moveTo>
                    <a:pt x="7" y="2"/>
                  </a:moveTo>
                  <a:lnTo>
                    <a:pt x="0" y="0"/>
                  </a:lnTo>
                  <a:lnTo>
                    <a:pt x="7" y="9"/>
                  </a:lnTo>
                  <a:lnTo>
                    <a:pt x="7"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3" name="Freeform 111"/>
            <p:cNvSpPr>
              <a:spLocks/>
            </p:cNvSpPr>
            <p:nvPr/>
          </p:nvSpPr>
          <p:spPr bwMode="auto">
            <a:xfrm>
              <a:off x="2997" y="2580"/>
              <a:ext cx="12" cy="7"/>
            </a:xfrm>
            <a:custGeom>
              <a:avLst/>
              <a:gdLst>
                <a:gd name="T0" fmla="*/ 12 w 12"/>
                <a:gd name="T1" fmla="*/ 2 h 7"/>
                <a:gd name="T2" fmla="*/ 0 w 12"/>
                <a:gd name="T3" fmla="*/ 0 h 7"/>
                <a:gd name="T4" fmla="*/ 12 w 12"/>
                <a:gd name="T5" fmla="*/ 7 h 7"/>
                <a:gd name="T6" fmla="*/ 12 w 12"/>
                <a:gd name="T7" fmla="*/ 2 h 7"/>
              </a:gdLst>
              <a:ahLst/>
              <a:cxnLst>
                <a:cxn ang="0">
                  <a:pos x="T0" y="T1"/>
                </a:cxn>
                <a:cxn ang="0">
                  <a:pos x="T2" y="T3"/>
                </a:cxn>
                <a:cxn ang="0">
                  <a:pos x="T4" y="T5"/>
                </a:cxn>
                <a:cxn ang="0">
                  <a:pos x="T6" y="T7"/>
                </a:cxn>
              </a:cxnLst>
              <a:rect l="0" t="0" r="r" b="b"/>
              <a:pathLst>
                <a:path w="12" h="7">
                  <a:moveTo>
                    <a:pt x="12" y="2"/>
                  </a:moveTo>
                  <a:lnTo>
                    <a:pt x="0" y="0"/>
                  </a:lnTo>
                  <a:lnTo>
                    <a:pt x="12" y="7"/>
                  </a:lnTo>
                  <a:lnTo>
                    <a:pt x="12"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4" name="Freeform 112"/>
            <p:cNvSpPr>
              <a:spLocks/>
            </p:cNvSpPr>
            <p:nvPr/>
          </p:nvSpPr>
          <p:spPr bwMode="auto">
            <a:xfrm>
              <a:off x="2978" y="2568"/>
              <a:ext cx="10" cy="7"/>
            </a:xfrm>
            <a:custGeom>
              <a:avLst/>
              <a:gdLst>
                <a:gd name="T0" fmla="*/ 10 w 10"/>
                <a:gd name="T1" fmla="*/ 0 h 7"/>
                <a:gd name="T2" fmla="*/ 0 w 10"/>
                <a:gd name="T3" fmla="*/ 0 h 7"/>
                <a:gd name="T4" fmla="*/ 10 w 10"/>
                <a:gd name="T5" fmla="*/ 7 h 7"/>
                <a:gd name="T6" fmla="*/ 10 w 10"/>
                <a:gd name="T7" fmla="*/ 0 h 7"/>
              </a:gdLst>
              <a:ahLst/>
              <a:cxnLst>
                <a:cxn ang="0">
                  <a:pos x="T0" y="T1"/>
                </a:cxn>
                <a:cxn ang="0">
                  <a:pos x="T2" y="T3"/>
                </a:cxn>
                <a:cxn ang="0">
                  <a:pos x="T4" y="T5"/>
                </a:cxn>
                <a:cxn ang="0">
                  <a:pos x="T6" y="T7"/>
                </a:cxn>
              </a:cxnLst>
              <a:rect l="0" t="0" r="r" b="b"/>
              <a:pathLst>
                <a:path w="10" h="7">
                  <a:moveTo>
                    <a:pt x="10" y="0"/>
                  </a:moveTo>
                  <a:lnTo>
                    <a:pt x="0" y="0"/>
                  </a:lnTo>
                  <a:lnTo>
                    <a:pt x="10" y="7"/>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5" name="Freeform 113"/>
            <p:cNvSpPr>
              <a:spLocks/>
            </p:cNvSpPr>
            <p:nvPr/>
          </p:nvSpPr>
          <p:spPr bwMode="auto">
            <a:xfrm>
              <a:off x="3594" y="2769"/>
              <a:ext cx="11" cy="19"/>
            </a:xfrm>
            <a:custGeom>
              <a:avLst/>
              <a:gdLst>
                <a:gd name="T0" fmla="*/ 11 w 11"/>
                <a:gd name="T1" fmla="*/ 0 h 19"/>
                <a:gd name="T2" fmla="*/ 2 w 11"/>
                <a:gd name="T3" fmla="*/ 0 h 19"/>
                <a:gd name="T4" fmla="*/ 0 w 11"/>
                <a:gd name="T5" fmla="*/ 17 h 19"/>
                <a:gd name="T6" fmla="*/ 11 w 11"/>
                <a:gd name="T7" fmla="*/ 19 h 19"/>
                <a:gd name="T8" fmla="*/ 11 w 11"/>
                <a:gd name="T9" fmla="*/ 0 h 19"/>
              </a:gdLst>
              <a:ahLst/>
              <a:cxnLst>
                <a:cxn ang="0">
                  <a:pos x="T0" y="T1"/>
                </a:cxn>
                <a:cxn ang="0">
                  <a:pos x="T2" y="T3"/>
                </a:cxn>
                <a:cxn ang="0">
                  <a:pos x="T4" y="T5"/>
                </a:cxn>
                <a:cxn ang="0">
                  <a:pos x="T6" y="T7"/>
                </a:cxn>
                <a:cxn ang="0">
                  <a:pos x="T8" y="T9"/>
                </a:cxn>
              </a:cxnLst>
              <a:rect l="0" t="0" r="r" b="b"/>
              <a:pathLst>
                <a:path w="11" h="19">
                  <a:moveTo>
                    <a:pt x="11" y="0"/>
                  </a:moveTo>
                  <a:lnTo>
                    <a:pt x="2" y="0"/>
                  </a:lnTo>
                  <a:lnTo>
                    <a:pt x="0" y="17"/>
                  </a:lnTo>
                  <a:lnTo>
                    <a:pt x="11" y="19"/>
                  </a:lnTo>
                  <a:lnTo>
                    <a:pt x="1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6" name="Freeform 114"/>
            <p:cNvSpPr>
              <a:spLocks/>
            </p:cNvSpPr>
            <p:nvPr/>
          </p:nvSpPr>
          <p:spPr bwMode="auto">
            <a:xfrm>
              <a:off x="1525" y="1288"/>
              <a:ext cx="38" cy="47"/>
            </a:xfrm>
            <a:custGeom>
              <a:avLst/>
              <a:gdLst>
                <a:gd name="T0" fmla="*/ 2 w 16"/>
                <a:gd name="T1" fmla="*/ 0 h 20"/>
                <a:gd name="T2" fmla="*/ 0 w 16"/>
                <a:gd name="T3" fmla="*/ 13 h 20"/>
                <a:gd name="T4" fmla="*/ 2 w 16"/>
                <a:gd name="T5" fmla="*/ 19 h 20"/>
                <a:gd name="T6" fmla="*/ 8 w 16"/>
                <a:gd name="T7" fmla="*/ 17 h 20"/>
                <a:gd name="T8" fmla="*/ 11 w 16"/>
                <a:gd name="T9" fmla="*/ 19 h 20"/>
                <a:gd name="T10" fmla="*/ 16 w 16"/>
                <a:gd name="T11" fmla="*/ 7 h 20"/>
                <a:gd name="T12" fmla="*/ 4 w 16"/>
                <a:gd name="T13" fmla="*/ 6 h 20"/>
                <a:gd name="T14" fmla="*/ 2 w 16"/>
                <a:gd name="T15" fmla="*/ 0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20">
                  <a:moveTo>
                    <a:pt x="2" y="0"/>
                  </a:moveTo>
                  <a:cubicBezTo>
                    <a:pt x="0" y="13"/>
                    <a:pt x="0" y="13"/>
                    <a:pt x="0" y="13"/>
                  </a:cubicBezTo>
                  <a:cubicBezTo>
                    <a:pt x="2" y="19"/>
                    <a:pt x="2" y="19"/>
                    <a:pt x="2" y="19"/>
                  </a:cubicBezTo>
                  <a:cubicBezTo>
                    <a:pt x="8" y="17"/>
                    <a:pt x="8" y="17"/>
                    <a:pt x="8" y="17"/>
                  </a:cubicBezTo>
                  <a:cubicBezTo>
                    <a:pt x="11" y="19"/>
                    <a:pt x="11" y="19"/>
                    <a:pt x="11" y="19"/>
                  </a:cubicBezTo>
                  <a:cubicBezTo>
                    <a:pt x="13" y="20"/>
                    <a:pt x="15" y="14"/>
                    <a:pt x="16" y="7"/>
                  </a:cubicBezTo>
                  <a:cubicBezTo>
                    <a:pt x="4" y="6"/>
                    <a:pt x="4" y="6"/>
                    <a:pt x="4" y="6"/>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7" name="Freeform 115"/>
            <p:cNvSpPr>
              <a:spLocks/>
            </p:cNvSpPr>
            <p:nvPr/>
          </p:nvSpPr>
          <p:spPr bwMode="auto">
            <a:xfrm>
              <a:off x="1447" y="1044"/>
              <a:ext cx="168" cy="241"/>
            </a:xfrm>
            <a:custGeom>
              <a:avLst/>
              <a:gdLst>
                <a:gd name="T0" fmla="*/ 49 w 71"/>
                <a:gd name="T1" fmla="*/ 19 h 102"/>
                <a:gd name="T2" fmla="*/ 58 w 71"/>
                <a:gd name="T3" fmla="*/ 26 h 102"/>
                <a:gd name="T4" fmla="*/ 59 w 71"/>
                <a:gd name="T5" fmla="*/ 30 h 102"/>
                <a:gd name="T6" fmla="*/ 57 w 71"/>
                <a:gd name="T7" fmla="*/ 30 h 102"/>
                <a:gd name="T8" fmla="*/ 58 w 71"/>
                <a:gd name="T9" fmla="*/ 35 h 102"/>
                <a:gd name="T10" fmla="*/ 27 w 71"/>
                <a:gd name="T11" fmla="*/ 29 h 102"/>
                <a:gd name="T12" fmla="*/ 23 w 71"/>
                <a:gd name="T13" fmla="*/ 33 h 102"/>
                <a:gd name="T14" fmla="*/ 16 w 71"/>
                <a:gd name="T15" fmla="*/ 33 h 102"/>
                <a:gd name="T16" fmla="*/ 14 w 71"/>
                <a:gd name="T17" fmla="*/ 36 h 102"/>
                <a:gd name="T18" fmla="*/ 18 w 71"/>
                <a:gd name="T19" fmla="*/ 44 h 102"/>
                <a:gd name="T20" fmla="*/ 0 w 71"/>
                <a:gd name="T21" fmla="*/ 44 h 102"/>
                <a:gd name="T22" fmla="*/ 12 w 71"/>
                <a:gd name="T23" fmla="*/ 54 h 102"/>
                <a:gd name="T24" fmla="*/ 16 w 71"/>
                <a:gd name="T25" fmla="*/ 68 h 102"/>
                <a:gd name="T26" fmla="*/ 32 w 71"/>
                <a:gd name="T27" fmla="*/ 75 h 102"/>
                <a:gd name="T28" fmla="*/ 30 w 71"/>
                <a:gd name="T29" fmla="*/ 90 h 102"/>
                <a:gd name="T30" fmla="*/ 34 w 71"/>
                <a:gd name="T31" fmla="*/ 102 h 102"/>
                <a:gd name="T32" fmla="*/ 33 w 71"/>
                <a:gd name="T33" fmla="*/ 93 h 102"/>
                <a:gd name="T34" fmla="*/ 42 w 71"/>
                <a:gd name="T35" fmla="*/ 87 h 102"/>
                <a:gd name="T36" fmla="*/ 46 w 71"/>
                <a:gd name="T37" fmla="*/ 88 h 102"/>
                <a:gd name="T38" fmla="*/ 50 w 71"/>
                <a:gd name="T39" fmla="*/ 95 h 102"/>
                <a:gd name="T40" fmla="*/ 34 w 71"/>
                <a:gd name="T41" fmla="*/ 53 h 102"/>
                <a:gd name="T42" fmla="*/ 66 w 71"/>
                <a:gd name="T43" fmla="*/ 47 h 102"/>
                <a:gd name="T44" fmla="*/ 66 w 71"/>
                <a:gd name="T45" fmla="*/ 7 h 102"/>
                <a:gd name="T46" fmla="*/ 36 w 71"/>
                <a:gd name="T47" fmla="*/ 0 h 102"/>
                <a:gd name="T48" fmla="*/ 39 w 71"/>
                <a:gd name="T49" fmla="*/ 3 h 102"/>
                <a:gd name="T50" fmla="*/ 49 w 71"/>
                <a:gd name="T51" fmla="*/ 19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1" h="102">
                  <a:moveTo>
                    <a:pt x="49" y="19"/>
                  </a:moveTo>
                  <a:cubicBezTo>
                    <a:pt x="58" y="26"/>
                    <a:pt x="58" y="26"/>
                    <a:pt x="58" y="26"/>
                  </a:cubicBezTo>
                  <a:cubicBezTo>
                    <a:pt x="59" y="30"/>
                    <a:pt x="59" y="30"/>
                    <a:pt x="59" y="30"/>
                  </a:cubicBezTo>
                  <a:cubicBezTo>
                    <a:pt x="57" y="30"/>
                    <a:pt x="57" y="30"/>
                    <a:pt x="57" y="30"/>
                  </a:cubicBezTo>
                  <a:cubicBezTo>
                    <a:pt x="58" y="35"/>
                    <a:pt x="58" y="35"/>
                    <a:pt x="58" y="35"/>
                  </a:cubicBezTo>
                  <a:cubicBezTo>
                    <a:pt x="27" y="29"/>
                    <a:pt x="27" y="29"/>
                    <a:pt x="27" y="29"/>
                  </a:cubicBezTo>
                  <a:cubicBezTo>
                    <a:pt x="23" y="33"/>
                    <a:pt x="23" y="33"/>
                    <a:pt x="23" y="33"/>
                  </a:cubicBezTo>
                  <a:cubicBezTo>
                    <a:pt x="16" y="33"/>
                    <a:pt x="16" y="33"/>
                    <a:pt x="16" y="33"/>
                  </a:cubicBezTo>
                  <a:cubicBezTo>
                    <a:pt x="14" y="36"/>
                    <a:pt x="14" y="36"/>
                    <a:pt x="14" y="36"/>
                  </a:cubicBezTo>
                  <a:cubicBezTo>
                    <a:pt x="18" y="44"/>
                    <a:pt x="18" y="44"/>
                    <a:pt x="18" y="44"/>
                  </a:cubicBezTo>
                  <a:cubicBezTo>
                    <a:pt x="0" y="44"/>
                    <a:pt x="0" y="44"/>
                    <a:pt x="0" y="44"/>
                  </a:cubicBezTo>
                  <a:cubicBezTo>
                    <a:pt x="12" y="54"/>
                    <a:pt x="12" y="54"/>
                    <a:pt x="12" y="54"/>
                  </a:cubicBezTo>
                  <a:cubicBezTo>
                    <a:pt x="16" y="68"/>
                    <a:pt x="16" y="68"/>
                    <a:pt x="16" y="68"/>
                  </a:cubicBezTo>
                  <a:cubicBezTo>
                    <a:pt x="32" y="75"/>
                    <a:pt x="32" y="75"/>
                    <a:pt x="32" y="75"/>
                  </a:cubicBezTo>
                  <a:cubicBezTo>
                    <a:pt x="30" y="90"/>
                    <a:pt x="30" y="90"/>
                    <a:pt x="30" y="90"/>
                  </a:cubicBezTo>
                  <a:cubicBezTo>
                    <a:pt x="34" y="102"/>
                    <a:pt x="34" y="102"/>
                    <a:pt x="34" y="102"/>
                  </a:cubicBezTo>
                  <a:cubicBezTo>
                    <a:pt x="33" y="93"/>
                    <a:pt x="33" y="93"/>
                    <a:pt x="33" y="93"/>
                  </a:cubicBezTo>
                  <a:cubicBezTo>
                    <a:pt x="42" y="87"/>
                    <a:pt x="42" y="87"/>
                    <a:pt x="42" y="87"/>
                  </a:cubicBezTo>
                  <a:cubicBezTo>
                    <a:pt x="46" y="88"/>
                    <a:pt x="46" y="88"/>
                    <a:pt x="46" y="88"/>
                  </a:cubicBezTo>
                  <a:cubicBezTo>
                    <a:pt x="50" y="95"/>
                    <a:pt x="50" y="95"/>
                    <a:pt x="50" y="95"/>
                  </a:cubicBezTo>
                  <a:cubicBezTo>
                    <a:pt x="50" y="95"/>
                    <a:pt x="36" y="66"/>
                    <a:pt x="34" y="53"/>
                  </a:cubicBezTo>
                  <a:cubicBezTo>
                    <a:pt x="31" y="39"/>
                    <a:pt x="66" y="47"/>
                    <a:pt x="66" y="47"/>
                  </a:cubicBezTo>
                  <a:cubicBezTo>
                    <a:pt x="66" y="47"/>
                    <a:pt x="71" y="15"/>
                    <a:pt x="66" y="7"/>
                  </a:cubicBezTo>
                  <a:cubicBezTo>
                    <a:pt x="62" y="3"/>
                    <a:pt x="48" y="1"/>
                    <a:pt x="36" y="0"/>
                  </a:cubicBezTo>
                  <a:cubicBezTo>
                    <a:pt x="39" y="3"/>
                    <a:pt x="39" y="3"/>
                    <a:pt x="39" y="3"/>
                  </a:cubicBezTo>
                  <a:lnTo>
                    <a:pt x="49"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8" name="Freeform 116"/>
            <p:cNvSpPr>
              <a:spLocks/>
            </p:cNvSpPr>
            <p:nvPr/>
          </p:nvSpPr>
          <p:spPr bwMode="auto">
            <a:xfrm>
              <a:off x="1544" y="1333"/>
              <a:ext cx="14" cy="14"/>
            </a:xfrm>
            <a:custGeom>
              <a:avLst/>
              <a:gdLst>
                <a:gd name="T0" fmla="*/ 6 w 6"/>
                <a:gd name="T1" fmla="*/ 6 h 6"/>
                <a:gd name="T2" fmla="*/ 3 w 6"/>
                <a:gd name="T3" fmla="*/ 0 h 6"/>
                <a:gd name="T4" fmla="*/ 0 w 6"/>
                <a:gd name="T5" fmla="*/ 2 h 6"/>
                <a:gd name="T6" fmla="*/ 6 w 6"/>
                <a:gd name="T7" fmla="*/ 6 h 6"/>
              </a:gdLst>
              <a:ahLst/>
              <a:cxnLst>
                <a:cxn ang="0">
                  <a:pos x="T0" y="T1"/>
                </a:cxn>
                <a:cxn ang="0">
                  <a:pos x="T2" y="T3"/>
                </a:cxn>
                <a:cxn ang="0">
                  <a:pos x="T4" y="T5"/>
                </a:cxn>
                <a:cxn ang="0">
                  <a:pos x="T6" y="T7"/>
                </a:cxn>
              </a:cxnLst>
              <a:rect l="0" t="0" r="r" b="b"/>
              <a:pathLst>
                <a:path w="6" h="6">
                  <a:moveTo>
                    <a:pt x="6" y="6"/>
                  </a:moveTo>
                  <a:cubicBezTo>
                    <a:pt x="4" y="2"/>
                    <a:pt x="3" y="0"/>
                    <a:pt x="3" y="0"/>
                  </a:cubicBezTo>
                  <a:cubicBezTo>
                    <a:pt x="0" y="2"/>
                    <a:pt x="0" y="2"/>
                    <a:pt x="0" y="2"/>
                  </a:cubicBezTo>
                  <a:lnTo>
                    <a:pt x="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9" name="Freeform 117"/>
            <p:cNvSpPr>
              <a:spLocks/>
            </p:cNvSpPr>
            <p:nvPr/>
          </p:nvSpPr>
          <p:spPr bwMode="auto">
            <a:xfrm>
              <a:off x="1300" y="526"/>
              <a:ext cx="2843" cy="2059"/>
            </a:xfrm>
            <a:custGeom>
              <a:avLst/>
              <a:gdLst>
                <a:gd name="T0" fmla="*/ 249 w 1201"/>
                <a:gd name="T1" fmla="*/ 560 h 870"/>
                <a:gd name="T2" fmla="*/ 298 w 1201"/>
                <a:gd name="T3" fmla="*/ 594 h 870"/>
                <a:gd name="T4" fmla="*/ 299 w 1201"/>
                <a:gd name="T5" fmla="*/ 604 h 870"/>
                <a:gd name="T6" fmla="*/ 342 w 1201"/>
                <a:gd name="T7" fmla="*/ 607 h 870"/>
                <a:gd name="T8" fmla="*/ 353 w 1201"/>
                <a:gd name="T9" fmla="*/ 678 h 870"/>
                <a:gd name="T10" fmla="*/ 375 w 1201"/>
                <a:gd name="T11" fmla="*/ 733 h 870"/>
                <a:gd name="T12" fmla="*/ 414 w 1201"/>
                <a:gd name="T13" fmla="*/ 774 h 870"/>
                <a:gd name="T14" fmla="*/ 441 w 1201"/>
                <a:gd name="T15" fmla="*/ 722 h 870"/>
                <a:gd name="T16" fmla="*/ 464 w 1201"/>
                <a:gd name="T17" fmla="*/ 678 h 870"/>
                <a:gd name="T18" fmla="*/ 525 w 1201"/>
                <a:gd name="T19" fmla="*/ 614 h 870"/>
                <a:gd name="T20" fmla="*/ 548 w 1201"/>
                <a:gd name="T21" fmla="*/ 611 h 870"/>
                <a:gd name="T22" fmla="*/ 570 w 1201"/>
                <a:gd name="T23" fmla="*/ 602 h 870"/>
                <a:gd name="T24" fmla="*/ 592 w 1201"/>
                <a:gd name="T25" fmla="*/ 620 h 870"/>
                <a:gd name="T26" fmla="*/ 612 w 1201"/>
                <a:gd name="T27" fmla="*/ 646 h 870"/>
                <a:gd name="T28" fmla="*/ 621 w 1201"/>
                <a:gd name="T29" fmla="*/ 687 h 870"/>
                <a:gd name="T30" fmla="*/ 662 w 1201"/>
                <a:gd name="T31" fmla="*/ 699 h 870"/>
                <a:gd name="T32" fmla="*/ 675 w 1201"/>
                <a:gd name="T33" fmla="*/ 740 h 870"/>
                <a:gd name="T34" fmla="*/ 693 w 1201"/>
                <a:gd name="T35" fmla="*/ 807 h 870"/>
                <a:gd name="T36" fmla="*/ 744 w 1201"/>
                <a:gd name="T37" fmla="*/ 865 h 870"/>
                <a:gd name="T38" fmla="*/ 710 w 1201"/>
                <a:gd name="T39" fmla="*/ 802 h 870"/>
                <a:gd name="T40" fmla="*/ 689 w 1201"/>
                <a:gd name="T41" fmla="*/ 735 h 870"/>
                <a:gd name="T42" fmla="*/ 723 w 1201"/>
                <a:gd name="T43" fmla="*/ 736 h 870"/>
                <a:gd name="T44" fmla="*/ 754 w 1201"/>
                <a:gd name="T45" fmla="*/ 761 h 870"/>
                <a:gd name="T46" fmla="*/ 771 w 1201"/>
                <a:gd name="T47" fmla="*/ 768 h 870"/>
                <a:gd name="T48" fmla="*/ 805 w 1201"/>
                <a:gd name="T49" fmla="*/ 741 h 870"/>
                <a:gd name="T50" fmla="*/ 786 w 1201"/>
                <a:gd name="T51" fmla="*/ 681 h 870"/>
                <a:gd name="T52" fmla="*/ 764 w 1201"/>
                <a:gd name="T53" fmla="*/ 634 h 870"/>
                <a:gd name="T54" fmla="*/ 797 w 1201"/>
                <a:gd name="T55" fmla="*/ 609 h 870"/>
                <a:gd name="T56" fmla="*/ 817 w 1201"/>
                <a:gd name="T57" fmla="*/ 620 h 870"/>
                <a:gd name="T58" fmla="*/ 865 w 1201"/>
                <a:gd name="T59" fmla="*/ 601 h 870"/>
                <a:gd name="T60" fmla="*/ 875 w 1201"/>
                <a:gd name="T61" fmla="*/ 595 h 870"/>
                <a:gd name="T62" fmla="*/ 909 w 1201"/>
                <a:gd name="T63" fmla="*/ 583 h 870"/>
                <a:gd name="T64" fmla="*/ 931 w 1201"/>
                <a:gd name="T65" fmla="*/ 558 h 870"/>
                <a:gd name="T66" fmla="*/ 954 w 1201"/>
                <a:gd name="T67" fmla="*/ 520 h 870"/>
                <a:gd name="T68" fmla="*/ 964 w 1201"/>
                <a:gd name="T69" fmla="*/ 500 h 870"/>
                <a:gd name="T70" fmla="*/ 956 w 1201"/>
                <a:gd name="T71" fmla="*/ 471 h 870"/>
                <a:gd name="T72" fmla="*/ 944 w 1201"/>
                <a:gd name="T73" fmla="*/ 430 h 870"/>
                <a:gd name="T74" fmla="*/ 953 w 1201"/>
                <a:gd name="T75" fmla="*/ 398 h 870"/>
                <a:gd name="T76" fmla="*/ 974 w 1201"/>
                <a:gd name="T77" fmla="*/ 384 h 870"/>
                <a:gd name="T78" fmla="*/ 917 w 1201"/>
                <a:gd name="T79" fmla="*/ 372 h 870"/>
                <a:gd name="T80" fmla="*/ 935 w 1201"/>
                <a:gd name="T81" fmla="*/ 345 h 870"/>
                <a:gd name="T82" fmla="*/ 963 w 1201"/>
                <a:gd name="T83" fmla="*/ 352 h 870"/>
                <a:gd name="T84" fmla="*/ 1000 w 1201"/>
                <a:gd name="T85" fmla="*/ 349 h 870"/>
                <a:gd name="T86" fmla="*/ 1007 w 1201"/>
                <a:gd name="T87" fmla="*/ 372 h 870"/>
                <a:gd name="T88" fmla="*/ 1028 w 1201"/>
                <a:gd name="T89" fmla="*/ 392 h 870"/>
                <a:gd name="T90" fmla="*/ 1020 w 1201"/>
                <a:gd name="T91" fmla="*/ 422 h 870"/>
                <a:gd name="T92" fmla="*/ 1033 w 1201"/>
                <a:gd name="T93" fmla="*/ 424 h 870"/>
                <a:gd name="T94" fmla="*/ 1046 w 1201"/>
                <a:gd name="T95" fmla="*/ 423 h 870"/>
                <a:gd name="T96" fmla="*/ 1047 w 1201"/>
                <a:gd name="T97" fmla="*/ 365 h 870"/>
                <a:gd name="T98" fmla="*/ 1076 w 1201"/>
                <a:gd name="T99" fmla="*/ 301 h 870"/>
                <a:gd name="T100" fmla="*/ 1097 w 1201"/>
                <a:gd name="T101" fmla="*/ 286 h 870"/>
                <a:gd name="T102" fmla="*/ 1175 w 1201"/>
                <a:gd name="T103" fmla="*/ 221 h 870"/>
                <a:gd name="T104" fmla="*/ 1149 w 1201"/>
                <a:gd name="T105" fmla="*/ 138 h 870"/>
                <a:gd name="T106" fmla="*/ 909 w 1201"/>
                <a:gd name="T107" fmla="*/ 42 h 870"/>
                <a:gd name="T108" fmla="*/ 744 w 1201"/>
                <a:gd name="T109" fmla="*/ 48 h 870"/>
                <a:gd name="T110" fmla="*/ 296 w 1201"/>
                <a:gd name="T111" fmla="*/ 8 h 870"/>
                <a:gd name="T112" fmla="*/ 85 w 1201"/>
                <a:gd name="T113" fmla="*/ 176 h 870"/>
                <a:gd name="T114" fmla="*/ 73 w 1201"/>
                <a:gd name="T115" fmla="*/ 215 h 870"/>
                <a:gd name="T116" fmla="*/ 96 w 1201"/>
                <a:gd name="T117" fmla="*/ 272 h 870"/>
                <a:gd name="T118" fmla="*/ 111 w 1201"/>
                <a:gd name="T119" fmla="*/ 329 h 870"/>
                <a:gd name="T120" fmla="*/ 146 w 1201"/>
                <a:gd name="T121" fmla="*/ 458 h 8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01" h="870">
                  <a:moveTo>
                    <a:pt x="208" y="564"/>
                  </a:moveTo>
                  <a:cubicBezTo>
                    <a:pt x="213" y="562"/>
                    <a:pt x="213" y="562"/>
                    <a:pt x="213" y="562"/>
                  </a:cubicBezTo>
                  <a:cubicBezTo>
                    <a:pt x="238" y="560"/>
                    <a:pt x="238" y="560"/>
                    <a:pt x="238" y="560"/>
                  </a:cubicBezTo>
                  <a:cubicBezTo>
                    <a:pt x="244" y="563"/>
                    <a:pt x="244" y="563"/>
                    <a:pt x="244" y="563"/>
                  </a:cubicBezTo>
                  <a:cubicBezTo>
                    <a:pt x="246" y="560"/>
                    <a:pt x="246" y="560"/>
                    <a:pt x="246" y="560"/>
                  </a:cubicBezTo>
                  <a:cubicBezTo>
                    <a:pt x="249" y="560"/>
                    <a:pt x="249" y="560"/>
                    <a:pt x="249" y="560"/>
                  </a:cubicBezTo>
                  <a:cubicBezTo>
                    <a:pt x="268" y="560"/>
                    <a:pt x="268" y="560"/>
                    <a:pt x="268" y="560"/>
                  </a:cubicBezTo>
                  <a:cubicBezTo>
                    <a:pt x="272" y="567"/>
                    <a:pt x="272" y="567"/>
                    <a:pt x="272" y="567"/>
                  </a:cubicBezTo>
                  <a:cubicBezTo>
                    <a:pt x="276" y="569"/>
                    <a:pt x="276" y="569"/>
                    <a:pt x="276" y="569"/>
                  </a:cubicBezTo>
                  <a:cubicBezTo>
                    <a:pt x="280" y="580"/>
                    <a:pt x="280" y="580"/>
                    <a:pt x="280" y="580"/>
                  </a:cubicBezTo>
                  <a:cubicBezTo>
                    <a:pt x="287" y="581"/>
                    <a:pt x="287" y="581"/>
                    <a:pt x="287" y="581"/>
                  </a:cubicBezTo>
                  <a:cubicBezTo>
                    <a:pt x="298" y="594"/>
                    <a:pt x="298" y="594"/>
                    <a:pt x="298" y="594"/>
                  </a:cubicBezTo>
                  <a:cubicBezTo>
                    <a:pt x="308" y="594"/>
                    <a:pt x="308" y="594"/>
                    <a:pt x="308" y="594"/>
                  </a:cubicBezTo>
                  <a:cubicBezTo>
                    <a:pt x="316" y="590"/>
                    <a:pt x="316" y="590"/>
                    <a:pt x="316" y="590"/>
                  </a:cubicBezTo>
                  <a:cubicBezTo>
                    <a:pt x="315" y="596"/>
                    <a:pt x="315" y="596"/>
                    <a:pt x="315" y="596"/>
                  </a:cubicBezTo>
                  <a:cubicBezTo>
                    <a:pt x="310" y="600"/>
                    <a:pt x="310" y="600"/>
                    <a:pt x="310" y="600"/>
                  </a:cubicBezTo>
                  <a:cubicBezTo>
                    <a:pt x="298" y="601"/>
                    <a:pt x="298" y="601"/>
                    <a:pt x="298" y="601"/>
                  </a:cubicBezTo>
                  <a:cubicBezTo>
                    <a:pt x="299" y="604"/>
                    <a:pt x="299" y="604"/>
                    <a:pt x="299" y="604"/>
                  </a:cubicBezTo>
                  <a:cubicBezTo>
                    <a:pt x="317" y="621"/>
                    <a:pt x="317" y="621"/>
                    <a:pt x="317" y="621"/>
                  </a:cubicBezTo>
                  <a:cubicBezTo>
                    <a:pt x="326" y="621"/>
                    <a:pt x="326" y="621"/>
                    <a:pt x="326" y="621"/>
                  </a:cubicBezTo>
                  <a:cubicBezTo>
                    <a:pt x="335" y="617"/>
                    <a:pt x="335" y="617"/>
                    <a:pt x="335" y="617"/>
                  </a:cubicBezTo>
                  <a:cubicBezTo>
                    <a:pt x="339" y="601"/>
                    <a:pt x="339" y="601"/>
                    <a:pt x="339" y="601"/>
                  </a:cubicBezTo>
                  <a:cubicBezTo>
                    <a:pt x="347" y="602"/>
                    <a:pt x="347" y="602"/>
                    <a:pt x="347" y="602"/>
                  </a:cubicBezTo>
                  <a:cubicBezTo>
                    <a:pt x="342" y="607"/>
                    <a:pt x="342" y="607"/>
                    <a:pt x="342" y="607"/>
                  </a:cubicBezTo>
                  <a:cubicBezTo>
                    <a:pt x="346" y="626"/>
                    <a:pt x="346" y="626"/>
                    <a:pt x="346" y="626"/>
                  </a:cubicBezTo>
                  <a:cubicBezTo>
                    <a:pt x="344" y="636"/>
                    <a:pt x="344" y="636"/>
                    <a:pt x="344" y="636"/>
                  </a:cubicBezTo>
                  <a:cubicBezTo>
                    <a:pt x="346" y="645"/>
                    <a:pt x="346" y="645"/>
                    <a:pt x="346" y="645"/>
                  </a:cubicBezTo>
                  <a:cubicBezTo>
                    <a:pt x="348" y="645"/>
                    <a:pt x="348" y="645"/>
                    <a:pt x="348" y="645"/>
                  </a:cubicBezTo>
                  <a:cubicBezTo>
                    <a:pt x="347" y="654"/>
                    <a:pt x="347" y="654"/>
                    <a:pt x="347" y="654"/>
                  </a:cubicBezTo>
                  <a:cubicBezTo>
                    <a:pt x="353" y="678"/>
                    <a:pt x="353" y="678"/>
                    <a:pt x="353" y="678"/>
                  </a:cubicBezTo>
                  <a:cubicBezTo>
                    <a:pt x="357" y="688"/>
                    <a:pt x="357" y="688"/>
                    <a:pt x="357" y="688"/>
                  </a:cubicBezTo>
                  <a:cubicBezTo>
                    <a:pt x="359" y="692"/>
                    <a:pt x="359" y="692"/>
                    <a:pt x="359" y="692"/>
                  </a:cubicBezTo>
                  <a:cubicBezTo>
                    <a:pt x="361" y="691"/>
                    <a:pt x="361" y="691"/>
                    <a:pt x="361" y="691"/>
                  </a:cubicBezTo>
                  <a:cubicBezTo>
                    <a:pt x="362" y="699"/>
                    <a:pt x="362" y="699"/>
                    <a:pt x="362" y="699"/>
                  </a:cubicBezTo>
                  <a:cubicBezTo>
                    <a:pt x="372" y="716"/>
                    <a:pt x="372" y="716"/>
                    <a:pt x="372" y="716"/>
                  </a:cubicBezTo>
                  <a:cubicBezTo>
                    <a:pt x="375" y="733"/>
                    <a:pt x="375" y="733"/>
                    <a:pt x="375" y="733"/>
                  </a:cubicBezTo>
                  <a:cubicBezTo>
                    <a:pt x="384" y="743"/>
                    <a:pt x="384" y="743"/>
                    <a:pt x="384" y="743"/>
                  </a:cubicBezTo>
                  <a:cubicBezTo>
                    <a:pt x="395" y="775"/>
                    <a:pt x="395" y="775"/>
                    <a:pt x="395" y="775"/>
                  </a:cubicBezTo>
                  <a:cubicBezTo>
                    <a:pt x="404" y="786"/>
                    <a:pt x="404" y="786"/>
                    <a:pt x="404" y="786"/>
                  </a:cubicBezTo>
                  <a:cubicBezTo>
                    <a:pt x="408" y="786"/>
                    <a:pt x="408" y="786"/>
                    <a:pt x="408" y="786"/>
                  </a:cubicBezTo>
                  <a:cubicBezTo>
                    <a:pt x="413" y="782"/>
                    <a:pt x="413" y="782"/>
                    <a:pt x="413" y="782"/>
                  </a:cubicBezTo>
                  <a:cubicBezTo>
                    <a:pt x="414" y="774"/>
                    <a:pt x="414" y="774"/>
                    <a:pt x="414" y="774"/>
                  </a:cubicBezTo>
                  <a:cubicBezTo>
                    <a:pt x="425" y="771"/>
                    <a:pt x="425" y="771"/>
                    <a:pt x="425" y="771"/>
                  </a:cubicBezTo>
                  <a:cubicBezTo>
                    <a:pt x="425" y="767"/>
                    <a:pt x="425" y="767"/>
                    <a:pt x="425" y="767"/>
                  </a:cubicBezTo>
                  <a:cubicBezTo>
                    <a:pt x="429" y="758"/>
                    <a:pt x="429" y="758"/>
                    <a:pt x="429" y="758"/>
                  </a:cubicBezTo>
                  <a:cubicBezTo>
                    <a:pt x="435" y="758"/>
                    <a:pt x="435" y="758"/>
                    <a:pt x="435" y="758"/>
                  </a:cubicBezTo>
                  <a:cubicBezTo>
                    <a:pt x="435" y="742"/>
                    <a:pt x="435" y="742"/>
                    <a:pt x="435" y="742"/>
                  </a:cubicBezTo>
                  <a:cubicBezTo>
                    <a:pt x="441" y="722"/>
                    <a:pt x="441" y="722"/>
                    <a:pt x="441" y="722"/>
                  </a:cubicBezTo>
                  <a:cubicBezTo>
                    <a:pt x="439" y="716"/>
                    <a:pt x="439" y="716"/>
                    <a:pt x="439" y="716"/>
                  </a:cubicBezTo>
                  <a:cubicBezTo>
                    <a:pt x="438" y="694"/>
                    <a:pt x="438" y="694"/>
                    <a:pt x="438" y="694"/>
                  </a:cubicBezTo>
                  <a:cubicBezTo>
                    <a:pt x="441" y="689"/>
                    <a:pt x="441" y="689"/>
                    <a:pt x="441" y="689"/>
                  </a:cubicBezTo>
                  <a:cubicBezTo>
                    <a:pt x="448" y="689"/>
                    <a:pt x="448" y="689"/>
                    <a:pt x="448" y="689"/>
                  </a:cubicBezTo>
                  <a:cubicBezTo>
                    <a:pt x="453" y="682"/>
                    <a:pt x="453" y="682"/>
                    <a:pt x="453" y="682"/>
                  </a:cubicBezTo>
                  <a:cubicBezTo>
                    <a:pt x="464" y="678"/>
                    <a:pt x="464" y="678"/>
                    <a:pt x="464" y="678"/>
                  </a:cubicBezTo>
                  <a:cubicBezTo>
                    <a:pt x="467" y="672"/>
                    <a:pt x="467" y="672"/>
                    <a:pt x="467" y="672"/>
                  </a:cubicBezTo>
                  <a:cubicBezTo>
                    <a:pt x="490" y="655"/>
                    <a:pt x="490" y="655"/>
                    <a:pt x="490" y="655"/>
                  </a:cubicBezTo>
                  <a:cubicBezTo>
                    <a:pt x="500" y="642"/>
                    <a:pt x="500" y="642"/>
                    <a:pt x="500" y="642"/>
                  </a:cubicBezTo>
                  <a:cubicBezTo>
                    <a:pt x="516" y="633"/>
                    <a:pt x="516" y="633"/>
                    <a:pt x="516" y="633"/>
                  </a:cubicBezTo>
                  <a:cubicBezTo>
                    <a:pt x="525" y="624"/>
                    <a:pt x="525" y="624"/>
                    <a:pt x="525" y="624"/>
                  </a:cubicBezTo>
                  <a:cubicBezTo>
                    <a:pt x="525" y="614"/>
                    <a:pt x="525" y="614"/>
                    <a:pt x="525" y="614"/>
                  </a:cubicBezTo>
                  <a:cubicBezTo>
                    <a:pt x="537" y="609"/>
                    <a:pt x="537" y="609"/>
                    <a:pt x="537" y="609"/>
                  </a:cubicBezTo>
                  <a:cubicBezTo>
                    <a:pt x="539" y="604"/>
                    <a:pt x="539" y="604"/>
                    <a:pt x="539" y="604"/>
                  </a:cubicBezTo>
                  <a:cubicBezTo>
                    <a:pt x="541" y="613"/>
                    <a:pt x="541" y="613"/>
                    <a:pt x="541" y="613"/>
                  </a:cubicBezTo>
                  <a:cubicBezTo>
                    <a:pt x="546" y="611"/>
                    <a:pt x="546" y="611"/>
                    <a:pt x="546" y="611"/>
                  </a:cubicBezTo>
                  <a:cubicBezTo>
                    <a:pt x="546" y="608"/>
                    <a:pt x="546" y="608"/>
                    <a:pt x="546" y="608"/>
                  </a:cubicBezTo>
                  <a:cubicBezTo>
                    <a:pt x="548" y="611"/>
                    <a:pt x="548" y="611"/>
                    <a:pt x="548" y="611"/>
                  </a:cubicBezTo>
                  <a:cubicBezTo>
                    <a:pt x="550" y="611"/>
                    <a:pt x="550" y="611"/>
                    <a:pt x="550" y="611"/>
                  </a:cubicBezTo>
                  <a:cubicBezTo>
                    <a:pt x="558" y="608"/>
                    <a:pt x="558" y="608"/>
                    <a:pt x="558" y="608"/>
                  </a:cubicBezTo>
                  <a:cubicBezTo>
                    <a:pt x="559" y="609"/>
                    <a:pt x="559" y="609"/>
                    <a:pt x="559" y="609"/>
                  </a:cubicBezTo>
                  <a:cubicBezTo>
                    <a:pt x="563" y="605"/>
                    <a:pt x="563" y="605"/>
                    <a:pt x="563" y="605"/>
                  </a:cubicBezTo>
                  <a:cubicBezTo>
                    <a:pt x="566" y="608"/>
                    <a:pt x="566" y="608"/>
                    <a:pt x="566" y="608"/>
                  </a:cubicBezTo>
                  <a:cubicBezTo>
                    <a:pt x="570" y="602"/>
                    <a:pt x="570" y="602"/>
                    <a:pt x="570" y="602"/>
                  </a:cubicBezTo>
                  <a:cubicBezTo>
                    <a:pt x="570" y="597"/>
                    <a:pt x="570" y="597"/>
                    <a:pt x="570" y="597"/>
                  </a:cubicBezTo>
                  <a:cubicBezTo>
                    <a:pt x="573" y="594"/>
                    <a:pt x="573" y="594"/>
                    <a:pt x="573" y="594"/>
                  </a:cubicBezTo>
                  <a:cubicBezTo>
                    <a:pt x="576" y="596"/>
                    <a:pt x="576" y="596"/>
                    <a:pt x="576" y="596"/>
                  </a:cubicBezTo>
                  <a:cubicBezTo>
                    <a:pt x="584" y="596"/>
                    <a:pt x="584" y="596"/>
                    <a:pt x="584" y="596"/>
                  </a:cubicBezTo>
                  <a:cubicBezTo>
                    <a:pt x="587" y="602"/>
                    <a:pt x="587" y="602"/>
                    <a:pt x="587" y="602"/>
                  </a:cubicBezTo>
                  <a:cubicBezTo>
                    <a:pt x="592" y="620"/>
                    <a:pt x="592" y="620"/>
                    <a:pt x="592" y="620"/>
                  </a:cubicBezTo>
                  <a:cubicBezTo>
                    <a:pt x="601" y="632"/>
                    <a:pt x="601" y="632"/>
                    <a:pt x="601" y="632"/>
                  </a:cubicBezTo>
                  <a:cubicBezTo>
                    <a:pt x="610" y="636"/>
                    <a:pt x="610" y="636"/>
                    <a:pt x="610" y="636"/>
                  </a:cubicBezTo>
                  <a:cubicBezTo>
                    <a:pt x="611" y="642"/>
                    <a:pt x="611" y="642"/>
                    <a:pt x="611" y="642"/>
                  </a:cubicBezTo>
                  <a:cubicBezTo>
                    <a:pt x="609" y="640"/>
                    <a:pt x="609" y="640"/>
                    <a:pt x="609" y="640"/>
                  </a:cubicBezTo>
                  <a:cubicBezTo>
                    <a:pt x="608" y="643"/>
                    <a:pt x="608" y="643"/>
                    <a:pt x="608" y="643"/>
                  </a:cubicBezTo>
                  <a:cubicBezTo>
                    <a:pt x="612" y="646"/>
                    <a:pt x="612" y="646"/>
                    <a:pt x="612" y="646"/>
                  </a:cubicBezTo>
                  <a:cubicBezTo>
                    <a:pt x="613" y="645"/>
                    <a:pt x="613" y="645"/>
                    <a:pt x="613" y="645"/>
                  </a:cubicBezTo>
                  <a:cubicBezTo>
                    <a:pt x="618" y="655"/>
                    <a:pt x="618" y="655"/>
                    <a:pt x="618" y="655"/>
                  </a:cubicBezTo>
                  <a:cubicBezTo>
                    <a:pt x="621" y="670"/>
                    <a:pt x="621" y="670"/>
                    <a:pt x="621" y="670"/>
                  </a:cubicBezTo>
                  <a:cubicBezTo>
                    <a:pt x="617" y="685"/>
                    <a:pt x="617" y="685"/>
                    <a:pt x="617" y="685"/>
                  </a:cubicBezTo>
                  <a:cubicBezTo>
                    <a:pt x="621" y="684"/>
                    <a:pt x="621" y="684"/>
                    <a:pt x="621" y="684"/>
                  </a:cubicBezTo>
                  <a:cubicBezTo>
                    <a:pt x="621" y="687"/>
                    <a:pt x="621" y="687"/>
                    <a:pt x="621" y="687"/>
                  </a:cubicBezTo>
                  <a:cubicBezTo>
                    <a:pt x="631" y="688"/>
                    <a:pt x="631" y="688"/>
                    <a:pt x="631" y="688"/>
                  </a:cubicBezTo>
                  <a:cubicBezTo>
                    <a:pt x="648" y="676"/>
                    <a:pt x="648" y="676"/>
                    <a:pt x="648" y="676"/>
                  </a:cubicBezTo>
                  <a:cubicBezTo>
                    <a:pt x="648" y="666"/>
                    <a:pt x="648" y="666"/>
                    <a:pt x="648" y="666"/>
                  </a:cubicBezTo>
                  <a:cubicBezTo>
                    <a:pt x="650" y="674"/>
                    <a:pt x="650" y="674"/>
                    <a:pt x="650" y="674"/>
                  </a:cubicBezTo>
                  <a:cubicBezTo>
                    <a:pt x="661" y="678"/>
                    <a:pt x="661" y="678"/>
                    <a:pt x="661" y="678"/>
                  </a:cubicBezTo>
                  <a:cubicBezTo>
                    <a:pt x="662" y="699"/>
                    <a:pt x="662" y="699"/>
                    <a:pt x="662" y="699"/>
                  </a:cubicBezTo>
                  <a:cubicBezTo>
                    <a:pt x="668" y="716"/>
                    <a:pt x="668" y="716"/>
                    <a:pt x="668" y="716"/>
                  </a:cubicBezTo>
                  <a:cubicBezTo>
                    <a:pt x="669" y="715"/>
                    <a:pt x="669" y="715"/>
                    <a:pt x="669" y="715"/>
                  </a:cubicBezTo>
                  <a:cubicBezTo>
                    <a:pt x="672" y="725"/>
                    <a:pt x="672" y="725"/>
                    <a:pt x="672" y="725"/>
                  </a:cubicBezTo>
                  <a:cubicBezTo>
                    <a:pt x="673" y="736"/>
                    <a:pt x="673" y="736"/>
                    <a:pt x="673" y="736"/>
                  </a:cubicBezTo>
                  <a:cubicBezTo>
                    <a:pt x="671" y="738"/>
                    <a:pt x="671" y="738"/>
                    <a:pt x="671" y="738"/>
                  </a:cubicBezTo>
                  <a:cubicBezTo>
                    <a:pt x="675" y="740"/>
                    <a:pt x="675" y="740"/>
                    <a:pt x="675" y="740"/>
                  </a:cubicBezTo>
                  <a:cubicBezTo>
                    <a:pt x="671" y="758"/>
                    <a:pt x="671" y="758"/>
                    <a:pt x="671" y="758"/>
                  </a:cubicBezTo>
                  <a:cubicBezTo>
                    <a:pt x="674" y="760"/>
                    <a:pt x="674" y="760"/>
                    <a:pt x="674" y="760"/>
                  </a:cubicBezTo>
                  <a:cubicBezTo>
                    <a:pt x="669" y="775"/>
                    <a:pt x="669" y="775"/>
                    <a:pt x="669" y="775"/>
                  </a:cubicBezTo>
                  <a:cubicBezTo>
                    <a:pt x="669" y="785"/>
                    <a:pt x="669" y="785"/>
                    <a:pt x="669" y="785"/>
                  </a:cubicBezTo>
                  <a:cubicBezTo>
                    <a:pt x="674" y="784"/>
                    <a:pt x="674" y="784"/>
                    <a:pt x="674" y="784"/>
                  </a:cubicBezTo>
                  <a:cubicBezTo>
                    <a:pt x="693" y="807"/>
                    <a:pt x="693" y="807"/>
                    <a:pt x="693" y="807"/>
                  </a:cubicBezTo>
                  <a:cubicBezTo>
                    <a:pt x="697" y="833"/>
                    <a:pt x="697" y="833"/>
                    <a:pt x="697" y="833"/>
                  </a:cubicBezTo>
                  <a:cubicBezTo>
                    <a:pt x="707" y="852"/>
                    <a:pt x="707" y="852"/>
                    <a:pt x="707" y="852"/>
                  </a:cubicBezTo>
                  <a:cubicBezTo>
                    <a:pt x="733" y="870"/>
                    <a:pt x="733" y="870"/>
                    <a:pt x="733" y="870"/>
                  </a:cubicBezTo>
                  <a:cubicBezTo>
                    <a:pt x="738" y="868"/>
                    <a:pt x="738" y="868"/>
                    <a:pt x="738" y="868"/>
                  </a:cubicBezTo>
                  <a:cubicBezTo>
                    <a:pt x="742" y="870"/>
                    <a:pt x="742" y="870"/>
                    <a:pt x="742" y="870"/>
                  </a:cubicBezTo>
                  <a:cubicBezTo>
                    <a:pt x="744" y="865"/>
                    <a:pt x="744" y="865"/>
                    <a:pt x="744" y="865"/>
                  </a:cubicBezTo>
                  <a:cubicBezTo>
                    <a:pt x="733" y="847"/>
                    <a:pt x="733" y="847"/>
                    <a:pt x="733" y="847"/>
                  </a:cubicBezTo>
                  <a:cubicBezTo>
                    <a:pt x="733" y="825"/>
                    <a:pt x="733" y="825"/>
                    <a:pt x="733" y="825"/>
                  </a:cubicBezTo>
                  <a:cubicBezTo>
                    <a:pt x="728" y="817"/>
                    <a:pt x="728" y="817"/>
                    <a:pt x="728" y="817"/>
                  </a:cubicBezTo>
                  <a:cubicBezTo>
                    <a:pt x="720" y="810"/>
                    <a:pt x="720" y="810"/>
                    <a:pt x="720" y="810"/>
                  </a:cubicBezTo>
                  <a:cubicBezTo>
                    <a:pt x="718" y="810"/>
                    <a:pt x="718" y="810"/>
                    <a:pt x="718" y="810"/>
                  </a:cubicBezTo>
                  <a:cubicBezTo>
                    <a:pt x="710" y="802"/>
                    <a:pt x="710" y="802"/>
                    <a:pt x="710" y="802"/>
                  </a:cubicBezTo>
                  <a:cubicBezTo>
                    <a:pt x="701" y="801"/>
                    <a:pt x="701" y="801"/>
                    <a:pt x="701" y="801"/>
                  </a:cubicBezTo>
                  <a:cubicBezTo>
                    <a:pt x="697" y="796"/>
                    <a:pt x="697" y="796"/>
                    <a:pt x="697" y="796"/>
                  </a:cubicBezTo>
                  <a:cubicBezTo>
                    <a:pt x="688" y="772"/>
                    <a:pt x="688" y="772"/>
                    <a:pt x="688" y="772"/>
                  </a:cubicBezTo>
                  <a:cubicBezTo>
                    <a:pt x="681" y="772"/>
                    <a:pt x="681" y="772"/>
                    <a:pt x="681" y="772"/>
                  </a:cubicBezTo>
                  <a:cubicBezTo>
                    <a:pt x="680" y="759"/>
                    <a:pt x="680" y="759"/>
                    <a:pt x="680" y="759"/>
                  </a:cubicBezTo>
                  <a:cubicBezTo>
                    <a:pt x="689" y="735"/>
                    <a:pt x="689" y="735"/>
                    <a:pt x="689" y="735"/>
                  </a:cubicBezTo>
                  <a:cubicBezTo>
                    <a:pt x="690" y="719"/>
                    <a:pt x="690" y="719"/>
                    <a:pt x="690" y="719"/>
                  </a:cubicBezTo>
                  <a:cubicBezTo>
                    <a:pt x="692" y="717"/>
                    <a:pt x="692" y="717"/>
                    <a:pt x="692" y="717"/>
                  </a:cubicBezTo>
                  <a:cubicBezTo>
                    <a:pt x="701" y="718"/>
                    <a:pt x="701" y="718"/>
                    <a:pt x="701" y="718"/>
                  </a:cubicBezTo>
                  <a:cubicBezTo>
                    <a:pt x="701" y="729"/>
                    <a:pt x="701" y="729"/>
                    <a:pt x="701" y="729"/>
                  </a:cubicBezTo>
                  <a:cubicBezTo>
                    <a:pt x="713" y="729"/>
                    <a:pt x="713" y="729"/>
                    <a:pt x="713" y="729"/>
                  </a:cubicBezTo>
                  <a:cubicBezTo>
                    <a:pt x="723" y="736"/>
                    <a:pt x="723" y="736"/>
                    <a:pt x="723" y="736"/>
                  </a:cubicBezTo>
                  <a:cubicBezTo>
                    <a:pt x="726" y="742"/>
                    <a:pt x="726" y="742"/>
                    <a:pt x="726" y="742"/>
                  </a:cubicBezTo>
                  <a:cubicBezTo>
                    <a:pt x="729" y="751"/>
                    <a:pt x="729" y="751"/>
                    <a:pt x="729" y="751"/>
                  </a:cubicBezTo>
                  <a:cubicBezTo>
                    <a:pt x="735" y="749"/>
                    <a:pt x="735" y="749"/>
                    <a:pt x="735" y="749"/>
                  </a:cubicBezTo>
                  <a:cubicBezTo>
                    <a:pt x="735" y="755"/>
                    <a:pt x="735" y="755"/>
                    <a:pt x="735" y="755"/>
                  </a:cubicBezTo>
                  <a:cubicBezTo>
                    <a:pt x="746" y="756"/>
                    <a:pt x="746" y="756"/>
                    <a:pt x="746" y="756"/>
                  </a:cubicBezTo>
                  <a:cubicBezTo>
                    <a:pt x="754" y="761"/>
                    <a:pt x="754" y="761"/>
                    <a:pt x="754" y="761"/>
                  </a:cubicBezTo>
                  <a:cubicBezTo>
                    <a:pt x="750" y="770"/>
                    <a:pt x="750" y="770"/>
                    <a:pt x="750" y="770"/>
                  </a:cubicBezTo>
                  <a:cubicBezTo>
                    <a:pt x="751" y="779"/>
                    <a:pt x="751" y="779"/>
                    <a:pt x="751" y="779"/>
                  </a:cubicBezTo>
                  <a:cubicBezTo>
                    <a:pt x="754" y="780"/>
                    <a:pt x="754" y="780"/>
                    <a:pt x="754" y="780"/>
                  </a:cubicBezTo>
                  <a:cubicBezTo>
                    <a:pt x="767" y="770"/>
                    <a:pt x="767" y="770"/>
                    <a:pt x="767" y="770"/>
                  </a:cubicBezTo>
                  <a:cubicBezTo>
                    <a:pt x="765" y="763"/>
                    <a:pt x="765" y="763"/>
                    <a:pt x="765" y="763"/>
                  </a:cubicBezTo>
                  <a:cubicBezTo>
                    <a:pt x="771" y="768"/>
                    <a:pt x="771" y="768"/>
                    <a:pt x="771" y="768"/>
                  </a:cubicBezTo>
                  <a:cubicBezTo>
                    <a:pt x="770" y="763"/>
                    <a:pt x="770" y="763"/>
                    <a:pt x="770" y="763"/>
                  </a:cubicBezTo>
                  <a:cubicBezTo>
                    <a:pt x="775" y="757"/>
                    <a:pt x="775" y="757"/>
                    <a:pt x="775" y="757"/>
                  </a:cubicBezTo>
                  <a:cubicBezTo>
                    <a:pt x="782" y="757"/>
                    <a:pt x="782" y="757"/>
                    <a:pt x="782" y="757"/>
                  </a:cubicBezTo>
                  <a:cubicBezTo>
                    <a:pt x="790" y="753"/>
                    <a:pt x="790" y="753"/>
                    <a:pt x="790" y="753"/>
                  </a:cubicBezTo>
                  <a:cubicBezTo>
                    <a:pt x="803" y="745"/>
                    <a:pt x="803" y="745"/>
                    <a:pt x="803" y="745"/>
                  </a:cubicBezTo>
                  <a:cubicBezTo>
                    <a:pt x="805" y="741"/>
                    <a:pt x="805" y="741"/>
                    <a:pt x="805" y="741"/>
                  </a:cubicBezTo>
                  <a:cubicBezTo>
                    <a:pt x="805" y="731"/>
                    <a:pt x="805" y="731"/>
                    <a:pt x="805" y="731"/>
                  </a:cubicBezTo>
                  <a:cubicBezTo>
                    <a:pt x="807" y="726"/>
                    <a:pt x="807" y="726"/>
                    <a:pt x="807" y="726"/>
                  </a:cubicBezTo>
                  <a:cubicBezTo>
                    <a:pt x="801" y="694"/>
                    <a:pt x="801" y="694"/>
                    <a:pt x="801" y="694"/>
                  </a:cubicBezTo>
                  <a:cubicBezTo>
                    <a:pt x="795" y="689"/>
                    <a:pt x="795" y="689"/>
                    <a:pt x="795" y="689"/>
                  </a:cubicBezTo>
                  <a:cubicBezTo>
                    <a:pt x="793" y="684"/>
                    <a:pt x="793" y="684"/>
                    <a:pt x="793" y="684"/>
                  </a:cubicBezTo>
                  <a:cubicBezTo>
                    <a:pt x="786" y="681"/>
                    <a:pt x="786" y="681"/>
                    <a:pt x="786" y="681"/>
                  </a:cubicBezTo>
                  <a:cubicBezTo>
                    <a:pt x="778" y="671"/>
                    <a:pt x="778" y="671"/>
                    <a:pt x="778" y="671"/>
                  </a:cubicBezTo>
                  <a:cubicBezTo>
                    <a:pt x="770" y="664"/>
                    <a:pt x="770" y="664"/>
                    <a:pt x="770" y="664"/>
                  </a:cubicBezTo>
                  <a:cubicBezTo>
                    <a:pt x="769" y="658"/>
                    <a:pt x="769" y="658"/>
                    <a:pt x="769" y="658"/>
                  </a:cubicBezTo>
                  <a:cubicBezTo>
                    <a:pt x="761" y="652"/>
                    <a:pt x="761" y="652"/>
                    <a:pt x="761" y="652"/>
                  </a:cubicBezTo>
                  <a:cubicBezTo>
                    <a:pt x="761" y="645"/>
                    <a:pt x="761" y="645"/>
                    <a:pt x="761" y="645"/>
                  </a:cubicBezTo>
                  <a:cubicBezTo>
                    <a:pt x="764" y="634"/>
                    <a:pt x="764" y="634"/>
                    <a:pt x="764" y="634"/>
                  </a:cubicBezTo>
                  <a:cubicBezTo>
                    <a:pt x="773" y="624"/>
                    <a:pt x="773" y="624"/>
                    <a:pt x="773" y="624"/>
                  </a:cubicBezTo>
                  <a:cubicBezTo>
                    <a:pt x="782" y="615"/>
                    <a:pt x="782" y="615"/>
                    <a:pt x="782" y="615"/>
                  </a:cubicBezTo>
                  <a:cubicBezTo>
                    <a:pt x="789" y="613"/>
                    <a:pt x="789" y="613"/>
                    <a:pt x="789" y="613"/>
                  </a:cubicBezTo>
                  <a:cubicBezTo>
                    <a:pt x="792" y="611"/>
                    <a:pt x="792" y="611"/>
                    <a:pt x="792" y="611"/>
                  </a:cubicBezTo>
                  <a:cubicBezTo>
                    <a:pt x="793" y="613"/>
                    <a:pt x="793" y="613"/>
                    <a:pt x="793" y="613"/>
                  </a:cubicBezTo>
                  <a:cubicBezTo>
                    <a:pt x="797" y="609"/>
                    <a:pt x="797" y="609"/>
                    <a:pt x="797" y="609"/>
                  </a:cubicBezTo>
                  <a:cubicBezTo>
                    <a:pt x="805" y="614"/>
                    <a:pt x="805" y="614"/>
                    <a:pt x="805" y="614"/>
                  </a:cubicBezTo>
                  <a:cubicBezTo>
                    <a:pt x="811" y="611"/>
                    <a:pt x="811" y="611"/>
                    <a:pt x="811" y="611"/>
                  </a:cubicBezTo>
                  <a:cubicBezTo>
                    <a:pt x="811" y="620"/>
                    <a:pt x="811" y="620"/>
                    <a:pt x="811" y="620"/>
                  </a:cubicBezTo>
                  <a:cubicBezTo>
                    <a:pt x="816" y="629"/>
                    <a:pt x="816" y="629"/>
                    <a:pt x="816" y="629"/>
                  </a:cubicBezTo>
                  <a:cubicBezTo>
                    <a:pt x="821" y="627"/>
                    <a:pt x="821" y="627"/>
                    <a:pt x="821" y="627"/>
                  </a:cubicBezTo>
                  <a:cubicBezTo>
                    <a:pt x="817" y="620"/>
                    <a:pt x="817" y="620"/>
                    <a:pt x="817" y="620"/>
                  </a:cubicBezTo>
                  <a:cubicBezTo>
                    <a:pt x="821" y="614"/>
                    <a:pt x="821" y="614"/>
                    <a:pt x="821" y="614"/>
                  </a:cubicBezTo>
                  <a:cubicBezTo>
                    <a:pt x="852" y="607"/>
                    <a:pt x="852" y="607"/>
                    <a:pt x="852" y="607"/>
                  </a:cubicBezTo>
                  <a:cubicBezTo>
                    <a:pt x="854" y="597"/>
                    <a:pt x="854" y="597"/>
                    <a:pt x="854" y="597"/>
                  </a:cubicBezTo>
                  <a:cubicBezTo>
                    <a:pt x="859" y="602"/>
                    <a:pt x="859" y="602"/>
                    <a:pt x="859" y="602"/>
                  </a:cubicBezTo>
                  <a:cubicBezTo>
                    <a:pt x="859" y="594"/>
                    <a:pt x="859" y="594"/>
                    <a:pt x="859" y="594"/>
                  </a:cubicBezTo>
                  <a:cubicBezTo>
                    <a:pt x="865" y="601"/>
                    <a:pt x="865" y="601"/>
                    <a:pt x="865" y="601"/>
                  </a:cubicBezTo>
                  <a:cubicBezTo>
                    <a:pt x="869" y="601"/>
                    <a:pt x="869" y="601"/>
                    <a:pt x="869" y="601"/>
                  </a:cubicBezTo>
                  <a:cubicBezTo>
                    <a:pt x="868" y="598"/>
                    <a:pt x="868" y="598"/>
                    <a:pt x="868" y="598"/>
                  </a:cubicBezTo>
                  <a:cubicBezTo>
                    <a:pt x="869" y="598"/>
                    <a:pt x="869" y="598"/>
                    <a:pt x="869" y="598"/>
                  </a:cubicBezTo>
                  <a:cubicBezTo>
                    <a:pt x="872" y="600"/>
                    <a:pt x="872" y="600"/>
                    <a:pt x="872" y="600"/>
                  </a:cubicBezTo>
                  <a:cubicBezTo>
                    <a:pt x="873" y="598"/>
                    <a:pt x="873" y="598"/>
                    <a:pt x="873" y="598"/>
                  </a:cubicBezTo>
                  <a:cubicBezTo>
                    <a:pt x="875" y="595"/>
                    <a:pt x="875" y="595"/>
                    <a:pt x="875" y="595"/>
                  </a:cubicBezTo>
                  <a:cubicBezTo>
                    <a:pt x="875" y="597"/>
                    <a:pt x="875" y="597"/>
                    <a:pt x="875" y="597"/>
                  </a:cubicBezTo>
                  <a:cubicBezTo>
                    <a:pt x="880" y="594"/>
                    <a:pt x="880" y="594"/>
                    <a:pt x="880" y="594"/>
                  </a:cubicBezTo>
                  <a:cubicBezTo>
                    <a:pt x="884" y="596"/>
                    <a:pt x="884" y="596"/>
                    <a:pt x="884" y="596"/>
                  </a:cubicBezTo>
                  <a:cubicBezTo>
                    <a:pt x="895" y="592"/>
                    <a:pt x="895" y="592"/>
                    <a:pt x="895" y="592"/>
                  </a:cubicBezTo>
                  <a:cubicBezTo>
                    <a:pt x="903" y="585"/>
                    <a:pt x="903" y="585"/>
                    <a:pt x="903" y="585"/>
                  </a:cubicBezTo>
                  <a:cubicBezTo>
                    <a:pt x="909" y="583"/>
                    <a:pt x="909" y="583"/>
                    <a:pt x="909" y="583"/>
                  </a:cubicBezTo>
                  <a:cubicBezTo>
                    <a:pt x="910" y="581"/>
                    <a:pt x="910" y="581"/>
                    <a:pt x="910" y="581"/>
                  </a:cubicBezTo>
                  <a:cubicBezTo>
                    <a:pt x="910" y="582"/>
                    <a:pt x="910" y="582"/>
                    <a:pt x="910" y="582"/>
                  </a:cubicBezTo>
                  <a:cubicBezTo>
                    <a:pt x="916" y="576"/>
                    <a:pt x="916" y="576"/>
                    <a:pt x="916" y="576"/>
                  </a:cubicBezTo>
                  <a:cubicBezTo>
                    <a:pt x="916" y="572"/>
                    <a:pt x="916" y="572"/>
                    <a:pt x="916" y="572"/>
                  </a:cubicBezTo>
                  <a:cubicBezTo>
                    <a:pt x="923" y="570"/>
                    <a:pt x="923" y="570"/>
                    <a:pt x="923" y="570"/>
                  </a:cubicBezTo>
                  <a:cubicBezTo>
                    <a:pt x="931" y="558"/>
                    <a:pt x="931" y="558"/>
                    <a:pt x="931" y="558"/>
                  </a:cubicBezTo>
                  <a:cubicBezTo>
                    <a:pt x="933" y="559"/>
                    <a:pt x="933" y="559"/>
                    <a:pt x="933" y="559"/>
                  </a:cubicBezTo>
                  <a:cubicBezTo>
                    <a:pt x="937" y="547"/>
                    <a:pt x="937" y="547"/>
                    <a:pt x="937" y="547"/>
                  </a:cubicBezTo>
                  <a:cubicBezTo>
                    <a:pt x="935" y="543"/>
                    <a:pt x="935" y="543"/>
                    <a:pt x="935" y="543"/>
                  </a:cubicBezTo>
                  <a:cubicBezTo>
                    <a:pt x="939" y="540"/>
                    <a:pt x="939" y="540"/>
                    <a:pt x="939" y="540"/>
                  </a:cubicBezTo>
                  <a:cubicBezTo>
                    <a:pt x="940" y="544"/>
                    <a:pt x="940" y="544"/>
                    <a:pt x="940" y="544"/>
                  </a:cubicBezTo>
                  <a:cubicBezTo>
                    <a:pt x="954" y="520"/>
                    <a:pt x="954" y="520"/>
                    <a:pt x="954" y="520"/>
                  </a:cubicBezTo>
                  <a:cubicBezTo>
                    <a:pt x="958" y="521"/>
                    <a:pt x="958" y="521"/>
                    <a:pt x="958" y="521"/>
                  </a:cubicBezTo>
                  <a:cubicBezTo>
                    <a:pt x="961" y="509"/>
                    <a:pt x="961" y="509"/>
                    <a:pt x="961" y="509"/>
                  </a:cubicBezTo>
                  <a:cubicBezTo>
                    <a:pt x="960" y="506"/>
                    <a:pt x="960" y="506"/>
                    <a:pt x="960" y="506"/>
                  </a:cubicBezTo>
                  <a:cubicBezTo>
                    <a:pt x="964" y="506"/>
                    <a:pt x="964" y="506"/>
                    <a:pt x="964" y="506"/>
                  </a:cubicBezTo>
                  <a:cubicBezTo>
                    <a:pt x="964" y="503"/>
                    <a:pt x="964" y="503"/>
                    <a:pt x="964" y="503"/>
                  </a:cubicBezTo>
                  <a:cubicBezTo>
                    <a:pt x="964" y="500"/>
                    <a:pt x="964" y="500"/>
                    <a:pt x="964" y="500"/>
                  </a:cubicBezTo>
                  <a:cubicBezTo>
                    <a:pt x="960" y="502"/>
                    <a:pt x="960" y="502"/>
                    <a:pt x="960" y="502"/>
                  </a:cubicBezTo>
                  <a:cubicBezTo>
                    <a:pt x="966" y="496"/>
                    <a:pt x="966" y="496"/>
                    <a:pt x="966" y="496"/>
                  </a:cubicBezTo>
                  <a:cubicBezTo>
                    <a:pt x="956" y="490"/>
                    <a:pt x="956" y="490"/>
                    <a:pt x="956" y="490"/>
                  </a:cubicBezTo>
                  <a:cubicBezTo>
                    <a:pt x="944" y="493"/>
                    <a:pt x="944" y="493"/>
                    <a:pt x="944" y="493"/>
                  </a:cubicBezTo>
                  <a:cubicBezTo>
                    <a:pt x="965" y="481"/>
                    <a:pt x="965" y="481"/>
                    <a:pt x="965" y="481"/>
                  </a:cubicBezTo>
                  <a:cubicBezTo>
                    <a:pt x="956" y="471"/>
                    <a:pt x="956" y="471"/>
                    <a:pt x="956" y="471"/>
                  </a:cubicBezTo>
                  <a:cubicBezTo>
                    <a:pt x="949" y="467"/>
                    <a:pt x="949" y="467"/>
                    <a:pt x="949" y="467"/>
                  </a:cubicBezTo>
                  <a:cubicBezTo>
                    <a:pt x="943" y="466"/>
                    <a:pt x="943" y="466"/>
                    <a:pt x="943" y="466"/>
                  </a:cubicBezTo>
                  <a:cubicBezTo>
                    <a:pt x="949" y="465"/>
                    <a:pt x="949" y="465"/>
                    <a:pt x="949" y="465"/>
                  </a:cubicBezTo>
                  <a:cubicBezTo>
                    <a:pt x="965" y="470"/>
                    <a:pt x="965" y="470"/>
                    <a:pt x="965" y="470"/>
                  </a:cubicBezTo>
                  <a:cubicBezTo>
                    <a:pt x="953" y="455"/>
                    <a:pt x="953" y="455"/>
                    <a:pt x="953" y="455"/>
                  </a:cubicBezTo>
                  <a:cubicBezTo>
                    <a:pt x="944" y="430"/>
                    <a:pt x="944" y="430"/>
                    <a:pt x="944" y="430"/>
                  </a:cubicBezTo>
                  <a:cubicBezTo>
                    <a:pt x="931" y="423"/>
                    <a:pt x="931" y="423"/>
                    <a:pt x="931" y="423"/>
                  </a:cubicBezTo>
                  <a:cubicBezTo>
                    <a:pt x="937" y="412"/>
                    <a:pt x="937" y="412"/>
                    <a:pt x="937" y="412"/>
                  </a:cubicBezTo>
                  <a:cubicBezTo>
                    <a:pt x="943" y="407"/>
                    <a:pt x="943" y="407"/>
                    <a:pt x="943" y="407"/>
                  </a:cubicBezTo>
                  <a:cubicBezTo>
                    <a:pt x="944" y="402"/>
                    <a:pt x="944" y="402"/>
                    <a:pt x="944" y="402"/>
                  </a:cubicBezTo>
                  <a:cubicBezTo>
                    <a:pt x="949" y="404"/>
                    <a:pt x="949" y="404"/>
                    <a:pt x="949" y="404"/>
                  </a:cubicBezTo>
                  <a:cubicBezTo>
                    <a:pt x="953" y="398"/>
                    <a:pt x="953" y="398"/>
                    <a:pt x="953" y="398"/>
                  </a:cubicBezTo>
                  <a:cubicBezTo>
                    <a:pt x="952" y="396"/>
                    <a:pt x="952" y="396"/>
                    <a:pt x="952" y="396"/>
                  </a:cubicBezTo>
                  <a:cubicBezTo>
                    <a:pt x="962" y="394"/>
                    <a:pt x="962" y="394"/>
                    <a:pt x="962" y="394"/>
                  </a:cubicBezTo>
                  <a:cubicBezTo>
                    <a:pt x="965" y="390"/>
                    <a:pt x="965" y="390"/>
                    <a:pt x="965" y="390"/>
                  </a:cubicBezTo>
                  <a:cubicBezTo>
                    <a:pt x="968" y="390"/>
                    <a:pt x="968" y="390"/>
                    <a:pt x="968" y="390"/>
                  </a:cubicBezTo>
                  <a:cubicBezTo>
                    <a:pt x="970" y="393"/>
                    <a:pt x="970" y="393"/>
                    <a:pt x="970" y="393"/>
                  </a:cubicBezTo>
                  <a:cubicBezTo>
                    <a:pt x="974" y="384"/>
                    <a:pt x="974" y="384"/>
                    <a:pt x="974" y="384"/>
                  </a:cubicBezTo>
                  <a:cubicBezTo>
                    <a:pt x="961" y="383"/>
                    <a:pt x="961" y="383"/>
                    <a:pt x="961" y="383"/>
                  </a:cubicBezTo>
                  <a:cubicBezTo>
                    <a:pt x="952" y="377"/>
                    <a:pt x="952" y="377"/>
                    <a:pt x="952" y="377"/>
                  </a:cubicBezTo>
                  <a:cubicBezTo>
                    <a:pt x="935" y="388"/>
                    <a:pt x="935" y="388"/>
                    <a:pt x="935" y="388"/>
                  </a:cubicBezTo>
                  <a:cubicBezTo>
                    <a:pt x="929" y="386"/>
                    <a:pt x="929" y="386"/>
                    <a:pt x="929" y="386"/>
                  </a:cubicBezTo>
                  <a:cubicBezTo>
                    <a:pt x="926" y="377"/>
                    <a:pt x="926" y="377"/>
                    <a:pt x="926" y="377"/>
                  </a:cubicBezTo>
                  <a:cubicBezTo>
                    <a:pt x="917" y="372"/>
                    <a:pt x="917" y="372"/>
                    <a:pt x="917" y="372"/>
                  </a:cubicBezTo>
                  <a:cubicBezTo>
                    <a:pt x="911" y="366"/>
                    <a:pt x="911" y="366"/>
                    <a:pt x="911" y="366"/>
                  </a:cubicBezTo>
                  <a:cubicBezTo>
                    <a:pt x="912" y="362"/>
                    <a:pt x="912" y="362"/>
                    <a:pt x="912" y="362"/>
                  </a:cubicBezTo>
                  <a:cubicBezTo>
                    <a:pt x="916" y="355"/>
                    <a:pt x="916" y="355"/>
                    <a:pt x="916" y="355"/>
                  </a:cubicBezTo>
                  <a:cubicBezTo>
                    <a:pt x="923" y="356"/>
                    <a:pt x="923" y="356"/>
                    <a:pt x="923" y="356"/>
                  </a:cubicBezTo>
                  <a:cubicBezTo>
                    <a:pt x="930" y="353"/>
                    <a:pt x="930" y="353"/>
                    <a:pt x="930" y="353"/>
                  </a:cubicBezTo>
                  <a:cubicBezTo>
                    <a:pt x="935" y="345"/>
                    <a:pt x="935" y="345"/>
                    <a:pt x="935" y="345"/>
                  </a:cubicBezTo>
                  <a:cubicBezTo>
                    <a:pt x="947" y="339"/>
                    <a:pt x="947" y="339"/>
                    <a:pt x="947" y="339"/>
                  </a:cubicBezTo>
                  <a:cubicBezTo>
                    <a:pt x="956" y="327"/>
                    <a:pt x="956" y="327"/>
                    <a:pt x="956" y="327"/>
                  </a:cubicBezTo>
                  <a:cubicBezTo>
                    <a:pt x="965" y="324"/>
                    <a:pt x="965" y="324"/>
                    <a:pt x="965" y="324"/>
                  </a:cubicBezTo>
                  <a:cubicBezTo>
                    <a:pt x="969" y="334"/>
                    <a:pt x="969" y="334"/>
                    <a:pt x="969" y="334"/>
                  </a:cubicBezTo>
                  <a:cubicBezTo>
                    <a:pt x="958" y="349"/>
                    <a:pt x="958" y="349"/>
                    <a:pt x="958" y="349"/>
                  </a:cubicBezTo>
                  <a:cubicBezTo>
                    <a:pt x="963" y="352"/>
                    <a:pt x="963" y="352"/>
                    <a:pt x="963" y="352"/>
                  </a:cubicBezTo>
                  <a:cubicBezTo>
                    <a:pt x="961" y="358"/>
                    <a:pt x="961" y="358"/>
                    <a:pt x="961" y="358"/>
                  </a:cubicBezTo>
                  <a:cubicBezTo>
                    <a:pt x="956" y="361"/>
                    <a:pt x="956" y="361"/>
                    <a:pt x="956" y="361"/>
                  </a:cubicBezTo>
                  <a:cubicBezTo>
                    <a:pt x="958" y="362"/>
                    <a:pt x="958" y="362"/>
                    <a:pt x="958" y="362"/>
                  </a:cubicBezTo>
                  <a:cubicBezTo>
                    <a:pt x="984" y="345"/>
                    <a:pt x="984" y="345"/>
                    <a:pt x="984" y="345"/>
                  </a:cubicBezTo>
                  <a:cubicBezTo>
                    <a:pt x="997" y="343"/>
                    <a:pt x="997" y="343"/>
                    <a:pt x="997" y="343"/>
                  </a:cubicBezTo>
                  <a:cubicBezTo>
                    <a:pt x="1000" y="349"/>
                    <a:pt x="1000" y="349"/>
                    <a:pt x="1000" y="349"/>
                  </a:cubicBezTo>
                  <a:cubicBezTo>
                    <a:pt x="1010" y="349"/>
                    <a:pt x="1010" y="349"/>
                    <a:pt x="1010" y="349"/>
                  </a:cubicBezTo>
                  <a:cubicBezTo>
                    <a:pt x="1007" y="361"/>
                    <a:pt x="1007" y="361"/>
                    <a:pt x="1007" y="361"/>
                  </a:cubicBezTo>
                  <a:cubicBezTo>
                    <a:pt x="1009" y="363"/>
                    <a:pt x="1009" y="363"/>
                    <a:pt x="1009" y="363"/>
                  </a:cubicBezTo>
                  <a:cubicBezTo>
                    <a:pt x="1004" y="366"/>
                    <a:pt x="1004" y="366"/>
                    <a:pt x="1004" y="366"/>
                  </a:cubicBezTo>
                  <a:cubicBezTo>
                    <a:pt x="1001" y="373"/>
                    <a:pt x="1001" y="373"/>
                    <a:pt x="1001" y="373"/>
                  </a:cubicBezTo>
                  <a:cubicBezTo>
                    <a:pt x="1007" y="372"/>
                    <a:pt x="1007" y="372"/>
                    <a:pt x="1007" y="372"/>
                  </a:cubicBezTo>
                  <a:cubicBezTo>
                    <a:pt x="1005" y="375"/>
                    <a:pt x="1005" y="375"/>
                    <a:pt x="1005" y="375"/>
                  </a:cubicBezTo>
                  <a:cubicBezTo>
                    <a:pt x="1007" y="379"/>
                    <a:pt x="1007" y="379"/>
                    <a:pt x="1007" y="379"/>
                  </a:cubicBezTo>
                  <a:cubicBezTo>
                    <a:pt x="1012" y="377"/>
                    <a:pt x="1012" y="377"/>
                    <a:pt x="1012" y="377"/>
                  </a:cubicBezTo>
                  <a:cubicBezTo>
                    <a:pt x="1012" y="374"/>
                    <a:pt x="1012" y="374"/>
                    <a:pt x="1012" y="374"/>
                  </a:cubicBezTo>
                  <a:cubicBezTo>
                    <a:pt x="1023" y="378"/>
                    <a:pt x="1023" y="378"/>
                    <a:pt x="1023" y="378"/>
                  </a:cubicBezTo>
                  <a:cubicBezTo>
                    <a:pt x="1028" y="392"/>
                    <a:pt x="1028" y="392"/>
                    <a:pt x="1028" y="392"/>
                  </a:cubicBezTo>
                  <a:cubicBezTo>
                    <a:pt x="1025" y="390"/>
                    <a:pt x="1025" y="390"/>
                    <a:pt x="1025" y="390"/>
                  </a:cubicBezTo>
                  <a:cubicBezTo>
                    <a:pt x="1018" y="393"/>
                    <a:pt x="1018" y="393"/>
                    <a:pt x="1018" y="393"/>
                  </a:cubicBezTo>
                  <a:cubicBezTo>
                    <a:pt x="1020" y="398"/>
                    <a:pt x="1020" y="398"/>
                    <a:pt x="1020" y="398"/>
                  </a:cubicBezTo>
                  <a:cubicBezTo>
                    <a:pt x="1023" y="395"/>
                    <a:pt x="1023" y="395"/>
                    <a:pt x="1023" y="395"/>
                  </a:cubicBezTo>
                  <a:cubicBezTo>
                    <a:pt x="1026" y="407"/>
                    <a:pt x="1026" y="407"/>
                    <a:pt x="1026" y="407"/>
                  </a:cubicBezTo>
                  <a:cubicBezTo>
                    <a:pt x="1020" y="422"/>
                    <a:pt x="1020" y="422"/>
                    <a:pt x="1020" y="422"/>
                  </a:cubicBezTo>
                  <a:cubicBezTo>
                    <a:pt x="1023" y="423"/>
                    <a:pt x="1023" y="423"/>
                    <a:pt x="1023" y="423"/>
                  </a:cubicBezTo>
                  <a:cubicBezTo>
                    <a:pt x="1023" y="426"/>
                    <a:pt x="1023" y="426"/>
                    <a:pt x="1023" y="426"/>
                  </a:cubicBezTo>
                  <a:cubicBezTo>
                    <a:pt x="1020" y="425"/>
                    <a:pt x="1020" y="425"/>
                    <a:pt x="1020" y="425"/>
                  </a:cubicBezTo>
                  <a:cubicBezTo>
                    <a:pt x="1019" y="430"/>
                    <a:pt x="1019" y="430"/>
                    <a:pt x="1019" y="430"/>
                  </a:cubicBezTo>
                  <a:cubicBezTo>
                    <a:pt x="1028" y="428"/>
                    <a:pt x="1028" y="428"/>
                    <a:pt x="1028" y="428"/>
                  </a:cubicBezTo>
                  <a:cubicBezTo>
                    <a:pt x="1033" y="424"/>
                    <a:pt x="1033" y="424"/>
                    <a:pt x="1033" y="424"/>
                  </a:cubicBezTo>
                  <a:cubicBezTo>
                    <a:pt x="1032" y="426"/>
                    <a:pt x="1032" y="426"/>
                    <a:pt x="1032" y="426"/>
                  </a:cubicBezTo>
                  <a:cubicBezTo>
                    <a:pt x="1033" y="428"/>
                    <a:pt x="1033" y="428"/>
                    <a:pt x="1033" y="428"/>
                  </a:cubicBezTo>
                  <a:cubicBezTo>
                    <a:pt x="1035" y="423"/>
                    <a:pt x="1035" y="423"/>
                    <a:pt x="1035" y="423"/>
                  </a:cubicBezTo>
                  <a:cubicBezTo>
                    <a:pt x="1036" y="425"/>
                    <a:pt x="1036" y="425"/>
                    <a:pt x="1036" y="425"/>
                  </a:cubicBezTo>
                  <a:cubicBezTo>
                    <a:pt x="1041" y="420"/>
                    <a:pt x="1041" y="420"/>
                    <a:pt x="1041" y="420"/>
                  </a:cubicBezTo>
                  <a:cubicBezTo>
                    <a:pt x="1046" y="423"/>
                    <a:pt x="1046" y="423"/>
                    <a:pt x="1046" y="423"/>
                  </a:cubicBezTo>
                  <a:cubicBezTo>
                    <a:pt x="1049" y="417"/>
                    <a:pt x="1049" y="417"/>
                    <a:pt x="1049" y="417"/>
                  </a:cubicBezTo>
                  <a:cubicBezTo>
                    <a:pt x="1053" y="419"/>
                    <a:pt x="1053" y="419"/>
                    <a:pt x="1053" y="419"/>
                  </a:cubicBezTo>
                  <a:cubicBezTo>
                    <a:pt x="1058" y="415"/>
                    <a:pt x="1058" y="415"/>
                    <a:pt x="1058" y="415"/>
                  </a:cubicBezTo>
                  <a:cubicBezTo>
                    <a:pt x="1062" y="404"/>
                    <a:pt x="1062" y="404"/>
                    <a:pt x="1062" y="404"/>
                  </a:cubicBezTo>
                  <a:cubicBezTo>
                    <a:pt x="1058" y="382"/>
                    <a:pt x="1058" y="382"/>
                    <a:pt x="1058" y="382"/>
                  </a:cubicBezTo>
                  <a:cubicBezTo>
                    <a:pt x="1047" y="365"/>
                    <a:pt x="1047" y="365"/>
                    <a:pt x="1047" y="365"/>
                  </a:cubicBezTo>
                  <a:cubicBezTo>
                    <a:pt x="1035" y="355"/>
                    <a:pt x="1035" y="355"/>
                    <a:pt x="1035" y="355"/>
                  </a:cubicBezTo>
                  <a:cubicBezTo>
                    <a:pt x="1035" y="345"/>
                    <a:pt x="1035" y="345"/>
                    <a:pt x="1035" y="345"/>
                  </a:cubicBezTo>
                  <a:cubicBezTo>
                    <a:pt x="1047" y="340"/>
                    <a:pt x="1047" y="340"/>
                    <a:pt x="1047" y="340"/>
                  </a:cubicBezTo>
                  <a:cubicBezTo>
                    <a:pt x="1063" y="326"/>
                    <a:pt x="1063" y="326"/>
                    <a:pt x="1063" y="326"/>
                  </a:cubicBezTo>
                  <a:cubicBezTo>
                    <a:pt x="1063" y="315"/>
                    <a:pt x="1063" y="315"/>
                    <a:pt x="1063" y="315"/>
                  </a:cubicBezTo>
                  <a:cubicBezTo>
                    <a:pt x="1076" y="301"/>
                    <a:pt x="1076" y="301"/>
                    <a:pt x="1076" y="301"/>
                  </a:cubicBezTo>
                  <a:cubicBezTo>
                    <a:pt x="1077" y="301"/>
                    <a:pt x="1077" y="301"/>
                    <a:pt x="1077" y="301"/>
                  </a:cubicBezTo>
                  <a:cubicBezTo>
                    <a:pt x="1076" y="298"/>
                    <a:pt x="1076" y="298"/>
                    <a:pt x="1076" y="298"/>
                  </a:cubicBezTo>
                  <a:cubicBezTo>
                    <a:pt x="1083" y="298"/>
                    <a:pt x="1083" y="298"/>
                    <a:pt x="1083" y="298"/>
                  </a:cubicBezTo>
                  <a:cubicBezTo>
                    <a:pt x="1090" y="283"/>
                    <a:pt x="1090" y="283"/>
                    <a:pt x="1090" y="283"/>
                  </a:cubicBezTo>
                  <a:cubicBezTo>
                    <a:pt x="1093" y="289"/>
                    <a:pt x="1093" y="289"/>
                    <a:pt x="1093" y="289"/>
                  </a:cubicBezTo>
                  <a:cubicBezTo>
                    <a:pt x="1097" y="286"/>
                    <a:pt x="1097" y="286"/>
                    <a:pt x="1097" y="286"/>
                  </a:cubicBezTo>
                  <a:cubicBezTo>
                    <a:pt x="1097" y="294"/>
                    <a:pt x="1097" y="294"/>
                    <a:pt x="1097" y="294"/>
                  </a:cubicBezTo>
                  <a:cubicBezTo>
                    <a:pt x="1108" y="296"/>
                    <a:pt x="1108" y="296"/>
                    <a:pt x="1108" y="296"/>
                  </a:cubicBezTo>
                  <a:cubicBezTo>
                    <a:pt x="1118" y="294"/>
                    <a:pt x="1118" y="294"/>
                    <a:pt x="1118" y="294"/>
                  </a:cubicBezTo>
                  <a:cubicBezTo>
                    <a:pt x="1130" y="283"/>
                    <a:pt x="1130" y="283"/>
                    <a:pt x="1130" y="283"/>
                  </a:cubicBezTo>
                  <a:cubicBezTo>
                    <a:pt x="1169" y="235"/>
                    <a:pt x="1169" y="235"/>
                    <a:pt x="1169" y="235"/>
                  </a:cubicBezTo>
                  <a:cubicBezTo>
                    <a:pt x="1175" y="221"/>
                    <a:pt x="1175" y="221"/>
                    <a:pt x="1175" y="221"/>
                  </a:cubicBezTo>
                  <a:cubicBezTo>
                    <a:pt x="1185" y="205"/>
                    <a:pt x="1185" y="205"/>
                    <a:pt x="1185" y="205"/>
                  </a:cubicBezTo>
                  <a:cubicBezTo>
                    <a:pt x="1197" y="192"/>
                    <a:pt x="1197" y="192"/>
                    <a:pt x="1197" y="192"/>
                  </a:cubicBezTo>
                  <a:cubicBezTo>
                    <a:pt x="1201" y="162"/>
                    <a:pt x="1201" y="162"/>
                    <a:pt x="1201" y="162"/>
                  </a:cubicBezTo>
                  <a:cubicBezTo>
                    <a:pt x="1200" y="154"/>
                    <a:pt x="1200" y="154"/>
                    <a:pt x="1200" y="154"/>
                  </a:cubicBezTo>
                  <a:cubicBezTo>
                    <a:pt x="1193" y="157"/>
                    <a:pt x="1184" y="161"/>
                    <a:pt x="1178" y="160"/>
                  </a:cubicBezTo>
                  <a:cubicBezTo>
                    <a:pt x="1168" y="157"/>
                    <a:pt x="1149" y="138"/>
                    <a:pt x="1149" y="138"/>
                  </a:cubicBezTo>
                  <a:cubicBezTo>
                    <a:pt x="1170" y="117"/>
                    <a:pt x="1170" y="117"/>
                    <a:pt x="1170" y="117"/>
                  </a:cubicBezTo>
                  <a:cubicBezTo>
                    <a:pt x="1170" y="117"/>
                    <a:pt x="1162" y="96"/>
                    <a:pt x="1146" y="98"/>
                  </a:cubicBezTo>
                  <a:cubicBezTo>
                    <a:pt x="1130" y="101"/>
                    <a:pt x="1111" y="124"/>
                    <a:pt x="1106" y="120"/>
                  </a:cubicBezTo>
                  <a:cubicBezTo>
                    <a:pt x="1093" y="106"/>
                    <a:pt x="1053" y="56"/>
                    <a:pt x="1053" y="56"/>
                  </a:cubicBezTo>
                  <a:cubicBezTo>
                    <a:pt x="1053" y="56"/>
                    <a:pt x="1042" y="34"/>
                    <a:pt x="1008" y="34"/>
                  </a:cubicBezTo>
                  <a:cubicBezTo>
                    <a:pt x="973" y="34"/>
                    <a:pt x="917" y="24"/>
                    <a:pt x="909" y="42"/>
                  </a:cubicBezTo>
                  <a:cubicBezTo>
                    <a:pt x="901" y="61"/>
                    <a:pt x="912" y="93"/>
                    <a:pt x="912" y="93"/>
                  </a:cubicBezTo>
                  <a:cubicBezTo>
                    <a:pt x="912" y="93"/>
                    <a:pt x="922" y="106"/>
                    <a:pt x="898" y="109"/>
                  </a:cubicBezTo>
                  <a:cubicBezTo>
                    <a:pt x="874" y="112"/>
                    <a:pt x="861" y="114"/>
                    <a:pt x="853" y="98"/>
                  </a:cubicBezTo>
                  <a:cubicBezTo>
                    <a:pt x="845" y="82"/>
                    <a:pt x="813" y="56"/>
                    <a:pt x="813" y="56"/>
                  </a:cubicBezTo>
                  <a:cubicBezTo>
                    <a:pt x="784" y="37"/>
                    <a:pt x="784" y="37"/>
                    <a:pt x="784" y="37"/>
                  </a:cubicBezTo>
                  <a:cubicBezTo>
                    <a:pt x="744" y="48"/>
                    <a:pt x="744" y="48"/>
                    <a:pt x="744" y="48"/>
                  </a:cubicBezTo>
                  <a:cubicBezTo>
                    <a:pt x="693" y="42"/>
                    <a:pt x="693" y="42"/>
                    <a:pt x="693" y="42"/>
                  </a:cubicBezTo>
                  <a:cubicBezTo>
                    <a:pt x="693" y="42"/>
                    <a:pt x="600" y="40"/>
                    <a:pt x="592" y="50"/>
                  </a:cubicBezTo>
                  <a:cubicBezTo>
                    <a:pt x="584" y="61"/>
                    <a:pt x="493" y="88"/>
                    <a:pt x="493" y="88"/>
                  </a:cubicBezTo>
                  <a:cubicBezTo>
                    <a:pt x="434" y="90"/>
                    <a:pt x="434" y="90"/>
                    <a:pt x="434" y="90"/>
                  </a:cubicBezTo>
                  <a:cubicBezTo>
                    <a:pt x="328" y="26"/>
                    <a:pt x="328" y="26"/>
                    <a:pt x="328" y="26"/>
                  </a:cubicBezTo>
                  <a:cubicBezTo>
                    <a:pt x="328" y="26"/>
                    <a:pt x="312" y="0"/>
                    <a:pt x="296" y="8"/>
                  </a:cubicBezTo>
                  <a:cubicBezTo>
                    <a:pt x="280" y="16"/>
                    <a:pt x="245" y="42"/>
                    <a:pt x="245" y="42"/>
                  </a:cubicBezTo>
                  <a:cubicBezTo>
                    <a:pt x="181" y="66"/>
                    <a:pt x="181" y="66"/>
                    <a:pt x="181" y="66"/>
                  </a:cubicBezTo>
                  <a:cubicBezTo>
                    <a:pt x="181" y="66"/>
                    <a:pt x="154" y="80"/>
                    <a:pt x="154" y="96"/>
                  </a:cubicBezTo>
                  <a:cubicBezTo>
                    <a:pt x="154" y="112"/>
                    <a:pt x="136" y="154"/>
                    <a:pt x="136" y="154"/>
                  </a:cubicBezTo>
                  <a:cubicBezTo>
                    <a:pt x="106" y="178"/>
                    <a:pt x="106" y="178"/>
                    <a:pt x="106" y="178"/>
                  </a:cubicBezTo>
                  <a:cubicBezTo>
                    <a:pt x="85" y="176"/>
                    <a:pt x="85" y="176"/>
                    <a:pt x="85" y="176"/>
                  </a:cubicBezTo>
                  <a:cubicBezTo>
                    <a:pt x="37" y="162"/>
                    <a:pt x="37" y="162"/>
                    <a:pt x="37" y="162"/>
                  </a:cubicBezTo>
                  <a:cubicBezTo>
                    <a:pt x="5" y="194"/>
                    <a:pt x="5" y="194"/>
                    <a:pt x="5" y="194"/>
                  </a:cubicBezTo>
                  <a:cubicBezTo>
                    <a:pt x="5" y="194"/>
                    <a:pt x="0" y="218"/>
                    <a:pt x="10" y="221"/>
                  </a:cubicBezTo>
                  <a:cubicBezTo>
                    <a:pt x="21" y="224"/>
                    <a:pt x="43" y="227"/>
                    <a:pt x="43" y="227"/>
                  </a:cubicBezTo>
                  <a:cubicBezTo>
                    <a:pt x="65" y="222"/>
                    <a:pt x="65" y="222"/>
                    <a:pt x="65" y="222"/>
                  </a:cubicBezTo>
                  <a:cubicBezTo>
                    <a:pt x="73" y="215"/>
                    <a:pt x="73" y="215"/>
                    <a:pt x="73" y="215"/>
                  </a:cubicBezTo>
                  <a:cubicBezTo>
                    <a:pt x="84" y="218"/>
                    <a:pt x="84" y="218"/>
                    <a:pt x="84" y="218"/>
                  </a:cubicBezTo>
                  <a:cubicBezTo>
                    <a:pt x="94" y="216"/>
                    <a:pt x="94" y="216"/>
                    <a:pt x="94" y="216"/>
                  </a:cubicBezTo>
                  <a:cubicBezTo>
                    <a:pt x="98" y="219"/>
                    <a:pt x="98" y="219"/>
                    <a:pt x="98" y="219"/>
                  </a:cubicBezTo>
                  <a:cubicBezTo>
                    <a:pt x="110" y="220"/>
                    <a:pt x="124" y="222"/>
                    <a:pt x="128" y="226"/>
                  </a:cubicBezTo>
                  <a:cubicBezTo>
                    <a:pt x="133" y="234"/>
                    <a:pt x="128" y="266"/>
                    <a:pt x="128" y="266"/>
                  </a:cubicBezTo>
                  <a:cubicBezTo>
                    <a:pt x="128" y="266"/>
                    <a:pt x="93" y="258"/>
                    <a:pt x="96" y="272"/>
                  </a:cubicBezTo>
                  <a:cubicBezTo>
                    <a:pt x="98" y="285"/>
                    <a:pt x="112" y="314"/>
                    <a:pt x="112" y="314"/>
                  </a:cubicBezTo>
                  <a:cubicBezTo>
                    <a:pt x="120" y="322"/>
                    <a:pt x="120" y="322"/>
                    <a:pt x="120" y="322"/>
                  </a:cubicBezTo>
                  <a:cubicBezTo>
                    <a:pt x="114" y="327"/>
                    <a:pt x="114" y="327"/>
                    <a:pt x="114" y="327"/>
                  </a:cubicBezTo>
                  <a:cubicBezTo>
                    <a:pt x="117" y="328"/>
                    <a:pt x="117" y="328"/>
                    <a:pt x="117" y="328"/>
                  </a:cubicBezTo>
                  <a:cubicBezTo>
                    <a:pt x="114" y="330"/>
                    <a:pt x="114" y="330"/>
                    <a:pt x="114" y="330"/>
                  </a:cubicBezTo>
                  <a:cubicBezTo>
                    <a:pt x="111" y="329"/>
                    <a:pt x="111" y="329"/>
                    <a:pt x="111" y="329"/>
                  </a:cubicBezTo>
                  <a:cubicBezTo>
                    <a:pt x="110" y="336"/>
                    <a:pt x="108" y="342"/>
                    <a:pt x="106" y="341"/>
                  </a:cubicBezTo>
                  <a:cubicBezTo>
                    <a:pt x="106" y="341"/>
                    <a:pt x="107" y="343"/>
                    <a:pt x="109" y="347"/>
                  </a:cubicBezTo>
                  <a:cubicBezTo>
                    <a:pt x="110" y="347"/>
                    <a:pt x="110" y="347"/>
                    <a:pt x="110" y="347"/>
                  </a:cubicBezTo>
                  <a:cubicBezTo>
                    <a:pt x="110" y="347"/>
                    <a:pt x="110" y="347"/>
                    <a:pt x="110" y="347"/>
                  </a:cubicBezTo>
                  <a:cubicBezTo>
                    <a:pt x="119" y="362"/>
                    <a:pt x="145" y="401"/>
                    <a:pt x="149" y="408"/>
                  </a:cubicBezTo>
                  <a:cubicBezTo>
                    <a:pt x="154" y="416"/>
                    <a:pt x="146" y="442"/>
                    <a:pt x="146" y="458"/>
                  </a:cubicBezTo>
                  <a:cubicBezTo>
                    <a:pt x="146" y="474"/>
                    <a:pt x="170" y="528"/>
                    <a:pt x="170" y="528"/>
                  </a:cubicBezTo>
                  <a:cubicBezTo>
                    <a:pt x="172" y="558"/>
                    <a:pt x="172" y="558"/>
                    <a:pt x="172" y="558"/>
                  </a:cubicBezTo>
                  <a:cubicBezTo>
                    <a:pt x="207" y="563"/>
                    <a:pt x="207" y="563"/>
                    <a:pt x="207" y="563"/>
                  </a:cubicBezTo>
                  <a:lnTo>
                    <a:pt x="208" y="5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90" name="Freeform 5"/>
          <p:cNvSpPr>
            <a:spLocks noEditPoints="1"/>
          </p:cNvSpPr>
          <p:nvPr/>
        </p:nvSpPr>
        <p:spPr bwMode="auto">
          <a:xfrm>
            <a:off x="4193778" y="3898475"/>
            <a:ext cx="2548490" cy="2122237"/>
          </a:xfrm>
          <a:custGeom>
            <a:avLst/>
            <a:gdLst>
              <a:gd name="T0" fmla="*/ 160 w 2622"/>
              <a:gd name="T1" fmla="*/ 775 h 2066"/>
              <a:gd name="T2" fmla="*/ 222 w 2622"/>
              <a:gd name="T3" fmla="*/ 818 h 2066"/>
              <a:gd name="T4" fmla="*/ 2024 w 2622"/>
              <a:gd name="T5" fmla="*/ 982 h 2066"/>
              <a:gd name="T6" fmla="*/ 2002 w 2622"/>
              <a:gd name="T7" fmla="*/ 830 h 2066"/>
              <a:gd name="T8" fmla="*/ 142 w 2622"/>
              <a:gd name="T9" fmla="*/ 712 h 2066"/>
              <a:gd name="T10" fmla="*/ 110 w 2622"/>
              <a:gd name="T11" fmla="*/ 819 h 2066"/>
              <a:gd name="T12" fmla="*/ 903 w 2622"/>
              <a:gd name="T13" fmla="*/ 314 h 2066"/>
              <a:gd name="T14" fmla="*/ 1963 w 2622"/>
              <a:gd name="T15" fmla="*/ 291 h 2066"/>
              <a:gd name="T16" fmla="*/ 473 w 2622"/>
              <a:gd name="T17" fmla="*/ 351 h 2066"/>
              <a:gd name="T18" fmla="*/ 547 w 2622"/>
              <a:gd name="T19" fmla="*/ 319 h 2066"/>
              <a:gd name="T20" fmla="*/ 787 w 2622"/>
              <a:gd name="T21" fmla="*/ 1804 h 2066"/>
              <a:gd name="T22" fmla="*/ 373 w 2622"/>
              <a:gd name="T23" fmla="*/ 772 h 2066"/>
              <a:gd name="T24" fmla="*/ 549 w 2622"/>
              <a:gd name="T25" fmla="*/ 1077 h 2066"/>
              <a:gd name="T26" fmla="*/ 2605 w 2622"/>
              <a:gd name="T27" fmla="*/ 558 h 2066"/>
              <a:gd name="T28" fmla="*/ 927 w 2622"/>
              <a:gd name="T29" fmla="*/ 1252 h 2066"/>
              <a:gd name="T30" fmla="*/ 2286 w 2622"/>
              <a:gd name="T31" fmla="*/ 676 h 2066"/>
              <a:gd name="T32" fmla="*/ 2487 w 2622"/>
              <a:gd name="T33" fmla="*/ 395 h 2066"/>
              <a:gd name="T34" fmla="*/ 1976 w 2622"/>
              <a:gd name="T35" fmla="*/ 288 h 2066"/>
              <a:gd name="T36" fmla="*/ 1645 w 2622"/>
              <a:gd name="T37" fmla="*/ 208 h 2066"/>
              <a:gd name="T38" fmla="*/ 1638 w 2622"/>
              <a:gd name="T39" fmla="*/ 90 h 2066"/>
              <a:gd name="T40" fmla="*/ 1322 w 2622"/>
              <a:gd name="T41" fmla="*/ 144 h 2066"/>
              <a:gd name="T42" fmla="*/ 1186 w 2622"/>
              <a:gd name="T43" fmla="*/ 290 h 2066"/>
              <a:gd name="T44" fmla="*/ 1149 w 2622"/>
              <a:gd name="T45" fmla="*/ 447 h 2066"/>
              <a:gd name="T46" fmla="*/ 1079 w 2622"/>
              <a:gd name="T47" fmla="*/ 418 h 2066"/>
              <a:gd name="T48" fmla="*/ 764 w 2622"/>
              <a:gd name="T49" fmla="*/ 402 h 2066"/>
              <a:gd name="T50" fmla="*/ 741 w 2622"/>
              <a:gd name="T51" fmla="*/ 453 h 2066"/>
              <a:gd name="T52" fmla="*/ 537 w 2622"/>
              <a:gd name="T53" fmla="*/ 337 h 2066"/>
              <a:gd name="T54" fmla="*/ 443 w 2622"/>
              <a:gd name="T55" fmla="*/ 398 h 2066"/>
              <a:gd name="T56" fmla="*/ 337 w 2622"/>
              <a:gd name="T57" fmla="*/ 561 h 2066"/>
              <a:gd name="T58" fmla="*/ 290 w 2622"/>
              <a:gd name="T59" fmla="*/ 648 h 2066"/>
              <a:gd name="T60" fmla="*/ 379 w 2622"/>
              <a:gd name="T61" fmla="*/ 744 h 2066"/>
              <a:gd name="T62" fmla="*/ 455 w 2622"/>
              <a:gd name="T63" fmla="*/ 567 h 2066"/>
              <a:gd name="T64" fmla="*/ 595 w 2622"/>
              <a:gd name="T65" fmla="*/ 651 h 2066"/>
              <a:gd name="T66" fmla="*/ 363 w 2622"/>
              <a:gd name="T67" fmla="*/ 795 h 2066"/>
              <a:gd name="T68" fmla="*/ 289 w 2622"/>
              <a:gd name="T69" fmla="*/ 810 h 2066"/>
              <a:gd name="T70" fmla="*/ 208 w 2622"/>
              <a:gd name="T71" fmla="*/ 955 h 2066"/>
              <a:gd name="T72" fmla="*/ 298 w 2622"/>
              <a:gd name="T73" fmla="*/ 1002 h 2066"/>
              <a:gd name="T74" fmla="*/ 375 w 2622"/>
              <a:gd name="T75" fmla="*/ 961 h 2066"/>
              <a:gd name="T76" fmla="*/ 505 w 2622"/>
              <a:gd name="T77" fmla="*/ 1054 h 2066"/>
              <a:gd name="T78" fmla="*/ 644 w 2622"/>
              <a:gd name="T79" fmla="*/ 950 h 2066"/>
              <a:gd name="T80" fmla="*/ 744 w 2622"/>
              <a:gd name="T81" fmla="*/ 1020 h 2066"/>
              <a:gd name="T82" fmla="*/ 574 w 2622"/>
              <a:gd name="T83" fmla="*/ 1105 h 2066"/>
              <a:gd name="T84" fmla="*/ 511 w 2622"/>
              <a:gd name="T85" fmla="*/ 1175 h 2066"/>
              <a:gd name="T86" fmla="*/ 238 w 2622"/>
              <a:gd name="T87" fmla="*/ 1110 h 2066"/>
              <a:gd name="T88" fmla="*/ 9 w 2622"/>
              <a:gd name="T89" fmla="*/ 1432 h 2066"/>
              <a:gd name="T90" fmla="*/ 331 w 2622"/>
              <a:gd name="T91" fmla="*/ 1545 h 2066"/>
              <a:gd name="T92" fmla="*/ 450 w 2622"/>
              <a:gd name="T93" fmla="*/ 2033 h 2066"/>
              <a:gd name="T94" fmla="*/ 710 w 2622"/>
              <a:gd name="T95" fmla="*/ 1818 h 2066"/>
              <a:gd name="T96" fmla="*/ 815 w 2622"/>
              <a:gd name="T97" fmla="*/ 1462 h 2066"/>
              <a:gd name="T98" fmla="*/ 695 w 2622"/>
              <a:gd name="T99" fmla="*/ 1288 h 2066"/>
              <a:gd name="T100" fmla="*/ 927 w 2622"/>
              <a:gd name="T101" fmla="*/ 1269 h 2066"/>
              <a:gd name="T102" fmla="*/ 942 w 2622"/>
              <a:gd name="T103" fmla="*/ 1269 h 2066"/>
              <a:gd name="T104" fmla="*/ 1957 w 2622"/>
              <a:gd name="T105" fmla="*/ 948 h 2066"/>
              <a:gd name="T106" fmla="*/ 2092 w 2622"/>
              <a:gd name="T107" fmla="*/ 675 h 2066"/>
              <a:gd name="T108" fmla="*/ 2284 w 2622"/>
              <a:gd name="T109" fmla="*/ 599 h 2066"/>
              <a:gd name="T110" fmla="*/ 2268 w 2622"/>
              <a:gd name="T111" fmla="*/ 679 h 2066"/>
              <a:gd name="T112" fmla="*/ 2465 w 2622"/>
              <a:gd name="T113" fmla="*/ 532 h 2066"/>
              <a:gd name="T114" fmla="*/ 390 w 2622"/>
              <a:gd name="T115" fmla="*/ 1420 h 2066"/>
              <a:gd name="T116" fmla="*/ 659 w 2622"/>
              <a:gd name="T117" fmla="*/ 1772 h 2066"/>
              <a:gd name="T118" fmla="*/ 902 w 2622"/>
              <a:gd name="T119" fmla="*/ 1043 h 2066"/>
              <a:gd name="T120" fmla="*/ 831 w 2622"/>
              <a:gd name="T121" fmla="*/ 946 h 2066"/>
              <a:gd name="T122" fmla="*/ 501 w 2622"/>
              <a:gd name="T123" fmla="*/ 1110 h 2066"/>
              <a:gd name="T124" fmla="*/ 330 w 2622"/>
              <a:gd name="T125" fmla="*/ 1010 h 20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22" h="2066">
                <a:moveTo>
                  <a:pt x="168" y="810"/>
                </a:moveTo>
                <a:cubicBezTo>
                  <a:pt x="171" y="810"/>
                  <a:pt x="171" y="810"/>
                  <a:pt x="171" y="810"/>
                </a:cubicBezTo>
                <a:cubicBezTo>
                  <a:pt x="165" y="805"/>
                  <a:pt x="165" y="805"/>
                  <a:pt x="165" y="805"/>
                </a:cubicBezTo>
                <a:lnTo>
                  <a:pt x="168" y="810"/>
                </a:lnTo>
                <a:close/>
                <a:moveTo>
                  <a:pt x="165" y="791"/>
                </a:moveTo>
                <a:cubicBezTo>
                  <a:pt x="165" y="786"/>
                  <a:pt x="165" y="786"/>
                  <a:pt x="165" y="786"/>
                </a:cubicBezTo>
                <a:cubicBezTo>
                  <a:pt x="162" y="793"/>
                  <a:pt x="162" y="793"/>
                  <a:pt x="162" y="793"/>
                </a:cubicBezTo>
                <a:lnTo>
                  <a:pt x="165" y="791"/>
                </a:lnTo>
                <a:close/>
                <a:moveTo>
                  <a:pt x="333" y="556"/>
                </a:moveTo>
                <a:cubicBezTo>
                  <a:pt x="327" y="560"/>
                  <a:pt x="327" y="560"/>
                  <a:pt x="327" y="560"/>
                </a:cubicBezTo>
                <a:cubicBezTo>
                  <a:pt x="336" y="559"/>
                  <a:pt x="336" y="559"/>
                  <a:pt x="336" y="559"/>
                </a:cubicBezTo>
                <a:lnTo>
                  <a:pt x="333" y="556"/>
                </a:lnTo>
                <a:close/>
                <a:moveTo>
                  <a:pt x="149" y="742"/>
                </a:moveTo>
                <a:cubicBezTo>
                  <a:pt x="145" y="736"/>
                  <a:pt x="145" y="736"/>
                  <a:pt x="145" y="736"/>
                </a:cubicBezTo>
                <a:cubicBezTo>
                  <a:pt x="143" y="737"/>
                  <a:pt x="143" y="737"/>
                  <a:pt x="143" y="737"/>
                </a:cubicBezTo>
                <a:cubicBezTo>
                  <a:pt x="145" y="742"/>
                  <a:pt x="145" y="742"/>
                  <a:pt x="145" y="742"/>
                </a:cubicBezTo>
                <a:lnTo>
                  <a:pt x="149" y="742"/>
                </a:lnTo>
                <a:close/>
                <a:moveTo>
                  <a:pt x="157" y="757"/>
                </a:moveTo>
                <a:cubicBezTo>
                  <a:pt x="155" y="757"/>
                  <a:pt x="155" y="757"/>
                  <a:pt x="155" y="757"/>
                </a:cubicBezTo>
                <a:cubicBezTo>
                  <a:pt x="156" y="763"/>
                  <a:pt x="156" y="763"/>
                  <a:pt x="156" y="763"/>
                </a:cubicBezTo>
                <a:lnTo>
                  <a:pt x="157" y="757"/>
                </a:lnTo>
                <a:close/>
                <a:moveTo>
                  <a:pt x="145" y="758"/>
                </a:moveTo>
                <a:cubicBezTo>
                  <a:pt x="143" y="753"/>
                  <a:pt x="143" y="753"/>
                  <a:pt x="143" y="753"/>
                </a:cubicBezTo>
                <a:cubicBezTo>
                  <a:pt x="140" y="757"/>
                  <a:pt x="140" y="757"/>
                  <a:pt x="140" y="757"/>
                </a:cubicBezTo>
                <a:lnTo>
                  <a:pt x="145" y="758"/>
                </a:lnTo>
                <a:close/>
                <a:moveTo>
                  <a:pt x="148" y="733"/>
                </a:moveTo>
                <a:cubicBezTo>
                  <a:pt x="144" y="734"/>
                  <a:pt x="144" y="734"/>
                  <a:pt x="144" y="734"/>
                </a:cubicBezTo>
                <a:cubicBezTo>
                  <a:pt x="150" y="740"/>
                  <a:pt x="150" y="740"/>
                  <a:pt x="150" y="740"/>
                </a:cubicBezTo>
                <a:cubicBezTo>
                  <a:pt x="155" y="736"/>
                  <a:pt x="155" y="736"/>
                  <a:pt x="155" y="736"/>
                </a:cubicBezTo>
                <a:cubicBezTo>
                  <a:pt x="149" y="765"/>
                  <a:pt x="149" y="765"/>
                  <a:pt x="149" y="765"/>
                </a:cubicBezTo>
                <a:cubicBezTo>
                  <a:pt x="155" y="756"/>
                  <a:pt x="155" y="756"/>
                  <a:pt x="155" y="756"/>
                </a:cubicBezTo>
                <a:cubicBezTo>
                  <a:pt x="153" y="750"/>
                  <a:pt x="153" y="750"/>
                  <a:pt x="153" y="750"/>
                </a:cubicBezTo>
                <a:cubicBezTo>
                  <a:pt x="157" y="745"/>
                  <a:pt x="157" y="745"/>
                  <a:pt x="157" y="745"/>
                </a:cubicBezTo>
                <a:cubicBezTo>
                  <a:pt x="155" y="753"/>
                  <a:pt x="155" y="753"/>
                  <a:pt x="155" y="753"/>
                </a:cubicBezTo>
                <a:cubicBezTo>
                  <a:pt x="159" y="749"/>
                  <a:pt x="159" y="749"/>
                  <a:pt x="159" y="749"/>
                </a:cubicBezTo>
                <a:cubicBezTo>
                  <a:pt x="162" y="752"/>
                  <a:pt x="162" y="752"/>
                  <a:pt x="162" y="752"/>
                </a:cubicBezTo>
                <a:cubicBezTo>
                  <a:pt x="160" y="757"/>
                  <a:pt x="160" y="757"/>
                  <a:pt x="160" y="757"/>
                </a:cubicBezTo>
                <a:cubicBezTo>
                  <a:pt x="162" y="762"/>
                  <a:pt x="162" y="762"/>
                  <a:pt x="162" y="762"/>
                </a:cubicBezTo>
                <a:cubicBezTo>
                  <a:pt x="158" y="773"/>
                  <a:pt x="158" y="773"/>
                  <a:pt x="158" y="773"/>
                </a:cubicBezTo>
                <a:cubicBezTo>
                  <a:pt x="156" y="773"/>
                  <a:pt x="156" y="773"/>
                  <a:pt x="156" y="773"/>
                </a:cubicBezTo>
                <a:cubicBezTo>
                  <a:pt x="158" y="779"/>
                  <a:pt x="158" y="779"/>
                  <a:pt x="158" y="779"/>
                </a:cubicBezTo>
                <a:cubicBezTo>
                  <a:pt x="160" y="775"/>
                  <a:pt x="160" y="775"/>
                  <a:pt x="160" y="775"/>
                </a:cubicBezTo>
                <a:cubicBezTo>
                  <a:pt x="165" y="779"/>
                  <a:pt x="165" y="779"/>
                  <a:pt x="165" y="779"/>
                </a:cubicBezTo>
                <a:cubicBezTo>
                  <a:pt x="167" y="776"/>
                  <a:pt x="167" y="776"/>
                  <a:pt x="167" y="776"/>
                </a:cubicBezTo>
                <a:cubicBezTo>
                  <a:pt x="182" y="773"/>
                  <a:pt x="182" y="773"/>
                  <a:pt x="182" y="773"/>
                </a:cubicBezTo>
                <a:cubicBezTo>
                  <a:pt x="175" y="784"/>
                  <a:pt x="175" y="784"/>
                  <a:pt x="175" y="784"/>
                </a:cubicBezTo>
                <a:cubicBezTo>
                  <a:pt x="181" y="792"/>
                  <a:pt x="181" y="792"/>
                  <a:pt x="181" y="792"/>
                </a:cubicBezTo>
                <a:cubicBezTo>
                  <a:pt x="187" y="789"/>
                  <a:pt x="187" y="789"/>
                  <a:pt x="187" y="789"/>
                </a:cubicBezTo>
                <a:cubicBezTo>
                  <a:pt x="183" y="798"/>
                  <a:pt x="183" y="798"/>
                  <a:pt x="183" y="798"/>
                </a:cubicBezTo>
                <a:cubicBezTo>
                  <a:pt x="186" y="799"/>
                  <a:pt x="186" y="799"/>
                  <a:pt x="186" y="799"/>
                </a:cubicBezTo>
                <a:cubicBezTo>
                  <a:pt x="183" y="805"/>
                  <a:pt x="183" y="805"/>
                  <a:pt x="183" y="805"/>
                </a:cubicBezTo>
                <a:cubicBezTo>
                  <a:pt x="185" y="807"/>
                  <a:pt x="185" y="807"/>
                  <a:pt x="185" y="807"/>
                </a:cubicBezTo>
                <a:cubicBezTo>
                  <a:pt x="174" y="808"/>
                  <a:pt x="174" y="808"/>
                  <a:pt x="174" y="808"/>
                </a:cubicBezTo>
                <a:cubicBezTo>
                  <a:pt x="162" y="818"/>
                  <a:pt x="162" y="818"/>
                  <a:pt x="162" y="818"/>
                </a:cubicBezTo>
                <a:cubicBezTo>
                  <a:pt x="169" y="816"/>
                  <a:pt x="169" y="816"/>
                  <a:pt x="169" y="816"/>
                </a:cubicBezTo>
                <a:cubicBezTo>
                  <a:pt x="172" y="824"/>
                  <a:pt x="172" y="824"/>
                  <a:pt x="172" y="824"/>
                </a:cubicBezTo>
                <a:cubicBezTo>
                  <a:pt x="169" y="830"/>
                  <a:pt x="169" y="830"/>
                  <a:pt x="169" y="830"/>
                </a:cubicBezTo>
                <a:cubicBezTo>
                  <a:pt x="155" y="839"/>
                  <a:pt x="155" y="839"/>
                  <a:pt x="155" y="839"/>
                </a:cubicBezTo>
                <a:cubicBezTo>
                  <a:pt x="158" y="843"/>
                  <a:pt x="158" y="843"/>
                  <a:pt x="158" y="843"/>
                </a:cubicBezTo>
                <a:cubicBezTo>
                  <a:pt x="165" y="840"/>
                  <a:pt x="165" y="840"/>
                  <a:pt x="165" y="840"/>
                </a:cubicBezTo>
                <a:cubicBezTo>
                  <a:pt x="167" y="844"/>
                  <a:pt x="167" y="844"/>
                  <a:pt x="167" y="844"/>
                </a:cubicBezTo>
                <a:cubicBezTo>
                  <a:pt x="173" y="842"/>
                  <a:pt x="173" y="842"/>
                  <a:pt x="173" y="842"/>
                </a:cubicBezTo>
                <a:cubicBezTo>
                  <a:pt x="178" y="848"/>
                  <a:pt x="178" y="848"/>
                  <a:pt x="178" y="848"/>
                </a:cubicBezTo>
                <a:cubicBezTo>
                  <a:pt x="190" y="842"/>
                  <a:pt x="190" y="842"/>
                  <a:pt x="190" y="842"/>
                </a:cubicBezTo>
                <a:cubicBezTo>
                  <a:pt x="183" y="851"/>
                  <a:pt x="183" y="851"/>
                  <a:pt x="183" y="851"/>
                </a:cubicBezTo>
                <a:cubicBezTo>
                  <a:pt x="169" y="853"/>
                  <a:pt x="169" y="853"/>
                  <a:pt x="169" y="853"/>
                </a:cubicBezTo>
                <a:cubicBezTo>
                  <a:pt x="151" y="875"/>
                  <a:pt x="151" y="875"/>
                  <a:pt x="151" y="875"/>
                </a:cubicBezTo>
                <a:cubicBezTo>
                  <a:pt x="157" y="875"/>
                  <a:pt x="157" y="875"/>
                  <a:pt x="157" y="875"/>
                </a:cubicBezTo>
                <a:cubicBezTo>
                  <a:pt x="162" y="869"/>
                  <a:pt x="162" y="869"/>
                  <a:pt x="162" y="869"/>
                </a:cubicBezTo>
                <a:cubicBezTo>
                  <a:pt x="175" y="870"/>
                  <a:pt x="175" y="870"/>
                  <a:pt x="175" y="870"/>
                </a:cubicBezTo>
                <a:cubicBezTo>
                  <a:pt x="178" y="863"/>
                  <a:pt x="178" y="863"/>
                  <a:pt x="178" y="863"/>
                </a:cubicBezTo>
                <a:cubicBezTo>
                  <a:pt x="187" y="861"/>
                  <a:pt x="187" y="861"/>
                  <a:pt x="187" y="861"/>
                </a:cubicBezTo>
                <a:cubicBezTo>
                  <a:pt x="190" y="865"/>
                  <a:pt x="190" y="865"/>
                  <a:pt x="190" y="865"/>
                </a:cubicBezTo>
                <a:cubicBezTo>
                  <a:pt x="201" y="862"/>
                  <a:pt x="201" y="862"/>
                  <a:pt x="201" y="862"/>
                </a:cubicBezTo>
                <a:cubicBezTo>
                  <a:pt x="204" y="858"/>
                  <a:pt x="204" y="858"/>
                  <a:pt x="204" y="858"/>
                </a:cubicBezTo>
                <a:cubicBezTo>
                  <a:pt x="211" y="861"/>
                  <a:pt x="211" y="861"/>
                  <a:pt x="211" y="861"/>
                </a:cubicBezTo>
                <a:cubicBezTo>
                  <a:pt x="233" y="856"/>
                  <a:pt x="233" y="856"/>
                  <a:pt x="233" y="856"/>
                </a:cubicBezTo>
                <a:cubicBezTo>
                  <a:pt x="239" y="849"/>
                  <a:pt x="239" y="849"/>
                  <a:pt x="239" y="849"/>
                </a:cubicBezTo>
                <a:cubicBezTo>
                  <a:pt x="231" y="849"/>
                  <a:pt x="231" y="849"/>
                  <a:pt x="231" y="849"/>
                </a:cubicBezTo>
                <a:cubicBezTo>
                  <a:pt x="229" y="846"/>
                  <a:pt x="229" y="846"/>
                  <a:pt x="229" y="846"/>
                </a:cubicBezTo>
                <a:cubicBezTo>
                  <a:pt x="241" y="833"/>
                  <a:pt x="241" y="833"/>
                  <a:pt x="241" y="833"/>
                </a:cubicBezTo>
                <a:cubicBezTo>
                  <a:pt x="242" y="821"/>
                  <a:pt x="242" y="821"/>
                  <a:pt x="242" y="821"/>
                </a:cubicBezTo>
                <a:cubicBezTo>
                  <a:pt x="237" y="816"/>
                  <a:pt x="237" y="816"/>
                  <a:pt x="237" y="816"/>
                </a:cubicBezTo>
                <a:cubicBezTo>
                  <a:pt x="222" y="818"/>
                  <a:pt x="222" y="818"/>
                  <a:pt x="222" y="818"/>
                </a:cubicBezTo>
                <a:cubicBezTo>
                  <a:pt x="225" y="809"/>
                  <a:pt x="225" y="809"/>
                  <a:pt x="225" y="809"/>
                </a:cubicBezTo>
                <a:cubicBezTo>
                  <a:pt x="217" y="800"/>
                  <a:pt x="217" y="800"/>
                  <a:pt x="217" y="800"/>
                </a:cubicBezTo>
                <a:cubicBezTo>
                  <a:pt x="223" y="803"/>
                  <a:pt x="223" y="803"/>
                  <a:pt x="223" y="803"/>
                </a:cubicBezTo>
                <a:cubicBezTo>
                  <a:pt x="223" y="798"/>
                  <a:pt x="223" y="798"/>
                  <a:pt x="223" y="798"/>
                </a:cubicBezTo>
                <a:cubicBezTo>
                  <a:pt x="213" y="782"/>
                  <a:pt x="213" y="782"/>
                  <a:pt x="213" y="782"/>
                </a:cubicBezTo>
                <a:cubicBezTo>
                  <a:pt x="207" y="780"/>
                  <a:pt x="207" y="780"/>
                  <a:pt x="207" y="780"/>
                </a:cubicBezTo>
                <a:cubicBezTo>
                  <a:pt x="201" y="760"/>
                  <a:pt x="201" y="760"/>
                  <a:pt x="201" y="760"/>
                </a:cubicBezTo>
                <a:cubicBezTo>
                  <a:pt x="188" y="750"/>
                  <a:pt x="188" y="750"/>
                  <a:pt x="188" y="750"/>
                </a:cubicBezTo>
                <a:cubicBezTo>
                  <a:pt x="180" y="750"/>
                  <a:pt x="180" y="750"/>
                  <a:pt x="180" y="750"/>
                </a:cubicBezTo>
                <a:cubicBezTo>
                  <a:pt x="188" y="745"/>
                  <a:pt x="188" y="745"/>
                  <a:pt x="188" y="745"/>
                </a:cubicBezTo>
                <a:cubicBezTo>
                  <a:pt x="184" y="740"/>
                  <a:pt x="184" y="740"/>
                  <a:pt x="184" y="740"/>
                </a:cubicBezTo>
                <a:cubicBezTo>
                  <a:pt x="188" y="739"/>
                  <a:pt x="188" y="739"/>
                  <a:pt x="188" y="739"/>
                </a:cubicBezTo>
                <a:cubicBezTo>
                  <a:pt x="193" y="731"/>
                  <a:pt x="193" y="731"/>
                  <a:pt x="193" y="731"/>
                </a:cubicBezTo>
                <a:cubicBezTo>
                  <a:pt x="199" y="718"/>
                  <a:pt x="199" y="718"/>
                  <a:pt x="199" y="718"/>
                </a:cubicBezTo>
                <a:cubicBezTo>
                  <a:pt x="197" y="712"/>
                  <a:pt x="197" y="712"/>
                  <a:pt x="197" y="712"/>
                </a:cubicBezTo>
                <a:cubicBezTo>
                  <a:pt x="169" y="715"/>
                  <a:pt x="169" y="715"/>
                  <a:pt x="169" y="715"/>
                </a:cubicBezTo>
                <a:cubicBezTo>
                  <a:pt x="167" y="712"/>
                  <a:pt x="167" y="712"/>
                  <a:pt x="167" y="712"/>
                </a:cubicBezTo>
                <a:cubicBezTo>
                  <a:pt x="173" y="708"/>
                  <a:pt x="173" y="708"/>
                  <a:pt x="173" y="708"/>
                </a:cubicBezTo>
                <a:cubicBezTo>
                  <a:pt x="169" y="706"/>
                  <a:pt x="169" y="706"/>
                  <a:pt x="169" y="706"/>
                </a:cubicBezTo>
                <a:cubicBezTo>
                  <a:pt x="181" y="696"/>
                  <a:pt x="181" y="696"/>
                  <a:pt x="181" y="696"/>
                </a:cubicBezTo>
                <a:cubicBezTo>
                  <a:pt x="181" y="689"/>
                  <a:pt x="181" y="689"/>
                  <a:pt x="181" y="689"/>
                </a:cubicBezTo>
                <a:cubicBezTo>
                  <a:pt x="180" y="689"/>
                  <a:pt x="180" y="689"/>
                  <a:pt x="180" y="689"/>
                </a:cubicBezTo>
                <a:cubicBezTo>
                  <a:pt x="159" y="691"/>
                  <a:pt x="159" y="691"/>
                  <a:pt x="159" y="691"/>
                </a:cubicBezTo>
                <a:cubicBezTo>
                  <a:pt x="157" y="698"/>
                  <a:pt x="157" y="698"/>
                  <a:pt x="157" y="698"/>
                </a:cubicBezTo>
                <a:cubicBezTo>
                  <a:pt x="154" y="699"/>
                  <a:pt x="154" y="699"/>
                  <a:pt x="154" y="699"/>
                </a:cubicBezTo>
                <a:cubicBezTo>
                  <a:pt x="153" y="702"/>
                  <a:pt x="153" y="702"/>
                  <a:pt x="153" y="702"/>
                </a:cubicBezTo>
                <a:cubicBezTo>
                  <a:pt x="155" y="705"/>
                  <a:pt x="155" y="705"/>
                  <a:pt x="155" y="705"/>
                </a:cubicBezTo>
                <a:cubicBezTo>
                  <a:pt x="149" y="708"/>
                  <a:pt x="149" y="708"/>
                  <a:pt x="149" y="708"/>
                </a:cubicBezTo>
                <a:cubicBezTo>
                  <a:pt x="150" y="715"/>
                  <a:pt x="150" y="715"/>
                  <a:pt x="150" y="715"/>
                </a:cubicBezTo>
                <a:cubicBezTo>
                  <a:pt x="148" y="715"/>
                  <a:pt x="148" y="715"/>
                  <a:pt x="148" y="715"/>
                </a:cubicBezTo>
                <a:cubicBezTo>
                  <a:pt x="148" y="719"/>
                  <a:pt x="148" y="719"/>
                  <a:pt x="148" y="719"/>
                </a:cubicBezTo>
                <a:cubicBezTo>
                  <a:pt x="152" y="721"/>
                  <a:pt x="152" y="721"/>
                  <a:pt x="152" y="721"/>
                </a:cubicBezTo>
                <a:lnTo>
                  <a:pt x="148" y="733"/>
                </a:lnTo>
                <a:close/>
                <a:moveTo>
                  <a:pt x="296" y="593"/>
                </a:moveTo>
                <a:cubicBezTo>
                  <a:pt x="293" y="594"/>
                  <a:pt x="293" y="594"/>
                  <a:pt x="293" y="594"/>
                </a:cubicBezTo>
                <a:cubicBezTo>
                  <a:pt x="294" y="597"/>
                  <a:pt x="294" y="597"/>
                  <a:pt x="294" y="597"/>
                </a:cubicBezTo>
                <a:lnTo>
                  <a:pt x="296" y="593"/>
                </a:lnTo>
                <a:close/>
                <a:moveTo>
                  <a:pt x="2046" y="990"/>
                </a:moveTo>
                <a:cubicBezTo>
                  <a:pt x="2049" y="983"/>
                  <a:pt x="2049" y="983"/>
                  <a:pt x="2049" y="983"/>
                </a:cubicBezTo>
                <a:cubicBezTo>
                  <a:pt x="2044" y="986"/>
                  <a:pt x="2044" y="986"/>
                  <a:pt x="2044" y="986"/>
                </a:cubicBezTo>
                <a:cubicBezTo>
                  <a:pt x="2039" y="988"/>
                  <a:pt x="2039" y="988"/>
                  <a:pt x="2039" y="988"/>
                </a:cubicBezTo>
                <a:cubicBezTo>
                  <a:pt x="2024" y="982"/>
                  <a:pt x="2024" y="982"/>
                  <a:pt x="2024" y="982"/>
                </a:cubicBezTo>
                <a:cubicBezTo>
                  <a:pt x="2004" y="961"/>
                  <a:pt x="2004" y="961"/>
                  <a:pt x="2004" y="961"/>
                </a:cubicBezTo>
                <a:cubicBezTo>
                  <a:pt x="2002" y="964"/>
                  <a:pt x="2002" y="964"/>
                  <a:pt x="2002" y="964"/>
                </a:cubicBezTo>
                <a:cubicBezTo>
                  <a:pt x="2004" y="974"/>
                  <a:pt x="2004" y="974"/>
                  <a:pt x="2004" y="974"/>
                </a:cubicBezTo>
                <a:cubicBezTo>
                  <a:pt x="2002" y="986"/>
                  <a:pt x="2002" y="986"/>
                  <a:pt x="2002" y="986"/>
                </a:cubicBezTo>
                <a:cubicBezTo>
                  <a:pt x="1999" y="992"/>
                  <a:pt x="1999" y="992"/>
                  <a:pt x="1999" y="992"/>
                </a:cubicBezTo>
                <a:cubicBezTo>
                  <a:pt x="1999" y="997"/>
                  <a:pt x="1999" y="997"/>
                  <a:pt x="1999" y="997"/>
                </a:cubicBezTo>
                <a:cubicBezTo>
                  <a:pt x="1997" y="1001"/>
                  <a:pt x="1997" y="1001"/>
                  <a:pt x="1997" y="1001"/>
                </a:cubicBezTo>
                <a:cubicBezTo>
                  <a:pt x="1987" y="999"/>
                  <a:pt x="1987" y="999"/>
                  <a:pt x="1987" y="999"/>
                </a:cubicBezTo>
                <a:cubicBezTo>
                  <a:pt x="1987" y="1006"/>
                  <a:pt x="1987" y="1006"/>
                  <a:pt x="1987" y="1006"/>
                </a:cubicBezTo>
                <a:cubicBezTo>
                  <a:pt x="1980" y="1012"/>
                  <a:pt x="1980" y="1012"/>
                  <a:pt x="1980" y="1012"/>
                </a:cubicBezTo>
                <a:cubicBezTo>
                  <a:pt x="1979" y="1017"/>
                  <a:pt x="1979" y="1017"/>
                  <a:pt x="1979" y="1017"/>
                </a:cubicBezTo>
                <a:cubicBezTo>
                  <a:pt x="1983" y="1021"/>
                  <a:pt x="1983" y="1021"/>
                  <a:pt x="1983" y="1021"/>
                </a:cubicBezTo>
                <a:cubicBezTo>
                  <a:pt x="1982" y="1031"/>
                  <a:pt x="1982" y="1031"/>
                  <a:pt x="1982" y="1031"/>
                </a:cubicBezTo>
                <a:cubicBezTo>
                  <a:pt x="1995" y="1024"/>
                  <a:pt x="1995" y="1024"/>
                  <a:pt x="1995" y="1024"/>
                </a:cubicBezTo>
                <a:cubicBezTo>
                  <a:pt x="1987" y="1018"/>
                  <a:pt x="1987" y="1018"/>
                  <a:pt x="1987" y="1018"/>
                </a:cubicBezTo>
                <a:cubicBezTo>
                  <a:pt x="1985" y="1015"/>
                  <a:pt x="1985" y="1015"/>
                  <a:pt x="1985" y="1015"/>
                </a:cubicBezTo>
                <a:cubicBezTo>
                  <a:pt x="1988" y="1013"/>
                  <a:pt x="1988" y="1013"/>
                  <a:pt x="1988" y="1013"/>
                </a:cubicBezTo>
                <a:cubicBezTo>
                  <a:pt x="1996" y="1015"/>
                  <a:pt x="1996" y="1015"/>
                  <a:pt x="1996" y="1015"/>
                </a:cubicBezTo>
                <a:cubicBezTo>
                  <a:pt x="2005" y="1012"/>
                  <a:pt x="2005" y="1012"/>
                  <a:pt x="2005" y="1012"/>
                </a:cubicBezTo>
                <a:cubicBezTo>
                  <a:pt x="2022" y="1022"/>
                  <a:pt x="2022" y="1022"/>
                  <a:pt x="2022" y="1022"/>
                </a:cubicBezTo>
                <a:cubicBezTo>
                  <a:pt x="2030" y="1008"/>
                  <a:pt x="2030" y="1008"/>
                  <a:pt x="2030" y="1008"/>
                </a:cubicBezTo>
                <a:cubicBezTo>
                  <a:pt x="2053" y="999"/>
                  <a:pt x="2053" y="999"/>
                  <a:pt x="2053" y="999"/>
                </a:cubicBezTo>
                <a:cubicBezTo>
                  <a:pt x="2055" y="997"/>
                  <a:pt x="2055" y="997"/>
                  <a:pt x="2055" y="997"/>
                </a:cubicBezTo>
                <a:cubicBezTo>
                  <a:pt x="2048" y="998"/>
                  <a:pt x="2048" y="998"/>
                  <a:pt x="2048" y="998"/>
                </a:cubicBezTo>
                <a:lnTo>
                  <a:pt x="2046" y="990"/>
                </a:lnTo>
                <a:close/>
                <a:moveTo>
                  <a:pt x="417" y="414"/>
                </a:moveTo>
                <a:cubicBezTo>
                  <a:pt x="428" y="403"/>
                  <a:pt x="428" y="403"/>
                  <a:pt x="428" y="403"/>
                </a:cubicBezTo>
                <a:cubicBezTo>
                  <a:pt x="428" y="397"/>
                  <a:pt x="428" y="397"/>
                  <a:pt x="428" y="397"/>
                </a:cubicBezTo>
                <a:cubicBezTo>
                  <a:pt x="424" y="395"/>
                  <a:pt x="424" y="395"/>
                  <a:pt x="424" y="395"/>
                </a:cubicBezTo>
                <a:cubicBezTo>
                  <a:pt x="420" y="403"/>
                  <a:pt x="420" y="403"/>
                  <a:pt x="420" y="403"/>
                </a:cubicBezTo>
                <a:cubicBezTo>
                  <a:pt x="420" y="399"/>
                  <a:pt x="420" y="399"/>
                  <a:pt x="420" y="399"/>
                </a:cubicBezTo>
                <a:cubicBezTo>
                  <a:pt x="417" y="393"/>
                  <a:pt x="417" y="393"/>
                  <a:pt x="417" y="393"/>
                </a:cubicBezTo>
                <a:cubicBezTo>
                  <a:pt x="412" y="407"/>
                  <a:pt x="412" y="407"/>
                  <a:pt x="412" y="407"/>
                </a:cubicBezTo>
                <a:cubicBezTo>
                  <a:pt x="400" y="417"/>
                  <a:pt x="400" y="417"/>
                  <a:pt x="400" y="417"/>
                </a:cubicBezTo>
                <a:cubicBezTo>
                  <a:pt x="415" y="408"/>
                  <a:pt x="415" y="408"/>
                  <a:pt x="415" y="408"/>
                </a:cubicBezTo>
                <a:lnTo>
                  <a:pt x="417" y="414"/>
                </a:lnTo>
                <a:close/>
                <a:moveTo>
                  <a:pt x="1995" y="965"/>
                </a:moveTo>
                <a:cubicBezTo>
                  <a:pt x="1995" y="966"/>
                  <a:pt x="1995" y="966"/>
                  <a:pt x="1995" y="966"/>
                </a:cubicBezTo>
                <a:cubicBezTo>
                  <a:pt x="1997" y="967"/>
                  <a:pt x="1997" y="967"/>
                  <a:pt x="1997" y="967"/>
                </a:cubicBezTo>
                <a:lnTo>
                  <a:pt x="1995" y="965"/>
                </a:lnTo>
                <a:close/>
                <a:moveTo>
                  <a:pt x="2004" y="805"/>
                </a:moveTo>
                <a:cubicBezTo>
                  <a:pt x="2002" y="830"/>
                  <a:pt x="2002" y="830"/>
                  <a:pt x="2002" y="830"/>
                </a:cubicBezTo>
                <a:cubicBezTo>
                  <a:pt x="2002" y="842"/>
                  <a:pt x="2002" y="842"/>
                  <a:pt x="2002" y="842"/>
                </a:cubicBezTo>
                <a:cubicBezTo>
                  <a:pt x="2008" y="852"/>
                  <a:pt x="2008" y="852"/>
                  <a:pt x="2008" y="852"/>
                </a:cubicBezTo>
                <a:cubicBezTo>
                  <a:pt x="2007" y="862"/>
                  <a:pt x="2007" y="862"/>
                  <a:pt x="2007" y="862"/>
                </a:cubicBezTo>
                <a:cubicBezTo>
                  <a:pt x="2009" y="877"/>
                  <a:pt x="2009" y="877"/>
                  <a:pt x="2009" y="877"/>
                </a:cubicBezTo>
                <a:cubicBezTo>
                  <a:pt x="2005" y="901"/>
                  <a:pt x="2005" y="901"/>
                  <a:pt x="2005" y="901"/>
                </a:cubicBezTo>
                <a:cubicBezTo>
                  <a:pt x="2009" y="914"/>
                  <a:pt x="2009" y="914"/>
                  <a:pt x="2009" y="914"/>
                </a:cubicBezTo>
                <a:cubicBezTo>
                  <a:pt x="2005" y="939"/>
                  <a:pt x="2005" y="939"/>
                  <a:pt x="2005" y="939"/>
                </a:cubicBezTo>
                <a:cubicBezTo>
                  <a:pt x="2006" y="950"/>
                  <a:pt x="2006" y="950"/>
                  <a:pt x="2006" y="950"/>
                </a:cubicBezTo>
                <a:cubicBezTo>
                  <a:pt x="2008" y="951"/>
                  <a:pt x="2008" y="951"/>
                  <a:pt x="2008" y="951"/>
                </a:cubicBezTo>
                <a:cubicBezTo>
                  <a:pt x="2014" y="939"/>
                  <a:pt x="2014" y="939"/>
                  <a:pt x="2014" y="939"/>
                </a:cubicBezTo>
                <a:cubicBezTo>
                  <a:pt x="2024" y="941"/>
                  <a:pt x="2024" y="941"/>
                  <a:pt x="2024" y="941"/>
                </a:cubicBezTo>
                <a:cubicBezTo>
                  <a:pt x="2025" y="950"/>
                  <a:pt x="2025" y="950"/>
                  <a:pt x="2025" y="950"/>
                </a:cubicBezTo>
                <a:cubicBezTo>
                  <a:pt x="2026" y="947"/>
                  <a:pt x="2026" y="947"/>
                  <a:pt x="2026" y="947"/>
                </a:cubicBezTo>
                <a:cubicBezTo>
                  <a:pt x="2025" y="937"/>
                  <a:pt x="2025" y="937"/>
                  <a:pt x="2025" y="937"/>
                </a:cubicBezTo>
                <a:cubicBezTo>
                  <a:pt x="2020" y="935"/>
                  <a:pt x="2020" y="935"/>
                  <a:pt x="2020" y="935"/>
                </a:cubicBezTo>
                <a:cubicBezTo>
                  <a:pt x="2014" y="921"/>
                  <a:pt x="2014" y="921"/>
                  <a:pt x="2014" y="921"/>
                </a:cubicBezTo>
                <a:cubicBezTo>
                  <a:pt x="2020" y="892"/>
                  <a:pt x="2020" y="892"/>
                  <a:pt x="2020" y="892"/>
                </a:cubicBezTo>
                <a:cubicBezTo>
                  <a:pt x="2029" y="890"/>
                  <a:pt x="2029" y="890"/>
                  <a:pt x="2029" y="890"/>
                </a:cubicBezTo>
                <a:cubicBezTo>
                  <a:pt x="2040" y="900"/>
                  <a:pt x="2040" y="900"/>
                  <a:pt x="2040" y="900"/>
                </a:cubicBezTo>
                <a:cubicBezTo>
                  <a:pt x="2034" y="888"/>
                  <a:pt x="2034" y="888"/>
                  <a:pt x="2034" y="888"/>
                </a:cubicBezTo>
                <a:cubicBezTo>
                  <a:pt x="2022" y="846"/>
                  <a:pt x="2022" y="846"/>
                  <a:pt x="2022" y="846"/>
                </a:cubicBezTo>
                <a:cubicBezTo>
                  <a:pt x="2020" y="830"/>
                  <a:pt x="2020" y="830"/>
                  <a:pt x="2020" y="830"/>
                </a:cubicBezTo>
                <a:cubicBezTo>
                  <a:pt x="2023" y="819"/>
                  <a:pt x="2023" y="819"/>
                  <a:pt x="2023" y="819"/>
                </a:cubicBezTo>
                <a:cubicBezTo>
                  <a:pt x="2017" y="791"/>
                  <a:pt x="2017" y="791"/>
                  <a:pt x="2017" y="791"/>
                </a:cubicBezTo>
                <a:cubicBezTo>
                  <a:pt x="2014" y="788"/>
                  <a:pt x="2014" y="788"/>
                  <a:pt x="2014" y="788"/>
                </a:cubicBezTo>
                <a:cubicBezTo>
                  <a:pt x="2010" y="789"/>
                  <a:pt x="2010" y="789"/>
                  <a:pt x="2010" y="789"/>
                </a:cubicBezTo>
                <a:cubicBezTo>
                  <a:pt x="2015" y="801"/>
                  <a:pt x="2015" y="801"/>
                  <a:pt x="2015" y="801"/>
                </a:cubicBezTo>
                <a:cubicBezTo>
                  <a:pt x="2012" y="807"/>
                  <a:pt x="2012" y="807"/>
                  <a:pt x="2012" y="807"/>
                </a:cubicBezTo>
                <a:lnTo>
                  <a:pt x="2004" y="805"/>
                </a:lnTo>
                <a:close/>
                <a:moveTo>
                  <a:pt x="60" y="1509"/>
                </a:moveTo>
                <a:cubicBezTo>
                  <a:pt x="63" y="1508"/>
                  <a:pt x="63" y="1508"/>
                  <a:pt x="63" y="1508"/>
                </a:cubicBezTo>
                <a:cubicBezTo>
                  <a:pt x="59" y="1508"/>
                  <a:pt x="59" y="1508"/>
                  <a:pt x="59" y="1508"/>
                </a:cubicBezTo>
                <a:lnTo>
                  <a:pt x="60" y="1509"/>
                </a:lnTo>
                <a:close/>
                <a:moveTo>
                  <a:pt x="149" y="748"/>
                </a:moveTo>
                <a:cubicBezTo>
                  <a:pt x="146" y="754"/>
                  <a:pt x="146" y="754"/>
                  <a:pt x="146" y="754"/>
                </a:cubicBezTo>
                <a:cubicBezTo>
                  <a:pt x="152" y="748"/>
                  <a:pt x="152" y="748"/>
                  <a:pt x="152" y="748"/>
                </a:cubicBezTo>
                <a:lnTo>
                  <a:pt x="149" y="748"/>
                </a:lnTo>
                <a:close/>
                <a:moveTo>
                  <a:pt x="137" y="718"/>
                </a:moveTo>
                <a:cubicBezTo>
                  <a:pt x="148" y="725"/>
                  <a:pt x="148" y="725"/>
                  <a:pt x="148" y="725"/>
                </a:cubicBezTo>
                <a:cubicBezTo>
                  <a:pt x="149" y="722"/>
                  <a:pt x="149" y="722"/>
                  <a:pt x="149" y="722"/>
                </a:cubicBezTo>
                <a:cubicBezTo>
                  <a:pt x="145" y="721"/>
                  <a:pt x="145" y="721"/>
                  <a:pt x="145" y="721"/>
                </a:cubicBezTo>
                <a:cubicBezTo>
                  <a:pt x="142" y="712"/>
                  <a:pt x="142" y="712"/>
                  <a:pt x="142" y="712"/>
                </a:cubicBezTo>
                <a:lnTo>
                  <a:pt x="137" y="718"/>
                </a:lnTo>
                <a:close/>
                <a:moveTo>
                  <a:pt x="97" y="831"/>
                </a:moveTo>
                <a:cubicBezTo>
                  <a:pt x="92" y="832"/>
                  <a:pt x="92" y="832"/>
                  <a:pt x="92" y="832"/>
                </a:cubicBezTo>
                <a:cubicBezTo>
                  <a:pt x="97" y="835"/>
                  <a:pt x="97" y="835"/>
                  <a:pt x="97" y="835"/>
                </a:cubicBezTo>
                <a:cubicBezTo>
                  <a:pt x="92" y="839"/>
                  <a:pt x="92" y="839"/>
                  <a:pt x="92" y="839"/>
                </a:cubicBezTo>
                <a:cubicBezTo>
                  <a:pt x="100" y="839"/>
                  <a:pt x="100" y="839"/>
                  <a:pt x="100" y="839"/>
                </a:cubicBezTo>
                <a:cubicBezTo>
                  <a:pt x="95" y="844"/>
                  <a:pt x="95" y="844"/>
                  <a:pt x="95" y="844"/>
                </a:cubicBezTo>
                <a:cubicBezTo>
                  <a:pt x="102" y="842"/>
                  <a:pt x="102" y="842"/>
                  <a:pt x="102" y="842"/>
                </a:cubicBezTo>
                <a:cubicBezTo>
                  <a:pt x="99" y="846"/>
                  <a:pt x="99" y="846"/>
                  <a:pt x="99" y="846"/>
                </a:cubicBezTo>
                <a:cubicBezTo>
                  <a:pt x="105" y="846"/>
                  <a:pt x="105" y="846"/>
                  <a:pt x="105" y="846"/>
                </a:cubicBezTo>
                <a:cubicBezTo>
                  <a:pt x="127" y="833"/>
                  <a:pt x="127" y="833"/>
                  <a:pt x="127" y="833"/>
                </a:cubicBezTo>
                <a:cubicBezTo>
                  <a:pt x="141" y="833"/>
                  <a:pt x="141" y="833"/>
                  <a:pt x="141" y="833"/>
                </a:cubicBezTo>
                <a:cubicBezTo>
                  <a:pt x="145" y="817"/>
                  <a:pt x="145" y="817"/>
                  <a:pt x="145" y="817"/>
                </a:cubicBezTo>
                <a:cubicBezTo>
                  <a:pt x="145" y="804"/>
                  <a:pt x="145" y="804"/>
                  <a:pt x="145" y="804"/>
                </a:cubicBezTo>
                <a:cubicBezTo>
                  <a:pt x="142" y="796"/>
                  <a:pt x="142" y="796"/>
                  <a:pt x="142" y="796"/>
                </a:cubicBezTo>
                <a:cubicBezTo>
                  <a:pt x="144" y="794"/>
                  <a:pt x="144" y="794"/>
                  <a:pt x="144" y="794"/>
                </a:cubicBezTo>
                <a:cubicBezTo>
                  <a:pt x="151" y="788"/>
                  <a:pt x="151" y="788"/>
                  <a:pt x="151" y="788"/>
                </a:cubicBezTo>
                <a:cubicBezTo>
                  <a:pt x="150" y="782"/>
                  <a:pt x="150" y="782"/>
                  <a:pt x="150" y="782"/>
                </a:cubicBezTo>
                <a:cubicBezTo>
                  <a:pt x="151" y="786"/>
                  <a:pt x="151" y="786"/>
                  <a:pt x="151" y="786"/>
                </a:cubicBezTo>
                <a:cubicBezTo>
                  <a:pt x="152" y="784"/>
                  <a:pt x="152" y="784"/>
                  <a:pt x="152" y="784"/>
                </a:cubicBezTo>
                <a:cubicBezTo>
                  <a:pt x="146" y="780"/>
                  <a:pt x="146" y="780"/>
                  <a:pt x="146" y="780"/>
                </a:cubicBezTo>
                <a:cubicBezTo>
                  <a:pt x="148" y="773"/>
                  <a:pt x="148" y="773"/>
                  <a:pt x="148" y="773"/>
                </a:cubicBezTo>
                <a:cubicBezTo>
                  <a:pt x="144" y="768"/>
                  <a:pt x="144" y="768"/>
                  <a:pt x="144" y="768"/>
                </a:cubicBezTo>
                <a:cubicBezTo>
                  <a:pt x="131" y="772"/>
                  <a:pt x="131" y="772"/>
                  <a:pt x="131" y="772"/>
                </a:cubicBezTo>
                <a:cubicBezTo>
                  <a:pt x="134" y="767"/>
                  <a:pt x="134" y="767"/>
                  <a:pt x="134" y="767"/>
                </a:cubicBezTo>
                <a:cubicBezTo>
                  <a:pt x="129" y="765"/>
                  <a:pt x="129" y="765"/>
                  <a:pt x="129" y="765"/>
                </a:cubicBezTo>
                <a:cubicBezTo>
                  <a:pt x="127" y="773"/>
                  <a:pt x="127" y="773"/>
                  <a:pt x="127" y="773"/>
                </a:cubicBezTo>
                <a:cubicBezTo>
                  <a:pt x="126" y="767"/>
                  <a:pt x="126" y="767"/>
                  <a:pt x="126" y="767"/>
                </a:cubicBezTo>
                <a:cubicBezTo>
                  <a:pt x="120" y="770"/>
                  <a:pt x="120" y="770"/>
                  <a:pt x="120" y="770"/>
                </a:cubicBezTo>
                <a:cubicBezTo>
                  <a:pt x="111" y="779"/>
                  <a:pt x="111" y="779"/>
                  <a:pt x="111" y="779"/>
                </a:cubicBezTo>
                <a:cubicBezTo>
                  <a:pt x="118" y="781"/>
                  <a:pt x="118" y="781"/>
                  <a:pt x="118" y="781"/>
                </a:cubicBezTo>
                <a:cubicBezTo>
                  <a:pt x="114" y="789"/>
                  <a:pt x="114" y="789"/>
                  <a:pt x="114" y="789"/>
                </a:cubicBezTo>
                <a:cubicBezTo>
                  <a:pt x="99" y="788"/>
                  <a:pt x="99" y="788"/>
                  <a:pt x="99" y="788"/>
                </a:cubicBezTo>
                <a:cubicBezTo>
                  <a:pt x="97" y="791"/>
                  <a:pt x="97" y="791"/>
                  <a:pt x="97" y="791"/>
                </a:cubicBezTo>
                <a:cubicBezTo>
                  <a:pt x="98" y="795"/>
                  <a:pt x="98" y="795"/>
                  <a:pt x="98" y="795"/>
                </a:cubicBezTo>
                <a:cubicBezTo>
                  <a:pt x="95" y="795"/>
                  <a:pt x="95" y="795"/>
                  <a:pt x="95" y="795"/>
                </a:cubicBezTo>
                <a:cubicBezTo>
                  <a:pt x="101" y="798"/>
                  <a:pt x="101" y="798"/>
                  <a:pt x="101" y="798"/>
                </a:cubicBezTo>
                <a:cubicBezTo>
                  <a:pt x="95" y="803"/>
                  <a:pt x="95" y="803"/>
                  <a:pt x="95" y="803"/>
                </a:cubicBezTo>
                <a:cubicBezTo>
                  <a:pt x="98" y="808"/>
                  <a:pt x="98" y="808"/>
                  <a:pt x="98" y="808"/>
                </a:cubicBezTo>
                <a:cubicBezTo>
                  <a:pt x="109" y="811"/>
                  <a:pt x="109" y="811"/>
                  <a:pt x="109" y="811"/>
                </a:cubicBezTo>
                <a:cubicBezTo>
                  <a:pt x="99" y="824"/>
                  <a:pt x="99" y="824"/>
                  <a:pt x="99" y="824"/>
                </a:cubicBezTo>
                <a:cubicBezTo>
                  <a:pt x="110" y="819"/>
                  <a:pt x="110" y="819"/>
                  <a:pt x="110" y="819"/>
                </a:cubicBezTo>
                <a:cubicBezTo>
                  <a:pt x="112" y="823"/>
                  <a:pt x="112" y="823"/>
                  <a:pt x="112" y="823"/>
                </a:cubicBezTo>
                <a:cubicBezTo>
                  <a:pt x="101" y="824"/>
                  <a:pt x="101" y="824"/>
                  <a:pt x="101" y="824"/>
                </a:cubicBezTo>
                <a:lnTo>
                  <a:pt x="97" y="831"/>
                </a:lnTo>
                <a:close/>
                <a:moveTo>
                  <a:pt x="140" y="701"/>
                </a:moveTo>
                <a:cubicBezTo>
                  <a:pt x="143" y="698"/>
                  <a:pt x="143" y="698"/>
                  <a:pt x="143" y="698"/>
                </a:cubicBezTo>
                <a:cubicBezTo>
                  <a:pt x="143" y="693"/>
                  <a:pt x="143" y="693"/>
                  <a:pt x="143" y="693"/>
                </a:cubicBezTo>
                <a:cubicBezTo>
                  <a:pt x="133" y="699"/>
                  <a:pt x="133" y="699"/>
                  <a:pt x="133" y="699"/>
                </a:cubicBezTo>
                <a:cubicBezTo>
                  <a:pt x="133" y="709"/>
                  <a:pt x="133" y="709"/>
                  <a:pt x="133" y="709"/>
                </a:cubicBezTo>
                <a:cubicBezTo>
                  <a:pt x="141" y="703"/>
                  <a:pt x="141" y="703"/>
                  <a:pt x="141" y="703"/>
                </a:cubicBezTo>
                <a:lnTo>
                  <a:pt x="140" y="701"/>
                </a:lnTo>
                <a:close/>
                <a:moveTo>
                  <a:pt x="408" y="390"/>
                </a:moveTo>
                <a:cubicBezTo>
                  <a:pt x="408" y="395"/>
                  <a:pt x="408" y="395"/>
                  <a:pt x="408" y="395"/>
                </a:cubicBezTo>
                <a:cubicBezTo>
                  <a:pt x="401" y="401"/>
                  <a:pt x="401" y="401"/>
                  <a:pt x="401" y="401"/>
                </a:cubicBezTo>
                <a:cubicBezTo>
                  <a:pt x="411" y="402"/>
                  <a:pt x="411" y="402"/>
                  <a:pt x="411" y="402"/>
                </a:cubicBezTo>
                <a:lnTo>
                  <a:pt x="408" y="390"/>
                </a:lnTo>
                <a:close/>
                <a:moveTo>
                  <a:pt x="959" y="356"/>
                </a:moveTo>
                <a:cubicBezTo>
                  <a:pt x="963" y="363"/>
                  <a:pt x="963" y="363"/>
                  <a:pt x="963" y="363"/>
                </a:cubicBezTo>
                <a:cubicBezTo>
                  <a:pt x="962" y="358"/>
                  <a:pt x="962" y="358"/>
                  <a:pt x="962" y="358"/>
                </a:cubicBezTo>
                <a:cubicBezTo>
                  <a:pt x="972" y="366"/>
                  <a:pt x="972" y="366"/>
                  <a:pt x="972" y="366"/>
                </a:cubicBezTo>
                <a:cubicBezTo>
                  <a:pt x="982" y="363"/>
                  <a:pt x="982" y="363"/>
                  <a:pt x="982" y="363"/>
                </a:cubicBezTo>
                <a:cubicBezTo>
                  <a:pt x="962" y="338"/>
                  <a:pt x="962" y="338"/>
                  <a:pt x="962" y="338"/>
                </a:cubicBezTo>
                <a:cubicBezTo>
                  <a:pt x="957" y="345"/>
                  <a:pt x="957" y="345"/>
                  <a:pt x="957" y="345"/>
                </a:cubicBezTo>
                <a:cubicBezTo>
                  <a:pt x="960" y="347"/>
                  <a:pt x="960" y="347"/>
                  <a:pt x="960" y="347"/>
                </a:cubicBezTo>
                <a:cubicBezTo>
                  <a:pt x="956" y="347"/>
                  <a:pt x="956" y="347"/>
                  <a:pt x="956" y="347"/>
                </a:cubicBezTo>
                <a:lnTo>
                  <a:pt x="959" y="356"/>
                </a:lnTo>
                <a:close/>
                <a:moveTo>
                  <a:pt x="1113" y="224"/>
                </a:moveTo>
                <a:cubicBezTo>
                  <a:pt x="1115" y="218"/>
                  <a:pt x="1115" y="218"/>
                  <a:pt x="1115" y="218"/>
                </a:cubicBezTo>
                <a:cubicBezTo>
                  <a:pt x="1114" y="217"/>
                  <a:pt x="1114" y="217"/>
                  <a:pt x="1114" y="217"/>
                </a:cubicBezTo>
                <a:cubicBezTo>
                  <a:pt x="1106" y="217"/>
                  <a:pt x="1106" y="217"/>
                  <a:pt x="1106" y="217"/>
                </a:cubicBezTo>
                <a:cubicBezTo>
                  <a:pt x="1103" y="224"/>
                  <a:pt x="1103" y="224"/>
                  <a:pt x="1103" y="224"/>
                </a:cubicBezTo>
                <a:cubicBezTo>
                  <a:pt x="1103" y="235"/>
                  <a:pt x="1103" y="235"/>
                  <a:pt x="1103" y="235"/>
                </a:cubicBezTo>
                <a:cubicBezTo>
                  <a:pt x="1121" y="227"/>
                  <a:pt x="1121" y="227"/>
                  <a:pt x="1121" y="227"/>
                </a:cubicBezTo>
                <a:lnTo>
                  <a:pt x="1113" y="224"/>
                </a:lnTo>
                <a:close/>
                <a:moveTo>
                  <a:pt x="940" y="333"/>
                </a:moveTo>
                <a:cubicBezTo>
                  <a:pt x="936" y="332"/>
                  <a:pt x="936" y="332"/>
                  <a:pt x="936" y="332"/>
                </a:cubicBezTo>
                <a:cubicBezTo>
                  <a:pt x="938" y="336"/>
                  <a:pt x="938" y="336"/>
                  <a:pt x="938" y="336"/>
                </a:cubicBezTo>
                <a:lnTo>
                  <a:pt x="940" y="333"/>
                </a:lnTo>
                <a:close/>
                <a:moveTo>
                  <a:pt x="892" y="297"/>
                </a:moveTo>
                <a:cubicBezTo>
                  <a:pt x="892" y="306"/>
                  <a:pt x="892" y="306"/>
                  <a:pt x="892" y="306"/>
                </a:cubicBezTo>
                <a:cubicBezTo>
                  <a:pt x="899" y="299"/>
                  <a:pt x="899" y="299"/>
                  <a:pt x="899" y="299"/>
                </a:cubicBezTo>
                <a:cubicBezTo>
                  <a:pt x="894" y="308"/>
                  <a:pt x="894" y="308"/>
                  <a:pt x="894" y="308"/>
                </a:cubicBezTo>
                <a:cubicBezTo>
                  <a:pt x="903" y="314"/>
                  <a:pt x="903" y="314"/>
                  <a:pt x="903" y="314"/>
                </a:cubicBezTo>
                <a:cubicBezTo>
                  <a:pt x="895" y="317"/>
                  <a:pt x="895" y="317"/>
                  <a:pt x="895" y="317"/>
                </a:cubicBezTo>
                <a:cubicBezTo>
                  <a:pt x="896" y="326"/>
                  <a:pt x="896" y="326"/>
                  <a:pt x="896" y="326"/>
                </a:cubicBezTo>
                <a:cubicBezTo>
                  <a:pt x="911" y="326"/>
                  <a:pt x="911" y="326"/>
                  <a:pt x="911" y="326"/>
                </a:cubicBezTo>
                <a:cubicBezTo>
                  <a:pt x="908" y="328"/>
                  <a:pt x="908" y="328"/>
                  <a:pt x="908" y="328"/>
                </a:cubicBezTo>
                <a:cubicBezTo>
                  <a:pt x="913" y="335"/>
                  <a:pt x="913" y="335"/>
                  <a:pt x="913" y="335"/>
                </a:cubicBezTo>
                <a:cubicBezTo>
                  <a:pt x="917" y="329"/>
                  <a:pt x="917" y="329"/>
                  <a:pt x="917" y="329"/>
                </a:cubicBezTo>
                <a:cubicBezTo>
                  <a:pt x="930" y="333"/>
                  <a:pt x="930" y="333"/>
                  <a:pt x="930" y="333"/>
                </a:cubicBezTo>
                <a:cubicBezTo>
                  <a:pt x="927" y="329"/>
                  <a:pt x="927" y="329"/>
                  <a:pt x="927" y="329"/>
                </a:cubicBezTo>
                <a:cubicBezTo>
                  <a:pt x="933" y="327"/>
                  <a:pt x="933" y="327"/>
                  <a:pt x="933" y="327"/>
                </a:cubicBezTo>
                <a:cubicBezTo>
                  <a:pt x="936" y="332"/>
                  <a:pt x="936" y="332"/>
                  <a:pt x="936" y="332"/>
                </a:cubicBezTo>
                <a:cubicBezTo>
                  <a:pt x="945" y="328"/>
                  <a:pt x="945" y="328"/>
                  <a:pt x="945" y="328"/>
                </a:cubicBezTo>
                <a:cubicBezTo>
                  <a:pt x="926" y="310"/>
                  <a:pt x="926" y="310"/>
                  <a:pt x="926" y="310"/>
                </a:cubicBezTo>
                <a:cubicBezTo>
                  <a:pt x="917" y="281"/>
                  <a:pt x="917" y="281"/>
                  <a:pt x="917" y="281"/>
                </a:cubicBezTo>
                <a:cubicBezTo>
                  <a:pt x="917" y="261"/>
                  <a:pt x="917" y="261"/>
                  <a:pt x="917" y="261"/>
                </a:cubicBezTo>
                <a:cubicBezTo>
                  <a:pt x="923" y="249"/>
                  <a:pt x="923" y="249"/>
                  <a:pt x="923" y="249"/>
                </a:cubicBezTo>
                <a:cubicBezTo>
                  <a:pt x="918" y="248"/>
                  <a:pt x="918" y="248"/>
                  <a:pt x="918" y="248"/>
                </a:cubicBezTo>
                <a:cubicBezTo>
                  <a:pt x="927" y="243"/>
                  <a:pt x="927" y="243"/>
                  <a:pt x="927" y="243"/>
                </a:cubicBezTo>
                <a:cubicBezTo>
                  <a:pt x="927" y="238"/>
                  <a:pt x="927" y="238"/>
                  <a:pt x="927" y="238"/>
                </a:cubicBezTo>
                <a:cubicBezTo>
                  <a:pt x="920" y="239"/>
                  <a:pt x="920" y="239"/>
                  <a:pt x="920" y="239"/>
                </a:cubicBezTo>
                <a:cubicBezTo>
                  <a:pt x="929" y="231"/>
                  <a:pt x="929" y="231"/>
                  <a:pt x="929" y="231"/>
                </a:cubicBezTo>
                <a:cubicBezTo>
                  <a:pt x="915" y="234"/>
                  <a:pt x="902" y="236"/>
                  <a:pt x="888" y="238"/>
                </a:cubicBezTo>
                <a:cubicBezTo>
                  <a:pt x="891" y="239"/>
                  <a:pt x="891" y="239"/>
                  <a:pt x="891" y="239"/>
                </a:cubicBezTo>
                <a:cubicBezTo>
                  <a:pt x="880" y="245"/>
                  <a:pt x="880" y="245"/>
                  <a:pt x="880" y="245"/>
                </a:cubicBezTo>
                <a:cubicBezTo>
                  <a:pt x="885" y="256"/>
                  <a:pt x="885" y="256"/>
                  <a:pt x="885" y="256"/>
                </a:cubicBezTo>
                <a:cubicBezTo>
                  <a:pt x="887" y="254"/>
                  <a:pt x="887" y="254"/>
                  <a:pt x="887" y="254"/>
                </a:cubicBezTo>
                <a:cubicBezTo>
                  <a:pt x="878" y="277"/>
                  <a:pt x="878" y="277"/>
                  <a:pt x="878" y="277"/>
                </a:cubicBezTo>
                <a:cubicBezTo>
                  <a:pt x="869" y="276"/>
                  <a:pt x="869" y="276"/>
                  <a:pt x="869" y="276"/>
                </a:cubicBezTo>
                <a:cubicBezTo>
                  <a:pt x="867" y="287"/>
                  <a:pt x="867" y="287"/>
                  <a:pt x="867" y="287"/>
                </a:cubicBezTo>
                <a:cubicBezTo>
                  <a:pt x="869" y="295"/>
                  <a:pt x="869" y="295"/>
                  <a:pt x="869" y="295"/>
                </a:cubicBezTo>
                <a:lnTo>
                  <a:pt x="892" y="297"/>
                </a:lnTo>
                <a:close/>
                <a:moveTo>
                  <a:pt x="1161" y="235"/>
                </a:moveTo>
                <a:cubicBezTo>
                  <a:pt x="1153" y="235"/>
                  <a:pt x="1153" y="235"/>
                  <a:pt x="1153" y="235"/>
                </a:cubicBezTo>
                <a:cubicBezTo>
                  <a:pt x="1159" y="242"/>
                  <a:pt x="1159" y="242"/>
                  <a:pt x="1159" y="242"/>
                </a:cubicBezTo>
                <a:lnTo>
                  <a:pt x="1161" y="235"/>
                </a:lnTo>
                <a:close/>
                <a:moveTo>
                  <a:pt x="2050" y="990"/>
                </a:moveTo>
                <a:cubicBezTo>
                  <a:pt x="2050" y="992"/>
                  <a:pt x="2050" y="992"/>
                  <a:pt x="2050" y="992"/>
                </a:cubicBezTo>
                <a:cubicBezTo>
                  <a:pt x="2061" y="981"/>
                  <a:pt x="2061" y="981"/>
                  <a:pt x="2061" y="981"/>
                </a:cubicBezTo>
                <a:cubicBezTo>
                  <a:pt x="2059" y="979"/>
                  <a:pt x="2059" y="979"/>
                  <a:pt x="2059" y="979"/>
                </a:cubicBezTo>
                <a:lnTo>
                  <a:pt x="2050" y="990"/>
                </a:lnTo>
                <a:close/>
                <a:moveTo>
                  <a:pt x="1957" y="304"/>
                </a:moveTo>
                <a:cubicBezTo>
                  <a:pt x="1967" y="298"/>
                  <a:pt x="1967" y="298"/>
                  <a:pt x="1967" y="298"/>
                </a:cubicBezTo>
                <a:cubicBezTo>
                  <a:pt x="1963" y="291"/>
                  <a:pt x="1963" y="291"/>
                  <a:pt x="1963" y="291"/>
                </a:cubicBezTo>
                <a:cubicBezTo>
                  <a:pt x="1956" y="296"/>
                  <a:pt x="1956" y="296"/>
                  <a:pt x="1956" y="296"/>
                </a:cubicBezTo>
                <a:cubicBezTo>
                  <a:pt x="1953" y="303"/>
                  <a:pt x="1953" y="303"/>
                  <a:pt x="1953" y="303"/>
                </a:cubicBezTo>
                <a:lnTo>
                  <a:pt x="1957" y="304"/>
                </a:lnTo>
                <a:close/>
                <a:moveTo>
                  <a:pt x="1986" y="256"/>
                </a:moveTo>
                <a:cubicBezTo>
                  <a:pt x="1977" y="257"/>
                  <a:pt x="1977" y="257"/>
                  <a:pt x="1977" y="257"/>
                </a:cubicBezTo>
                <a:cubicBezTo>
                  <a:pt x="1971" y="256"/>
                  <a:pt x="1971" y="256"/>
                  <a:pt x="1971" y="256"/>
                </a:cubicBezTo>
                <a:cubicBezTo>
                  <a:pt x="1967" y="266"/>
                  <a:pt x="1967" y="266"/>
                  <a:pt x="1967" y="266"/>
                </a:cubicBezTo>
                <a:cubicBezTo>
                  <a:pt x="1983" y="266"/>
                  <a:pt x="1983" y="266"/>
                  <a:pt x="1983" y="266"/>
                </a:cubicBezTo>
                <a:lnTo>
                  <a:pt x="1986" y="256"/>
                </a:lnTo>
                <a:close/>
                <a:moveTo>
                  <a:pt x="889" y="321"/>
                </a:moveTo>
                <a:cubicBezTo>
                  <a:pt x="889" y="310"/>
                  <a:pt x="889" y="310"/>
                  <a:pt x="889" y="310"/>
                </a:cubicBezTo>
                <a:cubicBezTo>
                  <a:pt x="885" y="306"/>
                  <a:pt x="885" y="306"/>
                  <a:pt x="885" y="306"/>
                </a:cubicBezTo>
                <a:cubicBezTo>
                  <a:pt x="877" y="306"/>
                  <a:pt x="877" y="306"/>
                  <a:pt x="877" y="306"/>
                </a:cubicBezTo>
                <a:lnTo>
                  <a:pt x="889" y="321"/>
                </a:lnTo>
                <a:close/>
                <a:moveTo>
                  <a:pt x="2348" y="371"/>
                </a:moveTo>
                <a:cubicBezTo>
                  <a:pt x="2349" y="363"/>
                  <a:pt x="2349" y="363"/>
                  <a:pt x="2349" y="363"/>
                </a:cubicBezTo>
                <a:cubicBezTo>
                  <a:pt x="2333" y="355"/>
                  <a:pt x="2333" y="355"/>
                  <a:pt x="2333" y="355"/>
                </a:cubicBezTo>
                <a:cubicBezTo>
                  <a:pt x="2330" y="358"/>
                  <a:pt x="2330" y="358"/>
                  <a:pt x="2330" y="358"/>
                </a:cubicBezTo>
                <a:cubicBezTo>
                  <a:pt x="2339" y="370"/>
                  <a:pt x="2339" y="370"/>
                  <a:pt x="2339" y="370"/>
                </a:cubicBezTo>
                <a:lnTo>
                  <a:pt x="2348" y="371"/>
                </a:lnTo>
                <a:close/>
                <a:moveTo>
                  <a:pt x="1954" y="295"/>
                </a:moveTo>
                <a:cubicBezTo>
                  <a:pt x="1942" y="292"/>
                  <a:pt x="1942" y="292"/>
                  <a:pt x="1942" y="292"/>
                </a:cubicBezTo>
                <a:cubicBezTo>
                  <a:pt x="1939" y="295"/>
                  <a:pt x="1939" y="295"/>
                  <a:pt x="1939" y="295"/>
                </a:cubicBezTo>
                <a:cubicBezTo>
                  <a:pt x="1948" y="299"/>
                  <a:pt x="1948" y="299"/>
                  <a:pt x="1948" y="299"/>
                </a:cubicBezTo>
                <a:lnTo>
                  <a:pt x="1954" y="295"/>
                </a:lnTo>
                <a:close/>
                <a:moveTo>
                  <a:pt x="1217" y="235"/>
                </a:moveTo>
                <a:cubicBezTo>
                  <a:pt x="1210" y="243"/>
                  <a:pt x="1210" y="243"/>
                  <a:pt x="1210" y="243"/>
                </a:cubicBezTo>
                <a:cubicBezTo>
                  <a:pt x="1220" y="248"/>
                  <a:pt x="1220" y="248"/>
                  <a:pt x="1220" y="248"/>
                </a:cubicBezTo>
                <a:lnTo>
                  <a:pt x="1217" y="235"/>
                </a:lnTo>
                <a:close/>
                <a:moveTo>
                  <a:pt x="1193" y="256"/>
                </a:moveTo>
                <a:cubicBezTo>
                  <a:pt x="1188" y="268"/>
                  <a:pt x="1188" y="268"/>
                  <a:pt x="1188" y="268"/>
                </a:cubicBezTo>
                <a:cubicBezTo>
                  <a:pt x="1205" y="258"/>
                  <a:pt x="1205" y="258"/>
                  <a:pt x="1205" y="258"/>
                </a:cubicBezTo>
                <a:lnTo>
                  <a:pt x="1193" y="256"/>
                </a:lnTo>
                <a:close/>
                <a:moveTo>
                  <a:pt x="936" y="332"/>
                </a:moveTo>
                <a:cubicBezTo>
                  <a:pt x="936" y="332"/>
                  <a:pt x="936" y="332"/>
                  <a:pt x="936" y="332"/>
                </a:cubicBezTo>
                <a:cubicBezTo>
                  <a:pt x="934" y="332"/>
                  <a:pt x="934" y="332"/>
                  <a:pt x="934" y="332"/>
                </a:cubicBezTo>
                <a:lnTo>
                  <a:pt x="936" y="332"/>
                </a:lnTo>
                <a:close/>
                <a:moveTo>
                  <a:pt x="466" y="354"/>
                </a:moveTo>
                <a:cubicBezTo>
                  <a:pt x="458" y="352"/>
                  <a:pt x="458" y="352"/>
                  <a:pt x="458" y="352"/>
                </a:cubicBezTo>
                <a:cubicBezTo>
                  <a:pt x="462" y="361"/>
                  <a:pt x="462" y="361"/>
                  <a:pt x="462" y="361"/>
                </a:cubicBezTo>
                <a:lnTo>
                  <a:pt x="466" y="354"/>
                </a:lnTo>
                <a:close/>
                <a:moveTo>
                  <a:pt x="473" y="351"/>
                </a:moveTo>
                <a:cubicBezTo>
                  <a:pt x="469" y="348"/>
                  <a:pt x="469" y="348"/>
                  <a:pt x="469" y="348"/>
                </a:cubicBezTo>
                <a:cubicBezTo>
                  <a:pt x="466" y="345"/>
                  <a:pt x="466" y="345"/>
                  <a:pt x="466" y="345"/>
                </a:cubicBezTo>
                <a:cubicBezTo>
                  <a:pt x="468" y="351"/>
                  <a:pt x="468" y="351"/>
                  <a:pt x="468" y="351"/>
                </a:cubicBezTo>
                <a:lnTo>
                  <a:pt x="473" y="351"/>
                </a:lnTo>
                <a:close/>
                <a:moveTo>
                  <a:pt x="480" y="345"/>
                </a:moveTo>
                <a:cubicBezTo>
                  <a:pt x="478" y="351"/>
                  <a:pt x="478" y="351"/>
                  <a:pt x="478" y="351"/>
                </a:cubicBezTo>
                <a:cubicBezTo>
                  <a:pt x="481" y="352"/>
                  <a:pt x="481" y="352"/>
                  <a:pt x="481" y="352"/>
                </a:cubicBezTo>
                <a:lnTo>
                  <a:pt x="480" y="345"/>
                </a:lnTo>
                <a:close/>
                <a:moveTo>
                  <a:pt x="459" y="363"/>
                </a:moveTo>
                <a:cubicBezTo>
                  <a:pt x="449" y="365"/>
                  <a:pt x="449" y="365"/>
                  <a:pt x="449" y="365"/>
                </a:cubicBezTo>
                <a:cubicBezTo>
                  <a:pt x="448" y="370"/>
                  <a:pt x="448" y="370"/>
                  <a:pt x="448" y="370"/>
                </a:cubicBezTo>
                <a:cubicBezTo>
                  <a:pt x="451" y="370"/>
                  <a:pt x="451" y="370"/>
                  <a:pt x="451" y="370"/>
                </a:cubicBezTo>
                <a:lnTo>
                  <a:pt x="459" y="363"/>
                </a:lnTo>
                <a:close/>
                <a:moveTo>
                  <a:pt x="433" y="389"/>
                </a:moveTo>
                <a:cubicBezTo>
                  <a:pt x="445" y="384"/>
                  <a:pt x="445" y="384"/>
                  <a:pt x="445" y="384"/>
                </a:cubicBezTo>
                <a:cubicBezTo>
                  <a:pt x="446" y="377"/>
                  <a:pt x="446" y="377"/>
                  <a:pt x="446" y="377"/>
                </a:cubicBezTo>
                <a:cubicBezTo>
                  <a:pt x="440" y="370"/>
                  <a:pt x="440" y="370"/>
                  <a:pt x="440" y="370"/>
                </a:cubicBezTo>
                <a:cubicBezTo>
                  <a:pt x="433" y="377"/>
                  <a:pt x="433" y="377"/>
                  <a:pt x="433" y="377"/>
                </a:cubicBezTo>
                <a:cubicBezTo>
                  <a:pt x="432" y="382"/>
                  <a:pt x="432" y="382"/>
                  <a:pt x="432" y="382"/>
                </a:cubicBezTo>
                <a:cubicBezTo>
                  <a:pt x="433" y="383"/>
                  <a:pt x="433" y="383"/>
                  <a:pt x="433" y="383"/>
                </a:cubicBezTo>
                <a:lnTo>
                  <a:pt x="433" y="389"/>
                </a:lnTo>
                <a:close/>
                <a:moveTo>
                  <a:pt x="424" y="380"/>
                </a:moveTo>
                <a:cubicBezTo>
                  <a:pt x="418" y="383"/>
                  <a:pt x="418" y="383"/>
                  <a:pt x="418" y="383"/>
                </a:cubicBezTo>
                <a:cubicBezTo>
                  <a:pt x="415" y="389"/>
                  <a:pt x="415" y="389"/>
                  <a:pt x="415" y="389"/>
                </a:cubicBezTo>
                <a:cubicBezTo>
                  <a:pt x="419" y="389"/>
                  <a:pt x="419" y="389"/>
                  <a:pt x="419" y="389"/>
                </a:cubicBezTo>
                <a:lnTo>
                  <a:pt x="424" y="380"/>
                </a:lnTo>
                <a:close/>
                <a:moveTo>
                  <a:pt x="522" y="329"/>
                </a:moveTo>
                <a:cubicBezTo>
                  <a:pt x="518" y="328"/>
                  <a:pt x="518" y="328"/>
                  <a:pt x="518" y="328"/>
                </a:cubicBezTo>
                <a:cubicBezTo>
                  <a:pt x="521" y="335"/>
                  <a:pt x="521" y="335"/>
                  <a:pt x="521" y="335"/>
                </a:cubicBezTo>
                <a:lnTo>
                  <a:pt x="522" y="329"/>
                </a:lnTo>
                <a:close/>
                <a:moveTo>
                  <a:pt x="827" y="396"/>
                </a:moveTo>
                <a:cubicBezTo>
                  <a:pt x="836" y="402"/>
                  <a:pt x="836" y="402"/>
                  <a:pt x="836" y="402"/>
                </a:cubicBezTo>
                <a:cubicBezTo>
                  <a:pt x="853" y="388"/>
                  <a:pt x="853" y="388"/>
                  <a:pt x="853" y="388"/>
                </a:cubicBezTo>
                <a:cubicBezTo>
                  <a:pt x="838" y="373"/>
                  <a:pt x="838" y="373"/>
                  <a:pt x="838" y="373"/>
                </a:cubicBezTo>
                <a:cubicBezTo>
                  <a:pt x="832" y="375"/>
                  <a:pt x="832" y="375"/>
                  <a:pt x="832" y="375"/>
                </a:cubicBezTo>
                <a:cubicBezTo>
                  <a:pt x="826" y="386"/>
                  <a:pt x="826" y="386"/>
                  <a:pt x="826" y="386"/>
                </a:cubicBezTo>
                <a:cubicBezTo>
                  <a:pt x="825" y="396"/>
                  <a:pt x="825" y="396"/>
                  <a:pt x="825" y="396"/>
                </a:cubicBezTo>
                <a:cubicBezTo>
                  <a:pt x="827" y="402"/>
                  <a:pt x="827" y="402"/>
                  <a:pt x="827" y="402"/>
                </a:cubicBezTo>
                <a:lnTo>
                  <a:pt x="827" y="396"/>
                </a:lnTo>
                <a:close/>
                <a:moveTo>
                  <a:pt x="545" y="314"/>
                </a:moveTo>
                <a:cubicBezTo>
                  <a:pt x="538" y="316"/>
                  <a:pt x="538" y="316"/>
                  <a:pt x="538" y="316"/>
                </a:cubicBezTo>
                <a:cubicBezTo>
                  <a:pt x="547" y="319"/>
                  <a:pt x="547" y="319"/>
                  <a:pt x="547" y="319"/>
                </a:cubicBezTo>
                <a:lnTo>
                  <a:pt x="545" y="314"/>
                </a:lnTo>
                <a:close/>
                <a:moveTo>
                  <a:pt x="510" y="343"/>
                </a:moveTo>
                <a:cubicBezTo>
                  <a:pt x="514" y="342"/>
                  <a:pt x="514" y="342"/>
                  <a:pt x="514" y="342"/>
                </a:cubicBezTo>
                <a:cubicBezTo>
                  <a:pt x="517" y="337"/>
                  <a:pt x="517" y="337"/>
                  <a:pt x="517" y="337"/>
                </a:cubicBezTo>
                <a:cubicBezTo>
                  <a:pt x="515" y="333"/>
                  <a:pt x="515" y="333"/>
                  <a:pt x="515" y="333"/>
                </a:cubicBezTo>
                <a:cubicBezTo>
                  <a:pt x="509" y="337"/>
                  <a:pt x="509" y="337"/>
                  <a:pt x="509" y="337"/>
                </a:cubicBezTo>
                <a:lnTo>
                  <a:pt x="510" y="343"/>
                </a:lnTo>
                <a:close/>
                <a:moveTo>
                  <a:pt x="506" y="345"/>
                </a:moveTo>
                <a:cubicBezTo>
                  <a:pt x="509" y="345"/>
                  <a:pt x="509" y="345"/>
                  <a:pt x="509" y="345"/>
                </a:cubicBezTo>
                <a:cubicBezTo>
                  <a:pt x="507" y="342"/>
                  <a:pt x="507" y="342"/>
                  <a:pt x="507" y="342"/>
                </a:cubicBezTo>
                <a:cubicBezTo>
                  <a:pt x="503" y="342"/>
                  <a:pt x="503" y="342"/>
                  <a:pt x="503" y="342"/>
                </a:cubicBezTo>
                <a:lnTo>
                  <a:pt x="506" y="345"/>
                </a:lnTo>
                <a:close/>
                <a:moveTo>
                  <a:pt x="511" y="331"/>
                </a:moveTo>
                <a:cubicBezTo>
                  <a:pt x="501" y="329"/>
                  <a:pt x="501" y="329"/>
                  <a:pt x="501" y="329"/>
                </a:cubicBezTo>
                <a:cubicBezTo>
                  <a:pt x="497" y="332"/>
                  <a:pt x="497" y="332"/>
                  <a:pt x="497" y="332"/>
                </a:cubicBezTo>
                <a:cubicBezTo>
                  <a:pt x="500" y="337"/>
                  <a:pt x="500" y="337"/>
                  <a:pt x="500" y="337"/>
                </a:cubicBezTo>
                <a:lnTo>
                  <a:pt x="511" y="331"/>
                </a:lnTo>
                <a:close/>
                <a:moveTo>
                  <a:pt x="837" y="1755"/>
                </a:moveTo>
                <a:cubicBezTo>
                  <a:pt x="832" y="1758"/>
                  <a:pt x="832" y="1758"/>
                  <a:pt x="832" y="1758"/>
                </a:cubicBezTo>
                <a:cubicBezTo>
                  <a:pt x="832" y="1769"/>
                  <a:pt x="832" y="1769"/>
                  <a:pt x="832" y="1769"/>
                </a:cubicBezTo>
                <a:cubicBezTo>
                  <a:pt x="828" y="1769"/>
                  <a:pt x="828" y="1769"/>
                  <a:pt x="828" y="1769"/>
                </a:cubicBezTo>
                <a:cubicBezTo>
                  <a:pt x="825" y="1776"/>
                  <a:pt x="825" y="1776"/>
                  <a:pt x="825" y="1776"/>
                </a:cubicBezTo>
                <a:cubicBezTo>
                  <a:pt x="824" y="1774"/>
                  <a:pt x="824" y="1774"/>
                  <a:pt x="824" y="1774"/>
                </a:cubicBezTo>
                <a:cubicBezTo>
                  <a:pt x="821" y="1774"/>
                  <a:pt x="821" y="1774"/>
                  <a:pt x="821" y="1774"/>
                </a:cubicBezTo>
                <a:cubicBezTo>
                  <a:pt x="822" y="1781"/>
                  <a:pt x="822" y="1781"/>
                  <a:pt x="822" y="1781"/>
                </a:cubicBezTo>
                <a:cubicBezTo>
                  <a:pt x="821" y="1780"/>
                  <a:pt x="821" y="1780"/>
                  <a:pt x="821" y="1780"/>
                </a:cubicBezTo>
                <a:cubicBezTo>
                  <a:pt x="818" y="1783"/>
                  <a:pt x="818" y="1783"/>
                  <a:pt x="818" y="1783"/>
                </a:cubicBezTo>
                <a:cubicBezTo>
                  <a:pt x="822" y="1787"/>
                  <a:pt x="822" y="1787"/>
                  <a:pt x="822" y="1787"/>
                </a:cubicBezTo>
                <a:cubicBezTo>
                  <a:pt x="819" y="1787"/>
                  <a:pt x="819" y="1787"/>
                  <a:pt x="819" y="1787"/>
                </a:cubicBezTo>
                <a:cubicBezTo>
                  <a:pt x="815" y="1792"/>
                  <a:pt x="815" y="1792"/>
                  <a:pt x="815" y="1792"/>
                </a:cubicBezTo>
                <a:cubicBezTo>
                  <a:pt x="815" y="1787"/>
                  <a:pt x="815" y="1787"/>
                  <a:pt x="815" y="1787"/>
                </a:cubicBezTo>
                <a:cubicBezTo>
                  <a:pt x="813" y="1789"/>
                  <a:pt x="813" y="1789"/>
                  <a:pt x="813" y="1789"/>
                </a:cubicBezTo>
                <a:cubicBezTo>
                  <a:pt x="811" y="1793"/>
                  <a:pt x="811" y="1793"/>
                  <a:pt x="811" y="1793"/>
                </a:cubicBezTo>
                <a:cubicBezTo>
                  <a:pt x="813" y="1798"/>
                  <a:pt x="813" y="1798"/>
                  <a:pt x="813" y="1798"/>
                </a:cubicBezTo>
                <a:cubicBezTo>
                  <a:pt x="809" y="1799"/>
                  <a:pt x="809" y="1799"/>
                  <a:pt x="809" y="1799"/>
                </a:cubicBezTo>
                <a:cubicBezTo>
                  <a:pt x="808" y="1795"/>
                  <a:pt x="808" y="1795"/>
                  <a:pt x="808" y="1795"/>
                </a:cubicBezTo>
                <a:cubicBezTo>
                  <a:pt x="802" y="1799"/>
                  <a:pt x="802" y="1799"/>
                  <a:pt x="802" y="1799"/>
                </a:cubicBezTo>
                <a:cubicBezTo>
                  <a:pt x="805" y="1805"/>
                  <a:pt x="805" y="1805"/>
                  <a:pt x="805" y="1805"/>
                </a:cubicBezTo>
                <a:cubicBezTo>
                  <a:pt x="802" y="1805"/>
                  <a:pt x="802" y="1805"/>
                  <a:pt x="802" y="1805"/>
                </a:cubicBezTo>
                <a:cubicBezTo>
                  <a:pt x="798" y="1801"/>
                  <a:pt x="798" y="1801"/>
                  <a:pt x="798" y="1801"/>
                </a:cubicBezTo>
                <a:cubicBezTo>
                  <a:pt x="789" y="1806"/>
                  <a:pt x="789" y="1806"/>
                  <a:pt x="789" y="1806"/>
                </a:cubicBezTo>
                <a:cubicBezTo>
                  <a:pt x="787" y="1804"/>
                  <a:pt x="787" y="1804"/>
                  <a:pt x="787" y="1804"/>
                </a:cubicBezTo>
                <a:cubicBezTo>
                  <a:pt x="778" y="1808"/>
                  <a:pt x="778" y="1808"/>
                  <a:pt x="778" y="1808"/>
                </a:cubicBezTo>
                <a:cubicBezTo>
                  <a:pt x="778" y="1811"/>
                  <a:pt x="778" y="1811"/>
                  <a:pt x="778" y="1811"/>
                </a:cubicBezTo>
                <a:cubicBezTo>
                  <a:pt x="771" y="1824"/>
                  <a:pt x="771" y="1824"/>
                  <a:pt x="771" y="1824"/>
                </a:cubicBezTo>
                <a:cubicBezTo>
                  <a:pt x="779" y="1854"/>
                  <a:pt x="779" y="1854"/>
                  <a:pt x="779" y="1854"/>
                </a:cubicBezTo>
                <a:cubicBezTo>
                  <a:pt x="762" y="1882"/>
                  <a:pt x="762" y="1882"/>
                  <a:pt x="762" y="1882"/>
                </a:cubicBezTo>
                <a:cubicBezTo>
                  <a:pt x="764" y="1892"/>
                  <a:pt x="764" y="1892"/>
                  <a:pt x="764" y="1892"/>
                </a:cubicBezTo>
                <a:cubicBezTo>
                  <a:pt x="769" y="1905"/>
                  <a:pt x="769" y="1905"/>
                  <a:pt x="769" y="1905"/>
                </a:cubicBezTo>
                <a:cubicBezTo>
                  <a:pt x="771" y="1919"/>
                  <a:pt x="771" y="1919"/>
                  <a:pt x="771" y="1919"/>
                </a:cubicBezTo>
                <a:cubicBezTo>
                  <a:pt x="774" y="1924"/>
                  <a:pt x="774" y="1924"/>
                  <a:pt x="774" y="1924"/>
                </a:cubicBezTo>
                <a:cubicBezTo>
                  <a:pt x="787" y="1933"/>
                  <a:pt x="787" y="1933"/>
                  <a:pt x="787" y="1933"/>
                </a:cubicBezTo>
                <a:cubicBezTo>
                  <a:pt x="798" y="1928"/>
                  <a:pt x="798" y="1928"/>
                  <a:pt x="798" y="1928"/>
                </a:cubicBezTo>
                <a:cubicBezTo>
                  <a:pt x="807" y="1927"/>
                  <a:pt x="807" y="1927"/>
                  <a:pt x="807" y="1927"/>
                </a:cubicBezTo>
                <a:cubicBezTo>
                  <a:pt x="813" y="1919"/>
                  <a:pt x="813" y="1919"/>
                  <a:pt x="813" y="1919"/>
                </a:cubicBezTo>
                <a:cubicBezTo>
                  <a:pt x="838" y="1839"/>
                  <a:pt x="838" y="1839"/>
                  <a:pt x="838" y="1839"/>
                </a:cubicBezTo>
                <a:cubicBezTo>
                  <a:pt x="841" y="1819"/>
                  <a:pt x="841" y="1819"/>
                  <a:pt x="841" y="1819"/>
                </a:cubicBezTo>
                <a:cubicBezTo>
                  <a:pt x="845" y="1812"/>
                  <a:pt x="845" y="1812"/>
                  <a:pt x="845" y="1812"/>
                </a:cubicBezTo>
                <a:cubicBezTo>
                  <a:pt x="845" y="1797"/>
                  <a:pt x="845" y="1797"/>
                  <a:pt x="845" y="1797"/>
                </a:cubicBezTo>
                <a:cubicBezTo>
                  <a:pt x="847" y="1797"/>
                  <a:pt x="847" y="1797"/>
                  <a:pt x="847" y="1797"/>
                </a:cubicBezTo>
                <a:cubicBezTo>
                  <a:pt x="850" y="1803"/>
                  <a:pt x="850" y="1803"/>
                  <a:pt x="850" y="1803"/>
                </a:cubicBezTo>
                <a:cubicBezTo>
                  <a:pt x="851" y="1803"/>
                  <a:pt x="851" y="1803"/>
                  <a:pt x="851" y="1803"/>
                </a:cubicBezTo>
                <a:cubicBezTo>
                  <a:pt x="853" y="1797"/>
                  <a:pt x="853" y="1797"/>
                  <a:pt x="853" y="1797"/>
                </a:cubicBezTo>
                <a:cubicBezTo>
                  <a:pt x="845" y="1766"/>
                  <a:pt x="845" y="1766"/>
                  <a:pt x="845" y="1766"/>
                </a:cubicBezTo>
                <a:lnTo>
                  <a:pt x="837" y="1755"/>
                </a:lnTo>
                <a:close/>
                <a:moveTo>
                  <a:pt x="2085" y="964"/>
                </a:moveTo>
                <a:cubicBezTo>
                  <a:pt x="2080" y="964"/>
                  <a:pt x="2080" y="964"/>
                  <a:pt x="2080" y="964"/>
                </a:cubicBezTo>
                <a:cubicBezTo>
                  <a:pt x="2069" y="979"/>
                  <a:pt x="2069" y="979"/>
                  <a:pt x="2069" y="979"/>
                </a:cubicBezTo>
                <a:cubicBezTo>
                  <a:pt x="2093" y="962"/>
                  <a:pt x="2093" y="962"/>
                  <a:pt x="2093" y="962"/>
                </a:cubicBezTo>
                <a:cubicBezTo>
                  <a:pt x="2092" y="960"/>
                  <a:pt x="2092" y="960"/>
                  <a:pt x="2092" y="960"/>
                </a:cubicBezTo>
                <a:lnTo>
                  <a:pt x="2085" y="964"/>
                </a:lnTo>
                <a:close/>
                <a:moveTo>
                  <a:pt x="283" y="810"/>
                </a:moveTo>
                <a:cubicBezTo>
                  <a:pt x="280" y="816"/>
                  <a:pt x="280" y="816"/>
                  <a:pt x="280" y="816"/>
                </a:cubicBezTo>
                <a:cubicBezTo>
                  <a:pt x="286" y="810"/>
                  <a:pt x="286" y="810"/>
                  <a:pt x="286" y="810"/>
                </a:cubicBezTo>
                <a:lnTo>
                  <a:pt x="283" y="810"/>
                </a:lnTo>
                <a:close/>
                <a:moveTo>
                  <a:pt x="356" y="778"/>
                </a:moveTo>
                <a:cubicBezTo>
                  <a:pt x="357" y="771"/>
                  <a:pt x="357" y="771"/>
                  <a:pt x="357" y="771"/>
                </a:cubicBezTo>
                <a:cubicBezTo>
                  <a:pt x="354" y="775"/>
                  <a:pt x="354" y="775"/>
                  <a:pt x="354" y="775"/>
                </a:cubicBezTo>
                <a:lnTo>
                  <a:pt x="356" y="778"/>
                </a:lnTo>
                <a:close/>
                <a:moveTo>
                  <a:pt x="361" y="759"/>
                </a:moveTo>
                <a:cubicBezTo>
                  <a:pt x="363" y="767"/>
                  <a:pt x="363" y="767"/>
                  <a:pt x="363" y="767"/>
                </a:cubicBezTo>
                <a:cubicBezTo>
                  <a:pt x="369" y="768"/>
                  <a:pt x="369" y="768"/>
                  <a:pt x="369" y="768"/>
                </a:cubicBezTo>
                <a:cubicBezTo>
                  <a:pt x="368" y="771"/>
                  <a:pt x="368" y="771"/>
                  <a:pt x="368" y="771"/>
                </a:cubicBezTo>
                <a:cubicBezTo>
                  <a:pt x="373" y="772"/>
                  <a:pt x="373" y="772"/>
                  <a:pt x="373" y="772"/>
                </a:cubicBezTo>
                <a:cubicBezTo>
                  <a:pt x="373" y="767"/>
                  <a:pt x="373" y="767"/>
                  <a:pt x="373" y="767"/>
                </a:cubicBezTo>
                <a:cubicBezTo>
                  <a:pt x="377" y="766"/>
                  <a:pt x="377" y="766"/>
                  <a:pt x="377" y="766"/>
                </a:cubicBezTo>
                <a:cubicBezTo>
                  <a:pt x="375" y="761"/>
                  <a:pt x="375" y="761"/>
                  <a:pt x="375" y="761"/>
                </a:cubicBezTo>
                <a:cubicBezTo>
                  <a:pt x="380" y="757"/>
                  <a:pt x="380" y="757"/>
                  <a:pt x="380" y="757"/>
                </a:cubicBezTo>
                <a:cubicBezTo>
                  <a:pt x="376" y="747"/>
                  <a:pt x="376" y="747"/>
                  <a:pt x="376" y="747"/>
                </a:cubicBezTo>
                <a:cubicBezTo>
                  <a:pt x="371" y="750"/>
                  <a:pt x="371" y="750"/>
                  <a:pt x="371" y="750"/>
                </a:cubicBezTo>
                <a:cubicBezTo>
                  <a:pt x="371" y="752"/>
                  <a:pt x="371" y="752"/>
                  <a:pt x="371" y="752"/>
                </a:cubicBezTo>
                <a:cubicBezTo>
                  <a:pt x="369" y="757"/>
                  <a:pt x="369" y="757"/>
                  <a:pt x="369" y="757"/>
                </a:cubicBezTo>
                <a:cubicBezTo>
                  <a:pt x="369" y="750"/>
                  <a:pt x="369" y="750"/>
                  <a:pt x="369" y="750"/>
                </a:cubicBezTo>
                <a:cubicBezTo>
                  <a:pt x="364" y="750"/>
                  <a:pt x="364" y="750"/>
                  <a:pt x="364" y="750"/>
                </a:cubicBezTo>
                <a:cubicBezTo>
                  <a:pt x="366" y="752"/>
                  <a:pt x="366" y="752"/>
                  <a:pt x="366" y="752"/>
                </a:cubicBezTo>
                <a:cubicBezTo>
                  <a:pt x="358" y="756"/>
                  <a:pt x="358" y="756"/>
                  <a:pt x="358" y="756"/>
                </a:cubicBezTo>
                <a:lnTo>
                  <a:pt x="361" y="759"/>
                </a:lnTo>
                <a:close/>
                <a:moveTo>
                  <a:pt x="354" y="758"/>
                </a:moveTo>
                <a:cubicBezTo>
                  <a:pt x="347" y="760"/>
                  <a:pt x="347" y="760"/>
                  <a:pt x="347" y="760"/>
                </a:cubicBezTo>
                <a:cubicBezTo>
                  <a:pt x="343" y="761"/>
                  <a:pt x="343" y="761"/>
                  <a:pt x="343" y="761"/>
                </a:cubicBezTo>
                <a:cubicBezTo>
                  <a:pt x="347" y="771"/>
                  <a:pt x="347" y="771"/>
                  <a:pt x="347" y="771"/>
                </a:cubicBezTo>
                <a:cubicBezTo>
                  <a:pt x="356" y="770"/>
                  <a:pt x="356" y="770"/>
                  <a:pt x="356" y="770"/>
                </a:cubicBezTo>
                <a:cubicBezTo>
                  <a:pt x="357" y="766"/>
                  <a:pt x="357" y="766"/>
                  <a:pt x="357" y="766"/>
                </a:cubicBezTo>
                <a:lnTo>
                  <a:pt x="354" y="758"/>
                </a:lnTo>
                <a:close/>
                <a:moveTo>
                  <a:pt x="637" y="1138"/>
                </a:moveTo>
                <a:cubicBezTo>
                  <a:pt x="649" y="1133"/>
                  <a:pt x="649" y="1133"/>
                  <a:pt x="649" y="1133"/>
                </a:cubicBezTo>
                <a:cubicBezTo>
                  <a:pt x="656" y="1122"/>
                  <a:pt x="656" y="1122"/>
                  <a:pt x="656" y="1122"/>
                </a:cubicBezTo>
                <a:cubicBezTo>
                  <a:pt x="649" y="1126"/>
                  <a:pt x="649" y="1126"/>
                  <a:pt x="649" y="1126"/>
                </a:cubicBezTo>
                <a:cubicBezTo>
                  <a:pt x="636" y="1127"/>
                  <a:pt x="636" y="1127"/>
                  <a:pt x="636" y="1127"/>
                </a:cubicBezTo>
                <a:cubicBezTo>
                  <a:pt x="627" y="1132"/>
                  <a:pt x="627" y="1132"/>
                  <a:pt x="627" y="1132"/>
                </a:cubicBezTo>
                <a:cubicBezTo>
                  <a:pt x="630" y="1136"/>
                  <a:pt x="630" y="1136"/>
                  <a:pt x="630" y="1136"/>
                </a:cubicBezTo>
                <a:lnTo>
                  <a:pt x="637" y="1138"/>
                </a:lnTo>
                <a:close/>
                <a:moveTo>
                  <a:pt x="535" y="1091"/>
                </a:moveTo>
                <a:cubicBezTo>
                  <a:pt x="535" y="1087"/>
                  <a:pt x="535" y="1087"/>
                  <a:pt x="535" y="1087"/>
                </a:cubicBezTo>
                <a:cubicBezTo>
                  <a:pt x="532" y="1086"/>
                  <a:pt x="532" y="1086"/>
                  <a:pt x="532" y="1086"/>
                </a:cubicBezTo>
                <a:lnTo>
                  <a:pt x="535" y="1091"/>
                </a:lnTo>
                <a:close/>
                <a:moveTo>
                  <a:pt x="539" y="1054"/>
                </a:moveTo>
                <a:cubicBezTo>
                  <a:pt x="535" y="1054"/>
                  <a:pt x="535" y="1054"/>
                  <a:pt x="535" y="1054"/>
                </a:cubicBezTo>
                <a:cubicBezTo>
                  <a:pt x="535" y="1056"/>
                  <a:pt x="535" y="1056"/>
                  <a:pt x="535" y="1056"/>
                </a:cubicBezTo>
                <a:cubicBezTo>
                  <a:pt x="539" y="1054"/>
                  <a:pt x="539" y="1054"/>
                  <a:pt x="539" y="1054"/>
                </a:cubicBezTo>
                <a:close/>
                <a:moveTo>
                  <a:pt x="551" y="1064"/>
                </a:moveTo>
                <a:cubicBezTo>
                  <a:pt x="546" y="1067"/>
                  <a:pt x="546" y="1067"/>
                  <a:pt x="546" y="1067"/>
                </a:cubicBezTo>
                <a:cubicBezTo>
                  <a:pt x="554" y="1068"/>
                  <a:pt x="554" y="1068"/>
                  <a:pt x="554" y="1068"/>
                </a:cubicBezTo>
                <a:lnTo>
                  <a:pt x="551" y="1064"/>
                </a:lnTo>
                <a:close/>
                <a:moveTo>
                  <a:pt x="547" y="1082"/>
                </a:moveTo>
                <a:cubicBezTo>
                  <a:pt x="549" y="1077"/>
                  <a:pt x="549" y="1077"/>
                  <a:pt x="549" y="1077"/>
                </a:cubicBezTo>
                <a:cubicBezTo>
                  <a:pt x="546" y="1075"/>
                  <a:pt x="546" y="1075"/>
                  <a:pt x="546" y="1075"/>
                </a:cubicBezTo>
                <a:lnTo>
                  <a:pt x="547" y="1082"/>
                </a:lnTo>
                <a:close/>
                <a:moveTo>
                  <a:pt x="570" y="1114"/>
                </a:moveTo>
                <a:cubicBezTo>
                  <a:pt x="570" y="1118"/>
                  <a:pt x="570" y="1118"/>
                  <a:pt x="570" y="1118"/>
                </a:cubicBezTo>
                <a:cubicBezTo>
                  <a:pt x="574" y="1116"/>
                  <a:pt x="574" y="1116"/>
                  <a:pt x="574" y="1116"/>
                </a:cubicBezTo>
                <a:cubicBezTo>
                  <a:pt x="576" y="1110"/>
                  <a:pt x="576" y="1110"/>
                  <a:pt x="576" y="1110"/>
                </a:cubicBezTo>
                <a:lnTo>
                  <a:pt x="570" y="1114"/>
                </a:lnTo>
                <a:close/>
                <a:moveTo>
                  <a:pt x="516" y="1129"/>
                </a:moveTo>
                <a:cubicBezTo>
                  <a:pt x="528" y="1130"/>
                  <a:pt x="528" y="1130"/>
                  <a:pt x="528" y="1130"/>
                </a:cubicBezTo>
                <a:cubicBezTo>
                  <a:pt x="532" y="1135"/>
                  <a:pt x="532" y="1135"/>
                  <a:pt x="532" y="1135"/>
                </a:cubicBezTo>
                <a:cubicBezTo>
                  <a:pt x="549" y="1133"/>
                  <a:pt x="549" y="1133"/>
                  <a:pt x="549" y="1133"/>
                </a:cubicBezTo>
                <a:cubicBezTo>
                  <a:pt x="551" y="1129"/>
                  <a:pt x="551" y="1129"/>
                  <a:pt x="551" y="1129"/>
                </a:cubicBezTo>
                <a:cubicBezTo>
                  <a:pt x="547" y="1130"/>
                  <a:pt x="547" y="1130"/>
                  <a:pt x="547" y="1130"/>
                </a:cubicBezTo>
                <a:cubicBezTo>
                  <a:pt x="535" y="1126"/>
                  <a:pt x="535" y="1126"/>
                  <a:pt x="535" y="1126"/>
                </a:cubicBezTo>
                <a:cubicBezTo>
                  <a:pt x="526" y="1127"/>
                  <a:pt x="526" y="1127"/>
                  <a:pt x="526" y="1127"/>
                </a:cubicBezTo>
                <a:cubicBezTo>
                  <a:pt x="524" y="1123"/>
                  <a:pt x="524" y="1123"/>
                  <a:pt x="524" y="1123"/>
                </a:cubicBezTo>
                <a:cubicBezTo>
                  <a:pt x="519" y="1123"/>
                  <a:pt x="519" y="1123"/>
                  <a:pt x="519" y="1123"/>
                </a:cubicBezTo>
                <a:lnTo>
                  <a:pt x="516" y="1129"/>
                </a:lnTo>
                <a:close/>
                <a:moveTo>
                  <a:pt x="500" y="654"/>
                </a:moveTo>
                <a:cubicBezTo>
                  <a:pt x="503" y="654"/>
                  <a:pt x="503" y="654"/>
                  <a:pt x="503" y="654"/>
                </a:cubicBezTo>
                <a:cubicBezTo>
                  <a:pt x="506" y="647"/>
                  <a:pt x="506" y="647"/>
                  <a:pt x="506" y="647"/>
                </a:cubicBezTo>
                <a:lnTo>
                  <a:pt x="500" y="654"/>
                </a:lnTo>
                <a:close/>
                <a:moveTo>
                  <a:pt x="494" y="697"/>
                </a:moveTo>
                <a:cubicBezTo>
                  <a:pt x="497" y="699"/>
                  <a:pt x="497" y="699"/>
                  <a:pt x="497" y="699"/>
                </a:cubicBezTo>
                <a:cubicBezTo>
                  <a:pt x="497" y="705"/>
                  <a:pt x="497" y="705"/>
                  <a:pt x="497" y="705"/>
                </a:cubicBezTo>
                <a:cubicBezTo>
                  <a:pt x="500" y="697"/>
                  <a:pt x="500" y="697"/>
                  <a:pt x="500" y="697"/>
                </a:cubicBezTo>
                <a:cubicBezTo>
                  <a:pt x="512" y="693"/>
                  <a:pt x="512" y="693"/>
                  <a:pt x="512" y="693"/>
                </a:cubicBezTo>
                <a:cubicBezTo>
                  <a:pt x="509" y="689"/>
                  <a:pt x="509" y="689"/>
                  <a:pt x="509" y="689"/>
                </a:cubicBezTo>
                <a:cubicBezTo>
                  <a:pt x="494" y="692"/>
                  <a:pt x="494" y="692"/>
                  <a:pt x="494" y="692"/>
                </a:cubicBezTo>
                <a:lnTo>
                  <a:pt x="494" y="697"/>
                </a:lnTo>
                <a:close/>
                <a:moveTo>
                  <a:pt x="1110" y="475"/>
                </a:moveTo>
                <a:cubicBezTo>
                  <a:pt x="1121" y="470"/>
                  <a:pt x="1121" y="470"/>
                  <a:pt x="1121" y="470"/>
                </a:cubicBezTo>
                <a:cubicBezTo>
                  <a:pt x="1119" y="463"/>
                  <a:pt x="1119" y="463"/>
                  <a:pt x="1119" y="463"/>
                </a:cubicBezTo>
                <a:cubicBezTo>
                  <a:pt x="1105" y="470"/>
                  <a:pt x="1105" y="470"/>
                  <a:pt x="1105" y="470"/>
                </a:cubicBezTo>
                <a:lnTo>
                  <a:pt x="1110" y="475"/>
                </a:lnTo>
                <a:close/>
                <a:moveTo>
                  <a:pt x="1259" y="346"/>
                </a:moveTo>
                <a:cubicBezTo>
                  <a:pt x="1263" y="345"/>
                  <a:pt x="1263" y="345"/>
                  <a:pt x="1263" y="345"/>
                </a:cubicBezTo>
                <a:cubicBezTo>
                  <a:pt x="1260" y="335"/>
                  <a:pt x="1260" y="335"/>
                  <a:pt x="1260" y="335"/>
                </a:cubicBezTo>
                <a:cubicBezTo>
                  <a:pt x="1257" y="339"/>
                  <a:pt x="1257" y="339"/>
                  <a:pt x="1257" y="339"/>
                </a:cubicBezTo>
                <a:lnTo>
                  <a:pt x="1259" y="346"/>
                </a:lnTo>
                <a:close/>
                <a:moveTo>
                  <a:pt x="2615" y="567"/>
                </a:moveTo>
                <a:cubicBezTo>
                  <a:pt x="2605" y="558"/>
                  <a:pt x="2605" y="558"/>
                  <a:pt x="2605" y="558"/>
                </a:cubicBezTo>
                <a:cubicBezTo>
                  <a:pt x="2597" y="560"/>
                  <a:pt x="2597" y="560"/>
                  <a:pt x="2597" y="560"/>
                </a:cubicBezTo>
                <a:cubicBezTo>
                  <a:pt x="2586" y="555"/>
                  <a:pt x="2586" y="555"/>
                  <a:pt x="2586" y="555"/>
                </a:cubicBezTo>
                <a:cubicBezTo>
                  <a:pt x="2585" y="563"/>
                  <a:pt x="2585" y="563"/>
                  <a:pt x="2585" y="563"/>
                </a:cubicBezTo>
                <a:cubicBezTo>
                  <a:pt x="2611" y="576"/>
                  <a:pt x="2611" y="576"/>
                  <a:pt x="2611" y="576"/>
                </a:cubicBezTo>
                <a:cubicBezTo>
                  <a:pt x="2622" y="569"/>
                  <a:pt x="2622" y="569"/>
                  <a:pt x="2622" y="569"/>
                </a:cubicBezTo>
                <a:cubicBezTo>
                  <a:pt x="2622" y="568"/>
                  <a:pt x="2622" y="568"/>
                  <a:pt x="2622" y="568"/>
                </a:cubicBezTo>
                <a:lnTo>
                  <a:pt x="2615" y="567"/>
                </a:lnTo>
                <a:close/>
                <a:moveTo>
                  <a:pt x="384" y="786"/>
                </a:moveTo>
                <a:cubicBezTo>
                  <a:pt x="391" y="788"/>
                  <a:pt x="391" y="788"/>
                  <a:pt x="391" y="788"/>
                </a:cubicBezTo>
                <a:cubicBezTo>
                  <a:pt x="391" y="784"/>
                  <a:pt x="391" y="784"/>
                  <a:pt x="391" y="784"/>
                </a:cubicBezTo>
                <a:cubicBezTo>
                  <a:pt x="391" y="781"/>
                  <a:pt x="391" y="781"/>
                  <a:pt x="391" y="781"/>
                </a:cubicBezTo>
                <a:cubicBezTo>
                  <a:pt x="386" y="779"/>
                  <a:pt x="386" y="779"/>
                  <a:pt x="386" y="779"/>
                </a:cubicBezTo>
                <a:cubicBezTo>
                  <a:pt x="388" y="784"/>
                  <a:pt x="388" y="784"/>
                  <a:pt x="388" y="784"/>
                </a:cubicBezTo>
                <a:cubicBezTo>
                  <a:pt x="385" y="782"/>
                  <a:pt x="385" y="782"/>
                  <a:pt x="385" y="782"/>
                </a:cubicBezTo>
                <a:lnTo>
                  <a:pt x="384" y="786"/>
                </a:lnTo>
                <a:close/>
                <a:moveTo>
                  <a:pt x="373" y="775"/>
                </a:moveTo>
                <a:cubicBezTo>
                  <a:pt x="369" y="773"/>
                  <a:pt x="369" y="773"/>
                  <a:pt x="369" y="773"/>
                </a:cubicBezTo>
                <a:cubicBezTo>
                  <a:pt x="371" y="781"/>
                  <a:pt x="371" y="781"/>
                  <a:pt x="371" y="781"/>
                </a:cubicBezTo>
                <a:lnTo>
                  <a:pt x="373" y="775"/>
                </a:lnTo>
                <a:close/>
                <a:moveTo>
                  <a:pt x="501" y="687"/>
                </a:moveTo>
                <a:cubicBezTo>
                  <a:pt x="507" y="684"/>
                  <a:pt x="507" y="684"/>
                  <a:pt x="507" y="684"/>
                </a:cubicBezTo>
                <a:cubicBezTo>
                  <a:pt x="505" y="680"/>
                  <a:pt x="505" y="680"/>
                  <a:pt x="505" y="680"/>
                </a:cubicBezTo>
                <a:cubicBezTo>
                  <a:pt x="496" y="682"/>
                  <a:pt x="496" y="682"/>
                  <a:pt x="496" y="682"/>
                </a:cubicBezTo>
                <a:lnTo>
                  <a:pt x="501" y="687"/>
                </a:lnTo>
                <a:close/>
                <a:moveTo>
                  <a:pt x="363" y="773"/>
                </a:moveTo>
                <a:cubicBezTo>
                  <a:pt x="359" y="773"/>
                  <a:pt x="359" y="773"/>
                  <a:pt x="359" y="773"/>
                </a:cubicBezTo>
                <a:cubicBezTo>
                  <a:pt x="359" y="777"/>
                  <a:pt x="359" y="777"/>
                  <a:pt x="359" y="777"/>
                </a:cubicBezTo>
                <a:cubicBezTo>
                  <a:pt x="369" y="779"/>
                  <a:pt x="369" y="779"/>
                  <a:pt x="369" y="779"/>
                </a:cubicBezTo>
                <a:cubicBezTo>
                  <a:pt x="367" y="775"/>
                  <a:pt x="367" y="775"/>
                  <a:pt x="367" y="775"/>
                </a:cubicBezTo>
                <a:lnTo>
                  <a:pt x="363" y="773"/>
                </a:lnTo>
                <a:close/>
                <a:moveTo>
                  <a:pt x="424" y="743"/>
                </a:moveTo>
                <a:cubicBezTo>
                  <a:pt x="431" y="726"/>
                  <a:pt x="431" y="726"/>
                  <a:pt x="431" y="726"/>
                </a:cubicBezTo>
                <a:cubicBezTo>
                  <a:pt x="426" y="735"/>
                  <a:pt x="426" y="735"/>
                  <a:pt x="426" y="735"/>
                </a:cubicBezTo>
                <a:lnTo>
                  <a:pt x="424" y="743"/>
                </a:lnTo>
                <a:close/>
                <a:moveTo>
                  <a:pt x="401" y="967"/>
                </a:moveTo>
                <a:cubicBezTo>
                  <a:pt x="405" y="969"/>
                  <a:pt x="405" y="969"/>
                  <a:pt x="405" y="969"/>
                </a:cubicBezTo>
                <a:cubicBezTo>
                  <a:pt x="403" y="964"/>
                  <a:pt x="403" y="964"/>
                  <a:pt x="403" y="964"/>
                </a:cubicBezTo>
                <a:lnTo>
                  <a:pt x="401" y="967"/>
                </a:lnTo>
                <a:close/>
                <a:moveTo>
                  <a:pt x="927" y="1252"/>
                </a:moveTo>
                <a:cubicBezTo>
                  <a:pt x="922" y="1252"/>
                  <a:pt x="922" y="1252"/>
                  <a:pt x="922" y="1252"/>
                </a:cubicBezTo>
                <a:cubicBezTo>
                  <a:pt x="915" y="1258"/>
                  <a:pt x="915" y="1258"/>
                  <a:pt x="915" y="1258"/>
                </a:cubicBezTo>
                <a:lnTo>
                  <a:pt x="927" y="1252"/>
                </a:lnTo>
                <a:close/>
                <a:moveTo>
                  <a:pt x="532" y="1040"/>
                </a:moveTo>
                <a:cubicBezTo>
                  <a:pt x="528" y="1041"/>
                  <a:pt x="528" y="1041"/>
                  <a:pt x="528" y="1041"/>
                </a:cubicBezTo>
                <a:cubicBezTo>
                  <a:pt x="531" y="1043"/>
                  <a:pt x="531" y="1043"/>
                  <a:pt x="531" y="1043"/>
                </a:cubicBezTo>
                <a:lnTo>
                  <a:pt x="532" y="1040"/>
                </a:lnTo>
                <a:close/>
                <a:moveTo>
                  <a:pt x="1947" y="777"/>
                </a:moveTo>
                <a:cubicBezTo>
                  <a:pt x="1946" y="779"/>
                  <a:pt x="1946" y="779"/>
                  <a:pt x="1946" y="779"/>
                </a:cubicBezTo>
                <a:cubicBezTo>
                  <a:pt x="1951" y="781"/>
                  <a:pt x="1951" y="781"/>
                  <a:pt x="1951" y="781"/>
                </a:cubicBezTo>
                <a:cubicBezTo>
                  <a:pt x="1957" y="772"/>
                  <a:pt x="1957" y="772"/>
                  <a:pt x="1957" y="772"/>
                </a:cubicBezTo>
                <a:cubicBezTo>
                  <a:pt x="1951" y="769"/>
                  <a:pt x="1951" y="769"/>
                  <a:pt x="1951" y="769"/>
                </a:cubicBezTo>
                <a:lnTo>
                  <a:pt x="1947" y="777"/>
                </a:lnTo>
                <a:close/>
                <a:moveTo>
                  <a:pt x="856" y="1261"/>
                </a:moveTo>
                <a:cubicBezTo>
                  <a:pt x="854" y="1260"/>
                  <a:pt x="854" y="1260"/>
                  <a:pt x="854" y="1260"/>
                </a:cubicBezTo>
                <a:cubicBezTo>
                  <a:pt x="854" y="1265"/>
                  <a:pt x="854" y="1265"/>
                  <a:pt x="854" y="1265"/>
                </a:cubicBezTo>
                <a:lnTo>
                  <a:pt x="856" y="1261"/>
                </a:lnTo>
                <a:close/>
                <a:moveTo>
                  <a:pt x="723" y="1401"/>
                </a:moveTo>
                <a:cubicBezTo>
                  <a:pt x="722" y="1401"/>
                  <a:pt x="722" y="1401"/>
                  <a:pt x="722" y="1401"/>
                </a:cubicBezTo>
                <a:cubicBezTo>
                  <a:pt x="723" y="1404"/>
                  <a:pt x="723" y="1404"/>
                  <a:pt x="723" y="1404"/>
                </a:cubicBezTo>
                <a:cubicBezTo>
                  <a:pt x="728" y="1404"/>
                  <a:pt x="728" y="1404"/>
                  <a:pt x="728" y="1404"/>
                </a:cubicBezTo>
                <a:cubicBezTo>
                  <a:pt x="726" y="1403"/>
                  <a:pt x="726" y="1403"/>
                  <a:pt x="726" y="1403"/>
                </a:cubicBezTo>
                <a:lnTo>
                  <a:pt x="723" y="1401"/>
                </a:lnTo>
                <a:close/>
                <a:moveTo>
                  <a:pt x="450" y="1010"/>
                </a:moveTo>
                <a:cubicBezTo>
                  <a:pt x="450" y="1010"/>
                  <a:pt x="450" y="1010"/>
                  <a:pt x="450" y="1010"/>
                </a:cubicBezTo>
                <a:cubicBezTo>
                  <a:pt x="450" y="1010"/>
                  <a:pt x="450" y="1010"/>
                  <a:pt x="450" y="1010"/>
                </a:cubicBezTo>
                <a:close/>
                <a:moveTo>
                  <a:pt x="2101" y="958"/>
                </a:moveTo>
                <a:cubicBezTo>
                  <a:pt x="2113" y="948"/>
                  <a:pt x="2113" y="948"/>
                  <a:pt x="2113" y="948"/>
                </a:cubicBezTo>
                <a:cubicBezTo>
                  <a:pt x="2107" y="951"/>
                  <a:pt x="2107" y="951"/>
                  <a:pt x="2107" y="951"/>
                </a:cubicBezTo>
                <a:lnTo>
                  <a:pt x="2101" y="958"/>
                </a:lnTo>
                <a:close/>
                <a:moveTo>
                  <a:pt x="2173" y="871"/>
                </a:moveTo>
                <a:cubicBezTo>
                  <a:pt x="2173" y="875"/>
                  <a:pt x="2173" y="875"/>
                  <a:pt x="2173" y="875"/>
                </a:cubicBezTo>
                <a:cubicBezTo>
                  <a:pt x="2182" y="869"/>
                  <a:pt x="2182" y="869"/>
                  <a:pt x="2182" y="869"/>
                </a:cubicBezTo>
                <a:cubicBezTo>
                  <a:pt x="2184" y="867"/>
                  <a:pt x="2184" y="867"/>
                  <a:pt x="2184" y="867"/>
                </a:cubicBezTo>
                <a:cubicBezTo>
                  <a:pt x="2183" y="862"/>
                  <a:pt x="2183" y="862"/>
                  <a:pt x="2183" y="862"/>
                </a:cubicBezTo>
                <a:lnTo>
                  <a:pt x="2173" y="871"/>
                </a:lnTo>
                <a:close/>
                <a:moveTo>
                  <a:pt x="723" y="1665"/>
                </a:moveTo>
                <a:cubicBezTo>
                  <a:pt x="722" y="1663"/>
                  <a:pt x="722" y="1663"/>
                  <a:pt x="722" y="1663"/>
                </a:cubicBezTo>
                <a:cubicBezTo>
                  <a:pt x="722" y="1669"/>
                  <a:pt x="722" y="1669"/>
                  <a:pt x="722" y="1669"/>
                </a:cubicBezTo>
                <a:lnTo>
                  <a:pt x="723" y="1665"/>
                </a:lnTo>
                <a:close/>
                <a:moveTo>
                  <a:pt x="2278" y="682"/>
                </a:moveTo>
                <a:cubicBezTo>
                  <a:pt x="2279" y="682"/>
                  <a:pt x="2279" y="682"/>
                  <a:pt x="2279" y="682"/>
                </a:cubicBezTo>
                <a:cubicBezTo>
                  <a:pt x="2273" y="694"/>
                  <a:pt x="2273" y="694"/>
                  <a:pt x="2273" y="694"/>
                </a:cubicBezTo>
                <a:cubicBezTo>
                  <a:pt x="2289" y="682"/>
                  <a:pt x="2289" y="682"/>
                  <a:pt x="2289" y="682"/>
                </a:cubicBezTo>
                <a:cubicBezTo>
                  <a:pt x="2286" y="676"/>
                  <a:pt x="2286" y="676"/>
                  <a:pt x="2286" y="676"/>
                </a:cubicBezTo>
                <a:lnTo>
                  <a:pt x="2278" y="682"/>
                </a:lnTo>
                <a:close/>
                <a:moveTo>
                  <a:pt x="2576" y="512"/>
                </a:moveTo>
                <a:cubicBezTo>
                  <a:pt x="2581" y="512"/>
                  <a:pt x="2581" y="512"/>
                  <a:pt x="2581" y="512"/>
                </a:cubicBezTo>
                <a:cubicBezTo>
                  <a:pt x="2585" y="504"/>
                  <a:pt x="2585" y="504"/>
                  <a:pt x="2585" y="504"/>
                </a:cubicBezTo>
                <a:cubicBezTo>
                  <a:pt x="2595" y="505"/>
                  <a:pt x="2595" y="505"/>
                  <a:pt x="2595" y="505"/>
                </a:cubicBezTo>
                <a:cubicBezTo>
                  <a:pt x="2592" y="499"/>
                  <a:pt x="2592" y="499"/>
                  <a:pt x="2592" y="499"/>
                </a:cubicBezTo>
                <a:cubicBezTo>
                  <a:pt x="2592" y="494"/>
                  <a:pt x="2592" y="494"/>
                  <a:pt x="2592" y="494"/>
                </a:cubicBezTo>
                <a:cubicBezTo>
                  <a:pt x="2601" y="501"/>
                  <a:pt x="2601" y="501"/>
                  <a:pt x="2601" y="501"/>
                </a:cubicBezTo>
                <a:cubicBezTo>
                  <a:pt x="2602" y="491"/>
                  <a:pt x="2602" y="491"/>
                  <a:pt x="2602" y="491"/>
                </a:cubicBezTo>
                <a:cubicBezTo>
                  <a:pt x="2613" y="486"/>
                  <a:pt x="2613" y="486"/>
                  <a:pt x="2613" y="486"/>
                </a:cubicBezTo>
                <a:cubicBezTo>
                  <a:pt x="2602" y="483"/>
                  <a:pt x="2602" y="483"/>
                  <a:pt x="2602" y="483"/>
                </a:cubicBezTo>
                <a:cubicBezTo>
                  <a:pt x="2603" y="479"/>
                  <a:pt x="2603" y="479"/>
                  <a:pt x="2603" y="479"/>
                </a:cubicBezTo>
                <a:cubicBezTo>
                  <a:pt x="2587" y="460"/>
                  <a:pt x="2587" y="460"/>
                  <a:pt x="2587" y="460"/>
                </a:cubicBezTo>
                <a:cubicBezTo>
                  <a:pt x="2569" y="458"/>
                  <a:pt x="2569" y="458"/>
                  <a:pt x="2569" y="458"/>
                </a:cubicBezTo>
                <a:cubicBezTo>
                  <a:pt x="2567" y="463"/>
                  <a:pt x="2567" y="463"/>
                  <a:pt x="2567" y="463"/>
                </a:cubicBezTo>
                <a:cubicBezTo>
                  <a:pt x="2566" y="460"/>
                  <a:pt x="2566" y="460"/>
                  <a:pt x="2566" y="460"/>
                </a:cubicBezTo>
                <a:cubicBezTo>
                  <a:pt x="2568" y="456"/>
                  <a:pt x="2568" y="456"/>
                  <a:pt x="2568" y="456"/>
                </a:cubicBezTo>
                <a:cubicBezTo>
                  <a:pt x="2562" y="453"/>
                  <a:pt x="2562" y="453"/>
                  <a:pt x="2562" y="453"/>
                </a:cubicBezTo>
                <a:cubicBezTo>
                  <a:pt x="2560" y="457"/>
                  <a:pt x="2560" y="457"/>
                  <a:pt x="2560" y="457"/>
                </a:cubicBezTo>
                <a:cubicBezTo>
                  <a:pt x="2552" y="456"/>
                  <a:pt x="2552" y="456"/>
                  <a:pt x="2552" y="456"/>
                </a:cubicBezTo>
                <a:cubicBezTo>
                  <a:pt x="2557" y="458"/>
                  <a:pt x="2557" y="458"/>
                  <a:pt x="2557" y="458"/>
                </a:cubicBezTo>
                <a:cubicBezTo>
                  <a:pt x="2557" y="469"/>
                  <a:pt x="2557" y="469"/>
                  <a:pt x="2557" y="469"/>
                </a:cubicBezTo>
                <a:cubicBezTo>
                  <a:pt x="2562" y="472"/>
                  <a:pt x="2562" y="472"/>
                  <a:pt x="2562" y="472"/>
                </a:cubicBezTo>
                <a:cubicBezTo>
                  <a:pt x="2559" y="479"/>
                  <a:pt x="2559" y="479"/>
                  <a:pt x="2559" y="479"/>
                </a:cubicBezTo>
                <a:cubicBezTo>
                  <a:pt x="2559" y="473"/>
                  <a:pt x="2559" y="473"/>
                  <a:pt x="2559" y="473"/>
                </a:cubicBezTo>
                <a:cubicBezTo>
                  <a:pt x="2550" y="465"/>
                  <a:pt x="2550" y="465"/>
                  <a:pt x="2550" y="465"/>
                </a:cubicBezTo>
                <a:cubicBezTo>
                  <a:pt x="2546" y="446"/>
                  <a:pt x="2546" y="446"/>
                  <a:pt x="2546" y="446"/>
                </a:cubicBezTo>
                <a:cubicBezTo>
                  <a:pt x="2548" y="444"/>
                  <a:pt x="2548" y="444"/>
                  <a:pt x="2548" y="444"/>
                </a:cubicBezTo>
                <a:cubicBezTo>
                  <a:pt x="2541" y="435"/>
                  <a:pt x="2541" y="435"/>
                  <a:pt x="2541" y="435"/>
                </a:cubicBezTo>
                <a:cubicBezTo>
                  <a:pt x="2534" y="433"/>
                  <a:pt x="2534" y="433"/>
                  <a:pt x="2534" y="433"/>
                </a:cubicBezTo>
                <a:cubicBezTo>
                  <a:pt x="2541" y="444"/>
                  <a:pt x="2541" y="444"/>
                  <a:pt x="2541" y="444"/>
                </a:cubicBezTo>
                <a:cubicBezTo>
                  <a:pt x="2527" y="435"/>
                  <a:pt x="2527" y="435"/>
                  <a:pt x="2527" y="435"/>
                </a:cubicBezTo>
                <a:cubicBezTo>
                  <a:pt x="2532" y="430"/>
                  <a:pt x="2532" y="430"/>
                  <a:pt x="2532" y="430"/>
                </a:cubicBezTo>
                <a:cubicBezTo>
                  <a:pt x="2520" y="427"/>
                  <a:pt x="2520" y="427"/>
                  <a:pt x="2520" y="427"/>
                </a:cubicBezTo>
                <a:cubicBezTo>
                  <a:pt x="2522" y="425"/>
                  <a:pt x="2522" y="425"/>
                  <a:pt x="2522" y="425"/>
                </a:cubicBezTo>
                <a:cubicBezTo>
                  <a:pt x="2522" y="421"/>
                  <a:pt x="2522" y="421"/>
                  <a:pt x="2522" y="421"/>
                </a:cubicBezTo>
                <a:cubicBezTo>
                  <a:pt x="2516" y="417"/>
                  <a:pt x="2516" y="417"/>
                  <a:pt x="2516" y="417"/>
                </a:cubicBezTo>
                <a:cubicBezTo>
                  <a:pt x="2507" y="416"/>
                  <a:pt x="2507" y="416"/>
                  <a:pt x="2507" y="416"/>
                </a:cubicBezTo>
                <a:cubicBezTo>
                  <a:pt x="2506" y="410"/>
                  <a:pt x="2506" y="410"/>
                  <a:pt x="2506" y="410"/>
                </a:cubicBezTo>
                <a:cubicBezTo>
                  <a:pt x="2499" y="407"/>
                  <a:pt x="2499" y="407"/>
                  <a:pt x="2499" y="407"/>
                </a:cubicBezTo>
                <a:cubicBezTo>
                  <a:pt x="2497" y="400"/>
                  <a:pt x="2497" y="400"/>
                  <a:pt x="2497" y="400"/>
                </a:cubicBezTo>
                <a:cubicBezTo>
                  <a:pt x="2487" y="395"/>
                  <a:pt x="2487" y="395"/>
                  <a:pt x="2487" y="395"/>
                </a:cubicBezTo>
                <a:cubicBezTo>
                  <a:pt x="2483" y="393"/>
                  <a:pt x="2483" y="393"/>
                  <a:pt x="2483" y="393"/>
                </a:cubicBezTo>
                <a:cubicBezTo>
                  <a:pt x="2463" y="376"/>
                  <a:pt x="2463" y="376"/>
                  <a:pt x="2463" y="376"/>
                </a:cubicBezTo>
                <a:cubicBezTo>
                  <a:pt x="2434" y="360"/>
                  <a:pt x="2434" y="360"/>
                  <a:pt x="2434" y="360"/>
                </a:cubicBezTo>
                <a:cubicBezTo>
                  <a:pt x="2398" y="361"/>
                  <a:pt x="2398" y="361"/>
                  <a:pt x="2398" y="361"/>
                </a:cubicBezTo>
                <a:cubicBezTo>
                  <a:pt x="2368" y="352"/>
                  <a:pt x="2368" y="352"/>
                  <a:pt x="2368" y="352"/>
                </a:cubicBezTo>
                <a:cubicBezTo>
                  <a:pt x="2363" y="354"/>
                  <a:pt x="2363" y="354"/>
                  <a:pt x="2363" y="354"/>
                </a:cubicBezTo>
                <a:cubicBezTo>
                  <a:pt x="2363" y="365"/>
                  <a:pt x="2363" y="365"/>
                  <a:pt x="2363" y="365"/>
                </a:cubicBezTo>
                <a:cubicBezTo>
                  <a:pt x="2358" y="369"/>
                  <a:pt x="2358" y="369"/>
                  <a:pt x="2358" y="369"/>
                </a:cubicBezTo>
                <a:cubicBezTo>
                  <a:pt x="2365" y="370"/>
                  <a:pt x="2365" y="370"/>
                  <a:pt x="2365" y="370"/>
                </a:cubicBezTo>
                <a:cubicBezTo>
                  <a:pt x="2370" y="387"/>
                  <a:pt x="2370" y="387"/>
                  <a:pt x="2370" y="387"/>
                </a:cubicBezTo>
                <a:cubicBezTo>
                  <a:pt x="2356" y="399"/>
                  <a:pt x="2356" y="399"/>
                  <a:pt x="2356" y="399"/>
                </a:cubicBezTo>
                <a:cubicBezTo>
                  <a:pt x="2336" y="383"/>
                  <a:pt x="2336" y="383"/>
                  <a:pt x="2336" y="383"/>
                </a:cubicBezTo>
                <a:cubicBezTo>
                  <a:pt x="2334" y="370"/>
                  <a:pt x="2334" y="370"/>
                  <a:pt x="2334" y="370"/>
                </a:cubicBezTo>
                <a:cubicBezTo>
                  <a:pt x="2330" y="363"/>
                  <a:pt x="2330" y="363"/>
                  <a:pt x="2330" y="363"/>
                </a:cubicBezTo>
                <a:cubicBezTo>
                  <a:pt x="2317" y="373"/>
                  <a:pt x="2317" y="373"/>
                  <a:pt x="2317" y="373"/>
                </a:cubicBezTo>
                <a:cubicBezTo>
                  <a:pt x="2295" y="370"/>
                  <a:pt x="2295" y="370"/>
                  <a:pt x="2295" y="370"/>
                </a:cubicBezTo>
                <a:cubicBezTo>
                  <a:pt x="2282" y="363"/>
                  <a:pt x="2282" y="363"/>
                  <a:pt x="2282" y="363"/>
                </a:cubicBezTo>
                <a:cubicBezTo>
                  <a:pt x="2262" y="365"/>
                  <a:pt x="2262" y="365"/>
                  <a:pt x="2262" y="365"/>
                </a:cubicBezTo>
                <a:cubicBezTo>
                  <a:pt x="2247" y="377"/>
                  <a:pt x="2247" y="377"/>
                  <a:pt x="2247" y="377"/>
                </a:cubicBezTo>
                <a:cubicBezTo>
                  <a:pt x="2247" y="371"/>
                  <a:pt x="2247" y="371"/>
                  <a:pt x="2247" y="371"/>
                </a:cubicBezTo>
                <a:cubicBezTo>
                  <a:pt x="2228" y="361"/>
                  <a:pt x="2228" y="361"/>
                  <a:pt x="2228" y="361"/>
                </a:cubicBezTo>
                <a:cubicBezTo>
                  <a:pt x="2232" y="346"/>
                  <a:pt x="2232" y="346"/>
                  <a:pt x="2232" y="346"/>
                </a:cubicBezTo>
                <a:cubicBezTo>
                  <a:pt x="2231" y="339"/>
                  <a:pt x="2231" y="339"/>
                  <a:pt x="2231" y="339"/>
                </a:cubicBezTo>
                <a:cubicBezTo>
                  <a:pt x="2217" y="319"/>
                  <a:pt x="2217" y="319"/>
                  <a:pt x="2217" y="319"/>
                </a:cubicBezTo>
                <a:cubicBezTo>
                  <a:pt x="2165" y="318"/>
                  <a:pt x="2165" y="318"/>
                  <a:pt x="2165" y="318"/>
                </a:cubicBezTo>
                <a:cubicBezTo>
                  <a:pt x="2138" y="325"/>
                  <a:pt x="2138" y="325"/>
                  <a:pt x="2138" y="325"/>
                </a:cubicBezTo>
                <a:cubicBezTo>
                  <a:pt x="2129" y="319"/>
                  <a:pt x="2129" y="319"/>
                  <a:pt x="2129" y="319"/>
                </a:cubicBezTo>
                <a:cubicBezTo>
                  <a:pt x="2136" y="310"/>
                  <a:pt x="2136" y="310"/>
                  <a:pt x="2136" y="310"/>
                </a:cubicBezTo>
                <a:cubicBezTo>
                  <a:pt x="2126" y="300"/>
                  <a:pt x="2126" y="300"/>
                  <a:pt x="2126" y="300"/>
                </a:cubicBezTo>
                <a:cubicBezTo>
                  <a:pt x="2115" y="301"/>
                  <a:pt x="2115" y="301"/>
                  <a:pt x="2115" y="301"/>
                </a:cubicBezTo>
                <a:cubicBezTo>
                  <a:pt x="2109" y="293"/>
                  <a:pt x="2109" y="293"/>
                  <a:pt x="2109" y="293"/>
                </a:cubicBezTo>
                <a:cubicBezTo>
                  <a:pt x="2094" y="291"/>
                  <a:pt x="2094" y="291"/>
                  <a:pt x="2094" y="291"/>
                </a:cubicBezTo>
                <a:cubicBezTo>
                  <a:pt x="2099" y="282"/>
                  <a:pt x="2099" y="282"/>
                  <a:pt x="2099" y="282"/>
                </a:cubicBezTo>
                <a:cubicBezTo>
                  <a:pt x="2106" y="284"/>
                  <a:pt x="2106" y="284"/>
                  <a:pt x="2106" y="284"/>
                </a:cubicBezTo>
                <a:cubicBezTo>
                  <a:pt x="2103" y="271"/>
                  <a:pt x="2103" y="271"/>
                  <a:pt x="2103" y="271"/>
                </a:cubicBezTo>
                <a:cubicBezTo>
                  <a:pt x="2099" y="268"/>
                  <a:pt x="2099" y="268"/>
                  <a:pt x="2099" y="268"/>
                </a:cubicBezTo>
                <a:cubicBezTo>
                  <a:pt x="1994" y="243"/>
                  <a:pt x="1994" y="243"/>
                  <a:pt x="1994" y="243"/>
                </a:cubicBezTo>
                <a:cubicBezTo>
                  <a:pt x="1991" y="247"/>
                  <a:pt x="1991" y="247"/>
                  <a:pt x="1991" y="247"/>
                </a:cubicBezTo>
                <a:cubicBezTo>
                  <a:pt x="1995" y="254"/>
                  <a:pt x="1995" y="254"/>
                  <a:pt x="1995" y="254"/>
                </a:cubicBezTo>
                <a:cubicBezTo>
                  <a:pt x="1977" y="276"/>
                  <a:pt x="1977" y="276"/>
                  <a:pt x="1977" y="276"/>
                </a:cubicBezTo>
                <a:cubicBezTo>
                  <a:pt x="1979" y="284"/>
                  <a:pt x="1979" y="284"/>
                  <a:pt x="1979" y="284"/>
                </a:cubicBezTo>
                <a:cubicBezTo>
                  <a:pt x="1976" y="288"/>
                  <a:pt x="1976" y="288"/>
                  <a:pt x="1976" y="288"/>
                </a:cubicBezTo>
                <a:cubicBezTo>
                  <a:pt x="1980" y="299"/>
                  <a:pt x="1980" y="299"/>
                  <a:pt x="1980" y="299"/>
                </a:cubicBezTo>
                <a:cubicBezTo>
                  <a:pt x="1973" y="297"/>
                  <a:pt x="1973" y="297"/>
                  <a:pt x="1973" y="297"/>
                </a:cubicBezTo>
                <a:cubicBezTo>
                  <a:pt x="1955" y="312"/>
                  <a:pt x="1955" y="312"/>
                  <a:pt x="1955" y="312"/>
                </a:cubicBezTo>
                <a:cubicBezTo>
                  <a:pt x="1925" y="292"/>
                  <a:pt x="1925" y="292"/>
                  <a:pt x="1925" y="292"/>
                </a:cubicBezTo>
                <a:cubicBezTo>
                  <a:pt x="1918" y="293"/>
                  <a:pt x="1918" y="293"/>
                  <a:pt x="1918" y="293"/>
                </a:cubicBezTo>
                <a:cubicBezTo>
                  <a:pt x="1915" y="304"/>
                  <a:pt x="1915" y="304"/>
                  <a:pt x="1915" y="304"/>
                </a:cubicBezTo>
                <a:cubicBezTo>
                  <a:pt x="1900" y="301"/>
                  <a:pt x="1900" y="301"/>
                  <a:pt x="1900" y="301"/>
                </a:cubicBezTo>
                <a:cubicBezTo>
                  <a:pt x="1889" y="278"/>
                  <a:pt x="1889" y="278"/>
                  <a:pt x="1889" y="278"/>
                </a:cubicBezTo>
                <a:cubicBezTo>
                  <a:pt x="1881" y="296"/>
                  <a:pt x="1881" y="296"/>
                  <a:pt x="1881" y="296"/>
                </a:cubicBezTo>
                <a:cubicBezTo>
                  <a:pt x="1880" y="310"/>
                  <a:pt x="1880" y="310"/>
                  <a:pt x="1880" y="310"/>
                </a:cubicBezTo>
                <a:cubicBezTo>
                  <a:pt x="1871" y="329"/>
                  <a:pt x="1871" y="329"/>
                  <a:pt x="1871" y="329"/>
                </a:cubicBezTo>
                <a:cubicBezTo>
                  <a:pt x="1867" y="320"/>
                  <a:pt x="1867" y="320"/>
                  <a:pt x="1867" y="320"/>
                </a:cubicBezTo>
                <a:cubicBezTo>
                  <a:pt x="1854" y="315"/>
                  <a:pt x="1854" y="315"/>
                  <a:pt x="1854" y="315"/>
                </a:cubicBezTo>
                <a:cubicBezTo>
                  <a:pt x="1843" y="291"/>
                  <a:pt x="1843" y="291"/>
                  <a:pt x="1843" y="291"/>
                </a:cubicBezTo>
                <a:cubicBezTo>
                  <a:pt x="1840" y="292"/>
                  <a:pt x="1840" y="292"/>
                  <a:pt x="1840" y="292"/>
                </a:cubicBezTo>
                <a:cubicBezTo>
                  <a:pt x="1839" y="282"/>
                  <a:pt x="1839" y="282"/>
                  <a:pt x="1839" y="282"/>
                </a:cubicBezTo>
                <a:cubicBezTo>
                  <a:pt x="1849" y="271"/>
                  <a:pt x="1849" y="271"/>
                  <a:pt x="1849" y="271"/>
                </a:cubicBezTo>
                <a:cubicBezTo>
                  <a:pt x="1848" y="269"/>
                  <a:pt x="1848" y="269"/>
                  <a:pt x="1848" y="269"/>
                </a:cubicBezTo>
                <a:cubicBezTo>
                  <a:pt x="1849" y="262"/>
                  <a:pt x="1849" y="262"/>
                  <a:pt x="1849" y="262"/>
                </a:cubicBezTo>
                <a:cubicBezTo>
                  <a:pt x="1845" y="253"/>
                  <a:pt x="1845" y="253"/>
                  <a:pt x="1845" y="253"/>
                </a:cubicBezTo>
                <a:cubicBezTo>
                  <a:pt x="1848" y="236"/>
                  <a:pt x="1848" y="236"/>
                  <a:pt x="1848" y="236"/>
                </a:cubicBezTo>
                <a:cubicBezTo>
                  <a:pt x="1832" y="216"/>
                  <a:pt x="1832" y="216"/>
                  <a:pt x="1832" y="216"/>
                </a:cubicBezTo>
                <a:cubicBezTo>
                  <a:pt x="1817" y="212"/>
                  <a:pt x="1817" y="212"/>
                  <a:pt x="1817" y="212"/>
                </a:cubicBezTo>
                <a:cubicBezTo>
                  <a:pt x="1812" y="218"/>
                  <a:pt x="1812" y="218"/>
                  <a:pt x="1812" y="218"/>
                </a:cubicBezTo>
                <a:cubicBezTo>
                  <a:pt x="1777" y="199"/>
                  <a:pt x="1777" y="199"/>
                  <a:pt x="1777" y="199"/>
                </a:cubicBezTo>
                <a:cubicBezTo>
                  <a:pt x="1776" y="205"/>
                  <a:pt x="1776" y="205"/>
                  <a:pt x="1776" y="205"/>
                </a:cubicBezTo>
                <a:cubicBezTo>
                  <a:pt x="1771" y="203"/>
                  <a:pt x="1771" y="203"/>
                  <a:pt x="1771" y="203"/>
                </a:cubicBezTo>
                <a:cubicBezTo>
                  <a:pt x="1768" y="217"/>
                  <a:pt x="1768" y="217"/>
                  <a:pt x="1768" y="217"/>
                </a:cubicBezTo>
                <a:cubicBezTo>
                  <a:pt x="1772" y="230"/>
                  <a:pt x="1772" y="230"/>
                  <a:pt x="1772" y="230"/>
                </a:cubicBezTo>
                <a:cubicBezTo>
                  <a:pt x="1769" y="234"/>
                  <a:pt x="1769" y="234"/>
                  <a:pt x="1769" y="234"/>
                </a:cubicBezTo>
                <a:cubicBezTo>
                  <a:pt x="1742" y="239"/>
                  <a:pt x="1742" y="239"/>
                  <a:pt x="1742" y="239"/>
                </a:cubicBezTo>
                <a:cubicBezTo>
                  <a:pt x="1710" y="229"/>
                  <a:pt x="1710" y="229"/>
                  <a:pt x="1710" y="229"/>
                </a:cubicBezTo>
                <a:cubicBezTo>
                  <a:pt x="1709" y="217"/>
                  <a:pt x="1709" y="217"/>
                  <a:pt x="1709" y="217"/>
                </a:cubicBezTo>
                <a:cubicBezTo>
                  <a:pt x="1715" y="215"/>
                  <a:pt x="1715" y="215"/>
                  <a:pt x="1715" y="215"/>
                </a:cubicBezTo>
                <a:cubicBezTo>
                  <a:pt x="1674" y="205"/>
                  <a:pt x="1674" y="205"/>
                  <a:pt x="1674" y="205"/>
                </a:cubicBezTo>
                <a:cubicBezTo>
                  <a:pt x="1647" y="214"/>
                  <a:pt x="1647" y="214"/>
                  <a:pt x="1647" y="214"/>
                </a:cubicBezTo>
                <a:cubicBezTo>
                  <a:pt x="1657" y="222"/>
                  <a:pt x="1657" y="222"/>
                  <a:pt x="1657" y="222"/>
                </a:cubicBezTo>
                <a:cubicBezTo>
                  <a:pt x="1646" y="227"/>
                  <a:pt x="1646" y="227"/>
                  <a:pt x="1646" y="227"/>
                </a:cubicBezTo>
                <a:cubicBezTo>
                  <a:pt x="1642" y="226"/>
                  <a:pt x="1642" y="226"/>
                  <a:pt x="1642" y="226"/>
                </a:cubicBezTo>
                <a:cubicBezTo>
                  <a:pt x="1647" y="222"/>
                  <a:pt x="1647" y="222"/>
                  <a:pt x="1647" y="222"/>
                </a:cubicBezTo>
                <a:cubicBezTo>
                  <a:pt x="1644" y="221"/>
                  <a:pt x="1644" y="221"/>
                  <a:pt x="1644" y="221"/>
                </a:cubicBezTo>
                <a:cubicBezTo>
                  <a:pt x="1645" y="208"/>
                  <a:pt x="1645" y="208"/>
                  <a:pt x="1645" y="208"/>
                </a:cubicBezTo>
                <a:cubicBezTo>
                  <a:pt x="1638" y="191"/>
                  <a:pt x="1638" y="191"/>
                  <a:pt x="1638" y="191"/>
                </a:cubicBezTo>
                <a:cubicBezTo>
                  <a:pt x="1638" y="201"/>
                  <a:pt x="1638" y="201"/>
                  <a:pt x="1638" y="201"/>
                </a:cubicBezTo>
                <a:cubicBezTo>
                  <a:pt x="1634" y="206"/>
                  <a:pt x="1634" y="206"/>
                  <a:pt x="1634" y="206"/>
                </a:cubicBezTo>
                <a:cubicBezTo>
                  <a:pt x="1619" y="201"/>
                  <a:pt x="1619" y="201"/>
                  <a:pt x="1619" y="201"/>
                </a:cubicBezTo>
                <a:cubicBezTo>
                  <a:pt x="1618" y="194"/>
                  <a:pt x="1618" y="194"/>
                  <a:pt x="1618" y="194"/>
                </a:cubicBezTo>
                <a:cubicBezTo>
                  <a:pt x="1621" y="191"/>
                  <a:pt x="1621" y="191"/>
                  <a:pt x="1621" y="191"/>
                </a:cubicBezTo>
                <a:cubicBezTo>
                  <a:pt x="1613" y="197"/>
                  <a:pt x="1613" y="197"/>
                  <a:pt x="1613" y="197"/>
                </a:cubicBezTo>
                <a:cubicBezTo>
                  <a:pt x="1603" y="191"/>
                  <a:pt x="1603" y="191"/>
                  <a:pt x="1603" y="191"/>
                </a:cubicBezTo>
                <a:cubicBezTo>
                  <a:pt x="1596" y="201"/>
                  <a:pt x="1596" y="201"/>
                  <a:pt x="1596" y="201"/>
                </a:cubicBezTo>
                <a:cubicBezTo>
                  <a:pt x="1599" y="210"/>
                  <a:pt x="1599" y="210"/>
                  <a:pt x="1599" y="210"/>
                </a:cubicBezTo>
                <a:cubicBezTo>
                  <a:pt x="1610" y="201"/>
                  <a:pt x="1610" y="201"/>
                  <a:pt x="1610" y="201"/>
                </a:cubicBezTo>
                <a:cubicBezTo>
                  <a:pt x="1614" y="207"/>
                  <a:pt x="1614" y="207"/>
                  <a:pt x="1614" y="207"/>
                </a:cubicBezTo>
                <a:cubicBezTo>
                  <a:pt x="1599" y="217"/>
                  <a:pt x="1599" y="217"/>
                  <a:pt x="1599" y="217"/>
                </a:cubicBezTo>
                <a:cubicBezTo>
                  <a:pt x="1591" y="212"/>
                  <a:pt x="1591" y="212"/>
                  <a:pt x="1591" y="212"/>
                </a:cubicBezTo>
                <a:cubicBezTo>
                  <a:pt x="1595" y="218"/>
                  <a:pt x="1595" y="218"/>
                  <a:pt x="1595" y="218"/>
                </a:cubicBezTo>
                <a:cubicBezTo>
                  <a:pt x="1592" y="220"/>
                  <a:pt x="1592" y="220"/>
                  <a:pt x="1592" y="220"/>
                </a:cubicBezTo>
                <a:cubicBezTo>
                  <a:pt x="1572" y="230"/>
                  <a:pt x="1572" y="230"/>
                  <a:pt x="1572" y="230"/>
                </a:cubicBezTo>
                <a:cubicBezTo>
                  <a:pt x="1557" y="229"/>
                  <a:pt x="1557" y="229"/>
                  <a:pt x="1557" y="229"/>
                </a:cubicBezTo>
                <a:cubicBezTo>
                  <a:pt x="1557" y="231"/>
                  <a:pt x="1557" y="231"/>
                  <a:pt x="1557" y="231"/>
                </a:cubicBezTo>
                <a:cubicBezTo>
                  <a:pt x="1557" y="238"/>
                  <a:pt x="1557" y="238"/>
                  <a:pt x="1557" y="238"/>
                </a:cubicBezTo>
                <a:cubicBezTo>
                  <a:pt x="1562" y="242"/>
                  <a:pt x="1562" y="242"/>
                  <a:pt x="1562" y="242"/>
                </a:cubicBezTo>
                <a:cubicBezTo>
                  <a:pt x="1553" y="238"/>
                  <a:pt x="1553" y="238"/>
                  <a:pt x="1553" y="238"/>
                </a:cubicBezTo>
                <a:cubicBezTo>
                  <a:pt x="1546" y="242"/>
                  <a:pt x="1546" y="242"/>
                  <a:pt x="1546" y="242"/>
                </a:cubicBezTo>
                <a:cubicBezTo>
                  <a:pt x="1567" y="210"/>
                  <a:pt x="1567" y="210"/>
                  <a:pt x="1567" y="210"/>
                </a:cubicBezTo>
                <a:cubicBezTo>
                  <a:pt x="1580" y="210"/>
                  <a:pt x="1580" y="210"/>
                  <a:pt x="1580" y="210"/>
                </a:cubicBezTo>
                <a:cubicBezTo>
                  <a:pt x="1608" y="169"/>
                  <a:pt x="1608" y="169"/>
                  <a:pt x="1608" y="169"/>
                </a:cubicBezTo>
                <a:cubicBezTo>
                  <a:pt x="1626" y="161"/>
                  <a:pt x="1626" y="161"/>
                  <a:pt x="1626" y="161"/>
                </a:cubicBezTo>
                <a:cubicBezTo>
                  <a:pt x="1626" y="155"/>
                  <a:pt x="1626" y="155"/>
                  <a:pt x="1626" y="155"/>
                </a:cubicBezTo>
                <a:cubicBezTo>
                  <a:pt x="1633" y="153"/>
                  <a:pt x="1633" y="153"/>
                  <a:pt x="1633" y="153"/>
                </a:cubicBezTo>
                <a:cubicBezTo>
                  <a:pt x="1631" y="150"/>
                  <a:pt x="1631" y="150"/>
                  <a:pt x="1631" y="150"/>
                </a:cubicBezTo>
                <a:cubicBezTo>
                  <a:pt x="1642" y="143"/>
                  <a:pt x="1642" y="143"/>
                  <a:pt x="1642" y="143"/>
                </a:cubicBezTo>
                <a:cubicBezTo>
                  <a:pt x="1650" y="130"/>
                  <a:pt x="1650" y="130"/>
                  <a:pt x="1650" y="130"/>
                </a:cubicBezTo>
                <a:cubicBezTo>
                  <a:pt x="1648" y="122"/>
                  <a:pt x="1648" y="122"/>
                  <a:pt x="1648" y="122"/>
                </a:cubicBezTo>
                <a:cubicBezTo>
                  <a:pt x="1650" y="119"/>
                  <a:pt x="1650" y="119"/>
                  <a:pt x="1650" y="119"/>
                </a:cubicBezTo>
                <a:cubicBezTo>
                  <a:pt x="1640" y="116"/>
                  <a:pt x="1640" y="116"/>
                  <a:pt x="1640" y="116"/>
                </a:cubicBezTo>
                <a:cubicBezTo>
                  <a:pt x="1634" y="104"/>
                  <a:pt x="1634" y="104"/>
                  <a:pt x="1634" y="104"/>
                </a:cubicBezTo>
                <a:cubicBezTo>
                  <a:pt x="1646" y="116"/>
                  <a:pt x="1646" y="116"/>
                  <a:pt x="1646" y="116"/>
                </a:cubicBezTo>
                <a:cubicBezTo>
                  <a:pt x="1651" y="105"/>
                  <a:pt x="1651" y="105"/>
                  <a:pt x="1651" y="105"/>
                </a:cubicBezTo>
                <a:cubicBezTo>
                  <a:pt x="1651" y="99"/>
                  <a:pt x="1651" y="99"/>
                  <a:pt x="1651" y="99"/>
                </a:cubicBezTo>
                <a:cubicBezTo>
                  <a:pt x="1647" y="99"/>
                  <a:pt x="1647" y="99"/>
                  <a:pt x="1647" y="99"/>
                </a:cubicBezTo>
                <a:cubicBezTo>
                  <a:pt x="1642" y="83"/>
                  <a:pt x="1642" y="83"/>
                  <a:pt x="1642" y="83"/>
                </a:cubicBezTo>
                <a:cubicBezTo>
                  <a:pt x="1638" y="90"/>
                  <a:pt x="1638" y="90"/>
                  <a:pt x="1638" y="90"/>
                </a:cubicBezTo>
                <a:cubicBezTo>
                  <a:pt x="1635" y="83"/>
                  <a:pt x="1635" y="83"/>
                  <a:pt x="1635" y="83"/>
                </a:cubicBezTo>
                <a:cubicBezTo>
                  <a:pt x="1637" y="78"/>
                  <a:pt x="1637" y="78"/>
                  <a:pt x="1637" y="78"/>
                </a:cubicBezTo>
                <a:cubicBezTo>
                  <a:pt x="1616" y="56"/>
                  <a:pt x="1616" y="56"/>
                  <a:pt x="1616" y="56"/>
                </a:cubicBezTo>
                <a:cubicBezTo>
                  <a:pt x="1580" y="54"/>
                  <a:pt x="1580" y="54"/>
                  <a:pt x="1580" y="54"/>
                </a:cubicBezTo>
                <a:cubicBezTo>
                  <a:pt x="1570" y="70"/>
                  <a:pt x="1570" y="70"/>
                  <a:pt x="1570" y="70"/>
                </a:cubicBezTo>
                <a:cubicBezTo>
                  <a:pt x="1554" y="70"/>
                  <a:pt x="1554" y="70"/>
                  <a:pt x="1554" y="70"/>
                </a:cubicBezTo>
                <a:cubicBezTo>
                  <a:pt x="1567" y="54"/>
                  <a:pt x="1567" y="54"/>
                  <a:pt x="1567" y="54"/>
                </a:cubicBezTo>
                <a:cubicBezTo>
                  <a:pt x="1570" y="46"/>
                  <a:pt x="1570" y="46"/>
                  <a:pt x="1570" y="46"/>
                </a:cubicBezTo>
                <a:cubicBezTo>
                  <a:pt x="1568" y="42"/>
                  <a:pt x="1568" y="42"/>
                  <a:pt x="1568" y="42"/>
                </a:cubicBezTo>
                <a:cubicBezTo>
                  <a:pt x="1549" y="39"/>
                  <a:pt x="1549" y="39"/>
                  <a:pt x="1549" y="39"/>
                </a:cubicBezTo>
                <a:cubicBezTo>
                  <a:pt x="1549" y="33"/>
                  <a:pt x="1549" y="33"/>
                  <a:pt x="1549" y="33"/>
                </a:cubicBezTo>
                <a:cubicBezTo>
                  <a:pt x="1531" y="44"/>
                  <a:pt x="1531" y="44"/>
                  <a:pt x="1531" y="44"/>
                </a:cubicBezTo>
                <a:cubicBezTo>
                  <a:pt x="1553" y="22"/>
                  <a:pt x="1553" y="22"/>
                  <a:pt x="1553" y="22"/>
                </a:cubicBezTo>
                <a:cubicBezTo>
                  <a:pt x="1549" y="10"/>
                  <a:pt x="1549" y="10"/>
                  <a:pt x="1549" y="10"/>
                </a:cubicBezTo>
                <a:cubicBezTo>
                  <a:pt x="1529" y="0"/>
                  <a:pt x="1529" y="0"/>
                  <a:pt x="1529" y="0"/>
                </a:cubicBezTo>
                <a:cubicBezTo>
                  <a:pt x="1515" y="5"/>
                  <a:pt x="1515" y="5"/>
                  <a:pt x="1515" y="5"/>
                </a:cubicBezTo>
                <a:cubicBezTo>
                  <a:pt x="1494" y="36"/>
                  <a:pt x="1494" y="36"/>
                  <a:pt x="1494" y="36"/>
                </a:cubicBezTo>
                <a:cubicBezTo>
                  <a:pt x="1488" y="51"/>
                  <a:pt x="1488" y="51"/>
                  <a:pt x="1488" y="51"/>
                </a:cubicBezTo>
                <a:cubicBezTo>
                  <a:pt x="1494" y="60"/>
                  <a:pt x="1494" y="60"/>
                  <a:pt x="1494" y="60"/>
                </a:cubicBezTo>
                <a:cubicBezTo>
                  <a:pt x="1491" y="59"/>
                  <a:pt x="1491" y="59"/>
                  <a:pt x="1491" y="59"/>
                </a:cubicBezTo>
                <a:cubicBezTo>
                  <a:pt x="1491" y="65"/>
                  <a:pt x="1491" y="65"/>
                  <a:pt x="1491" y="65"/>
                </a:cubicBezTo>
                <a:cubicBezTo>
                  <a:pt x="1462" y="70"/>
                  <a:pt x="1462" y="70"/>
                  <a:pt x="1462" y="70"/>
                </a:cubicBezTo>
                <a:cubicBezTo>
                  <a:pt x="1475" y="82"/>
                  <a:pt x="1475" y="82"/>
                  <a:pt x="1475" y="82"/>
                </a:cubicBezTo>
                <a:cubicBezTo>
                  <a:pt x="1473" y="93"/>
                  <a:pt x="1473" y="93"/>
                  <a:pt x="1473" y="93"/>
                </a:cubicBezTo>
                <a:cubicBezTo>
                  <a:pt x="1468" y="88"/>
                  <a:pt x="1468" y="88"/>
                  <a:pt x="1468" y="88"/>
                </a:cubicBezTo>
                <a:cubicBezTo>
                  <a:pt x="1460" y="81"/>
                  <a:pt x="1460" y="81"/>
                  <a:pt x="1460" y="81"/>
                </a:cubicBezTo>
                <a:cubicBezTo>
                  <a:pt x="1447" y="90"/>
                  <a:pt x="1447" y="90"/>
                  <a:pt x="1447" y="90"/>
                </a:cubicBezTo>
                <a:cubicBezTo>
                  <a:pt x="1449" y="96"/>
                  <a:pt x="1449" y="96"/>
                  <a:pt x="1449" y="96"/>
                </a:cubicBezTo>
                <a:cubicBezTo>
                  <a:pt x="1433" y="102"/>
                  <a:pt x="1433" y="102"/>
                  <a:pt x="1433" y="102"/>
                </a:cubicBezTo>
                <a:cubicBezTo>
                  <a:pt x="1434" y="96"/>
                  <a:pt x="1434" y="96"/>
                  <a:pt x="1434" y="96"/>
                </a:cubicBezTo>
                <a:cubicBezTo>
                  <a:pt x="1431" y="95"/>
                  <a:pt x="1431" y="95"/>
                  <a:pt x="1431" y="95"/>
                </a:cubicBezTo>
                <a:cubicBezTo>
                  <a:pt x="1423" y="102"/>
                  <a:pt x="1423" y="102"/>
                  <a:pt x="1423" y="102"/>
                </a:cubicBezTo>
                <a:cubicBezTo>
                  <a:pt x="1427" y="90"/>
                  <a:pt x="1427" y="90"/>
                  <a:pt x="1427" y="90"/>
                </a:cubicBezTo>
                <a:cubicBezTo>
                  <a:pt x="1424" y="87"/>
                  <a:pt x="1424" y="87"/>
                  <a:pt x="1424" y="87"/>
                </a:cubicBezTo>
                <a:cubicBezTo>
                  <a:pt x="1387" y="92"/>
                  <a:pt x="1387" y="92"/>
                  <a:pt x="1387" y="92"/>
                </a:cubicBezTo>
                <a:cubicBezTo>
                  <a:pt x="1387" y="97"/>
                  <a:pt x="1387" y="97"/>
                  <a:pt x="1387" y="97"/>
                </a:cubicBezTo>
                <a:cubicBezTo>
                  <a:pt x="1395" y="97"/>
                  <a:pt x="1395" y="97"/>
                  <a:pt x="1395" y="97"/>
                </a:cubicBezTo>
                <a:cubicBezTo>
                  <a:pt x="1394" y="102"/>
                  <a:pt x="1394" y="102"/>
                  <a:pt x="1394" y="102"/>
                </a:cubicBezTo>
                <a:cubicBezTo>
                  <a:pt x="1341" y="121"/>
                  <a:pt x="1341" y="121"/>
                  <a:pt x="1341" y="121"/>
                </a:cubicBezTo>
                <a:cubicBezTo>
                  <a:pt x="1326" y="139"/>
                  <a:pt x="1326" y="139"/>
                  <a:pt x="1326" y="139"/>
                </a:cubicBezTo>
                <a:cubicBezTo>
                  <a:pt x="1313" y="139"/>
                  <a:pt x="1313" y="139"/>
                  <a:pt x="1313" y="139"/>
                </a:cubicBezTo>
                <a:cubicBezTo>
                  <a:pt x="1322" y="144"/>
                  <a:pt x="1322" y="144"/>
                  <a:pt x="1322" y="144"/>
                </a:cubicBezTo>
                <a:cubicBezTo>
                  <a:pt x="1315" y="147"/>
                  <a:pt x="1315" y="147"/>
                  <a:pt x="1315" y="147"/>
                </a:cubicBezTo>
                <a:cubicBezTo>
                  <a:pt x="1311" y="161"/>
                  <a:pt x="1311" y="161"/>
                  <a:pt x="1311" y="161"/>
                </a:cubicBezTo>
                <a:cubicBezTo>
                  <a:pt x="1300" y="153"/>
                  <a:pt x="1300" y="153"/>
                  <a:pt x="1300" y="153"/>
                </a:cubicBezTo>
                <a:cubicBezTo>
                  <a:pt x="1297" y="160"/>
                  <a:pt x="1297" y="160"/>
                  <a:pt x="1297" y="160"/>
                </a:cubicBezTo>
                <a:cubicBezTo>
                  <a:pt x="1309" y="166"/>
                  <a:pt x="1309" y="166"/>
                  <a:pt x="1309" y="166"/>
                </a:cubicBezTo>
                <a:cubicBezTo>
                  <a:pt x="1299" y="175"/>
                  <a:pt x="1299" y="175"/>
                  <a:pt x="1299" y="175"/>
                </a:cubicBezTo>
                <a:cubicBezTo>
                  <a:pt x="1309" y="180"/>
                  <a:pt x="1309" y="180"/>
                  <a:pt x="1309" y="180"/>
                </a:cubicBezTo>
                <a:cubicBezTo>
                  <a:pt x="1313" y="189"/>
                  <a:pt x="1313" y="189"/>
                  <a:pt x="1313" y="189"/>
                </a:cubicBezTo>
                <a:cubicBezTo>
                  <a:pt x="1309" y="190"/>
                  <a:pt x="1309" y="190"/>
                  <a:pt x="1309" y="190"/>
                </a:cubicBezTo>
                <a:cubicBezTo>
                  <a:pt x="1309" y="197"/>
                  <a:pt x="1309" y="197"/>
                  <a:pt x="1309" y="197"/>
                </a:cubicBezTo>
                <a:cubicBezTo>
                  <a:pt x="1239" y="210"/>
                  <a:pt x="1239" y="210"/>
                  <a:pt x="1239" y="210"/>
                </a:cubicBezTo>
                <a:cubicBezTo>
                  <a:pt x="1233" y="212"/>
                  <a:pt x="1233" y="212"/>
                  <a:pt x="1233" y="212"/>
                </a:cubicBezTo>
                <a:cubicBezTo>
                  <a:pt x="1236" y="216"/>
                  <a:pt x="1236" y="216"/>
                  <a:pt x="1236" y="216"/>
                </a:cubicBezTo>
                <a:cubicBezTo>
                  <a:pt x="1230" y="222"/>
                  <a:pt x="1230" y="222"/>
                  <a:pt x="1230" y="222"/>
                </a:cubicBezTo>
                <a:cubicBezTo>
                  <a:pt x="1233" y="224"/>
                  <a:pt x="1233" y="224"/>
                  <a:pt x="1233" y="224"/>
                </a:cubicBezTo>
                <a:cubicBezTo>
                  <a:pt x="1230" y="229"/>
                  <a:pt x="1230" y="229"/>
                  <a:pt x="1230" y="229"/>
                </a:cubicBezTo>
                <a:cubicBezTo>
                  <a:pt x="1239" y="240"/>
                  <a:pt x="1239" y="240"/>
                  <a:pt x="1239" y="240"/>
                </a:cubicBezTo>
                <a:cubicBezTo>
                  <a:pt x="1236" y="248"/>
                  <a:pt x="1236" y="248"/>
                  <a:pt x="1236" y="248"/>
                </a:cubicBezTo>
                <a:cubicBezTo>
                  <a:pt x="1238" y="259"/>
                  <a:pt x="1238" y="259"/>
                  <a:pt x="1238" y="259"/>
                </a:cubicBezTo>
                <a:cubicBezTo>
                  <a:pt x="1255" y="268"/>
                  <a:pt x="1255" y="268"/>
                  <a:pt x="1255" y="268"/>
                </a:cubicBezTo>
                <a:cubicBezTo>
                  <a:pt x="1256" y="271"/>
                  <a:pt x="1256" y="271"/>
                  <a:pt x="1256" y="271"/>
                </a:cubicBezTo>
                <a:cubicBezTo>
                  <a:pt x="1255" y="275"/>
                  <a:pt x="1255" y="275"/>
                  <a:pt x="1255" y="275"/>
                </a:cubicBezTo>
                <a:cubicBezTo>
                  <a:pt x="1270" y="284"/>
                  <a:pt x="1270" y="284"/>
                  <a:pt x="1270" y="284"/>
                </a:cubicBezTo>
                <a:cubicBezTo>
                  <a:pt x="1272" y="294"/>
                  <a:pt x="1272" y="294"/>
                  <a:pt x="1272" y="294"/>
                </a:cubicBezTo>
                <a:cubicBezTo>
                  <a:pt x="1267" y="308"/>
                  <a:pt x="1267" y="308"/>
                  <a:pt x="1267" y="308"/>
                </a:cubicBezTo>
                <a:cubicBezTo>
                  <a:pt x="1272" y="331"/>
                  <a:pt x="1272" y="331"/>
                  <a:pt x="1272" y="331"/>
                </a:cubicBezTo>
                <a:cubicBezTo>
                  <a:pt x="1272" y="342"/>
                  <a:pt x="1272" y="342"/>
                  <a:pt x="1272" y="342"/>
                </a:cubicBezTo>
                <a:cubicBezTo>
                  <a:pt x="1265" y="345"/>
                  <a:pt x="1265" y="345"/>
                  <a:pt x="1265" y="345"/>
                </a:cubicBezTo>
                <a:cubicBezTo>
                  <a:pt x="1266" y="352"/>
                  <a:pt x="1266" y="352"/>
                  <a:pt x="1266" y="352"/>
                </a:cubicBezTo>
                <a:cubicBezTo>
                  <a:pt x="1255" y="345"/>
                  <a:pt x="1255" y="345"/>
                  <a:pt x="1255" y="345"/>
                </a:cubicBezTo>
                <a:cubicBezTo>
                  <a:pt x="1256" y="328"/>
                  <a:pt x="1256" y="328"/>
                  <a:pt x="1256" y="328"/>
                </a:cubicBezTo>
                <a:cubicBezTo>
                  <a:pt x="1255" y="310"/>
                  <a:pt x="1255" y="310"/>
                  <a:pt x="1255" y="310"/>
                </a:cubicBezTo>
                <a:cubicBezTo>
                  <a:pt x="1264" y="303"/>
                  <a:pt x="1264" y="303"/>
                  <a:pt x="1264" y="303"/>
                </a:cubicBezTo>
                <a:cubicBezTo>
                  <a:pt x="1267" y="291"/>
                  <a:pt x="1267" y="291"/>
                  <a:pt x="1267" y="291"/>
                </a:cubicBezTo>
                <a:cubicBezTo>
                  <a:pt x="1245" y="289"/>
                  <a:pt x="1245" y="289"/>
                  <a:pt x="1245" y="289"/>
                </a:cubicBezTo>
                <a:cubicBezTo>
                  <a:pt x="1236" y="276"/>
                  <a:pt x="1236" y="276"/>
                  <a:pt x="1236" y="276"/>
                </a:cubicBezTo>
                <a:cubicBezTo>
                  <a:pt x="1217" y="263"/>
                  <a:pt x="1217" y="263"/>
                  <a:pt x="1217" y="263"/>
                </a:cubicBezTo>
                <a:cubicBezTo>
                  <a:pt x="1194" y="271"/>
                  <a:pt x="1194" y="271"/>
                  <a:pt x="1194" y="271"/>
                </a:cubicBezTo>
                <a:cubicBezTo>
                  <a:pt x="1193" y="275"/>
                  <a:pt x="1193" y="275"/>
                  <a:pt x="1193" y="275"/>
                </a:cubicBezTo>
                <a:cubicBezTo>
                  <a:pt x="1202" y="278"/>
                  <a:pt x="1202" y="278"/>
                  <a:pt x="1202" y="278"/>
                </a:cubicBezTo>
                <a:cubicBezTo>
                  <a:pt x="1191" y="289"/>
                  <a:pt x="1191" y="289"/>
                  <a:pt x="1191" y="289"/>
                </a:cubicBezTo>
                <a:cubicBezTo>
                  <a:pt x="1186" y="290"/>
                  <a:pt x="1186" y="290"/>
                  <a:pt x="1186" y="290"/>
                </a:cubicBezTo>
                <a:cubicBezTo>
                  <a:pt x="1181" y="280"/>
                  <a:pt x="1181" y="280"/>
                  <a:pt x="1181" y="280"/>
                </a:cubicBezTo>
                <a:cubicBezTo>
                  <a:pt x="1175" y="282"/>
                  <a:pt x="1175" y="282"/>
                  <a:pt x="1175" y="282"/>
                </a:cubicBezTo>
                <a:cubicBezTo>
                  <a:pt x="1179" y="295"/>
                  <a:pt x="1179" y="295"/>
                  <a:pt x="1179" y="295"/>
                </a:cubicBezTo>
                <a:cubicBezTo>
                  <a:pt x="1195" y="306"/>
                  <a:pt x="1195" y="306"/>
                  <a:pt x="1195" y="306"/>
                </a:cubicBezTo>
                <a:cubicBezTo>
                  <a:pt x="1200" y="303"/>
                  <a:pt x="1200" y="303"/>
                  <a:pt x="1200" y="303"/>
                </a:cubicBezTo>
                <a:cubicBezTo>
                  <a:pt x="1206" y="319"/>
                  <a:pt x="1206" y="319"/>
                  <a:pt x="1206" y="319"/>
                </a:cubicBezTo>
                <a:cubicBezTo>
                  <a:pt x="1168" y="304"/>
                  <a:pt x="1168" y="304"/>
                  <a:pt x="1168" y="304"/>
                </a:cubicBezTo>
                <a:cubicBezTo>
                  <a:pt x="1165" y="301"/>
                  <a:pt x="1165" y="301"/>
                  <a:pt x="1165" y="301"/>
                </a:cubicBezTo>
                <a:cubicBezTo>
                  <a:pt x="1169" y="299"/>
                  <a:pt x="1169" y="299"/>
                  <a:pt x="1169" y="299"/>
                </a:cubicBezTo>
                <a:cubicBezTo>
                  <a:pt x="1169" y="293"/>
                  <a:pt x="1169" y="293"/>
                  <a:pt x="1169" y="293"/>
                </a:cubicBezTo>
                <a:cubicBezTo>
                  <a:pt x="1165" y="278"/>
                  <a:pt x="1165" y="278"/>
                  <a:pt x="1165" y="278"/>
                </a:cubicBezTo>
                <a:cubicBezTo>
                  <a:pt x="1170" y="267"/>
                  <a:pt x="1170" y="267"/>
                  <a:pt x="1170" y="267"/>
                </a:cubicBezTo>
                <a:cubicBezTo>
                  <a:pt x="1168" y="257"/>
                  <a:pt x="1168" y="257"/>
                  <a:pt x="1168" y="257"/>
                </a:cubicBezTo>
                <a:cubicBezTo>
                  <a:pt x="1170" y="255"/>
                  <a:pt x="1170" y="255"/>
                  <a:pt x="1170" y="255"/>
                </a:cubicBezTo>
                <a:cubicBezTo>
                  <a:pt x="1163" y="242"/>
                  <a:pt x="1163" y="242"/>
                  <a:pt x="1163" y="242"/>
                </a:cubicBezTo>
                <a:cubicBezTo>
                  <a:pt x="1160" y="243"/>
                  <a:pt x="1160" y="243"/>
                  <a:pt x="1160" y="243"/>
                </a:cubicBezTo>
                <a:cubicBezTo>
                  <a:pt x="1163" y="267"/>
                  <a:pt x="1163" y="267"/>
                  <a:pt x="1163" y="267"/>
                </a:cubicBezTo>
                <a:cubicBezTo>
                  <a:pt x="1142" y="284"/>
                  <a:pt x="1142" y="284"/>
                  <a:pt x="1142" y="284"/>
                </a:cubicBezTo>
                <a:cubicBezTo>
                  <a:pt x="1138" y="296"/>
                  <a:pt x="1138" y="296"/>
                  <a:pt x="1138" y="296"/>
                </a:cubicBezTo>
                <a:cubicBezTo>
                  <a:pt x="1154" y="329"/>
                  <a:pt x="1154" y="329"/>
                  <a:pt x="1154" y="329"/>
                </a:cubicBezTo>
                <a:cubicBezTo>
                  <a:pt x="1145" y="360"/>
                  <a:pt x="1145" y="360"/>
                  <a:pt x="1145" y="360"/>
                </a:cubicBezTo>
                <a:cubicBezTo>
                  <a:pt x="1149" y="374"/>
                  <a:pt x="1149" y="374"/>
                  <a:pt x="1149" y="374"/>
                </a:cubicBezTo>
                <a:cubicBezTo>
                  <a:pt x="1147" y="384"/>
                  <a:pt x="1147" y="384"/>
                  <a:pt x="1147" y="384"/>
                </a:cubicBezTo>
                <a:cubicBezTo>
                  <a:pt x="1164" y="389"/>
                  <a:pt x="1164" y="389"/>
                  <a:pt x="1164" y="389"/>
                </a:cubicBezTo>
                <a:cubicBezTo>
                  <a:pt x="1176" y="383"/>
                  <a:pt x="1176" y="383"/>
                  <a:pt x="1176" y="383"/>
                </a:cubicBezTo>
                <a:cubicBezTo>
                  <a:pt x="1196" y="396"/>
                  <a:pt x="1196" y="396"/>
                  <a:pt x="1196" y="396"/>
                </a:cubicBezTo>
                <a:cubicBezTo>
                  <a:pt x="1202" y="416"/>
                  <a:pt x="1202" y="416"/>
                  <a:pt x="1202" y="416"/>
                </a:cubicBezTo>
                <a:cubicBezTo>
                  <a:pt x="1195" y="421"/>
                  <a:pt x="1195" y="421"/>
                  <a:pt x="1195" y="421"/>
                </a:cubicBezTo>
                <a:cubicBezTo>
                  <a:pt x="1195" y="433"/>
                  <a:pt x="1195" y="433"/>
                  <a:pt x="1195" y="433"/>
                </a:cubicBezTo>
                <a:cubicBezTo>
                  <a:pt x="1211" y="439"/>
                  <a:pt x="1211" y="439"/>
                  <a:pt x="1211" y="439"/>
                </a:cubicBezTo>
                <a:cubicBezTo>
                  <a:pt x="1197" y="440"/>
                  <a:pt x="1197" y="440"/>
                  <a:pt x="1197" y="440"/>
                </a:cubicBezTo>
                <a:cubicBezTo>
                  <a:pt x="1191" y="434"/>
                  <a:pt x="1191" y="434"/>
                  <a:pt x="1191" y="434"/>
                </a:cubicBezTo>
                <a:cubicBezTo>
                  <a:pt x="1193" y="419"/>
                  <a:pt x="1193" y="419"/>
                  <a:pt x="1193" y="419"/>
                </a:cubicBezTo>
                <a:cubicBezTo>
                  <a:pt x="1191" y="416"/>
                  <a:pt x="1191" y="416"/>
                  <a:pt x="1191" y="416"/>
                </a:cubicBezTo>
                <a:cubicBezTo>
                  <a:pt x="1192" y="409"/>
                  <a:pt x="1192" y="409"/>
                  <a:pt x="1192" y="409"/>
                </a:cubicBezTo>
                <a:cubicBezTo>
                  <a:pt x="1185" y="401"/>
                  <a:pt x="1185" y="401"/>
                  <a:pt x="1185" y="401"/>
                </a:cubicBezTo>
                <a:cubicBezTo>
                  <a:pt x="1183" y="392"/>
                  <a:pt x="1183" y="392"/>
                  <a:pt x="1183" y="392"/>
                </a:cubicBezTo>
                <a:cubicBezTo>
                  <a:pt x="1157" y="400"/>
                  <a:pt x="1157" y="400"/>
                  <a:pt x="1157" y="400"/>
                </a:cubicBezTo>
                <a:cubicBezTo>
                  <a:pt x="1154" y="412"/>
                  <a:pt x="1154" y="412"/>
                  <a:pt x="1154" y="412"/>
                </a:cubicBezTo>
                <a:cubicBezTo>
                  <a:pt x="1160" y="425"/>
                  <a:pt x="1160" y="425"/>
                  <a:pt x="1160" y="425"/>
                </a:cubicBezTo>
                <a:cubicBezTo>
                  <a:pt x="1159" y="435"/>
                  <a:pt x="1159" y="435"/>
                  <a:pt x="1159" y="435"/>
                </a:cubicBezTo>
                <a:cubicBezTo>
                  <a:pt x="1149" y="447"/>
                  <a:pt x="1149" y="447"/>
                  <a:pt x="1149" y="447"/>
                </a:cubicBezTo>
                <a:cubicBezTo>
                  <a:pt x="1144" y="462"/>
                  <a:pt x="1144" y="462"/>
                  <a:pt x="1144" y="462"/>
                </a:cubicBezTo>
                <a:cubicBezTo>
                  <a:pt x="1130" y="471"/>
                  <a:pt x="1130" y="471"/>
                  <a:pt x="1130" y="471"/>
                </a:cubicBezTo>
                <a:cubicBezTo>
                  <a:pt x="1128" y="481"/>
                  <a:pt x="1128" y="481"/>
                  <a:pt x="1128" y="481"/>
                </a:cubicBezTo>
                <a:cubicBezTo>
                  <a:pt x="1126" y="482"/>
                  <a:pt x="1126" y="482"/>
                  <a:pt x="1126" y="482"/>
                </a:cubicBezTo>
                <a:cubicBezTo>
                  <a:pt x="1102" y="478"/>
                  <a:pt x="1102" y="478"/>
                  <a:pt x="1102" y="478"/>
                </a:cubicBezTo>
                <a:cubicBezTo>
                  <a:pt x="1100" y="467"/>
                  <a:pt x="1100" y="467"/>
                  <a:pt x="1100" y="467"/>
                </a:cubicBezTo>
                <a:cubicBezTo>
                  <a:pt x="1098" y="465"/>
                  <a:pt x="1098" y="465"/>
                  <a:pt x="1098" y="465"/>
                </a:cubicBezTo>
                <a:cubicBezTo>
                  <a:pt x="1106" y="467"/>
                  <a:pt x="1106" y="467"/>
                  <a:pt x="1106" y="467"/>
                </a:cubicBezTo>
                <a:cubicBezTo>
                  <a:pt x="1124" y="459"/>
                  <a:pt x="1124" y="459"/>
                  <a:pt x="1124" y="459"/>
                </a:cubicBezTo>
                <a:cubicBezTo>
                  <a:pt x="1117" y="452"/>
                  <a:pt x="1117" y="452"/>
                  <a:pt x="1117" y="452"/>
                </a:cubicBezTo>
                <a:cubicBezTo>
                  <a:pt x="1127" y="453"/>
                  <a:pt x="1127" y="453"/>
                  <a:pt x="1127" y="453"/>
                </a:cubicBezTo>
                <a:cubicBezTo>
                  <a:pt x="1133" y="439"/>
                  <a:pt x="1133" y="439"/>
                  <a:pt x="1133" y="439"/>
                </a:cubicBezTo>
                <a:cubicBezTo>
                  <a:pt x="1139" y="435"/>
                  <a:pt x="1139" y="435"/>
                  <a:pt x="1139" y="435"/>
                </a:cubicBezTo>
                <a:cubicBezTo>
                  <a:pt x="1139" y="421"/>
                  <a:pt x="1139" y="421"/>
                  <a:pt x="1139" y="421"/>
                </a:cubicBezTo>
                <a:cubicBezTo>
                  <a:pt x="1143" y="411"/>
                  <a:pt x="1143" y="411"/>
                  <a:pt x="1143" y="411"/>
                </a:cubicBezTo>
                <a:cubicBezTo>
                  <a:pt x="1143" y="405"/>
                  <a:pt x="1143" y="405"/>
                  <a:pt x="1143" y="405"/>
                </a:cubicBezTo>
                <a:cubicBezTo>
                  <a:pt x="1131" y="390"/>
                  <a:pt x="1131" y="390"/>
                  <a:pt x="1131" y="390"/>
                </a:cubicBezTo>
                <a:cubicBezTo>
                  <a:pt x="1133" y="361"/>
                  <a:pt x="1133" y="361"/>
                  <a:pt x="1133" y="361"/>
                </a:cubicBezTo>
                <a:cubicBezTo>
                  <a:pt x="1130" y="345"/>
                  <a:pt x="1130" y="345"/>
                  <a:pt x="1130" y="345"/>
                </a:cubicBezTo>
                <a:cubicBezTo>
                  <a:pt x="1134" y="340"/>
                  <a:pt x="1134" y="340"/>
                  <a:pt x="1134" y="340"/>
                </a:cubicBezTo>
                <a:cubicBezTo>
                  <a:pt x="1135" y="322"/>
                  <a:pt x="1135" y="322"/>
                  <a:pt x="1135" y="322"/>
                </a:cubicBezTo>
                <a:cubicBezTo>
                  <a:pt x="1132" y="310"/>
                  <a:pt x="1132" y="310"/>
                  <a:pt x="1132" y="310"/>
                </a:cubicBezTo>
                <a:cubicBezTo>
                  <a:pt x="1122" y="298"/>
                  <a:pt x="1122" y="298"/>
                  <a:pt x="1122" y="298"/>
                </a:cubicBezTo>
                <a:cubicBezTo>
                  <a:pt x="1133" y="269"/>
                  <a:pt x="1133" y="269"/>
                  <a:pt x="1133" y="269"/>
                </a:cubicBezTo>
                <a:cubicBezTo>
                  <a:pt x="1132" y="248"/>
                  <a:pt x="1132" y="248"/>
                  <a:pt x="1132" y="248"/>
                </a:cubicBezTo>
                <a:cubicBezTo>
                  <a:pt x="1092" y="239"/>
                  <a:pt x="1092" y="239"/>
                  <a:pt x="1092" y="239"/>
                </a:cubicBezTo>
                <a:cubicBezTo>
                  <a:pt x="1086" y="253"/>
                  <a:pt x="1086" y="253"/>
                  <a:pt x="1086" y="253"/>
                </a:cubicBezTo>
                <a:cubicBezTo>
                  <a:pt x="1080" y="286"/>
                  <a:pt x="1080" y="286"/>
                  <a:pt x="1080" y="286"/>
                </a:cubicBezTo>
                <a:cubicBezTo>
                  <a:pt x="1060" y="306"/>
                  <a:pt x="1060" y="306"/>
                  <a:pt x="1060" y="306"/>
                </a:cubicBezTo>
                <a:cubicBezTo>
                  <a:pt x="1058" y="315"/>
                  <a:pt x="1058" y="315"/>
                  <a:pt x="1058" y="315"/>
                </a:cubicBezTo>
                <a:cubicBezTo>
                  <a:pt x="1063" y="315"/>
                  <a:pt x="1063" y="315"/>
                  <a:pt x="1063" y="315"/>
                </a:cubicBezTo>
                <a:cubicBezTo>
                  <a:pt x="1057" y="325"/>
                  <a:pt x="1057" y="325"/>
                  <a:pt x="1057" y="325"/>
                </a:cubicBezTo>
                <a:cubicBezTo>
                  <a:pt x="1068" y="329"/>
                  <a:pt x="1068" y="329"/>
                  <a:pt x="1068" y="329"/>
                </a:cubicBezTo>
                <a:cubicBezTo>
                  <a:pt x="1065" y="344"/>
                  <a:pt x="1065" y="344"/>
                  <a:pt x="1065" y="344"/>
                </a:cubicBezTo>
                <a:cubicBezTo>
                  <a:pt x="1066" y="352"/>
                  <a:pt x="1066" y="352"/>
                  <a:pt x="1066" y="352"/>
                </a:cubicBezTo>
                <a:cubicBezTo>
                  <a:pt x="1061" y="354"/>
                  <a:pt x="1061" y="354"/>
                  <a:pt x="1061" y="354"/>
                </a:cubicBezTo>
                <a:cubicBezTo>
                  <a:pt x="1061" y="369"/>
                  <a:pt x="1061" y="369"/>
                  <a:pt x="1061" y="369"/>
                </a:cubicBezTo>
                <a:cubicBezTo>
                  <a:pt x="1077" y="373"/>
                  <a:pt x="1077" y="373"/>
                  <a:pt x="1077" y="373"/>
                </a:cubicBezTo>
                <a:cubicBezTo>
                  <a:pt x="1076" y="377"/>
                  <a:pt x="1076" y="377"/>
                  <a:pt x="1076" y="377"/>
                </a:cubicBezTo>
                <a:cubicBezTo>
                  <a:pt x="1081" y="391"/>
                  <a:pt x="1081" y="391"/>
                  <a:pt x="1081" y="391"/>
                </a:cubicBezTo>
                <a:cubicBezTo>
                  <a:pt x="1089" y="396"/>
                  <a:pt x="1089" y="396"/>
                  <a:pt x="1089" y="396"/>
                </a:cubicBezTo>
                <a:cubicBezTo>
                  <a:pt x="1079" y="418"/>
                  <a:pt x="1079" y="418"/>
                  <a:pt x="1079" y="418"/>
                </a:cubicBezTo>
                <a:cubicBezTo>
                  <a:pt x="1063" y="397"/>
                  <a:pt x="1063" y="397"/>
                  <a:pt x="1063" y="397"/>
                </a:cubicBezTo>
                <a:cubicBezTo>
                  <a:pt x="1026" y="372"/>
                  <a:pt x="1026" y="372"/>
                  <a:pt x="1026" y="372"/>
                </a:cubicBezTo>
                <a:cubicBezTo>
                  <a:pt x="989" y="361"/>
                  <a:pt x="989" y="361"/>
                  <a:pt x="989" y="361"/>
                </a:cubicBezTo>
                <a:cubicBezTo>
                  <a:pt x="978" y="369"/>
                  <a:pt x="978" y="369"/>
                  <a:pt x="978" y="369"/>
                </a:cubicBezTo>
                <a:cubicBezTo>
                  <a:pt x="987" y="386"/>
                  <a:pt x="987" y="386"/>
                  <a:pt x="987" y="386"/>
                </a:cubicBezTo>
                <a:cubicBezTo>
                  <a:pt x="985" y="395"/>
                  <a:pt x="985" y="395"/>
                  <a:pt x="985" y="395"/>
                </a:cubicBezTo>
                <a:cubicBezTo>
                  <a:pt x="973" y="402"/>
                  <a:pt x="973" y="402"/>
                  <a:pt x="973" y="402"/>
                </a:cubicBezTo>
                <a:cubicBezTo>
                  <a:pt x="974" y="409"/>
                  <a:pt x="974" y="409"/>
                  <a:pt x="974" y="409"/>
                </a:cubicBezTo>
                <a:cubicBezTo>
                  <a:pt x="969" y="414"/>
                  <a:pt x="969" y="414"/>
                  <a:pt x="969" y="414"/>
                </a:cubicBezTo>
                <a:cubicBezTo>
                  <a:pt x="964" y="410"/>
                  <a:pt x="964" y="410"/>
                  <a:pt x="964" y="410"/>
                </a:cubicBezTo>
                <a:cubicBezTo>
                  <a:pt x="968" y="401"/>
                  <a:pt x="968" y="401"/>
                  <a:pt x="968" y="401"/>
                </a:cubicBezTo>
                <a:cubicBezTo>
                  <a:pt x="960" y="390"/>
                  <a:pt x="960" y="390"/>
                  <a:pt x="960" y="390"/>
                </a:cubicBezTo>
                <a:cubicBezTo>
                  <a:pt x="941" y="407"/>
                  <a:pt x="941" y="407"/>
                  <a:pt x="941" y="407"/>
                </a:cubicBezTo>
                <a:cubicBezTo>
                  <a:pt x="917" y="406"/>
                  <a:pt x="917" y="406"/>
                  <a:pt x="917" y="406"/>
                </a:cubicBezTo>
                <a:cubicBezTo>
                  <a:pt x="908" y="420"/>
                  <a:pt x="908" y="420"/>
                  <a:pt x="908" y="420"/>
                </a:cubicBezTo>
                <a:cubicBezTo>
                  <a:pt x="899" y="414"/>
                  <a:pt x="899" y="414"/>
                  <a:pt x="899" y="414"/>
                </a:cubicBezTo>
                <a:cubicBezTo>
                  <a:pt x="897" y="405"/>
                  <a:pt x="897" y="405"/>
                  <a:pt x="897" y="405"/>
                </a:cubicBezTo>
                <a:cubicBezTo>
                  <a:pt x="900" y="398"/>
                  <a:pt x="900" y="398"/>
                  <a:pt x="900" y="398"/>
                </a:cubicBezTo>
                <a:cubicBezTo>
                  <a:pt x="896" y="396"/>
                  <a:pt x="896" y="396"/>
                  <a:pt x="896" y="396"/>
                </a:cubicBezTo>
                <a:cubicBezTo>
                  <a:pt x="905" y="392"/>
                  <a:pt x="905" y="392"/>
                  <a:pt x="905" y="392"/>
                </a:cubicBezTo>
                <a:cubicBezTo>
                  <a:pt x="891" y="395"/>
                  <a:pt x="891" y="395"/>
                  <a:pt x="891" y="395"/>
                </a:cubicBezTo>
                <a:cubicBezTo>
                  <a:pt x="889" y="399"/>
                  <a:pt x="889" y="399"/>
                  <a:pt x="889" y="399"/>
                </a:cubicBezTo>
                <a:cubicBezTo>
                  <a:pt x="890" y="403"/>
                  <a:pt x="890" y="403"/>
                  <a:pt x="890" y="403"/>
                </a:cubicBezTo>
                <a:cubicBezTo>
                  <a:pt x="887" y="405"/>
                  <a:pt x="887" y="405"/>
                  <a:pt x="887" y="405"/>
                </a:cubicBezTo>
                <a:cubicBezTo>
                  <a:pt x="883" y="400"/>
                  <a:pt x="883" y="400"/>
                  <a:pt x="883" y="400"/>
                </a:cubicBezTo>
                <a:cubicBezTo>
                  <a:pt x="879" y="405"/>
                  <a:pt x="879" y="405"/>
                  <a:pt x="879" y="405"/>
                </a:cubicBezTo>
                <a:cubicBezTo>
                  <a:pt x="882" y="407"/>
                  <a:pt x="882" y="407"/>
                  <a:pt x="882" y="407"/>
                </a:cubicBezTo>
                <a:cubicBezTo>
                  <a:pt x="879" y="414"/>
                  <a:pt x="879" y="414"/>
                  <a:pt x="879" y="414"/>
                </a:cubicBezTo>
                <a:cubicBezTo>
                  <a:pt x="875" y="408"/>
                  <a:pt x="875" y="408"/>
                  <a:pt x="875" y="408"/>
                </a:cubicBezTo>
                <a:cubicBezTo>
                  <a:pt x="869" y="409"/>
                  <a:pt x="869" y="409"/>
                  <a:pt x="869" y="409"/>
                </a:cubicBezTo>
                <a:cubicBezTo>
                  <a:pt x="824" y="439"/>
                  <a:pt x="824" y="439"/>
                  <a:pt x="824" y="439"/>
                </a:cubicBezTo>
                <a:cubicBezTo>
                  <a:pt x="820" y="452"/>
                  <a:pt x="820" y="452"/>
                  <a:pt x="820" y="452"/>
                </a:cubicBezTo>
                <a:cubicBezTo>
                  <a:pt x="820" y="458"/>
                  <a:pt x="820" y="458"/>
                  <a:pt x="820" y="458"/>
                </a:cubicBezTo>
                <a:cubicBezTo>
                  <a:pt x="806" y="469"/>
                  <a:pt x="806" y="469"/>
                  <a:pt x="806" y="469"/>
                </a:cubicBezTo>
                <a:cubicBezTo>
                  <a:pt x="805" y="462"/>
                  <a:pt x="805" y="462"/>
                  <a:pt x="805" y="462"/>
                </a:cubicBezTo>
                <a:cubicBezTo>
                  <a:pt x="798" y="463"/>
                  <a:pt x="798" y="463"/>
                  <a:pt x="798" y="463"/>
                </a:cubicBezTo>
                <a:cubicBezTo>
                  <a:pt x="786" y="444"/>
                  <a:pt x="786" y="444"/>
                  <a:pt x="786" y="444"/>
                </a:cubicBezTo>
                <a:cubicBezTo>
                  <a:pt x="790" y="435"/>
                  <a:pt x="790" y="435"/>
                  <a:pt x="790" y="435"/>
                </a:cubicBezTo>
                <a:cubicBezTo>
                  <a:pt x="806" y="431"/>
                  <a:pt x="806" y="431"/>
                  <a:pt x="806" y="431"/>
                </a:cubicBezTo>
                <a:cubicBezTo>
                  <a:pt x="803" y="419"/>
                  <a:pt x="803" y="419"/>
                  <a:pt x="803" y="419"/>
                </a:cubicBezTo>
                <a:cubicBezTo>
                  <a:pt x="795" y="409"/>
                  <a:pt x="795" y="409"/>
                  <a:pt x="795" y="409"/>
                </a:cubicBezTo>
                <a:cubicBezTo>
                  <a:pt x="764" y="402"/>
                  <a:pt x="764" y="402"/>
                  <a:pt x="764" y="402"/>
                </a:cubicBezTo>
                <a:cubicBezTo>
                  <a:pt x="775" y="414"/>
                  <a:pt x="775" y="414"/>
                  <a:pt x="775" y="414"/>
                </a:cubicBezTo>
                <a:cubicBezTo>
                  <a:pt x="774" y="433"/>
                  <a:pt x="774" y="433"/>
                  <a:pt x="774" y="433"/>
                </a:cubicBezTo>
                <a:cubicBezTo>
                  <a:pt x="771" y="447"/>
                  <a:pt x="771" y="447"/>
                  <a:pt x="771" y="447"/>
                </a:cubicBezTo>
                <a:cubicBezTo>
                  <a:pt x="780" y="459"/>
                  <a:pt x="780" y="459"/>
                  <a:pt x="780" y="459"/>
                </a:cubicBezTo>
                <a:cubicBezTo>
                  <a:pt x="774" y="480"/>
                  <a:pt x="774" y="480"/>
                  <a:pt x="774" y="480"/>
                </a:cubicBezTo>
                <a:cubicBezTo>
                  <a:pt x="775" y="493"/>
                  <a:pt x="775" y="493"/>
                  <a:pt x="775" y="493"/>
                </a:cubicBezTo>
                <a:cubicBezTo>
                  <a:pt x="771" y="485"/>
                  <a:pt x="771" y="485"/>
                  <a:pt x="771" y="485"/>
                </a:cubicBezTo>
                <a:cubicBezTo>
                  <a:pt x="766" y="488"/>
                  <a:pt x="766" y="488"/>
                  <a:pt x="766" y="488"/>
                </a:cubicBezTo>
                <a:cubicBezTo>
                  <a:pt x="768" y="481"/>
                  <a:pt x="768" y="481"/>
                  <a:pt x="768" y="481"/>
                </a:cubicBezTo>
                <a:cubicBezTo>
                  <a:pt x="752" y="473"/>
                  <a:pt x="752" y="473"/>
                  <a:pt x="752" y="473"/>
                </a:cubicBezTo>
                <a:cubicBezTo>
                  <a:pt x="741" y="488"/>
                  <a:pt x="741" y="488"/>
                  <a:pt x="741" y="488"/>
                </a:cubicBezTo>
                <a:cubicBezTo>
                  <a:pt x="722" y="501"/>
                  <a:pt x="722" y="501"/>
                  <a:pt x="722" y="501"/>
                </a:cubicBezTo>
                <a:cubicBezTo>
                  <a:pt x="722" y="510"/>
                  <a:pt x="722" y="510"/>
                  <a:pt x="722" y="510"/>
                </a:cubicBezTo>
                <a:cubicBezTo>
                  <a:pt x="734" y="536"/>
                  <a:pt x="734" y="536"/>
                  <a:pt x="734" y="536"/>
                </a:cubicBezTo>
                <a:cubicBezTo>
                  <a:pt x="704" y="526"/>
                  <a:pt x="704" y="526"/>
                  <a:pt x="704" y="526"/>
                </a:cubicBezTo>
                <a:cubicBezTo>
                  <a:pt x="700" y="531"/>
                  <a:pt x="700" y="531"/>
                  <a:pt x="700" y="531"/>
                </a:cubicBezTo>
                <a:cubicBezTo>
                  <a:pt x="699" y="527"/>
                  <a:pt x="699" y="527"/>
                  <a:pt x="699" y="527"/>
                </a:cubicBezTo>
                <a:cubicBezTo>
                  <a:pt x="702" y="525"/>
                  <a:pt x="702" y="525"/>
                  <a:pt x="702" y="525"/>
                </a:cubicBezTo>
                <a:cubicBezTo>
                  <a:pt x="685" y="514"/>
                  <a:pt x="685" y="514"/>
                  <a:pt x="685" y="514"/>
                </a:cubicBezTo>
                <a:cubicBezTo>
                  <a:pt x="679" y="523"/>
                  <a:pt x="679" y="523"/>
                  <a:pt x="679" y="523"/>
                </a:cubicBezTo>
                <a:cubicBezTo>
                  <a:pt x="681" y="528"/>
                  <a:pt x="681" y="528"/>
                  <a:pt x="681" y="528"/>
                </a:cubicBezTo>
                <a:cubicBezTo>
                  <a:pt x="690" y="539"/>
                  <a:pt x="690" y="539"/>
                  <a:pt x="690" y="539"/>
                </a:cubicBezTo>
                <a:cubicBezTo>
                  <a:pt x="697" y="536"/>
                  <a:pt x="697" y="536"/>
                  <a:pt x="697" y="536"/>
                </a:cubicBezTo>
                <a:cubicBezTo>
                  <a:pt x="701" y="552"/>
                  <a:pt x="701" y="552"/>
                  <a:pt x="701" y="552"/>
                </a:cubicBezTo>
                <a:cubicBezTo>
                  <a:pt x="692" y="555"/>
                  <a:pt x="692" y="555"/>
                  <a:pt x="692" y="555"/>
                </a:cubicBezTo>
                <a:cubicBezTo>
                  <a:pt x="676" y="548"/>
                  <a:pt x="676" y="548"/>
                  <a:pt x="676" y="548"/>
                </a:cubicBezTo>
                <a:cubicBezTo>
                  <a:pt x="668" y="539"/>
                  <a:pt x="668" y="539"/>
                  <a:pt x="668" y="539"/>
                </a:cubicBezTo>
                <a:cubicBezTo>
                  <a:pt x="656" y="536"/>
                  <a:pt x="656" y="536"/>
                  <a:pt x="656" y="536"/>
                </a:cubicBezTo>
                <a:cubicBezTo>
                  <a:pt x="659" y="531"/>
                  <a:pt x="659" y="531"/>
                  <a:pt x="659" y="531"/>
                </a:cubicBezTo>
                <a:cubicBezTo>
                  <a:pt x="658" y="523"/>
                  <a:pt x="658" y="523"/>
                  <a:pt x="658" y="523"/>
                </a:cubicBezTo>
                <a:cubicBezTo>
                  <a:pt x="652" y="510"/>
                  <a:pt x="652" y="510"/>
                  <a:pt x="652" y="510"/>
                </a:cubicBezTo>
                <a:cubicBezTo>
                  <a:pt x="656" y="507"/>
                  <a:pt x="656" y="507"/>
                  <a:pt x="656" y="507"/>
                </a:cubicBezTo>
                <a:cubicBezTo>
                  <a:pt x="658" y="493"/>
                  <a:pt x="658" y="493"/>
                  <a:pt x="658" y="493"/>
                </a:cubicBezTo>
                <a:cubicBezTo>
                  <a:pt x="622" y="456"/>
                  <a:pt x="622" y="456"/>
                  <a:pt x="622" y="456"/>
                </a:cubicBezTo>
                <a:cubicBezTo>
                  <a:pt x="628" y="453"/>
                  <a:pt x="628" y="453"/>
                  <a:pt x="628" y="453"/>
                </a:cubicBezTo>
                <a:cubicBezTo>
                  <a:pt x="641" y="466"/>
                  <a:pt x="641" y="466"/>
                  <a:pt x="641" y="466"/>
                </a:cubicBezTo>
                <a:cubicBezTo>
                  <a:pt x="653" y="467"/>
                  <a:pt x="653" y="467"/>
                  <a:pt x="653" y="467"/>
                </a:cubicBezTo>
                <a:cubicBezTo>
                  <a:pt x="653" y="472"/>
                  <a:pt x="653" y="472"/>
                  <a:pt x="653" y="472"/>
                </a:cubicBezTo>
                <a:cubicBezTo>
                  <a:pt x="709" y="486"/>
                  <a:pt x="709" y="486"/>
                  <a:pt x="709" y="486"/>
                </a:cubicBezTo>
                <a:cubicBezTo>
                  <a:pt x="723" y="480"/>
                  <a:pt x="723" y="480"/>
                  <a:pt x="723" y="480"/>
                </a:cubicBezTo>
                <a:cubicBezTo>
                  <a:pt x="738" y="465"/>
                  <a:pt x="738" y="465"/>
                  <a:pt x="738" y="465"/>
                </a:cubicBezTo>
                <a:cubicBezTo>
                  <a:pt x="741" y="453"/>
                  <a:pt x="741" y="453"/>
                  <a:pt x="741" y="453"/>
                </a:cubicBezTo>
                <a:cubicBezTo>
                  <a:pt x="737" y="451"/>
                  <a:pt x="737" y="451"/>
                  <a:pt x="737" y="451"/>
                </a:cubicBezTo>
                <a:cubicBezTo>
                  <a:pt x="736" y="437"/>
                  <a:pt x="736" y="437"/>
                  <a:pt x="736" y="437"/>
                </a:cubicBezTo>
                <a:cubicBezTo>
                  <a:pt x="722" y="422"/>
                  <a:pt x="722" y="422"/>
                  <a:pt x="722" y="422"/>
                </a:cubicBezTo>
                <a:cubicBezTo>
                  <a:pt x="704" y="416"/>
                  <a:pt x="704" y="416"/>
                  <a:pt x="704" y="416"/>
                </a:cubicBezTo>
                <a:cubicBezTo>
                  <a:pt x="671" y="384"/>
                  <a:pt x="671" y="384"/>
                  <a:pt x="671" y="384"/>
                </a:cubicBezTo>
                <a:cubicBezTo>
                  <a:pt x="640" y="383"/>
                  <a:pt x="640" y="383"/>
                  <a:pt x="640" y="383"/>
                </a:cubicBezTo>
                <a:cubicBezTo>
                  <a:pt x="637" y="377"/>
                  <a:pt x="637" y="377"/>
                  <a:pt x="637" y="377"/>
                </a:cubicBezTo>
                <a:cubicBezTo>
                  <a:pt x="634" y="380"/>
                  <a:pt x="634" y="380"/>
                  <a:pt x="634" y="380"/>
                </a:cubicBezTo>
                <a:cubicBezTo>
                  <a:pt x="634" y="376"/>
                  <a:pt x="634" y="376"/>
                  <a:pt x="634" y="376"/>
                </a:cubicBezTo>
                <a:cubicBezTo>
                  <a:pt x="622" y="371"/>
                  <a:pt x="622" y="371"/>
                  <a:pt x="622" y="371"/>
                </a:cubicBezTo>
                <a:cubicBezTo>
                  <a:pt x="624" y="365"/>
                  <a:pt x="624" y="365"/>
                  <a:pt x="624" y="365"/>
                </a:cubicBezTo>
                <a:cubicBezTo>
                  <a:pt x="634" y="370"/>
                  <a:pt x="634" y="370"/>
                  <a:pt x="634" y="370"/>
                </a:cubicBezTo>
                <a:cubicBezTo>
                  <a:pt x="636" y="365"/>
                  <a:pt x="636" y="365"/>
                  <a:pt x="636" y="365"/>
                </a:cubicBezTo>
                <a:cubicBezTo>
                  <a:pt x="621" y="358"/>
                  <a:pt x="621" y="358"/>
                  <a:pt x="621" y="358"/>
                </a:cubicBezTo>
                <a:cubicBezTo>
                  <a:pt x="621" y="363"/>
                  <a:pt x="621" y="363"/>
                  <a:pt x="621" y="363"/>
                </a:cubicBezTo>
                <a:cubicBezTo>
                  <a:pt x="619" y="363"/>
                  <a:pt x="619" y="363"/>
                  <a:pt x="619" y="363"/>
                </a:cubicBezTo>
                <a:cubicBezTo>
                  <a:pt x="618" y="368"/>
                  <a:pt x="618" y="368"/>
                  <a:pt x="618" y="368"/>
                </a:cubicBezTo>
                <a:cubicBezTo>
                  <a:pt x="608" y="363"/>
                  <a:pt x="608" y="363"/>
                  <a:pt x="608" y="363"/>
                </a:cubicBezTo>
                <a:cubicBezTo>
                  <a:pt x="592" y="366"/>
                  <a:pt x="592" y="366"/>
                  <a:pt x="592" y="366"/>
                </a:cubicBezTo>
                <a:cubicBezTo>
                  <a:pt x="596" y="359"/>
                  <a:pt x="596" y="359"/>
                  <a:pt x="596" y="359"/>
                </a:cubicBezTo>
                <a:cubicBezTo>
                  <a:pt x="580" y="349"/>
                  <a:pt x="580" y="349"/>
                  <a:pt x="580" y="349"/>
                </a:cubicBezTo>
                <a:cubicBezTo>
                  <a:pt x="598" y="351"/>
                  <a:pt x="598" y="351"/>
                  <a:pt x="598" y="351"/>
                </a:cubicBezTo>
                <a:cubicBezTo>
                  <a:pt x="609" y="338"/>
                  <a:pt x="609" y="338"/>
                  <a:pt x="609" y="338"/>
                </a:cubicBezTo>
                <a:cubicBezTo>
                  <a:pt x="597" y="327"/>
                  <a:pt x="597" y="327"/>
                  <a:pt x="597" y="327"/>
                </a:cubicBezTo>
                <a:cubicBezTo>
                  <a:pt x="589" y="329"/>
                  <a:pt x="589" y="329"/>
                  <a:pt x="589" y="329"/>
                </a:cubicBezTo>
                <a:cubicBezTo>
                  <a:pt x="588" y="322"/>
                  <a:pt x="588" y="322"/>
                  <a:pt x="588" y="322"/>
                </a:cubicBezTo>
                <a:cubicBezTo>
                  <a:pt x="579" y="326"/>
                  <a:pt x="579" y="326"/>
                  <a:pt x="579" y="326"/>
                </a:cubicBezTo>
                <a:cubicBezTo>
                  <a:pt x="579" y="337"/>
                  <a:pt x="579" y="337"/>
                  <a:pt x="579" y="337"/>
                </a:cubicBezTo>
                <a:cubicBezTo>
                  <a:pt x="572" y="337"/>
                  <a:pt x="572" y="337"/>
                  <a:pt x="572" y="337"/>
                </a:cubicBezTo>
                <a:cubicBezTo>
                  <a:pt x="576" y="331"/>
                  <a:pt x="576" y="331"/>
                  <a:pt x="576" y="331"/>
                </a:cubicBezTo>
                <a:cubicBezTo>
                  <a:pt x="569" y="331"/>
                  <a:pt x="569" y="331"/>
                  <a:pt x="569" y="331"/>
                </a:cubicBezTo>
                <a:cubicBezTo>
                  <a:pt x="573" y="328"/>
                  <a:pt x="573" y="328"/>
                  <a:pt x="573" y="328"/>
                </a:cubicBezTo>
                <a:cubicBezTo>
                  <a:pt x="570" y="326"/>
                  <a:pt x="570" y="326"/>
                  <a:pt x="570" y="326"/>
                </a:cubicBezTo>
                <a:cubicBezTo>
                  <a:pt x="576" y="324"/>
                  <a:pt x="576" y="324"/>
                  <a:pt x="576" y="324"/>
                </a:cubicBezTo>
                <a:cubicBezTo>
                  <a:pt x="577" y="318"/>
                  <a:pt x="577" y="318"/>
                  <a:pt x="577" y="318"/>
                </a:cubicBezTo>
                <a:cubicBezTo>
                  <a:pt x="567" y="313"/>
                  <a:pt x="567" y="313"/>
                  <a:pt x="567" y="313"/>
                </a:cubicBezTo>
                <a:cubicBezTo>
                  <a:pt x="560" y="337"/>
                  <a:pt x="560" y="337"/>
                  <a:pt x="560" y="337"/>
                </a:cubicBezTo>
                <a:cubicBezTo>
                  <a:pt x="554" y="340"/>
                  <a:pt x="554" y="340"/>
                  <a:pt x="554" y="340"/>
                </a:cubicBezTo>
                <a:cubicBezTo>
                  <a:pt x="554" y="319"/>
                  <a:pt x="554" y="319"/>
                  <a:pt x="554" y="319"/>
                </a:cubicBezTo>
                <a:cubicBezTo>
                  <a:pt x="535" y="352"/>
                  <a:pt x="535" y="352"/>
                  <a:pt x="535" y="352"/>
                </a:cubicBezTo>
                <a:cubicBezTo>
                  <a:pt x="533" y="350"/>
                  <a:pt x="533" y="350"/>
                  <a:pt x="533" y="350"/>
                </a:cubicBezTo>
                <a:cubicBezTo>
                  <a:pt x="537" y="337"/>
                  <a:pt x="537" y="337"/>
                  <a:pt x="537" y="337"/>
                </a:cubicBezTo>
                <a:cubicBezTo>
                  <a:pt x="545" y="322"/>
                  <a:pt x="545" y="322"/>
                  <a:pt x="545" y="322"/>
                </a:cubicBezTo>
                <a:cubicBezTo>
                  <a:pt x="537" y="325"/>
                  <a:pt x="537" y="325"/>
                  <a:pt x="537" y="325"/>
                </a:cubicBezTo>
                <a:cubicBezTo>
                  <a:pt x="534" y="318"/>
                  <a:pt x="534" y="318"/>
                  <a:pt x="534" y="318"/>
                </a:cubicBezTo>
                <a:cubicBezTo>
                  <a:pt x="526" y="323"/>
                  <a:pt x="526" y="323"/>
                  <a:pt x="526" y="323"/>
                </a:cubicBezTo>
                <a:cubicBezTo>
                  <a:pt x="530" y="329"/>
                  <a:pt x="530" y="329"/>
                  <a:pt x="530" y="329"/>
                </a:cubicBezTo>
                <a:cubicBezTo>
                  <a:pt x="513" y="346"/>
                  <a:pt x="513" y="346"/>
                  <a:pt x="513" y="346"/>
                </a:cubicBezTo>
                <a:cubicBezTo>
                  <a:pt x="512" y="355"/>
                  <a:pt x="512" y="355"/>
                  <a:pt x="512" y="355"/>
                </a:cubicBezTo>
                <a:cubicBezTo>
                  <a:pt x="507" y="351"/>
                  <a:pt x="507" y="351"/>
                  <a:pt x="507" y="351"/>
                </a:cubicBezTo>
                <a:cubicBezTo>
                  <a:pt x="509" y="347"/>
                  <a:pt x="509" y="347"/>
                  <a:pt x="509" y="347"/>
                </a:cubicBezTo>
                <a:cubicBezTo>
                  <a:pt x="501" y="350"/>
                  <a:pt x="501" y="350"/>
                  <a:pt x="501" y="350"/>
                </a:cubicBezTo>
                <a:cubicBezTo>
                  <a:pt x="496" y="343"/>
                  <a:pt x="496" y="343"/>
                  <a:pt x="496" y="343"/>
                </a:cubicBezTo>
                <a:cubicBezTo>
                  <a:pt x="494" y="349"/>
                  <a:pt x="494" y="349"/>
                  <a:pt x="494" y="349"/>
                </a:cubicBezTo>
                <a:cubicBezTo>
                  <a:pt x="491" y="343"/>
                  <a:pt x="491" y="343"/>
                  <a:pt x="491" y="343"/>
                </a:cubicBezTo>
                <a:cubicBezTo>
                  <a:pt x="491" y="350"/>
                  <a:pt x="491" y="350"/>
                  <a:pt x="491" y="350"/>
                </a:cubicBezTo>
                <a:cubicBezTo>
                  <a:pt x="496" y="351"/>
                  <a:pt x="496" y="351"/>
                  <a:pt x="496" y="351"/>
                </a:cubicBezTo>
                <a:cubicBezTo>
                  <a:pt x="497" y="365"/>
                  <a:pt x="497" y="365"/>
                  <a:pt x="497" y="365"/>
                </a:cubicBezTo>
                <a:cubicBezTo>
                  <a:pt x="487" y="354"/>
                  <a:pt x="487" y="354"/>
                  <a:pt x="487" y="354"/>
                </a:cubicBezTo>
                <a:cubicBezTo>
                  <a:pt x="488" y="358"/>
                  <a:pt x="488" y="358"/>
                  <a:pt x="488" y="358"/>
                </a:cubicBezTo>
                <a:cubicBezTo>
                  <a:pt x="480" y="360"/>
                  <a:pt x="480" y="360"/>
                  <a:pt x="480" y="360"/>
                </a:cubicBezTo>
                <a:cubicBezTo>
                  <a:pt x="479" y="363"/>
                  <a:pt x="479" y="363"/>
                  <a:pt x="479" y="363"/>
                </a:cubicBezTo>
                <a:cubicBezTo>
                  <a:pt x="480" y="369"/>
                  <a:pt x="480" y="369"/>
                  <a:pt x="480" y="369"/>
                </a:cubicBezTo>
                <a:cubicBezTo>
                  <a:pt x="475" y="377"/>
                  <a:pt x="475" y="377"/>
                  <a:pt x="475" y="377"/>
                </a:cubicBezTo>
                <a:cubicBezTo>
                  <a:pt x="475" y="371"/>
                  <a:pt x="475" y="371"/>
                  <a:pt x="475" y="371"/>
                </a:cubicBezTo>
                <a:cubicBezTo>
                  <a:pt x="475" y="357"/>
                  <a:pt x="475" y="357"/>
                  <a:pt x="475" y="357"/>
                </a:cubicBezTo>
                <a:cubicBezTo>
                  <a:pt x="469" y="364"/>
                  <a:pt x="469" y="364"/>
                  <a:pt x="469" y="364"/>
                </a:cubicBezTo>
                <a:cubicBezTo>
                  <a:pt x="468" y="374"/>
                  <a:pt x="468" y="374"/>
                  <a:pt x="468" y="374"/>
                </a:cubicBezTo>
                <a:cubicBezTo>
                  <a:pt x="467" y="363"/>
                  <a:pt x="467" y="363"/>
                  <a:pt x="467" y="363"/>
                </a:cubicBezTo>
                <a:cubicBezTo>
                  <a:pt x="461" y="363"/>
                  <a:pt x="461" y="363"/>
                  <a:pt x="461" y="363"/>
                </a:cubicBezTo>
                <a:cubicBezTo>
                  <a:pt x="460" y="373"/>
                  <a:pt x="460" y="373"/>
                  <a:pt x="460" y="373"/>
                </a:cubicBezTo>
                <a:cubicBezTo>
                  <a:pt x="465" y="382"/>
                  <a:pt x="465" y="382"/>
                  <a:pt x="465" y="382"/>
                </a:cubicBezTo>
                <a:cubicBezTo>
                  <a:pt x="456" y="371"/>
                  <a:pt x="456" y="371"/>
                  <a:pt x="456" y="371"/>
                </a:cubicBezTo>
                <a:cubicBezTo>
                  <a:pt x="452" y="371"/>
                  <a:pt x="452" y="371"/>
                  <a:pt x="452" y="371"/>
                </a:cubicBezTo>
                <a:cubicBezTo>
                  <a:pt x="458" y="378"/>
                  <a:pt x="458" y="378"/>
                  <a:pt x="458" y="378"/>
                </a:cubicBezTo>
                <a:cubicBezTo>
                  <a:pt x="455" y="380"/>
                  <a:pt x="455" y="380"/>
                  <a:pt x="455" y="380"/>
                </a:cubicBezTo>
                <a:cubicBezTo>
                  <a:pt x="450" y="378"/>
                  <a:pt x="450" y="378"/>
                  <a:pt x="450" y="378"/>
                </a:cubicBezTo>
                <a:cubicBezTo>
                  <a:pt x="449" y="373"/>
                  <a:pt x="449" y="373"/>
                  <a:pt x="449" y="373"/>
                </a:cubicBezTo>
                <a:cubicBezTo>
                  <a:pt x="447" y="380"/>
                  <a:pt x="447" y="380"/>
                  <a:pt x="447" y="380"/>
                </a:cubicBezTo>
                <a:cubicBezTo>
                  <a:pt x="449" y="383"/>
                  <a:pt x="449" y="383"/>
                  <a:pt x="449" y="383"/>
                </a:cubicBezTo>
                <a:cubicBezTo>
                  <a:pt x="441" y="389"/>
                  <a:pt x="441" y="389"/>
                  <a:pt x="441" y="389"/>
                </a:cubicBezTo>
                <a:cubicBezTo>
                  <a:pt x="445" y="395"/>
                  <a:pt x="445" y="395"/>
                  <a:pt x="445" y="395"/>
                </a:cubicBezTo>
                <a:cubicBezTo>
                  <a:pt x="442" y="395"/>
                  <a:pt x="442" y="395"/>
                  <a:pt x="442" y="395"/>
                </a:cubicBezTo>
                <a:cubicBezTo>
                  <a:pt x="443" y="398"/>
                  <a:pt x="443" y="398"/>
                  <a:pt x="443" y="398"/>
                </a:cubicBezTo>
                <a:cubicBezTo>
                  <a:pt x="428" y="406"/>
                  <a:pt x="428" y="406"/>
                  <a:pt x="428" y="406"/>
                </a:cubicBezTo>
                <a:cubicBezTo>
                  <a:pt x="442" y="409"/>
                  <a:pt x="442" y="409"/>
                  <a:pt x="442" y="409"/>
                </a:cubicBezTo>
                <a:cubicBezTo>
                  <a:pt x="437" y="414"/>
                  <a:pt x="437" y="414"/>
                  <a:pt x="437" y="414"/>
                </a:cubicBezTo>
                <a:cubicBezTo>
                  <a:pt x="426" y="412"/>
                  <a:pt x="426" y="412"/>
                  <a:pt x="426" y="412"/>
                </a:cubicBezTo>
                <a:cubicBezTo>
                  <a:pt x="426" y="425"/>
                  <a:pt x="426" y="425"/>
                  <a:pt x="426" y="425"/>
                </a:cubicBezTo>
                <a:cubicBezTo>
                  <a:pt x="423" y="427"/>
                  <a:pt x="423" y="427"/>
                  <a:pt x="423" y="427"/>
                </a:cubicBezTo>
                <a:cubicBezTo>
                  <a:pt x="420" y="418"/>
                  <a:pt x="420" y="418"/>
                  <a:pt x="420" y="418"/>
                </a:cubicBezTo>
                <a:cubicBezTo>
                  <a:pt x="414" y="428"/>
                  <a:pt x="414" y="428"/>
                  <a:pt x="414" y="428"/>
                </a:cubicBezTo>
                <a:cubicBezTo>
                  <a:pt x="416" y="433"/>
                  <a:pt x="416" y="433"/>
                  <a:pt x="416" y="433"/>
                </a:cubicBezTo>
                <a:cubicBezTo>
                  <a:pt x="412" y="437"/>
                  <a:pt x="412" y="437"/>
                  <a:pt x="412" y="437"/>
                </a:cubicBezTo>
                <a:cubicBezTo>
                  <a:pt x="418" y="437"/>
                  <a:pt x="418" y="437"/>
                  <a:pt x="418" y="437"/>
                </a:cubicBezTo>
                <a:cubicBezTo>
                  <a:pt x="404" y="440"/>
                  <a:pt x="404" y="440"/>
                  <a:pt x="404" y="440"/>
                </a:cubicBezTo>
                <a:cubicBezTo>
                  <a:pt x="399" y="456"/>
                  <a:pt x="399" y="456"/>
                  <a:pt x="399" y="456"/>
                </a:cubicBezTo>
                <a:cubicBezTo>
                  <a:pt x="388" y="466"/>
                  <a:pt x="388" y="466"/>
                  <a:pt x="388" y="466"/>
                </a:cubicBezTo>
                <a:cubicBezTo>
                  <a:pt x="387" y="470"/>
                  <a:pt x="387" y="470"/>
                  <a:pt x="387" y="470"/>
                </a:cubicBezTo>
                <a:cubicBezTo>
                  <a:pt x="390" y="471"/>
                  <a:pt x="390" y="471"/>
                  <a:pt x="390" y="471"/>
                </a:cubicBezTo>
                <a:cubicBezTo>
                  <a:pt x="385" y="473"/>
                  <a:pt x="385" y="473"/>
                  <a:pt x="385" y="473"/>
                </a:cubicBezTo>
                <a:cubicBezTo>
                  <a:pt x="389" y="479"/>
                  <a:pt x="389" y="479"/>
                  <a:pt x="389" y="479"/>
                </a:cubicBezTo>
                <a:cubicBezTo>
                  <a:pt x="378" y="490"/>
                  <a:pt x="378" y="490"/>
                  <a:pt x="378" y="490"/>
                </a:cubicBezTo>
                <a:cubicBezTo>
                  <a:pt x="384" y="486"/>
                  <a:pt x="384" y="486"/>
                  <a:pt x="384" y="486"/>
                </a:cubicBezTo>
                <a:cubicBezTo>
                  <a:pt x="385" y="492"/>
                  <a:pt x="385" y="492"/>
                  <a:pt x="385" y="492"/>
                </a:cubicBezTo>
                <a:cubicBezTo>
                  <a:pt x="381" y="490"/>
                  <a:pt x="381" y="490"/>
                  <a:pt x="381" y="490"/>
                </a:cubicBezTo>
                <a:cubicBezTo>
                  <a:pt x="380" y="498"/>
                  <a:pt x="380" y="498"/>
                  <a:pt x="380" y="498"/>
                </a:cubicBezTo>
                <a:cubicBezTo>
                  <a:pt x="377" y="499"/>
                  <a:pt x="377" y="499"/>
                  <a:pt x="377" y="499"/>
                </a:cubicBezTo>
                <a:cubicBezTo>
                  <a:pt x="379" y="507"/>
                  <a:pt x="379" y="507"/>
                  <a:pt x="379" y="507"/>
                </a:cubicBezTo>
                <a:cubicBezTo>
                  <a:pt x="375" y="501"/>
                  <a:pt x="375" y="501"/>
                  <a:pt x="375" y="501"/>
                </a:cubicBezTo>
                <a:cubicBezTo>
                  <a:pt x="372" y="510"/>
                  <a:pt x="372" y="510"/>
                  <a:pt x="372" y="510"/>
                </a:cubicBezTo>
                <a:cubicBezTo>
                  <a:pt x="375" y="507"/>
                  <a:pt x="375" y="507"/>
                  <a:pt x="375" y="507"/>
                </a:cubicBezTo>
                <a:cubicBezTo>
                  <a:pt x="376" y="513"/>
                  <a:pt x="376" y="513"/>
                  <a:pt x="376" y="513"/>
                </a:cubicBezTo>
                <a:cubicBezTo>
                  <a:pt x="363" y="520"/>
                  <a:pt x="363" y="520"/>
                  <a:pt x="363" y="520"/>
                </a:cubicBezTo>
                <a:cubicBezTo>
                  <a:pt x="363" y="525"/>
                  <a:pt x="363" y="525"/>
                  <a:pt x="363" y="525"/>
                </a:cubicBezTo>
                <a:cubicBezTo>
                  <a:pt x="364" y="526"/>
                  <a:pt x="364" y="526"/>
                  <a:pt x="364" y="526"/>
                </a:cubicBezTo>
                <a:cubicBezTo>
                  <a:pt x="363" y="532"/>
                  <a:pt x="363" y="532"/>
                  <a:pt x="363" y="532"/>
                </a:cubicBezTo>
                <a:cubicBezTo>
                  <a:pt x="358" y="530"/>
                  <a:pt x="358" y="530"/>
                  <a:pt x="358" y="530"/>
                </a:cubicBezTo>
                <a:cubicBezTo>
                  <a:pt x="347" y="544"/>
                  <a:pt x="347" y="544"/>
                  <a:pt x="347" y="544"/>
                </a:cubicBezTo>
                <a:cubicBezTo>
                  <a:pt x="347" y="548"/>
                  <a:pt x="347" y="548"/>
                  <a:pt x="347" y="548"/>
                </a:cubicBezTo>
                <a:cubicBezTo>
                  <a:pt x="343" y="551"/>
                  <a:pt x="343" y="551"/>
                  <a:pt x="343" y="551"/>
                </a:cubicBezTo>
                <a:cubicBezTo>
                  <a:pt x="348" y="560"/>
                  <a:pt x="348" y="560"/>
                  <a:pt x="348" y="560"/>
                </a:cubicBezTo>
                <a:cubicBezTo>
                  <a:pt x="363" y="553"/>
                  <a:pt x="363" y="553"/>
                  <a:pt x="363" y="553"/>
                </a:cubicBezTo>
                <a:cubicBezTo>
                  <a:pt x="347" y="565"/>
                  <a:pt x="347" y="565"/>
                  <a:pt x="347" y="565"/>
                </a:cubicBezTo>
                <a:cubicBezTo>
                  <a:pt x="343" y="558"/>
                  <a:pt x="343" y="558"/>
                  <a:pt x="343" y="558"/>
                </a:cubicBezTo>
                <a:cubicBezTo>
                  <a:pt x="337" y="561"/>
                  <a:pt x="337" y="561"/>
                  <a:pt x="337" y="561"/>
                </a:cubicBezTo>
                <a:cubicBezTo>
                  <a:pt x="339" y="565"/>
                  <a:pt x="339" y="565"/>
                  <a:pt x="339" y="565"/>
                </a:cubicBezTo>
                <a:cubicBezTo>
                  <a:pt x="336" y="567"/>
                  <a:pt x="336" y="567"/>
                  <a:pt x="336" y="567"/>
                </a:cubicBezTo>
                <a:cubicBezTo>
                  <a:pt x="334" y="562"/>
                  <a:pt x="334" y="562"/>
                  <a:pt x="334" y="562"/>
                </a:cubicBezTo>
                <a:cubicBezTo>
                  <a:pt x="328" y="564"/>
                  <a:pt x="328" y="564"/>
                  <a:pt x="328" y="564"/>
                </a:cubicBezTo>
                <a:cubicBezTo>
                  <a:pt x="315" y="576"/>
                  <a:pt x="315" y="576"/>
                  <a:pt x="315" y="576"/>
                </a:cubicBezTo>
                <a:cubicBezTo>
                  <a:pt x="308" y="580"/>
                  <a:pt x="308" y="580"/>
                  <a:pt x="308" y="580"/>
                </a:cubicBezTo>
                <a:cubicBezTo>
                  <a:pt x="315" y="585"/>
                  <a:pt x="315" y="585"/>
                  <a:pt x="315" y="585"/>
                </a:cubicBezTo>
                <a:cubicBezTo>
                  <a:pt x="315" y="588"/>
                  <a:pt x="315" y="588"/>
                  <a:pt x="315" y="588"/>
                </a:cubicBezTo>
                <a:cubicBezTo>
                  <a:pt x="301" y="588"/>
                  <a:pt x="301" y="588"/>
                  <a:pt x="301" y="588"/>
                </a:cubicBezTo>
                <a:cubicBezTo>
                  <a:pt x="303" y="590"/>
                  <a:pt x="303" y="590"/>
                  <a:pt x="303" y="590"/>
                </a:cubicBezTo>
                <a:cubicBezTo>
                  <a:pt x="302" y="593"/>
                  <a:pt x="302" y="593"/>
                  <a:pt x="302" y="593"/>
                </a:cubicBezTo>
                <a:cubicBezTo>
                  <a:pt x="303" y="599"/>
                  <a:pt x="303" y="599"/>
                  <a:pt x="303" y="599"/>
                </a:cubicBezTo>
                <a:cubicBezTo>
                  <a:pt x="299" y="594"/>
                  <a:pt x="299" y="594"/>
                  <a:pt x="299" y="594"/>
                </a:cubicBezTo>
                <a:cubicBezTo>
                  <a:pt x="296" y="599"/>
                  <a:pt x="296" y="599"/>
                  <a:pt x="296" y="599"/>
                </a:cubicBezTo>
                <a:cubicBezTo>
                  <a:pt x="297" y="602"/>
                  <a:pt x="297" y="602"/>
                  <a:pt x="297" y="602"/>
                </a:cubicBezTo>
                <a:cubicBezTo>
                  <a:pt x="285" y="600"/>
                  <a:pt x="285" y="600"/>
                  <a:pt x="285" y="600"/>
                </a:cubicBezTo>
                <a:cubicBezTo>
                  <a:pt x="286" y="606"/>
                  <a:pt x="286" y="606"/>
                  <a:pt x="286" y="606"/>
                </a:cubicBezTo>
                <a:cubicBezTo>
                  <a:pt x="301" y="606"/>
                  <a:pt x="301" y="606"/>
                  <a:pt x="301" y="606"/>
                </a:cubicBezTo>
                <a:cubicBezTo>
                  <a:pt x="283" y="610"/>
                  <a:pt x="283" y="610"/>
                  <a:pt x="283" y="610"/>
                </a:cubicBezTo>
                <a:cubicBezTo>
                  <a:pt x="287" y="613"/>
                  <a:pt x="287" y="613"/>
                  <a:pt x="287" y="613"/>
                </a:cubicBezTo>
                <a:cubicBezTo>
                  <a:pt x="283" y="619"/>
                  <a:pt x="283" y="619"/>
                  <a:pt x="283" y="619"/>
                </a:cubicBezTo>
                <a:cubicBezTo>
                  <a:pt x="284" y="626"/>
                  <a:pt x="284" y="626"/>
                  <a:pt x="284" y="626"/>
                </a:cubicBezTo>
                <a:cubicBezTo>
                  <a:pt x="299" y="625"/>
                  <a:pt x="299" y="625"/>
                  <a:pt x="299" y="625"/>
                </a:cubicBezTo>
                <a:cubicBezTo>
                  <a:pt x="302" y="619"/>
                  <a:pt x="302" y="619"/>
                  <a:pt x="302" y="619"/>
                </a:cubicBezTo>
                <a:cubicBezTo>
                  <a:pt x="302" y="624"/>
                  <a:pt x="302" y="624"/>
                  <a:pt x="302" y="624"/>
                </a:cubicBezTo>
                <a:cubicBezTo>
                  <a:pt x="308" y="625"/>
                  <a:pt x="308" y="625"/>
                  <a:pt x="308" y="625"/>
                </a:cubicBezTo>
                <a:cubicBezTo>
                  <a:pt x="315" y="615"/>
                  <a:pt x="315" y="615"/>
                  <a:pt x="315" y="615"/>
                </a:cubicBezTo>
                <a:cubicBezTo>
                  <a:pt x="312" y="624"/>
                  <a:pt x="312" y="624"/>
                  <a:pt x="312" y="624"/>
                </a:cubicBezTo>
                <a:cubicBezTo>
                  <a:pt x="316" y="623"/>
                  <a:pt x="316" y="623"/>
                  <a:pt x="316" y="623"/>
                </a:cubicBezTo>
                <a:cubicBezTo>
                  <a:pt x="309" y="627"/>
                  <a:pt x="309" y="627"/>
                  <a:pt x="309" y="627"/>
                </a:cubicBezTo>
                <a:cubicBezTo>
                  <a:pt x="310" y="631"/>
                  <a:pt x="310" y="631"/>
                  <a:pt x="310" y="631"/>
                </a:cubicBezTo>
                <a:cubicBezTo>
                  <a:pt x="307" y="632"/>
                  <a:pt x="307" y="632"/>
                  <a:pt x="307" y="632"/>
                </a:cubicBezTo>
                <a:cubicBezTo>
                  <a:pt x="305" y="627"/>
                  <a:pt x="305" y="627"/>
                  <a:pt x="305" y="627"/>
                </a:cubicBezTo>
                <a:cubicBezTo>
                  <a:pt x="284" y="631"/>
                  <a:pt x="284" y="631"/>
                  <a:pt x="284" y="631"/>
                </a:cubicBezTo>
                <a:cubicBezTo>
                  <a:pt x="287" y="633"/>
                  <a:pt x="287" y="633"/>
                  <a:pt x="287" y="633"/>
                </a:cubicBezTo>
                <a:cubicBezTo>
                  <a:pt x="287" y="637"/>
                  <a:pt x="287" y="637"/>
                  <a:pt x="287" y="637"/>
                </a:cubicBezTo>
                <a:cubicBezTo>
                  <a:pt x="283" y="635"/>
                  <a:pt x="283" y="635"/>
                  <a:pt x="283" y="635"/>
                </a:cubicBezTo>
                <a:cubicBezTo>
                  <a:pt x="285" y="639"/>
                  <a:pt x="285" y="639"/>
                  <a:pt x="285" y="639"/>
                </a:cubicBezTo>
                <a:cubicBezTo>
                  <a:pt x="292" y="638"/>
                  <a:pt x="292" y="638"/>
                  <a:pt x="292" y="638"/>
                </a:cubicBezTo>
                <a:cubicBezTo>
                  <a:pt x="285" y="646"/>
                  <a:pt x="285" y="646"/>
                  <a:pt x="285" y="646"/>
                </a:cubicBezTo>
                <a:cubicBezTo>
                  <a:pt x="287" y="651"/>
                  <a:pt x="287" y="651"/>
                  <a:pt x="287" y="651"/>
                </a:cubicBezTo>
                <a:cubicBezTo>
                  <a:pt x="290" y="648"/>
                  <a:pt x="290" y="648"/>
                  <a:pt x="290" y="648"/>
                </a:cubicBezTo>
                <a:cubicBezTo>
                  <a:pt x="290" y="652"/>
                  <a:pt x="290" y="652"/>
                  <a:pt x="290" y="652"/>
                </a:cubicBezTo>
                <a:cubicBezTo>
                  <a:pt x="289" y="655"/>
                  <a:pt x="289" y="655"/>
                  <a:pt x="289" y="655"/>
                </a:cubicBezTo>
                <a:cubicBezTo>
                  <a:pt x="289" y="657"/>
                  <a:pt x="289" y="657"/>
                  <a:pt x="289" y="657"/>
                </a:cubicBezTo>
                <a:cubicBezTo>
                  <a:pt x="299" y="641"/>
                  <a:pt x="299" y="641"/>
                  <a:pt x="299" y="641"/>
                </a:cubicBezTo>
                <a:cubicBezTo>
                  <a:pt x="308" y="641"/>
                  <a:pt x="308" y="641"/>
                  <a:pt x="308" y="641"/>
                </a:cubicBezTo>
                <a:cubicBezTo>
                  <a:pt x="303" y="647"/>
                  <a:pt x="303" y="647"/>
                  <a:pt x="303" y="647"/>
                </a:cubicBezTo>
                <a:cubicBezTo>
                  <a:pt x="302" y="644"/>
                  <a:pt x="302" y="644"/>
                  <a:pt x="302" y="644"/>
                </a:cubicBezTo>
                <a:cubicBezTo>
                  <a:pt x="292" y="659"/>
                  <a:pt x="292" y="659"/>
                  <a:pt x="292" y="659"/>
                </a:cubicBezTo>
                <a:cubicBezTo>
                  <a:pt x="299" y="660"/>
                  <a:pt x="299" y="660"/>
                  <a:pt x="299" y="660"/>
                </a:cubicBezTo>
                <a:cubicBezTo>
                  <a:pt x="286" y="669"/>
                  <a:pt x="286" y="669"/>
                  <a:pt x="286" y="669"/>
                </a:cubicBezTo>
                <a:cubicBezTo>
                  <a:pt x="287" y="671"/>
                  <a:pt x="287" y="671"/>
                  <a:pt x="287" y="671"/>
                </a:cubicBezTo>
                <a:cubicBezTo>
                  <a:pt x="299" y="667"/>
                  <a:pt x="299" y="667"/>
                  <a:pt x="299" y="667"/>
                </a:cubicBezTo>
                <a:cubicBezTo>
                  <a:pt x="295" y="682"/>
                  <a:pt x="295" y="682"/>
                  <a:pt x="295" y="682"/>
                </a:cubicBezTo>
                <a:cubicBezTo>
                  <a:pt x="290" y="680"/>
                  <a:pt x="290" y="680"/>
                  <a:pt x="290" y="680"/>
                </a:cubicBezTo>
                <a:cubicBezTo>
                  <a:pt x="289" y="687"/>
                  <a:pt x="289" y="687"/>
                  <a:pt x="289" y="687"/>
                </a:cubicBezTo>
                <a:cubicBezTo>
                  <a:pt x="299" y="697"/>
                  <a:pt x="299" y="697"/>
                  <a:pt x="299" y="697"/>
                </a:cubicBezTo>
                <a:cubicBezTo>
                  <a:pt x="305" y="695"/>
                  <a:pt x="305" y="695"/>
                  <a:pt x="305" y="695"/>
                </a:cubicBezTo>
                <a:cubicBezTo>
                  <a:pt x="303" y="702"/>
                  <a:pt x="303" y="702"/>
                  <a:pt x="303" y="702"/>
                </a:cubicBezTo>
                <a:cubicBezTo>
                  <a:pt x="316" y="702"/>
                  <a:pt x="316" y="702"/>
                  <a:pt x="316" y="702"/>
                </a:cubicBezTo>
                <a:cubicBezTo>
                  <a:pt x="334" y="689"/>
                  <a:pt x="334" y="689"/>
                  <a:pt x="334" y="689"/>
                </a:cubicBezTo>
                <a:cubicBezTo>
                  <a:pt x="340" y="677"/>
                  <a:pt x="340" y="677"/>
                  <a:pt x="340" y="677"/>
                </a:cubicBezTo>
                <a:cubicBezTo>
                  <a:pt x="347" y="679"/>
                  <a:pt x="347" y="679"/>
                  <a:pt x="347" y="679"/>
                </a:cubicBezTo>
                <a:cubicBezTo>
                  <a:pt x="350" y="673"/>
                  <a:pt x="350" y="673"/>
                  <a:pt x="350" y="673"/>
                </a:cubicBezTo>
                <a:cubicBezTo>
                  <a:pt x="348" y="662"/>
                  <a:pt x="348" y="662"/>
                  <a:pt x="348" y="662"/>
                </a:cubicBezTo>
                <a:cubicBezTo>
                  <a:pt x="352" y="666"/>
                  <a:pt x="352" y="666"/>
                  <a:pt x="352" y="666"/>
                </a:cubicBezTo>
                <a:cubicBezTo>
                  <a:pt x="350" y="659"/>
                  <a:pt x="350" y="659"/>
                  <a:pt x="350" y="659"/>
                </a:cubicBezTo>
                <a:cubicBezTo>
                  <a:pt x="353" y="657"/>
                  <a:pt x="353" y="657"/>
                  <a:pt x="353" y="657"/>
                </a:cubicBezTo>
                <a:cubicBezTo>
                  <a:pt x="354" y="674"/>
                  <a:pt x="354" y="674"/>
                  <a:pt x="354" y="674"/>
                </a:cubicBezTo>
                <a:cubicBezTo>
                  <a:pt x="360" y="677"/>
                  <a:pt x="360" y="677"/>
                  <a:pt x="360" y="677"/>
                </a:cubicBezTo>
                <a:cubicBezTo>
                  <a:pt x="359" y="680"/>
                  <a:pt x="359" y="680"/>
                  <a:pt x="359" y="680"/>
                </a:cubicBezTo>
                <a:cubicBezTo>
                  <a:pt x="360" y="692"/>
                  <a:pt x="360" y="692"/>
                  <a:pt x="360" y="692"/>
                </a:cubicBezTo>
                <a:cubicBezTo>
                  <a:pt x="362" y="697"/>
                  <a:pt x="362" y="697"/>
                  <a:pt x="362" y="697"/>
                </a:cubicBezTo>
                <a:cubicBezTo>
                  <a:pt x="365" y="695"/>
                  <a:pt x="365" y="695"/>
                  <a:pt x="365" y="695"/>
                </a:cubicBezTo>
                <a:cubicBezTo>
                  <a:pt x="366" y="697"/>
                  <a:pt x="366" y="697"/>
                  <a:pt x="366" y="697"/>
                </a:cubicBezTo>
                <a:cubicBezTo>
                  <a:pt x="363" y="701"/>
                  <a:pt x="363" y="701"/>
                  <a:pt x="363" y="701"/>
                </a:cubicBezTo>
                <a:cubicBezTo>
                  <a:pt x="366" y="702"/>
                  <a:pt x="366" y="702"/>
                  <a:pt x="366" y="702"/>
                </a:cubicBezTo>
                <a:cubicBezTo>
                  <a:pt x="366" y="708"/>
                  <a:pt x="366" y="708"/>
                  <a:pt x="366" y="708"/>
                </a:cubicBezTo>
                <a:cubicBezTo>
                  <a:pt x="369" y="708"/>
                  <a:pt x="369" y="708"/>
                  <a:pt x="369" y="708"/>
                </a:cubicBezTo>
                <a:cubicBezTo>
                  <a:pt x="368" y="718"/>
                  <a:pt x="368" y="718"/>
                  <a:pt x="368" y="718"/>
                </a:cubicBezTo>
                <a:cubicBezTo>
                  <a:pt x="382" y="737"/>
                  <a:pt x="382" y="737"/>
                  <a:pt x="382" y="737"/>
                </a:cubicBezTo>
                <a:cubicBezTo>
                  <a:pt x="378" y="740"/>
                  <a:pt x="378" y="740"/>
                  <a:pt x="378" y="740"/>
                </a:cubicBezTo>
                <a:cubicBezTo>
                  <a:pt x="379" y="744"/>
                  <a:pt x="379" y="744"/>
                  <a:pt x="379" y="744"/>
                </a:cubicBezTo>
                <a:cubicBezTo>
                  <a:pt x="376" y="745"/>
                  <a:pt x="376" y="745"/>
                  <a:pt x="376" y="745"/>
                </a:cubicBezTo>
                <a:cubicBezTo>
                  <a:pt x="382" y="758"/>
                  <a:pt x="382" y="758"/>
                  <a:pt x="382" y="758"/>
                </a:cubicBezTo>
                <a:cubicBezTo>
                  <a:pt x="380" y="763"/>
                  <a:pt x="380" y="763"/>
                  <a:pt x="380" y="763"/>
                </a:cubicBezTo>
                <a:cubicBezTo>
                  <a:pt x="396" y="763"/>
                  <a:pt x="396" y="763"/>
                  <a:pt x="396" y="763"/>
                </a:cubicBezTo>
                <a:cubicBezTo>
                  <a:pt x="400" y="748"/>
                  <a:pt x="400" y="748"/>
                  <a:pt x="400" y="748"/>
                </a:cubicBezTo>
                <a:cubicBezTo>
                  <a:pt x="419" y="746"/>
                  <a:pt x="419" y="746"/>
                  <a:pt x="419" y="746"/>
                </a:cubicBezTo>
                <a:cubicBezTo>
                  <a:pt x="428" y="716"/>
                  <a:pt x="428" y="716"/>
                  <a:pt x="428" y="716"/>
                </a:cubicBezTo>
                <a:cubicBezTo>
                  <a:pt x="426" y="705"/>
                  <a:pt x="426" y="705"/>
                  <a:pt x="426" y="705"/>
                </a:cubicBezTo>
                <a:cubicBezTo>
                  <a:pt x="429" y="705"/>
                  <a:pt x="429" y="705"/>
                  <a:pt x="429" y="705"/>
                </a:cubicBezTo>
                <a:cubicBezTo>
                  <a:pt x="429" y="696"/>
                  <a:pt x="429" y="696"/>
                  <a:pt x="429" y="696"/>
                </a:cubicBezTo>
                <a:cubicBezTo>
                  <a:pt x="424" y="692"/>
                  <a:pt x="424" y="692"/>
                  <a:pt x="424" y="692"/>
                </a:cubicBezTo>
                <a:cubicBezTo>
                  <a:pt x="430" y="691"/>
                  <a:pt x="430" y="691"/>
                  <a:pt x="430" y="691"/>
                </a:cubicBezTo>
                <a:cubicBezTo>
                  <a:pt x="422" y="689"/>
                  <a:pt x="422" y="689"/>
                  <a:pt x="422" y="689"/>
                </a:cubicBezTo>
                <a:cubicBezTo>
                  <a:pt x="432" y="687"/>
                  <a:pt x="432" y="687"/>
                  <a:pt x="432" y="687"/>
                </a:cubicBezTo>
                <a:cubicBezTo>
                  <a:pt x="439" y="678"/>
                  <a:pt x="439" y="678"/>
                  <a:pt x="439" y="678"/>
                </a:cubicBezTo>
                <a:cubicBezTo>
                  <a:pt x="444" y="682"/>
                  <a:pt x="444" y="682"/>
                  <a:pt x="444" y="682"/>
                </a:cubicBezTo>
                <a:cubicBezTo>
                  <a:pt x="449" y="676"/>
                  <a:pt x="449" y="676"/>
                  <a:pt x="449" y="676"/>
                </a:cubicBezTo>
                <a:cubicBezTo>
                  <a:pt x="449" y="673"/>
                  <a:pt x="449" y="673"/>
                  <a:pt x="449" y="673"/>
                </a:cubicBezTo>
                <a:cubicBezTo>
                  <a:pt x="452" y="671"/>
                  <a:pt x="452" y="671"/>
                  <a:pt x="452" y="671"/>
                </a:cubicBezTo>
                <a:cubicBezTo>
                  <a:pt x="436" y="673"/>
                  <a:pt x="436" y="673"/>
                  <a:pt x="436" y="673"/>
                </a:cubicBezTo>
                <a:cubicBezTo>
                  <a:pt x="424" y="668"/>
                  <a:pt x="424" y="668"/>
                  <a:pt x="424" y="668"/>
                </a:cubicBezTo>
                <a:cubicBezTo>
                  <a:pt x="433" y="665"/>
                  <a:pt x="433" y="665"/>
                  <a:pt x="433" y="665"/>
                </a:cubicBezTo>
                <a:cubicBezTo>
                  <a:pt x="444" y="670"/>
                  <a:pt x="444" y="670"/>
                  <a:pt x="444" y="670"/>
                </a:cubicBezTo>
                <a:cubicBezTo>
                  <a:pt x="452" y="666"/>
                  <a:pt x="452" y="666"/>
                  <a:pt x="452" y="666"/>
                </a:cubicBezTo>
                <a:cubicBezTo>
                  <a:pt x="456" y="657"/>
                  <a:pt x="456" y="657"/>
                  <a:pt x="456" y="657"/>
                </a:cubicBezTo>
                <a:cubicBezTo>
                  <a:pt x="449" y="648"/>
                  <a:pt x="449" y="648"/>
                  <a:pt x="449" y="648"/>
                </a:cubicBezTo>
                <a:cubicBezTo>
                  <a:pt x="451" y="647"/>
                  <a:pt x="451" y="647"/>
                  <a:pt x="451" y="647"/>
                </a:cubicBezTo>
                <a:cubicBezTo>
                  <a:pt x="440" y="638"/>
                  <a:pt x="440" y="638"/>
                  <a:pt x="440" y="638"/>
                </a:cubicBezTo>
                <a:cubicBezTo>
                  <a:pt x="431" y="650"/>
                  <a:pt x="431" y="650"/>
                  <a:pt x="431" y="650"/>
                </a:cubicBezTo>
                <a:cubicBezTo>
                  <a:pt x="423" y="651"/>
                  <a:pt x="423" y="651"/>
                  <a:pt x="423" y="651"/>
                </a:cubicBezTo>
                <a:cubicBezTo>
                  <a:pt x="435" y="643"/>
                  <a:pt x="435" y="643"/>
                  <a:pt x="435" y="643"/>
                </a:cubicBezTo>
                <a:cubicBezTo>
                  <a:pt x="433" y="615"/>
                  <a:pt x="433" y="615"/>
                  <a:pt x="433" y="615"/>
                </a:cubicBezTo>
                <a:cubicBezTo>
                  <a:pt x="435" y="610"/>
                  <a:pt x="435" y="610"/>
                  <a:pt x="435" y="610"/>
                </a:cubicBezTo>
                <a:cubicBezTo>
                  <a:pt x="437" y="612"/>
                  <a:pt x="437" y="612"/>
                  <a:pt x="437" y="612"/>
                </a:cubicBezTo>
                <a:cubicBezTo>
                  <a:pt x="439" y="596"/>
                  <a:pt x="439" y="596"/>
                  <a:pt x="439" y="596"/>
                </a:cubicBezTo>
                <a:cubicBezTo>
                  <a:pt x="436" y="588"/>
                  <a:pt x="436" y="588"/>
                  <a:pt x="436" y="588"/>
                </a:cubicBezTo>
                <a:cubicBezTo>
                  <a:pt x="441" y="590"/>
                  <a:pt x="441" y="590"/>
                  <a:pt x="441" y="590"/>
                </a:cubicBezTo>
                <a:cubicBezTo>
                  <a:pt x="443" y="587"/>
                  <a:pt x="443" y="587"/>
                  <a:pt x="443" y="587"/>
                </a:cubicBezTo>
                <a:cubicBezTo>
                  <a:pt x="443" y="578"/>
                  <a:pt x="443" y="578"/>
                  <a:pt x="443" y="578"/>
                </a:cubicBezTo>
                <a:cubicBezTo>
                  <a:pt x="445" y="581"/>
                  <a:pt x="445" y="581"/>
                  <a:pt x="445" y="581"/>
                </a:cubicBezTo>
                <a:cubicBezTo>
                  <a:pt x="449" y="576"/>
                  <a:pt x="449" y="576"/>
                  <a:pt x="449" y="576"/>
                </a:cubicBezTo>
                <a:cubicBezTo>
                  <a:pt x="455" y="567"/>
                  <a:pt x="455" y="567"/>
                  <a:pt x="455" y="567"/>
                </a:cubicBezTo>
                <a:cubicBezTo>
                  <a:pt x="477" y="554"/>
                  <a:pt x="477" y="554"/>
                  <a:pt x="477" y="554"/>
                </a:cubicBezTo>
                <a:cubicBezTo>
                  <a:pt x="491" y="536"/>
                  <a:pt x="491" y="536"/>
                  <a:pt x="491" y="536"/>
                </a:cubicBezTo>
                <a:cubicBezTo>
                  <a:pt x="486" y="524"/>
                  <a:pt x="486" y="524"/>
                  <a:pt x="486" y="524"/>
                </a:cubicBezTo>
                <a:cubicBezTo>
                  <a:pt x="491" y="514"/>
                  <a:pt x="491" y="514"/>
                  <a:pt x="491" y="514"/>
                </a:cubicBezTo>
                <a:cubicBezTo>
                  <a:pt x="489" y="508"/>
                  <a:pt x="489" y="508"/>
                  <a:pt x="489" y="508"/>
                </a:cubicBezTo>
                <a:cubicBezTo>
                  <a:pt x="497" y="502"/>
                  <a:pt x="497" y="502"/>
                  <a:pt x="497" y="502"/>
                </a:cubicBezTo>
                <a:cubicBezTo>
                  <a:pt x="495" y="497"/>
                  <a:pt x="495" y="497"/>
                  <a:pt x="495" y="497"/>
                </a:cubicBezTo>
                <a:cubicBezTo>
                  <a:pt x="500" y="500"/>
                  <a:pt x="500" y="500"/>
                  <a:pt x="500" y="500"/>
                </a:cubicBezTo>
                <a:cubicBezTo>
                  <a:pt x="502" y="491"/>
                  <a:pt x="502" y="491"/>
                  <a:pt x="502" y="491"/>
                </a:cubicBezTo>
                <a:cubicBezTo>
                  <a:pt x="521" y="495"/>
                  <a:pt x="521" y="495"/>
                  <a:pt x="521" y="495"/>
                </a:cubicBezTo>
                <a:cubicBezTo>
                  <a:pt x="523" y="490"/>
                  <a:pt x="523" y="490"/>
                  <a:pt x="523" y="490"/>
                </a:cubicBezTo>
                <a:cubicBezTo>
                  <a:pt x="538" y="505"/>
                  <a:pt x="538" y="505"/>
                  <a:pt x="538" y="505"/>
                </a:cubicBezTo>
                <a:cubicBezTo>
                  <a:pt x="541" y="520"/>
                  <a:pt x="541" y="520"/>
                  <a:pt x="541" y="520"/>
                </a:cubicBezTo>
                <a:cubicBezTo>
                  <a:pt x="530" y="524"/>
                  <a:pt x="530" y="524"/>
                  <a:pt x="530" y="524"/>
                </a:cubicBezTo>
                <a:cubicBezTo>
                  <a:pt x="528" y="532"/>
                  <a:pt x="528" y="532"/>
                  <a:pt x="528" y="532"/>
                </a:cubicBezTo>
                <a:cubicBezTo>
                  <a:pt x="506" y="562"/>
                  <a:pt x="506" y="562"/>
                  <a:pt x="506" y="562"/>
                </a:cubicBezTo>
                <a:cubicBezTo>
                  <a:pt x="500" y="569"/>
                  <a:pt x="500" y="569"/>
                  <a:pt x="500" y="569"/>
                </a:cubicBezTo>
                <a:cubicBezTo>
                  <a:pt x="493" y="569"/>
                  <a:pt x="493" y="569"/>
                  <a:pt x="493" y="569"/>
                </a:cubicBezTo>
                <a:cubicBezTo>
                  <a:pt x="493" y="575"/>
                  <a:pt x="493" y="575"/>
                  <a:pt x="493" y="575"/>
                </a:cubicBezTo>
                <a:cubicBezTo>
                  <a:pt x="488" y="575"/>
                  <a:pt x="488" y="575"/>
                  <a:pt x="488" y="575"/>
                </a:cubicBezTo>
                <a:cubicBezTo>
                  <a:pt x="484" y="585"/>
                  <a:pt x="484" y="585"/>
                  <a:pt x="484" y="585"/>
                </a:cubicBezTo>
                <a:cubicBezTo>
                  <a:pt x="487" y="596"/>
                  <a:pt x="487" y="596"/>
                  <a:pt x="487" y="596"/>
                </a:cubicBezTo>
                <a:cubicBezTo>
                  <a:pt x="486" y="601"/>
                  <a:pt x="486" y="601"/>
                  <a:pt x="486" y="601"/>
                </a:cubicBezTo>
                <a:cubicBezTo>
                  <a:pt x="492" y="616"/>
                  <a:pt x="492" y="616"/>
                  <a:pt x="492" y="616"/>
                </a:cubicBezTo>
                <a:cubicBezTo>
                  <a:pt x="489" y="616"/>
                  <a:pt x="489" y="616"/>
                  <a:pt x="489" y="616"/>
                </a:cubicBezTo>
                <a:cubicBezTo>
                  <a:pt x="489" y="624"/>
                  <a:pt x="489" y="624"/>
                  <a:pt x="489" y="624"/>
                </a:cubicBezTo>
                <a:cubicBezTo>
                  <a:pt x="487" y="629"/>
                  <a:pt x="487" y="629"/>
                  <a:pt x="487" y="629"/>
                </a:cubicBezTo>
                <a:cubicBezTo>
                  <a:pt x="489" y="635"/>
                  <a:pt x="489" y="635"/>
                  <a:pt x="489" y="635"/>
                </a:cubicBezTo>
                <a:cubicBezTo>
                  <a:pt x="487" y="638"/>
                  <a:pt x="487" y="638"/>
                  <a:pt x="487" y="638"/>
                </a:cubicBezTo>
                <a:cubicBezTo>
                  <a:pt x="503" y="648"/>
                  <a:pt x="503" y="648"/>
                  <a:pt x="503" y="648"/>
                </a:cubicBezTo>
                <a:cubicBezTo>
                  <a:pt x="507" y="645"/>
                  <a:pt x="507" y="645"/>
                  <a:pt x="507" y="645"/>
                </a:cubicBezTo>
                <a:cubicBezTo>
                  <a:pt x="510" y="655"/>
                  <a:pt x="510" y="655"/>
                  <a:pt x="510" y="655"/>
                </a:cubicBezTo>
                <a:cubicBezTo>
                  <a:pt x="513" y="652"/>
                  <a:pt x="513" y="652"/>
                  <a:pt x="513" y="652"/>
                </a:cubicBezTo>
                <a:cubicBezTo>
                  <a:pt x="515" y="656"/>
                  <a:pt x="515" y="656"/>
                  <a:pt x="515" y="656"/>
                </a:cubicBezTo>
                <a:cubicBezTo>
                  <a:pt x="526" y="654"/>
                  <a:pt x="526" y="654"/>
                  <a:pt x="526" y="654"/>
                </a:cubicBezTo>
                <a:cubicBezTo>
                  <a:pt x="545" y="643"/>
                  <a:pt x="545" y="643"/>
                  <a:pt x="545" y="643"/>
                </a:cubicBezTo>
                <a:cubicBezTo>
                  <a:pt x="567" y="639"/>
                  <a:pt x="567" y="639"/>
                  <a:pt x="567" y="639"/>
                </a:cubicBezTo>
                <a:cubicBezTo>
                  <a:pt x="579" y="637"/>
                  <a:pt x="579" y="637"/>
                  <a:pt x="579" y="637"/>
                </a:cubicBezTo>
                <a:cubicBezTo>
                  <a:pt x="579" y="644"/>
                  <a:pt x="579" y="644"/>
                  <a:pt x="579" y="644"/>
                </a:cubicBezTo>
                <a:cubicBezTo>
                  <a:pt x="577" y="641"/>
                  <a:pt x="577" y="641"/>
                  <a:pt x="577" y="641"/>
                </a:cubicBezTo>
                <a:cubicBezTo>
                  <a:pt x="579" y="647"/>
                  <a:pt x="579" y="647"/>
                  <a:pt x="579" y="647"/>
                </a:cubicBezTo>
                <a:cubicBezTo>
                  <a:pt x="595" y="651"/>
                  <a:pt x="595" y="651"/>
                  <a:pt x="595" y="651"/>
                </a:cubicBezTo>
                <a:cubicBezTo>
                  <a:pt x="600" y="657"/>
                  <a:pt x="600" y="657"/>
                  <a:pt x="600" y="657"/>
                </a:cubicBezTo>
                <a:cubicBezTo>
                  <a:pt x="586" y="656"/>
                  <a:pt x="586" y="656"/>
                  <a:pt x="586" y="656"/>
                </a:cubicBezTo>
                <a:cubicBezTo>
                  <a:pt x="575" y="664"/>
                  <a:pt x="575" y="664"/>
                  <a:pt x="575" y="664"/>
                </a:cubicBezTo>
                <a:cubicBezTo>
                  <a:pt x="572" y="661"/>
                  <a:pt x="572" y="661"/>
                  <a:pt x="572" y="661"/>
                </a:cubicBezTo>
                <a:cubicBezTo>
                  <a:pt x="571" y="669"/>
                  <a:pt x="571" y="669"/>
                  <a:pt x="571" y="669"/>
                </a:cubicBezTo>
                <a:cubicBezTo>
                  <a:pt x="569" y="669"/>
                  <a:pt x="569" y="669"/>
                  <a:pt x="569" y="669"/>
                </a:cubicBezTo>
                <a:cubicBezTo>
                  <a:pt x="542" y="664"/>
                  <a:pt x="542" y="664"/>
                  <a:pt x="542" y="664"/>
                </a:cubicBezTo>
                <a:cubicBezTo>
                  <a:pt x="515" y="675"/>
                  <a:pt x="515" y="675"/>
                  <a:pt x="515" y="675"/>
                </a:cubicBezTo>
                <a:cubicBezTo>
                  <a:pt x="514" y="684"/>
                  <a:pt x="514" y="684"/>
                  <a:pt x="514" y="684"/>
                </a:cubicBezTo>
                <a:cubicBezTo>
                  <a:pt x="518" y="686"/>
                  <a:pt x="518" y="686"/>
                  <a:pt x="518" y="686"/>
                </a:cubicBezTo>
                <a:cubicBezTo>
                  <a:pt x="515" y="689"/>
                  <a:pt x="515" y="689"/>
                  <a:pt x="515" y="689"/>
                </a:cubicBezTo>
                <a:cubicBezTo>
                  <a:pt x="517" y="696"/>
                  <a:pt x="517" y="696"/>
                  <a:pt x="517" y="696"/>
                </a:cubicBezTo>
                <a:cubicBezTo>
                  <a:pt x="528" y="695"/>
                  <a:pt x="528" y="695"/>
                  <a:pt x="528" y="695"/>
                </a:cubicBezTo>
                <a:cubicBezTo>
                  <a:pt x="526" y="707"/>
                  <a:pt x="526" y="707"/>
                  <a:pt x="526" y="707"/>
                </a:cubicBezTo>
                <a:cubicBezTo>
                  <a:pt x="525" y="722"/>
                  <a:pt x="525" y="722"/>
                  <a:pt x="525" y="722"/>
                </a:cubicBezTo>
                <a:cubicBezTo>
                  <a:pt x="523" y="728"/>
                  <a:pt x="523" y="728"/>
                  <a:pt x="523" y="728"/>
                </a:cubicBezTo>
                <a:cubicBezTo>
                  <a:pt x="513" y="725"/>
                  <a:pt x="513" y="725"/>
                  <a:pt x="513" y="725"/>
                </a:cubicBezTo>
                <a:cubicBezTo>
                  <a:pt x="503" y="710"/>
                  <a:pt x="503" y="710"/>
                  <a:pt x="503" y="710"/>
                </a:cubicBezTo>
                <a:cubicBezTo>
                  <a:pt x="493" y="715"/>
                  <a:pt x="493" y="715"/>
                  <a:pt x="493" y="715"/>
                </a:cubicBezTo>
                <a:cubicBezTo>
                  <a:pt x="484" y="733"/>
                  <a:pt x="484" y="733"/>
                  <a:pt x="484" y="733"/>
                </a:cubicBezTo>
                <a:cubicBezTo>
                  <a:pt x="483" y="745"/>
                  <a:pt x="483" y="745"/>
                  <a:pt x="483" y="745"/>
                </a:cubicBezTo>
                <a:cubicBezTo>
                  <a:pt x="487" y="765"/>
                  <a:pt x="487" y="765"/>
                  <a:pt x="487" y="765"/>
                </a:cubicBezTo>
                <a:cubicBezTo>
                  <a:pt x="487" y="766"/>
                  <a:pt x="487" y="766"/>
                  <a:pt x="487" y="766"/>
                </a:cubicBezTo>
                <a:cubicBezTo>
                  <a:pt x="486" y="773"/>
                  <a:pt x="486" y="773"/>
                  <a:pt x="486" y="773"/>
                </a:cubicBezTo>
                <a:cubicBezTo>
                  <a:pt x="479" y="772"/>
                  <a:pt x="479" y="772"/>
                  <a:pt x="479" y="772"/>
                </a:cubicBezTo>
                <a:cubicBezTo>
                  <a:pt x="481" y="768"/>
                  <a:pt x="481" y="768"/>
                  <a:pt x="481" y="768"/>
                </a:cubicBezTo>
                <a:cubicBezTo>
                  <a:pt x="472" y="773"/>
                  <a:pt x="472" y="773"/>
                  <a:pt x="472" y="773"/>
                </a:cubicBezTo>
                <a:cubicBezTo>
                  <a:pt x="466" y="784"/>
                  <a:pt x="466" y="784"/>
                  <a:pt x="466" y="784"/>
                </a:cubicBezTo>
                <a:cubicBezTo>
                  <a:pt x="456" y="788"/>
                  <a:pt x="456" y="788"/>
                  <a:pt x="456" y="788"/>
                </a:cubicBezTo>
                <a:cubicBezTo>
                  <a:pt x="452" y="779"/>
                  <a:pt x="452" y="779"/>
                  <a:pt x="452" y="779"/>
                </a:cubicBezTo>
                <a:cubicBezTo>
                  <a:pt x="456" y="780"/>
                  <a:pt x="456" y="780"/>
                  <a:pt x="456" y="780"/>
                </a:cubicBezTo>
                <a:cubicBezTo>
                  <a:pt x="454" y="776"/>
                  <a:pt x="454" y="776"/>
                  <a:pt x="454" y="776"/>
                </a:cubicBezTo>
                <a:cubicBezTo>
                  <a:pt x="436" y="777"/>
                  <a:pt x="436" y="777"/>
                  <a:pt x="436" y="777"/>
                </a:cubicBezTo>
                <a:cubicBezTo>
                  <a:pt x="401" y="795"/>
                  <a:pt x="401" y="795"/>
                  <a:pt x="401" y="795"/>
                </a:cubicBezTo>
                <a:cubicBezTo>
                  <a:pt x="399" y="796"/>
                  <a:pt x="399" y="796"/>
                  <a:pt x="399" y="796"/>
                </a:cubicBezTo>
                <a:cubicBezTo>
                  <a:pt x="403" y="797"/>
                  <a:pt x="403" y="797"/>
                  <a:pt x="403" y="797"/>
                </a:cubicBezTo>
                <a:cubicBezTo>
                  <a:pt x="401" y="800"/>
                  <a:pt x="401" y="800"/>
                  <a:pt x="401" y="800"/>
                </a:cubicBezTo>
                <a:cubicBezTo>
                  <a:pt x="398" y="798"/>
                  <a:pt x="398" y="798"/>
                  <a:pt x="398" y="798"/>
                </a:cubicBezTo>
                <a:cubicBezTo>
                  <a:pt x="382" y="785"/>
                  <a:pt x="382" y="785"/>
                  <a:pt x="382" y="785"/>
                </a:cubicBezTo>
                <a:cubicBezTo>
                  <a:pt x="375" y="788"/>
                  <a:pt x="375" y="788"/>
                  <a:pt x="375" y="788"/>
                </a:cubicBezTo>
                <a:cubicBezTo>
                  <a:pt x="378" y="784"/>
                  <a:pt x="378" y="784"/>
                  <a:pt x="378" y="784"/>
                </a:cubicBezTo>
                <a:cubicBezTo>
                  <a:pt x="363" y="795"/>
                  <a:pt x="363" y="795"/>
                  <a:pt x="363" y="795"/>
                </a:cubicBezTo>
                <a:cubicBezTo>
                  <a:pt x="354" y="795"/>
                  <a:pt x="354" y="795"/>
                  <a:pt x="354" y="795"/>
                </a:cubicBezTo>
                <a:cubicBezTo>
                  <a:pt x="358" y="786"/>
                  <a:pt x="358" y="786"/>
                  <a:pt x="358" y="786"/>
                </a:cubicBezTo>
                <a:cubicBezTo>
                  <a:pt x="346" y="786"/>
                  <a:pt x="346" y="786"/>
                  <a:pt x="346" y="786"/>
                </a:cubicBezTo>
                <a:cubicBezTo>
                  <a:pt x="343" y="782"/>
                  <a:pt x="343" y="782"/>
                  <a:pt x="343" y="782"/>
                </a:cubicBezTo>
                <a:cubicBezTo>
                  <a:pt x="343" y="776"/>
                  <a:pt x="343" y="776"/>
                  <a:pt x="343" y="776"/>
                </a:cubicBezTo>
                <a:cubicBezTo>
                  <a:pt x="340" y="775"/>
                  <a:pt x="340" y="775"/>
                  <a:pt x="340" y="775"/>
                </a:cubicBezTo>
                <a:cubicBezTo>
                  <a:pt x="341" y="775"/>
                  <a:pt x="341" y="775"/>
                  <a:pt x="341" y="775"/>
                </a:cubicBezTo>
                <a:cubicBezTo>
                  <a:pt x="339" y="770"/>
                  <a:pt x="339" y="770"/>
                  <a:pt x="339" y="770"/>
                </a:cubicBezTo>
                <a:cubicBezTo>
                  <a:pt x="341" y="759"/>
                  <a:pt x="341" y="759"/>
                  <a:pt x="341" y="759"/>
                </a:cubicBezTo>
                <a:cubicBezTo>
                  <a:pt x="340" y="756"/>
                  <a:pt x="340" y="756"/>
                  <a:pt x="340" y="756"/>
                </a:cubicBezTo>
                <a:cubicBezTo>
                  <a:pt x="344" y="756"/>
                  <a:pt x="344" y="756"/>
                  <a:pt x="344" y="756"/>
                </a:cubicBezTo>
                <a:cubicBezTo>
                  <a:pt x="343" y="752"/>
                  <a:pt x="343" y="752"/>
                  <a:pt x="343" y="752"/>
                </a:cubicBezTo>
                <a:cubicBezTo>
                  <a:pt x="349" y="750"/>
                  <a:pt x="349" y="750"/>
                  <a:pt x="349" y="750"/>
                </a:cubicBezTo>
                <a:cubicBezTo>
                  <a:pt x="349" y="745"/>
                  <a:pt x="349" y="745"/>
                  <a:pt x="349" y="745"/>
                </a:cubicBezTo>
                <a:cubicBezTo>
                  <a:pt x="352" y="747"/>
                  <a:pt x="352" y="747"/>
                  <a:pt x="352" y="747"/>
                </a:cubicBezTo>
                <a:cubicBezTo>
                  <a:pt x="356" y="743"/>
                  <a:pt x="356" y="743"/>
                  <a:pt x="356" y="743"/>
                </a:cubicBezTo>
                <a:cubicBezTo>
                  <a:pt x="356" y="739"/>
                  <a:pt x="356" y="739"/>
                  <a:pt x="356" y="739"/>
                </a:cubicBezTo>
                <a:cubicBezTo>
                  <a:pt x="347" y="740"/>
                  <a:pt x="347" y="740"/>
                  <a:pt x="347" y="740"/>
                </a:cubicBezTo>
                <a:cubicBezTo>
                  <a:pt x="349" y="735"/>
                  <a:pt x="349" y="735"/>
                  <a:pt x="349" y="735"/>
                </a:cubicBezTo>
                <a:cubicBezTo>
                  <a:pt x="346" y="735"/>
                  <a:pt x="346" y="735"/>
                  <a:pt x="346" y="735"/>
                </a:cubicBezTo>
                <a:cubicBezTo>
                  <a:pt x="352" y="721"/>
                  <a:pt x="352" y="721"/>
                  <a:pt x="352" y="721"/>
                </a:cubicBezTo>
                <a:cubicBezTo>
                  <a:pt x="350" y="710"/>
                  <a:pt x="350" y="710"/>
                  <a:pt x="350" y="710"/>
                </a:cubicBezTo>
                <a:cubicBezTo>
                  <a:pt x="324" y="729"/>
                  <a:pt x="324" y="729"/>
                  <a:pt x="324" y="729"/>
                </a:cubicBezTo>
                <a:cubicBezTo>
                  <a:pt x="321" y="741"/>
                  <a:pt x="321" y="741"/>
                  <a:pt x="321" y="741"/>
                </a:cubicBezTo>
                <a:cubicBezTo>
                  <a:pt x="322" y="759"/>
                  <a:pt x="322" y="759"/>
                  <a:pt x="322" y="759"/>
                </a:cubicBezTo>
                <a:cubicBezTo>
                  <a:pt x="329" y="765"/>
                  <a:pt x="329" y="765"/>
                  <a:pt x="329" y="765"/>
                </a:cubicBezTo>
                <a:cubicBezTo>
                  <a:pt x="329" y="773"/>
                  <a:pt x="329" y="773"/>
                  <a:pt x="329" y="773"/>
                </a:cubicBezTo>
                <a:cubicBezTo>
                  <a:pt x="333" y="782"/>
                  <a:pt x="333" y="782"/>
                  <a:pt x="333" y="782"/>
                </a:cubicBezTo>
                <a:cubicBezTo>
                  <a:pt x="329" y="786"/>
                  <a:pt x="329" y="786"/>
                  <a:pt x="329" y="786"/>
                </a:cubicBezTo>
                <a:cubicBezTo>
                  <a:pt x="334" y="796"/>
                  <a:pt x="334" y="796"/>
                  <a:pt x="334" y="796"/>
                </a:cubicBezTo>
                <a:cubicBezTo>
                  <a:pt x="328" y="798"/>
                  <a:pt x="328" y="798"/>
                  <a:pt x="328" y="798"/>
                </a:cubicBezTo>
                <a:cubicBezTo>
                  <a:pt x="329" y="808"/>
                  <a:pt x="329" y="808"/>
                  <a:pt x="329" y="808"/>
                </a:cubicBezTo>
                <a:cubicBezTo>
                  <a:pt x="327" y="803"/>
                  <a:pt x="327" y="803"/>
                  <a:pt x="327" y="803"/>
                </a:cubicBezTo>
                <a:cubicBezTo>
                  <a:pt x="322" y="805"/>
                  <a:pt x="322" y="805"/>
                  <a:pt x="322" y="805"/>
                </a:cubicBezTo>
                <a:cubicBezTo>
                  <a:pt x="321" y="801"/>
                  <a:pt x="321" y="801"/>
                  <a:pt x="321" y="801"/>
                </a:cubicBezTo>
                <a:cubicBezTo>
                  <a:pt x="317" y="800"/>
                  <a:pt x="317" y="800"/>
                  <a:pt x="317" y="800"/>
                </a:cubicBezTo>
                <a:cubicBezTo>
                  <a:pt x="312" y="801"/>
                  <a:pt x="312" y="801"/>
                  <a:pt x="312" y="801"/>
                </a:cubicBezTo>
                <a:cubicBezTo>
                  <a:pt x="309" y="805"/>
                  <a:pt x="309" y="805"/>
                  <a:pt x="309" y="805"/>
                </a:cubicBezTo>
                <a:cubicBezTo>
                  <a:pt x="315" y="810"/>
                  <a:pt x="315" y="810"/>
                  <a:pt x="315" y="810"/>
                </a:cubicBezTo>
                <a:cubicBezTo>
                  <a:pt x="309" y="810"/>
                  <a:pt x="309" y="810"/>
                  <a:pt x="309" y="810"/>
                </a:cubicBezTo>
                <a:cubicBezTo>
                  <a:pt x="305" y="805"/>
                  <a:pt x="305" y="805"/>
                  <a:pt x="305" y="805"/>
                </a:cubicBezTo>
                <a:cubicBezTo>
                  <a:pt x="289" y="810"/>
                  <a:pt x="289" y="810"/>
                  <a:pt x="289" y="810"/>
                </a:cubicBezTo>
                <a:cubicBezTo>
                  <a:pt x="289" y="817"/>
                  <a:pt x="289" y="817"/>
                  <a:pt x="289" y="817"/>
                </a:cubicBezTo>
                <a:cubicBezTo>
                  <a:pt x="290" y="817"/>
                  <a:pt x="290" y="817"/>
                  <a:pt x="290" y="817"/>
                </a:cubicBezTo>
                <a:cubicBezTo>
                  <a:pt x="288" y="824"/>
                  <a:pt x="288" y="824"/>
                  <a:pt x="288" y="824"/>
                </a:cubicBezTo>
                <a:cubicBezTo>
                  <a:pt x="289" y="830"/>
                  <a:pt x="289" y="830"/>
                  <a:pt x="289" y="830"/>
                </a:cubicBezTo>
                <a:cubicBezTo>
                  <a:pt x="283" y="827"/>
                  <a:pt x="283" y="827"/>
                  <a:pt x="283" y="827"/>
                </a:cubicBezTo>
                <a:cubicBezTo>
                  <a:pt x="283" y="823"/>
                  <a:pt x="283" y="823"/>
                  <a:pt x="283" y="823"/>
                </a:cubicBezTo>
                <a:cubicBezTo>
                  <a:pt x="286" y="821"/>
                  <a:pt x="286" y="821"/>
                  <a:pt x="286" y="821"/>
                </a:cubicBezTo>
                <a:cubicBezTo>
                  <a:pt x="283" y="817"/>
                  <a:pt x="283" y="817"/>
                  <a:pt x="283" y="817"/>
                </a:cubicBezTo>
                <a:cubicBezTo>
                  <a:pt x="273" y="837"/>
                  <a:pt x="273" y="837"/>
                  <a:pt x="273" y="837"/>
                </a:cubicBezTo>
                <a:cubicBezTo>
                  <a:pt x="275" y="841"/>
                  <a:pt x="275" y="841"/>
                  <a:pt x="275" y="841"/>
                </a:cubicBezTo>
                <a:cubicBezTo>
                  <a:pt x="282" y="842"/>
                  <a:pt x="282" y="842"/>
                  <a:pt x="282" y="842"/>
                </a:cubicBezTo>
                <a:cubicBezTo>
                  <a:pt x="270" y="846"/>
                  <a:pt x="270" y="846"/>
                  <a:pt x="270" y="846"/>
                </a:cubicBezTo>
                <a:cubicBezTo>
                  <a:pt x="275" y="848"/>
                  <a:pt x="275" y="848"/>
                  <a:pt x="275" y="848"/>
                </a:cubicBezTo>
                <a:cubicBezTo>
                  <a:pt x="264" y="849"/>
                  <a:pt x="264" y="849"/>
                  <a:pt x="264" y="849"/>
                </a:cubicBezTo>
                <a:cubicBezTo>
                  <a:pt x="256" y="854"/>
                  <a:pt x="256" y="854"/>
                  <a:pt x="256" y="854"/>
                </a:cubicBezTo>
                <a:cubicBezTo>
                  <a:pt x="244" y="858"/>
                  <a:pt x="244" y="858"/>
                  <a:pt x="244" y="858"/>
                </a:cubicBezTo>
                <a:cubicBezTo>
                  <a:pt x="242" y="871"/>
                  <a:pt x="242" y="871"/>
                  <a:pt x="242" y="871"/>
                </a:cubicBezTo>
                <a:cubicBezTo>
                  <a:pt x="225" y="881"/>
                  <a:pt x="225" y="881"/>
                  <a:pt x="225" y="881"/>
                </a:cubicBezTo>
                <a:cubicBezTo>
                  <a:pt x="224" y="886"/>
                  <a:pt x="224" y="886"/>
                  <a:pt x="224" y="886"/>
                </a:cubicBezTo>
                <a:cubicBezTo>
                  <a:pt x="228" y="886"/>
                  <a:pt x="228" y="886"/>
                  <a:pt x="228" y="886"/>
                </a:cubicBezTo>
                <a:cubicBezTo>
                  <a:pt x="209" y="888"/>
                  <a:pt x="209" y="888"/>
                  <a:pt x="209" y="888"/>
                </a:cubicBezTo>
                <a:cubicBezTo>
                  <a:pt x="206" y="882"/>
                  <a:pt x="206" y="882"/>
                  <a:pt x="206" y="882"/>
                </a:cubicBezTo>
                <a:cubicBezTo>
                  <a:pt x="199" y="881"/>
                  <a:pt x="199" y="881"/>
                  <a:pt x="199" y="881"/>
                </a:cubicBezTo>
                <a:cubicBezTo>
                  <a:pt x="203" y="902"/>
                  <a:pt x="203" y="902"/>
                  <a:pt x="203" y="902"/>
                </a:cubicBezTo>
                <a:cubicBezTo>
                  <a:pt x="188" y="903"/>
                  <a:pt x="188" y="903"/>
                  <a:pt x="188" y="903"/>
                </a:cubicBezTo>
                <a:cubicBezTo>
                  <a:pt x="178" y="899"/>
                  <a:pt x="178" y="899"/>
                  <a:pt x="178" y="899"/>
                </a:cubicBezTo>
                <a:cubicBezTo>
                  <a:pt x="162" y="904"/>
                  <a:pt x="162" y="904"/>
                  <a:pt x="162" y="904"/>
                </a:cubicBezTo>
                <a:cubicBezTo>
                  <a:pt x="162" y="907"/>
                  <a:pt x="162" y="907"/>
                  <a:pt x="162" y="907"/>
                </a:cubicBezTo>
                <a:cubicBezTo>
                  <a:pt x="167" y="907"/>
                  <a:pt x="167" y="907"/>
                  <a:pt x="167" y="907"/>
                </a:cubicBezTo>
                <a:cubicBezTo>
                  <a:pt x="164" y="909"/>
                  <a:pt x="164" y="909"/>
                  <a:pt x="164" y="909"/>
                </a:cubicBezTo>
                <a:cubicBezTo>
                  <a:pt x="167" y="912"/>
                  <a:pt x="167" y="912"/>
                  <a:pt x="167" y="912"/>
                </a:cubicBezTo>
                <a:cubicBezTo>
                  <a:pt x="163" y="913"/>
                  <a:pt x="163" y="913"/>
                  <a:pt x="163" y="913"/>
                </a:cubicBezTo>
                <a:cubicBezTo>
                  <a:pt x="167" y="918"/>
                  <a:pt x="167" y="918"/>
                  <a:pt x="167" y="918"/>
                </a:cubicBezTo>
                <a:cubicBezTo>
                  <a:pt x="172" y="916"/>
                  <a:pt x="172" y="916"/>
                  <a:pt x="172" y="916"/>
                </a:cubicBezTo>
                <a:cubicBezTo>
                  <a:pt x="190" y="923"/>
                  <a:pt x="190" y="923"/>
                  <a:pt x="190" y="923"/>
                </a:cubicBezTo>
                <a:cubicBezTo>
                  <a:pt x="191" y="927"/>
                  <a:pt x="191" y="927"/>
                  <a:pt x="191" y="927"/>
                </a:cubicBezTo>
                <a:cubicBezTo>
                  <a:pt x="200" y="928"/>
                  <a:pt x="200" y="928"/>
                  <a:pt x="200" y="928"/>
                </a:cubicBezTo>
                <a:cubicBezTo>
                  <a:pt x="195" y="928"/>
                  <a:pt x="195" y="928"/>
                  <a:pt x="195" y="928"/>
                </a:cubicBezTo>
                <a:cubicBezTo>
                  <a:pt x="196" y="936"/>
                  <a:pt x="196" y="936"/>
                  <a:pt x="196" y="936"/>
                </a:cubicBezTo>
                <a:cubicBezTo>
                  <a:pt x="199" y="941"/>
                  <a:pt x="199" y="941"/>
                  <a:pt x="199" y="941"/>
                </a:cubicBezTo>
                <a:cubicBezTo>
                  <a:pt x="208" y="945"/>
                  <a:pt x="208" y="945"/>
                  <a:pt x="208" y="945"/>
                </a:cubicBezTo>
                <a:cubicBezTo>
                  <a:pt x="208" y="955"/>
                  <a:pt x="208" y="955"/>
                  <a:pt x="208" y="955"/>
                </a:cubicBezTo>
                <a:cubicBezTo>
                  <a:pt x="213" y="964"/>
                  <a:pt x="213" y="964"/>
                  <a:pt x="213" y="964"/>
                </a:cubicBezTo>
                <a:cubicBezTo>
                  <a:pt x="210" y="958"/>
                  <a:pt x="210" y="958"/>
                  <a:pt x="210" y="958"/>
                </a:cubicBezTo>
                <a:cubicBezTo>
                  <a:pt x="207" y="973"/>
                  <a:pt x="207" y="973"/>
                  <a:pt x="207" y="973"/>
                </a:cubicBezTo>
                <a:cubicBezTo>
                  <a:pt x="210" y="974"/>
                  <a:pt x="210" y="974"/>
                  <a:pt x="210" y="974"/>
                </a:cubicBezTo>
                <a:cubicBezTo>
                  <a:pt x="205" y="993"/>
                  <a:pt x="205" y="993"/>
                  <a:pt x="205" y="993"/>
                </a:cubicBezTo>
                <a:cubicBezTo>
                  <a:pt x="199" y="997"/>
                  <a:pt x="199" y="997"/>
                  <a:pt x="199" y="997"/>
                </a:cubicBezTo>
                <a:cubicBezTo>
                  <a:pt x="120" y="992"/>
                  <a:pt x="120" y="992"/>
                  <a:pt x="120" y="992"/>
                </a:cubicBezTo>
                <a:cubicBezTo>
                  <a:pt x="116" y="998"/>
                  <a:pt x="116" y="998"/>
                  <a:pt x="116" y="998"/>
                </a:cubicBezTo>
                <a:cubicBezTo>
                  <a:pt x="109" y="999"/>
                  <a:pt x="109" y="999"/>
                  <a:pt x="109" y="999"/>
                </a:cubicBezTo>
                <a:cubicBezTo>
                  <a:pt x="106" y="1003"/>
                  <a:pt x="106" y="1003"/>
                  <a:pt x="106" y="1003"/>
                </a:cubicBezTo>
                <a:cubicBezTo>
                  <a:pt x="111" y="1009"/>
                  <a:pt x="111" y="1009"/>
                  <a:pt x="111" y="1009"/>
                </a:cubicBezTo>
                <a:cubicBezTo>
                  <a:pt x="110" y="1012"/>
                  <a:pt x="110" y="1012"/>
                  <a:pt x="110" y="1012"/>
                </a:cubicBezTo>
                <a:cubicBezTo>
                  <a:pt x="111" y="1015"/>
                  <a:pt x="111" y="1015"/>
                  <a:pt x="111" y="1015"/>
                </a:cubicBezTo>
                <a:cubicBezTo>
                  <a:pt x="113" y="1015"/>
                  <a:pt x="113" y="1015"/>
                  <a:pt x="113" y="1015"/>
                </a:cubicBezTo>
                <a:cubicBezTo>
                  <a:pt x="111" y="1024"/>
                  <a:pt x="111" y="1024"/>
                  <a:pt x="111" y="1024"/>
                </a:cubicBezTo>
                <a:cubicBezTo>
                  <a:pt x="113" y="1038"/>
                  <a:pt x="113" y="1038"/>
                  <a:pt x="113" y="1038"/>
                </a:cubicBezTo>
                <a:cubicBezTo>
                  <a:pt x="104" y="1073"/>
                  <a:pt x="104" y="1073"/>
                  <a:pt x="104" y="1073"/>
                </a:cubicBezTo>
                <a:cubicBezTo>
                  <a:pt x="107" y="1078"/>
                  <a:pt x="107" y="1078"/>
                  <a:pt x="107" y="1078"/>
                </a:cubicBezTo>
                <a:cubicBezTo>
                  <a:pt x="113" y="1077"/>
                  <a:pt x="113" y="1077"/>
                  <a:pt x="113" y="1077"/>
                </a:cubicBezTo>
                <a:cubicBezTo>
                  <a:pt x="111" y="1100"/>
                  <a:pt x="111" y="1100"/>
                  <a:pt x="111" y="1100"/>
                </a:cubicBezTo>
                <a:cubicBezTo>
                  <a:pt x="129" y="1098"/>
                  <a:pt x="129" y="1098"/>
                  <a:pt x="129" y="1098"/>
                </a:cubicBezTo>
                <a:cubicBezTo>
                  <a:pt x="139" y="1100"/>
                  <a:pt x="139" y="1100"/>
                  <a:pt x="139" y="1100"/>
                </a:cubicBezTo>
                <a:cubicBezTo>
                  <a:pt x="146" y="1113"/>
                  <a:pt x="146" y="1113"/>
                  <a:pt x="146" y="1113"/>
                </a:cubicBezTo>
                <a:cubicBezTo>
                  <a:pt x="154" y="1116"/>
                  <a:pt x="154" y="1116"/>
                  <a:pt x="154" y="1116"/>
                </a:cubicBezTo>
                <a:cubicBezTo>
                  <a:pt x="167" y="1105"/>
                  <a:pt x="167" y="1105"/>
                  <a:pt x="167" y="1105"/>
                </a:cubicBezTo>
                <a:cubicBezTo>
                  <a:pt x="197" y="1105"/>
                  <a:pt x="197" y="1105"/>
                  <a:pt x="197" y="1105"/>
                </a:cubicBezTo>
                <a:cubicBezTo>
                  <a:pt x="206" y="1092"/>
                  <a:pt x="206" y="1092"/>
                  <a:pt x="206" y="1092"/>
                </a:cubicBezTo>
                <a:cubicBezTo>
                  <a:pt x="213" y="1092"/>
                  <a:pt x="213" y="1092"/>
                  <a:pt x="213" y="1092"/>
                </a:cubicBezTo>
                <a:cubicBezTo>
                  <a:pt x="217" y="1081"/>
                  <a:pt x="217" y="1081"/>
                  <a:pt x="217" y="1081"/>
                </a:cubicBezTo>
                <a:cubicBezTo>
                  <a:pt x="223" y="1075"/>
                  <a:pt x="223" y="1075"/>
                  <a:pt x="223" y="1075"/>
                </a:cubicBezTo>
                <a:cubicBezTo>
                  <a:pt x="224" y="1073"/>
                  <a:pt x="224" y="1073"/>
                  <a:pt x="224" y="1073"/>
                </a:cubicBezTo>
                <a:cubicBezTo>
                  <a:pt x="219" y="1069"/>
                  <a:pt x="219" y="1069"/>
                  <a:pt x="219" y="1069"/>
                </a:cubicBezTo>
                <a:cubicBezTo>
                  <a:pt x="218" y="1063"/>
                  <a:pt x="218" y="1063"/>
                  <a:pt x="218" y="1063"/>
                </a:cubicBezTo>
                <a:cubicBezTo>
                  <a:pt x="232" y="1040"/>
                  <a:pt x="232" y="1040"/>
                  <a:pt x="232" y="1040"/>
                </a:cubicBezTo>
                <a:cubicBezTo>
                  <a:pt x="260" y="1024"/>
                  <a:pt x="260" y="1024"/>
                  <a:pt x="260" y="1024"/>
                </a:cubicBezTo>
                <a:cubicBezTo>
                  <a:pt x="263" y="1015"/>
                  <a:pt x="263" y="1015"/>
                  <a:pt x="263" y="1015"/>
                </a:cubicBezTo>
                <a:cubicBezTo>
                  <a:pt x="261" y="1013"/>
                  <a:pt x="261" y="1013"/>
                  <a:pt x="261" y="1013"/>
                </a:cubicBezTo>
                <a:cubicBezTo>
                  <a:pt x="260" y="1006"/>
                  <a:pt x="260" y="1006"/>
                  <a:pt x="260" y="1006"/>
                </a:cubicBezTo>
                <a:cubicBezTo>
                  <a:pt x="261" y="1001"/>
                  <a:pt x="261" y="1001"/>
                  <a:pt x="261" y="1001"/>
                </a:cubicBezTo>
                <a:cubicBezTo>
                  <a:pt x="271" y="994"/>
                  <a:pt x="271" y="994"/>
                  <a:pt x="271" y="994"/>
                </a:cubicBezTo>
                <a:cubicBezTo>
                  <a:pt x="284" y="996"/>
                  <a:pt x="284" y="996"/>
                  <a:pt x="284" y="996"/>
                </a:cubicBezTo>
                <a:cubicBezTo>
                  <a:pt x="298" y="1002"/>
                  <a:pt x="298" y="1002"/>
                  <a:pt x="298" y="1002"/>
                </a:cubicBezTo>
                <a:cubicBezTo>
                  <a:pt x="315" y="988"/>
                  <a:pt x="315" y="988"/>
                  <a:pt x="315" y="988"/>
                </a:cubicBezTo>
                <a:cubicBezTo>
                  <a:pt x="322" y="987"/>
                  <a:pt x="322" y="987"/>
                  <a:pt x="322" y="987"/>
                </a:cubicBezTo>
                <a:cubicBezTo>
                  <a:pt x="331" y="979"/>
                  <a:pt x="331" y="979"/>
                  <a:pt x="331" y="979"/>
                </a:cubicBezTo>
                <a:cubicBezTo>
                  <a:pt x="348" y="986"/>
                  <a:pt x="348" y="986"/>
                  <a:pt x="348" y="986"/>
                </a:cubicBezTo>
                <a:cubicBezTo>
                  <a:pt x="353" y="1002"/>
                  <a:pt x="353" y="1002"/>
                  <a:pt x="353" y="1002"/>
                </a:cubicBezTo>
                <a:cubicBezTo>
                  <a:pt x="361" y="1013"/>
                  <a:pt x="361" y="1013"/>
                  <a:pt x="361" y="1013"/>
                </a:cubicBezTo>
                <a:cubicBezTo>
                  <a:pt x="366" y="1014"/>
                  <a:pt x="366" y="1014"/>
                  <a:pt x="366" y="1014"/>
                </a:cubicBezTo>
                <a:cubicBezTo>
                  <a:pt x="384" y="1032"/>
                  <a:pt x="384" y="1032"/>
                  <a:pt x="384" y="1032"/>
                </a:cubicBezTo>
                <a:cubicBezTo>
                  <a:pt x="393" y="1032"/>
                  <a:pt x="393" y="1032"/>
                  <a:pt x="393" y="1032"/>
                </a:cubicBezTo>
                <a:cubicBezTo>
                  <a:pt x="401" y="1043"/>
                  <a:pt x="401" y="1043"/>
                  <a:pt x="401" y="1043"/>
                </a:cubicBezTo>
                <a:cubicBezTo>
                  <a:pt x="407" y="1043"/>
                  <a:pt x="407" y="1043"/>
                  <a:pt x="407" y="1043"/>
                </a:cubicBezTo>
                <a:cubicBezTo>
                  <a:pt x="409" y="1050"/>
                  <a:pt x="409" y="1050"/>
                  <a:pt x="409" y="1050"/>
                </a:cubicBezTo>
                <a:cubicBezTo>
                  <a:pt x="414" y="1054"/>
                  <a:pt x="414" y="1054"/>
                  <a:pt x="414" y="1054"/>
                </a:cubicBezTo>
                <a:cubicBezTo>
                  <a:pt x="417" y="1052"/>
                  <a:pt x="417" y="1052"/>
                  <a:pt x="417" y="1052"/>
                </a:cubicBezTo>
                <a:cubicBezTo>
                  <a:pt x="424" y="1072"/>
                  <a:pt x="424" y="1072"/>
                  <a:pt x="424" y="1072"/>
                </a:cubicBezTo>
                <a:cubicBezTo>
                  <a:pt x="419" y="1075"/>
                  <a:pt x="419" y="1075"/>
                  <a:pt x="419" y="1075"/>
                </a:cubicBezTo>
                <a:cubicBezTo>
                  <a:pt x="417" y="1082"/>
                  <a:pt x="417" y="1082"/>
                  <a:pt x="417" y="1082"/>
                </a:cubicBezTo>
                <a:cubicBezTo>
                  <a:pt x="418" y="1086"/>
                  <a:pt x="418" y="1086"/>
                  <a:pt x="418" y="1086"/>
                </a:cubicBezTo>
                <a:cubicBezTo>
                  <a:pt x="422" y="1086"/>
                  <a:pt x="422" y="1086"/>
                  <a:pt x="422" y="1086"/>
                </a:cubicBezTo>
                <a:cubicBezTo>
                  <a:pt x="428" y="1079"/>
                  <a:pt x="428" y="1079"/>
                  <a:pt x="428" y="1079"/>
                </a:cubicBezTo>
                <a:cubicBezTo>
                  <a:pt x="429" y="1071"/>
                  <a:pt x="429" y="1071"/>
                  <a:pt x="429" y="1071"/>
                </a:cubicBezTo>
                <a:cubicBezTo>
                  <a:pt x="435" y="1069"/>
                  <a:pt x="435" y="1069"/>
                  <a:pt x="435" y="1069"/>
                </a:cubicBezTo>
                <a:cubicBezTo>
                  <a:pt x="435" y="1062"/>
                  <a:pt x="435" y="1062"/>
                  <a:pt x="435" y="1062"/>
                </a:cubicBezTo>
                <a:cubicBezTo>
                  <a:pt x="428" y="1057"/>
                  <a:pt x="428" y="1057"/>
                  <a:pt x="428" y="1057"/>
                </a:cubicBezTo>
                <a:cubicBezTo>
                  <a:pt x="431" y="1047"/>
                  <a:pt x="431" y="1047"/>
                  <a:pt x="431" y="1047"/>
                </a:cubicBezTo>
                <a:cubicBezTo>
                  <a:pt x="436" y="1044"/>
                  <a:pt x="436" y="1044"/>
                  <a:pt x="436" y="1044"/>
                </a:cubicBezTo>
                <a:cubicBezTo>
                  <a:pt x="445" y="1049"/>
                  <a:pt x="445" y="1049"/>
                  <a:pt x="445" y="1049"/>
                </a:cubicBezTo>
                <a:cubicBezTo>
                  <a:pt x="451" y="1055"/>
                  <a:pt x="451" y="1055"/>
                  <a:pt x="451" y="1055"/>
                </a:cubicBezTo>
                <a:cubicBezTo>
                  <a:pt x="452" y="1052"/>
                  <a:pt x="452" y="1052"/>
                  <a:pt x="452" y="1052"/>
                </a:cubicBezTo>
                <a:cubicBezTo>
                  <a:pt x="445" y="1041"/>
                  <a:pt x="445" y="1041"/>
                  <a:pt x="445" y="1041"/>
                </a:cubicBezTo>
                <a:cubicBezTo>
                  <a:pt x="421" y="1029"/>
                  <a:pt x="421" y="1029"/>
                  <a:pt x="421" y="1029"/>
                </a:cubicBezTo>
                <a:cubicBezTo>
                  <a:pt x="423" y="1022"/>
                  <a:pt x="423" y="1022"/>
                  <a:pt x="423" y="1022"/>
                </a:cubicBezTo>
                <a:cubicBezTo>
                  <a:pt x="422" y="1020"/>
                  <a:pt x="422" y="1020"/>
                  <a:pt x="422" y="1020"/>
                </a:cubicBezTo>
                <a:cubicBezTo>
                  <a:pt x="411" y="1022"/>
                  <a:pt x="411" y="1022"/>
                  <a:pt x="411" y="1022"/>
                </a:cubicBezTo>
                <a:cubicBezTo>
                  <a:pt x="405" y="1018"/>
                  <a:pt x="405" y="1018"/>
                  <a:pt x="405" y="1018"/>
                </a:cubicBezTo>
                <a:cubicBezTo>
                  <a:pt x="398" y="1010"/>
                  <a:pt x="398" y="1010"/>
                  <a:pt x="398" y="1010"/>
                </a:cubicBezTo>
                <a:cubicBezTo>
                  <a:pt x="391" y="992"/>
                  <a:pt x="391" y="992"/>
                  <a:pt x="391" y="992"/>
                </a:cubicBezTo>
                <a:cubicBezTo>
                  <a:pt x="377" y="983"/>
                  <a:pt x="377" y="983"/>
                  <a:pt x="377" y="983"/>
                </a:cubicBezTo>
                <a:cubicBezTo>
                  <a:pt x="375" y="975"/>
                  <a:pt x="375" y="975"/>
                  <a:pt x="375" y="975"/>
                </a:cubicBezTo>
                <a:cubicBezTo>
                  <a:pt x="377" y="969"/>
                  <a:pt x="377" y="969"/>
                  <a:pt x="377" y="969"/>
                </a:cubicBezTo>
                <a:cubicBezTo>
                  <a:pt x="375" y="966"/>
                  <a:pt x="375" y="966"/>
                  <a:pt x="375" y="966"/>
                </a:cubicBezTo>
                <a:cubicBezTo>
                  <a:pt x="375" y="961"/>
                  <a:pt x="375" y="961"/>
                  <a:pt x="375" y="961"/>
                </a:cubicBezTo>
                <a:cubicBezTo>
                  <a:pt x="386" y="955"/>
                  <a:pt x="386" y="955"/>
                  <a:pt x="386" y="955"/>
                </a:cubicBezTo>
                <a:cubicBezTo>
                  <a:pt x="391" y="955"/>
                  <a:pt x="391" y="955"/>
                  <a:pt x="391" y="955"/>
                </a:cubicBezTo>
                <a:cubicBezTo>
                  <a:pt x="392" y="958"/>
                  <a:pt x="392" y="958"/>
                  <a:pt x="392" y="958"/>
                </a:cubicBezTo>
                <a:cubicBezTo>
                  <a:pt x="391" y="964"/>
                  <a:pt x="391" y="964"/>
                  <a:pt x="391" y="964"/>
                </a:cubicBezTo>
                <a:cubicBezTo>
                  <a:pt x="394" y="970"/>
                  <a:pt x="394" y="970"/>
                  <a:pt x="394" y="970"/>
                </a:cubicBezTo>
                <a:cubicBezTo>
                  <a:pt x="396" y="971"/>
                  <a:pt x="396" y="971"/>
                  <a:pt x="396" y="971"/>
                </a:cubicBezTo>
                <a:cubicBezTo>
                  <a:pt x="401" y="962"/>
                  <a:pt x="401" y="962"/>
                  <a:pt x="401" y="962"/>
                </a:cubicBezTo>
                <a:cubicBezTo>
                  <a:pt x="403" y="963"/>
                  <a:pt x="403" y="963"/>
                  <a:pt x="403" y="963"/>
                </a:cubicBezTo>
                <a:cubicBezTo>
                  <a:pt x="407" y="967"/>
                  <a:pt x="407" y="967"/>
                  <a:pt x="407" y="967"/>
                </a:cubicBezTo>
                <a:cubicBezTo>
                  <a:pt x="410" y="976"/>
                  <a:pt x="410" y="976"/>
                  <a:pt x="410" y="976"/>
                </a:cubicBezTo>
                <a:cubicBezTo>
                  <a:pt x="414" y="980"/>
                  <a:pt x="414" y="980"/>
                  <a:pt x="414" y="980"/>
                </a:cubicBezTo>
                <a:cubicBezTo>
                  <a:pt x="411" y="983"/>
                  <a:pt x="411" y="983"/>
                  <a:pt x="411" y="983"/>
                </a:cubicBezTo>
                <a:cubicBezTo>
                  <a:pt x="422" y="994"/>
                  <a:pt x="422" y="994"/>
                  <a:pt x="422" y="994"/>
                </a:cubicBezTo>
                <a:cubicBezTo>
                  <a:pt x="433" y="995"/>
                  <a:pt x="433" y="995"/>
                  <a:pt x="433" y="995"/>
                </a:cubicBezTo>
                <a:cubicBezTo>
                  <a:pt x="441" y="1002"/>
                  <a:pt x="441" y="1002"/>
                  <a:pt x="441" y="1002"/>
                </a:cubicBezTo>
                <a:cubicBezTo>
                  <a:pt x="435" y="1002"/>
                  <a:pt x="435" y="1002"/>
                  <a:pt x="435" y="1002"/>
                </a:cubicBezTo>
                <a:cubicBezTo>
                  <a:pt x="445" y="1006"/>
                  <a:pt x="445" y="1006"/>
                  <a:pt x="445" y="1006"/>
                </a:cubicBezTo>
                <a:cubicBezTo>
                  <a:pt x="450" y="1010"/>
                  <a:pt x="450" y="1010"/>
                  <a:pt x="450" y="1010"/>
                </a:cubicBezTo>
                <a:cubicBezTo>
                  <a:pt x="452" y="1007"/>
                  <a:pt x="452" y="1007"/>
                  <a:pt x="452" y="1007"/>
                </a:cubicBezTo>
                <a:cubicBezTo>
                  <a:pt x="450" y="1010"/>
                  <a:pt x="450" y="1010"/>
                  <a:pt x="450" y="1010"/>
                </a:cubicBezTo>
                <a:cubicBezTo>
                  <a:pt x="463" y="1022"/>
                  <a:pt x="463" y="1022"/>
                  <a:pt x="463" y="1022"/>
                </a:cubicBezTo>
                <a:cubicBezTo>
                  <a:pt x="466" y="1024"/>
                  <a:pt x="466" y="1024"/>
                  <a:pt x="466" y="1024"/>
                </a:cubicBezTo>
                <a:cubicBezTo>
                  <a:pt x="464" y="1031"/>
                  <a:pt x="464" y="1031"/>
                  <a:pt x="464" y="1031"/>
                </a:cubicBezTo>
                <a:cubicBezTo>
                  <a:pt x="465" y="1046"/>
                  <a:pt x="465" y="1046"/>
                  <a:pt x="465" y="1046"/>
                </a:cubicBezTo>
                <a:cubicBezTo>
                  <a:pt x="463" y="1046"/>
                  <a:pt x="463" y="1046"/>
                  <a:pt x="463" y="1046"/>
                </a:cubicBezTo>
                <a:cubicBezTo>
                  <a:pt x="474" y="1059"/>
                  <a:pt x="474" y="1059"/>
                  <a:pt x="474" y="1059"/>
                </a:cubicBezTo>
                <a:cubicBezTo>
                  <a:pt x="481" y="1068"/>
                  <a:pt x="481" y="1068"/>
                  <a:pt x="481" y="1068"/>
                </a:cubicBezTo>
                <a:cubicBezTo>
                  <a:pt x="486" y="1069"/>
                  <a:pt x="486" y="1069"/>
                  <a:pt x="486" y="1069"/>
                </a:cubicBezTo>
                <a:cubicBezTo>
                  <a:pt x="486" y="1071"/>
                  <a:pt x="486" y="1071"/>
                  <a:pt x="486" y="1071"/>
                </a:cubicBezTo>
                <a:cubicBezTo>
                  <a:pt x="481" y="1071"/>
                  <a:pt x="481" y="1071"/>
                  <a:pt x="481" y="1071"/>
                </a:cubicBezTo>
                <a:cubicBezTo>
                  <a:pt x="486" y="1080"/>
                  <a:pt x="486" y="1080"/>
                  <a:pt x="486" y="1080"/>
                </a:cubicBezTo>
                <a:cubicBezTo>
                  <a:pt x="505" y="1079"/>
                  <a:pt x="505" y="1079"/>
                  <a:pt x="505" y="1079"/>
                </a:cubicBezTo>
                <a:cubicBezTo>
                  <a:pt x="512" y="1082"/>
                  <a:pt x="512" y="1082"/>
                  <a:pt x="512" y="1082"/>
                </a:cubicBezTo>
                <a:cubicBezTo>
                  <a:pt x="509" y="1085"/>
                  <a:pt x="509" y="1085"/>
                  <a:pt x="509" y="1085"/>
                </a:cubicBezTo>
                <a:cubicBezTo>
                  <a:pt x="517" y="1085"/>
                  <a:pt x="517" y="1085"/>
                  <a:pt x="517" y="1085"/>
                </a:cubicBezTo>
                <a:cubicBezTo>
                  <a:pt x="523" y="1091"/>
                  <a:pt x="523" y="1091"/>
                  <a:pt x="523" y="1091"/>
                </a:cubicBezTo>
                <a:cubicBezTo>
                  <a:pt x="522" y="1082"/>
                  <a:pt x="522" y="1082"/>
                  <a:pt x="522" y="1082"/>
                </a:cubicBezTo>
                <a:cubicBezTo>
                  <a:pt x="503" y="1071"/>
                  <a:pt x="503" y="1071"/>
                  <a:pt x="503" y="1071"/>
                </a:cubicBezTo>
                <a:cubicBezTo>
                  <a:pt x="509" y="1069"/>
                  <a:pt x="509" y="1069"/>
                  <a:pt x="509" y="1069"/>
                </a:cubicBezTo>
                <a:cubicBezTo>
                  <a:pt x="509" y="1064"/>
                  <a:pt x="509" y="1064"/>
                  <a:pt x="509" y="1064"/>
                </a:cubicBezTo>
                <a:cubicBezTo>
                  <a:pt x="512" y="1066"/>
                  <a:pt x="512" y="1066"/>
                  <a:pt x="512" y="1066"/>
                </a:cubicBezTo>
                <a:cubicBezTo>
                  <a:pt x="505" y="1054"/>
                  <a:pt x="505" y="1054"/>
                  <a:pt x="505" y="1054"/>
                </a:cubicBezTo>
                <a:cubicBezTo>
                  <a:pt x="505" y="1044"/>
                  <a:pt x="505" y="1044"/>
                  <a:pt x="505" y="1044"/>
                </a:cubicBezTo>
                <a:cubicBezTo>
                  <a:pt x="509" y="1043"/>
                  <a:pt x="509" y="1043"/>
                  <a:pt x="509" y="1043"/>
                </a:cubicBezTo>
                <a:cubicBezTo>
                  <a:pt x="507" y="1046"/>
                  <a:pt x="507" y="1046"/>
                  <a:pt x="507" y="1046"/>
                </a:cubicBezTo>
                <a:cubicBezTo>
                  <a:pt x="516" y="1054"/>
                  <a:pt x="516" y="1054"/>
                  <a:pt x="516" y="1054"/>
                </a:cubicBezTo>
                <a:cubicBezTo>
                  <a:pt x="516" y="1049"/>
                  <a:pt x="516" y="1049"/>
                  <a:pt x="516" y="1049"/>
                </a:cubicBezTo>
                <a:cubicBezTo>
                  <a:pt x="522" y="1054"/>
                  <a:pt x="522" y="1054"/>
                  <a:pt x="522" y="1054"/>
                </a:cubicBezTo>
                <a:cubicBezTo>
                  <a:pt x="519" y="1047"/>
                  <a:pt x="519" y="1047"/>
                  <a:pt x="519" y="1047"/>
                </a:cubicBezTo>
                <a:cubicBezTo>
                  <a:pt x="526" y="1050"/>
                  <a:pt x="526" y="1050"/>
                  <a:pt x="526" y="1050"/>
                </a:cubicBezTo>
                <a:cubicBezTo>
                  <a:pt x="518" y="1043"/>
                  <a:pt x="518" y="1043"/>
                  <a:pt x="518" y="1043"/>
                </a:cubicBezTo>
                <a:cubicBezTo>
                  <a:pt x="528" y="1038"/>
                  <a:pt x="528" y="1038"/>
                  <a:pt x="528" y="1038"/>
                </a:cubicBezTo>
                <a:cubicBezTo>
                  <a:pt x="535" y="1037"/>
                  <a:pt x="535" y="1037"/>
                  <a:pt x="535" y="1037"/>
                </a:cubicBezTo>
                <a:cubicBezTo>
                  <a:pt x="548" y="1041"/>
                  <a:pt x="548" y="1041"/>
                  <a:pt x="548" y="1041"/>
                </a:cubicBezTo>
                <a:cubicBezTo>
                  <a:pt x="555" y="1043"/>
                  <a:pt x="555" y="1043"/>
                  <a:pt x="555" y="1043"/>
                </a:cubicBezTo>
                <a:cubicBezTo>
                  <a:pt x="551" y="1047"/>
                  <a:pt x="551" y="1047"/>
                  <a:pt x="551" y="1047"/>
                </a:cubicBezTo>
                <a:cubicBezTo>
                  <a:pt x="550" y="1052"/>
                  <a:pt x="550" y="1052"/>
                  <a:pt x="550" y="1052"/>
                </a:cubicBezTo>
                <a:cubicBezTo>
                  <a:pt x="567" y="1037"/>
                  <a:pt x="567" y="1037"/>
                  <a:pt x="567" y="1037"/>
                </a:cubicBezTo>
                <a:cubicBezTo>
                  <a:pt x="583" y="1036"/>
                  <a:pt x="583" y="1036"/>
                  <a:pt x="583" y="1036"/>
                </a:cubicBezTo>
                <a:cubicBezTo>
                  <a:pt x="586" y="1032"/>
                  <a:pt x="586" y="1032"/>
                  <a:pt x="586" y="1032"/>
                </a:cubicBezTo>
                <a:cubicBezTo>
                  <a:pt x="575" y="1027"/>
                  <a:pt x="575" y="1027"/>
                  <a:pt x="575" y="1027"/>
                </a:cubicBezTo>
                <a:cubicBezTo>
                  <a:pt x="573" y="1021"/>
                  <a:pt x="573" y="1021"/>
                  <a:pt x="573" y="1021"/>
                </a:cubicBezTo>
                <a:cubicBezTo>
                  <a:pt x="567" y="1011"/>
                  <a:pt x="567" y="1011"/>
                  <a:pt x="567" y="1011"/>
                </a:cubicBezTo>
                <a:cubicBezTo>
                  <a:pt x="571" y="1007"/>
                  <a:pt x="571" y="1007"/>
                  <a:pt x="571" y="1007"/>
                </a:cubicBezTo>
                <a:cubicBezTo>
                  <a:pt x="572" y="1001"/>
                  <a:pt x="572" y="1001"/>
                  <a:pt x="572" y="1001"/>
                </a:cubicBezTo>
                <a:cubicBezTo>
                  <a:pt x="579" y="995"/>
                  <a:pt x="579" y="995"/>
                  <a:pt x="579" y="995"/>
                </a:cubicBezTo>
                <a:cubicBezTo>
                  <a:pt x="581" y="989"/>
                  <a:pt x="581" y="989"/>
                  <a:pt x="581" y="989"/>
                </a:cubicBezTo>
                <a:cubicBezTo>
                  <a:pt x="584" y="969"/>
                  <a:pt x="584" y="969"/>
                  <a:pt x="584" y="969"/>
                </a:cubicBezTo>
                <a:cubicBezTo>
                  <a:pt x="586" y="971"/>
                  <a:pt x="586" y="971"/>
                  <a:pt x="586" y="971"/>
                </a:cubicBezTo>
                <a:cubicBezTo>
                  <a:pt x="585" y="977"/>
                  <a:pt x="585" y="977"/>
                  <a:pt x="585" y="977"/>
                </a:cubicBezTo>
                <a:cubicBezTo>
                  <a:pt x="591" y="971"/>
                  <a:pt x="591" y="971"/>
                  <a:pt x="591" y="971"/>
                </a:cubicBezTo>
                <a:cubicBezTo>
                  <a:pt x="592" y="960"/>
                  <a:pt x="592" y="960"/>
                  <a:pt x="592" y="960"/>
                </a:cubicBezTo>
                <a:cubicBezTo>
                  <a:pt x="593" y="953"/>
                  <a:pt x="593" y="953"/>
                  <a:pt x="593" y="953"/>
                </a:cubicBezTo>
                <a:cubicBezTo>
                  <a:pt x="595" y="957"/>
                  <a:pt x="595" y="957"/>
                  <a:pt x="595" y="957"/>
                </a:cubicBezTo>
                <a:cubicBezTo>
                  <a:pt x="602" y="950"/>
                  <a:pt x="602" y="950"/>
                  <a:pt x="602" y="950"/>
                </a:cubicBezTo>
                <a:cubicBezTo>
                  <a:pt x="599" y="944"/>
                  <a:pt x="599" y="944"/>
                  <a:pt x="599" y="944"/>
                </a:cubicBezTo>
                <a:cubicBezTo>
                  <a:pt x="604" y="948"/>
                  <a:pt x="604" y="948"/>
                  <a:pt x="604" y="948"/>
                </a:cubicBezTo>
                <a:cubicBezTo>
                  <a:pt x="607" y="941"/>
                  <a:pt x="607" y="941"/>
                  <a:pt x="607" y="941"/>
                </a:cubicBezTo>
                <a:cubicBezTo>
                  <a:pt x="621" y="937"/>
                  <a:pt x="621" y="937"/>
                  <a:pt x="621" y="937"/>
                </a:cubicBezTo>
                <a:cubicBezTo>
                  <a:pt x="626" y="942"/>
                  <a:pt x="626" y="942"/>
                  <a:pt x="626" y="942"/>
                </a:cubicBezTo>
                <a:cubicBezTo>
                  <a:pt x="618" y="942"/>
                  <a:pt x="618" y="942"/>
                  <a:pt x="618" y="942"/>
                </a:cubicBezTo>
                <a:cubicBezTo>
                  <a:pt x="623" y="944"/>
                  <a:pt x="623" y="944"/>
                  <a:pt x="623" y="944"/>
                </a:cubicBezTo>
                <a:cubicBezTo>
                  <a:pt x="621" y="947"/>
                  <a:pt x="621" y="947"/>
                  <a:pt x="621" y="947"/>
                </a:cubicBezTo>
                <a:cubicBezTo>
                  <a:pt x="644" y="950"/>
                  <a:pt x="644" y="950"/>
                  <a:pt x="644" y="950"/>
                </a:cubicBezTo>
                <a:cubicBezTo>
                  <a:pt x="646" y="951"/>
                  <a:pt x="646" y="951"/>
                  <a:pt x="646" y="951"/>
                </a:cubicBezTo>
                <a:cubicBezTo>
                  <a:pt x="630" y="961"/>
                  <a:pt x="630" y="961"/>
                  <a:pt x="630" y="961"/>
                </a:cubicBezTo>
                <a:cubicBezTo>
                  <a:pt x="641" y="966"/>
                  <a:pt x="641" y="966"/>
                  <a:pt x="641" y="966"/>
                </a:cubicBezTo>
                <a:cubicBezTo>
                  <a:pt x="641" y="976"/>
                  <a:pt x="641" y="976"/>
                  <a:pt x="641" y="976"/>
                </a:cubicBezTo>
                <a:cubicBezTo>
                  <a:pt x="648" y="979"/>
                  <a:pt x="648" y="979"/>
                  <a:pt x="648" y="979"/>
                </a:cubicBezTo>
                <a:cubicBezTo>
                  <a:pt x="667" y="966"/>
                  <a:pt x="667" y="966"/>
                  <a:pt x="667" y="966"/>
                </a:cubicBezTo>
                <a:cubicBezTo>
                  <a:pt x="679" y="967"/>
                  <a:pt x="679" y="967"/>
                  <a:pt x="679" y="967"/>
                </a:cubicBezTo>
                <a:cubicBezTo>
                  <a:pt x="681" y="960"/>
                  <a:pt x="681" y="960"/>
                  <a:pt x="681" y="960"/>
                </a:cubicBezTo>
                <a:cubicBezTo>
                  <a:pt x="662" y="963"/>
                  <a:pt x="662" y="963"/>
                  <a:pt x="662" y="963"/>
                </a:cubicBezTo>
                <a:cubicBezTo>
                  <a:pt x="659" y="957"/>
                  <a:pt x="659" y="957"/>
                  <a:pt x="659" y="957"/>
                </a:cubicBezTo>
                <a:cubicBezTo>
                  <a:pt x="654" y="955"/>
                  <a:pt x="654" y="955"/>
                  <a:pt x="654" y="955"/>
                </a:cubicBezTo>
                <a:cubicBezTo>
                  <a:pt x="655" y="951"/>
                  <a:pt x="655" y="951"/>
                  <a:pt x="655" y="951"/>
                </a:cubicBezTo>
                <a:cubicBezTo>
                  <a:pt x="650" y="952"/>
                  <a:pt x="650" y="952"/>
                  <a:pt x="650" y="952"/>
                </a:cubicBezTo>
                <a:cubicBezTo>
                  <a:pt x="645" y="947"/>
                  <a:pt x="645" y="947"/>
                  <a:pt x="645" y="947"/>
                </a:cubicBezTo>
                <a:cubicBezTo>
                  <a:pt x="649" y="948"/>
                  <a:pt x="649" y="948"/>
                  <a:pt x="649" y="948"/>
                </a:cubicBezTo>
                <a:cubicBezTo>
                  <a:pt x="649" y="944"/>
                  <a:pt x="649" y="944"/>
                  <a:pt x="649" y="944"/>
                </a:cubicBezTo>
                <a:cubicBezTo>
                  <a:pt x="654" y="951"/>
                  <a:pt x="654" y="951"/>
                  <a:pt x="654" y="951"/>
                </a:cubicBezTo>
                <a:cubicBezTo>
                  <a:pt x="656" y="948"/>
                  <a:pt x="656" y="948"/>
                  <a:pt x="656" y="948"/>
                </a:cubicBezTo>
                <a:cubicBezTo>
                  <a:pt x="659" y="951"/>
                  <a:pt x="659" y="951"/>
                  <a:pt x="659" y="951"/>
                </a:cubicBezTo>
                <a:cubicBezTo>
                  <a:pt x="659" y="948"/>
                  <a:pt x="659" y="948"/>
                  <a:pt x="659" y="948"/>
                </a:cubicBezTo>
                <a:cubicBezTo>
                  <a:pt x="662" y="942"/>
                  <a:pt x="662" y="942"/>
                  <a:pt x="662" y="942"/>
                </a:cubicBezTo>
                <a:cubicBezTo>
                  <a:pt x="665" y="945"/>
                  <a:pt x="665" y="945"/>
                  <a:pt x="665" y="945"/>
                </a:cubicBezTo>
                <a:cubicBezTo>
                  <a:pt x="671" y="939"/>
                  <a:pt x="671" y="939"/>
                  <a:pt x="671" y="939"/>
                </a:cubicBezTo>
                <a:cubicBezTo>
                  <a:pt x="702" y="930"/>
                  <a:pt x="702" y="930"/>
                  <a:pt x="702" y="930"/>
                </a:cubicBezTo>
                <a:cubicBezTo>
                  <a:pt x="713" y="928"/>
                  <a:pt x="713" y="928"/>
                  <a:pt x="713" y="928"/>
                </a:cubicBezTo>
                <a:cubicBezTo>
                  <a:pt x="715" y="931"/>
                  <a:pt x="715" y="931"/>
                  <a:pt x="715" y="931"/>
                </a:cubicBezTo>
                <a:cubicBezTo>
                  <a:pt x="704" y="935"/>
                  <a:pt x="704" y="935"/>
                  <a:pt x="704" y="935"/>
                </a:cubicBezTo>
                <a:cubicBezTo>
                  <a:pt x="704" y="937"/>
                  <a:pt x="704" y="937"/>
                  <a:pt x="704" y="937"/>
                </a:cubicBezTo>
                <a:cubicBezTo>
                  <a:pt x="696" y="938"/>
                  <a:pt x="696" y="938"/>
                  <a:pt x="696" y="938"/>
                </a:cubicBezTo>
                <a:cubicBezTo>
                  <a:pt x="695" y="941"/>
                  <a:pt x="695" y="941"/>
                  <a:pt x="695" y="941"/>
                </a:cubicBezTo>
                <a:cubicBezTo>
                  <a:pt x="704" y="948"/>
                  <a:pt x="704" y="948"/>
                  <a:pt x="704" y="948"/>
                </a:cubicBezTo>
                <a:cubicBezTo>
                  <a:pt x="697" y="950"/>
                  <a:pt x="697" y="950"/>
                  <a:pt x="697" y="950"/>
                </a:cubicBezTo>
                <a:cubicBezTo>
                  <a:pt x="691" y="961"/>
                  <a:pt x="691" y="961"/>
                  <a:pt x="691" y="961"/>
                </a:cubicBezTo>
                <a:cubicBezTo>
                  <a:pt x="684" y="961"/>
                  <a:pt x="684" y="961"/>
                  <a:pt x="684" y="961"/>
                </a:cubicBezTo>
                <a:cubicBezTo>
                  <a:pt x="681" y="964"/>
                  <a:pt x="681" y="964"/>
                  <a:pt x="681" y="964"/>
                </a:cubicBezTo>
                <a:cubicBezTo>
                  <a:pt x="690" y="974"/>
                  <a:pt x="690" y="974"/>
                  <a:pt x="690" y="974"/>
                </a:cubicBezTo>
                <a:cubicBezTo>
                  <a:pt x="693" y="973"/>
                  <a:pt x="693" y="973"/>
                  <a:pt x="693" y="973"/>
                </a:cubicBezTo>
                <a:cubicBezTo>
                  <a:pt x="707" y="982"/>
                  <a:pt x="707" y="982"/>
                  <a:pt x="707" y="982"/>
                </a:cubicBezTo>
                <a:cubicBezTo>
                  <a:pt x="721" y="994"/>
                  <a:pt x="721" y="994"/>
                  <a:pt x="721" y="994"/>
                </a:cubicBezTo>
                <a:cubicBezTo>
                  <a:pt x="727" y="999"/>
                  <a:pt x="727" y="999"/>
                  <a:pt x="727" y="999"/>
                </a:cubicBezTo>
                <a:cubicBezTo>
                  <a:pt x="739" y="1007"/>
                  <a:pt x="739" y="1007"/>
                  <a:pt x="739" y="1007"/>
                </a:cubicBezTo>
                <a:cubicBezTo>
                  <a:pt x="744" y="1020"/>
                  <a:pt x="744" y="1020"/>
                  <a:pt x="744" y="1020"/>
                </a:cubicBezTo>
                <a:cubicBezTo>
                  <a:pt x="744" y="1025"/>
                  <a:pt x="744" y="1025"/>
                  <a:pt x="744" y="1025"/>
                </a:cubicBezTo>
                <a:cubicBezTo>
                  <a:pt x="742" y="1027"/>
                  <a:pt x="742" y="1027"/>
                  <a:pt x="742" y="1027"/>
                </a:cubicBezTo>
                <a:cubicBezTo>
                  <a:pt x="728" y="1037"/>
                  <a:pt x="728" y="1037"/>
                  <a:pt x="728" y="1037"/>
                </a:cubicBezTo>
                <a:cubicBezTo>
                  <a:pt x="715" y="1035"/>
                  <a:pt x="715" y="1035"/>
                  <a:pt x="715" y="1035"/>
                </a:cubicBezTo>
                <a:cubicBezTo>
                  <a:pt x="699" y="1039"/>
                  <a:pt x="699" y="1039"/>
                  <a:pt x="699" y="1039"/>
                </a:cubicBezTo>
                <a:cubicBezTo>
                  <a:pt x="678" y="1032"/>
                  <a:pt x="678" y="1032"/>
                  <a:pt x="678" y="1032"/>
                </a:cubicBezTo>
                <a:cubicBezTo>
                  <a:pt x="674" y="1025"/>
                  <a:pt x="674" y="1025"/>
                  <a:pt x="674" y="1025"/>
                </a:cubicBezTo>
                <a:cubicBezTo>
                  <a:pt x="669" y="1026"/>
                  <a:pt x="669" y="1026"/>
                  <a:pt x="669" y="1026"/>
                </a:cubicBezTo>
                <a:cubicBezTo>
                  <a:pt x="662" y="1020"/>
                  <a:pt x="662" y="1020"/>
                  <a:pt x="662" y="1020"/>
                </a:cubicBezTo>
                <a:cubicBezTo>
                  <a:pt x="640" y="1020"/>
                  <a:pt x="640" y="1020"/>
                  <a:pt x="640" y="1020"/>
                </a:cubicBezTo>
                <a:cubicBezTo>
                  <a:pt x="627" y="1025"/>
                  <a:pt x="627" y="1025"/>
                  <a:pt x="627" y="1025"/>
                </a:cubicBezTo>
                <a:cubicBezTo>
                  <a:pt x="612" y="1037"/>
                  <a:pt x="612" y="1037"/>
                  <a:pt x="612" y="1037"/>
                </a:cubicBezTo>
                <a:cubicBezTo>
                  <a:pt x="588" y="1033"/>
                  <a:pt x="588" y="1033"/>
                  <a:pt x="588" y="1033"/>
                </a:cubicBezTo>
                <a:cubicBezTo>
                  <a:pt x="586" y="1037"/>
                  <a:pt x="586" y="1037"/>
                  <a:pt x="586" y="1037"/>
                </a:cubicBezTo>
                <a:cubicBezTo>
                  <a:pt x="588" y="1039"/>
                  <a:pt x="588" y="1039"/>
                  <a:pt x="588" y="1039"/>
                </a:cubicBezTo>
                <a:cubicBezTo>
                  <a:pt x="596" y="1041"/>
                  <a:pt x="596" y="1041"/>
                  <a:pt x="596" y="1041"/>
                </a:cubicBezTo>
                <a:cubicBezTo>
                  <a:pt x="586" y="1043"/>
                  <a:pt x="586" y="1043"/>
                  <a:pt x="586" y="1043"/>
                </a:cubicBezTo>
                <a:cubicBezTo>
                  <a:pt x="583" y="1043"/>
                  <a:pt x="583" y="1043"/>
                  <a:pt x="583" y="1043"/>
                </a:cubicBezTo>
                <a:cubicBezTo>
                  <a:pt x="586" y="1047"/>
                  <a:pt x="586" y="1047"/>
                  <a:pt x="586" y="1047"/>
                </a:cubicBezTo>
                <a:cubicBezTo>
                  <a:pt x="583" y="1047"/>
                  <a:pt x="583" y="1047"/>
                  <a:pt x="583" y="1047"/>
                </a:cubicBezTo>
                <a:cubicBezTo>
                  <a:pt x="569" y="1045"/>
                  <a:pt x="569" y="1045"/>
                  <a:pt x="569" y="1045"/>
                </a:cubicBezTo>
                <a:cubicBezTo>
                  <a:pt x="570" y="1048"/>
                  <a:pt x="570" y="1048"/>
                  <a:pt x="570" y="1048"/>
                </a:cubicBezTo>
                <a:cubicBezTo>
                  <a:pt x="557" y="1049"/>
                  <a:pt x="557" y="1049"/>
                  <a:pt x="557" y="1049"/>
                </a:cubicBezTo>
                <a:cubicBezTo>
                  <a:pt x="552" y="1053"/>
                  <a:pt x="552" y="1053"/>
                  <a:pt x="552" y="1053"/>
                </a:cubicBezTo>
                <a:cubicBezTo>
                  <a:pt x="549" y="1062"/>
                  <a:pt x="549" y="1062"/>
                  <a:pt x="549" y="1062"/>
                </a:cubicBezTo>
                <a:cubicBezTo>
                  <a:pt x="558" y="1061"/>
                  <a:pt x="558" y="1061"/>
                  <a:pt x="558" y="1061"/>
                </a:cubicBezTo>
                <a:cubicBezTo>
                  <a:pt x="556" y="1066"/>
                  <a:pt x="556" y="1066"/>
                  <a:pt x="556" y="1066"/>
                </a:cubicBezTo>
                <a:cubicBezTo>
                  <a:pt x="560" y="1072"/>
                  <a:pt x="560" y="1072"/>
                  <a:pt x="560" y="1072"/>
                </a:cubicBezTo>
                <a:cubicBezTo>
                  <a:pt x="557" y="1075"/>
                  <a:pt x="557" y="1075"/>
                  <a:pt x="557" y="1075"/>
                </a:cubicBezTo>
                <a:cubicBezTo>
                  <a:pt x="562" y="1079"/>
                  <a:pt x="562" y="1079"/>
                  <a:pt x="562" y="1079"/>
                </a:cubicBezTo>
                <a:cubicBezTo>
                  <a:pt x="556" y="1079"/>
                  <a:pt x="556" y="1079"/>
                  <a:pt x="556" y="1079"/>
                </a:cubicBezTo>
                <a:cubicBezTo>
                  <a:pt x="553" y="1075"/>
                  <a:pt x="553" y="1075"/>
                  <a:pt x="553" y="1075"/>
                </a:cubicBezTo>
                <a:cubicBezTo>
                  <a:pt x="551" y="1082"/>
                  <a:pt x="551" y="1082"/>
                  <a:pt x="551" y="1082"/>
                </a:cubicBezTo>
                <a:cubicBezTo>
                  <a:pt x="562" y="1085"/>
                  <a:pt x="562" y="1085"/>
                  <a:pt x="562" y="1085"/>
                </a:cubicBezTo>
                <a:cubicBezTo>
                  <a:pt x="561" y="1091"/>
                  <a:pt x="561" y="1091"/>
                  <a:pt x="561" y="1091"/>
                </a:cubicBezTo>
                <a:cubicBezTo>
                  <a:pt x="565" y="1092"/>
                  <a:pt x="565" y="1092"/>
                  <a:pt x="565" y="1092"/>
                </a:cubicBezTo>
                <a:cubicBezTo>
                  <a:pt x="563" y="1095"/>
                  <a:pt x="563" y="1095"/>
                  <a:pt x="563" y="1095"/>
                </a:cubicBezTo>
                <a:cubicBezTo>
                  <a:pt x="567" y="1098"/>
                  <a:pt x="567" y="1098"/>
                  <a:pt x="567" y="1098"/>
                </a:cubicBezTo>
                <a:cubicBezTo>
                  <a:pt x="565" y="1101"/>
                  <a:pt x="565" y="1101"/>
                  <a:pt x="565" y="1101"/>
                </a:cubicBezTo>
                <a:cubicBezTo>
                  <a:pt x="577" y="1101"/>
                  <a:pt x="577" y="1101"/>
                  <a:pt x="577" y="1101"/>
                </a:cubicBezTo>
                <a:cubicBezTo>
                  <a:pt x="566" y="1107"/>
                  <a:pt x="566" y="1107"/>
                  <a:pt x="566" y="1107"/>
                </a:cubicBezTo>
                <a:cubicBezTo>
                  <a:pt x="574" y="1105"/>
                  <a:pt x="574" y="1105"/>
                  <a:pt x="574" y="1105"/>
                </a:cubicBezTo>
                <a:cubicBezTo>
                  <a:pt x="574" y="1108"/>
                  <a:pt x="574" y="1108"/>
                  <a:pt x="574" y="1108"/>
                </a:cubicBezTo>
                <a:cubicBezTo>
                  <a:pt x="580" y="1105"/>
                  <a:pt x="580" y="1105"/>
                  <a:pt x="580" y="1105"/>
                </a:cubicBezTo>
                <a:cubicBezTo>
                  <a:pt x="583" y="1108"/>
                  <a:pt x="583" y="1108"/>
                  <a:pt x="583" y="1108"/>
                </a:cubicBezTo>
                <a:cubicBezTo>
                  <a:pt x="586" y="1106"/>
                  <a:pt x="586" y="1106"/>
                  <a:pt x="586" y="1106"/>
                </a:cubicBezTo>
                <a:cubicBezTo>
                  <a:pt x="589" y="1113"/>
                  <a:pt x="589" y="1113"/>
                  <a:pt x="589" y="1113"/>
                </a:cubicBezTo>
                <a:cubicBezTo>
                  <a:pt x="596" y="1115"/>
                  <a:pt x="596" y="1115"/>
                  <a:pt x="596" y="1115"/>
                </a:cubicBezTo>
                <a:cubicBezTo>
                  <a:pt x="604" y="1113"/>
                  <a:pt x="604" y="1113"/>
                  <a:pt x="604" y="1113"/>
                </a:cubicBezTo>
                <a:cubicBezTo>
                  <a:pt x="605" y="1104"/>
                  <a:pt x="605" y="1104"/>
                  <a:pt x="605" y="1104"/>
                </a:cubicBezTo>
                <a:cubicBezTo>
                  <a:pt x="609" y="1103"/>
                  <a:pt x="609" y="1103"/>
                  <a:pt x="609" y="1103"/>
                </a:cubicBezTo>
                <a:cubicBezTo>
                  <a:pt x="634" y="1117"/>
                  <a:pt x="634" y="1117"/>
                  <a:pt x="634" y="1117"/>
                </a:cubicBezTo>
                <a:cubicBezTo>
                  <a:pt x="649" y="1112"/>
                  <a:pt x="649" y="1112"/>
                  <a:pt x="649" y="1112"/>
                </a:cubicBezTo>
                <a:cubicBezTo>
                  <a:pt x="654" y="1106"/>
                  <a:pt x="654" y="1106"/>
                  <a:pt x="654" y="1106"/>
                </a:cubicBezTo>
                <a:cubicBezTo>
                  <a:pt x="659" y="1105"/>
                  <a:pt x="659" y="1105"/>
                  <a:pt x="659" y="1105"/>
                </a:cubicBezTo>
                <a:cubicBezTo>
                  <a:pt x="667" y="1109"/>
                  <a:pt x="667" y="1109"/>
                  <a:pt x="667" y="1109"/>
                </a:cubicBezTo>
                <a:cubicBezTo>
                  <a:pt x="673" y="1104"/>
                  <a:pt x="673" y="1104"/>
                  <a:pt x="673" y="1104"/>
                </a:cubicBezTo>
                <a:cubicBezTo>
                  <a:pt x="676" y="1106"/>
                  <a:pt x="676" y="1106"/>
                  <a:pt x="676" y="1106"/>
                </a:cubicBezTo>
                <a:cubicBezTo>
                  <a:pt x="672" y="1110"/>
                  <a:pt x="672" y="1110"/>
                  <a:pt x="672" y="1110"/>
                </a:cubicBezTo>
                <a:cubicBezTo>
                  <a:pt x="672" y="1117"/>
                  <a:pt x="672" y="1117"/>
                  <a:pt x="672" y="1117"/>
                </a:cubicBezTo>
                <a:cubicBezTo>
                  <a:pt x="672" y="1121"/>
                  <a:pt x="672" y="1121"/>
                  <a:pt x="672" y="1121"/>
                </a:cubicBezTo>
                <a:cubicBezTo>
                  <a:pt x="672" y="1137"/>
                  <a:pt x="672" y="1137"/>
                  <a:pt x="672" y="1137"/>
                </a:cubicBezTo>
                <a:cubicBezTo>
                  <a:pt x="660" y="1161"/>
                  <a:pt x="660" y="1161"/>
                  <a:pt x="660" y="1161"/>
                </a:cubicBezTo>
                <a:cubicBezTo>
                  <a:pt x="653" y="1183"/>
                  <a:pt x="653" y="1183"/>
                  <a:pt x="653" y="1183"/>
                </a:cubicBezTo>
                <a:cubicBezTo>
                  <a:pt x="649" y="1189"/>
                  <a:pt x="649" y="1189"/>
                  <a:pt x="649" y="1189"/>
                </a:cubicBezTo>
                <a:cubicBezTo>
                  <a:pt x="637" y="1193"/>
                  <a:pt x="637" y="1193"/>
                  <a:pt x="637" y="1193"/>
                </a:cubicBezTo>
                <a:cubicBezTo>
                  <a:pt x="630" y="1193"/>
                  <a:pt x="630" y="1193"/>
                  <a:pt x="630" y="1193"/>
                </a:cubicBezTo>
                <a:cubicBezTo>
                  <a:pt x="625" y="1189"/>
                  <a:pt x="625" y="1189"/>
                  <a:pt x="625" y="1189"/>
                </a:cubicBezTo>
                <a:cubicBezTo>
                  <a:pt x="625" y="1190"/>
                  <a:pt x="625" y="1190"/>
                  <a:pt x="625" y="1190"/>
                </a:cubicBezTo>
                <a:cubicBezTo>
                  <a:pt x="625" y="1193"/>
                  <a:pt x="625" y="1193"/>
                  <a:pt x="625" y="1193"/>
                </a:cubicBezTo>
                <a:cubicBezTo>
                  <a:pt x="623" y="1193"/>
                  <a:pt x="623" y="1193"/>
                  <a:pt x="623" y="1193"/>
                </a:cubicBezTo>
                <a:cubicBezTo>
                  <a:pt x="623" y="1190"/>
                  <a:pt x="623" y="1190"/>
                  <a:pt x="623" y="1190"/>
                </a:cubicBezTo>
                <a:cubicBezTo>
                  <a:pt x="620" y="1188"/>
                  <a:pt x="620" y="1188"/>
                  <a:pt x="620" y="1188"/>
                </a:cubicBezTo>
                <a:cubicBezTo>
                  <a:pt x="621" y="1187"/>
                  <a:pt x="621" y="1187"/>
                  <a:pt x="621" y="1187"/>
                </a:cubicBezTo>
                <a:cubicBezTo>
                  <a:pt x="625" y="1190"/>
                  <a:pt x="625" y="1190"/>
                  <a:pt x="625" y="1190"/>
                </a:cubicBezTo>
                <a:cubicBezTo>
                  <a:pt x="621" y="1186"/>
                  <a:pt x="621" y="1186"/>
                  <a:pt x="621" y="1186"/>
                </a:cubicBezTo>
                <a:cubicBezTo>
                  <a:pt x="611" y="1186"/>
                  <a:pt x="611" y="1186"/>
                  <a:pt x="611" y="1186"/>
                </a:cubicBezTo>
                <a:cubicBezTo>
                  <a:pt x="604" y="1188"/>
                  <a:pt x="604" y="1188"/>
                  <a:pt x="604" y="1188"/>
                </a:cubicBezTo>
                <a:cubicBezTo>
                  <a:pt x="607" y="1186"/>
                  <a:pt x="607" y="1186"/>
                  <a:pt x="607" y="1186"/>
                </a:cubicBezTo>
                <a:cubicBezTo>
                  <a:pt x="584" y="1196"/>
                  <a:pt x="584" y="1196"/>
                  <a:pt x="584" y="1196"/>
                </a:cubicBezTo>
                <a:cubicBezTo>
                  <a:pt x="558" y="1187"/>
                  <a:pt x="558" y="1187"/>
                  <a:pt x="558" y="1187"/>
                </a:cubicBezTo>
                <a:cubicBezTo>
                  <a:pt x="535" y="1184"/>
                  <a:pt x="535" y="1184"/>
                  <a:pt x="535" y="1184"/>
                </a:cubicBezTo>
                <a:cubicBezTo>
                  <a:pt x="532" y="1180"/>
                  <a:pt x="532" y="1180"/>
                  <a:pt x="532" y="1180"/>
                </a:cubicBezTo>
                <a:cubicBezTo>
                  <a:pt x="511" y="1175"/>
                  <a:pt x="511" y="1175"/>
                  <a:pt x="511" y="1175"/>
                </a:cubicBezTo>
                <a:cubicBezTo>
                  <a:pt x="507" y="1168"/>
                  <a:pt x="507" y="1168"/>
                  <a:pt x="507" y="1168"/>
                </a:cubicBezTo>
                <a:cubicBezTo>
                  <a:pt x="496" y="1165"/>
                  <a:pt x="496" y="1165"/>
                  <a:pt x="496" y="1165"/>
                </a:cubicBezTo>
                <a:cubicBezTo>
                  <a:pt x="483" y="1167"/>
                  <a:pt x="483" y="1167"/>
                  <a:pt x="483" y="1167"/>
                </a:cubicBezTo>
                <a:cubicBezTo>
                  <a:pt x="470" y="1178"/>
                  <a:pt x="470" y="1178"/>
                  <a:pt x="470" y="1178"/>
                </a:cubicBezTo>
                <a:cubicBezTo>
                  <a:pt x="469" y="1184"/>
                  <a:pt x="469" y="1184"/>
                  <a:pt x="469" y="1184"/>
                </a:cubicBezTo>
                <a:cubicBezTo>
                  <a:pt x="472" y="1192"/>
                  <a:pt x="472" y="1192"/>
                  <a:pt x="472" y="1192"/>
                </a:cubicBezTo>
                <a:cubicBezTo>
                  <a:pt x="468" y="1198"/>
                  <a:pt x="468" y="1198"/>
                  <a:pt x="468" y="1198"/>
                </a:cubicBezTo>
                <a:cubicBezTo>
                  <a:pt x="456" y="1203"/>
                  <a:pt x="456" y="1203"/>
                  <a:pt x="456" y="1203"/>
                </a:cubicBezTo>
                <a:cubicBezTo>
                  <a:pt x="441" y="1194"/>
                  <a:pt x="441" y="1194"/>
                  <a:pt x="441" y="1194"/>
                </a:cubicBezTo>
                <a:cubicBezTo>
                  <a:pt x="417" y="1188"/>
                  <a:pt x="417" y="1188"/>
                  <a:pt x="417" y="1188"/>
                </a:cubicBezTo>
                <a:cubicBezTo>
                  <a:pt x="410" y="1174"/>
                  <a:pt x="410" y="1174"/>
                  <a:pt x="410" y="1174"/>
                </a:cubicBezTo>
                <a:cubicBezTo>
                  <a:pt x="393" y="1167"/>
                  <a:pt x="393" y="1167"/>
                  <a:pt x="393" y="1167"/>
                </a:cubicBezTo>
                <a:cubicBezTo>
                  <a:pt x="375" y="1167"/>
                  <a:pt x="375" y="1167"/>
                  <a:pt x="375" y="1167"/>
                </a:cubicBezTo>
                <a:cubicBezTo>
                  <a:pt x="363" y="1161"/>
                  <a:pt x="363" y="1161"/>
                  <a:pt x="363" y="1161"/>
                </a:cubicBezTo>
                <a:cubicBezTo>
                  <a:pt x="359" y="1161"/>
                  <a:pt x="359" y="1161"/>
                  <a:pt x="359" y="1161"/>
                </a:cubicBezTo>
                <a:cubicBezTo>
                  <a:pt x="357" y="1155"/>
                  <a:pt x="357" y="1155"/>
                  <a:pt x="357" y="1155"/>
                </a:cubicBezTo>
                <a:cubicBezTo>
                  <a:pt x="354" y="1156"/>
                  <a:pt x="354" y="1156"/>
                  <a:pt x="354" y="1156"/>
                </a:cubicBezTo>
                <a:cubicBezTo>
                  <a:pt x="348" y="1154"/>
                  <a:pt x="348" y="1154"/>
                  <a:pt x="348" y="1154"/>
                </a:cubicBezTo>
                <a:cubicBezTo>
                  <a:pt x="344" y="1149"/>
                  <a:pt x="344" y="1149"/>
                  <a:pt x="344" y="1149"/>
                </a:cubicBezTo>
                <a:cubicBezTo>
                  <a:pt x="344" y="1147"/>
                  <a:pt x="344" y="1147"/>
                  <a:pt x="344" y="1147"/>
                </a:cubicBezTo>
                <a:cubicBezTo>
                  <a:pt x="347" y="1148"/>
                  <a:pt x="347" y="1148"/>
                  <a:pt x="347" y="1148"/>
                </a:cubicBezTo>
                <a:cubicBezTo>
                  <a:pt x="348" y="1143"/>
                  <a:pt x="348" y="1143"/>
                  <a:pt x="348" y="1143"/>
                </a:cubicBezTo>
                <a:cubicBezTo>
                  <a:pt x="357" y="1136"/>
                  <a:pt x="357" y="1136"/>
                  <a:pt x="357" y="1136"/>
                </a:cubicBezTo>
                <a:cubicBezTo>
                  <a:pt x="360" y="1129"/>
                  <a:pt x="360" y="1129"/>
                  <a:pt x="360" y="1129"/>
                </a:cubicBezTo>
                <a:cubicBezTo>
                  <a:pt x="359" y="1124"/>
                  <a:pt x="359" y="1124"/>
                  <a:pt x="359" y="1124"/>
                </a:cubicBezTo>
                <a:cubicBezTo>
                  <a:pt x="354" y="1121"/>
                  <a:pt x="354" y="1121"/>
                  <a:pt x="354" y="1121"/>
                </a:cubicBezTo>
                <a:cubicBezTo>
                  <a:pt x="352" y="1116"/>
                  <a:pt x="352" y="1116"/>
                  <a:pt x="352" y="1116"/>
                </a:cubicBezTo>
                <a:cubicBezTo>
                  <a:pt x="360" y="1105"/>
                  <a:pt x="360" y="1105"/>
                  <a:pt x="360" y="1105"/>
                </a:cubicBezTo>
                <a:cubicBezTo>
                  <a:pt x="359" y="1101"/>
                  <a:pt x="359" y="1101"/>
                  <a:pt x="359" y="1101"/>
                </a:cubicBezTo>
                <a:cubicBezTo>
                  <a:pt x="352" y="1106"/>
                  <a:pt x="352" y="1106"/>
                  <a:pt x="352" y="1106"/>
                </a:cubicBezTo>
                <a:cubicBezTo>
                  <a:pt x="350" y="1105"/>
                  <a:pt x="350" y="1105"/>
                  <a:pt x="350" y="1105"/>
                </a:cubicBezTo>
                <a:cubicBezTo>
                  <a:pt x="349" y="1099"/>
                  <a:pt x="349" y="1099"/>
                  <a:pt x="349" y="1099"/>
                </a:cubicBezTo>
                <a:cubicBezTo>
                  <a:pt x="341" y="1098"/>
                  <a:pt x="341" y="1098"/>
                  <a:pt x="341" y="1098"/>
                </a:cubicBezTo>
                <a:cubicBezTo>
                  <a:pt x="330" y="1103"/>
                  <a:pt x="330" y="1103"/>
                  <a:pt x="330" y="1103"/>
                </a:cubicBezTo>
                <a:cubicBezTo>
                  <a:pt x="320" y="1105"/>
                  <a:pt x="320" y="1105"/>
                  <a:pt x="320" y="1105"/>
                </a:cubicBezTo>
                <a:cubicBezTo>
                  <a:pt x="312" y="1101"/>
                  <a:pt x="312" y="1101"/>
                  <a:pt x="312" y="1101"/>
                </a:cubicBezTo>
                <a:cubicBezTo>
                  <a:pt x="308" y="1104"/>
                  <a:pt x="308" y="1104"/>
                  <a:pt x="308" y="1104"/>
                </a:cubicBezTo>
                <a:cubicBezTo>
                  <a:pt x="301" y="1101"/>
                  <a:pt x="301" y="1101"/>
                  <a:pt x="301" y="1101"/>
                </a:cubicBezTo>
                <a:cubicBezTo>
                  <a:pt x="288" y="1107"/>
                  <a:pt x="288" y="1107"/>
                  <a:pt x="288" y="1107"/>
                </a:cubicBezTo>
                <a:cubicBezTo>
                  <a:pt x="283" y="1105"/>
                  <a:pt x="283" y="1105"/>
                  <a:pt x="283" y="1105"/>
                </a:cubicBezTo>
                <a:cubicBezTo>
                  <a:pt x="271" y="1104"/>
                  <a:pt x="271" y="1104"/>
                  <a:pt x="271" y="1104"/>
                </a:cubicBezTo>
                <a:cubicBezTo>
                  <a:pt x="238" y="1110"/>
                  <a:pt x="238" y="1110"/>
                  <a:pt x="238" y="1110"/>
                </a:cubicBezTo>
                <a:cubicBezTo>
                  <a:pt x="225" y="1116"/>
                  <a:pt x="225" y="1116"/>
                  <a:pt x="225" y="1116"/>
                </a:cubicBezTo>
                <a:cubicBezTo>
                  <a:pt x="222" y="1120"/>
                  <a:pt x="222" y="1120"/>
                  <a:pt x="222" y="1120"/>
                </a:cubicBezTo>
                <a:cubicBezTo>
                  <a:pt x="211" y="1122"/>
                  <a:pt x="211" y="1122"/>
                  <a:pt x="211" y="1122"/>
                </a:cubicBezTo>
                <a:cubicBezTo>
                  <a:pt x="205" y="1129"/>
                  <a:pt x="205" y="1129"/>
                  <a:pt x="205" y="1129"/>
                </a:cubicBezTo>
                <a:cubicBezTo>
                  <a:pt x="196" y="1132"/>
                  <a:pt x="196" y="1132"/>
                  <a:pt x="196" y="1132"/>
                </a:cubicBezTo>
                <a:cubicBezTo>
                  <a:pt x="183" y="1129"/>
                  <a:pt x="183" y="1129"/>
                  <a:pt x="183" y="1129"/>
                </a:cubicBezTo>
                <a:cubicBezTo>
                  <a:pt x="167" y="1131"/>
                  <a:pt x="167" y="1131"/>
                  <a:pt x="167" y="1131"/>
                </a:cubicBezTo>
                <a:cubicBezTo>
                  <a:pt x="159" y="1127"/>
                  <a:pt x="159" y="1127"/>
                  <a:pt x="159" y="1127"/>
                </a:cubicBezTo>
                <a:cubicBezTo>
                  <a:pt x="154" y="1120"/>
                  <a:pt x="154" y="1120"/>
                  <a:pt x="154" y="1120"/>
                </a:cubicBezTo>
                <a:cubicBezTo>
                  <a:pt x="148" y="1122"/>
                  <a:pt x="148" y="1122"/>
                  <a:pt x="148" y="1122"/>
                </a:cubicBezTo>
                <a:cubicBezTo>
                  <a:pt x="137" y="1147"/>
                  <a:pt x="137" y="1147"/>
                  <a:pt x="137" y="1147"/>
                </a:cubicBezTo>
                <a:cubicBezTo>
                  <a:pt x="116" y="1160"/>
                  <a:pt x="116" y="1160"/>
                  <a:pt x="116" y="1160"/>
                </a:cubicBezTo>
                <a:cubicBezTo>
                  <a:pt x="107" y="1171"/>
                  <a:pt x="107" y="1171"/>
                  <a:pt x="107" y="1171"/>
                </a:cubicBezTo>
                <a:cubicBezTo>
                  <a:pt x="105" y="1178"/>
                  <a:pt x="105" y="1178"/>
                  <a:pt x="105" y="1178"/>
                </a:cubicBezTo>
                <a:cubicBezTo>
                  <a:pt x="98" y="1188"/>
                  <a:pt x="98" y="1188"/>
                  <a:pt x="98" y="1188"/>
                </a:cubicBezTo>
                <a:cubicBezTo>
                  <a:pt x="97" y="1198"/>
                  <a:pt x="97" y="1198"/>
                  <a:pt x="97" y="1198"/>
                </a:cubicBezTo>
                <a:cubicBezTo>
                  <a:pt x="99" y="1207"/>
                  <a:pt x="99" y="1207"/>
                  <a:pt x="99" y="1207"/>
                </a:cubicBezTo>
                <a:cubicBezTo>
                  <a:pt x="95" y="1214"/>
                  <a:pt x="95" y="1214"/>
                  <a:pt x="95" y="1214"/>
                </a:cubicBezTo>
                <a:cubicBezTo>
                  <a:pt x="92" y="1219"/>
                  <a:pt x="92" y="1219"/>
                  <a:pt x="92" y="1219"/>
                </a:cubicBezTo>
                <a:cubicBezTo>
                  <a:pt x="75" y="1233"/>
                  <a:pt x="75" y="1233"/>
                  <a:pt x="75" y="1233"/>
                </a:cubicBezTo>
                <a:cubicBezTo>
                  <a:pt x="59" y="1238"/>
                  <a:pt x="59" y="1238"/>
                  <a:pt x="59" y="1238"/>
                </a:cubicBezTo>
                <a:cubicBezTo>
                  <a:pt x="58" y="1240"/>
                  <a:pt x="58" y="1240"/>
                  <a:pt x="58" y="1240"/>
                </a:cubicBezTo>
                <a:cubicBezTo>
                  <a:pt x="52" y="1253"/>
                  <a:pt x="52" y="1253"/>
                  <a:pt x="52" y="1253"/>
                </a:cubicBezTo>
                <a:cubicBezTo>
                  <a:pt x="40" y="1263"/>
                  <a:pt x="40" y="1263"/>
                  <a:pt x="40" y="1263"/>
                </a:cubicBezTo>
                <a:cubicBezTo>
                  <a:pt x="35" y="1277"/>
                  <a:pt x="35" y="1277"/>
                  <a:pt x="35" y="1277"/>
                </a:cubicBezTo>
                <a:cubicBezTo>
                  <a:pt x="24" y="1293"/>
                  <a:pt x="24" y="1293"/>
                  <a:pt x="24" y="1293"/>
                </a:cubicBezTo>
                <a:cubicBezTo>
                  <a:pt x="14" y="1314"/>
                  <a:pt x="14" y="1314"/>
                  <a:pt x="14" y="1314"/>
                </a:cubicBezTo>
                <a:cubicBezTo>
                  <a:pt x="11" y="1316"/>
                  <a:pt x="11" y="1316"/>
                  <a:pt x="11" y="1316"/>
                </a:cubicBezTo>
                <a:cubicBezTo>
                  <a:pt x="8" y="1332"/>
                  <a:pt x="8" y="1332"/>
                  <a:pt x="8" y="1332"/>
                </a:cubicBezTo>
                <a:cubicBezTo>
                  <a:pt x="10" y="1331"/>
                  <a:pt x="10" y="1331"/>
                  <a:pt x="10" y="1331"/>
                </a:cubicBezTo>
                <a:cubicBezTo>
                  <a:pt x="16" y="1341"/>
                  <a:pt x="16" y="1341"/>
                  <a:pt x="16" y="1341"/>
                </a:cubicBezTo>
                <a:cubicBezTo>
                  <a:pt x="18" y="1348"/>
                  <a:pt x="18" y="1348"/>
                  <a:pt x="18" y="1348"/>
                </a:cubicBezTo>
                <a:cubicBezTo>
                  <a:pt x="14" y="1353"/>
                  <a:pt x="14" y="1353"/>
                  <a:pt x="14" y="1353"/>
                </a:cubicBezTo>
                <a:cubicBezTo>
                  <a:pt x="19" y="1365"/>
                  <a:pt x="19" y="1365"/>
                  <a:pt x="19" y="1365"/>
                </a:cubicBezTo>
                <a:cubicBezTo>
                  <a:pt x="19" y="1377"/>
                  <a:pt x="19" y="1377"/>
                  <a:pt x="19" y="1377"/>
                </a:cubicBezTo>
                <a:cubicBezTo>
                  <a:pt x="12" y="1397"/>
                  <a:pt x="12" y="1397"/>
                  <a:pt x="12" y="1397"/>
                </a:cubicBezTo>
                <a:cubicBezTo>
                  <a:pt x="12" y="1402"/>
                  <a:pt x="12" y="1402"/>
                  <a:pt x="12" y="1402"/>
                </a:cubicBezTo>
                <a:cubicBezTo>
                  <a:pt x="9" y="1410"/>
                  <a:pt x="9" y="1410"/>
                  <a:pt x="9" y="1410"/>
                </a:cubicBezTo>
                <a:cubicBezTo>
                  <a:pt x="0" y="1414"/>
                  <a:pt x="0" y="1414"/>
                  <a:pt x="0" y="1414"/>
                </a:cubicBezTo>
                <a:cubicBezTo>
                  <a:pt x="3" y="1415"/>
                  <a:pt x="3" y="1415"/>
                  <a:pt x="3" y="1415"/>
                </a:cubicBezTo>
                <a:cubicBezTo>
                  <a:pt x="12" y="1429"/>
                  <a:pt x="12" y="1429"/>
                  <a:pt x="12" y="1429"/>
                </a:cubicBezTo>
                <a:cubicBezTo>
                  <a:pt x="9" y="1432"/>
                  <a:pt x="9" y="1432"/>
                  <a:pt x="9" y="1432"/>
                </a:cubicBezTo>
                <a:cubicBezTo>
                  <a:pt x="10" y="1436"/>
                  <a:pt x="10" y="1436"/>
                  <a:pt x="10" y="1436"/>
                </a:cubicBezTo>
                <a:cubicBezTo>
                  <a:pt x="10" y="1445"/>
                  <a:pt x="10" y="1445"/>
                  <a:pt x="10" y="1445"/>
                </a:cubicBezTo>
                <a:cubicBezTo>
                  <a:pt x="21" y="1454"/>
                  <a:pt x="21" y="1454"/>
                  <a:pt x="21" y="1454"/>
                </a:cubicBezTo>
                <a:cubicBezTo>
                  <a:pt x="34" y="1451"/>
                  <a:pt x="34" y="1451"/>
                  <a:pt x="34" y="1451"/>
                </a:cubicBezTo>
                <a:cubicBezTo>
                  <a:pt x="26" y="1454"/>
                  <a:pt x="26" y="1454"/>
                  <a:pt x="26" y="1454"/>
                </a:cubicBezTo>
                <a:cubicBezTo>
                  <a:pt x="28" y="1461"/>
                  <a:pt x="28" y="1461"/>
                  <a:pt x="28" y="1461"/>
                </a:cubicBezTo>
                <a:cubicBezTo>
                  <a:pt x="31" y="1464"/>
                  <a:pt x="31" y="1464"/>
                  <a:pt x="31" y="1464"/>
                </a:cubicBezTo>
                <a:cubicBezTo>
                  <a:pt x="33" y="1466"/>
                  <a:pt x="33" y="1466"/>
                  <a:pt x="33" y="1466"/>
                </a:cubicBezTo>
                <a:cubicBezTo>
                  <a:pt x="35" y="1464"/>
                  <a:pt x="35" y="1464"/>
                  <a:pt x="35" y="1464"/>
                </a:cubicBezTo>
                <a:cubicBezTo>
                  <a:pt x="41" y="1474"/>
                  <a:pt x="41" y="1474"/>
                  <a:pt x="41" y="1474"/>
                </a:cubicBezTo>
                <a:cubicBezTo>
                  <a:pt x="46" y="1477"/>
                  <a:pt x="46" y="1477"/>
                  <a:pt x="46" y="1477"/>
                </a:cubicBezTo>
                <a:cubicBezTo>
                  <a:pt x="54" y="1487"/>
                  <a:pt x="54" y="1487"/>
                  <a:pt x="54" y="1487"/>
                </a:cubicBezTo>
                <a:cubicBezTo>
                  <a:pt x="56" y="1496"/>
                  <a:pt x="56" y="1496"/>
                  <a:pt x="56" y="1496"/>
                </a:cubicBezTo>
                <a:cubicBezTo>
                  <a:pt x="55" y="1497"/>
                  <a:pt x="55" y="1497"/>
                  <a:pt x="55" y="1497"/>
                </a:cubicBezTo>
                <a:cubicBezTo>
                  <a:pt x="59" y="1503"/>
                  <a:pt x="59" y="1503"/>
                  <a:pt x="59" y="1503"/>
                </a:cubicBezTo>
                <a:cubicBezTo>
                  <a:pt x="65" y="1509"/>
                  <a:pt x="65" y="1509"/>
                  <a:pt x="65" y="1509"/>
                </a:cubicBezTo>
                <a:cubicBezTo>
                  <a:pt x="76" y="1514"/>
                  <a:pt x="76" y="1514"/>
                  <a:pt x="76" y="1514"/>
                </a:cubicBezTo>
                <a:cubicBezTo>
                  <a:pt x="104" y="1537"/>
                  <a:pt x="104" y="1537"/>
                  <a:pt x="104" y="1537"/>
                </a:cubicBezTo>
                <a:cubicBezTo>
                  <a:pt x="126" y="1547"/>
                  <a:pt x="126" y="1547"/>
                  <a:pt x="126" y="1547"/>
                </a:cubicBezTo>
                <a:cubicBezTo>
                  <a:pt x="130" y="1547"/>
                  <a:pt x="130" y="1547"/>
                  <a:pt x="130" y="1547"/>
                </a:cubicBezTo>
                <a:cubicBezTo>
                  <a:pt x="144" y="1541"/>
                  <a:pt x="144" y="1541"/>
                  <a:pt x="144" y="1541"/>
                </a:cubicBezTo>
                <a:cubicBezTo>
                  <a:pt x="161" y="1537"/>
                  <a:pt x="161" y="1537"/>
                  <a:pt x="161" y="1537"/>
                </a:cubicBezTo>
                <a:cubicBezTo>
                  <a:pt x="181" y="1538"/>
                  <a:pt x="181" y="1538"/>
                  <a:pt x="181" y="1538"/>
                </a:cubicBezTo>
                <a:cubicBezTo>
                  <a:pt x="196" y="1543"/>
                  <a:pt x="196" y="1543"/>
                  <a:pt x="196" y="1543"/>
                </a:cubicBezTo>
                <a:cubicBezTo>
                  <a:pt x="223" y="1531"/>
                  <a:pt x="223" y="1531"/>
                  <a:pt x="223" y="1531"/>
                </a:cubicBezTo>
                <a:cubicBezTo>
                  <a:pt x="233" y="1530"/>
                  <a:pt x="233" y="1530"/>
                  <a:pt x="233" y="1530"/>
                </a:cubicBezTo>
                <a:cubicBezTo>
                  <a:pt x="237" y="1526"/>
                  <a:pt x="237" y="1526"/>
                  <a:pt x="237" y="1526"/>
                </a:cubicBezTo>
                <a:cubicBezTo>
                  <a:pt x="245" y="1524"/>
                  <a:pt x="245" y="1524"/>
                  <a:pt x="245" y="1524"/>
                </a:cubicBezTo>
                <a:cubicBezTo>
                  <a:pt x="256" y="1522"/>
                  <a:pt x="256" y="1522"/>
                  <a:pt x="256" y="1522"/>
                </a:cubicBezTo>
                <a:cubicBezTo>
                  <a:pt x="274" y="1522"/>
                  <a:pt x="274" y="1522"/>
                  <a:pt x="274" y="1522"/>
                </a:cubicBezTo>
                <a:cubicBezTo>
                  <a:pt x="282" y="1525"/>
                  <a:pt x="282" y="1525"/>
                  <a:pt x="282" y="1525"/>
                </a:cubicBezTo>
                <a:cubicBezTo>
                  <a:pt x="283" y="1529"/>
                  <a:pt x="283" y="1529"/>
                  <a:pt x="283" y="1529"/>
                </a:cubicBezTo>
                <a:cubicBezTo>
                  <a:pt x="289" y="1534"/>
                  <a:pt x="289" y="1534"/>
                  <a:pt x="289" y="1534"/>
                </a:cubicBezTo>
                <a:cubicBezTo>
                  <a:pt x="289" y="1542"/>
                  <a:pt x="289" y="1542"/>
                  <a:pt x="289" y="1542"/>
                </a:cubicBezTo>
                <a:cubicBezTo>
                  <a:pt x="299" y="1549"/>
                  <a:pt x="299" y="1549"/>
                  <a:pt x="299" y="1549"/>
                </a:cubicBezTo>
                <a:cubicBezTo>
                  <a:pt x="307" y="1547"/>
                  <a:pt x="307" y="1547"/>
                  <a:pt x="307" y="1547"/>
                </a:cubicBezTo>
                <a:cubicBezTo>
                  <a:pt x="310" y="1543"/>
                  <a:pt x="310" y="1543"/>
                  <a:pt x="310" y="1543"/>
                </a:cubicBezTo>
                <a:cubicBezTo>
                  <a:pt x="322" y="1546"/>
                  <a:pt x="322" y="1546"/>
                  <a:pt x="322" y="1546"/>
                </a:cubicBezTo>
                <a:cubicBezTo>
                  <a:pt x="324" y="1541"/>
                  <a:pt x="324" y="1541"/>
                  <a:pt x="324" y="1541"/>
                </a:cubicBezTo>
                <a:cubicBezTo>
                  <a:pt x="326" y="1543"/>
                  <a:pt x="326" y="1543"/>
                  <a:pt x="326" y="1543"/>
                </a:cubicBezTo>
                <a:cubicBezTo>
                  <a:pt x="327" y="1545"/>
                  <a:pt x="327" y="1545"/>
                  <a:pt x="327" y="1545"/>
                </a:cubicBezTo>
                <a:cubicBezTo>
                  <a:pt x="331" y="1545"/>
                  <a:pt x="331" y="1545"/>
                  <a:pt x="331" y="1545"/>
                </a:cubicBezTo>
                <a:cubicBezTo>
                  <a:pt x="333" y="1550"/>
                  <a:pt x="333" y="1550"/>
                  <a:pt x="333" y="1550"/>
                </a:cubicBezTo>
                <a:cubicBezTo>
                  <a:pt x="341" y="1551"/>
                  <a:pt x="341" y="1551"/>
                  <a:pt x="341" y="1551"/>
                </a:cubicBezTo>
                <a:cubicBezTo>
                  <a:pt x="340" y="1556"/>
                  <a:pt x="340" y="1556"/>
                  <a:pt x="340" y="1556"/>
                </a:cubicBezTo>
                <a:cubicBezTo>
                  <a:pt x="345" y="1561"/>
                  <a:pt x="345" y="1561"/>
                  <a:pt x="345" y="1561"/>
                </a:cubicBezTo>
                <a:cubicBezTo>
                  <a:pt x="341" y="1575"/>
                  <a:pt x="341" y="1575"/>
                  <a:pt x="341" y="1575"/>
                </a:cubicBezTo>
                <a:cubicBezTo>
                  <a:pt x="338" y="1586"/>
                  <a:pt x="338" y="1586"/>
                  <a:pt x="338" y="1586"/>
                </a:cubicBezTo>
                <a:cubicBezTo>
                  <a:pt x="340" y="1589"/>
                  <a:pt x="340" y="1589"/>
                  <a:pt x="340" y="1589"/>
                </a:cubicBezTo>
                <a:cubicBezTo>
                  <a:pt x="340" y="1593"/>
                  <a:pt x="340" y="1593"/>
                  <a:pt x="340" y="1593"/>
                </a:cubicBezTo>
                <a:cubicBezTo>
                  <a:pt x="338" y="1595"/>
                  <a:pt x="338" y="1595"/>
                  <a:pt x="338" y="1595"/>
                </a:cubicBezTo>
                <a:cubicBezTo>
                  <a:pt x="344" y="1600"/>
                  <a:pt x="344" y="1600"/>
                  <a:pt x="344" y="1600"/>
                </a:cubicBezTo>
                <a:cubicBezTo>
                  <a:pt x="337" y="1598"/>
                  <a:pt x="337" y="1598"/>
                  <a:pt x="337" y="1598"/>
                </a:cubicBezTo>
                <a:cubicBezTo>
                  <a:pt x="336" y="1607"/>
                  <a:pt x="336" y="1607"/>
                  <a:pt x="336" y="1607"/>
                </a:cubicBezTo>
                <a:cubicBezTo>
                  <a:pt x="331" y="1611"/>
                  <a:pt x="331" y="1611"/>
                  <a:pt x="331" y="1611"/>
                </a:cubicBezTo>
                <a:cubicBezTo>
                  <a:pt x="337" y="1626"/>
                  <a:pt x="337" y="1626"/>
                  <a:pt x="337" y="1626"/>
                </a:cubicBezTo>
                <a:cubicBezTo>
                  <a:pt x="360" y="1651"/>
                  <a:pt x="360" y="1651"/>
                  <a:pt x="360" y="1651"/>
                </a:cubicBezTo>
                <a:cubicBezTo>
                  <a:pt x="367" y="1658"/>
                  <a:pt x="367" y="1658"/>
                  <a:pt x="367" y="1658"/>
                </a:cubicBezTo>
                <a:cubicBezTo>
                  <a:pt x="371" y="1665"/>
                  <a:pt x="371" y="1665"/>
                  <a:pt x="371" y="1665"/>
                </a:cubicBezTo>
                <a:cubicBezTo>
                  <a:pt x="375" y="1675"/>
                  <a:pt x="375" y="1675"/>
                  <a:pt x="375" y="1675"/>
                </a:cubicBezTo>
                <a:cubicBezTo>
                  <a:pt x="375" y="1680"/>
                  <a:pt x="375" y="1680"/>
                  <a:pt x="375" y="1680"/>
                </a:cubicBezTo>
                <a:cubicBezTo>
                  <a:pt x="386" y="1706"/>
                  <a:pt x="386" y="1706"/>
                  <a:pt x="386" y="1706"/>
                </a:cubicBezTo>
                <a:cubicBezTo>
                  <a:pt x="387" y="1713"/>
                  <a:pt x="387" y="1713"/>
                  <a:pt x="387" y="1713"/>
                </a:cubicBezTo>
                <a:cubicBezTo>
                  <a:pt x="385" y="1717"/>
                  <a:pt x="385" y="1717"/>
                  <a:pt x="385" y="1717"/>
                </a:cubicBezTo>
                <a:cubicBezTo>
                  <a:pt x="387" y="1728"/>
                  <a:pt x="387" y="1728"/>
                  <a:pt x="387" y="1728"/>
                </a:cubicBezTo>
                <a:cubicBezTo>
                  <a:pt x="393" y="1734"/>
                  <a:pt x="393" y="1734"/>
                  <a:pt x="393" y="1734"/>
                </a:cubicBezTo>
                <a:cubicBezTo>
                  <a:pt x="393" y="1741"/>
                  <a:pt x="393" y="1741"/>
                  <a:pt x="393" y="1741"/>
                </a:cubicBezTo>
                <a:cubicBezTo>
                  <a:pt x="391" y="1755"/>
                  <a:pt x="391" y="1755"/>
                  <a:pt x="391" y="1755"/>
                </a:cubicBezTo>
                <a:cubicBezTo>
                  <a:pt x="382" y="1764"/>
                  <a:pt x="382" y="1764"/>
                  <a:pt x="382" y="1764"/>
                </a:cubicBezTo>
                <a:cubicBezTo>
                  <a:pt x="376" y="1776"/>
                  <a:pt x="376" y="1776"/>
                  <a:pt x="376" y="1776"/>
                </a:cubicBezTo>
                <a:cubicBezTo>
                  <a:pt x="367" y="1803"/>
                  <a:pt x="367" y="1803"/>
                  <a:pt x="367" y="1803"/>
                </a:cubicBezTo>
                <a:cubicBezTo>
                  <a:pt x="366" y="1822"/>
                  <a:pt x="366" y="1822"/>
                  <a:pt x="366" y="1822"/>
                </a:cubicBezTo>
                <a:cubicBezTo>
                  <a:pt x="367" y="1832"/>
                  <a:pt x="367" y="1832"/>
                  <a:pt x="367" y="1832"/>
                </a:cubicBezTo>
                <a:cubicBezTo>
                  <a:pt x="379" y="1850"/>
                  <a:pt x="379" y="1850"/>
                  <a:pt x="379" y="1850"/>
                </a:cubicBezTo>
                <a:cubicBezTo>
                  <a:pt x="401" y="1891"/>
                  <a:pt x="401" y="1891"/>
                  <a:pt x="401" y="1891"/>
                </a:cubicBezTo>
                <a:cubicBezTo>
                  <a:pt x="401" y="1913"/>
                  <a:pt x="401" y="1913"/>
                  <a:pt x="401" y="1913"/>
                </a:cubicBezTo>
                <a:cubicBezTo>
                  <a:pt x="405" y="1924"/>
                  <a:pt x="405" y="1924"/>
                  <a:pt x="405" y="1924"/>
                </a:cubicBezTo>
                <a:cubicBezTo>
                  <a:pt x="407" y="1935"/>
                  <a:pt x="407" y="1935"/>
                  <a:pt x="407" y="1935"/>
                </a:cubicBezTo>
                <a:cubicBezTo>
                  <a:pt x="411" y="1958"/>
                  <a:pt x="411" y="1958"/>
                  <a:pt x="411" y="1958"/>
                </a:cubicBezTo>
                <a:cubicBezTo>
                  <a:pt x="417" y="1968"/>
                  <a:pt x="417" y="1968"/>
                  <a:pt x="417" y="1968"/>
                </a:cubicBezTo>
                <a:cubicBezTo>
                  <a:pt x="427" y="1975"/>
                  <a:pt x="427" y="1975"/>
                  <a:pt x="427" y="1975"/>
                </a:cubicBezTo>
                <a:cubicBezTo>
                  <a:pt x="439" y="2005"/>
                  <a:pt x="439" y="2005"/>
                  <a:pt x="439" y="2005"/>
                </a:cubicBezTo>
                <a:cubicBezTo>
                  <a:pt x="449" y="2023"/>
                  <a:pt x="449" y="2023"/>
                  <a:pt x="449" y="2023"/>
                </a:cubicBezTo>
                <a:cubicBezTo>
                  <a:pt x="450" y="2033"/>
                  <a:pt x="450" y="2033"/>
                  <a:pt x="450" y="2033"/>
                </a:cubicBezTo>
                <a:cubicBezTo>
                  <a:pt x="448" y="2036"/>
                  <a:pt x="448" y="2036"/>
                  <a:pt x="448" y="2036"/>
                </a:cubicBezTo>
                <a:cubicBezTo>
                  <a:pt x="445" y="2035"/>
                  <a:pt x="445" y="2035"/>
                  <a:pt x="445" y="2035"/>
                </a:cubicBezTo>
                <a:cubicBezTo>
                  <a:pt x="445" y="2039"/>
                  <a:pt x="445" y="2039"/>
                  <a:pt x="445" y="2039"/>
                </a:cubicBezTo>
                <a:cubicBezTo>
                  <a:pt x="452" y="2051"/>
                  <a:pt x="452" y="2051"/>
                  <a:pt x="452" y="2051"/>
                </a:cubicBezTo>
                <a:cubicBezTo>
                  <a:pt x="452" y="2056"/>
                  <a:pt x="452" y="2056"/>
                  <a:pt x="452" y="2056"/>
                </a:cubicBezTo>
                <a:cubicBezTo>
                  <a:pt x="456" y="2056"/>
                  <a:pt x="456" y="2056"/>
                  <a:pt x="456" y="2056"/>
                </a:cubicBezTo>
                <a:cubicBezTo>
                  <a:pt x="456" y="2060"/>
                  <a:pt x="456" y="2060"/>
                  <a:pt x="456" y="2060"/>
                </a:cubicBezTo>
                <a:cubicBezTo>
                  <a:pt x="472" y="2066"/>
                  <a:pt x="472" y="2066"/>
                  <a:pt x="472" y="2066"/>
                </a:cubicBezTo>
                <a:cubicBezTo>
                  <a:pt x="477" y="2061"/>
                  <a:pt x="477" y="2061"/>
                  <a:pt x="477" y="2061"/>
                </a:cubicBezTo>
                <a:cubicBezTo>
                  <a:pt x="495" y="2060"/>
                  <a:pt x="495" y="2060"/>
                  <a:pt x="495" y="2060"/>
                </a:cubicBezTo>
                <a:cubicBezTo>
                  <a:pt x="503" y="2055"/>
                  <a:pt x="503" y="2055"/>
                  <a:pt x="503" y="2055"/>
                </a:cubicBezTo>
                <a:cubicBezTo>
                  <a:pt x="532" y="2058"/>
                  <a:pt x="532" y="2058"/>
                  <a:pt x="532" y="2058"/>
                </a:cubicBezTo>
                <a:cubicBezTo>
                  <a:pt x="534" y="2054"/>
                  <a:pt x="534" y="2054"/>
                  <a:pt x="534" y="2054"/>
                </a:cubicBezTo>
                <a:cubicBezTo>
                  <a:pt x="544" y="2056"/>
                  <a:pt x="544" y="2056"/>
                  <a:pt x="544" y="2056"/>
                </a:cubicBezTo>
                <a:cubicBezTo>
                  <a:pt x="544" y="2051"/>
                  <a:pt x="544" y="2051"/>
                  <a:pt x="544" y="2051"/>
                </a:cubicBezTo>
                <a:cubicBezTo>
                  <a:pt x="562" y="2048"/>
                  <a:pt x="562" y="2048"/>
                  <a:pt x="562" y="2048"/>
                </a:cubicBezTo>
                <a:cubicBezTo>
                  <a:pt x="579" y="2034"/>
                  <a:pt x="579" y="2034"/>
                  <a:pt x="579" y="2034"/>
                </a:cubicBezTo>
                <a:cubicBezTo>
                  <a:pt x="598" y="2012"/>
                  <a:pt x="598" y="2012"/>
                  <a:pt x="598" y="2012"/>
                </a:cubicBezTo>
                <a:cubicBezTo>
                  <a:pt x="615" y="1984"/>
                  <a:pt x="615" y="1984"/>
                  <a:pt x="615" y="1984"/>
                </a:cubicBezTo>
                <a:cubicBezTo>
                  <a:pt x="628" y="1973"/>
                  <a:pt x="628" y="1973"/>
                  <a:pt x="628" y="1973"/>
                </a:cubicBezTo>
                <a:cubicBezTo>
                  <a:pt x="634" y="1949"/>
                  <a:pt x="634" y="1949"/>
                  <a:pt x="634" y="1949"/>
                </a:cubicBezTo>
                <a:cubicBezTo>
                  <a:pt x="634" y="1940"/>
                  <a:pt x="634" y="1940"/>
                  <a:pt x="634" y="1940"/>
                </a:cubicBezTo>
                <a:cubicBezTo>
                  <a:pt x="632" y="1943"/>
                  <a:pt x="632" y="1943"/>
                  <a:pt x="632" y="1943"/>
                </a:cubicBezTo>
                <a:cubicBezTo>
                  <a:pt x="628" y="1939"/>
                  <a:pt x="628" y="1939"/>
                  <a:pt x="628" y="1939"/>
                </a:cubicBezTo>
                <a:cubicBezTo>
                  <a:pt x="633" y="1933"/>
                  <a:pt x="633" y="1933"/>
                  <a:pt x="633" y="1933"/>
                </a:cubicBezTo>
                <a:cubicBezTo>
                  <a:pt x="656" y="1922"/>
                  <a:pt x="656" y="1922"/>
                  <a:pt x="656" y="1922"/>
                </a:cubicBezTo>
                <a:cubicBezTo>
                  <a:pt x="665" y="1913"/>
                  <a:pt x="665" y="1913"/>
                  <a:pt x="665" y="1913"/>
                </a:cubicBezTo>
                <a:cubicBezTo>
                  <a:pt x="665" y="1909"/>
                  <a:pt x="665" y="1909"/>
                  <a:pt x="665" y="1909"/>
                </a:cubicBezTo>
                <a:cubicBezTo>
                  <a:pt x="663" y="1913"/>
                  <a:pt x="663" y="1913"/>
                  <a:pt x="663" y="1913"/>
                </a:cubicBezTo>
                <a:cubicBezTo>
                  <a:pt x="663" y="1911"/>
                  <a:pt x="663" y="1911"/>
                  <a:pt x="663" y="1911"/>
                </a:cubicBezTo>
                <a:cubicBezTo>
                  <a:pt x="666" y="1886"/>
                  <a:pt x="666" y="1886"/>
                  <a:pt x="666" y="1886"/>
                </a:cubicBezTo>
                <a:cubicBezTo>
                  <a:pt x="665" y="1887"/>
                  <a:pt x="665" y="1887"/>
                  <a:pt x="665" y="1887"/>
                </a:cubicBezTo>
                <a:cubicBezTo>
                  <a:pt x="660" y="1869"/>
                  <a:pt x="660" y="1869"/>
                  <a:pt x="660" y="1869"/>
                </a:cubicBezTo>
                <a:cubicBezTo>
                  <a:pt x="656" y="1865"/>
                  <a:pt x="656" y="1865"/>
                  <a:pt x="656" y="1865"/>
                </a:cubicBezTo>
                <a:cubicBezTo>
                  <a:pt x="656" y="1856"/>
                  <a:pt x="656" y="1856"/>
                  <a:pt x="656" y="1856"/>
                </a:cubicBezTo>
                <a:cubicBezTo>
                  <a:pt x="672" y="1843"/>
                  <a:pt x="672" y="1843"/>
                  <a:pt x="672" y="1843"/>
                </a:cubicBezTo>
                <a:cubicBezTo>
                  <a:pt x="673" y="1839"/>
                  <a:pt x="673" y="1839"/>
                  <a:pt x="673" y="1839"/>
                </a:cubicBezTo>
                <a:cubicBezTo>
                  <a:pt x="676" y="1843"/>
                  <a:pt x="676" y="1843"/>
                  <a:pt x="676" y="1843"/>
                </a:cubicBezTo>
                <a:cubicBezTo>
                  <a:pt x="681" y="1835"/>
                  <a:pt x="681" y="1835"/>
                  <a:pt x="681" y="1835"/>
                </a:cubicBezTo>
                <a:cubicBezTo>
                  <a:pt x="679" y="1834"/>
                  <a:pt x="679" y="1834"/>
                  <a:pt x="679" y="1834"/>
                </a:cubicBezTo>
                <a:cubicBezTo>
                  <a:pt x="690" y="1825"/>
                  <a:pt x="690" y="1825"/>
                  <a:pt x="690" y="1825"/>
                </a:cubicBezTo>
                <a:cubicBezTo>
                  <a:pt x="710" y="1818"/>
                  <a:pt x="710" y="1818"/>
                  <a:pt x="710" y="1818"/>
                </a:cubicBezTo>
                <a:cubicBezTo>
                  <a:pt x="719" y="1811"/>
                  <a:pt x="719" y="1811"/>
                  <a:pt x="719" y="1811"/>
                </a:cubicBezTo>
                <a:cubicBezTo>
                  <a:pt x="719" y="1808"/>
                  <a:pt x="719" y="1808"/>
                  <a:pt x="719" y="1808"/>
                </a:cubicBezTo>
                <a:cubicBezTo>
                  <a:pt x="729" y="1799"/>
                  <a:pt x="729" y="1799"/>
                  <a:pt x="729" y="1799"/>
                </a:cubicBezTo>
                <a:cubicBezTo>
                  <a:pt x="730" y="1795"/>
                  <a:pt x="730" y="1795"/>
                  <a:pt x="730" y="1795"/>
                </a:cubicBezTo>
                <a:cubicBezTo>
                  <a:pt x="728" y="1794"/>
                  <a:pt x="728" y="1794"/>
                  <a:pt x="728" y="1794"/>
                </a:cubicBezTo>
                <a:cubicBezTo>
                  <a:pt x="732" y="1787"/>
                  <a:pt x="732" y="1787"/>
                  <a:pt x="732" y="1787"/>
                </a:cubicBezTo>
                <a:cubicBezTo>
                  <a:pt x="730" y="1781"/>
                  <a:pt x="730" y="1781"/>
                  <a:pt x="730" y="1781"/>
                </a:cubicBezTo>
                <a:cubicBezTo>
                  <a:pt x="729" y="1781"/>
                  <a:pt x="729" y="1781"/>
                  <a:pt x="729" y="1781"/>
                </a:cubicBezTo>
                <a:cubicBezTo>
                  <a:pt x="728" y="1764"/>
                  <a:pt x="728" y="1764"/>
                  <a:pt x="728" y="1764"/>
                </a:cubicBezTo>
                <a:cubicBezTo>
                  <a:pt x="728" y="1750"/>
                  <a:pt x="728" y="1750"/>
                  <a:pt x="728" y="1750"/>
                </a:cubicBezTo>
                <a:cubicBezTo>
                  <a:pt x="732" y="1739"/>
                  <a:pt x="732" y="1739"/>
                  <a:pt x="732" y="1739"/>
                </a:cubicBezTo>
                <a:cubicBezTo>
                  <a:pt x="730" y="1732"/>
                  <a:pt x="730" y="1732"/>
                  <a:pt x="730" y="1732"/>
                </a:cubicBezTo>
                <a:cubicBezTo>
                  <a:pt x="723" y="1728"/>
                  <a:pt x="723" y="1728"/>
                  <a:pt x="723" y="1728"/>
                </a:cubicBezTo>
                <a:cubicBezTo>
                  <a:pt x="717" y="1713"/>
                  <a:pt x="717" y="1713"/>
                  <a:pt x="717" y="1713"/>
                </a:cubicBezTo>
                <a:cubicBezTo>
                  <a:pt x="715" y="1706"/>
                  <a:pt x="715" y="1706"/>
                  <a:pt x="715" y="1706"/>
                </a:cubicBezTo>
                <a:cubicBezTo>
                  <a:pt x="719" y="1690"/>
                  <a:pt x="719" y="1690"/>
                  <a:pt x="719" y="1690"/>
                </a:cubicBezTo>
                <a:cubicBezTo>
                  <a:pt x="710" y="1681"/>
                  <a:pt x="710" y="1681"/>
                  <a:pt x="710" y="1681"/>
                </a:cubicBezTo>
                <a:cubicBezTo>
                  <a:pt x="716" y="1660"/>
                  <a:pt x="716" y="1660"/>
                  <a:pt x="716" y="1660"/>
                </a:cubicBezTo>
                <a:cubicBezTo>
                  <a:pt x="720" y="1656"/>
                  <a:pt x="720" y="1656"/>
                  <a:pt x="720" y="1656"/>
                </a:cubicBezTo>
                <a:cubicBezTo>
                  <a:pt x="729" y="1635"/>
                  <a:pt x="729" y="1635"/>
                  <a:pt x="729" y="1635"/>
                </a:cubicBezTo>
                <a:cubicBezTo>
                  <a:pt x="743" y="1623"/>
                  <a:pt x="743" y="1623"/>
                  <a:pt x="743" y="1623"/>
                </a:cubicBezTo>
                <a:cubicBezTo>
                  <a:pt x="755" y="1609"/>
                  <a:pt x="755" y="1609"/>
                  <a:pt x="755" y="1609"/>
                </a:cubicBezTo>
                <a:cubicBezTo>
                  <a:pt x="756" y="1604"/>
                  <a:pt x="756" y="1604"/>
                  <a:pt x="756" y="1604"/>
                </a:cubicBezTo>
                <a:cubicBezTo>
                  <a:pt x="760" y="1603"/>
                  <a:pt x="760" y="1603"/>
                  <a:pt x="760" y="1603"/>
                </a:cubicBezTo>
                <a:cubicBezTo>
                  <a:pt x="786" y="1579"/>
                  <a:pt x="786" y="1579"/>
                  <a:pt x="786" y="1579"/>
                </a:cubicBezTo>
                <a:cubicBezTo>
                  <a:pt x="797" y="1573"/>
                  <a:pt x="797" y="1573"/>
                  <a:pt x="797" y="1573"/>
                </a:cubicBezTo>
                <a:cubicBezTo>
                  <a:pt x="820" y="1551"/>
                  <a:pt x="820" y="1551"/>
                  <a:pt x="820" y="1551"/>
                </a:cubicBezTo>
                <a:cubicBezTo>
                  <a:pt x="827" y="1538"/>
                  <a:pt x="827" y="1538"/>
                  <a:pt x="827" y="1538"/>
                </a:cubicBezTo>
                <a:cubicBezTo>
                  <a:pt x="835" y="1531"/>
                  <a:pt x="835" y="1531"/>
                  <a:pt x="835" y="1531"/>
                </a:cubicBezTo>
                <a:cubicBezTo>
                  <a:pt x="847" y="1502"/>
                  <a:pt x="847" y="1502"/>
                  <a:pt x="847" y="1502"/>
                </a:cubicBezTo>
                <a:cubicBezTo>
                  <a:pt x="850" y="1499"/>
                  <a:pt x="850" y="1499"/>
                  <a:pt x="850" y="1499"/>
                </a:cubicBezTo>
                <a:cubicBezTo>
                  <a:pt x="857" y="1487"/>
                  <a:pt x="857" y="1487"/>
                  <a:pt x="857" y="1487"/>
                </a:cubicBezTo>
                <a:cubicBezTo>
                  <a:pt x="860" y="1473"/>
                  <a:pt x="860" y="1473"/>
                  <a:pt x="860" y="1473"/>
                </a:cubicBezTo>
                <a:cubicBezTo>
                  <a:pt x="866" y="1473"/>
                  <a:pt x="866" y="1473"/>
                  <a:pt x="866" y="1473"/>
                </a:cubicBezTo>
                <a:cubicBezTo>
                  <a:pt x="862" y="1471"/>
                  <a:pt x="862" y="1471"/>
                  <a:pt x="862" y="1471"/>
                </a:cubicBezTo>
                <a:cubicBezTo>
                  <a:pt x="863" y="1469"/>
                  <a:pt x="863" y="1469"/>
                  <a:pt x="863" y="1469"/>
                </a:cubicBezTo>
                <a:cubicBezTo>
                  <a:pt x="862" y="1460"/>
                  <a:pt x="862" y="1460"/>
                  <a:pt x="862" y="1460"/>
                </a:cubicBezTo>
                <a:cubicBezTo>
                  <a:pt x="864" y="1454"/>
                  <a:pt x="864" y="1454"/>
                  <a:pt x="864" y="1454"/>
                </a:cubicBezTo>
                <a:cubicBezTo>
                  <a:pt x="857" y="1452"/>
                  <a:pt x="857" y="1452"/>
                  <a:pt x="857" y="1452"/>
                </a:cubicBezTo>
                <a:cubicBezTo>
                  <a:pt x="850" y="1457"/>
                  <a:pt x="850" y="1457"/>
                  <a:pt x="850" y="1457"/>
                </a:cubicBezTo>
                <a:cubicBezTo>
                  <a:pt x="839" y="1459"/>
                  <a:pt x="839" y="1459"/>
                  <a:pt x="839" y="1459"/>
                </a:cubicBezTo>
                <a:cubicBezTo>
                  <a:pt x="815" y="1462"/>
                  <a:pt x="815" y="1462"/>
                  <a:pt x="815" y="1462"/>
                </a:cubicBezTo>
                <a:cubicBezTo>
                  <a:pt x="806" y="1468"/>
                  <a:pt x="806" y="1468"/>
                  <a:pt x="806" y="1468"/>
                </a:cubicBezTo>
                <a:cubicBezTo>
                  <a:pt x="795" y="1465"/>
                  <a:pt x="795" y="1465"/>
                  <a:pt x="795" y="1465"/>
                </a:cubicBezTo>
                <a:cubicBezTo>
                  <a:pt x="786" y="1471"/>
                  <a:pt x="786" y="1471"/>
                  <a:pt x="786" y="1471"/>
                </a:cubicBezTo>
                <a:cubicBezTo>
                  <a:pt x="780" y="1471"/>
                  <a:pt x="780" y="1471"/>
                  <a:pt x="780" y="1471"/>
                </a:cubicBezTo>
                <a:cubicBezTo>
                  <a:pt x="764" y="1457"/>
                  <a:pt x="764" y="1457"/>
                  <a:pt x="764" y="1457"/>
                </a:cubicBezTo>
                <a:cubicBezTo>
                  <a:pt x="755" y="1457"/>
                  <a:pt x="755" y="1457"/>
                  <a:pt x="755" y="1457"/>
                </a:cubicBezTo>
                <a:cubicBezTo>
                  <a:pt x="766" y="1451"/>
                  <a:pt x="766" y="1451"/>
                  <a:pt x="766" y="1451"/>
                </a:cubicBezTo>
                <a:cubicBezTo>
                  <a:pt x="765" y="1445"/>
                  <a:pt x="765" y="1445"/>
                  <a:pt x="765" y="1445"/>
                </a:cubicBezTo>
                <a:cubicBezTo>
                  <a:pt x="762" y="1441"/>
                  <a:pt x="762" y="1441"/>
                  <a:pt x="762" y="1441"/>
                </a:cubicBezTo>
                <a:cubicBezTo>
                  <a:pt x="754" y="1435"/>
                  <a:pt x="754" y="1435"/>
                  <a:pt x="754" y="1435"/>
                </a:cubicBezTo>
                <a:cubicBezTo>
                  <a:pt x="739" y="1417"/>
                  <a:pt x="739" y="1417"/>
                  <a:pt x="739" y="1417"/>
                </a:cubicBezTo>
                <a:cubicBezTo>
                  <a:pt x="730" y="1413"/>
                  <a:pt x="730" y="1413"/>
                  <a:pt x="730" y="1413"/>
                </a:cubicBezTo>
                <a:cubicBezTo>
                  <a:pt x="726" y="1413"/>
                  <a:pt x="726" y="1413"/>
                  <a:pt x="726" y="1413"/>
                </a:cubicBezTo>
                <a:cubicBezTo>
                  <a:pt x="722" y="1406"/>
                  <a:pt x="722" y="1406"/>
                  <a:pt x="722" y="1406"/>
                </a:cubicBezTo>
                <a:cubicBezTo>
                  <a:pt x="722" y="1410"/>
                  <a:pt x="722" y="1410"/>
                  <a:pt x="722" y="1410"/>
                </a:cubicBezTo>
                <a:cubicBezTo>
                  <a:pt x="720" y="1410"/>
                  <a:pt x="720" y="1410"/>
                  <a:pt x="720" y="1410"/>
                </a:cubicBezTo>
                <a:cubicBezTo>
                  <a:pt x="713" y="1399"/>
                  <a:pt x="713" y="1399"/>
                  <a:pt x="713" y="1399"/>
                </a:cubicBezTo>
                <a:cubicBezTo>
                  <a:pt x="709" y="1379"/>
                  <a:pt x="709" y="1379"/>
                  <a:pt x="709" y="1379"/>
                </a:cubicBezTo>
                <a:cubicBezTo>
                  <a:pt x="704" y="1372"/>
                  <a:pt x="704" y="1372"/>
                  <a:pt x="704" y="1372"/>
                </a:cubicBezTo>
                <a:cubicBezTo>
                  <a:pt x="690" y="1360"/>
                  <a:pt x="690" y="1360"/>
                  <a:pt x="690" y="1360"/>
                </a:cubicBezTo>
                <a:cubicBezTo>
                  <a:pt x="688" y="1331"/>
                  <a:pt x="688" y="1331"/>
                  <a:pt x="688" y="1331"/>
                </a:cubicBezTo>
                <a:cubicBezTo>
                  <a:pt x="685" y="1327"/>
                  <a:pt x="685" y="1327"/>
                  <a:pt x="685" y="1327"/>
                </a:cubicBezTo>
                <a:cubicBezTo>
                  <a:pt x="684" y="1320"/>
                  <a:pt x="684" y="1320"/>
                  <a:pt x="684" y="1320"/>
                </a:cubicBezTo>
                <a:cubicBezTo>
                  <a:pt x="668" y="1305"/>
                  <a:pt x="668" y="1305"/>
                  <a:pt x="668" y="1305"/>
                </a:cubicBezTo>
                <a:cubicBezTo>
                  <a:pt x="666" y="1294"/>
                  <a:pt x="666" y="1294"/>
                  <a:pt x="666" y="1294"/>
                </a:cubicBezTo>
                <a:cubicBezTo>
                  <a:pt x="671" y="1293"/>
                  <a:pt x="671" y="1293"/>
                  <a:pt x="671" y="1293"/>
                </a:cubicBezTo>
                <a:cubicBezTo>
                  <a:pt x="662" y="1286"/>
                  <a:pt x="662" y="1286"/>
                  <a:pt x="662" y="1286"/>
                </a:cubicBezTo>
                <a:cubicBezTo>
                  <a:pt x="648" y="1258"/>
                  <a:pt x="648" y="1258"/>
                  <a:pt x="648" y="1258"/>
                </a:cubicBezTo>
                <a:cubicBezTo>
                  <a:pt x="641" y="1237"/>
                  <a:pt x="641" y="1237"/>
                  <a:pt x="641" y="1237"/>
                </a:cubicBezTo>
                <a:cubicBezTo>
                  <a:pt x="631" y="1224"/>
                  <a:pt x="631" y="1224"/>
                  <a:pt x="631" y="1224"/>
                </a:cubicBezTo>
                <a:cubicBezTo>
                  <a:pt x="627" y="1214"/>
                  <a:pt x="627" y="1214"/>
                  <a:pt x="627" y="1214"/>
                </a:cubicBezTo>
                <a:cubicBezTo>
                  <a:pt x="630" y="1207"/>
                  <a:pt x="630" y="1207"/>
                  <a:pt x="630" y="1207"/>
                </a:cubicBezTo>
                <a:cubicBezTo>
                  <a:pt x="639" y="1228"/>
                  <a:pt x="639" y="1228"/>
                  <a:pt x="639" y="1228"/>
                </a:cubicBezTo>
                <a:cubicBezTo>
                  <a:pt x="649" y="1239"/>
                  <a:pt x="649" y="1239"/>
                  <a:pt x="649" y="1239"/>
                </a:cubicBezTo>
                <a:cubicBezTo>
                  <a:pt x="653" y="1238"/>
                  <a:pt x="653" y="1238"/>
                  <a:pt x="653" y="1238"/>
                </a:cubicBezTo>
                <a:cubicBezTo>
                  <a:pt x="658" y="1217"/>
                  <a:pt x="658" y="1217"/>
                  <a:pt x="658" y="1217"/>
                </a:cubicBezTo>
                <a:cubicBezTo>
                  <a:pt x="659" y="1216"/>
                  <a:pt x="659" y="1216"/>
                  <a:pt x="659" y="1216"/>
                </a:cubicBezTo>
                <a:cubicBezTo>
                  <a:pt x="656" y="1235"/>
                  <a:pt x="656" y="1235"/>
                  <a:pt x="656" y="1235"/>
                </a:cubicBezTo>
                <a:cubicBezTo>
                  <a:pt x="662" y="1235"/>
                  <a:pt x="662" y="1235"/>
                  <a:pt x="662" y="1235"/>
                </a:cubicBezTo>
                <a:cubicBezTo>
                  <a:pt x="685" y="1272"/>
                  <a:pt x="685" y="1272"/>
                  <a:pt x="685" y="1272"/>
                </a:cubicBezTo>
                <a:cubicBezTo>
                  <a:pt x="690" y="1288"/>
                  <a:pt x="690" y="1288"/>
                  <a:pt x="690" y="1288"/>
                </a:cubicBezTo>
                <a:cubicBezTo>
                  <a:pt x="695" y="1288"/>
                  <a:pt x="695" y="1288"/>
                  <a:pt x="695" y="1288"/>
                </a:cubicBezTo>
                <a:cubicBezTo>
                  <a:pt x="702" y="1295"/>
                  <a:pt x="702" y="1295"/>
                  <a:pt x="702" y="1295"/>
                </a:cubicBezTo>
                <a:cubicBezTo>
                  <a:pt x="711" y="1314"/>
                  <a:pt x="711" y="1314"/>
                  <a:pt x="711" y="1314"/>
                </a:cubicBezTo>
                <a:cubicBezTo>
                  <a:pt x="710" y="1320"/>
                  <a:pt x="710" y="1320"/>
                  <a:pt x="710" y="1320"/>
                </a:cubicBezTo>
                <a:cubicBezTo>
                  <a:pt x="714" y="1337"/>
                  <a:pt x="714" y="1337"/>
                  <a:pt x="714" y="1337"/>
                </a:cubicBezTo>
                <a:cubicBezTo>
                  <a:pt x="727" y="1345"/>
                  <a:pt x="727" y="1345"/>
                  <a:pt x="727" y="1345"/>
                </a:cubicBezTo>
                <a:cubicBezTo>
                  <a:pt x="734" y="1353"/>
                  <a:pt x="734" y="1353"/>
                  <a:pt x="734" y="1353"/>
                </a:cubicBezTo>
                <a:cubicBezTo>
                  <a:pt x="737" y="1362"/>
                  <a:pt x="737" y="1362"/>
                  <a:pt x="737" y="1362"/>
                </a:cubicBezTo>
                <a:cubicBezTo>
                  <a:pt x="743" y="1373"/>
                  <a:pt x="743" y="1373"/>
                  <a:pt x="743" y="1373"/>
                </a:cubicBezTo>
                <a:cubicBezTo>
                  <a:pt x="751" y="1378"/>
                  <a:pt x="751" y="1378"/>
                  <a:pt x="751" y="1378"/>
                </a:cubicBezTo>
                <a:cubicBezTo>
                  <a:pt x="756" y="1394"/>
                  <a:pt x="756" y="1394"/>
                  <a:pt x="756" y="1394"/>
                </a:cubicBezTo>
                <a:cubicBezTo>
                  <a:pt x="758" y="1400"/>
                  <a:pt x="758" y="1400"/>
                  <a:pt x="758" y="1400"/>
                </a:cubicBezTo>
                <a:cubicBezTo>
                  <a:pt x="755" y="1408"/>
                  <a:pt x="755" y="1408"/>
                  <a:pt x="755" y="1408"/>
                </a:cubicBezTo>
                <a:cubicBezTo>
                  <a:pt x="758" y="1411"/>
                  <a:pt x="758" y="1411"/>
                  <a:pt x="758" y="1411"/>
                </a:cubicBezTo>
                <a:cubicBezTo>
                  <a:pt x="764" y="1435"/>
                  <a:pt x="764" y="1435"/>
                  <a:pt x="764" y="1435"/>
                </a:cubicBezTo>
                <a:cubicBezTo>
                  <a:pt x="767" y="1441"/>
                  <a:pt x="767" y="1441"/>
                  <a:pt x="767" y="1441"/>
                </a:cubicBezTo>
                <a:cubicBezTo>
                  <a:pt x="784" y="1441"/>
                  <a:pt x="784" y="1441"/>
                  <a:pt x="784" y="1441"/>
                </a:cubicBezTo>
                <a:cubicBezTo>
                  <a:pt x="795" y="1432"/>
                  <a:pt x="795" y="1432"/>
                  <a:pt x="795" y="1432"/>
                </a:cubicBezTo>
                <a:cubicBezTo>
                  <a:pt x="808" y="1432"/>
                  <a:pt x="808" y="1432"/>
                  <a:pt x="808" y="1432"/>
                </a:cubicBezTo>
                <a:cubicBezTo>
                  <a:pt x="821" y="1425"/>
                  <a:pt x="821" y="1425"/>
                  <a:pt x="821" y="1425"/>
                </a:cubicBezTo>
                <a:cubicBezTo>
                  <a:pt x="832" y="1424"/>
                  <a:pt x="832" y="1424"/>
                  <a:pt x="832" y="1424"/>
                </a:cubicBezTo>
                <a:cubicBezTo>
                  <a:pt x="837" y="1418"/>
                  <a:pt x="837" y="1418"/>
                  <a:pt x="837" y="1418"/>
                </a:cubicBezTo>
                <a:cubicBezTo>
                  <a:pt x="843" y="1415"/>
                  <a:pt x="843" y="1415"/>
                  <a:pt x="843" y="1415"/>
                </a:cubicBezTo>
                <a:cubicBezTo>
                  <a:pt x="876" y="1404"/>
                  <a:pt x="876" y="1404"/>
                  <a:pt x="876" y="1404"/>
                </a:cubicBezTo>
                <a:cubicBezTo>
                  <a:pt x="878" y="1396"/>
                  <a:pt x="878" y="1396"/>
                  <a:pt x="878" y="1396"/>
                </a:cubicBezTo>
                <a:cubicBezTo>
                  <a:pt x="886" y="1390"/>
                  <a:pt x="886" y="1390"/>
                  <a:pt x="886" y="1390"/>
                </a:cubicBezTo>
                <a:cubicBezTo>
                  <a:pt x="901" y="1385"/>
                  <a:pt x="901" y="1385"/>
                  <a:pt x="901" y="1385"/>
                </a:cubicBezTo>
                <a:cubicBezTo>
                  <a:pt x="910" y="1386"/>
                  <a:pt x="910" y="1386"/>
                  <a:pt x="910" y="1386"/>
                </a:cubicBezTo>
                <a:cubicBezTo>
                  <a:pt x="918" y="1375"/>
                  <a:pt x="918" y="1375"/>
                  <a:pt x="918" y="1375"/>
                </a:cubicBezTo>
                <a:cubicBezTo>
                  <a:pt x="928" y="1373"/>
                  <a:pt x="928" y="1373"/>
                  <a:pt x="928" y="1373"/>
                </a:cubicBezTo>
                <a:cubicBezTo>
                  <a:pt x="933" y="1362"/>
                  <a:pt x="933" y="1362"/>
                  <a:pt x="933" y="1362"/>
                </a:cubicBezTo>
                <a:cubicBezTo>
                  <a:pt x="946" y="1358"/>
                  <a:pt x="946" y="1358"/>
                  <a:pt x="946" y="1358"/>
                </a:cubicBezTo>
                <a:cubicBezTo>
                  <a:pt x="945" y="1345"/>
                  <a:pt x="945" y="1345"/>
                  <a:pt x="945" y="1345"/>
                </a:cubicBezTo>
                <a:cubicBezTo>
                  <a:pt x="948" y="1341"/>
                  <a:pt x="948" y="1341"/>
                  <a:pt x="948" y="1341"/>
                </a:cubicBezTo>
                <a:cubicBezTo>
                  <a:pt x="952" y="1337"/>
                  <a:pt x="952" y="1337"/>
                  <a:pt x="952" y="1337"/>
                </a:cubicBezTo>
                <a:cubicBezTo>
                  <a:pt x="955" y="1340"/>
                  <a:pt x="955" y="1340"/>
                  <a:pt x="955" y="1340"/>
                </a:cubicBezTo>
                <a:cubicBezTo>
                  <a:pt x="969" y="1321"/>
                  <a:pt x="969" y="1321"/>
                  <a:pt x="969" y="1321"/>
                </a:cubicBezTo>
                <a:cubicBezTo>
                  <a:pt x="971" y="1313"/>
                  <a:pt x="971" y="1313"/>
                  <a:pt x="971" y="1313"/>
                </a:cubicBezTo>
                <a:cubicBezTo>
                  <a:pt x="964" y="1308"/>
                  <a:pt x="964" y="1308"/>
                  <a:pt x="964" y="1308"/>
                </a:cubicBezTo>
                <a:cubicBezTo>
                  <a:pt x="957" y="1298"/>
                  <a:pt x="957" y="1298"/>
                  <a:pt x="957" y="1298"/>
                </a:cubicBezTo>
                <a:cubicBezTo>
                  <a:pt x="934" y="1289"/>
                  <a:pt x="934" y="1289"/>
                  <a:pt x="934" y="1289"/>
                </a:cubicBezTo>
                <a:cubicBezTo>
                  <a:pt x="927" y="1279"/>
                  <a:pt x="927" y="1279"/>
                  <a:pt x="927" y="1279"/>
                </a:cubicBezTo>
                <a:cubicBezTo>
                  <a:pt x="927" y="1269"/>
                  <a:pt x="927" y="1269"/>
                  <a:pt x="927" y="1269"/>
                </a:cubicBezTo>
                <a:cubicBezTo>
                  <a:pt x="928" y="1260"/>
                  <a:pt x="928" y="1260"/>
                  <a:pt x="928" y="1260"/>
                </a:cubicBezTo>
                <a:cubicBezTo>
                  <a:pt x="924" y="1263"/>
                  <a:pt x="924" y="1263"/>
                  <a:pt x="924" y="1263"/>
                </a:cubicBezTo>
                <a:cubicBezTo>
                  <a:pt x="904" y="1285"/>
                  <a:pt x="904" y="1285"/>
                  <a:pt x="904" y="1285"/>
                </a:cubicBezTo>
                <a:cubicBezTo>
                  <a:pt x="904" y="1288"/>
                  <a:pt x="904" y="1288"/>
                  <a:pt x="904" y="1288"/>
                </a:cubicBezTo>
                <a:cubicBezTo>
                  <a:pt x="898" y="1290"/>
                  <a:pt x="898" y="1290"/>
                  <a:pt x="898" y="1290"/>
                </a:cubicBezTo>
                <a:cubicBezTo>
                  <a:pt x="882" y="1289"/>
                  <a:pt x="882" y="1289"/>
                  <a:pt x="882" y="1289"/>
                </a:cubicBezTo>
                <a:cubicBezTo>
                  <a:pt x="877" y="1291"/>
                  <a:pt x="877" y="1291"/>
                  <a:pt x="877" y="1291"/>
                </a:cubicBezTo>
                <a:cubicBezTo>
                  <a:pt x="871" y="1291"/>
                  <a:pt x="871" y="1291"/>
                  <a:pt x="871" y="1291"/>
                </a:cubicBezTo>
                <a:cubicBezTo>
                  <a:pt x="869" y="1288"/>
                  <a:pt x="869" y="1288"/>
                  <a:pt x="869" y="1288"/>
                </a:cubicBezTo>
                <a:cubicBezTo>
                  <a:pt x="866" y="1288"/>
                  <a:pt x="866" y="1288"/>
                  <a:pt x="866" y="1288"/>
                </a:cubicBezTo>
                <a:cubicBezTo>
                  <a:pt x="866" y="1283"/>
                  <a:pt x="866" y="1283"/>
                  <a:pt x="866" y="1283"/>
                </a:cubicBezTo>
                <a:cubicBezTo>
                  <a:pt x="868" y="1266"/>
                  <a:pt x="868" y="1266"/>
                  <a:pt x="868" y="1266"/>
                </a:cubicBezTo>
                <a:cubicBezTo>
                  <a:pt x="863" y="1262"/>
                  <a:pt x="863" y="1262"/>
                  <a:pt x="863" y="1262"/>
                </a:cubicBezTo>
                <a:cubicBezTo>
                  <a:pt x="858" y="1271"/>
                  <a:pt x="858" y="1271"/>
                  <a:pt x="858" y="1271"/>
                </a:cubicBezTo>
                <a:cubicBezTo>
                  <a:pt x="858" y="1281"/>
                  <a:pt x="858" y="1281"/>
                  <a:pt x="858" y="1281"/>
                </a:cubicBezTo>
                <a:cubicBezTo>
                  <a:pt x="850" y="1267"/>
                  <a:pt x="850" y="1267"/>
                  <a:pt x="850" y="1267"/>
                </a:cubicBezTo>
                <a:cubicBezTo>
                  <a:pt x="851" y="1261"/>
                  <a:pt x="851" y="1261"/>
                  <a:pt x="851" y="1261"/>
                </a:cubicBezTo>
                <a:cubicBezTo>
                  <a:pt x="849" y="1254"/>
                  <a:pt x="849" y="1254"/>
                  <a:pt x="849" y="1254"/>
                </a:cubicBezTo>
                <a:cubicBezTo>
                  <a:pt x="840" y="1248"/>
                  <a:pt x="840" y="1248"/>
                  <a:pt x="840" y="1248"/>
                </a:cubicBezTo>
                <a:cubicBezTo>
                  <a:pt x="839" y="1244"/>
                  <a:pt x="839" y="1244"/>
                  <a:pt x="839" y="1244"/>
                </a:cubicBezTo>
                <a:cubicBezTo>
                  <a:pt x="832" y="1238"/>
                  <a:pt x="832" y="1238"/>
                  <a:pt x="832" y="1238"/>
                </a:cubicBezTo>
                <a:cubicBezTo>
                  <a:pt x="827" y="1228"/>
                  <a:pt x="827" y="1228"/>
                  <a:pt x="827" y="1228"/>
                </a:cubicBezTo>
                <a:cubicBezTo>
                  <a:pt x="824" y="1218"/>
                  <a:pt x="824" y="1218"/>
                  <a:pt x="824" y="1218"/>
                </a:cubicBezTo>
                <a:cubicBezTo>
                  <a:pt x="820" y="1217"/>
                  <a:pt x="820" y="1217"/>
                  <a:pt x="820" y="1217"/>
                </a:cubicBezTo>
                <a:cubicBezTo>
                  <a:pt x="826" y="1212"/>
                  <a:pt x="826" y="1212"/>
                  <a:pt x="826" y="1212"/>
                </a:cubicBezTo>
                <a:cubicBezTo>
                  <a:pt x="824" y="1207"/>
                  <a:pt x="824" y="1207"/>
                  <a:pt x="824" y="1207"/>
                </a:cubicBezTo>
                <a:cubicBezTo>
                  <a:pt x="829" y="1209"/>
                  <a:pt x="829" y="1209"/>
                  <a:pt x="829" y="1209"/>
                </a:cubicBezTo>
                <a:cubicBezTo>
                  <a:pt x="831" y="1207"/>
                  <a:pt x="831" y="1207"/>
                  <a:pt x="831" y="1207"/>
                </a:cubicBezTo>
                <a:cubicBezTo>
                  <a:pt x="834" y="1200"/>
                  <a:pt x="834" y="1200"/>
                  <a:pt x="834" y="1200"/>
                </a:cubicBezTo>
                <a:cubicBezTo>
                  <a:pt x="843" y="1209"/>
                  <a:pt x="843" y="1209"/>
                  <a:pt x="843" y="1209"/>
                </a:cubicBezTo>
                <a:cubicBezTo>
                  <a:pt x="849" y="1206"/>
                  <a:pt x="849" y="1206"/>
                  <a:pt x="849" y="1206"/>
                </a:cubicBezTo>
                <a:cubicBezTo>
                  <a:pt x="856" y="1219"/>
                  <a:pt x="856" y="1219"/>
                  <a:pt x="856" y="1219"/>
                </a:cubicBezTo>
                <a:cubicBezTo>
                  <a:pt x="861" y="1224"/>
                  <a:pt x="861" y="1224"/>
                  <a:pt x="861" y="1224"/>
                </a:cubicBezTo>
                <a:cubicBezTo>
                  <a:pt x="867" y="1238"/>
                  <a:pt x="867" y="1238"/>
                  <a:pt x="867" y="1238"/>
                </a:cubicBezTo>
                <a:cubicBezTo>
                  <a:pt x="879" y="1243"/>
                  <a:pt x="879" y="1243"/>
                  <a:pt x="879" y="1243"/>
                </a:cubicBezTo>
                <a:cubicBezTo>
                  <a:pt x="883" y="1248"/>
                  <a:pt x="883" y="1248"/>
                  <a:pt x="883" y="1248"/>
                </a:cubicBezTo>
                <a:cubicBezTo>
                  <a:pt x="892" y="1251"/>
                  <a:pt x="892" y="1251"/>
                  <a:pt x="892" y="1251"/>
                </a:cubicBezTo>
                <a:cubicBezTo>
                  <a:pt x="894" y="1254"/>
                  <a:pt x="894" y="1254"/>
                  <a:pt x="894" y="1254"/>
                </a:cubicBezTo>
                <a:cubicBezTo>
                  <a:pt x="907" y="1257"/>
                  <a:pt x="907" y="1257"/>
                  <a:pt x="907" y="1257"/>
                </a:cubicBezTo>
                <a:cubicBezTo>
                  <a:pt x="929" y="1248"/>
                  <a:pt x="929" y="1248"/>
                  <a:pt x="929" y="1248"/>
                </a:cubicBezTo>
                <a:cubicBezTo>
                  <a:pt x="936" y="1251"/>
                  <a:pt x="936" y="1251"/>
                  <a:pt x="936" y="1251"/>
                </a:cubicBezTo>
                <a:cubicBezTo>
                  <a:pt x="942" y="1269"/>
                  <a:pt x="942" y="1269"/>
                  <a:pt x="942" y="1269"/>
                </a:cubicBezTo>
                <a:cubicBezTo>
                  <a:pt x="994" y="1276"/>
                  <a:pt x="994" y="1276"/>
                  <a:pt x="994" y="1276"/>
                </a:cubicBezTo>
                <a:cubicBezTo>
                  <a:pt x="996" y="1277"/>
                  <a:pt x="996" y="1277"/>
                  <a:pt x="996" y="1277"/>
                </a:cubicBezTo>
                <a:cubicBezTo>
                  <a:pt x="1001" y="1276"/>
                  <a:pt x="1001" y="1276"/>
                  <a:pt x="1001" y="1276"/>
                </a:cubicBezTo>
                <a:cubicBezTo>
                  <a:pt x="1001" y="1275"/>
                  <a:pt x="1001" y="1275"/>
                  <a:pt x="1001" y="1275"/>
                </a:cubicBezTo>
                <a:cubicBezTo>
                  <a:pt x="1014" y="1270"/>
                  <a:pt x="1043" y="1254"/>
                  <a:pt x="1033" y="1226"/>
                </a:cubicBezTo>
                <a:cubicBezTo>
                  <a:pt x="1021" y="1190"/>
                  <a:pt x="985" y="1166"/>
                  <a:pt x="985" y="1166"/>
                </a:cubicBezTo>
                <a:cubicBezTo>
                  <a:pt x="979" y="1130"/>
                  <a:pt x="979" y="1130"/>
                  <a:pt x="979" y="1130"/>
                </a:cubicBezTo>
                <a:cubicBezTo>
                  <a:pt x="1021" y="1100"/>
                  <a:pt x="1021" y="1100"/>
                  <a:pt x="1021" y="1100"/>
                </a:cubicBezTo>
                <a:cubicBezTo>
                  <a:pt x="1057" y="1094"/>
                  <a:pt x="1057" y="1094"/>
                  <a:pt x="1057" y="1094"/>
                </a:cubicBezTo>
                <a:cubicBezTo>
                  <a:pt x="1093" y="1100"/>
                  <a:pt x="1093" y="1100"/>
                  <a:pt x="1093" y="1100"/>
                </a:cubicBezTo>
                <a:cubicBezTo>
                  <a:pt x="1093" y="1100"/>
                  <a:pt x="1117" y="1112"/>
                  <a:pt x="1123" y="1088"/>
                </a:cubicBezTo>
                <a:cubicBezTo>
                  <a:pt x="1129" y="1064"/>
                  <a:pt x="1141" y="1040"/>
                  <a:pt x="1141" y="1040"/>
                </a:cubicBezTo>
                <a:cubicBezTo>
                  <a:pt x="1141" y="992"/>
                  <a:pt x="1141" y="992"/>
                  <a:pt x="1141" y="992"/>
                </a:cubicBezTo>
                <a:cubicBezTo>
                  <a:pt x="1141" y="992"/>
                  <a:pt x="1177" y="926"/>
                  <a:pt x="1183" y="908"/>
                </a:cubicBezTo>
                <a:cubicBezTo>
                  <a:pt x="1189" y="890"/>
                  <a:pt x="1249" y="812"/>
                  <a:pt x="1249" y="812"/>
                </a:cubicBezTo>
                <a:cubicBezTo>
                  <a:pt x="1327" y="770"/>
                  <a:pt x="1327" y="770"/>
                  <a:pt x="1327" y="770"/>
                </a:cubicBezTo>
                <a:cubicBezTo>
                  <a:pt x="1369" y="794"/>
                  <a:pt x="1369" y="794"/>
                  <a:pt x="1369" y="794"/>
                </a:cubicBezTo>
                <a:cubicBezTo>
                  <a:pt x="1417" y="782"/>
                  <a:pt x="1417" y="782"/>
                  <a:pt x="1417" y="782"/>
                </a:cubicBezTo>
                <a:cubicBezTo>
                  <a:pt x="1471" y="758"/>
                  <a:pt x="1471" y="758"/>
                  <a:pt x="1471" y="758"/>
                </a:cubicBezTo>
                <a:cubicBezTo>
                  <a:pt x="1513" y="758"/>
                  <a:pt x="1513" y="758"/>
                  <a:pt x="1513" y="758"/>
                </a:cubicBezTo>
                <a:cubicBezTo>
                  <a:pt x="1585" y="740"/>
                  <a:pt x="1585" y="740"/>
                  <a:pt x="1585" y="740"/>
                </a:cubicBezTo>
                <a:cubicBezTo>
                  <a:pt x="1669" y="740"/>
                  <a:pt x="1669" y="740"/>
                  <a:pt x="1669" y="740"/>
                </a:cubicBezTo>
                <a:cubicBezTo>
                  <a:pt x="1735" y="794"/>
                  <a:pt x="1735" y="794"/>
                  <a:pt x="1735" y="794"/>
                </a:cubicBezTo>
                <a:cubicBezTo>
                  <a:pt x="1777" y="806"/>
                  <a:pt x="1777" y="806"/>
                  <a:pt x="1777" y="806"/>
                </a:cubicBezTo>
                <a:cubicBezTo>
                  <a:pt x="1801" y="764"/>
                  <a:pt x="1801" y="764"/>
                  <a:pt x="1801" y="764"/>
                </a:cubicBezTo>
                <a:cubicBezTo>
                  <a:pt x="1813" y="716"/>
                  <a:pt x="1813" y="716"/>
                  <a:pt x="1813" y="716"/>
                </a:cubicBezTo>
                <a:cubicBezTo>
                  <a:pt x="1849" y="668"/>
                  <a:pt x="1849" y="668"/>
                  <a:pt x="1849" y="668"/>
                </a:cubicBezTo>
                <a:cubicBezTo>
                  <a:pt x="1891" y="662"/>
                  <a:pt x="1891" y="662"/>
                  <a:pt x="1891" y="662"/>
                </a:cubicBezTo>
                <a:cubicBezTo>
                  <a:pt x="1903" y="752"/>
                  <a:pt x="1903" y="752"/>
                  <a:pt x="1903" y="752"/>
                </a:cubicBezTo>
                <a:cubicBezTo>
                  <a:pt x="1843" y="824"/>
                  <a:pt x="1843" y="824"/>
                  <a:pt x="1843" y="824"/>
                </a:cubicBezTo>
                <a:cubicBezTo>
                  <a:pt x="1849" y="884"/>
                  <a:pt x="1849" y="884"/>
                  <a:pt x="1849" y="884"/>
                </a:cubicBezTo>
                <a:cubicBezTo>
                  <a:pt x="1885" y="896"/>
                  <a:pt x="1885" y="896"/>
                  <a:pt x="1885" y="896"/>
                </a:cubicBezTo>
                <a:cubicBezTo>
                  <a:pt x="1879" y="938"/>
                  <a:pt x="1879" y="938"/>
                  <a:pt x="1879" y="938"/>
                </a:cubicBezTo>
                <a:cubicBezTo>
                  <a:pt x="1879" y="938"/>
                  <a:pt x="1850" y="964"/>
                  <a:pt x="1871" y="1011"/>
                </a:cubicBezTo>
                <a:cubicBezTo>
                  <a:pt x="1878" y="997"/>
                  <a:pt x="1878" y="997"/>
                  <a:pt x="1878" y="997"/>
                </a:cubicBezTo>
                <a:cubicBezTo>
                  <a:pt x="1881" y="1002"/>
                  <a:pt x="1881" y="1002"/>
                  <a:pt x="1881" y="1002"/>
                </a:cubicBezTo>
                <a:cubicBezTo>
                  <a:pt x="1885" y="999"/>
                  <a:pt x="1885" y="999"/>
                  <a:pt x="1885" y="999"/>
                </a:cubicBezTo>
                <a:cubicBezTo>
                  <a:pt x="1885" y="1007"/>
                  <a:pt x="1885" y="1007"/>
                  <a:pt x="1885" y="1007"/>
                </a:cubicBezTo>
                <a:cubicBezTo>
                  <a:pt x="1896" y="1010"/>
                  <a:pt x="1896" y="1010"/>
                  <a:pt x="1896" y="1010"/>
                </a:cubicBezTo>
                <a:cubicBezTo>
                  <a:pt x="1906" y="1007"/>
                  <a:pt x="1906" y="1007"/>
                  <a:pt x="1906" y="1007"/>
                </a:cubicBezTo>
                <a:cubicBezTo>
                  <a:pt x="1918" y="997"/>
                  <a:pt x="1918" y="997"/>
                  <a:pt x="1918" y="997"/>
                </a:cubicBezTo>
                <a:cubicBezTo>
                  <a:pt x="1957" y="948"/>
                  <a:pt x="1957" y="948"/>
                  <a:pt x="1957" y="948"/>
                </a:cubicBezTo>
                <a:cubicBezTo>
                  <a:pt x="1963" y="934"/>
                  <a:pt x="1963" y="934"/>
                  <a:pt x="1963" y="934"/>
                </a:cubicBezTo>
                <a:cubicBezTo>
                  <a:pt x="1973" y="918"/>
                  <a:pt x="1973" y="918"/>
                  <a:pt x="1973" y="918"/>
                </a:cubicBezTo>
                <a:cubicBezTo>
                  <a:pt x="1985" y="906"/>
                  <a:pt x="1985" y="906"/>
                  <a:pt x="1985" y="906"/>
                </a:cubicBezTo>
                <a:cubicBezTo>
                  <a:pt x="1989" y="876"/>
                  <a:pt x="1989" y="876"/>
                  <a:pt x="1989" y="876"/>
                </a:cubicBezTo>
                <a:cubicBezTo>
                  <a:pt x="1987" y="862"/>
                  <a:pt x="1987" y="862"/>
                  <a:pt x="1987" y="862"/>
                </a:cubicBezTo>
                <a:cubicBezTo>
                  <a:pt x="1991" y="848"/>
                  <a:pt x="1991" y="848"/>
                  <a:pt x="1991" y="848"/>
                </a:cubicBezTo>
                <a:cubicBezTo>
                  <a:pt x="1999" y="833"/>
                  <a:pt x="1999" y="833"/>
                  <a:pt x="1999" y="833"/>
                </a:cubicBezTo>
                <a:cubicBezTo>
                  <a:pt x="1995" y="828"/>
                  <a:pt x="1995" y="828"/>
                  <a:pt x="1995" y="828"/>
                </a:cubicBezTo>
                <a:cubicBezTo>
                  <a:pt x="1996" y="824"/>
                  <a:pt x="1996" y="824"/>
                  <a:pt x="1996" y="824"/>
                </a:cubicBezTo>
                <a:cubicBezTo>
                  <a:pt x="1995" y="817"/>
                  <a:pt x="1995" y="817"/>
                  <a:pt x="1995" y="817"/>
                </a:cubicBezTo>
                <a:cubicBezTo>
                  <a:pt x="1998" y="810"/>
                  <a:pt x="1998" y="810"/>
                  <a:pt x="1998" y="810"/>
                </a:cubicBezTo>
                <a:cubicBezTo>
                  <a:pt x="1985" y="800"/>
                  <a:pt x="1985" y="800"/>
                  <a:pt x="1985" y="800"/>
                </a:cubicBezTo>
                <a:cubicBezTo>
                  <a:pt x="1978" y="789"/>
                  <a:pt x="1978" y="789"/>
                  <a:pt x="1978" y="789"/>
                </a:cubicBezTo>
                <a:cubicBezTo>
                  <a:pt x="1964" y="788"/>
                  <a:pt x="1964" y="788"/>
                  <a:pt x="1964" y="788"/>
                </a:cubicBezTo>
                <a:cubicBezTo>
                  <a:pt x="1964" y="799"/>
                  <a:pt x="1964" y="799"/>
                  <a:pt x="1964" y="799"/>
                </a:cubicBezTo>
                <a:cubicBezTo>
                  <a:pt x="1960" y="805"/>
                  <a:pt x="1960" y="805"/>
                  <a:pt x="1960" y="805"/>
                </a:cubicBezTo>
                <a:cubicBezTo>
                  <a:pt x="1960" y="799"/>
                  <a:pt x="1960" y="799"/>
                  <a:pt x="1960" y="799"/>
                </a:cubicBezTo>
                <a:cubicBezTo>
                  <a:pt x="1957" y="802"/>
                  <a:pt x="1957" y="802"/>
                  <a:pt x="1957" y="802"/>
                </a:cubicBezTo>
                <a:cubicBezTo>
                  <a:pt x="1946" y="804"/>
                  <a:pt x="1946" y="804"/>
                  <a:pt x="1946" y="804"/>
                </a:cubicBezTo>
                <a:cubicBezTo>
                  <a:pt x="1951" y="798"/>
                  <a:pt x="1951" y="798"/>
                  <a:pt x="1951" y="798"/>
                </a:cubicBezTo>
                <a:cubicBezTo>
                  <a:pt x="1947" y="793"/>
                  <a:pt x="1947" y="793"/>
                  <a:pt x="1947" y="793"/>
                </a:cubicBezTo>
                <a:cubicBezTo>
                  <a:pt x="1951" y="788"/>
                  <a:pt x="1951" y="788"/>
                  <a:pt x="1951" y="788"/>
                </a:cubicBezTo>
                <a:cubicBezTo>
                  <a:pt x="1945" y="791"/>
                  <a:pt x="1945" y="791"/>
                  <a:pt x="1945" y="791"/>
                </a:cubicBezTo>
                <a:cubicBezTo>
                  <a:pt x="1945" y="796"/>
                  <a:pt x="1945" y="796"/>
                  <a:pt x="1945" y="796"/>
                </a:cubicBezTo>
                <a:cubicBezTo>
                  <a:pt x="1940" y="800"/>
                  <a:pt x="1940" y="800"/>
                  <a:pt x="1940" y="800"/>
                </a:cubicBezTo>
                <a:cubicBezTo>
                  <a:pt x="1940" y="782"/>
                  <a:pt x="1940" y="782"/>
                  <a:pt x="1940" y="782"/>
                </a:cubicBezTo>
                <a:cubicBezTo>
                  <a:pt x="1927" y="782"/>
                  <a:pt x="1927" y="782"/>
                  <a:pt x="1927" y="782"/>
                </a:cubicBezTo>
                <a:cubicBezTo>
                  <a:pt x="1921" y="779"/>
                  <a:pt x="1921" y="779"/>
                  <a:pt x="1921" y="779"/>
                </a:cubicBezTo>
                <a:cubicBezTo>
                  <a:pt x="1922" y="775"/>
                  <a:pt x="1922" y="775"/>
                  <a:pt x="1922" y="775"/>
                </a:cubicBezTo>
                <a:cubicBezTo>
                  <a:pt x="1951" y="747"/>
                  <a:pt x="1951" y="747"/>
                  <a:pt x="1951" y="747"/>
                </a:cubicBezTo>
                <a:cubicBezTo>
                  <a:pt x="1971" y="722"/>
                  <a:pt x="1971" y="722"/>
                  <a:pt x="1971" y="722"/>
                </a:cubicBezTo>
                <a:cubicBezTo>
                  <a:pt x="1985" y="710"/>
                  <a:pt x="1985" y="710"/>
                  <a:pt x="1985" y="710"/>
                </a:cubicBezTo>
                <a:cubicBezTo>
                  <a:pt x="1991" y="698"/>
                  <a:pt x="1991" y="698"/>
                  <a:pt x="1991" y="698"/>
                </a:cubicBezTo>
                <a:cubicBezTo>
                  <a:pt x="2009" y="679"/>
                  <a:pt x="2009" y="679"/>
                  <a:pt x="2009" y="679"/>
                </a:cubicBezTo>
                <a:cubicBezTo>
                  <a:pt x="2020" y="673"/>
                  <a:pt x="2020" y="673"/>
                  <a:pt x="2020" y="673"/>
                </a:cubicBezTo>
                <a:cubicBezTo>
                  <a:pt x="2050" y="671"/>
                  <a:pt x="2050" y="671"/>
                  <a:pt x="2050" y="671"/>
                </a:cubicBezTo>
                <a:cubicBezTo>
                  <a:pt x="2057" y="677"/>
                  <a:pt x="2057" y="677"/>
                  <a:pt x="2057" y="677"/>
                </a:cubicBezTo>
                <a:cubicBezTo>
                  <a:pt x="2062" y="670"/>
                  <a:pt x="2062" y="670"/>
                  <a:pt x="2062" y="670"/>
                </a:cubicBezTo>
                <a:cubicBezTo>
                  <a:pt x="2075" y="675"/>
                  <a:pt x="2075" y="675"/>
                  <a:pt x="2075" y="675"/>
                </a:cubicBezTo>
                <a:cubicBezTo>
                  <a:pt x="2085" y="671"/>
                  <a:pt x="2085" y="671"/>
                  <a:pt x="2085" y="671"/>
                </a:cubicBezTo>
                <a:cubicBezTo>
                  <a:pt x="2089" y="676"/>
                  <a:pt x="2089" y="676"/>
                  <a:pt x="2089" y="676"/>
                </a:cubicBezTo>
                <a:cubicBezTo>
                  <a:pt x="2092" y="675"/>
                  <a:pt x="2092" y="675"/>
                  <a:pt x="2092" y="675"/>
                </a:cubicBezTo>
                <a:cubicBezTo>
                  <a:pt x="2090" y="671"/>
                  <a:pt x="2090" y="671"/>
                  <a:pt x="2090" y="671"/>
                </a:cubicBezTo>
                <a:cubicBezTo>
                  <a:pt x="2095" y="669"/>
                  <a:pt x="2095" y="669"/>
                  <a:pt x="2095" y="669"/>
                </a:cubicBezTo>
                <a:cubicBezTo>
                  <a:pt x="2094" y="664"/>
                  <a:pt x="2094" y="664"/>
                  <a:pt x="2094" y="664"/>
                </a:cubicBezTo>
                <a:cubicBezTo>
                  <a:pt x="2097" y="663"/>
                  <a:pt x="2097" y="663"/>
                  <a:pt x="2097" y="663"/>
                </a:cubicBezTo>
                <a:cubicBezTo>
                  <a:pt x="2117" y="670"/>
                  <a:pt x="2117" y="670"/>
                  <a:pt x="2117" y="670"/>
                </a:cubicBezTo>
                <a:cubicBezTo>
                  <a:pt x="2124" y="667"/>
                  <a:pt x="2124" y="667"/>
                  <a:pt x="2124" y="667"/>
                </a:cubicBezTo>
                <a:cubicBezTo>
                  <a:pt x="2133" y="674"/>
                  <a:pt x="2133" y="674"/>
                  <a:pt x="2133" y="674"/>
                </a:cubicBezTo>
                <a:cubicBezTo>
                  <a:pt x="2120" y="679"/>
                  <a:pt x="2120" y="679"/>
                  <a:pt x="2120" y="679"/>
                </a:cubicBezTo>
                <a:cubicBezTo>
                  <a:pt x="2124" y="684"/>
                  <a:pt x="2124" y="684"/>
                  <a:pt x="2124" y="684"/>
                </a:cubicBezTo>
                <a:cubicBezTo>
                  <a:pt x="2138" y="680"/>
                  <a:pt x="2138" y="680"/>
                  <a:pt x="2138" y="680"/>
                </a:cubicBezTo>
                <a:cubicBezTo>
                  <a:pt x="2142" y="683"/>
                  <a:pt x="2142" y="683"/>
                  <a:pt x="2142" y="683"/>
                </a:cubicBezTo>
                <a:cubicBezTo>
                  <a:pt x="2152" y="676"/>
                  <a:pt x="2152" y="676"/>
                  <a:pt x="2152" y="676"/>
                </a:cubicBezTo>
                <a:cubicBezTo>
                  <a:pt x="2168" y="678"/>
                  <a:pt x="2168" y="678"/>
                  <a:pt x="2168" y="678"/>
                </a:cubicBezTo>
                <a:cubicBezTo>
                  <a:pt x="2171" y="676"/>
                  <a:pt x="2171" y="676"/>
                  <a:pt x="2171" y="676"/>
                </a:cubicBezTo>
                <a:cubicBezTo>
                  <a:pt x="2170" y="673"/>
                  <a:pt x="2170" y="673"/>
                  <a:pt x="2170" y="673"/>
                </a:cubicBezTo>
                <a:cubicBezTo>
                  <a:pt x="2159" y="669"/>
                  <a:pt x="2159" y="669"/>
                  <a:pt x="2159" y="669"/>
                </a:cubicBezTo>
                <a:cubicBezTo>
                  <a:pt x="2161" y="666"/>
                  <a:pt x="2161" y="666"/>
                  <a:pt x="2161" y="666"/>
                </a:cubicBezTo>
                <a:cubicBezTo>
                  <a:pt x="2159" y="661"/>
                  <a:pt x="2159" y="661"/>
                  <a:pt x="2159" y="661"/>
                </a:cubicBezTo>
                <a:cubicBezTo>
                  <a:pt x="2161" y="661"/>
                  <a:pt x="2161" y="661"/>
                  <a:pt x="2161" y="661"/>
                </a:cubicBezTo>
                <a:cubicBezTo>
                  <a:pt x="2167" y="648"/>
                  <a:pt x="2167" y="648"/>
                  <a:pt x="2167" y="648"/>
                </a:cubicBezTo>
                <a:cubicBezTo>
                  <a:pt x="2181" y="637"/>
                  <a:pt x="2181" y="637"/>
                  <a:pt x="2181" y="637"/>
                </a:cubicBezTo>
                <a:cubicBezTo>
                  <a:pt x="2197" y="613"/>
                  <a:pt x="2197" y="613"/>
                  <a:pt x="2197" y="613"/>
                </a:cubicBezTo>
                <a:cubicBezTo>
                  <a:pt x="2219" y="606"/>
                  <a:pt x="2219" y="606"/>
                  <a:pt x="2219" y="606"/>
                </a:cubicBezTo>
                <a:cubicBezTo>
                  <a:pt x="2230" y="613"/>
                  <a:pt x="2230" y="613"/>
                  <a:pt x="2230" y="613"/>
                </a:cubicBezTo>
                <a:cubicBezTo>
                  <a:pt x="2237" y="606"/>
                  <a:pt x="2237" y="606"/>
                  <a:pt x="2237" y="606"/>
                </a:cubicBezTo>
                <a:cubicBezTo>
                  <a:pt x="2235" y="616"/>
                  <a:pt x="2235" y="616"/>
                  <a:pt x="2235" y="616"/>
                </a:cubicBezTo>
                <a:cubicBezTo>
                  <a:pt x="2231" y="622"/>
                  <a:pt x="2231" y="622"/>
                  <a:pt x="2231" y="622"/>
                </a:cubicBezTo>
                <a:cubicBezTo>
                  <a:pt x="2232" y="627"/>
                  <a:pt x="2232" y="627"/>
                  <a:pt x="2232" y="627"/>
                </a:cubicBezTo>
                <a:cubicBezTo>
                  <a:pt x="2230" y="631"/>
                  <a:pt x="2230" y="631"/>
                  <a:pt x="2230" y="631"/>
                </a:cubicBezTo>
                <a:cubicBezTo>
                  <a:pt x="2237" y="631"/>
                  <a:pt x="2237" y="631"/>
                  <a:pt x="2237" y="631"/>
                </a:cubicBezTo>
                <a:cubicBezTo>
                  <a:pt x="2234" y="641"/>
                  <a:pt x="2234" y="641"/>
                  <a:pt x="2234" y="641"/>
                </a:cubicBezTo>
                <a:cubicBezTo>
                  <a:pt x="2262" y="614"/>
                  <a:pt x="2262" y="614"/>
                  <a:pt x="2262" y="614"/>
                </a:cubicBezTo>
                <a:cubicBezTo>
                  <a:pt x="2267" y="612"/>
                  <a:pt x="2267" y="612"/>
                  <a:pt x="2267" y="612"/>
                </a:cubicBezTo>
                <a:cubicBezTo>
                  <a:pt x="2270" y="617"/>
                  <a:pt x="2270" y="617"/>
                  <a:pt x="2270" y="617"/>
                </a:cubicBezTo>
                <a:cubicBezTo>
                  <a:pt x="2273" y="613"/>
                  <a:pt x="2273" y="613"/>
                  <a:pt x="2273" y="613"/>
                </a:cubicBezTo>
                <a:cubicBezTo>
                  <a:pt x="2270" y="610"/>
                  <a:pt x="2270" y="610"/>
                  <a:pt x="2270" y="610"/>
                </a:cubicBezTo>
                <a:cubicBezTo>
                  <a:pt x="2270" y="601"/>
                  <a:pt x="2270" y="601"/>
                  <a:pt x="2270" y="601"/>
                </a:cubicBezTo>
                <a:cubicBezTo>
                  <a:pt x="2277" y="590"/>
                  <a:pt x="2277" y="590"/>
                  <a:pt x="2277" y="590"/>
                </a:cubicBezTo>
                <a:cubicBezTo>
                  <a:pt x="2288" y="586"/>
                  <a:pt x="2288" y="586"/>
                  <a:pt x="2288" y="586"/>
                </a:cubicBezTo>
                <a:cubicBezTo>
                  <a:pt x="2295" y="590"/>
                  <a:pt x="2295" y="590"/>
                  <a:pt x="2295" y="590"/>
                </a:cubicBezTo>
                <a:cubicBezTo>
                  <a:pt x="2294" y="593"/>
                  <a:pt x="2294" y="593"/>
                  <a:pt x="2294" y="593"/>
                </a:cubicBezTo>
                <a:cubicBezTo>
                  <a:pt x="2284" y="599"/>
                  <a:pt x="2284" y="599"/>
                  <a:pt x="2284" y="599"/>
                </a:cubicBezTo>
                <a:cubicBezTo>
                  <a:pt x="2282" y="613"/>
                  <a:pt x="2282" y="613"/>
                  <a:pt x="2282" y="613"/>
                </a:cubicBezTo>
                <a:cubicBezTo>
                  <a:pt x="2280" y="617"/>
                  <a:pt x="2280" y="617"/>
                  <a:pt x="2280" y="617"/>
                </a:cubicBezTo>
                <a:cubicBezTo>
                  <a:pt x="2280" y="624"/>
                  <a:pt x="2280" y="624"/>
                  <a:pt x="2280" y="624"/>
                </a:cubicBezTo>
                <a:cubicBezTo>
                  <a:pt x="2277" y="628"/>
                  <a:pt x="2277" y="628"/>
                  <a:pt x="2277" y="628"/>
                </a:cubicBezTo>
                <a:cubicBezTo>
                  <a:pt x="2279" y="633"/>
                  <a:pt x="2279" y="633"/>
                  <a:pt x="2279" y="633"/>
                </a:cubicBezTo>
                <a:cubicBezTo>
                  <a:pt x="2256" y="645"/>
                  <a:pt x="2256" y="645"/>
                  <a:pt x="2256" y="645"/>
                </a:cubicBezTo>
                <a:cubicBezTo>
                  <a:pt x="2254" y="651"/>
                  <a:pt x="2254" y="651"/>
                  <a:pt x="2254" y="651"/>
                </a:cubicBezTo>
                <a:cubicBezTo>
                  <a:pt x="2238" y="668"/>
                  <a:pt x="2238" y="668"/>
                  <a:pt x="2238" y="668"/>
                </a:cubicBezTo>
                <a:cubicBezTo>
                  <a:pt x="2212" y="703"/>
                  <a:pt x="2212" y="703"/>
                  <a:pt x="2212" y="703"/>
                </a:cubicBezTo>
                <a:cubicBezTo>
                  <a:pt x="2200" y="710"/>
                  <a:pt x="2200" y="710"/>
                  <a:pt x="2200" y="710"/>
                </a:cubicBezTo>
                <a:cubicBezTo>
                  <a:pt x="2192" y="709"/>
                  <a:pt x="2192" y="709"/>
                  <a:pt x="2192" y="709"/>
                </a:cubicBezTo>
                <a:cubicBezTo>
                  <a:pt x="2195" y="716"/>
                  <a:pt x="2195" y="716"/>
                  <a:pt x="2195" y="716"/>
                </a:cubicBezTo>
                <a:cubicBezTo>
                  <a:pt x="2192" y="726"/>
                  <a:pt x="2192" y="726"/>
                  <a:pt x="2192" y="726"/>
                </a:cubicBezTo>
                <a:cubicBezTo>
                  <a:pt x="2180" y="735"/>
                  <a:pt x="2180" y="735"/>
                  <a:pt x="2180" y="735"/>
                </a:cubicBezTo>
                <a:cubicBezTo>
                  <a:pt x="2177" y="763"/>
                  <a:pt x="2177" y="763"/>
                  <a:pt x="2177" y="763"/>
                </a:cubicBezTo>
                <a:cubicBezTo>
                  <a:pt x="2177" y="781"/>
                  <a:pt x="2177" y="781"/>
                  <a:pt x="2177" y="781"/>
                </a:cubicBezTo>
                <a:cubicBezTo>
                  <a:pt x="2192" y="858"/>
                  <a:pt x="2192" y="858"/>
                  <a:pt x="2192" y="858"/>
                </a:cubicBezTo>
                <a:cubicBezTo>
                  <a:pt x="2210" y="839"/>
                  <a:pt x="2210" y="839"/>
                  <a:pt x="2210" y="839"/>
                </a:cubicBezTo>
                <a:cubicBezTo>
                  <a:pt x="2214" y="817"/>
                  <a:pt x="2214" y="817"/>
                  <a:pt x="2214" y="817"/>
                </a:cubicBezTo>
                <a:cubicBezTo>
                  <a:pt x="2228" y="811"/>
                  <a:pt x="2228" y="811"/>
                  <a:pt x="2228" y="811"/>
                </a:cubicBezTo>
                <a:cubicBezTo>
                  <a:pt x="2231" y="813"/>
                  <a:pt x="2231" y="813"/>
                  <a:pt x="2231" y="813"/>
                </a:cubicBezTo>
                <a:cubicBezTo>
                  <a:pt x="2231" y="795"/>
                  <a:pt x="2231" y="795"/>
                  <a:pt x="2231" y="795"/>
                </a:cubicBezTo>
                <a:cubicBezTo>
                  <a:pt x="2244" y="782"/>
                  <a:pt x="2244" y="782"/>
                  <a:pt x="2244" y="782"/>
                </a:cubicBezTo>
                <a:cubicBezTo>
                  <a:pt x="2251" y="784"/>
                  <a:pt x="2251" y="784"/>
                  <a:pt x="2251" y="784"/>
                </a:cubicBezTo>
                <a:cubicBezTo>
                  <a:pt x="2258" y="779"/>
                  <a:pt x="2258" y="779"/>
                  <a:pt x="2258" y="779"/>
                </a:cubicBezTo>
                <a:cubicBezTo>
                  <a:pt x="2252" y="762"/>
                  <a:pt x="2252" y="762"/>
                  <a:pt x="2252" y="762"/>
                </a:cubicBezTo>
                <a:cubicBezTo>
                  <a:pt x="2256" y="752"/>
                  <a:pt x="2256" y="752"/>
                  <a:pt x="2256" y="752"/>
                </a:cubicBezTo>
                <a:cubicBezTo>
                  <a:pt x="2262" y="747"/>
                  <a:pt x="2262" y="747"/>
                  <a:pt x="2262" y="747"/>
                </a:cubicBezTo>
                <a:cubicBezTo>
                  <a:pt x="2260" y="743"/>
                  <a:pt x="2260" y="743"/>
                  <a:pt x="2260" y="743"/>
                </a:cubicBezTo>
                <a:cubicBezTo>
                  <a:pt x="2268" y="739"/>
                  <a:pt x="2268" y="739"/>
                  <a:pt x="2268" y="739"/>
                </a:cubicBezTo>
                <a:cubicBezTo>
                  <a:pt x="2265" y="746"/>
                  <a:pt x="2265" y="746"/>
                  <a:pt x="2265" y="746"/>
                </a:cubicBezTo>
                <a:cubicBezTo>
                  <a:pt x="2269" y="752"/>
                  <a:pt x="2269" y="752"/>
                  <a:pt x="2269" y="752"/>
                </a:cubicBezTo>
                <a:cubicBezTo>
                  <a:pt x="2273" y="745"/>
                  <a:pt x="2273" y="745"/>
                  <a:pt x="2273" y="745"/>
                </a:cubicBezTo>
                <a:cubicBezTo>
                  <a:pt x="2272" y="737"/>
                  <a:pt x="2272" y="737"/>
                  <a:pt x="2272" y="737"/>
                </a:cubicBezTo>
                <a:cubicBezTo>
                  <a:pt x="2266" y="735"/>
                  <a:pt x="2266" y="735"/>
                  <a:pt x="2266" y="735"/>
                </a:cubicBezTo>
                <a:cubicBezTo>
                  <a:pt x="2266" y="724"/>
                  <a:pt x="2266" y="724"/>
                  <a:pt x="2266" y="724"/>
                </a:cubicBezTo>
                <a:cubicBezTo>
                  <a:pt x="2272" y="710"/>
                  <a:pt x="2272" y="710"/>
                  <a:pt x="2272" y="710"/>
                </a:cubicBezTo>
                <a:cubicBezTo>
                  <a:pt x="2265" y="706"/>
                  <a:pt x="2265" y="706"/>
                  <a:pt x="2265" y="706"/>
                </a:cubicBezTo>
                <a:cubicBezTo>
                  <a:pt x="2259" y="711"/>
                  <a:pt x="2259" y="711"/>
                  <a:pt x="2259" y="711"/>
                </a:cubicBezTo>
                <a:cubicBezTo>
                  <a:pt x="2257" y="707"/>
                  <a:pt x="2257" y="707"/>
                  <a:pt x="2257" y="707"/>
                </a:cubicBezTo>
                <a:cubicBezTo>
                  <a:pt x="2258" y="699"/>
                  <a:pt x="2258" y="699"/>
                  <a:pt x="2258" y="699"/>
                </a:cubicBezTo>
                <a:cubicBezTo>
                  <a:pt x="2268" y="679"/>
                  <a:pt x="2268" y="679"/>
                  <a:pt x="2268" y="679"/>
                </a:cubicBezTo>
                <a:cubicBezTo>
                  <a:pt x="2272" y="679"/>
                  <a:pt x="2272" y="679"/>
                  <a:pt x="2272" y="679"/>
                </a:cubicBezTo>
                <a:cubicBezTo>
                  <a:pt x="2276" y="660"/>
                  <a:pt x="2276" y="660"/>
                  <a:pt x="2276" y="660"/>
                </a:cubicBezTo>
                <a:cubicBezTo>
                  <a:pt x="2282" y="657"/>
                  <a:pt x="2282" y="657"/>
                  <a:pt x="2282" y="657"/>
                </a:cubicBezTo>
                <a:cubicBezTo>
                  <a:pt x="2284" y="660"/>
                  <a:pt x="2284" y="660"/>
                  <a:pt x="2284" y="660"/>
                </a:cubicBezTo>
                <a:cubicBezTo>
                  <a:pt x="2289" y="655"/>
                  <a:pt x="2289" y="655"/>
                  <a:pt x="2289" y="655"/>
                </a:cubicBezTo>
                <a:cubicBezTo>
                  <a:pt x="2295" y="661"/>
                  <a:pt x="2295" y="661"/>
                  <a:pt x="2295" y="661"/>
                </a:cubicBezTo>
                <a:cubicBezTo>
                  <a:pt x="2298" y="651"/>
                  <a:pt x="2298" y="651"/>
                  <a:pt x="2298" y="651"/>
                </a:cubicBezTo>
                <a:cubicBezTo>
                  <a:pt x="2309" y="643"/>
                  <a:pt x="2309" y="643"/>
                  <a:pt x="2309" y="643"/>
                </a:cubicBezTo>
                <a:cubicBezTo>
                  <a:pt x="2310" y="645"/>
                  <a:pt x="2310" y="645"/>
                  <a:pt x="2310" y="645"/>
                </a:cubicBezTo>
                <a:cubicBezTo>
                  <a:pt x="2310" y="661"/>
                  <a:pt x="2310" y="661"/>
                  <a:pt x="2310" y="661"/>
                </a:cubicBezTo>
                <a:cubicBezTo>
                  <a:pt x="2319" y="645"/>
                  <a:pt x="2319" y="645"/>
                  <a:pt x="2319" y="645"/>
                </a:cubicBezTo>
                <a:cubicBezTo>
                  <a:pt x="2334" y="639"/>
                  <a:pt x="2334" y="639"/>
                  <a:pt x="2334" y="639"/>
                </a:cubicBezTo>
                <a:cubicBezTo>
                  <a:pt x="2349" y="643"/>
                  <a:pt x="2349" y="643"/>
                  <a:pt x="2349" y="643"/>
                </a:cubicBezTo>
                <a:cubicBezTo>
                  <a:pt x="2361" y="657"/>
                  <a:pt x="2361" y="657"/>
                  <a:pt x="2361" y="657"/>
                </a:cubicBezTo>
                <a:cubicBezTo>
                  <a:pt x="2364" y="645"/>
                  <a:pt x="2364" y="645"/>
                  <a:pt x="2364" y="645"/>
                </a:cubicBezTo>
                <a:cubicBezTo>
                  <a:pt x="2384" y="632"/>
                  <a:pt x="2384" y="632"/>
                  <a:pt x="2384" y="632"/>
                </a:cubicBezTo>
                <a:cubicBezTo>
                  <a:pt x="2383" y="628"/>
                  <a:pt x="2383" y="628"/>
                  <a:pt x="2383" y="628"/>
                </a:cubicBezTo>
                <a:cubicBezTo>
                  <a:pt x="2388" y="629"/>
                  <a:pt x="2388" y="629"/>
                  <a:pt x="2388" y="629"/>
                </a:cubicBezTo>
                <a:cubicBezTo>
                  <a:pt x="2387" y="625"/>
                  <a:pt x="2387" y="625"/>
                  <a:pt x="2387" y="625"/>
                </a:cubicBezTo>
                <a:cubicBezTo>
                  <a:pt x="2397" y="620"/>
                  <a:pt x="2397" y="620"/>
                  <a:pt x="2397" y="620"/>
                </a:cubicBezTo>
                <a:cubicBezTo>
                  <a:pt x="2401" y="611"/>
                  <a:pt x="2401" y="611"/>
                  <a:pt x="2401" y="611"/>
                </a:cubicBezTo>
                <a:cubicBezTo>
                  <a:pt x="2406" y="613"/>
                  <a:pt x="2406" y="613"/>
                  <a:pt x="2406" y="613"/>
                </a:cubicBezTo>
                <a:cubicBezTo>
                  <a:pt x="2420" y="605"/>
                  <a:pt x="2420" y="605"/>
                  <a:pt x="2420" y="605"/>
                </a:cubicBezTo>
                <a:cubicBezTo>
                  <a:pt x="2421" y="600"/>
                  <a:pt x="2421" y="600"/>
                  <a:pt x="2421" y="600"/>
                </a:cubicBezTo>
                <a:cubicBezTo>
                  <a:pt x="2448" y="590"/>
                  <a:pt x="2448" y="590"/>
                  <a:pt x="2448" y="590"/>
                </a:cubicBezTo>
                <a:cubicBezTo>
                  <a:pt x="2445" y="580"/>
                  <a:pt x="2445" y="580"/>
                  <a:pt x="2445" y="580"/>
                </a:cubicBezTo>
                <a:cubicBezTo>
                  <a:pt x="2451" y="588"/>
                  <a:pt x="2451" y="588"/>
                  <a:pt x="2451" y="588"/>
                </a:cubicBezTo>
                <a:cubicBezTo>
                  <a:pt x="2453" y="586"/>
                  <a:pt x="2453" y="586"/>
                  <a:pt x="2453" y="586"/>
                </a:cubicBezTo>
                <a:cubicBezTo>
                  <a:pt x="2471" y="595"/>
                  <a:pt x="2471" y="595"/>
                  <a:pt x="2471" y="595"/>
                </a:cubicBezTo>
                <a:cubicBezTo>
                  <a:pt x="2477" y="584"/>
                  <a:pt x="2477" y="584"/>
                  <a:pt x="2477" y="584"/>
                </a:cubicBezTo>
                <a:cubicBezTo>
                  <a:pt x="2471" y="576"/>
                  <a:pt x="2471" y="576"/>
                  <a:pt x="2471" y="576"/>
                </a:cubicBezTo>
                <a:cubicBezTo>
                  <a:pt x="2476" y="575"/>
                  <a:pt x="2476" y="575"/>
                  <a:pt x="2476" y="575"/>
                </a:cubicBezTo>
                <a:cubicBezTo>
                  <a:pt x="2469" y="563"/>
                  <a:pt x="2469" y="563"/>
                  <a:pt x="2469" y="563"/>
                </a:cubicBezTo>
                <a:cubicBezTo>
                  <a:pt x="2467" y="550"/>
                  <a:pt x="2467" y="550"/>
                  <a:pt x="2467" y="550"/>
                </a:cubicBezTo>
                <a:cubicBezTo>
                  <a:pt x="2462" y="548"/>
                  <a:pt x="2462" y="548"/>
                  <a:pt x="2462" y="548"/>
                </a:cubicBezTo>
                <a:cubicBezTo>
                  <a:pt x="2465" y="546"/>
                  <a:pt x="2465" y="546"/>
                  <a:pt x="2465" y="546"/>
                </a:cubicBezTo>
                <a:cubicBezTo>
                  <a:pt x="2462" y="539"/>
                  <a:pt x="2462" y="539"/>
                  <a:pt x="2462" y="539"/>
                </a:cubicBezTo>
                <a:cubicBezTo>
                  <a:pt x="2460" y="542"/>
                  <a:pt x="2460" y="542"/>
                  <a:pt x="2460" y="542"/>
                </a:cubicBezTo>
                <a:cubicBezTo>
                  <a:pt x="2452" y="537"/>
                  <a:pt x="2452" y="537"/>
                  <a:pt x="2452" y="537"/>
                </a:cubicBezTo>
                <a:cubicBezTo>
                  <a:pt x="2451" y="527"/>
                  <a:pt x="2451" y="527"/>
                  <a:pt x="2451" y="527"/>
                </a:cubicBezTo>
                <a:cubicBezTo>
                  <a:pt x="2461" y="527"/>
                  <a:pt x="2461" y="527"/>
                  <a:pt x="2461" y="527"/>
                </a:cubicBezTo>
                <a:cubicBezTo>
                  <a:pt x="2465" y="532"/>
                  <a:pt x="2465" y="532"/>
                  <a:pt x="2465" y="532"/>
                </a:cubicBezTo>
                <a:cubicBezTo>
                  <a:pt x="2481" y="520"/>
                  <a:pt x="2481" y="520"/>
                  <a:pt x="2481" y="520"/>
                </a:cubicBezTo>
                <a:cubicBezTo>
                  <a:pt x="2483" y="517"/>
                  <a:pt x="2483" y="517"/>
                  <a:pt x="2483" y="517"/>
                </a:cubicBezTo>
                <a:cubicBezTo>
                  <a:pt x="2492" y="504"/>
                  <a:pt x="2492" y="504"/>
                  <a:pt x="2492" y="504"/>
                </a:cubicBezTo>
                <a:cubicBezTo>
                  <a:pt x="2485" y="493"/>
                  <a:pt x="2485" y="493"/>
                  <a:pt x="2485" y="493"/>
                </a:cubicBezTo>
                <a:cubicBezTo>
                  <a:pt x="2484" y="485"/>
                  <a:pt x="2484" y="485"/>
                  <a:pt x="2484" y="485"/>
                </a:cubicBezTo>
                <a:cubicBezTo>
                  <a:pt x="2492" y="484"/>
                  <a:pt x="2492" y="484"/>
                  <a:pt x="2492" y="484"/>
                </a:cubicBezTo>
                <a:cubicBezTo>
                  <a:pt x="2492" y="479"/>
                  <a:pt x="2492" y="479"/>
                  <a:pt x="2492" y="479"/>
                </a:cubicBezTo>
                <a:cubicBezTo>
                  <a:pt x="2493" y="479"/>
                  <a:pt x="2493" y="479"/>
                  <a:pt x="2493" y="479"/>
                </a:cubicBezTo>
                <a:cubicBezTo>
                  <a:pt x="2497" y="484"/>
                  <a:pt x="2497" y="484"/>
                  <a:pt x="2497" y="484"/>
                </a:cubicBezTo>
                <a:cubicBezTo>
                  <a:pt x="2502" y="478"/>
                  <a:pt x="2502" y="478"/>
                  <a:pt x="2502" y="478"/>
                </a:cubicBezTo>
                <a:cubicBezTo>
                  <a:pt x="2502" y="486"/>
                  <a:pt x="2502" y="486"/>
                  <a:pt x="2502" y="486"/>
                </a:cubicBezTo>
                <a:cubicBezTo>
                  <a:pt x="2496" y="486"/>
                  <a:pt x="2496" y="486"/>
                  <a:pt x="2496" y="486"/>
                </a:cubicBezTo>
                <a:cubicBezTo>
                  <a:pt x="2502" y="503"/>
                  <a:pt x="2502" y="503"/>
                  <a:pt x="2502" y="503"/>
                </a:cubicBezTo>
                <a:cubicBezTo>
                  <a:pt x="2527" y="501"/>
                  <a:pt x="2527" y="501"/>
                  <a:pt x="2527" y="501"/>
                </a:cubicBezTo>
                <a:cubicBezTo>
                  <a:pt x="2534" y="506"/>
                  <a:pt x="2534" y="506"/>
                  <a:pt x="2534" y="506"/>
                </a:cubicBezTo>
                <a:cubicBezTo>
                  <a:pt x="2534" y="518"/>
                  <a:pt x="2534" y="518"/>
                  <a:pt x="2534" y="518"/>
                </a:cubicBezTo>
                <a:cubicBezTo>
                  <a:pt x="2541" y="526"/>
                  <a:pt x="2541" y="526"/>
                  <a:pt x="2541" y="526"/>
                </a:cubicBezTo>
                <a:cubicBezTo>
                  <a:pt x="2547" y="527"/>
                  <a:pt x="2547" y="527"/>
                  <a:pt x="2547" y="527"/>
                </a:cubicBezTo>
                <a:cubicBezTo>
                  <a:pt x="2546" y="526"/>
                  <a:pt x="2546" y="526"/>
                  <a:pt x="2546" y="526"/>
                </a:cubicBezTo>
                <a:cubicBezTo>
                  <a:pt x="2550" y="525"/>
                  <a:pt x="2550" y="525"/>
                  <a:pt x="2550" y="525"/>
                </a:cubicBezTo>
                <a:cubicBezTo>
                  <a:pt x="2549" y="527"/>
                  <a:pt x="2549" y="527"/>
                  <a:pt x="2549" y="527"/>
                </a:cubicBezTo>
                <a:cubicBezTo>
                  <a:pt x="2557" y="530"/>
                  <a:pt x="2557" y="530"/>
                  <a:pt x="2557" y="530"/>
                </a:cubicBezTo>
                <a:cubicBezTo>
                  <a:pt x="2559" y="537"/>
                  <a:pt x="2559" y="537"/>
                  <a:pt x="2559" y="537"/>
                </a:cubicBezTo>
                <a:cubicBezTo>
                  <a:pt x="2562" y="535"/>
                  <a:pt x="2562" y="535"/>
                  <a:pt x="2562" y="535"/>
                </a:cubicBezTo>
                <a:cubicBezTo>
                  <a:pt x="2564" y="539"/>
                  <a:pt x="2564" y="539"/>
                  <a:pt x="2564" y="539"/>
                </a:cubicBezTo>
                <a:cubicBezTo>
                  <a:pt x="2567" y="531"/>
                  <a:pt x="2567" y="531"/>
                  <a:pt x="2567" y="531"/>
                </a:cubicBezTo>
                <a:cubicBezTo>
                  <a:pt x="2566" y="539"/>
                  <a:pt x="2566" y="539"/>
                  <a:pt x="2566" y="539"/>
                </a:cubicBezTo>
                <a:cubicBezTo>
                  <a:pt x="2571" y="541"/>
                  <a:pt x="2571" y="541"/>
                  <a:pt x="2571" y="541"/>
                </a:cubicBezTo>
                <a:cubicBezTo>
                  <a:pt x="2573" y="536"/>
                  <a:pt x="2573" y="536"/>
                  <a:pt x="2573" y="536"/>
                </a:cubicBezTo>
                <a:cubicBezTo>
                  <a:pt x="2570" y="535"/>
                  <a:pt x="2570" y="535"/>
                  <a:pt x="2570" y="535"/>
                </a:cubicBezTo>
                <a:cubicBezTo>
                  <a:pt x="2580" y="536"/>
                  <a:pt x="2580" y="536"/>
                  <a:pt x="2580" y="536"/>
                </a:cubicBezTo>
                <a:cubicBezTo>
                  <a:pt x="2572" y="529"/>
                  <a:pt x="2572" y="529"/>
                  <a:pt x="2572" y="529"/>
                </a:cubicBezTo>
                <a:cubicBezTo>
                  <a:pt x="2575" y="527"/>
                  <a:pt x="2575" y="527"/>
                  <a:pt x="2575" y="527"/>
                </a:cubicBezTo>
                <a:cubicBezTo>
                  <a:pt x="2570" y="526"/>
                  <a:pt x="2570" y="526"/>
                  <a:pt x="2570" y="526"/>
                </a:cubicBezTo>
                <a:cubicBezTo>
                  <a:pt x="2583" y="518"/>
                  <a:pt x="2583" y="518"/>
                  <a:pt x="2583" y="518"/>
                </a:cubicBezTo>
                <a:lnTo>
                  <a:pt x="2576" y="512"/>
                </a:lnTo>
                <a:close/>
                <a:moveTo>
                  <a:pt x="404" y="1439"/>
                </a:moveTo>
                <a:cubicBezTo>
                  <a:pt x="398" y="1444"/>
                  <a:pt x="398" y="1444"/>
                  <a:pt x="398" y="1444"/>
                </a:cubicBezTo>
                <a:cubicBezTo>
                  <a:pt x="385" y="1427"/>
                  <a:pt x="385" y="1427"/>
                  <a:pt x="385" y="1427"/>
                </a:cubicBezTo>
                <a:cubicBezTo>
                  <a:pt x="384" y="1423"/>
                  <a:pt x="384" y="1423"/>
                  <a:pt x="384" y="1423"/>
                </a:cubicBezTo>
                <a:cubicBezTo>
                  <a:pt x="386" y="1420"/>
                  <a:pt x="386" y="1420"/>
                  <a:pt x="386" y="1420"/>
                </a:cubicBezTo>
                <a:cubicBezTo>
                  <a:pt x="390" y="1420"/>
                  <a:pt x="390" y="1420"/>
                  <a:pt x="390" y="1420"/>
                </a:cubicBezTo>
                <a:cubicBezTo>
                  <a:pt x="395" y="1423"/>
                  <a:pt x="395" y="1423"/>
                  <a:pt x="395" y="1423"/>
                </a:cubicBezTo>
                <a:cubicBezTo>
                  <a:pt x="398" y="1430"/>
                  <a:pt x="398" y="1430"/>
                  <a:pt x="398" y="1430"/>
                </a:cubicBezTo>
                <a:cubicBezTo>
                  <a:pt x="409" y="1431"/>
                  <a:pt x="409" y="1431"/>
                  <a:pt x="409" y="1431"/>
                </a:cubicBezTo>
                <a:cubicBezTo>
                  <a:pt x="410" y="1438"/>
                  <a:pt x="410" y="1438"/>
                  <a:pt x="410" y="1438"/>
                </a:cubicBezTo>
                <a:lnTo>
                  <a:pt x="404" y="1439"/>
                </a:lnTo>
                <a:close/>
                <a:moveTo>
                  <a:pt x="611" y="1712"/>
                </a:moveTo>
                <a:cubicBezTo>
                  <a:pt x="605" y="1709"/>
                  <a:pt x="605" y="1709"/>
                  <a:pt x="605" y="1709"/>
                </a:cubicBezTo>
                <a:cubicBezTo>
                  <a:pt x="605" y="1704"/>
                  <a:pt x="605" y="1704"/>
                  <a:pt x="605" y="1704"/>
                </a:cubicBezTo>
                <a:cubicBezTo>
                  <a:pt x="603" y="1696"/>
                  <a:pt x="603" y="1696"/>
                  <a:pt x="603" y="1696"/>
                </a:cubicBezTo>
                <a:cubicBezTo>
                  <a:pt x="595" y="1690"/>
                  <a:pt x="595" y="1690"/>
                  <a:pt x="595" y="1690"/>
                </a:cubicBezTo>
                <a:cubicBezTo>
                  <a:pt x="590" y="1682"/>
                  <a:pt x="590" y="1682"/>
                  <a:pt x="590" y="1682"/>
                </a:cubicBezTo>
                <a:cubicBezTo>
                  <a:pt x="590" y="1672"/>
                  <a:pt x="590" y="1672"/>
                  <a:pt x="590" y="1672"/>
                </a:cubicBezTo>
                <a:cubicBezTo>
                  <a:pt x="588" y="1665"/>
                  <a:pt x="588" y="1665"/>
                  <a:pt x="588" y="1665"/>
                </a:cubicBezTo>
                <a:cubicBezTo>
                  <a:pt x="590" y="1643"/>
                  <a:pt x="590" y="1643"/>
                  <a:pt x="590" y="1643"/>
                </a:cubicBezTo>
                <a:cubicBezTo>
                  <a:pt x="594" y="1656"/>
                  <a:pt x="594" y="1656"/>
                  <a:pt x="594" y="1656"/>
                </a:cubicBezTo>
                <a:cubicBezTo>
                  <a:pt x="598" y="1676"/>
                  <a:pt x="598" y="1676"/>
                  <a:pt x="598" y="1676"/>
                </a:cubicBezTo>
                <a:cubicBezTo>
                  <a:pt x="596" y="1681"/>
                  <a:pt x="596" y="1681"/>
                  <a:pt x="596" y="1681"/>
                </a:cubicBezTo>
                <a:cubicBezTo>
                  <a:pt x="605" y="1688"/>
                  <a:pt x="605" y="1688"/>
                  <a:pt x="605" y="1688"/>
                </a:cubicBezTo>
                <a:cubicBezTo>
                  <a:pt x="605" y="1694"/>
                  <a:pt x="605" y="1694"/>
                  <a:pt x="605" y="1694"/>
                </a:cubicBezTo>
                <a:cubicBezTo>
                  <a:pt x="612" y="1709"/>
                  <a:pt x="612" y="1709"/>
                  <a:pt x="612" y="1709"/>
                </a:cubicBezTo>
                <a:lnTo>
                  <a:pt x="611" y="1712"/>
                </a:lnTo>
                <a:close/>
                <a:moveTo>
                  <a:pt x="614" y="1581"/>
                </a:moveTo>
                <a:cubicBezTo>
                  <a:pt x="607" y="1588"/>
                  <a:pt x="607" y="1588"/>
                  <a:pt x="607" y="1588"/>
                </a:cubicBezTo>
                <a:cubicBezTo>
                  <a:pt x="605" y="1586"/>
                  <a:pt x="605" y="1586"/>
                  <a:pt x="605" y="1586"/>
                </a:cubicBezTo>
                <a:cubicBezTo>
                  <a:pt x="605" y="1582"/>
                  <a:pt x="605" y="1582"/>
                  <a:pt x="605" y="1582"/>
                </a:cubicBezTo>
                <a:cubicBezTo>
                  <a:pt x="614" y="1573"/>
                  <a:pt x="614" y="1573"/>
                  <a:pt x="614" y="1573"/>
                </a:cubicBezTo>
                <a:lnTo>
                  <a:pt x="614" y="1581"/>
                </a:lnTo>
                <a:close/>
                <a:moveTo>
                  <a:pt x="659" y="1772"/>
                </a:moveTo>
                <a:cubicBezTo>
                  <a:pt x="664" y="1783"/>
                  <a:pt x="664" y="1783"/>
                  <a:pt x="664" y="1783"/>
                </a:cubicBezTo>
                <a:cubicBezTo>
                  <a:pt x="659" y="1780"/>
                  <a:pt x="659" y="1780"/>
                  <a:pt x="659" y="1780"/>
                </a:cubicBezTo>
                <a:cubicBezTo>
                  <a:pt x="656" y="1781"/>
                  <a:pt x="656" y="1781"/>
                  <a:pt x="656" y="1781"/>
                </a:cubicBezTo>
                <a:cubicBezTo>
                  <a:pt x="655" y="1776"/>
                  <a:pt x="655" y="1776"/>
                  <a:pt x="655" y="1776"/>
                </a:cubicBezTo>
                <a:cubicBezTo>
                  <a:pt x="648" y="1757"/>
                  <a:pt x="648" y="1757"/>
                  <a:pt x="648" y="1757"/>
                </a:cubicBezTo>
                <a:cubicBezTo>
                  <a:pt x="651" y="1749"/>
                  <a:pt x="651" y="1749"/>
                  <a:pt x="651" y="1749"/>
                </a:cubicBezTo>
                <a:cubicBezTo>
                  <a:pt x="651" y="1732"/>
                  <a:pt x="651" y="1732"/>
                  <a:pt x="651" y="1732"/>
                </a:cubicBezTo>
                <a:cubicBezTo>
                  <a:pt x="647" y="1727"/>
                  <a:pt x="647" y="1727"/>
                  <a:pt x="647" y="1727"/>
                </a:cubicBezTo>
                <a:cubicBezTo>
                  <a:pt x="648" y="1722"/>
                  <a:pt x="648" y="1722"/>
                  <a:pt x="648" y="1722"/>
                </a:cubicBezTo>
                <a:cubicBezTo>
                  <a:pt x="654" y="1727"/>
                  <a:pt x="654" y="1727"/>
                  <a:pt x="654" y="1727"/>
                </a:cubicBezTo>
                <a:cubicBezTo>
                  <a:pt x="656" y="1742"/>
                  <a:pt x="656" y="1742"/>
                  <a:pt x="656" y="1742"/>
                </a:cubicBezTo>
                <a:cubicBezTo>
                  <a:pt x="660" y="1747"/>
                  <a:pt x="660" y="1747"/>
                  <a:pt x="660" y="1747"/>
                </a:cubicBezTo>
                <a:cubicBezTo>
                  <a:pt x="656" y="1758"/>
                  <a:pt x="656" y="1758"/>
                  <a:pt x="656" y="1758"/>
                </a:cubicBezTo>
                <a:lnTo>
                  <a:pt x="659" y="1772"/>
                </a:lnTo>
                <a:close/>
                <a:moveTo>
                  <a:pt x="631" y="1599"/>
                </a:moveTo>
                <a:cubicBezTo>
                  <a:pt x="637" y="1601"/>
                  <a:pt x="637" y="1601"/>
                  <a:pt x="637" y="1601"/>
                </a:cubicBezTo>
                <a:cubicBezTo>
                  <a:pt x="639" y="1597"/>
                  <a:pt x="639" y="1597"/>
                  <a:pt x="639" y="1597"/>
                </a:cubicBezTo>
                <a:cubicBezTo>
                  <a:pt x="649" y="1598"/>
                  <a:pt x="649" y="1598"/>
                  <a:pt x="649" y="1598"/>
                </a:cubicBezTo>
                <a:cubicBezTo>
                  <a:pt x="650" y="1605"/>
                  <a:pt x="650" y="1605"/>
                  <a:pt x="650" y="1605"/>
                </a:cubicBezTo>
                <a:cubicBezTo>
                  <a:pt x="658" y="1605"/>
                  <a:pt x="658" y="1605"/>
                  <a:pt x="658" y="1605"/>
                </a:cubicBezTo>
                <a:cubicBezTo>
                  <a:pt x="651" y="1608"/>
                  <a:pt x="651" y="1608"/>
                  <a:pt x="651" y="1608"/>
                </a:cubicBezTo>
                <a:cubicBezTo>
                  <a:pt x="649" y="1611"/>
                  <a:pt x="649" y="1611"/>
                  <a:pt x="649" y="1611"/>
                </a:cubicBezTo>
                <a:cubicBezTo>
                  <a:pt x="651" y="1614"/>
                  <a:pt x="651" y="1614"/>
                  <a:pt x="651" y="1614"/>
                </a:cubicBezTo>
                <a:cubicBezTo>
                  <a:pt x="640" y="1627"/>
                  <a:pt x="640" y="1627"/>
                  <a:pt x="640" y="1627"/>
                </a:cubicBezTo>
                <a:cubicBezTo>
                  <a:pt x="646" y="1630"/>
                  <a:pt x="646" y="1630"/>
                  <a:pt x="646" y="1630"/>
                </a:cubicBezTo>
                <a:cubicBezTo>
                  <a:pt x="637" y="1633"/>
                  <a:pt x="637" y="1633"/>
                  <a:pt x="637" y="1633"/>
                </a:cubicBezTo>
                <a:cubicBezTo>
                  <a:pt x="634" y="1637"/>
                  <a:pt x="634" y="1637"/>
                  <a:pt x="634" y="1637"/>
                </a:cubicBezTo>
                <a:cubicBezTo>
                  <a:pt x="634" y="1633"/>
                  <a:pt x="634" y="1633"/>
                  <a:pt x="634" y="1633"/>
                </a:cubicBezTo>
                <a:cubicBezTo>
                  <a:pt x="631" y="1634"/>
                  <a:pt x="631" y="1634"/>
                  <a:pt x="631" y="1634"/>
                </a:cubicBezTo>
                <a:cubicBezTo>
                  <a:pt x="627" y="1630"/>
                  <a:pt x="627" y="1630"/>
                  <a:pt x="627" y="1630"/>
                </a:cubicBezTo>
                <a:cubicBezTo>
                  <a:pt x="626" y="1633"/>
                  <a:pt x="626" y="1633"/>
                  <a:pt x="626" y="1633"/>
                </a:cubicBezTo>
                <a:cubicBezTo>
                  <a:pt x="621" y="1636"/>
                  <a:pt x="621" y="1636"/>
                  <a:pt x="621" y="1636"/>
                </a:cubicBezTo>
                <a:cubicBezTo>
                  <a:pt x="620" y="1627"/>
                  <a:pt x="620" y="1627"/>
                  <a:pt x="620" y="1627"/>
                </a:cubicBezTo>
                <a:cubicBezTo>
                  <a:pt x="621" y="1614"/>
                  <a:pt x="621" y="1614"/>
                  <a:pt x="621" y="1614"/>
                </a:cubicBezTo>
                <a:cubicBezTo>
                  <a:pt x="622" y="1603"/>
                  <a:pt x="622" y="1603"/>
                  <a:pt x="622" y="1603"/>
                </a:cubicBezTo>
                <a:lnTo>
                  <a:pt x="631" y="1599"/>
                </a:lnTo>
                <a:close/>
                <a:moveTo>
                  <a:pt x="908" y="967"/>
                </a:moveTo>
                <a:cubicBezTo>
                  <a:pt x="876" y="961"/>
                  <a:pt x="876" y="961"/>
                  <a:pt x="876" y="961"/>
                </a:cubicBezTo>
                <a:cubicBezTo>
                  <a:pt x="873" y="965"/>
                  <a:pt x="873" y="965"/>
                  <a:pt x="873" y="965"/>
                </a:cubicBezTo>
                <a:cubicBezTo>
                  <a:pt x="866" y="965"/>
                  <a:pt x="866" y="965"/>
                  <a:pt x="866" y="965"/>
                </a:cubicBezTo>
                <a:cubicBezTo>
                  <a:pt x="864" y="969"/>
                  <a:pt x="864" y="969"/>
                  <a:pt x="864" y="969"/>
                </a:cubicBezTo>
                <a:cubicBezTo>
                  <a:pt x="868" y="976"/>
                  <a:pt x="868" y="976"/>
                  <a:pt x="868" y="976"/>
                </a:cubicBezTo>
                <a:cubicBezTo>
                  <a:pt x="850" y="976"/>
                  <a:pt x="850" y="976"/>
                  <a:pt x="850" y="976"/>
                </a:cubicBezTo>
                <a:cubicBezTo>
                  <a:pt x="862" y="987"/>
                  <a:pt x="862" y="987"/>
                  <a:pt x="862" y="987"/>
                </a:cubicBezTo>
                <a:cubicBezTo>
                  <a:pt x="866" y="1001"/>
                  <a:pt x="866" y="1001"/>
                  <a:pt x="866" y="1001"/>
                </a:cubicBezTo>
                <a:cubicBezTo>
                  <a:pt x="882" y="1008"/>
                  <a:pt x="882" y="1008"/>
                  <a:pt x="882" y="1008"/>
                </a:cubicBezTo>
                <a:cubicBezTo>
                  <a:pt x="880" y="1022"/>
                  <a:pt x="880" y="1022"/>
                  <a:pt x="880" y="1022"/>
                </a:cubicBezTo>
                <a:cubicBezTo>
                  <a:pt x="883" y="1034"/>
                  <a:pt x="883" y="1034"/>
                  <a:pt x="883" y="1034"/>
                </a:cubicBezTo>
                <a:cubicBezTo>
                  <a:pt x="883" y="1025"/>
                  <a:pt x="883" y="1025"/>
                  <a:pt x="883" y="1025"/>
                </a:cubicBezTo>
                <a:cubicBezTo>
                  <a:pt x="892" y="1020"/>
                  <a:pt x="892" y="1020"/>
                  <a:pt x="892" y="1020"/>
                </a:cubicBezTo>
                <a:cubicBezTo>
                  <a:pt x="896" y="1020"/>
                  <a:pt x="896" y="1020"/>
                  <a:pt x="896" y="1020"/>
                </a:cubicBezTo>
                <a:cubicBezTo>
                  <a:pt x="900" y="1027"/>
                  <a:pt x="900" y="1027"/>
                  <a:pt x="900" y="1027"/>
                </a:cubicBezTo>
                <a:cubicBezTo>
                  <a:pt x="908" y="1035"/>
                  <a:pt x="908" y="1035"/>
                  <a:pt x="908" y="1035"/>
                </a:cubicBezTo>
                <a:cubicBezTo>
                  <a:pt x="902" y="1040"/>
                  <a:pt x="902" y="1040"/>
                  <a:pt x="902" y="1040"/>
                </a:cubicBezTo>
                <a:cubicBezTo>
                  <a:pt x="905" y="1041"/>
                  <a:pt x="905" y="1041"/>
                  <a:pt x="905" y="1041"/>
                </a:cubicBezTo>
                <a:cubicBezTo>
                  <a:pt x="902" y="1043"/>
                  <a:pt x="902" y="1043"/>
                  <a:pt x="902" y="1043"/>
                </a:cubicBezTo>
                <a:cubicBezTo>
                  <a:pt x="887" y="1041"/>
                  <a:pt x="887" y="1041"/>
                  <a:pt x="887" y="1041"/>
                </a:cubicBezTo>
                <a:cubicBezTo>
                  <a:pt x="885" y="1035"/>
                  <a:pt x="885" y="1035"/>
                  <a:pt x="885" y="1035"/>
                </a:cubicBezTo>
                <a:cubicBezTo>
                  <a:pt x="883" y="1048"/>
                  <a:pt x="883" y="1048"/>
                  <a:pt x="883" y="1048"/>
                </a:cubicBezTo>
                <a:cubicBezTo>
                  <a:pt x="885" y="1054"/>
                  <a:pt x="885" y="1054"/>
                  <a:pt x="885" y="1054"/>
                </a:cubicBezTo>
                <a:cubicBezTo>
                  <a:pt x="891" y="1052"/>
                  <a:pt x="891" y="1052"/>
                  <a:pt x="891" y="1052"/>
                </a:cubicBezTo>
                <a:cubicBezTo>
                  <a:pt x="894" y="1054"/>
                  <a:pt x="894" y="1054"/>
                  <a:pt x="894" y="1054"/>
                </a:cubicBezTo>
                <a:cubicBezTo>
                  <a:pt x="891" y="1057"/>
                  <a:pt x="891" y="1057"/>
                  <a:pt x="891" y="1057"/>
                </a:cubicBezTo>
                <a:cubicBezTo>
                  <a:pt x="897" y="1060"/>
                  <a:pt x="897" y="1060"/>
                  <a:pt x="897" y="1060"/>
                </a:cubicBezTo>
                <a:cubicBezTo>
                  <a:pt x="891" y="1064"/>
                  <a:pt x="891" y="1064"/>
                  <a:pt x="891" y="1064"/>
                </a:cubicBezTo>
                <a:cubicBezTo>
                  <a:pt x="900" y="1069"/>
                  <a:pt x="900" y="1069"/>
                  <a:pt x="900" y="1069"/>
                </a:cubicBezTo>
                <a:cubicBezTo>
                  <a:pt x="896" y="1078"/>
                  <a:pt x="896" y="1078"/>
                  <a:pt x="896" y="1078"/>
                </a:cubicBezTo>
                <a:cubicBezTo>
                  <a:pt x="898" y="1094"/>
                  <a:pt x="898" y="1094"/>
                  <a:pt x="898" y="1094"/>
                </a:cubicBezTo>
                <a:cubicBezTo>
                  <a:pt x="900" y="1103"/>
                  <a:pt x="900" y="1103"/>
                  <a:pt x="900" y="1103"/>
                </a:cubicBezTo>
                <a:cubicBezTo>
                  <a:pt x="890" y="1104"/>
                  <a:pt x="890" y="1104"/>
                  <a:pt x="890" y="1104"/>
                </a:cubicBezTo>
                <a:cubicBezTo>
                  <a:pt x="869" y="1108"/>
                  <a:pt x="869" y="1108"/>
                  <a:pt x="869" y="1108"/>
                </a:cubicBezTo>
                <a:cubicBezTo>
                  <a:pt x="857" y="1103"/>
                  <a:pt x="857" y="1103"/>
                  <a:pt x="857" y="1103"/>
                </a:cubicBezTo>
                <a:cubicBezTo>
                  <a:pt x="850" y="1095"/>
                  <a:pt x="850" y="1095"/>
                  <a:pt x="850" y="1095"/>
                </a:cubicBezTo>
                <a:cubicBezTo>
                  <a:pt x="838" y="1092"/>
                  <a:pt x="838" y="1092"/>
                  <a:pt x="838" y="1092"/>
                </a:cubicBezTo>
                <a:cubicBezTo>
                  <a:pt x="834" y="1078"/>
                  <a:pt x="834" y="1078"/>
                  <a:pt x="834" y="1078"/>
                </a:cubicBezTo>
                <a:cubicBezTo>
                  <a:pt x="834" y="1066"/>
                  <a:pt x="834" y="1066"/>
                  <a:pt x="834" y="1066"/>
                </a:cubicBezTo>
                <a:cubicBezTo>
                  <a:pt x="839" y="1069"/>
                  <a:pt x="839" y="1069"/>
                  <a:pt x="839" y="1069"/>
                </a:cubicBezTo>
                <a:cubicBezTo>
                  <a:pt x="843" y="1050"/>
                  <a:pt x="843" y="1050"/>
                  <a:pt x="843" y="1050"/>
                </a:cubicBezTo>
                <a:cubicBezTo>
                  <a:pt x="847" y="1047"/>
                  <a:pt x="847" y="1047"/>
                  <a:pt x="847" y="1047"/>
                </a:cubicBezTo>
                <a:cubicBezTo>
                  <a:pt x="853" y="1048"/>
                  <a:pt x="853" y="1048"/>
                  <a:pt x="853" y="1048"/>
                </a:cubicBezTo>
                <a:cubicBezTo>
                  <a:pt x="851" y="1044"/>
                  <a:pt x="851" y="1044"/>
                  <a:pt x="851" y="1044"/>
                </a:cubicBezTo>
                <a:cubicBezTo>
                  <a:pt x="843" y="1043"/>
                  <a:pt x="843" y="1043"/>
                  <a:pt x="843" y="1043"/>
                </a:cubicBezTo>
                <a:cubicBezTo>
                  <a:pt x="835" y="1029"/>
                  <a:pt x="835" y="1029"/>
                  <a:pt x="835" y="1029"/>
                </a:cubicBezTo>
                <a:cubicBezTo>
                  <a:pt x="829" y="1023"/>
                  <a:pt x="829" y="1023"/>
                  <a:pt x="829" y="1023"/>
                </a:cubicBezTo>
                <a:cubicBezTo>
                  <a:pt x="827" y="1021"/>
                  <a:pt x="827" y="1021"/>
                  <a:pt x="827" y="1021"/>
                </a:cubicBezTo>
                <a:cubicBezTo>
                  <a:pt x="818" y="1002"/>
                  <a:pt x="818" y="1002"/>
                  <a:pt x="818" y="1002"/>
                </a:cubicBezTo>
                <a:cubicBezTo>
                  <a:pt x="818" y="988"/>
                  <a:pt x="818" y="988"/>
                  <a:pt x="818" y="988"/>
                </a:cubicBezTo>
                <a:cubicBezTo>
                  <a:pt x="817" y="992"/>
                  <a:pt x="817" y="992"/>
                  <a:pt x="817" y="992"/>
                </a:cubicBezTo>
                <a:cubicBezTo>
                  <a:pt x="813" y="983"/>
                  <a:pt x="813" y="983"/>
                  <a:pt x="813" y="983"/>
                </a:cubicBezTo>
                <a:cubicBezTo>
                  <a:pt x="806" y="976"/>
                  <a:pt x="806" y="976"/>
                  <a:pt x="806" y="976"/>
                </a:cubicBezTo>
                <a:cubicBezTo>
                  <a:pt x="815" y="963"/>
                  <a:pt x="815" y="963"/>
                  <a:pt x="815" y="963"/>
                </a:cubicBezTo>
                <a:cubicBezTo>
                  <a:pt x="816" y="955"/>
                  <a:pt x="816" y="955"/>
                  <a:pt x="816" y="955"/>
                </a:cubicBezTo>
                <a:cubicBezTo>
                  <a:pt x="818" y="956"/>
                  <a:pt x="818" y="956"/>
                  <a:pt x="818" y="956"/>
                </a:cubicBezTo>
                <a:cubicBezTo>
                  <a:pt x="819" y="948"/>
                  <a:pt x="819" y="948"/>
                  <a:pt x="819" y="948"/>
                </a:cubicBezTo>
                <a:cubicBezTo>
                  <a:pt x="817" y="944"/>
                  <a:pt x="817" y="944"/>
                  <a:pt x="817" y="944"/>
                </a:cubicBezTo>
                <a:cubicBezTo>
                  <a:pt x="822" y="945"/>
                  <a:pt x="822" y="945"/>
                  <a:pt x="822" y="945"/>
                </a:cubicBezTo>
                <a:cubicBezTo>
                  <a:pt x="825" y="953"/>
                  <a:pt x="825" y="953"/>
                  <a:pt x="825" y="953"/>
                </a:cubicBezTo>
                <a:cubicBezTo>
                  <a:pt x="831" y="946"/>
                  <a:pt x="831" y="946"/>
                  <a:pt x="831" y="946"/>
                </a:cubicBezTo>
                <a:cubicBezTo>
                  <a:pt x="837" y="944"/>
                  <a:pt x="837" y="944"/>
                  <a:pt x="837" y="944"/>
                </a:cubicBezTo>
                <a:cubicBezTo>
                  <a:pt x="831" y="940"/>
                  <a:pt x="831" y="940"/>
                  <a:pt x="831" y="940"/>
                </a:cubicBezTo>
                <a:cubicBezTo>
                  <a:pt x="853" y="936"/>
                  <a:pt x="853" y="936"/>
                  <a:pt x="853" y="936"/>
                </a:cubicBezTo>
                <a:cubicBezTo>
                  <a:pt x="861" y="928"/>
                  <a:pt x="861" y="928"/>
                  <a:pt x="861" y="928"/>
                </a:cubicBezTo>
                <a:cubicBezTo>
                  <a:pt x="872" y="932"/>
                  <a:pt x="872" y="932"/>
                  <a:pt x="872" y="932"/>
                </a:cubicBezTo>
                <a:cubicBezTo>
                  <a:pt x="882" y="929"/>
                  <a:pt x="882" y="929"/>
                  <a:pt x="882" y="929"/>
                </a:cubicBezTo>
                <a:cubicBezTo>
                  <a:pt x="889" y="935"/>
                  <a:pt x="889" y="935"/>
                  <a:pt x="889" y="935"/>
                </a:cubicBezTo>
                <a:cubicBezTo>
                  <a:pt x="899" y="951"/>
                  <a:pt x="899" y="951"/>
                  <a:pt x="899" y="951"/>
                </a:cubicBezTo>
                <a:cubicBezTo>
                  <a:pt x="908" y="958"/>
                  <a:pt x="908" y="958"/>
                  <a:pt x="908" y="958"/>
                </a:cubicBezTo>
                <a:cubicBezTo>
                  <a:pt x="909" y="962"/>
                  <a:pt x="909" y="962"/>
                  <a:pt x="909" y="962"/>
                </a:cubicBezTo>
                <a:cubicBezTo>
                  <a:pt x="907" y="962"/>
                  <a:pt x="907" y="962"/>
                  <a:pt x="907" y="962"/>
                </a:cubicBezTo>
                <a:lnTo>
                  <a:pt x="908" y="967"/>
                </a:lnTo>
                <a:close/>
                <a:moveTo>
                  <a:pt x="393" y="1085"/>
                </a:moveTo>
                <a:cubicBezTo>
                  <a:pt x="386" y="1082"/>
                  <a:pt x="386" y="1082"/>
                  <a:pt x="386" y="1082"/>
                </a:cubicBezTo>
                <a:cubicBezTo>
                  <a:pt x="379" y="1082"/>
                  <a:pt x="379" y="1082"/>
                  <a:pt x="379" y="1082"/>
                </a:cubicBezTo>
                <a:cubicBezTo>
                  <a:pt x="378" y="1086"/>
                  <a:pt x="378" y="1086"/>
                  <a:pt x="378" y="1086"/>
                </a:cubicBezTo>
                <a:cubicBezTo>
                  <a:pt x="379" y="1091"/>
                  <a:pt x="379" y="1091"/>
                  <a:pt x="379" y="1091"/>
                </a:cubicBezTo>
                <a:cubicBezTo>
                  <a:pt x="400" y="1101"/>
                  <a:pt x="400" y="1101"/>
                  <a:pt x="400" y="1101"/>
                </a:cubicBezTo>
                <a:cubicBezTo>
                  <a:pt x="405" y="1105"/>
                  <a:pt x="405" y="1105"/>
                  <a:pt x="405" y="1105"/>
                </a:cubicBezTo>
                <a:cubicBezTo>
                  <a:pt x="410" y="1105"/>
                  <a:pt x="410" y="1105"/>
                  <a:pt x="410" y="1105"/>
                </a:cubicBezTo>
                <a:cubicBezTo>
                  <a:pt x="412" y="1101"/>
                  <a:pt x="412" y="1101"/>
                  <a:pt x="412" y="1101"/>
                </a:cubicBezTo>
                <a:cubicBezTo>
                  <a:pt x="410" y="1094"/>
                  <a:pt x="410" y="1094"/>
                  <a:pt x="410" y="1094"/>
                </a:cubicBezTo>
                <a:cubicBezTo>
                  <a:pt x="417" y="1081"/>
                  <a:pt x="417" y="1081"/>
                  <a:pt x="417" y="1081"/>
                </a:cubicBezTo>
                <a:lnTo>
                  <a:pt x="393" y="1085"/>
                </a:lnTo>
                <a:close/>
                <a:moveTo>
                  <a:pt x="716" y="1680"/>
                </a:moveTo>
                <a:cubicBezTo>
                  <a:pt x="719" y="1682"/>
                  <a:pt x="719" y="1682"/>
                  <a:pt x="719" y="1682"/>
                </a:cubicBezTo>
                <a:cubicBezTo>
                  <a:pt x="716" y="1674"/>
                  <a:pt x="716" y="1674"/>
                  <a:pt x="716" y="1674"/>
                </a:cubicBezTo>
                <a:lnTo>
                  <a:pt x="716" y="1680"/>
                </a:lnTo>
                <a:close/>
                <a:moveTo>
                  <a:pt x="470" y="1058"/>
                </a:moveTo>
                <a:cubicBezTo>
                  <a:pt x="468" y="1058"/>
                  <a:pt x="468" y="1058"/>
                  <a:pt x="468" y="1058"/>
                </a:cubicBezTo>
                <a:cubicBezTo>
                  <a:pt x="473" y="1063"/>
                  <a:pt x="473" y="1063"/>
                  <a:pt x="473" y="1063"/>
                </a:cubicBezTo>
                <a:lnTo>
                  <a:pt x="470" y="1058"/>
                </a:lnTo>
                <a:close/>
                <a:moveTo>
                  <a:pt x="515" y="1094"/>
                </a:moveTo>
                <a:cubicBezTo>
                  <a:pt x="511" y="1086"/>
                  <a:pt x="511" y="1086"/>
                  <a:pt x="511" y="1086"/>
                </a:cubicBezTo>
                <a:cubicBezTo>
                  <a:pt x="497" y="1081"/>
                  <a:pt x="497" y="1081"/>
                  <a:pt x="497" y="1081"/>
                </a:cubicBezTo>
                <a:cubicBezTo>
                  <a:pt x="489" y="1082"/>
                  <a:pt x="489" y="1082"/>
                  <a:pt x="489" y="1082"/>
                </a:cubicBezTo>
                <a:cubicBezTo>
                  <a:pt x="486" y="1089"/>
                  <a:pt x="486" y="1089"/>
                  <a:pt x="486" y="1089"/>
                </a:cubicBezTo>
                <a:cubicBezTo>
                  <a:pt x="493" y="1097"/>
                  <a:pt x="493" y="1097"/>
                  <a:pt x="493" y="1097"/>
                </a:cubicBezTo>
                <a:cubicBezTo>
                  <a:pt x="493" y="1103"/>
                  <a:pt x="493" y="1103"/>
                  <a:pt x="493" y="1103"/>
                </a:cubicBezTo>
                <a:cubicBezTo>
                  <a:pt x="495" y="1105"/>
                  <a:pt x="495" y="1105"/>
                  <a:pt x="495" y="1105"/>
                </a:cubicBezTo>
                <a:cubicBezTo>
                  <a:pt x="497" y="1101"/>
                  <a:pt x="497" y="1101"/>
                  <a:pt x="497" y="1101"/>
                </a:cubicBezTo>
                <a:cubicBezTo>
                  <a:pt x="501" y="1110"/>
                  <a:pt x="501" y="1110"/>
                  <a:pt x="501" y="1110"/>
                </a:cubicBezTo>
                <a:cubicBezTo>
                  <a:pt x="505" y="1105"/>
                  <a:pt x="505" y="1105"/>
                  <a:pt x="505" y="1105"/>
                </a:cubicBezTo>
                <a:cubicBezTo>
                  <a:pt x="511" y="1110"/>
                  <a:pt x="511" y="1110"/>
                  <a:pt x="511" y="1110"/>
                </a:cubicBezTo>
                <a:cubicBezTo>
                  <a:pt x="506" y="1092"/>
                  <a:pt x="506" y="1092"/>
                  <a:pt x="506" y="1092"/>
                </a:cubicBezTo>
                <a:cubicBezTo>
                  <a:pt x="511" y="1097"/>
                  <a:pt x="511" y="1097"/>
                  <a:pt x="511" y="1097"/>
                </a:cubicBezTo>
                <a:lnTo>
                  <a:pt x="515" y="1094"/>
                </a:lnTo>
                <a:close/>
                <a:moveTo>
                  <a:pt x="515" y="1069"/>
                </a:moveTo>
                <a:cubicBezTo>
                  <a:pt x="510" y="1072"/>
                  <a:pt x="510" y="1072"/>
                  <a:pt x="510" y="1072"/>
                </a:cubicBezTo>
                <a:cubicBezTo>
                  <a:pt x="525" y="1082"/>
                  <a:pt x="525" y="1082"/>
                  <a:pt x="525" y="1082"/>
                </a:cubicBezTo>
                <a:cubicBezTo>
                  <a:pt x="528" y="1086"/>
                  <a:pt x="528" y="1086"/>
                  <a:pt x="528" y="1086"/>
                </a:cubicBezTo>
                <a:cubicBezTo>
                  <a:pt x="530" y="1086"/>
                  <a:pt x="530" y="1086"/>
                  <a:pt x="530" y="1086"/>
                </a:cubicBezTo>
                <a:cubicBezTo>
                  <a:pt x="530" y="1084"/>
                  <a:pt x="530" y="1084"/>
                  <a:pt x="530" y="1084"/>
                </a:cubicBezTo>
                <a:cubicBezTo>
                  <a:pt x="525" y="1075"/>
                  <a:pt x="525" y="1075"/>
                  <a:pt x="525" y="1075"/>
                </a:cubicBezTo>
                <a:lnTo>
                  <a:pt x="515" y="1069"/>
                </a:lnTo>
                <a:close/>
                <a:moveTo>
                  <a:pt x="477" y="1082"/>
                </a:moveTo>
                <a:cubicBezTo>
                  <a:pt x="481" y="1085"/>
                  <a:pt x="481" y="1085"/>
                  <a:pt x="481" y="1085"/>
                </a:cubicBezTo>
                <a:cubicBezTo>
                  <a:pt x="480" y="1079"/>
                  <a:pt x="480" y="1079"/>
                  <a:pt x="480" y="1079"/>
                </a:cubicBezTo>
                <a:lnTo>
                  <a:pt x="477" y="1082"/>
                </a:lnTo>
                <a:close/>
                <a:moveTo>
                  <a:pt x="324" y="1038"/>
                </a:moveTo>
                <a:cubicBezTo>
                  <a:pt x="327" y="1054"/>
                  <a:pt x="327" y="1054"/>
                  <a:pt x="327" y="1054"/>
                </a:cubicBezTo>
                <a:cubicBezTo>
                  <a:pt x="327" y="1065"/>
                  <a:pt x="327" y="1065"/>
                  <a:pt x="327" y="1065"/>
                </a:cubicBezTo>
                <a:cubicBezTo>
                  <a:pt x="331" y="1071"/>
                  <a:pt x="331" y="1071"/>
                  <a:pt x="331" y="1071"/>
                </a:cubicBezTo>
                <a:cubicBezTo>
                  <a:pt x="336" y="1066"/>
                  <a:pt x="336" y="1066"/>
                  <a:pt x="336" y="1066"/>
                </a:cubicBezTo>
                <a:cubicBezTo>
                  <a:pt x="340" y="1066"/>
                  <a:pt x="340" y="1066"/>
                  <a:pt x="340" y="1066"/>
                </a:cubicBezTo>
                <a:cubicBezTo>
                  <a:pt x="341" y="1063"/>
                  <a:pt x="341" y="1063"/>
                  <a:pt x="341" y="1063"/>
                </a:cubicBezTo>
                <a:cubicBezTo>
                  <a:pt x="341" y="1041"/>
                  <a:pt x="341" y="1041"/>
                  <a:pt x="341" y="1041"/>
                </a:cubicBezTo>
                <a:cubicBezTo>
                  <a:pt x="340" y="1034"/>
                  <a:pt x="340" y="1034"/>
                  <a:pt x="340" y="1034"/>
                </a:cubicBezTo>
                <a:cubicBezTo>
                  <a:pt x="335" y="1031"/>
                  <a:pt x="335" y="1031"/>
                  <a:pt x="335" y="1031"/>
                </a:cubicBezTo>
                <a:cubicBezTo>
                  <a:pt x="328" y="1039"/>
                  <a:pt x="328" y="1039"/>
                  <a:pt x="328" y="1039"/>
                </a:cubicBezTo>
                <a:lnTo>
                  <a:pt x="324" y="1038"/>
                </a:lnTo>
                <a:close/>
                <a:moveTo>
                  <a:pt x="357" y="1154"/>
                </a:moveTo>
                <a:cubicBezTo>
                  <a:pt x="356" y="1151"/>
                  <a:pt x="356" y="1151"/>
                  <a:pt x="356" y="1151"/>
                </a:cubicBezTo>
                <a:cubicBezTo>
                  <a:pt x="354" y="1154"/>
                  <a:pt x="354" y="1154"/>
                  <a:pt x="354" y="1154"/>
                </a:cubicBezTo>
                <a:lnTo>
                  <a:pt x="357" y="1154"/>
                </a:lnTo>
                <a:close/>
                <a:moveTo>
                  <a:pt x="333" y="1556"/>
                </a:moveTo>
                <a:cubicBezTo>
                  <a:pt x="329" y="1554"/>
                  <a:pt x="329" y="1554"/>
                  <a:pt x="329" y="1554"/>
                </a:cubicBezTo>
                <a:cubicBezTo>
                  <a:pt x="327" y="1560"/>
                  <a:pt x="327" y="1560"/>
                  <a:pt x="327" y="1560"/>
                </a:cubicBezTo>
                <a:cubicBezTo>
                  <a:pt x="331" y="1560"/>
                  <a:pt x="331" y="1560"/>
                  <a:pt x="331" y="1560"/>
                </a:cubicBezTo>
                <a:lnTo>
                  <a:pt x="333" y="1556"/>
                </a:lnTo>
                <a:close/>
                <a:moveTo>
                  <a:pt x="340" y="1016"/>
                </a:moveTo>
                <a:cubicBezTo>
                  <a:pt x="338" y="1002"/>
                  <a:pt x="338" y="1002"/>
                  <a:pt x="338" y="1002"/>
                </a:cubicBezTo>
                <a:cubicBezTo>
                  <a:pt x="337" y="1007"/>
                  <a:pt x="337" y="1007"/>
                  <a:pt x="337" y="1007"/>
                </a:cubicBezTo>
                <a:cubicBezTo>
                  <a:pt x="330" y="1010"/>
                  <a:pt x="330" y="1010"/>
                  <a:pt x="330" y="1010"/>
                </a:cubicBezTo>
                <a:cubicBezTo>
                  <a:pt x="328" y="1012"/>
                  <a:pt x="328" y="1012"/>
                  <a:pt x="328" y="1012"/>
                </a:cubicBezTo>
                <a:cubicBezTo>
                  <a:pt x="330" y="1024"/>
                  <a:pt x="330" y="1024"/>
                  <a:pt x="330" y="1024"/>
                </a:cubicBezTo>
                <a:cubicBezTo>
                  <a:pt x="336" y="1031"/>
                  <a:pt x="336" y="1031"/>
                  <a:pt x="336" y="1031"/>
                </a:cubicBezTo>
                <a:lnTo>
                  <a:pt x="340" y="1016"/>
                </a:lnTo>
                <a:close/>
              </a:path>
            </a:pathLst>
          </a:custGeom>
          <a:solidFill>
            <a:srgbClr val="5F2785"/>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27" name="Group 26"/>
          <p:cNvGrpSpPr/>
          <p:nvPr/>
        </p:nvGrpSpPr>
        <p:grpSpPr>
          <a:xfrm>
            <a:off x="2398477" y="1756386"/>
            <a:ext cx="484188" cy="696825"/>
            <a:chOff x="-839788" y="1289050"/>
            <a:chExt cx="484188" cy="696825"/>
          </a:xfrm>
        </p:grpSpPr>
        <p:sp>
          <p:nvSpPr>
            <p:cNvPr id="18" name="Freeform 13"/>
            <p:cNvSpPr>
              <a:spLocks/>
            </p:cNvSpPr>
            <p:nvPr/>
          </p:nvSpPr>
          <p:spPr bwMode="auto">
            <a:xfrm>
              <a:off x="-644525" y="1630363"/>
              <a:ext cx="100013" cy="355512"/>
            </a:xfrm>
            <a:custGeom>
              <a:avLst/>
              <a:gdLst>
                <a:gd name="T0" fmla="*/ 15 w 26"/>
                <a:gd name="T1" fmla="*/ 0 h 115"/>
                <a:gd name="T2" fmla="*/ 10 w 26"/>
                <a:gd name="T3" fmla="*/ 0 h 115"/>
                <a:gd name="T4" fmla="*/ 9 w 26"/>
                <a:gd name="T5" fmla="*/ 2 h 115"/>
                <a:gd name="T6" fmla="*/ 6 w 26"/>
                <a:gd name="T7" fmla="*/ 3 h 115"/>
                <a:gd name="T8" fmla="*/ 6 w 26"/>
                <a:gd name="T9" fmla="*/ 4 h 115"/>
                <a:gd name="T10" fmla="*/ 2 w 26"/>
                <a:gd name="T11" fmla="*/ 83 h 115"/>
                <a:gd name="T12" fmla="*/ 0 w 26"/>
                <a:gd name="T13" fmla="*/ 86 h 115"/>
                <a:gd name="T14" fmla="*/ 0 w 26"/>
                <a:gd name="T15" fmla="*/ 112 h 115"/>
                <a:gd name="T16" fmla="*/ 3 w 26"/>
                <a:gd name="T17" fmla="*/ 115 h 115"/>
                <a:gd name="T18" fmla="*/ 22 w 26"/>
                <a:gd name="T19" fmla="*/ 115 h 115"/>
                <a:gd name="T20" fmla="*/ 26 w 26"/>
                <a:gd name="T21" fmla="*/ 112 h 115"/>
                <a:gd name="T22" fmla="*/ 26 w 26"/>
                <a:gd name="T23" fmla="*/ 86 h 115"/>
                <a:gd name="T24" fmla="*/ 24 w 26"/>
                <a:gd name="T25" fmla="*/ 83 h 115"/>
                <a:gd name="T26" fmla="*/ 19 w 26"/>
                <a:gd name="T27" fmla="*/ 4 h 115"/>
                <a:gd name="T28" fmla="*/ 19 w 26"/>
                <a:gd name="T29" fmla="*/ 4 h 115"/>
                <a:gd name="T30" fmla="*/ 17 w 26"/>
                <a:gd name="T31" fmla="*/ 2 h 115"/>
                <a:gd name="T32" fmla="*/ 15 w 26"/>
                <a:gd name="T33" fmla="*/ 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 h="115">
                  <a:moveTo>
                    <a:pt x="15" y="0"/>
                  </a:moveTo>
                  <a:cubicBezTo>
                    <a:pt x="14" y="0"/>
                    <a:pt x="12" y="0"/>
                    <a:pt x="10" y="0"/>
                  </a:cubicBezTo>
                  <a:cubicBezTo>
                    <a:pt x="10" y="1"/>
                    <a:pt x="9" y="2"/>
                    <a:pt x="9" y="2"/>
                  </a:cubicBezTo>
                  <a:cubicBezTo>
                    <a:pt x="8" y="2"/>
                    <a:pt x="7" y="3"/>
                    <a:pt x="6" y="3"/>
                  </a:cubicBezTo>
                  <a:cubicBezTo>
                    <a:pt x="6" y="3"/>
                    <a:pt x="6" y="4"/>
                    <a:pt x="6" y="4"/>
                  </a:cubicBezTo>
                  <a:cubicBezTo>
                    <a:pt x="5" y="30"/>
                    <a:pt x="3" y="57"/>
                    <a:pt x="2" y="83"/>
                  </a:cubicBezTo>
                  <a:cubicBezTo>
                    <a:pt x="1" y="84"/>
                    <a:pt x="0" y="85"/>
                    <a:pt x="0" y="86"/>
                  </a:cubicBezTo>
                  <a:cubicBezTo>
                    <a:pt x="0" y="112"/>
                    <a:pt x="0" y="112"/>
                    <a:pt x="0" y="112"/>
                  </a:cubicBezTo>
                  <a:cubicBezTo>
                    <a:pt x="0" y="113"/>
                    <a:pt x="1" y="115"/>
                    <a:pt x="3" y="115"/>
                  </a:cubicBezTo>
                  <a:cubicBezTo>
                    <a:pt x="22" y="115"/>
                    <a:pt x="22" y="115"/>
                    <a:pt x="22" y="115"/>
                  </a:cubicBezTo>
                  <a:cubicBezTo>
                    <a:pt x="24" y="115"/>
                    <a:pt x="26" y="113"/>
                    <a:pt x="26" y="112"/>
                  </a:cubicBezTo>
                  <a:cubicBezTo>
                    <a:pt x="26" y="86"/>
                    <a:pt x="26" y="86"/>
                    <a:pt x="26" y="86"/>
                  </a:cubicBezTo>
                  <a:cubicBezTo>
                    <a:pt x="26" y="85"/>
                    <a:pt x="25" y="84"/>
                    <a:pt x="24" y="83"/>
                  </a:cubicBezTo>
                  <a:cubicBezTo>
                    <a:pt x="22" y="57"/>
                    <a:pt x="21" y="30"/>
                    <a:pt x="19" y="4"/>
                  </a:cubicBezTo>
                  <a:cubicBezTo>
                    <a:pt x="19" y="4"/>
                    <a:pt x="19" y="4"/>
                    <a:pt x="19" y="4"/>
                  </a:cubicBezTo>
                  <a:cubicBezTo>
                    <a:pt x="18" y="3"/>
                    <a:pt x="18" y="3"/>
                    <a:pt x="17" y="2"/>
                  </a:cubicBezTo>
                  <a:cubicBezTo>
                    <a:pt x="16" y="2"/>
                    <a:pt x="16" y="1"/>
                    <a:pt x="15" y="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9" name="Freeform 14"/>
            <p:cNvSpPr>
              <a:spLocks/>
            </p:cNvSpPr>
            <p:nvPr/>
          </p:nvSpPr>
          <p:spPr bwMode="auto">
            <a:xfrm>
              <a:off x="-631825" y="1289050"/>
              <a:ext cx="76200" cy="231775"/>
            </a:xfrm>
            <a:custGeom>
              <a:avLst/>
              <a:gdLst>
                <a:gd name="T0" fmla="*/ 20 w 20"/>
                <a:gd name="T1" fmla="*/ 61 h 61"/>
                <a:gd name="T2" fmla="*/ 20 w 20"/>
                <a:gd name="T3" fmla="*/ 60 h 61"/>
                <a:gd name="T4" fmla="*/ 15 w 20"/>
                <a:gd name="T5" fmla="*/ 4 h 61"/>
                <a:gd name="T6" fmla="*/ 10 w 20"/>
                <a:gd name="T7" fmla="*/ 0 h 61"/>
                <a:gd name="T8" fmla="*/ 5 w 20"/>
                <a:gd name="T9" fmla="*/ 4 h 61"/>
                <a:gd name="T10" fmla="*/ 0 w 20"/>
                <a:gd name="T11" fmla="*/ 60 h 61"/>
                <a:gd name="T12" fmla="*/ 0 w 20"/>
                <a:gd name="T13" fmla="*/ 61 h 61"/>
                <a:gd name="T14" fmla="*/ 1 w 20"/>
                <a:gd name="T15" fmla="*/ 61 h 61"/>
                <a:gd name="T16" fmla="*/ 18 w 20"/>
                <a:gd name="T17" fmla="*/ 60 h 61"/>
                <a:gd name="T18" fmla="*/ 20 w 20"/>
                <a:gd name="T19"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61">
                  <a:moveTo>
                    <a:pt x="20" y="61"/>
                  </a:moveTo>
                  <a:cubicBezTo>
                    <a:pt x="20" y="61"/>
                    <a:pt x="20" y="60"/>
                    <a:pt x="20" y="60"/>
                  </a:cubicBezTo>
                  <a:cubicBezTo>
                    <a:pt x="18" y="41"/>
                    <a:pt x="16" y="23"/>
                    <a:pt x="15" y="4"/>
                  </a:cubicBezTo>
                  <a:cubicBezTo>
                    <a:pt x="14" y="2"/>
                    <a:pt x="12" y="0"/>
                    <a:pt x="10" y="0"/>
                  </a:cubicBezTo>
                  <a:cubicBezTo>
                    <a:pt x="8" y="0"/>
                    <a:pt x="5" y="2"/>
                    <a:pt x="5" y="4"/>
                  </a:cubicBezTo>
                  <a:cubicBezTo>
                    <a:pt x="3" y="23"/>
                    <a:pt x="2" y="41"/>
                    <a:pt x="0" y="60"/>
                  </a:cubicBezTo>
                  <a:cubicBezTo>
                    <a:pt x="0" y="60"/>
                    <a:pt x="0" y="61"/>
                    <a:pt x="0" y="61"/>
                  </a:cubicBezTo>
                  <a:cubicBezTo>
                    <a:pt x="0" y="61"/>
                    <a:pt x="0" y="61"/>
                    <a:pt x="1" y="61"/>
                  </a:cubicBezTo>
                  <a:cubicBezTo>
                    <a:pt x="5" y="56"/>
                    <a:pt x="13" y="55"/>
                    <a:pt x="18" y="60"/>
                  </a:cubicBezTo>
                  <a:cubicBezTo>
                    <a:pt x="19" y="60"/>
                    <a:pt x="19" y="61"/>
                    <a:pt x="20" y="61"/>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0" name="Freeform 15"/>
            <p:cNvSpPr>
              <a:spLocks/>
            </p:cNvSpPr>
            <p:nvPr/>
          </p:nvSpPr>
          <p:spPr bwMode="auto">
            <a:xfrm>
              <a:off x="-577850" y="1550988"/>
              <a:ext cx="222250" cy="168275"/>
            </a:xfrm>
            <a:custGeom>
              <a:avLst/>
              <a:gdLst>
                <a:gd name="T0" fmla="*/ 56 w 58"/>
                <a:gd name="T1" fmla="*/ 35 h 44"/>
                <a:gd name="T2" fmla="*/ 12 w 58"/>
                <a:gd name="T3" fmla="*/ 0 h 44"/>
                <a:gd name="T4" fmla="*/ 9 w 58"/>
                <a:gd name="T5" fmla="*/ 0 h 44"/>
                <a:gd name="T6" fmla="*/ 7 w 58"/>
                <a:gd name="T7" fmla="*/ 11 h 44"/>
                <a:gd name="T8" fmla="*/ 2 w 58"/>
                <a:gd name="T9" fmla="*/ 14 h 44"/>
                <a:gd name="T10" fmla="*/ 0 w 58"/>
                <a:gd name="T11" fmla="*/ 15 h 44"/>
                <a:gd name="T12" fmla="*/ 1 w 58"/>
                <a:gd name="T13" fmla="*/ 17 h 44"/>
                <a:gd name="T14" fmla="*/ 4 w 58"/>
                <a:gd name="T15" fmla="*/ 19 h 44"/>
                <a:gd name="T16" fmla="*/ 51 w 58"/>
                <a:gd name="T17" fmla="*/ 43 h 44"/>
                <a:gd name="T18" fmla="*/ 57 w 58"/>
                <a:gd name="T19" fmla="*/ 41 h 44"/>
                <a:gd name="T20" fmla="*/ 56 w 58"/>
                <a:gd name="T21" fmla="*/ 35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 h="44">
                  <a:moveTo>
                    <a:pt x="56" y="35"/>
                  </a:moveTo>
                  <a:cubicBezTo>
                    <a:pt x="41" y="23"/>
                    <a:pt x="27" y="12"/>
                    <a:pt x="12" y="0"/>
                  </a:cubicBezTo>
                  <a:cubicBezTo>
                    <a:pt x="11" y="0"/>
                    <a:pt x="10" y="0"/>
                    <a:pt x="9" y="0"/>
                  </a:cubicBezTo>
                  <a:cubicBezTo>
                    <a:pt x="10" y="4"/>
                    <a:pt x="9" y="8"/>
                    <a:pt x="7" y="11"/>
                  </a:cubicBezTo>
                  <a:cubicBezTo>
                    <a:pt x="5" y="12"/>
                    <a:pt x="4" y="13"/>
                    <a:pt x="2" y="14"/>
                  </a:cubicBezTo>
                  <a:cubicBezTo>
                    <a:pt x="1" y="14"/>
                    <a:pt x="1" y="15"/>
                    <a:pt x="0" y="15"/>
                  </a:cubicBezTo>
                  <a:cubicBezTo>
                    <a:pt x="0" y="16"/>
                    <a:pt x="0" y="17"/>
                    <a:pt x="1" y="17"/>
                  </a:cubicBezTo>
                  <a:cubicBezTo>
                    <a:pt x="2" y="18"/>
                    <a:pt x="3" y="18"/>
                    <a:pt x="4" y="19"/>
                  </a:cubicBezTo>
                  <a:cubicBezTo>
                    <a:pt x="20" y="27"/>
                    <a:pt x="35" y="35"/>
                    <a:pt x="51" y="43"/>
                  </a:cubicBezTo>
                  <a:cubicBezTo>
                    <a:pt x="53" y="44"/>
                    <a:pt x="56" y="43"/>
                    <a:pt x="57" y="41"/>
                  </a:cubicBezTo>
                  <a:cubicBezTo>
                    <a:pt x="58" y="39"/>
                    <a:pt x="58" y="36"/>
                    <a:pt x="56" y="35"/>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1" name="Freeform 16"/>
            <p:cNvSpPr>
              <a:spLocks/>
            </p:cNvSpPr>
            <p:nvPr/>
          </p:nvSpPr>
          <p:spPr bwMode="auto">
            <a:xfrm>
              <a:off x="-839788" y="1550988"/>
              <a:ext cx="227013" cy="171450"/>
            </a:xfrm>
            <a:custGeom>
              <a:avLst/>
              <a:gdLst>
                <a:gd name="T0" fmla="*/ 53 w 59"/>
                <a:gd name="T1" fmla="*/ 13 h 45"/>
                <a:gd name="T2" fmla="*/ 49 w 59"/>
                <a:gd name="T3" fmla="*/ 1 h 45"/>
                <a:gd name="T4" fmla="*/ 46 w 59"/>
                <a:gd name="T5" fmla="*/ 1 h 45"/>
                <a:gd name="T6" fmla="*/ 2 w 59"/>
                <a:gd name="T7" fmla="*/ 36 h 45"/>
                <a:gd name="T8" fmla="*/ 1 w 59"/>
                <a:gd name="T9" fmla="*/ 42 h 45"/>
                <a:gd name="T10" fmla="*/ 7 w 59"/>
                <a:gd name="T11" fmla="*/ 44 h 45"/>
                <a:gd name="T12" fmla="*/ 55 w 59"/>
                <a:gd name="T13" fmla="*/ 19 h 45"/>
                <a:gd name="T14" fmla="*/ 57 w 59"/>
                <a:gd name="T15" fmla="*/ 18 h 45"/>
                <a:gd name="T16" fmla="*/ 59 w 59"/>
                <a:gd name="T17" fmla="*/ 15 h 45"/>
                <a:gd name="T18" fmla="*/ 57 w 59"/>
                <a:gd name="T19" fmla="*/ 15 h 45"/>
                <a:gd name="T20" fmla="*/ 53 w 59"/>
                <a:gd name="T21" fmla="*/ 13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 h="45">
                  <a:moveTo>
                    <a:pt x="53" y="13"/>
                  </a:moveTo>
                  <a:cubicBezTo>
                    <a:pt x="50" y="10"/>
                    <a:pt x="48" y="5"/>
                    <a:pt x="49" y="1"/>
                  </a:cubicBezTo>
                  <a:cubicBezTo>
                    <a:pt x="48" y="0"/>
                    <a:pt x="47" y="0"/>
                    <a:pt x="46" y="1"/>
                  </a:cubicBezTo>
                  <a:cubicBezTo>
                    <a:pt x="32" y="12"/>
                    <a:pt x="17" y="24"/>
                    <a:pt x="2" y="36"/>
                  </a:cubicBezTo>
                  <a:cubicBezTo>
                    <a:pt x="0" y="37"/>
                    <a:pt x="0" y="40"/>
                    <a:pt x="1" y="42"/>
                  </a:cubicBezTo>
                  <a:cubicBezTo>
                    <a:pt x="2" y="44"/>
                    <a:pt x="5" y="45"/>
                    <a:pt x="7" y="44"/>
                  </a:cubicBezTo>
                  <a:cubicBezTo>
                    <a:pt x="23" y="36"/>
                    <a:pt x="39" y="27"/>
                    <a:pt x="55" y="19"/>
                  </a:cubicBezTo>
                  <a:cubicBezTo>
                    <a:pt x="56" y="19"/>
                    <a:pt x="57" y="18"/>
                    <a:pt x="57" y="18"/>
                  </a:cubicBezTo>
                  <a:cubicBezTo>
                    <a:pt x="58" y="17"/>
                    <a:pt x="59" y="17"/>
                    <a:pt x="59" y="15"/>
                  </a:cubicBezTo>
                  <a:cubicBezTo>
                    <a:pt x="58" y="15"/>
                    <a:pt x="58" y="15"/>
                    <a:pt x="57" y="15"/>
                  </a:cubicBezTo>
                  <a:cubicBezTo>
                    <a:pt x="56" y="14"/>
                    <a:pt x="54" y="14"/>
                    <a:pt x="53" y="13"/>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3" name="Freeform 17"/>
            <p:cNvSpPr>
              <a:spLocks/>
            </p:cNvSpPr>
            <p:nvPr/>
          </p:nvSpPr>
          <p:spPr bwMode="auto">
            <a:xfrm>
              <a:off x="-631825" y="1524000"/>
              <a:ext cx="68263" cy="68263"/>
            </a:xfrm>
            <a:custGeom>
              <a:avLst/>
              <a:gdLst>
                <a:gd name="T0" fmla="*/ 18 w 18"/>
                <a:gd name="T1" fmla="*/ 8 h 18"/>
                <a:gd name="T2" fmla="*/ 16 w 18"/>
                <a:gd name="T3" fmla="*/ 4 h 18"/>
                <a:gd name="T4" fmla="*/ 15 w 18"/>
                <a:gd name="T5" fmla="*/ 3 h 18"/>
                <a:gd name="T6" fmla="*/ 3 w 18"/>
                <a:gd name="T7" fmla="*/ 4 h 18"/>
                <a:gd name="T8" fmla="*/ 3 w 18"/>
                <a:gd name="T9" fmla="*/ 4 h 18"/>
                <a:gd name="T10" fmla="*/ 1 w 18"/>
                <a:gd name="T11" fmla="*/ 8 h 18"/>
                <a:gd name="T12" fmla="*/ 4 w 18"/>
                <a:gd name="T13" fmla="*/ 16 h 18"/>
                <a:gd name="T14" fmla="*/ 6 w 18"/>
                <a:gd name="T15" fmla="*/ 18 h 18"/>
                <a:gd name="T16" fmla="*/ 7 w 18"/>
                <a:gd name="T17" fmla="*/ 18 h 18"/>
                <a:gd name="T18" fmla="*/ 11 w 18"/>
                <a:gd name="T19" fmla="*/ 18 h 18"/>
                <a:gd name="T20" fmla="*/ 13 w 18"/>
                <a:gd name="T21" fmla="*/ 18 h 18"/>
                <a:gd name="T22" fmla="*/ 16 w 18"/>
                <a:gd name="T23" fmla="*/ 15 h 18"/>
                <a:gd name="T24" fmla="*/ 18 w 18"/>
                <a:gd name="T25" fmla="*/ 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8">
                  <a:moveTo>
                    <a:pt x="18" y="8"/>
                  </a:moveTo>
                  <a:cubicBezTo>
                    <a:pt x="18" y="7"/>
                    <a:pt x="17" y="5"/>
                    <a:pt x="16" y="4"/>
                  </a:cubicBezTo>
                  <a:cubicBezTo>
                    <a:pt x="16" y="4"/>
                    <a:pt x="16" y="4"/>
                    <a:pt x="15" y="3"/>
                  </a:cubicBezTo>
                  <a:cubicBezTo>
                    <a:pt x="12" y="0"/>
                    <a:pt x="6" y="0"/>
                    <a:pt x="3" y="4"/>
                  </a:cubicBezTo>
                  <a:cubicBezTo>
                    <a:pt x="3" y="4"/>
                    <a:pt x="3" y="4"/>
                    <a:pt x="3" y="4"/>
                  </a:cubicBezTo>
                  <a:cubicBezTo>
                    <a:pt x="2" y="5"/>
                    <a:pt x="1" y="7"/>
                    <a:pt x="1" y="8"/>
                  </a:cubicBezTo>
                  <a:cubicBezTo>
                    <a:pt x="0" y="11"/>
                    <a:pt x="1" y="14"/>
                    <a:pt x="4" y="16"/>
                  </a:cubicBezTo>
                  <a:cubicBezTo>
                    <a:pt x="5" y="17"/>
                    <a:pt x="5" y="17"/>
                    <a:pt x="6" y="18"/>
                  </a:cubicBezTo>
                  <a:cubicBezTo>
                    <a:pt x="7" y="18"/>
                    <a:pt x="7" y="18"/>
                    <a:pt x="7" y="18"/>
                  </a:cubicBezTo>
                  <a:cubicBezTo>
                    <a:pt x="9" y="18"/>
                    <a:pt x="10" y="18"/>
                    <a:pt x="11" y="18"/>
                  </a:cubicBezTo>
                  <a:cubicBezTo>
                    <a:pt x="12" y="18"/>
                    <a:pt x="12" y="18"/>
                    <a:pt x="13" y="18"/>
                  </a:cubicBezTo>
                  <a:cubicBezTo>
                    <a:pt x="14" y="17"/>
                    <a:pt x="15" y="16"/>
                    <a:pt x="16" y="15"/>
                  </a:cubicBezTo>
                  <a:cubicBezTo>
                    <a:pt x="18" y="13"/>
                    <a:pt x="18" y="10"/>
                    <a:pt x="18" y="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grpSp>
      <p:cxnSp>
        <p:nvCxnSpPr>
          <p:cNvPr id="204" name="Straight Connector 203"/>
          <p:cNvCxnSpPr/>
          <p:nvPr/>
        </p:nvCxnSpPr>
        <p:spPr>
          <a:xfrm>
            <a:off x="8783052" y="1480141"/>
            <a:ext cx="0" cy="1723632"/>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05" name="Straight Connector 204"/>
          <p:cNvCxnSpPr/>
          <p:nvPr/>
        </p:nvCxnSpPr>
        <p:spPr>
          <a:xfrm>
            <a:off x="7406105" y="1460992"/>
            <a:ext cx="0" cy="1723632"/>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06" name="Straight Connector 205"/>
          <p:cNvCxnSpPr/>
          <p:nvPr/>
        </p:nvCxnSpPr>
        <p:spPr>
          <a:xfrm>
            <a:off x="4652211" y="1509382"/>
            <a:ext cx="0" cy="1723632"/>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07" name="Straight Connector 206"/>
          <p:cNvCxnSpPr/>
          <p:nvPr/>
        </p:nvCxnSpPr>
        <p:spPr>
          <a:xfrm>
            <a:off x="1898317" y="1480141"/>
            <a:ext cx="0" cy="1723632"/>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210" name="Group 209"/>
          <p:cNvGrpSpPr/>
          <p:nvPr/>
        </p:nvGrpSpPr>
        <p:grpSpPr>
          <a:xfrm rot="5400000">
            <a:off x="2461637" y="3354416"/>
            <a:ext cx="281405" cy="281405"/>
            <a:chOff x="5204410" y="4647246"/>
            <a:chExt cx="281405" cy="281405"/>
          </a:xfrm>
        </p:grpSpPr>
        <p:sp>
          <p:nvSpPr>
            <p:cNvPr id="211" name="Oval 210"/>
            <p:cNvSpPr/>
            <p:nvPr/>
          </p:nvSpPr>
          <p:spPr>
            <a:xfrm>
              <a:off x="5204410" y="4647246"/>
              <a:ext cx="281405" cy="281405"/>
            </a:xfrm>
            <a:prstGeom prst="ellipse">
              <a:avLst/>
            </a:prstGeom>
            <a:gradFill flip="none" rotWithShape="1">
              <a:gsLst>
                <a:gs pos="0">
                  <a:schemeClr val="bg1"/>
                </a:gs>
                <a:gs pos="100000">
                  <a:schemeClr val="bg1">
                    <a:lumMod val="95000"/>
                  </a:schemeClr>
                </a:gs>
              </a:gsLst>
              <a:path path="circle">
                <a:fillToRect l="50000" t="50000" r="50000" b="50000"/>
              </a:path>
              <a:tileRect/>
            </a:gradFill>
            <a:ln w="9525" cap="flat" cmpd="sng" algn="ctr">
              <a:noFill/>
              <a:prstDash val="dash"/>
              <a:miter lim="800000"/>
              <a:headEnd type="none" w="med" len="med"/>
              <a:tailEnd type="none" w="med" len="med"/>
            </a:ln>
            <a:effectLst>
              <a:innerShdw blurRad="63500">
                <a:prstClr val="black">
                  <a:alpha val="42000"/>
                </a:prstClr>
              </a:innerShdw>
            </a:effectLst>
          </p:spPr>
          <p:txBody>
            <a:bodyPr vert="horz" wrap="none" lIns="91440" tIns="45720" rIns="91440" bIns="45720" numCol="1" rtlCol="0" anchor="t" anchorCtr="0" compatLnSpc="1">
              <a:prstTxWarp prst="textNoShape">
                <a:avLst/>
              </a:prstTxWarp>
            </a:bodyPr>
            <a:lstStyle/>
            <a:p>
              <a:pPr marL="0" indent="0" defTabSz="914400">
                <a:buClrTx/>
                <a:buFontTx/>
                <a:buNone/>
              </a:pPr>
              <a:endParaRPr lang="en-US" dirty="0">
                <a:solidFill>
                  <a:schemeClr val="tx1"/>
                </a:solidFill>
              </a:endParaRPr>
            </a:p>
          </p:txBody>
        </p:sp>
        <p:sp>
          <p:nvSpPr>
            <p:cNvPr id="212" name="Chevron 211"/>
            <p:cNvSpPr/>
            <p:nvPr/>
          </p:nvSpPr>
          <p:spPr>
            <a:xfrm>
              <a:off x="5285011" y="4715249"/>
              <a:ext cx="144016" cy="144016"/>
            </a:xfrm>
            <a:prstGeom prst="chevron">
              <a:avLst>
                <a:gd name="adj" fmla="val 41733"/>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marL="0" indent="0" algn="ctr">
                <a:buNone/>
              </a:pPr>
              <a:endParaRPr lang="en-US" dirty="0" smtClean="0">
                <a:solidFill>
                  <a:schemeClr val="tx1"/>
                </a:solidFill>
              </a:endParaRPr>
            </a:p>
          </p:txBody>
        </p:sp>
      </p:grpSp>
      <p:grpSp>
        <p:nvGrpSpPr>
          <p:cNvPr id="213" name="Group 212"/>
          <p:cNvGrpSpPr/>
          <p:nvPr/>
        </p:nvGrpSpPr>
        <p:grpSpPr>
          <a:xfrm rot="5400000">
            <a:off x="7973332" y="3354416"/>
            <a:ext cx="281405" cy="281405"/>
            <a:chOff x="5204410" y="4647246"/>
            <a:chExt cx="281405" cy="281405"/>
          </a:xfrm>
        </p:grpSpPr>
        <p:sp>
          <p:nvSpPr>
            <p:cNvPr id="214" name="Oval 213"/>
            <p:cNvSpPr/>
            <p:nvPr/>
          </p:nvSpPr>
          <p:spPr>
            <a:xfrm>
              <a:off x="5204410" y="4647246"/>
              <a:ext cx="281405" cy="281405"/>
            </a:xfrm>
            <a:prstGeom prst="ellipse">
              <a:avLst/>
            </a:prstGeom>
            <a:gradFill flip="none" rotWithShape="1">
              <a:gsLst>
                <a:gs pos="0">
                  <a:schemeClr val="bg1"/>
                </a:gs>
                <a:gs pos="100000">
                  <a:schemeClr val="bg1">
                    <a:lumMod val="95000"/>
                  </a:schemeClr>
                </a:gs>
              </a:gsLst>
              <a:path path="circle">
                <a:fillToRect l="50000" t="50000" r="50000" b="50000"/>
              </a:path>
              <a:tileRect/>
            </a:gradFill>
            <a:ln w="9525" cap="flat" cmpd="sng" algn="ctr">
              <a:noFill/>
              <a:prstDash val="dash"/>
              <a:miter lim="800000"/>
              <a:headEnd type="none" w="med" len="med"/>
              <a:tailEnd type="none" w="med" len="med"/>
            </a:ln>
            <a:effectLst>
              <a:innerShdw blurRad="63500">
                <a:prstClr val="black">
                  <a:alpha val="42000"/>
                </a:prstClr>
              </a:innerShdw>
            </a:effectLst>
          </p:spPr>
          <p:txBody>
            <a:bodyPr vert="horz" wrap="none" lIns="91440" tIns="45720" rIns="91440" bIns="45720" numCol="1" rtlCol="0" anchor="t" anchorCtr="0" compatLnSpc="1">
              <a:prstTxWarp prst="textNoShape">
                <a:avLst/>
              </a:prstTxWarp>
            </a:bodyPr>
            <a:lstStyle/>
            <a:p>
              <a:pPr marL="0" indent="0" defTabSz="914400">
                <a:buClrTx/>
                <a:buFontTx/>
                <a:buNone/>
              </a:pPr>
              <a:endParaRPr lang="en-US" dirty="0">
                <a:solidFill>
                  <a:schemeClr val="tx1"/>
                </a:solidFill>
              </a:endParaRPr>
            </a:p>
          </p:txBody>
        </p:sp>
        <p:sp>
          <p:nvSpPr>
            <p:cNvPr id="215" name="Chevron 214"/>
            <p:cNvSpPr/>
            <p:nvPr/>
          </p:nvSpPr>
          <p:spPr>
            <a:xfrm>
              <a:off x="5285011" y="4715249"/>
              <a:ext cx="144016" cy="144016"/>
            </a:xfrm>
            <a:prstGeom prst="chevron">
              <a:avLst>
                <a:gd name="adj" fmla="val 41733"/>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marL="0" indent="0" algn="ctr">
                <a:buNone/>
              </a:pPr>
              <a:endParaRPr lang="en-US" dirty="0" smtClean="0">
                <a:solidFill>
                  <a:schemeClr val="tx1"/>
                </a:solidFill>
              </a:endParaRPr>
            </a:p>
          </p:txBody>
        </p:sp>
      </p:grpSp>
      <p:grpSp>
        <p:nvGrpSpPr>
          <p:cNvPr id="217" name="Group 216"/>
          <p:cNvGrpSpPr/>
          <p:nvPr/>
        </p:nvGrpSpPr>
        <p:grpSpPr>
          <a:xfrm>
            <a:off x="5182163" y="1916785"/>
            <a:ext cx="379767" cy="494900"/>
            <a:chOff x="11088688" y="1643063"/>
            <a:chExt cx="350838" cy="457201"/>
          </a:xfrm>
        </p:grpSpPr>
        <p:sp>
          <p:nvSpPr>
            <p:cNvPr id="71" name="Freeform 21"/>
            <p:cNvSpPr>
              <a:spLocks/>
            </p:cNvSpPr>
            <p:nvPr/>
          </p:nvSpPr>
          <p:spPr bwMode="auto">
            <a:xfrm>
              <a:off x="11088688" y="1643063"/>
              <a:ext cx="284163" cy="452438"/>
            </a:xfrm>
            <a:custGeom>
              <a:avLst/>
              <a:gdLst>
                <a:gd name="T0" fmla="*/ 58 w 73"/>
                <a:gd name="T1" fmla="*/ 118 h 118"/>
                <a:gd name="T2" fmla="*/ 49 w 73"/>
                <a:gd name="T3" fmla="*/ 86 h 118"/>
                <a:gd name="T4" fmla="*/ 48 w 73"/>
                <a:gd name="T5" fmla="*/ 92 h 118"/>
                <a:gd name="T6" fmla="*/ 44 w 73"/>
                <a:gd name="T7" fmla="*/ 98 h 118"/>
                <a:gd name="T8" fmla="*/ 38 w 73"/>
                <a:gd name="T9" fmla="*/ 97 h 118"/>
                <a:gd name="T10" fmla="*/ 32 w 73"/>
                <a:gd name="T11" fmla="*/ 72 h 118"/>
                <a:gd name="T12" fmla="*/ 15 w 73"/>
                <a:gd name="T13" fmla="*/ 105 h 118"/>
                <a:gd name="T14" fmla="*/ 16 w 73"/>
                <a:gd name="T15" fmla="*/ 117 h 118"/>
                <a:gd name="T16" fmla="*/ 3 w 73"/>
                <a:gd name="T17" fmla="*/ 77 h 118"/>
                <a:gd name="T18" fmla="*/ 45 w 73"/>
                <a:gd name="T19" fmla="*/ 0 h 118"/>
                <a:gd name="T20" fmla="*/ 68 w 73"/>
                <a:gd name="T21" fmla="*/ 75 h 118"/>
                <a:gd name="T22" fmla="*/ 58 w 73"/>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118">
                  <a:moveTo>
                    <a:pt x="58" y="118"/>
                  </a:moveTo>
                  <a:cubicBezTo>
                    <a:pt x="58" y="110"/>
                    <a:pt x="56" y="95"/>
                    <a:pt x="49" y="86"/>
                  </a:cubicBezTo>
                  <a:cubicBezTo>
                    <a:pt x="49" y="88"/>
                    <a:pt x="48" y="92"/>
                    <a:pt x="48" y="92"/>
                  </a:cubicBezTo>
                  <a:cubicBezTo>
                    <a:pt x="47" y="95"/>
                    <a:pt x="46" y="97"/>
                    <a:pt x="44" y="98"/>
                  </a:cubicBezTo>
                  <a:cubicBezTo>
                    <a:pt x="42" y="99"/>
                    <a:pt x="39" y="98"/>
                    <a:pt x="38" y="97"/>
                  </a:cubicBezTo>
                  <a:cubicBezTo>
                    <a:pt x="34" y="94"/>
                    <a:pt x="31" y="89"/>
                    <a:pt x="32" y="72"/>
                  </a:cubicBezTo>
                  <a:cubicBezTo>
                    <a:pt x="22" y="80"/>
                    <a:pt x="16" y="96"/>
                    <a:pt x="15" y="105"/>
                  </a:cubicBezTo>
                  <a:cubicBezTo>
                    <a:pt x="14" y="108"/>
                    <a:pt x="15" y="114"/>
                    <a:pt x="16" y="117"/>
                  </a:cubicBezTo>
                  <a:cubicBezTo>
                    <a:pt x="0" y="113"/>
                    <a:pt x="1" y="91"/>
                    <a:pt x="3" y="77"/>
                  </a:cubicBezTo>
                  <a:cubicBezTo>
                    <a:pt x="5" y="56"/>
                    <a:pt x="22" y="20"/>
                    <a:pt x="45" y="0"/>
                  </a:cubicBezTo>
                  <a:cubicBezTo>
                    <a:pt x="41" y="55"/>
                    <a:pt x="55" y="47"/>
                    <a:pt x="68" y="75"/>
                  </a:cubicBezTo>
                  <a:cubicBezTo>
                    <a:pt x="73" y="89"/>
                    <a:pt x="70" y="108"/>
                    <a:pt x="58" y="11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16" name="Freeform 22"/>
            <p:cNvSpPr>
              <a:spLocks/>
            </p:cNvSpPr>
            <p:nvPr/>
          </p:nvSpPr>
          <p:spPr bwMode="auto">
            <a:xfrm>
              <a:off x="11276013" y="1743076"/>
              <a:ext cx="163513" cy="357188"/>
            </a:xfrm>
            <a:custGeom>
              <a:avLst/>
              <a:gdLst>
                <a:gd name="T0" fmla="*/ 26 w 42"/>
                <a:gd name="T1" fmla="*/ 37 h 93"/>
                <a:gd name="T2" fmla="*/ 7 w 42"/>
                <a:gd name="T3" fmla="*/ 11 h 93"/>
                <a:gd name="T4" fmla="*/ 3 w 42"/>
                <a:gd name="T5" fmla="*/ 0 h 93"/>
                <a:gd name="T6" fmla="*/ 16 w 42"/>
                <a:gd name="T7" fmla="*/ 35 h 93"/>
                <a:gd name="T8" fmla="*/ 12 w 42"/>
                <a:gd name="T9" fmla="*/ 93 h 93"/>
                <a:gd name="T10" fmla="*/ 32 w 42"/>
                <a:gd name="T11" fmla="*/ 46 h 93"/>
                <a:gd name="T12" fmla="*/ 26 w 42"/>
                <a:gd name="T13" fmla="*/ 37 h 93"/>
              </a:gdLst>
              <a:ahLst/>
              <a:cxnLst>
                <a:cxn ang="0">
                  <a:pos x="T0" y="T1"/>
                </a:cxn>
                <a:cxn ang="0">
                  <a:pos x="T2" y="T3"/>
                </a:cxn>
                <a:cxn ang="0">
                  <a:pos x="T4" y="T5"/>
                </a:cxn>
                <a:cxn ang="0">
                  <a:pos x="T6" y="T7"/>
                </a:cxn>
                <a:cxn ang="0">
                  <a:pos x="T8" y="T9"/>
                </a:cxn>
                <a:cxn ang="0">
                  <a:pos x="T10" y="T11"/>
                </a:cxn>
                <a:cxn ang="0">
                  <a:pos x="T12" y="T13"/>
                </a:cxn>
              </a:cxnLst>
              <a:rect l="0" t="0" r="r" b="b"/>
              <a:pathLst>
                <a:path w="42" h="93">
                  <a:moveTo>
                    <a:pt x="26" y="37"/>
                  </a:moveTo>
                  <a:cubicBezTo>
                    <a:pt x="19" y="29"/>
                    <a:pt x="9" y="21"/>
                    <a:pt x="7" y="11"/>
                  </a:cubicBezTo>
                  <a:cubicBezTo>
                    <a:pt x="7" y="11"/>
                    <a:pt x="3" y="0"/>
                    <a:pt x="3" y="0"/>
                  </a:cubicBezTo>
                  <a:cubicBezTo>
                    <a:pt x="0" y="13"/>
                    <a:pt x="2" y="17"/>
                    <a:pt x="16" y="35"/>
                  </a:cubicBezTo>
                  <a:cubicBezTo>
                    <a:pt x="42" y="69"/>
                    <a:pt x="12" y="93"/>
                    <a:pt x="12" y="93"/>
                  </a:cubicBezTo>
                  <a:cubicBezTo>
                    <a:pt x="35" y="82"/>
                    <a:pt x="37" y="61"/>
                    <a:pt x="32" y="46"/>
                  </a:cubicBezTo>
                  <a:cubicBezTo>
                    <a:pt x="30" y="42"/>
                    <a:pt x="28" y="39"/>
                    <a:pt x="26" y="37"/>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226" name="Group 225"/>
          <p:cNvGrpSpPr/>
          <p:nvPr/>
        </p:nvGrpSpPr>
        <p:grpSpPr>
          <a:xfrm>
            <a:off x="9204850" y="1930071"/>
            <a:ext cx="494230" cy="483138"/>
            <a:chOff x="10691813" y="2500313"/>
            <a:chExt cx="1060451" cy="1216026"/>
          </a:xfrm>
          <a:solidFill>
            <a:schemeClr val="accent3"/>
          </a:solidFill>
        </p:grpSpPr>
        <p:sp>
          <p:nvSpPr>
            <p:cNvPr id="221" name="Freeform 26"/>
            <p:cNvSpPr>
              <a:spLocks/>
            </p:cNvSpPr>
            <p:nvPr/>
          </p:nvSpPr>
          <p:spPr bwMode="auto">
            <a:xfrm>
              <a:off x="10721976" y="3219451"/>
              <a:ext cx="188913" cy="496888"/>
            </a:xfrm>
            <a:custGeom>
              <a:avLst/>
              <a:gdLst>
                <a:gd name="T0" fmla="*/ 50 w 50"/>
                <a:gd name="T1" fmla="*/ 116 h 131"/>
                <a:gd name="T2" fmla="*/ 35 w 50"/>
                <a:gd name="T3" fmla="*/ 131 h 131"/>
                <a:gd name="T4" fmla="*/ 15 w 50"/>
                <a:gd name="T5" fmla="*/ 131 h 131"/>
                <a:gd name="T6" fmla="*/ 0 w 50"/>
                <a:gd name="T7" fmla="*/ 116 h 131"/>
                <a:gd name="T8" fmla="*/ 0 w 50"/>
                <a:gd name="T9" fmla="*/ 15 h 131"/>
                <a:gd name="T10" fmla="*/ 15 w 50"/>
                <a:gd name="T11" fmla="*/ 0 h 131"/>
                <a:gd name="T12" fmla="*/ 35 w 50"/>
                <a:gd name="T13" fmla="*/ 0 h 131"/>
                <a:gd name="T14" fmla="*/ 50 w 50"/>
                <a:gd name="T15" fmla="*/ 15 h 131"/>
                <a:gd name="T16" fmla="*/ 50 w 50"/>
                <a:gd name="T17" fmla="*/ 116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31">
                  <a:moveTo>
                    <a:pt x="50" y="116"/>
                  </a:moveTo>
                  <a:cubicBezTo>
                    <a:pt x="50" y="124"/>
                    <a:pt x="43" y="131"/>
                    <a:pt x="35" y="131"/>
                  </a:cubicBezTo>
                  <a:cubicBezTo>
                    <a:pt x="15" y="131"/>
                    <a:pt x="15" y="131"/>
                    <a:pt x="15" y="131"/>
                  </a:cubicBezTo>
                  <a:cubicBezTo>
                    <a:pt x="7" y="131"/>
                    <a:pt x="0" y="124"/>
                    <a:pt x="0" y="116"/>
                  </a:cubicBezTo>
                  <a:cubicBezTo>
                    <a:pt x="0" y="15"/>
                    <a:pt x="0" y="15"/>
                    <a:pt x="0" y="15"/>
                  </a:cubicBezTo>
                  <a:cubicBezTo>
                    <a:pt x="0" y="7"/>
                    <a:pt x="7" y="0"/>
                    <a:pt x="15" y="0"/>
                  </a:cubicBezTo>
                  <a:cubicBezTo>
                    <a:pt x="35" y="0"/>
                    <a:pt x="35" y="0"/>
                    <a:pt x="35" y="0"/>
                  </a:cubicBezTo>
                  <a:cubicBezTo>
                    <a:pt x="43" y="0"/>
                    <a:pt x="50" y="7"/>
                    <a:pt x="50" y="15"/>
                  </a:cubicBezTo>
                  <a:lnTo>
                    <a:pt x="50" y="1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2" name="Freeform 27"/>
            <p:cNvSpPr>
              <a:spLocks/>
            </p:cNvSpPr>
            <p:nvPr/>
          </p:nvSpPr>
          <p:spPr bwMode="auto">
            <a:xfrm>
              <a:off x="11001376" y="3016251"/>
              <a:ext cx="190500" cy="700088"/>
            </a:xfrm>
            <a:custGeom>
              <a:avLst/>
              <a:gdLst>
                <a:gd name="T0" fmla="*/ 50 w 50"/>
                <a:gd name="T1" fmla="*/ 170 h 185"/>
                <a:gd name="T2" fmla="*/ 35 w 50"/>
                <a:gd name="T3" fmla="*/ 185 h 185"/>
                <a:gd name="T4" fmla="*/ 15 w 50"/>
                <a:gd name="T5" fmla="*/ 185 h 185"/>
                <a:gd name="T6" fmla="*/ 0 w 50"/>
                <a:gd name="T7" fmla="*/ 170 h 185"/>
                <a:gd name="T8" fmla="*/ 0 w 50"/>
                <a:gd name="T9" fmla="*/ 16 h 185"/>
                <a:gd name="T10" fmla="*/ 15 w 50"/>
                <a:gd name="T11" fmla="*/ 0 h 185"/>
                <a:gd name="T12" fmla="*/ 35 w 50"/>
                <a:gd name="T13" fmla="*/ 0 h 185"/>
                <a:gd name="T14" fmla="*/ 50 w 50"/>
                <a:gd name="T15" fmla="*/ 16 h 185"/>
                <a:gd name="T16" fmla="*/ 50 w 50"/>
                <a:gd name="T17" fmla="*/ 170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85">
                  <a:moveTo>
                    <a:pt x="50" y="170"/>
                  </a:moveTo>
                  <a:cubicBezTo>
                    <a:pt x="50" y="178"/>
                    <a:pt x="43" y="185"/>
                    <a:pt x="35" y="185"/>
                  </a:cubicBezTo>
                  <a:cubicBezTo>
                    <a:pt x="15" y="185"/>
                    <a:pt x="15" y="185"/>
                    <a:pt x="15" y="185"/>
                  </a:cubicBezTo>
                  <a:cubicBezTo>
                    <a:pt x="7" y="185"/>
                    <a:pt x="0" y="178"/>
                    <a:pt x="0" y="170"/>
                  </a:cubicBezTo>
                  <a:cubicBezTo>
                    <a:pt x="0" y="16"/>
                    <a:pt x="0" y="16"/>
                    <a:pt x="0" y="16"/>
                  </a:cubicBezTo>
                  <a:cubicBezTo>
                    <a:pt x="0" y="7"/>
                    <a:pt x="7" y="0"/>
                    <a:pt x="15" y="0"/>
                  </a:cubicBezTo>
                  <a:cubicBezTo>
                    <a:pt x="35" y="0"/>
                    <a:pt x="35" y="0"/>
                    <a:pt x="35" y="0"/>
                  </a:cubicBezTo>
                  <a:cubicBezTo>
                    <a:pt x="43" y="0"/>
                    <a:pt x="50" y="7"/>
                    <a:pt x="50" y="16"/>
                  </a:cubicBezTo>
                  <a:lnTo>
                    <a:pt x="50" y="1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3" name="Freeform 28"/>
            <p:cNvSpPr>
              <a:spLocks/>
            </p:cNvSpPr>
            <p:nvPr/>
          </p:nvSpPr>
          <p:spPr bwMode="auto">
            <a:xfrm>
              <a:off x="11282363" y="3117851"/>
              <a:ext cx="188913" cy="598488"/>
            </a:xfrm>
            <a:custGeom>
              <a:avLst/>
              <a:gdLst>
                <a:gd name="T0" fmla="*/ 50 w 50"/>
                <a:gd name="T1" fmla="*/ 143 h 158"/>
                <a:gd name="T2" fmla="*/ 35 w 50"/>
                <a:gd name="T3" fmla="*/ 158 h 158"/>
                <a:gd name="T4" fmla="*/ 15 w 50"/>
                <a:gd name="T5" fmla="*/ 158 h 158"/>
                <a:gd name="T6" fmla="*/ 0 w 50"/>
                <a:gd name="T7" fmla="*/ 143 h 158"/>
                <a:gd name="T8" fmla="*/ 0 w 50"/>
                <a:gd name="T9" fmla="*/ 15 h 158"/>
                <a:gd name="T10" fmla="*/ 15 w 50"/>
                <a:gd name="T11" fmla="*/ 0 h 158"/>
                <a:gd name="T12" fmla="*/ 35 w 50"/>
                <a:gd name="T13" fmla="*/ 0 h 158"/>
                <a:gd name="T14" fmla="*/ 50 w 50"/>
                <a:gd name="T15" fmla="*/ 15 h 158"/>
                <a:gd name="T16" fmla="*/ 50 w 50"/>
                <a:gd name="T17" fmla="*/ 143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58">
                  <a:moveTo>
                    <a:pt x="50" y="143"/>
                  </a:moveTo>
                  <a:cubicBezTo>
                    <a:pt x="50" y="151"/>
                    <a:pt x="43" y="158"/>
                    <a:pt x="35" y="158"/>
                  </a:cubicBezTo>
                  <a:cubicBezTo>
                    <a:pt x="15" y="158"/>
                    <a:pt x="15" y="158"/>
                    <a:pt x="15" y="158"/>
                  </a:cubicBezTo>
                  <a:cubicBezTo>
                    <a:pt x="7" y="158"/>
                    <a:pt x="0" y="151"/>
                    <a:pt x="0" y="143"/>
                  </a:cubicBezTo>
                  <a:cubicBezTo>
                    <a:pt x="0" y="15"/>
                    <a:pt x="0" y="15"/>
                    <a:pt x="0" y="15"/>
                  </a:cubicBezTo>
                  <a:cubicBezTo>
                    <a:pt x="0" y="7"/>
                    <a:pt x="7" y="0"/>
                    <a:pt x="15" y="0"/>
                  </a:cubicBezTo>
                  <a:cubicBezTo>
                    <a:pt x="35" y="0"/>
                    <a:pt x="35" y="0"/>
                    <a:pt x="35" y="0"/>
                  </a:cubicBezTo>
                  <a:cubicBezTo>
                    <a:pt x="43" y="0"/>
                    <a:pt x="50" y="7"/>
                    <a:pt x="50" y="15"/>
                  </a:cubicBezTo>
                  <a:lnTo>
                    <a:pt x="50"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4" name="Freeform 29"/>
            <p:cNvSpPr>
              <a:spLocks/>
            </p:cNvSpPr>
            <p:nvPr/>
          </p:nvSpPr>
          <p:spPr bwMode="auto">
            <a:xfrm>
              <a:off x="11563351" y="2806701"/>
              <a:ext cx="188913" cy="909638"/>
            </a:xfrm>
            <a:custGeom>
              <a:avLst/>
              <a:gdLst>
                <a:gd name="T0" fmla="*/ 50 w 50"/>
                <a:gd name="T1" fmla="*/ 225 h 240"/>
                <a:gd name="T2" fmla="*/ 35 w 50"/>
                <a:gd name="T3" fmla="*/ 240 h 240"/>
                <a:gd name="T4" fmla="*/ 15 w 50"/>
                <a:gd name="T5" fmla="*/ 240 h 240"/>
                <a:gd name="T6" fmla="*/ 0 w 50"/>
                <a:gd name="T7" fmla="*/ 225 h 240"/>
                <a:gd name="T8" fmla="*/ 0 w 50"/>
                <a:gd name="T9" fmla="*/ 15 h 240"/>
                <a:gd name="T10" fmla="*/ 15 w 50"/>
                <a:gd name="T11" fmla="*/ 0 h 240"/>
                <a:gd name="T12" fmla="*/ 35 w 50"/>
                <a:gd name="T13" fmla="*/ 0 h 240"/>
                <a:gd name="T14" fmla="*/ 50 w 50"/>
                <a:gd name="T15" fmla="*/ 15 h 240"/>
                <a:gd name="T16" fmla="*/ 50 w 50"/>
                <a:gd name="T17" fmla="*/ 225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240">
                  <a:moveTo>
                    <a:pt x="50" y="225"/>
                  </a:moveTo>
                  <a:cubicBezTo>
                    <a:pt x="50" y="233"/>
                    <a:pt x="43" y="240"/>
                    <a:pt x="35" y="240"/>
                  </a:cubicBezTo>
                  <a:cubicBezTo>
                    <a:pt x="15" y="240"/>
                    <a:pt x="15" y="240"/>
                    <a:pt x="15" y="240"/>
                  </a:cubicBezTo>
                  <a:cubicBezTo>
                    <a:pt x="7" y="240"/>
                    <a:pt x="0" y="233"/>
                    <a:pt x="0" y="225"/>
                  </a:cubicBezTo>
                  <a:cubicBezTo>
                    <a:pt x="0" y="15"/>
                    <a:pt x="0" y="15"/>
                    <a:pt x="0" y="15"/>
                  </a:cubicBezTo>
                  <a:cubicBezTo>
                    <a:pt x="0" y="6"/>
                    <a:pt x="7" y="0"/>
                    <a:pt x="15" y="0"/>
                  </a:cubicBezTo>
                  <a:cubicBezTo>
                    <a:pt x="35" y="0"/>
                    <a:pt x="35" y="0"/>
                    <a:pt x="35" y="0"/>
                  </a:cubicBezTo>
                  <a:cubicBezTo>
                    <a:pt x="43" y="0"/>
                    <a:pt x="50" y="6"/>
                    <a:pt x="50" y="15"/>
                  </a:cubicBezTo>
                  <a:lnTo>
                    <a:pt x="50" y="2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5" name="Freeform 30"/>
            <p:cNvSpPr>
              <a:spLocks/>
            </p:cNvSpPr>
            <p:nvPr/>
          </p:nvSpPr>
          <p:spPr bwMode="auto">
            <a:xfrm>
              <a:off x="10691813" y="2500313"/>
              <a:ext cx="1049338" cy="682625"/>
            </a:xfrm>
            <a:custGeom>
              <a:avLst/>
              <a:gdLst>
                <a:gd name="T0" fmla="*/ 277 w 277"/>
                <a:gd name="T1" fmla="*/ 8 h 180"/>
                <a:gd name="T2" fmla="*/ 277 w 277"/>
                <a:gd name="T3" fmla="*/ 8 h 180"/>
                <a:gd name="T4" fmla="*/ 269 w 277"/>
                <a:gd name="T5" fmla="*/ 0 h 180"/>
                <a:gd name="T6" fmla="*/ 263 w 277"/>
                <a:gd name="T7" fmla="*/ 1 h 180"/>
                <a:gd name="T8" fmla="*/ 235 w 277"/>
                <a:gd name="T9" fmla="*/ 16 h 180"/>
                <a:gd name="T10" fmla="*/ 230 w 277"/>
                <a:gd name="T11" fmla="*/ 20 h 180"/>
                <a:gd name="T12" fmla="*/ 232 w 277"/>
                <a:gd name="T13" fmla="*/ 31 h 180"/>
                <a:gd name="T14" fmla="*/ 233 w 277"/>
                <a:gd name="T15" fmla="*/ 31 h 180"/>
                <a:gd name="T16" fmla="*/ 233 w 277"/>
                <a:gd name="T17" fmla="*/ 31 h 180"/>
                <a:gd name="T18" fmla="*/ 239 w 277"/>
                <a:gd name="T19" fmla="*/ 36 h 180"/>
                <a:gd name="T20" fmla="*/ 178 w 277"/>
                <a:gd name="T21" fmla="*/ 126 h 180"/>
                <a:gd name="T22" fmla="*/ 110 w 277"/>
                <a:gd name="T23" fmla="*/ 98 h 180"/>
                <a:gd name="T24" fmla="*/ 102 w 277"/>
                <a:gd name="T25" fmla="*/ 98 h 180"/>
                <a:gd name="T26" fmla="*/ 5 w 277"/>
                <a:gd name="T27" fmla="*/ 163 h 180"/>
                <a:gd name="T28" fmla="*/ 3 w 277"/>
                <a:gd name="T29" fmla="*/ 175 h 180"/>
                <a:gd name="T30" fmla="*/ 15 w 277"/>
                <a:gd name="T31" fmla="*/ 178 h 180"/>
                <a:gd name="T32" fmla="*/ 107 w 277"/>
                <a:gd name="T33" fmla="*/ 115 h 180"/>
                <a:gd name="T34" fmla="*/ 177 w 277"/>
                <a:gd name="T35" fmla="*/ 144 h 180"/>
                <a:gd name="T36" fmla="*/ 188 w 277"/>
                <a:gd name="T37" fmla="*/ 141 h 180"/>
                <a:gd name="T38" fmla="*/ 253 w 277"/>
                <a:gd name="T39" fmla="*/ 45 h 180"/>
                <a:gd name="T40" fmla="*/ 262 w 277"/>
                <a:gd name="T41" fmla="*/ 50 h 180"/>
                <a:gd name="T42" fmla="*/ 262 w 277"/>
                <a:gd name="T43" fmla="*/ 50 h 180"/>
                <a:gd name="T44" fmla="*/ 271 w 277"/>
                <a:gd name="T45" fmla="*/ 50 h 180"/>
                <a:gd name="T46" fmla="*/ 275 w 277"/>
                <a:gd name="T47" fmla="*/ 43 h 180"/>
                <a:gd name="T48" fmla="*/ 275 w 277"/>
                <a:gd name="T49" fmla="*/ 43 h 180"/>
                <a:gd name="T50" fmla="*/ 275 w 277"/>
                <a:gd name="T51" fmla="*/ 43 h 180"/>
                <a:gd name="T52" fmla="*/ 277 w 277"/>
                <a:gd name="T53" fmla="*/ 8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7" h="180">
                  <a:moveTo>
                    <a:pt x="277" y="8"/>
                  </a:moveTo>
                  <a:cubicBezTo>
                    <a:pt x="277" y="8"/>
                    <a:pt x="277" y="8"/>
                    <a:pt x="277" y="8"/>
                  </a:cubicBezTo>
                  <a:cubicBezTo>
                    <a:pt x="277" y="4"/>
                    <a:pt x="273" y="0"/>
                    <a:pt x="269" y="0"/>
                  </a:cubicBezTo>
                  <a:cubicBezTo>
                    <a:pt x="267" y="0"/>
                    <a:pt x="265" y="0"/>
                    <a:pt x="263" y="1"/>
                  </a:cubicBezTo>
                  <a:cubicBezTo>
                    <a:pt x="235" y="16"/>
                    <a:pt x="235" y="16"/>
                    <a:pt x="235" y="16"/>
                  </a:cubicBezTo>
                  <a:cubicBezTo>
                    <a:pt x="233" y="17"/>
                    <a:pt x="231" y="18"/>
                    <a:pt x="230" y="20"/>
                  </a:cubicBezTo>
                  <a:cubicBezTo>
                    <a:pt x="227" y="24"/>
                    <a:pt x="229" y="29"/>
                    <a:pt x="232" y="31"/>
                  </a:cubicBezTo>
                  <a:cubicBezTo>
                    <a:pt x="232" y="31"/>
                    <a:pt x="232" y="31"/>
                    <a:pt x="233" y="31"/>
                  </a:cubicBezTo>
                  <a:cubicBezTo>
                    <a:pt x="233" y="31"/>
                    <a:pt x="233" y="31"/>
                    <a:pt x="233" y="31"/>
                  </a:cubicBezTo>
                  <a:cubicBezTo>
                    <a:pt x="239" y="36"/>
                    <a:pt x="239" y="36"/>
                    <a:pt x="239" y="36"/>
                  </a:cubicBezTo>
                  <a:cubicBezTo>
                    <a:pt x="178" y="126"/>
                    <a:pt x="178" y="126"/>
                    <a:pt x="178" y="126"/>
                  </a:cubicBezTo>
                  <a:cubicBezTo>
                    <a:pt x="110" y="98"/>
                    <a:pt x="110" y="98"/>
                    <a:pt x="110" y="98"/>
                  </a:cubicBezTo>
                  <a:cubicBezTo>
                    <a:pt x="107" y="97"/>
                    <a:pt x="104" y="97"/>
                    <a:pt x="102" y="98"/>
                  </a:cubicBezTo>
                  <a:cubicBezTo>
                    <a:pt x="5" y="163"/>
                    <a:pt x="5" y="163"/>
                    <a:pt x="5" y="163"/>
                  </a:cubicBezTo>
                  <a:cubicBezTo>
                    <a:pt x="1" y="166"/>
                    <a:pt x="0" y="171"/>
                    <a:pt x="3" y="175"/>
                  </a:cubicBezTo>
                  <a:cubicBezTo>
                    <a:pt x="5" y="179"/>
                    <a:pt x="11" y="180"/>
                    <a:pt x="15" y="178"/>
                  </a:cubicBezTo>
                  <a:cubicBezTo>
                    <a:pt x="107" y="115"/>
                    <a:pt x="107" y="115"/>
                    <a:pt x="107" y="115"/>
                  </a:cubicBezTo>
                  <a:cubicBezTo>
                    <a:pt x="177" y="144"/>
                    <a:pt x="177" y="144"/>
                    <a:pt x="177" y="144"/>
                  </a:cubicBezTo>
                  <a:cubicBezTo>
                    <a:pt x="181" y="146"/>
                    <a:pt x="185" y="144"/>
                    <a:pt x="188" y="141"/>
                  </a:cubicBezTo>
                  <a:cubicBezTo>
                    <a:pt x="253" y="45"/>
                    <a:pt x="253" y="45"/>
                    <a:pt x="253" y="45"/>
                  </a:cubicBezTo>
                  <a:cubicBezTo>
                    <a:pt x="262" y="50"/>
                    <a:pt x="262" y="50"/>
                    <a:pt x="262" y="50"/>
                  </a:cubicBezTo>
                  <a:cubicBezTo>
                    <a:pt x="262" y="50"/>
                    <a:pt x="262" y="50"/>
                    <a:pt x="262" y="50"/>
                  </a:cubicBezTo>
                  <a:cubicBezTo>
                    <a:pt x="265" y="52"/>
                    <a:pt x="268" y="52"/>
                    <a:pt x="271" y="50"/>
                  </a:cubicBezTo>
                  <a:cubicBezTo>
                    <a:pt x="273" y="48"/>
                    <a:pt x="275" y="46"/>
                    <a:pt x="275" y="43"/>
                  </a:cubicBezTo>
                  <a:cubicBezTo>
                    <a:pt x="275" y="43"/>
                    <a:pt x="275" y="43"/>
                    <a:pt x="275" y="43"/>
                  </a:cubicBezTo>
                  <a:cubicBezTo>
                    <a:pt x="275" y="43"/>
                    <a:pt x="275" y="43"/>
                    <a:pt x="275" y="43"/>
                  </a:cubicBezTo>
                  <a:lnTo>
                    <a:pt x="277"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138359684"/>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8" name="Picture 57"/>
          <p:cNvPicPr>
            <a:picLocks noChangeAspect="1" noChangeArrowheads="1"/>
          </p:cNvPicPr>
          <p:nvPr/>
        </p:nvPicPr>
        <p:blipFill>
          <a:blip r:embed="rId2" cstate="screen"/>
          <a:srcRect/>
          <a:stretch>
            <a:fillRect/>
          </a:stretch>
        </p:blipFill>
        <p:spPr bwMode="auto">
          <a:xfrm rot="10800000" flipH="1" flipV="1">
            <a:off x="-50672" y="4023448"/>
            <a:ext cx="6014940" cy="116447"/>
          </a:xfrm>
          <a:prstGeom prst="rect">
            <a:avLst/>
          </a:prstGeom>
          <a:noFill/>
          <a:ln w="9525" algn="ctr">
            <a:noFill/>
            <a:miter lim="800000"/>
            <a:headEnd/>
            <a:tailEnd/>
          </a:ln>
        </p:spPr>
      </p:pic>
      <p:sp>
        <p:nvSpPr>
          <p:cNvPr id="5" name="Title 5"/>
          <p:cNvSpPr txBox="1">
            <a:spLocks/>
          </p:cNvSpPr>
          <p:nvPr/>
        </p:nvSpPr>
        <p:spPr>
          <a:xfrm>
            <a:off x="520700" y="107950"/>
            <a:ext cx="7913255" cy="828050"/>
          </a:xfrm>
          <a:prstGeom prst="rect">
            <a:avLst/>
          </a:prstGeom>
        </p:spPr>
        <p:txBody>
          <a:bodyPr anchor="ctr"/>
          <a:lstStyle>
            <a:lvl1pPr algn="l" defTabSz="1007943" rtl="0" eaLnBrk="1" latinLnBrk="0" hangingPunct="1">
              <a:lnSpc>
                <a:spcPct val="90000"/>
              </a:lnSpc>
              <a:spcBef>
                <a:spcPct val="0"/>
              </a:spcBef>
              <a:buNone/>
              <a:defRPr sz="2400" b="1" kern="1200" cap="all" baseline="0">
                <a:solidFill>
                  <a:schemeClr val="bg1"/>
                </a:solidFill>
                <a:latin typeface="+mj-lt"/>
                <a:ea typeface="+mj-ea"/>
                <a:cs typeface="+mj-cs"/>
              </a:defRPr>
            </a:lvl1pPr>
          </a:lstStyle>
          <a:p>
            <a:pPr marL="0" indent="0">
              <a:buClrTx/>
              <a:buFontTx/>
            </a:pPr>
            <a:r>
              <a:rPr lang="en-GB" cap="none" dirty="0" smtClean="0"/>
              <a:t>THE RIGHT TOOLS AND </a:t>
            </a:r>
          </a:p>
          <a:p>
            <a:pPr marL="0" indent="0">
              <a:buClrTx/>
              <a:buFontTx/>
            </a:pPr>
            <a:r>
              <a:rPr lang="en-GB" cap="none" dirty="0" smtClean="0"/>
              <a:t>ANALYSIS TO FIT YOUR ROLE</a:t>
            </a:r>
            <a:endParaRPr lang="en-GB" cap="none" dirty="0"/>
          </a:p>
        </p:txBody>
      </p:sp>
      <p:sp>
        <p:nvSpPr>
          <p:cNvPr id="10" name="Rectangle 9"/>
          <p:cNvSpPr/>
          <p:nvPr/>
        </p:nvSpPr>
        <p:spPr>
          <a:xfrm>
            <a:off x="-119332" y="2915741"/>
            <a:ext cx="1288774" cy="618353"/>
          </a:xfrm>
          <a:prstGeom prst="rect">
            <a:avLst/>
          </a:prstGeom>
        </p:spPr>
        <p:txBody>
          <a:bodyPr wrap="square" anchor="t">
            <a:noAutofit/>
          </a:bodyPr>
          <a:lstStyle/>
          <a:p>
            <a:pPr marL="0" indent="0" algn="r" defTabSz="457200">
              <a:spcBef>
                <a:spcPts val="0"/>
              </a:spcBef>
              <a:buClrTx/>
              <a:buNone/>
              <a:defRPr/>
            </a:pPr>
            <a:r>
              <a:rPr lang="en-GB" sz="1200" b="1" dirty="0" smtClean="0">
                <a:solidFill>
                  <a:schemeClr val="tx1">
                    <a:lumMod val="75000"/>
                    <a:lumOff val="25000"/>
                  </a:schemeClr>
                </a:solidFill>
              </a:rPr>
              <a:t>Strategy &amp; Business Development Executive</a:t>
            </a:r>
            <a:endParaRPr lang="en-GB" sz="1200" b="1" dirty="0">
              <a:solidFill>
                <a:schemeClr val="tx1">
                  <a:lumMod val="75000"/>
                  <a:lumOff val="25000"/>
                </a:schemeClr>
              </a:solidFill>
            </a:endParaRPr>
          </a:p>
        </p:txBody>
      </p:sp>
      <p:sp>
        <p:nvSpPr>
          <p:cNvPr id="11" name="Rectangle 10"/>
          <p:cNvSpPr/>
          <p:nvPr/>
        </p:nvSpPr>
        <p:spPr>
          <a:xfrm>
            <a:off x="-5841" y="4606075"/>
            <a:ext cx="1175283" cy="646331"/>
          </a:xfrm>
          <a:prstGeom prst="rect">
            <a:avLst/>
          </a:prstGeom>
        </p:spPr>
        <p:txBody>
          <a:bodyPr wrap="square" anchor="t">
            <a:spAutoFit/>
          </a:bodyPr>
          <a:lstStyle/>
          <a:p>
            <a:pPr marL="0" indent="0" algn="r" defTabSz="457200">
              <a:spcBef>
                <a:spcPts val="0"/>
              </a:spcBef>
              <a:buClrTx/>
              <a:buNone/>
              <a:defRPr/>
            </a:pPr>
            <a:r>
              <a:rPr lang="en-GB" sz="1200" b="1" dirty="0" smtClean="0">
                <a:solidFill>
                  <a:schemeClr val="tx1">
                    <a:lumMod val="75000"/>
                    <a:lumOff val="25000"/>
                  </a:schemeClr>
                </a:solidFill>
              </a:rPr>
              <a:t>Trader &amp; </a:t>
            </a:r>
            <a:br>
              <a:rPr lang="en-GB" sz="1200" b="1" dirty="0" smtClean="0">
                <a:solidFill>
                  <a:schemeClr val="tx1">
                    <a:lumMod val="75000"/>
                    <a:lumOff val="25000"/>
                  </a:schemeClr>
                </a:solidFill>
              </a:rPr>
            </a:br>
            <a:r>
              <a:rPr lang="en-GB" sz="1200" b="1" dirty="0" smtClean="0">
                <a:solidFill>
                  <a:schemeClr val="tx1">
                    <a:lumMod val="75000"/>
                    <a:lumOff val="25000"/>
                  </a:schemeClr>
                </a:solidFill>
              </a:rPr>
              <a:t>Trading Strategist</a:t>
            </a:r>
            <a:endParaRPr lang="en-GB" sz="1200" b="1" dirty="0">
              <a:solidFill>
                <a:schemeClr val="tx1">
                  <a:lumMod val="75000"/>
                  <a:lumOff val="25000"/>
                </a:schemeClr>
              </a:solidFill>
            </a:endParaRPr>
          </a:p>
        </p:txBody>
      </p:sp>
      <p:sp>
        <p:nvSpPr>
          <p:cNvPr id="12" name="Rectangle 11"/>
          <p:cNvSpPr/>
          <p:nvPr/>
        </p:nvSpPr>
        <p:spPr>
          <a:xfrm>
            <a:off x="4697834" y="2968590"/>
            <a:ext cx="1619778" cy="667231"/>
          </a:xfrm>
          <a:prstGeom prst="rect">
            <a:avLst/>
          </a:prstGeom>
        </p:spPr>
        <p:txBody>
          <a:bodyPr wrap="square" anchor="t">
            <a:noAutofit/>
          </a:bodyPr>
          <a:lstStyle/>
          <a:p>
            <a:pPr marL="0" indent="0" defTabSz="457200">
              <a:spcBef>
                <a:spcPts val="0"/>
              </a:spcBef>
              <a:buClrTx/>
              <a:buNone/>
              <a:defRPr/>
            </a:pPr>
            <a:r>
              <a:rPr lang="en-GB" sz="1200" b="1" dirty="0" smtClean="0">
                <a:solidFill>
                  <a:schemeClr val="tx1">
                    <a:lumMod val="75000"/>
                    <a:lumOff val="25000"/>
                  </a:schemeClr>
                </a:solidFill>
              </a:rPr>
              <a:t>Policy </a:t>
            </a:r>
          </a:p>
          <a:p>
            <a:pPr marL="0" indent="0" defTabSz="457200">
              <a:spcBef>
                <a:spcPts val="0"/>
              </a:spcBef>
              <a:buClrTx/>
              <a:buNone/>
              <a:defRPr/>
            </a:pPr>
            <a:r>
              <a:rPr lang="en-GB" sz="1200" b="1" dirty="0" smtClean="0">
                <a:solidFill>
                  <a:schemeClr val="tx1">
                    <a:lumMod val="75000"/>
                    <a:lumOff val="25000"/>
                  </a:schemeClr>
                </a:solidFill>
              </a:rPr>
              <a:t>Analyst &amp; Regulatory Professional</a:t>
            </a:r>
            <a:endParaRPr lang="en-GB" sz="1200" b="1" dirty="0">
              <a:solidFill>
                <a:schemeClr val="tx1">
                  <a:lumMod val="75000"/>
                  <a:lumOff val="25000"/>
                </a:schemeClr>
              </a:solidFill>
            </a:endParaRPr>
          </a:p>
        </p:txBody>
      </p:sp>
      <p:sp>
        <p:nvSpPr>
          <p:cNvPr id="13" name="Rectangle 12"/>
          <p:cNvSpPr/>
          <p:nvPr/>
        </p:nvSpPr>
        <p:spPr>
          <a:xfrm>
            <a:off x="4697834" y="4643933"/>
            <a:ext cx="1331443" cy="646331"/>
          </a:xfrm>
          <a:prstGeom prst="rect">
            <a:avLst/>
          </a:prstGeom>
        </p:spPr>
        <p:txBody>
          <a:bodyPr wrap="square" anchor="t">
            <a:spAutoFit/>
          </a:bodyPr>
          <a:lstStyle/>
          <a:p>
            <a:pPr marL="0" indent="0" defTabSz="457200">
              <a:spcBef>
                <a:spcPts val="0"/>
              </a:spcBef>
              <a:buClrTx/>
              <a:buNone/>
              <a:defRPr/>
            </a:pPr>
            <a:r>
              <a:rPr lang="en-GB" sz="1200" b="1" dirty="0" smtClean="0">
                <a:solidFill>
                  <a:schemeClr val="tx1">
                    <a:lumMod val="75000"/>
                    <a:lumOff val="25000"/>
                  </a:schemeClr>
                </a:solidFill>
              </a:rPr>
              <a:t>Sales &amp;</a:t>
            </a:r>
            <a:br>
              <a:rPr lang="en-GB" sz="1200" b="1" dirty="0" smtClean="0">
                <a:solidFill>
                  <a:schemeClr val="tx1">
                    <a:lumMod val="75000"/>
                    <a:lumOff val="25000"/>
                  </a:schemeClr>
                </a:solidFill>
              </a:rPr>
            </a:br>
            <a:r>
              <a:rPr lang="en-GB" sz="1200" b="1" dirty="0" smtClean="0">
                <a:solidFill>
                  <a:schemeClr val="tx1">
                    <a:lumMod val="75000"/>
                    <a:lumOff val="25000"/>
                  </a:schemeClr>
                </a:solidFill>
              </a:rPr>
              <a:t>Marketing </a:t>
            </a:r>
            <a:br>
              <a:rPr lang="en-GB" sz="1200" b="1" dirty="0" smtClean="0">
                <a:solidFill>
                  <a:schemeClr val="tx1">
                    <a:lumMod val="75000"/>
                    <a:lumOff val="25000"/>
                  </a:schemeClr>
                </a:solidFill>
              </a:rPr>
            </a:br>
            <a:r>
              <a:rPr lang="en-GB" sz="1200" b="1" dirty="0" smtClean="0">
                <a:solidFill>
                  <a:schemeClr val="tx1">
                    <a:lumMod val="75000"/>
                    <a:lumOff val="25000"/>
                  </a:schemeClr>
                </a:solidFill>
              </a:rPr>
              <a:t>Executive</a:t>
            </a:r>
            <a:endParaRPr lang="en-GB" sz="1200" b="1" dirty="0">
              <a:solidFill>
                <a:schemeClr val="tx1">
                  <a:lumMod val="75000"/>
                  <a:lumOff val="25000"/>
                </a:schemeClr>
              </a:solidFill>
            </a:endParaRPr>
          </a:p>
        </p:txBody>
      </p:sp>
      <p:sp>
        <p:nvSpPr>
          <p:cNvPr id="14" name="Rectangle 13"/>
          <p:cNvSpPr/>
          <p:nvPr/>
        </p:nvSpPr>
        <p:spPr>
          <a:xfrm flipH="1">
            <a:off x="2081879" y="1806004"/>
            <a:ext cx="1764394" cy="461665"/>
          </a:xfrm>
          <a:prstGeom prst="rect">
            <a:avLst/>
          </a:prstGeom>
        </p:spPr>
        <p:txBody>
          <a:bodyPr wrap="square" anchor="t">
            <a:spAutoFit/>
          </a:bodyPr>
          <a:lstStyle/>
          <a:p>
            <a:pPr marL="0" indent="0" algn="ctr" defTabSz="457200">
              <a:spcBef>
                <a:spcPts val="0"/>
              </a:spcBef>
              <a:buClrTx/>
              <a:buNone/>
              <a:defRPr/>
            </a:pPr>
            <a:r>
              <a:rPr lang="en-GB" sz="1200" b="1" dirty="0" smtClean="0">
                <a:solidFill>
                  <a:schemeClr val="tx1">
                    <a:lumMod val="75000"/>
                    <a:lumOff val="25000"/>
                  </a:schemeClr>
                </a:solidFill>
              </a:rPr>
              <a:t>Investment &amp; </a:t>
            </a:r>
            <a:br>
              <a:rPr lang="en-GB" sz="1200" b="1" dirty="0" smtClean="0">
                <a:solidFill>
                  <a:schemeClr val="tx1">
                    <a:lumMod val="75000"/>
                    <a:lumOff val="25000"/>
                  </a:schemeClr>
                </a:solidFill>
              </a:rPr>
            </a:br>
            <a:r>
              <a:rPr lang="en-GB" sz="1200" b="1" dirty="0" smtClean="0">
                <a:solidFill>
                  <a:schemeClr val="tx1">
                    <a:lumMod val="75000"/>
                    <a:lumOff val="25000"/>
                  </a:schemeClr>
                </a:solidFill>
              </a:rPr>
              <a:t>Finance Professional</a:t>
            </a:r>
            <a:endParaRPr lang="en-GB" sz="1200" b="1" dirty="0">
              <a:solidFill>
                <a:schemeClr val="tx1">
                  <a:lumMod val="75000"/>
                  <a:lumOff val="25000"/>
                </a:schemeClr>
              </a:solidFill>
            </a:endParaRPr>
          </a:p>
        </p:txBody>
      </p:sp>
      <p:sp>
        <p:nvSpPr>
          <p:cNvPr id="47" name="Rectangle 46"/>
          <p:cNvSpPr/>
          <p:nvPr/>
        </p:nvSpPr>
        <p:spPr>
          <a:xfrm>
            <a:off x="2249562" y="5868069"/>
            <a:ext cx="1425157" cy="319914"/>
          </a:xfrm>
          <a:prstGeom prst="rect">
            <a:avLst/>
          </a:prstGeom>
          <a:noFill/>
          <a:ln>
            <a:noFill/>
          </a:ln>
        </p:spPr>
        <p:txBody>
          <a:bodyPr wrap="square" anchor="t">
            <a:noAutofit/>
          </a:bodyPr>
          <a:lstStyle/>
          <a:p>
            <a:pPr marL="0" indent="0" algn="ctr" defTabSz="457200">
              <a:spcBef>
                <a:spcPts val="0"/>
              </a:spcBef>
              <a:buClrTx/>
              <a:buNone/>
              <a:defRPr/>
            </a:pPr>
            <a:r>
              <a:rPr lang="en-GB" sz="1200" b="1" dirty="0" smtClean="0">
                <a:solidFill>
                  <a:schemeClr val="tx1">
                    <a:lumMod val="75000"/>
                    <a:lumOff val="25000"/>
                  </a:schemeClr>
                </a:solidFill>
              </a:rPr>
              <a:t>Researcher</a:t>
            </a:r>
            <a:endParaRPr lang="en-GB" sz="1200" b="1" dirty="0">
              <a:solidFill>
                <a:schemeClr val="tx1">
                  <a:lumMod val="75000"/>
                  <a:lumOff val="25000"/>
                </a:schemeClr>
              </a:solidFill>
            </a:endParaRPr>
          </a:p>
        </p:txBody>
      </p:sp>
      <p:grpSp>
        <p:nvGrpSpPr>
          <p:cNvPr id="52" name="Group 51"/>
          <p:cNvGrpSpPr/>
          <p:nvPr/>
        </p:nvGrpSpPr>
        <p:grpSpPr>
          <a:xfrm>
            <a:off x="1436674" y="2411684"/>
            <a:ext cx="3041107" cy="3240361"/>
            <a:chOff x="6360459" y="936675"/>
            <a:chExt cx="4746812" cy="5221493"/>
          </a:xfrm>
        </p:grpSpPr>
        <p:sp>
          <p:nvSpPr>
            <p:cNvPr id="53" name="Donut 52"/>
            <p:cNvSpPr/>
            <p:nvPr/>
          </p:nvSpPr>
          <p:spPr>
            <a:xfrm>
              <a:off x="6602433" y="1415988"/>
              <a:ext cx="4262865" cy="4392406"/>
            </a:xfrm>
            <a:prstGeom prst="donut">
              <a:avLst>
                <a:gd name="adj" fmla="val 20212"/>
              </a:avLst>
            </a:prstGeom>
            <a:gradFill flip="none" rotWithShape="1">
              <a:gsLst>
                <a:gs pos="0">
                  <a:srgbClr val="CDCDCD"/>
                </a:gs>
                <a:gs pos="100000">
                  <a:srgbClr val="F0F0F0"/>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cxnSp>
          <p:nvCxnSpPr>
            <p:cNvPr id="54" name="Straight Connector 53"/>
            <p:cNvCxnSpPr/>
            <p:nvPr/>
          </p:nvCxnSpPr>
          <p:spPr>
            <a:xfrm>
              <a:off x="6360459" y="3547422"/>
              <a:ext cx="474681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rot="3600000">
              <a:off x="6123119" y="3547422"/>
              <a:ext cx="522149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rot="18000000" flipH="1">
              <a:off x="6123119" y="3547422"/>
              <a:ext cx="522149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8" name="Group 7"/>
          <p:cNvGrpSpPr/>
          <p:nvPr/>
        </p:nvGrpSpPr>
        <p:grpSpPr>
          <a:xfrm>
            <a:off x="1286100" y="2987749"/>
            <a:ext cx="819446" cy="809954"/>
            <a:chOff x="4362069" y="1607250"/>
            <a:chExt cx="1249743" cy="1249743"/>
          </a:xfrm>
        </p:grpSpPr>
        <p:sp>
          <p:nvSpPr>
            <p:cNvPr id="46" name="Oval 45"/>
            <p:cNvSpPr/>
            <p:nvPr/>
          </p:nvSpPr>
          <p:spPr>
            <a:xfrm>
              <a:off x="4362069" y="1607250"/>
              <a:ext cx="1249743" cy="1249743"/>
            </a:xfrm>
            <a:prstGeom prst="ellipse">
              <a:avLst/>
            </a:prstGeom>
            <a:gradFill flip="none" rotWithShape="1">
              <a:gsLst>
                <a:gs pos="0">
                  <a:schemeClr val="bg1"/>
                </a:gs>
                <a:gs pos="100000">
                  <a:schemeClr val="bg1">
                    <a:lumMod val="95000"/>
                  </a:schemeClr>
                </a:gs>
              </a:gsLst>
              <a:path path="circle">
                <a:fillToRect l="50000" t="50000" r="50000" b="50000"/>
              </a:path>
              <a:tileRect/>
            </a:gradFill>
            <a:ln w="9525" cap="flat" cmpd="sng" algn="ctr">
              <a:noFill/>
              <a:prstDash val="dash"/>
              <a:miter lim="800000"/>
              <a:headEnd type="none" w="med" len="med"/>
              <a:tailEnd type="none" w="med" len="med"/>
            </a:ln>
            <a:effectLst>
              <a:innerShdw blurRad="63500">
                <a:prstClr val="black">
                  <a:alpha val="61000"/>
                </a:prstClr>
              </a:innerShdw>
            </a:effectLst>
          </p:spPr>
          <p:txBody>
            <a:bodyPr vert="horz" wrap="none" lIns="91440" tIns="45720" rIns="91440" bIns="45720" numCol="1" rtlCol="0" anchor="t" anchorCtr="0" compatLnSpc="1">
              <a:prstTxWarp prst="textNoShape">
                <a:avLst/>
              </a:prstTxWarp>
            </a:bodyPr>
            <a:lstStyle/>
            <a:p>
              <a:pPr marL="0" indent="0" defTabSz="914400">
                <a:buClrTx/>
                <a:buFontTx/>
                <a:buNone/>
              </a:pPr>
              <a:endParaRPr lang="en-US" sz="1200" dirty="0">
                <a:solidFill>
                  <a:schemeClr val="tx1"/>
                </a:solidFill>
              </a:endParaRPr>
            </a:p>
          </p:txBody>
        </p:sp>
        <p:sp>
          <p:nvSpPr>
            <p:cNvPr id="17" name="Freeform 15"/>
            <p:cNvSpPr>
              <a:spLocks noEditPoints="1"/>
            </p:cNvSpPr>
            <p:nvPr/>
          </p:nvSpPr>
          <p:spPr bwMode="auto">
            <a:xfrm>
              <a:off x="4682904" y="1752210"/>
              <a:ext cx="595743" cy="886866"/>
            </a:xfrm>
            <a:custGeom>
              <a:avLst/>
              <a:gdLst>
                <a:gd name="T0" fmla="*/ 32 w 128"/>
                <a:gd name="T1" fmla="*/ 176 h 192"/>
                <a:gd name="T2" fmla="*/ 24 w 128"/>
                <a:gd name="T3" fmla="*/ 184 h 192"/>
                <a:gd name="T4" fmla="*/ 24 w 128"/>
                <a:gd name="T5" fmla="*/ 192 h 192"/>
                <a:gd name="T6" fmla="*/ 120 w 128"/>
                <a:gd name="T7" fmla="*/ 192 h 192"/>
                <a:gd name="T8" fmla="*/ 120 w 128"/>
                <a:gd name="T9" fmla="*/ 184 h 192"/>
                <a:gd name="T10" fmla="*/ 112 w 128"/>
                <a:gd name="T11" fmla="*/ 176 h 192"/>
                <a:gd name="T12" fmla="*/ 32 w 128"/>
                <a:gd name="T13" fmla="*/ 176 h 192"/>
                <a:gd name="T14" fmla="*/ 72 w 128"/>
                <a:gd name="T15" fmla="*/ 14 h 192"/>
                <a:gd name="T16" fmla="*/ 52 w 128"/>
                <a:gd name="T17" fmla="*/ 0 h 192"/>
                <a:gd name="T18" fmla="*/ 52 w 128"/>
                <a:gd name="T19" fmla="*/ 19 h 192"/>
                <a:gd name="T20" fmla="*/ 36 w 128"/>
                <a:gd name="T21" fmla="*/ 27 h 192"/>
                <a:gd name="T22" fmla="*/ 28 w 128"/>
                <a:gd name="T23" fmla="*/ 40 h 192"/>
                <a:gd name="T24" fmla="*/ 0 w 128"/>
                <a:gd name="T25" fmla="*/ 69 h 192"/>
                <a:gd name="T26" fmla="*/ 10 w 128"/>
                <a:gd name="T27" fmla="*/ 92 h 192"/>
                <a:gd name="T28" fmla="*/ 40 w 128"/>
                <a:gd name="T29" fmla="*/ 79 h 192"/>
                <a:gd name="T30" fmla="*/ 64 w 128"/>
                <a:gd name="T31" fmla="*/ 82 h 192"/>
                <a:gd name="T32" fmla="*/ 52 w 128"/>
                <a:gd name="T33" fmla="*/ 108 h 192"/>
                <a:gd name="T34" fmla="*/ 24 w 128"/>
                <a:gd name="T35" fmla="*/ 144 h 192"/>
                <a:gd name="T36" fmla="*/ 32 w 128"/>
                <a:gd name="T37" fmla="*/ 152 h 192"/>
                <a:gd name="T38" fmla="*/ 112 w 128"/>
                <a:gd name="T39" fmla="*/ 152 h 192"/>
                <a:gd name="T40" fmla="*/ 112 w 128"/>
                <a:gd name="T41" fmla="*/ 144 h 192"/>
                <a:gd name="T42" fmla="*/ 128 w 128"/>
                <a:gd name="T43" fmla="*/ 132 h 192"/>
                <a:gd name="T44" fmla="*/ 128 w 128"/>
                <a:gd name="T45" fmla="*/ 116 h 192"/>
                <a:gd name="T46" fmla="*/ 72 w 128"/>
                <a:gd name="T47" fmla="*/ 14 h 192"/>
                <a:gd name="T48" fmla="*/ 112 w 128"/>
                <a:gd name="T49" fmla="*/ 160 h 192"/>
                <a:gd name="T50" fmla="*/ 32 w 128"/>
                <a:gd name="T51" fmla="*/ 160 h 192"/>
                <a:gd name="T52" fmla="*/ 32 w 128"/>
                <a:gd name="T53" fmla="*/ 168 h 192"/>
                <a:gd name="T54" fmla="*/ 112 w 128"/>
                <a:gd name="T55" fmla="*/ 168 h 192"/>
                <a:gd name="T56" fmla="*/ 112 w 128"/>
                <a:gd name="T57" fmla="*/ 16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28" h="192">
                  <a:moveTo>
                    <a:pt x="32" y="176"/>
                  </a:moveTo>
                  <a:cubicBezTo>
                    <a:pt x="24" y="184"/>
                    <a:pt x="24" y="184"/>
                    <a:pt x="24" y="184"/>
                  </a:cubicBezTo>
                  <a:cubicBezTo>
                    <a:pt x="24" y="192"/>
                    <a:pt x="24" y="192"/>
                    <a:pt x="24" y="192"/>
                  </a:cubicBezTo>
                  <a:cubicBezTo>
                    <a:pt x="120" y="192"/>
                    <a:pt x="120" y="192"/>
                    <a:pt x="120" y="192"/>
                  </a:cubicBezTo>
                  <a:cubicBezTo>
                    <a:pt x="120" y="184"/>
                    <a:pt x="120" y="184"/>
                    <a:pt x="120" y="184"/>
                  </a:cubicBezTo>
                  <a:cubicBezTo>
                    <a:pt x="112" y="176"/>
                    <a:pt x="112" y="176"/>
                    <a:pt x="112" y="176"/>
                  </a:cubicBezTo>
                  <a:lnTo>
                    <a:pt x="32" y="176"/>
                  </a:lnTo>
                  <a:close/>
                  <a:moveTo>
                    <a:pt x="72" y="14"/>
                  </a:moveTo>
                  <a:cubicBezTo>
                    <a:pt x="52" y="0"/>
                    <a:pt x="52" y="0"/>
                    <a:pt x="52" y="0"/>
                  </a:cubicBezTo>
                  <a:cubicBezTo>
                    <a:pt x="52" y="19"/>
                    <a:pt x="52" y="19"/>
                    <a:pt x="52" y="19"/>
                  </a:cubicBezTo>
                  <a:cubicBezTo>
                    <a:pt x="52" y="19"/>
                    <a:pt x="52" y="19"/>
                    <a:pt x="36" y="27"/>
                  </a:cubicBezTo>
                  <a:cubicBezTo>
                    <a:pt x="28" y="31"/>
                    <a:pt x="32" y="36"/>
                    <a:pt x="28" y="40"/>
                  </a:cubicBezTo>
                  <a:cubicBezTo>
                    <a:pt x="8" y="60"/>
                    <a:pt x="0" y="63"/>
                    <a:pt x="0" y="69"/>
                  </a:cubicBezTo>
                  <a:cubicBezTo>
                    <a:pt x="0" y="80"/>
                    <a:pt x="7" y="92"/>
                    <a:pt x="10" y="92"/>
                  </a:cubicBezTo>
                  <a:cubicBezTo>
                    <a:pt x="18" y="92"/>
                    <a:pt x="32" y="79"/>
                    <a:pt x="40" y="79"/>
                  </a:cubicBezTo>
                  <a:cubicBezTo>
                    <a:pt x="57" y="88"/>
                    <a:pt x="64" y="82"/>
                    <a:pt x="64" y="82"/>
                  </a:cubicBezTo>
                  <a:cubicBezTo>
                    <a:pt x="64" y="82"/>
                    <a:pt x="66" y="94"/>
                    <a:pt x="52" y="108"/>
                  </a:cubicBezTo>
                  <a:cubicBezTo>
                    <a:pt x="32" y="128"/>
                    <a:pt x="24" y="132"/>
                    <a:pt x="24" y="144"/>
                  </a:cubicBezTo>
                  <a:cubicBezTo>
                    <a:pt x="32" y="152"/>
                    <a:pt x="32" y="152"/>
                    <a:pt x="32" y="152"/>
                  </a:cubicBezTo>
                  <a:cubicBezTo>
                    <a:pt x="112" y="152"/>
                    <a:pt x="112" y="152"/>
                    <a:pt x="112" y="152"/>
                  </a:cubicBezTo>
                  <a:cubicBezTo>
                    <a:pt x="112" y="144"/>
                    <a:pt x="112" y="144"/>
                    <a:pt x="112" y="144"/>
                  </a:cubicBezTo>
                  <a:cubicBezTo>
                    <a:pt x="128" y="132"/>
                    <a:pt x="128" y="132"/>
                    <a:pt x="128" y="132"/>
                  </a:cubicBezTo>
                  <a:cubicBezTo>
                    <a:pt x="128" y="116"/>
                    <a:pt x="128" y="116"/>
                    <a:pt x="128" y="116"/>
                  </a:cubicBezTo>
                  <a:cubicBezTo>
                    <a:pt x="128" y="72"/>
                    <a:pt x="124" y="39"/>
                    <a:pt x="72" y="14"/>
                  </a:cubicBezTo>
                  <a:close/>
                  <a:moveTo>
                    <a:pt x="112" y="160"/>
                  </a:moveTo>
                  <a:cubicBezTo>
                    <a:pt x="32" y="160"/>
                    <a:pt x="32" y="160"/>
                    <a:pt x="32" y="160"/>
                  </a:cubicBezTo>
                  <a:cubicBezTo>
                    <a:pt x="32" y="168"/>
                    <a:pt x="32" y="168"/>
                    <a:pt x="32" y="168"/>
                  </a:cubicBezTo>
                  <a:cubicBezTo>
                    <a:pt x="112" y="168"/>
                    <a:pt x="112" y="168"/>
                    <a:pt x="112" y="168"/>
                  </a:cubicBezTo>
                  <a:lnTo>
                    <a:pt x="112" y="16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200" dirty="0"/>
            </a:p>
          </p:txBody>
        </p:sp>
      </p:grpSp>
      <p:grpSp>
        <p:nvGrpSpPr>
          <p:cNvPr id="20" name="Group 19"/>
          <p:cNvGrpSpPr/>
          <p:nvPr/>
        </p:nvGrpSpPr>
        <p:grpSpPr>
          <a:xfrm>
            <a:off x="3761730" y="4355901"/>
            <a:ext cx="819446" cy="809954"/>
            <a:chOff x="6471999" y="4585762"/>
            <a:chExt cx="1167040" cy="1167040"/>
          </a:xfrm>
        </p:grpSpPr>
        <p:sp>
          <p:nvSpPr>
            <p:cNvPr id="51" name="Oval 50"/>
            <p:cNvSpPr/>
            <p:nvPr/>
          </p:nvSpPr>
          <p:spPr>
            <a:xfrm>
              <a:off x="6471999" y="4585762"/>
              <a:ext cx="1167040" cy="1167040"/>
            </a:xfrm>
            <a:prstGeom prst="ellipse">
              <a:avLst/>
            </a:prstGeom>
            <a:gradFill flip="none" rotWithShape="1">
              <a:gsLst>
                <a:gs pos="0">
                  <a:schemeClr val="bg1"/>
                </a:gs>
                <a:gs pos="100000">
                  <a:schemeClr val="bg1">
                    <a:lumMod val="95000"/>
                  </a:schemeClr>
                </a:gs>
              </a:gsLst>
              <a:path path="circle">
                <a:fillToRect l="50000" t="50000" r="50000" b="50000"/>
              </a:path>
              <a:tileRect/>
            </a:gradFill>
            <a:ln w="9525" cap="flat" cmpd="sng" algn="ctr">
              <a:noFill/>
              <a:prstDash val="dash"/>
              <a:miter lim="800000"/>
              <a:headEnd type="none" w="med" len="med"/>
              <a:tailEnd type="none" w="med" len="med"/>
            </a:ln>
            <a:effectLst>
              <a:innerShdw blurRad="63500">
                <a:prstClr val="black">
                  <a:alpha val="61000"/>
                </a:prstClr>
              </a:innerShdw>
            </a:effectLst>
          </p:spPr>
          <p:txBody>
            <a:bodyPr vert="horz" wrap="none" lIns="91440" tIns="45720" rIns="91440" bIns="45720" numCol="1" rtlCol="0" anchor="t" anchorCtr="0" compatLnSpc="1">
              <a:prstTxWarp prst="textNoShape">
                <a:avLst/>
              </a:prstTxWarp>
            </a:bodyPr>
            <a:lstStyle/>
            <a:p>
              <a:pPr marL="0" indent="0" defTabSz="914400">
                <a:buClrTx/>
                <a:buFontTx/>
                <a:buNone/>
              </a:pPr>
              <a:endParaRPr lang="en-US" sz="1200" dirty="0">
                <a:solidFill>
                  <a:schemeClr val="tx1"/>
                </a:solidFill>
              </a:endParaRPr>
            </a:p>
          </p:txBody>
        </p:sp>
        <p:grpSp>
          <p:nvGrpSpPr>
            <p:cNvPr id="29" name="Group 28"/>
            <p:cNvGrpSpPr/>
            <p:nvPr/>
          </p:nvGrpSpPr>
          <p:grpSpPr>
            <a:xfrm>
              <a:off x="6707382" y="4820535"/>
              <a:ext cx="747964" cy="709158"/>
              <a:chOff x="1354138" y="2339976"/>
              <a:chExt cx="887412" cy="841374"/>
            </a:xfrm>
            <a:solidFill>
              <a:schemeClr val="accent3"/>
            </a:solidFill>
          </p:grpSpPr>
          <p:sp>
            <p:nvSpPr>
              <p:cNvPr id="25" name="Freeform 9"/>
              <p:cNvSpPr>
                <a:spLocks noEditPoints="1"/>
              </p:cNvSpPr>
              <p:nvPr/>
            </p:nvSpPr>
            <p:spPr bwMode="auto">
              <a:xfrm>
                <a:off x="1354138" y="2339976"/>
                <a:ext cx="685800" cy="581025"/>
              </a:xfrm>
              <a:custGeom>
                <a:avLst/>
                <a:gdLst>
                  <a:gd name="T0" fmla="*/ 18 w 769"/>
                  <a:gd name="T1" fmla="*/ 517 h 651"/>
                  <a:gd name="T2" fmla="*/ 18 w 769"/>
                  <a:gd name="T3" fmla="*/ 518 h 651"/>
                  <a:gd name="T4" fmla="*/ 30 w 769"/>
                  <a:gd name="T5" fmla="*/ 550 h 651"/>
                  <a:gd name="T6" fmla="*/ 31 w 769"/>
                  <a:gd name="T7" fmla="*/ 550 h 651"/>
                  <a:gd name="T8" fmla="*/ 31 w 769"/>
                  <a:gd name="T9" fmla="*/ 551 h 651"/>
                  <a:gd name="T10" fmla="*/ 172 w 769"/>
                  <a:gd name="T11" fmla="*/ 651 h 651"/>
                  <a:gd name="T12" fmla="*/ 180 w 769"/>
                  <a:gd name="T13" fmla="*/ 651 h 651"/>
                  <a:gd name="T14" fmla="*/ 250 w 769"/>
                  <a:gd name="T15" fmla="*/ 629 h 651"/>
                  <a:gd name="T16" fmla="*/ 530 w 769"/>
                  <a:gd name="T17" fmla="*/ 543 h 651"/>
                  <a:gd name="T18" fmla="*/ 708 w 769"/>
                  <a:gd name="T19" fmla="*/ 594 h 651"/>
                  <a:gd name="T20" fmla="*/ 727 w 769"/>
                  <a:gd name="T21" fmla="*/ 598 h 651"/>
                  <a:gd name="T22" fmla="*/ 760 w 769"/>
                  <a:gd name="T23" fmla="*/ 581 h 651"/>
                  <a:gd name="T24" fmla="*/ 764 w 769"/>
                  <a:gd name="T25" fmla="*/ 544 h 651"/>
                  <a:gd name="T26" fmla="*/ 697 w 769"/>
                  <a:gd name="T27" fmla="*/ 371 h 651"/>
                  <a:gd name="T28" fmla="*/ 711 w 769"/>
                  <a:gd name="T29" fmla="*/ 354 h 651"/>
                  <a:gd name="T30" fmla="*/ 721 w 769"/>
                  <a:gd name="T31" fmla="*/ 301 h 651"/>
                  <a:gd name="T32" fmla="*/ 697 w 769"/>
                  <a:gd name="T33" fmla="*/ 241 h 651"/>
                  <a:gd name="T34" fmla="*/ 654 w 769"/>
                  <a:gd name="T35" fmla="*/ 208 h 651"/>
                  <a:gd name="T36" fmla="*/ 632 w 769"/>
                  <a:gd name="T37" fmla="*/ 205 h 651"/>
                  <a:gd name="T38" fmla="*/ 561 w 769"/>
                  <a:gd name="T39" fmla="*/ 25 h 651"/>
                  <a:gd name="T40" fmla="*/ 524 w 769"/>
                  <a:gd name="T41" fmla="*/ 0 h 651"/>
                  <a:gd name="T42" fmla="*/ 487 w 769"/>
                  <a:gd name="T43" fmla="*/ 26 h 651"/>
                  <a:gd name="T44" fmla="*/ 126 w 769"/>
                  <a:gd name="T45" fmla="*/ 311 h 651"/>
                  <a:gd name="T46" fmla="*/ 59 w 769"/>
                  <a:gd name="T47" fmla="*/ 342 h 651"/>
                  <a:gd name="T48" fmla="*/ 17 w 769"/>
                  <a:gd name="T49" fmla="*/ 517 h 651"/>
                  <a:gd name="T50" fmla="*/ 18 w 769"/>
                  <a:gd name="T51" fmla="*/ 517 h 651"/>
                  <a:gd name="T52" fmla="*/ 350 w 769"/>
                  <a:gd name="T53" fmla="*/ 305 h 651"/>
                  <a:gd name="T54" fmla="*/ 372 w 769"/>
                  <a:gd name="T55" fmla="*/ 314 h 651"/>
                  <a:gd name="T56" fmla="*/ 363 w 769"/>
                  <a:gd name="T57" fmla="*/ 336 h 651"/>
                  <a:gd name="T58" fmla="*/ 292 w 769"/>
                  <a:gd name="T59" fmla="*/ 366 h 651"/>
                  <a:gd name="T60" fmla="*/ 270 w 769"/>
                  <a:gd name="T61" fmla="*/ 375 h 651"/>
                  <a:gd name="T62" fmla="*/ 248 w 769"/>
                  <a:gd name="T63" fmla="*/ 384 h 651"/>
                  <a:gd name="T64" fmla="*/ 303 w 769"/>
                  <a:gd name="T65" fmla="*/ 524 h 651"/>
                  <a:gd name="T66" fmla="*/ 193 w 769"/>
                  <a:gd name="T67" fmla="*/ 575 h 651"/>
                  <a:gd name="T68" fmla="*/ 172 w 769"/>
                  <a:gd name="T69" fmla="*/ 578 h 651"/>
                  <a:gd name="T70" fmla="*/ 98 w 769"/>
                  <a:gd name="T71" fmla="*/ 522 h 651"/>
                  <a:gd name="T72" fmla="*/ 87 w 769"/>
                  <a:gd name="T73" fmla="*/ 492 h 651"/>
                  <a:gd name="T74" fmla="*/ 83 w 769"/>
                  <a:gd name="T75" fmla="*/ 436 h 651"/>
                  <a:gd name="T76" fmla="*/ 121 w 769"/>
                  <a:gd name="T77" fmla="*/ 389 h 651"/>
                  <a:gd name="T78" fmla="*/ 239 w 769"/>
                  <a:gd name="T79" fmla="*/ 351 h 651"/>
                  <a:gd name="T80" fmla="*/ 268 w 769"/>
                  <a:gd name="T81" fmla="*/ 339 h 651"/>
                  <a:gd name="T82" fmla="*/ 291 w 769"/>
                  <a:gd name="T83" fmla="*/ 329 h 651"/>
                  <a:gd name="T84" fmla="*/ 350 w 769"/>
                  <a:gd name="T85" fmla="*/ 305 h 6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69" h="651">
                    <a:moveTo>
                      <a:pt x="18" y="517"/>
                    </a:moveTo>
                    <a:cubicBezTo>
                      <a:pt x="18" y="518"/>
                      <a:pt x="18" y="518"/>
                      <a:pt x="18" y="518"/>
                    </a:cubicBezTo>
                    <a:cubicBezTo>
                      <a:pt x="30" y="550"/>
                      <a:pt x="30" y="550"/>
                      <a:pt x="30" y="550"/>
                    </a:cubicBezTo>
                    <a:cubicBezTo>
                      <a:pt x="31" y="550"/>
                      <a:pt x="31" y="550"/>
                      <a:pt x="31" y="550"/>
                    </a:cubicBezTo>
                    <a:cubicBezTo>
                      <a:pt x="31" y="551"/>
                      <a:pt x="31" y="551"/>
                      <a:pt x="31" y="551"/>
                    </a:cubicBezTo>
                    <a:cubicBezTo>
                      <a:pt x="53" y="600"/>
                      <a:pt x="101" y="651"/>
                      <a:pt x="172" y="651"/>
                    </a:cubicBezTo>
                    <a:cubicBezTo>
                      <a:pt x="174" y="651"/>
                      <a:pt x="177" y="651"/>
                      <a:pt x="180" y="651"/>
                    </a:cubicBezTo>
                    <a:cubicBezTo>
                      <a:pt x="207" y="650"/>
                      <a:pt x="232" y="638"/>
                      <a:pt x="250" y="629"/>
                    </a:cubicBezTo>
                    <a:cubicBezTo>
                      <a:pt x="376" y="568"/>
                      <a:pt x="458" y="543"/>
                      <a:pt x="530" y="543"/>
                    </a:cubicBezTo>
                    <a:cubicBezTo>
                      <a:pt x="586" y="543"/>
                      <a:pt x="641" y="558"/>
                      <a:pt x="708" y="594"/>
                    </a:cubicBezTo>
                    <a:cubicBezTo>
                      <a:pt x="714" y="597"/>
                      <a:pt x="721" y="598"/>
                      <a:pt x="727" y="598"/>
                    </a:cubicBezTo>
                    <a:cubicBezTo>
                      <a:pt x="740" y="598"/>
                      <a:pt x="753" y="592"/>
                      <a:pt x="760" y="581"/>
                    </a:cubicBezTo>
                    <a:cubicBezTo>
                      <a:pt x="767" y="570"/>
                      <a:pt x="769" y="556"/>
                      <a:pt x="764" y="544"/>
                    </a:cubicBezTo>
                    <a:cubicBezTo>
                      <a:pt x="697" y="371"/>
                      <a:pt x="697" y="371"/>
                      <a:pt x="697" y="371"/>
                    </a:cubicBezTo>
                    <a:cubicBezTo>
                      <a:pt x="711" y="354"/>
                      <a:pt x="711" y="354"/>
                      <a:pt x="711" y="354"/>
                    </a:cubicBezTo>
                    <a:cubicBezTo>
                      <a:pt x="724" y="340"/>
                      <a:pt x="728" y="319"/>
                      <a:pt x="721" y="301"/>
                    </a:cubicBezTo>
                    <a:cubicBezTo>
                      <a:pt x="697" y="241"/>
                      <a:pt x="697" y="241"/>
                      <a:pt x="697" y="241"/>
                    </a:cubicBezTo>
                    <a:cubicBezTo>
                      <a:pt x="690" y="222"/>
                      <a:pt x="674" y="210"/>
                      <a:pt x="654" y="208"/>
                    </a:cubicBezTo>
                    <a:cubicBezTo>
                      <a:pt x="632" y="205"/>
                      <a:pt x="632" y="205"/>
                      <a:pt x="632" y="205"/>
                    </a:cubicBezTo>
                    <a:cubicBezTo>
                      <a:pt x="561" y="25"/>
                      <a:pt x="561" y="25"/>
                      <a:pt x="561" y="25"/>
                    </a:cubicBezTo>
                    <a:cubicBezTo>
                      <a:pt x="555" y="10"/>
                      <a:pt x="541" y="0"/>
                      <a:pt x="524" y="0"/>
                    </a:cubicBezTo>
                    <a:cubicBezTo>
                      <a:pt x="508" y="0"/>
                      <a:pt x="493" y="10"/>
                      <a:pt x="487" y="26"/>
                    </a:cubicBezTo>
                    <a:cubicBezTo>
                      <a:pt x="432" y="181"/>
                      <a:pt x="354" y="242"/>
                      <a:pt x="126" y="311"/>
                    </a:cubicBezTo>
                    <a:cubicBezTo>
                      <a:pt x="106" y="317"/>
                      <a:pt x="80" y="325"/>
                      <a:pt x="59" y="342"/>
                    </a:cubicBezTo>
                    <a:cubicBezTo>
                      <a:pt x="1" y="390"/>
                      <a:pt x="0" y="464"/>
                      <a:pt x="17" y="517"/>
                    </a:cubicBezTo>
                    <a:lnTo>
                      <a:pt x="18" y="517"/>
                    </a:lnTo>
                    <a:close/>
                    <a:moveTo>
                      <a:pt x="350" y="305"/>
                    </a:moveTo>
                    <a:cubicBezTo>
                      <a:pt x="358" y="301"/>
                      <a:pt x="368" y="305"/>
                      <a:pt x="372" y="314"/>
                    </a:cubicBezTo>
                    <a:cubicBezTo>
                      <a:pt x="375" y="322"/>
                      <a:pt x="371" y="332"/>
                      <a:pt x="363" y="336"/>
                    </a:cubicBezTo>
                    <a:cubicBezTo>
                      <a:pt x="292" y="366"/>
                      <a:pt x="292" y="366"/>
                      <a:pt x="292" y="366"/>
                    </a:cubicBezTo>
                    <a:cubicBezTo>
                      <a:pt x="270" y="375"/>
                      <a:pt x="270" y="375"/>
                      <a:pt x="270" y="375"/>
                    </a:cubicBezTo>
                    <a:cubicBezTo>
                      <a:pt x="248" y="384"/>
                      <a:pt x="248" y="384"/>
                      <a:pt x="248" y="384"/>
                    </a:cubicBezTo>
                    <a:cubicBezTo>
                      <a:pt x="254" y="428"/>
                      <a:pt x="270" y="476"/>
                      <a:pt x="303" y="524"/>
                    </a:cubicBezTo>
                    <a:cubicBezTo>
                      <a:pt x="270" y="538"/>
                      <a:pt x="234" y="554"/>
                      <a:pt x="193" y="575"/>
                    </a:cubicBezTo>
                    <a:cubicBezTo>
                      <a:pt x="186" y="577"/>
                      <a:pt x="179" y="578"/>
                      <a:pt x="172" y="578"/>
                    </a:cubicBezTo>
                    <a:cubicBezTo>
                      <a:pt x="127" y="578"/>
                      <a:pt x="104" y="533"/>
                      <a:pt x="98" y="522"/>
                    </a:cubicBezTo>
                    <a:cubicBezTo>
                      <a:pt x="87" y="492"/>
                      <a:pt x="87" y="492"/>
                      <a:pt x="87" y="492"/>
                    </a:cubicBezTo>
                    <a:cubicBezTo>
                      <a:pt x="81" y="474"/>
                      <a:pt x="80" y="453"/>
                      <a:pt x="83" y="436"/>
                    </a:cubicBezTo>
                    <a:cubicBezTo>
                      <a:pt x="88" y="416"/>
                      <a:pt x="100" y="400"/>
                      <a:pt x="121" y="389"/>
                    </a:cubicBezTo>
                    <a:cubicBezTo>
                      <a:pt x="166" y="376"/>
                      <a:pt x="205" y="364"/>
                      <a:pt x="239" y="351"/>
                    </a:cubicBezTo>
                    <a:cubicBezTo>
                      <a:pt x="268" y="339"/>
                      <a:pt x="268" y="339"/>
                      <a:pt x="268" y="339"/>
                    </a:cubicBezTo>
                    <a:cubicBezTo>
                      <a:pt x="291" y="329"/>
                      <a:pt x="291" y="329"/>
                      <a:pt x="291" y="329"/>
                    </a:cubicBezTo>
                    <a:lnTo>
                      <a:pt x="350" y="305"/>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26" name="Freeform 10"/>
              <p:cNvSpPr>
                <a:spLocks/>
              </p:cNvSpPr>
              <p:nvPr/>
            </p:nvSpPr>
            <p:spPr bwMode="auto">
              <a:xfrm>
                <a:off x="1541463" y="2901950"/>
                <a:ext cx="257175" cy="279400"/>
              </a:xfrm>
              <a:custGeom>
                <a:avLst/>
                <a:gdLst>
                  <a:gd name="T0" fmla="*/ 144 w 288"/>
                  <a:gd name="T1" fmla="*/ 306 h 314"/>
                  <a:gd name="T2" fmla="*/ 205 w 288"/>
                  <a:gd name="T3" fmla="*/ 305 h 314"/>
                  <a:gd name="T4" fmla="*/ 283 w 288"/>
                  <a:gd name="T5" fmla="*/ 224 h 314"/>
                  <a:gd name="T6" fmla="*/ 256 w 288"/>
                  <a:gd name="T7" fmla="*/ 183 h 314"/>
                  <a:gd name="T8" fmla="*/ 132 w 288"/>
                  <a:gd name="T9" fmla="*/ 99 h 314"/>
                  <a:gd name="T10" fmla="*/ 139 w 288"/>
                  <a:gd name="T11" fmla="*/ 79 h 314"/>
                  <a:gd name="T12" fmla="*/ 163 w 288"/>
                  <a:gd name="T13" fmla="*/ 70 h 314"/>
                  <a:gd name="T14" fmla="*/ 182 w 288"/>
                  <a:gd name="T15" fmla="*/ 52 h 314"/>
                  <a:gd name="T16" fmla="*/ 182 w 288"/>
                  <a:gd name="T17" fmla="*/ 25 h 314"/>
                  <a:gd name="T18" fmla="*/ 182 w 288"/>
                  <a:gd name="T19" fmla="*/ 25 h 314"/>
                  <a:gd name="T20" fmla="*/ 141 w 288"/>
                  <a:gd name="T21" fmla="*/ 6 h 314"/>
                  <a:gd name="T22" fmla="*/ 26 w 288"/>
                  <a:gd name="T23" fmla="*/ 51 h 314"/>
                  <a:gd name="T24" fmla="*/ 5 w 288"/>
                  <a:gd name="T25" fmla="*/ 94 h 314"/>
                  <a:gd name="T26" fmla="*/ 144 w 288"/>
                  <a:gd name="T27" fmla="*/ 306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8" h="314">
                    <a:moveTo>
                      <a:pt x="144" y="306"/>
                    </a:moveTo>
                    <a:cubicBezTo>
                      <a:pt x="164" y="314"/>
                      <a:pt x="185" y="312"/>
                      <a:pt x="205" y="305"/>
                    </a:cubicBezTo>
                    <a:cubicBezTo>
                      <a:pt x="247" y="288"/>
                      <a:pt x="274" y="265"/>
                      <a:pt x="283" y="224"/>
                    </a:cubicBezTo>
                    <a:cubicBezTo>
                      <a:pt x="288" y="206"/>
                      <a:pt x="274" y="189"/>
                      <a:pt x="256" y="183"/>
                    </a:cubicBezTo>
                    <a:cubicBezTo>
                      <a:pt x="189" y="161"/>
                      <a:pt x="154" y="137"/>
                      <a:pt x="132" y="99"/>
                    </a:cubicBezTo>
                    <a:cubicBezTo>
                      <a:pt x="127" y="92"/>
                      <a:pt x="131" y="82"/>
                      <a:pt x="139" y="79"/>
                    </a:cubicBezTo>
                    <a:cubicBezTo>
                      <a:pt x="163" y="70"/>
                      <a:pt x="163" y="70"/>
                      <a:pt x="163" y="70"/>
                    </a:cubicBezTo>
                    <a:cubicBezTo>
                      <a:pt x="171" y="66"/>
                      <a:pt x="178" y="60"/>
                      <a:pt x="182" y="52"/>
                    </a:cubicBezTo>
                    <a:cubicBezTo>
                      <a:pt x="186" y="43"/>
                      <a:pt x="186" y="34"/>
                      <a:pt x="182" y="25"/>
                    </a:cubicBezTo>
                    <a:cubicBezTo>
                      <a:pt x="182" y="25"/>
                      <a:pt x="182" y="25"/>
                      <a:pt x="182" y="25"/>
                    </a:cubicBezTo>
                    <a:cubicBezTo>
                      <a:pt x="176" y="8"/>
                      <a:pt x="157" y="0"/>
                      <a:pt x="141" y="6"/>
                    </a:cubicBezTo>
                    <a:cubicBezTo>
                      <a:pt x="26" y="51"/>
                      <a:pt x="26" y="51"/>
                      <a:pt x="26" y="51"/>
                    </a:cubicBezTo>
                    <a:cubicBezTo>
                      <a:pt x="9" y="58"/>
                      <a:pt x="0" y="76"/>
                      <a:pt x="5" y="94"/>
                    </a:cubicBezTo>
                    <a:cubicBezTo>
                      <a:pt x="31" y="181"/>
                      <a:pt x="70" y="274"/>
                      <a:pt x="144" y="306"/>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27" name="Freeform 11"/>
              <p:cNvSpPr>
                <a:spLocks/>
              </p:cNvSpPr>
              <p:nvPr/>
            </p:nvSpPr>
            <p:spPr bwMode="auto">
              <a:xfrm>
                <a:off x="2006600" y="2447925"/>
                <a:ext cx="127000" cy="188912"/>
              </a:xfrm>
              <a:custGeom>
                <a:avLst/>
                <a:gdLst>
                  <a:gd name="T0" fmla="*/ 19 w 142"/>
                  <a:gd name="T1" fmla="*/ 63 h 213"/>
                  <a:gd name="T2" fmla="*/ 63 w 142"/>
                  <a:gd name="T3" fmla="*/ 173 h 213"/>
                  <a:gd name="T4" fmla="*/ 85 w 142"/>
                  <a:gd name="T5" fmla="*/ 212 h 213"/>
                  <a:gd name="T6" fmla="*/ 93 w 142"/>
                  <a:gd name="T7" fmla="*/ 213 h 213"/>
                  <a:gd name="T8" fmla="*/ 124 w 142"/>
                  <a:gd name="T9" fmla="*/ 190 h 213"/>
                  <a:gd name="T10" fmla="*/ 53 w 142"/>
                  <a:gd name="T11" fmla="*/ 9 h 213"/>
                  <a:gd name="T12" fmla="*/ 9 w 142"/>
                  <a:gd name="T13" fmla="*/ 19 h 213"/>
                  <a:gd name="T14" fmla="*/ 19 w 142"/>
                  <a:gd name="T15" fmla="*/ 63 h 2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213">
                    <a:moveTo>
                      <a:pt x="19" y="63"/>
                    </a:moveTo>
                    <a:cubicBezTo>
                      <a:pt x="53" y="84"/>
                      <a:pt x="73" y="135"/>
                      <a:pt x="63" y="173"/>
                    </a:cubicBezTo>
                    <a:cubicBezTo>
                      <a:pt x="58" y="190"/>
                      <a:pt x="68" y="208"/>
                      <a:pt x="85" y="212"/>
                    </a:cubicBezTo>
                    <a:cubicBezTo>
                      <a:pt x="88" y="213"/>
                      <a:pt x="91" y="213"/>
                      <a:pt x="93" y="213"/>
                    </a:cubicBezTo>
                    <a:cubicBezTo>
                      <a:pt x="107" y="213"/>
                      <a:pt x="120" y="204"/>
                      <a:pt x="124" y="190"/>
                    </a:cubicBezTo>
                    <a:cubicBezTo>
                      <a:pt x="142" y="124"/>
                      <a:pt x="111" y="45"/>
                      <a:pt x="53" y="9"/>
                    </a:cubicBezTo>
                    <a:cubicBezTo>
                      <a:pt x="38" y="0"/>
                      <a:pt x="18" y="4"/>
                      <a:pt x="9" y="19"/>
                    </a:cubicBezTo>
                    <a:cubicBezTo>
                      <a:pt x="0" y="34"/>
                      <a:pt x="4" y="54"/>
                      <a:pt x="19" y="63"/>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28" name="Freeform 12"/>
              <p:cNvSpPr>
                <a:spLocks/>
              </p:cNvSpPr>
              <p:nvPr/>
            </p:nvSpPr>
            <p:spPr bwMode="auto">
              <a:xfrm>
                <a:off x="2047875" y="2341563"/>
                <a:ext cx="193675" cy="328612"/>
              </a:xfrm>
              <a:custGeom>
                <a:avLst/>
                <a:gdLst>
                  <a:gd name="T0" fmla="*/ 19 w 218"/>
                  <a:gd name="T1" fmla="*/ 64 h 368"/>
                  <a:gd name="T2" fmla="*/ 124 w 218"/>
                  <a:gd name="T3" fmla="*/ 328 h 368"/>
                  <a:gd name="T4" fmla="*/ 145 w 218"/>
                  <a:gd name="T5" fmla="*/ 367 h 368"/>
                  <a:gd name="T6" fmla="*/ 154 w 218"/>
                  <a:gd name="T7" fmla="*/ 368 h 368"/>
                  <a:gd name="T8" fmla="*/ 185 w 218"/>
                  <a:gd name="T9" fmla="*/ 345 h 368"/>
                  <a:gd name="T10" fmla="*/ 52 w 218"/>
                  <a:gd name="T11" fmla="*/ 9 h 368"/>
                  <a:gd name="T12" fmla="*/ 9 w 218"/>
                  <a:gd name="T13" fmla="*/ 20 h 368"/>
                  <a:gd name="T14" fmla="*/ 19 w 218"/>
                  <a:gd name="T15" fmla="*/ 64 h 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8" h="368">
                    <a:moveTo>
                      <a:pt x="19" y="64"/>
                    </a:moveTo>
                    <a:cubicBezTo>
                      <a:pt x="98" y="111"/>
                      <a:pt x="149" y="239"/>
                      <a:pt x="124" y="328"/>
                    </a:cubicBezTo>
                    <a:cubicBezTo>
                      <a:pt x="119" y="345"/>
                      <a:pt x="129" y="362"/>
                      <a:pt x="145" y="367"/>
                    </a:cubicBezTo>
                    <a:cubicBezTo>
                      <a:pt x="148" y="368"/>
                      <a:pt x="151" y="368"/>
                      <a:pt x="154" y="368"/>
                    </a:cubicBezTo>
                    <a:cubicBezTo>
                      <a:pt x="168" y="368"/>
                      <a:pt x="181" y="359"/>
                      <a:pt x="185" y="345"/>
                    </a:cubicBezTo>
                    <a:cubicBezTo>
                      <a:pt x="218" y="229"/>
                      <a:pt x="156" y="72"/>
                      <a:pt x="52" y="9"/>
                    </a:cubicBezTo>
                    <a:cubicBezTo>
                      <a:pt x="37" y="0"/>
                      <a:pt x="18" y="5"/>
                      <a:pt x="9" y="20"/>
                    </a:cubicBezTo>
                    <a:cubicBezTo>
                      <a:pt x="0" y="35"/>
                      <a:pt x="4" y="54"/>
                      <a:pt x="19" y="64"/>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grpSp>
      </p:grpSp>
      <p:grpSp>
        <p:nvGrpSpPr>
          <p:cNvPr id="4" name="Group 3"/>
          <p:cNvGrpSpPr/>
          <p:nvPr/>
        </p:nvGrpSpPr>
        <p:grpSpPr>
          <a:xfrm>
            <a:off x="3734372" y="2969883"/>
            <a:ext cx="819446" cy="809954"/>
            <a:chOff x="6080200" y="1607250"/>
            <a:chExt cx="1249743" cy="1249743"/>
          </a:xfrm>
        </p:grpSpPr>
        <p:sp>
          <p:nvSpPr>
            <p:cNvPr id="48" name="Oval 47"/>
            <p:cNvSpPr/>
            <p:nvPr/>
          </p:nvSpPr>
          <p:spPr>
            <a:xfrm>
              <a:off x="6080200" y="1607250"/>
              <a:ext cx="1249743" cy="1249743"/>
            </a:xfrm>
            <a:prstGeom prst="ellipse">
              <a:avLst/>
            </a:prstGeom>
            <a:gradFill flip="none" rotWithShape="1">
              <a:gsLst>
                <a:gs pos="0">
                  <a:schemeClr val="bg1"/>
                </a:gs>
                <a:gs pos="100000">
                  <a:schemeClr val="bg1">
                    <a:lumMod val="95000"/>
                  </a:schemeClr>
                </a:gs>
              </a:gsLst>
              <a:path path="circle">
                <a:fillToRect l="50000" t="50000" r="50000" b="50000"/>
              </a:path>
              <a:tileRect/>
            </a:gradFill>
            <a:ln w="9525" cap="flat" cmpd="sng" algn="ctr">
              <a:noFill/>
              <a:prstDash val="dash"/>
              <a:miter lim="800000"/>
              <a:headEnd type="none" w="med" len="med"/>
              <a:tailEnd type="none" w="med" len="med"/>
            </a:ln>
            <a:effectLst>
              <a:innerShdw blurRad="63500">
                <a:prstClr val="black">
                  <a:alpha val="61000"/>
                </a:prstClr>
              </a:innerShdw>
            </a:effectLst>
          </p:spPr>
          <p:txBody>
            <a:bodyPr vert="horz" wrap="none" lIns="91440" tIns="45720" rIns="91440" bIns="45720" numCol="1" rtlCol="0" anchor="t" anchorCtr="0" compatLnSpc="1">
              <a:prstTxWarp prst="textNoShape">
                <a:avLst/>
              </a:prstTxWarp>
            </a:bodyPr>
            <a:lstStyle/>
            <a:p>
              <a:pPr marL="0" indent="0" defTabSz="914400">
                <a:buClrTx/>
                <a:buFontTx/>
                <a:buNone/>
              </a:pPr>
              <a:endParaRPr lang="en-US" sz="1200" dirty="0">
                <a:solidFill>
                  <a:schemeClr val="tx1"/>
                </a:solidFill>
              </a:endParaRPr>
            </a:p>
          </p:txBody>
        </p:sp>
        <p:sp>
          <p:nvSpPr>
            <p:cNvPr id="37" name="Freeform 20"/>
            <p:cNvSpPr>
              <a:spLocks noEditPoints="1"/>
            </p:cNvSpPr>
            <p:nvPr/>
          </p:nvSpPr>
          <p:spPr bwMode="auto">
            <a:xfrm>
              <a:off x="6250862" y="1974261"/>
              <a:ext cx="924985" cy="688262"/>
            </a:xfrm>
            <a:custGeom>
              <a:avLst/>
              <a:gdLst>
                <a:gd name="T0" fmla="*/ 821 w 927"/>
                <a:gd name="T1" fmla="*/ 14 h 689"/>
                <a:gd name="T2" fmla="*/ 529 w 927"/>
                <a:gd name="T3" fmla="*/ 22 h 689"/>
                <a:gd name="T4" fmla="*/ 483 w 927"/>
                <a:gd name="T5" fmla="*/ 11 h 689"/>
                <a:gd name="T6" fmla="*/ 411 w 927"/>
                <a:gd name="T7" fmla="*/ 22 h 689"/>
                <a:gd name="T8" fmla="*/ 411 w 927"/>
                <a:gd name="T9" fmla="*/ 122 h 689"/>
                <a:gd name="T10" fmla="*/ 411 w 927"/>
                <a:gd name="T11" fmla="*/ 278 h 689"/>
                <a:gd name="T12" fmla="*/ 79 w 927"/>
                <a:gd name="T13" fmla="*/ 352 h 689"/>
                <a:gd name="T14" fmla="*/ 333 w 927"/>
                <a:gd name="T15" fmla="*/ 272 h 689"/>
                <a:gd name="T16" fmla="*/ 111 w 927"/>
                <a:gd name="T17" fmla="*/ 92 h 689"/>
                <a:gd name="T18" fmla="*/ 365 w 927"/>
                <a:gd name="T19" fmla="*/ 44 h 689"/>
                <a:gd name="T20" fmla="*/ 51 w 927"/>
                <a:gd name="T21" fmla="*/ 5 h 689"/>
                <a:gd name="T22" fmla="*/ 33 w 927"/>
                <a:gd name="T23" fmla="*/ 252 h 689"/>
                <a:gd name="T24" fmla="*/ 5 w 927"/>
                <a:gd name="T25" fmla="*/ 304 h 689"/>
                <a:gd name="T26" fmla="*/ 23 w 927"/>
                <a:gd name="T27" fmla="*/ 440 h 689"/>
                <a:gd name="T28" fmla="*/ 363 w 927"/>
                <a:gd name="T29" fmla="*/ 394 h 689"/>
                <a:gd name="T30" fmla="*/ 372 w 927"/>
                <a:gd name="T31" fmla="*/ 611 h 689"/>
                <a:gd name="T32" fmla="*/ 413 w 927"/>
                <a:gd name="T33" fmla="*/ 636 h 689"/>
                <a:gd name="T34" fmla="*/ 462 w 927"/>
                <a:gd name="T35" fmla="*/ 493 h 689"/>
                <a:gd name="T36" fmla="*/ 557 w 927"/>
                <a:gd name="T37" fmla="*/ 685 h 689"/>
                <a:gd name="T38" fmla="*/ 603 w 927"/>
                <a:gd name="T39" fmla="*/ 672 h 689"/>
                <a:gd name="T40" fmla="*/ 542 w 927"/>
                <a:gd name="T41" fmla="*/ 533 h 689"/>
                <a:gd name="T42" fmla="*/ 576 w 927"/>
                <a:gd name="T43" fmla="*/ 395 h 689"/>
                <a:gd name="T44" fmla="*/ 896 w 927"/>
                <a:gd name="T45" fmla="*/ 439 h 689"/>
                <a:gd name="T46" fmla="*/ 909 w 927"/>
                <a:gd name="T47" fmla="*/ 74 h 689"/>
                <a:gd name="T48" fmla="*/ 503 w 927"/>
                <a:gd name="T49" fmla="*/ 392 h 689"/>
                <a:gd name="T50" fmla="*/ 470 w 927"/>
                <a:gd name="T51" fmla="*/ 410 h 689"/>
                <a:gd name="T52" fmla="*/ 436 w 927"/>
                <a:gd name="T53" fmla="*/ 392 h 689"/>
                <a:gd name="T54" fmla="*/ 470 w 927"/>
                <a:gd name="T55" fmla="*/ 329 h 689"/>
                <a:gd name="T56" fmla="*/ 503 w 927"/>
                <a:gd name="T57" fmla="*/ 392 h 689"/>
                <a:gd name="T58" fmla="*/ 567 w 927"/>
                <a:gd name="T59" fmla="*/ 319 h 689"/>
                <a:gd name="T60" fmla="*/ 529 w 927"/>
                <a:gd name="T61" fmla="*/ 121 h 689"/>
                <a:gd name="T62" fmla="*/ 835 w 927"/>
                <a:gd name="T63" fmla="*/ 350 h 6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27" h="689">
                  <a:moveTo>
                    <a:pt x="896" y="0"/>
                  </a:moveTo>
                  <a:cubicBezTo>
                    <a:pt x="821" y="14"/>
                    <a:pt x="821" y="14"/>
                    <a:pt x="821" y="14"/>
                  </a:cubicBezTo>
                  <a:cubicBezTo>
                    <a:pt x="725" y="32"/>
                    <a:pt x="627" y="42"/>
                    <a:pt x="529" y="46"/>
                  </a:cubicBezTo>
                  <a:cubicBezTo>
                    <a:pt x="529" y="22"/>
                    <a:pt x="529" y="22"/>
                    <a:pt x="529" y="22"/>
                  </a:cubicBezTo>
                  <a:cubicBezTo>
                    <a:pt x="529" y="16"/>
                    <a:pt x="524" y="11"/>
                    <a:pt x="517" y="11"/>
                  </a:cubicBezTo>
                  <a:cubicBezTo>
                    <a:pt x="483" y="11"/>
                    <a:pt x="483" y="11"/>
                    <a:pt x="483" y="11"/>
                  </a:cubicBezTo>
                  <a:cubicBezTo>
                    <a:pt x="423" y="11"/>
                    <a:pt x="423" y="11"/>
                    <a:pt x="423" y="11"/>
                  </a:cubicBezTo>
                  <a:cubicBezTo>
                    <a:pt x="416" y="11"/>
                    <a:pt x="411" y="16"/>
                    <a:pt x="411" y="22"/>
                  </a:cubicBezTo>
                  <a:cubicBezTo>
                    <a:pt x="411" y="46"/>
                    <a:pt x="411" y="46"/>
                    <a:pt x="411" y="46"/>
                  </a:cubicBezTo>
                  <a:cubicBezTo>
                    <a:pt x="411" y="122"/>
                    <a:pt x="411" y="122"/>
                    <a:pt x="411" y="122"/>
                  </a:cubicBezTo>
                  <a:cubicBezTo>
                    <a:pt x="411" y="273"/>
                    <a:pt x="411" y="273"/>
                    <a:pt x="411" y="273"/>
                  </a:cubicBezTo>
                  <a:cubicBezTo>
                    <a:pt x="411" y="278"/>
                    <a:pt x="411" y="278"/>
                    <a:pt x="411" y="278"/>
                  </a:cubicBezTo>
                  <a:cubicBezTo>
                    <a:pt x="395" y="288"/>
                    <a:pt x="382" y="302"/>
                    <a:pt x="373" y="318"/>
                  </a:cubicBezTo>
                  <a:cubicBezTo>
                    <a:pt x="275" y="323"/>
                    <a:pt x="176" y="334"/>
                    <a:pt x="79" y="352"/>
                  </a:cubicBezTo>
                  <a:cubicBezTo>
                    <a:pt x="78" y="348"/>
                    <a:pt x="76" y="332"/>
                    <a:pt x="79" y="318"/>
                  </a:cubicBezTo>
                  <a:cubicBezTo>
                    <a:pt x="163" y="296"/>
                    <a:pt x="248" y="282"/>
                    <a:pt x="333" y="272"/>
                  </a:cubicBezTo>
                  <a:cubicBezTo>
                    <a:pt x="259" y="268"/>
                    <a:pt x="185" y="265"/>
                    <a:pt x="111" y="261"/>
                  </a:cubicBezTo>
                  <a:cubicBezTo>
                    <a:pt x="104" y="227"/>
                    <a:pt x="104" y="126"/>
                    <a:pt x="111" y="92"/>
                  </a:cubicBezTo>
                  <a:cubicBezTo>
                    <a:pt x="195" y="107"/>
                    <a:pt x="280" y="116"/>
                    <a:pt x="365" y="120"/>
                  </a:cubicBezTo>
                  <a:cubicBezTo>
                    <a:pt x="365" y="44"/>
                    <a:pt x="365" y="44"/>
                    <a:pt x="365" y="44"/>
                  </a:cubicBezTo>
                  <a:cubicBezTo>
                    <a:pt x="284" y="40"/>
                    <a:pt x="203" y="31"/>
                    <a:pt x="124" y="18"/>
                  </a:cubicBezTo>
                  <a:cubicBezTo>
                    <a:pt x="51" y="5"/>
                    <a:pt x="51" y="5"/>
                    <a:pt x="51" y="5"/>
                  </a:cubicBezTo>
                  <a:cubicBezTo>
                    <a:pt x="37" y="77"/>
                    <a:pt x="37" y="77"/>
                    <a:pt x="37" y="77"/>
                  </a:cubicBezTo>
                  <a:cubicBezTo>
                    <a:pt x="29" y="114"/>
                    <a:pt x="28" y="200"/>
                    <a:pt x="33" y="252"/>
                  </a:cubicBezTo>
                  <a:cubicBezTo>
                    <a:pt x="13" y="257"/>
                    <a:pt x="13" y="257"/>
                    <a:pt x="13" y="257"/>
                  </a:cubicBezTo>
                  <a:cubicBezTo>
                    <a:pt x="5" y="304"/>
                    <a:pt x="5" y="304"/>
                    <a:pt x="5" y="304"/>
                  </a:cubicBezTo>
                  <a:cubicBezTo>
                    <a:pt x="0" y="329"/>
                    <a:pt x="2" y="356"/>
                    <a:pt x="6" y="370"/>
                  </a:cubicBezTo>
                  <a:cubicBezTo>
                    <a:pt x="23" y="440"/>
                    <a:pt x="23" y="440"/>
                    <a:pt x="23" y="440"/>
                  </a:cubicBezTo>
                  <a:cubicBezTo>
                    <a:pt x="93" y="427"/>
                    <a:pt x="93" y="427"/>
                    <a:pt x="93" y="427"/>
                  </a:cubicBezTo>
                  <a:cubicBezTo>
                    <a:pt x="182" y="410"/>
                    <a:pt x="273" y="399"/>
                    <a:pt x="363" y="394"/>
                  </a:cubicBezTo>
                  <a:cubicBezTo>
                    <a:pt x="369" y="420"/>
                    <a:pt x="384" y="442"/>
                    <a:pt x="404" y="457"/>
                  </a:cubicBezTo>
                  <a:cubicBezTo>
                    <a:pt x="380" y="491"/>
                    <a:pt x="355" y="544"/>
                    <a:pt x="372" y="611"/>
                  </a:cubicBezTo>
                  <a:cubicBezTo>
                    <a:pt x="376" y="627"/>
                    <a:pt x="389" y="637"/>
                    <a:pt x="405" y="637"/>
                  </a:cubicBezTo>
                  <a:cubicBezTo>
                    <a:pt x="408" y="637"/>
                    <a:pt x="410" y="637"/>
                    <a:pt x="413" y="636"/>
                  </a:cubicBezTo>
                  <a:cubicBezTo>
                    <a:pt x="431" y="632"/>
                    <a:pt x="443" y="613"/>
                    <a:pt x="438" y="595"/>
                  </a:cubicBezTo>
                  <a:cubicBezTo>
                    <a:pt x="427" y="550"/>
                    <a:pt x="446" y="514"/>
                    <a:pt x="462" y="493"/>
                  </a:cubicBezTo>
                  <a:cubicBezTo>
                    <a:pt x="468" y="507"/>
                    <a:pt x="471" y="523"/>
                    <a:pt x="475" y="544"/>
                  </a:cubicBezTo>
                  <a:cubicBezTo>
                    <a:pt x="482" y="590"/>
                    <a:pt x="491" y="648"/>
                    <a:pt x="557" y="685"/>
                  </a:cubicBezTo>
                  <a:cubicBezTo>
                    <a:pt x="562" y="688"/>
                    <a:pt x="568" y="689"/>
                    <a:pt x="573" y="689"/>
                  </a:cubicBezTo>
                  <a:cubicBezTo>
                    <a:pt x="585" y="689"/>
                    <a:pt x="597" y="683"/>
                    <a:pt x="603" y="672"/>
                  </a:cubicBezTo>
                  <a:cubicBezTo>
                    <a:pt x="612" y="656"/>
                    <a:pt x="607" y="635"/>
                    <a:pt x="590" y="625"/>
                  </a:cubicBezTo>
                  <a:cubicBezTo>
                    <a:pt x="555" y="606"/>
                    <a:pt x="549" y="579"/>
                    <a:pt x="542" y="533"/>
                  </a:cubicBezTo>
                  <a:cubicBezTo>
                    <a:pt x="539" y="512"/>
                    <a:pt x="535" y="488"/>
                    <a:pt x="525" y="464"/>
                  </a:cubicBezTo>
                  <a:cubicBezTo>
                    <a:pt x="550" y="450"/>
                    <a:pt x="569" y="425"/>
                    <a:pt x="576" y="395"/>
                  </a:cubicBezTo>
                  <a:cubicBezTo>
                    <a:pt x="658" y="400"/>
                    <a:pt x="740" y="410"/>
                    <a:pt x="821" y="425"/>
                  </a:cubicBezTo>
                  <a:cubicBezTo>
                    <a:pt x="896" y="439"/>
                    <a:pt x="896" y="439"/>
                    <a:pt x="896" y="439"/>
                  </a:cubicBezTo>
                  <a:cubicBezTo>
                    <a:pt x="909" y="364"/>
                    <a:pt x="909" y="364"/>
                    <a:pt x="909" y="364"/>
                  </a:cubicBezTo>
                  <a:cubicBezTo>
                    <a:pt x="927" y="271"/>
                    <a:pt x="927" y="168"/>
                    <a:pt x="909" y="74"/>
                  </a:cubicBezTo>
                  <a:lnTo>
                    <a:pt x="896" y="0"/>
                  </a:lnTo>
                  <a:close/>
                  <a:moveTo>
                    <a:pt x="503" y="392"/>
                  </a:moveTo>
                  <a:cubicBezTo>
                    <a:pt x="498" y="400"/>
                    <a:pt x="491" y="406"/>
                    <a:pt x="482" y="408"/>
                  </a:cubicBezTo>
                  <a:cubicBezTo>
                    <a:pt x="478" y="409"/>
                    <a:pt x="474" y="410"/>
                    <a:pt x="470" y="410"/>
                  </a:cubicBezTo>
                  <a:cubicBezTo>
                    <a:pt x="461" y="410"/>
                    <a:pt x="453" y="407"/>
                    <a:pt x="447" y="403"/>
                  </a:cubicBezTo>
                  <a:cubicBezTo>
                    <a:pt x="443" y="400"/>
                    <a:pt x="439" y="396"/>
                    <a:pt x="436" y="392"/>
                  </a:cubicBezTo>
                  <a:cubicBezTo>
                    <a:pt x="432" y="386"/>
                    <a:pt x="429" y="378"/>
                    <a:pt x="429" y="370"/>
                  </a:cubicBezTo>
                  <a:cubicBezTo>
                    <a:pt x="429" y="347"/>
                    <a:pt x="448" y="329"/>
                    <a:pt x="470" y="329"/>
                  </a:cubicBezTo>
                  <a:cubicBezTo>
                    <a:pt x="492" y="329"/>
                    <a:pt x="510" y="347"/>
                    <a:pt x="510" y="370"/>
                  </a:cubicBezTo>
                  <a:cubicBezTo>
                    <a:pt x="510" y="378"/>
                    <a:pt x="508" y="386"/>
                    <a:pt x="503" y="392"/>
                  </a:cubicBezTo>
                  <a:close/>
                  <a:moveTo>
                    <a:pt x="835" y="350"/>
                  </a:moveTo>
                  <a:cubicBezTo>
                    <a:pt x="746" y="334"/>
                    <a:pt x="657" y="324"/>
                    <a:pt x="567" y="319"/>
                  </a:cubicBezTo>
                  <a:cubicBezTo>
                    <a:pt x="558" y="302"/>
                    <a:pt x="545" y="288"/>
                    <a:pt x="529" y="278"/>
                  </a:cubicBezTo>
                  <a:cubicBezTo>
                    <a:pt x="529" y="121"/>
                    <a:pt x="529" y="121"/>
                    <a:pt x="529" y="121"/>
                  </a:cubicBezTo>
                  <a:cubicBezTo>
                    <a:pt x="631" y="118"/>
                    <a:pt x="734" y="107"/>
                    <a:pt x="835" y="88"/>
                  </a:cubicBezTo>
                  <a:cubicBezTo>
                    <a:pt x="851" y="173"/>
                    <a:pt x="851" y="266"/>
                    <a:pt x="835" y="35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200" dirty="0"/>
            </a:p>
          </p:txBody>
        </p:sp>
      </p:grpSp>
      <p:grpSp>
        <p:nvGrpSpPr>
          <p:cNvPr id="7" name="Group 6"/>
          <p:cNvGrpSpPr/>
          <p:nvPr/>
        </p:nvGrpSpPr>
        <p:grpSpPr>
          <a:xfrm>
            <a:off x="2537594" y="5003973"/>
            <a:ext cx="819446" cy="809954"/>
            <a:chOff x="4396927" y="4084592"/>
            <a:chExt cx="1249743" cy="1249743"/>
          </a:xfrm>
        </p:grpSpPr>
        <p:sp>
          <p:nvSpPr>
            <p:cNvPr id="50" name="Oval 49"/>
            <p:cNvSpPr/>
            <p:nvPr/>
          </p:nvSpPr>
          <p:spPr>
            <a:xfrm>
              <a:off x="4396927" y="4084592"/>
              <a:ext cx="1249743" cy="1249743"/>
            </a:xfrm>
            <a:prstGeom prst="ellipse">
              <a:avLst/>
            </a:prstGeom>
            <a:gradFill flip="none" rotWithShape="1">
              <a:gsLst>
                <a:gs pos="0">
                  <a:schemeClr val="bg1"/>
                </a:gs>
                <a:gs pos="100000">
                  <a:schemeClr val="bg1">
                    <a:lumMod val="95000"/>
                  </a:schemeClr>
                </a:gs>
              </a:gsLst>
              <a:path path="circle">
                <a:fillToRect l="50000" t="50000" r="50000" b="50000"/>
              </a:path>
              <a:tileRect/>
            </a:gradFill>
            <a:ln w="9525" cap="flat" cmpd="sng" algn="ctr">
              <a:noFill/>
              <a:prstDash val="dash"/>
              <a:miter lim="800000"/>
              <a:headEnd type="none" w="med" len="med"/>
              <a:tailEnd type="none" w="med" len="med"/>
            </a:ln>
            <a:effectLst>
              <a:innerShdw blurRad="63500">
                <a:prstClr val="black">
                  <a:alpha val="61000"/>
                </a:prstClr>
              </a:innerShdw>
            </a:effectLst>
          </p:spPr>
          <p:txBody>
            <a:bodyPr vert="horz" wrap="none" lIns="91440" tIns="45720" rIns="91440" bIns="45720" numCol="1" rtlCol="0" anchor="t" anchorCtr="0" compatLnSpc="1">
              <a:prstTxWarp prst="textNoShape">
                <a:avLst/>
              </a:prstTxWarp>
            </a:bodyPr>
            <a:lstStyle/>
            <a:p>
              <a:pPr marL="0" indent="0" defTabSz="914400">
                <a:buClrTx/>
                <a:buFontTx/>
                <a:buNone/>
              </a:pPr>
              <a:endParaRPr lang="en-US" sz="1200" dirty="0">
                <a:solidFill>
                  <a:schemeClr val="tx1"/>
                </a:solidFill>
              </a:endParaRPr>
            </a:p>
          </p:txBody>
        </p:sp>
        <p:sp>
          <p:nvSpPr>
            <p:cNvPr id="33" name="Freeform 16"/>
            <p:cNvSpPr>
              <a:spLocks noEditPoints="1"/>
            </p:cNvSpPr>
            <p:nvPr/>
          </p:nvSpPr>
          <p:spPr bwMode="auto">
            <a:xfrm>
              <a:off x="4591513" y="4341992"/>
              <a:ext cx="860570" cy="712095"/>
            </a:xfrm>
            <a:custGeom>
              <a:avLst/>
              <a:gdLst>
                <a:gd name="T0" fmla="*/ 152 w 370"/>
                <a:gd name="T1" fmla="*/ 48 h 306"/>
                <a:gd name="T2" fmla="*/ 49 w 370"/>
                <a:gd name="T3" fmla="*/ 72 h 306"/>
                <a:gd name="T4" fmla="*/ 148 w 370"/>
                <a:gd name="T5" fmla="*/ 61 h 306"/>
                <a:gd name="T6" fmla="*/ 159 w 370"/>
                <a:gd name="T7" fmla="*/ 306 h 306"/>
                <a:gd name="T8" fmla="*/ 0 w 370"/>
                <a:gd name="T9" fmla="*/ 291 h 306"/>
                <a:gd name="T10" fmla="*/ 11 w 370"/>
                <a:gd name="T11" fmla="*/ 72 h 306"/>
                <a:gd name="T12" fmla="*/ 104 w 370"/>
                <a:gd name="T13" fmla="*/ 3 h 306"/>
                <a:gd name="T14" fmla="*/ 353 w 370"/>
                <a:gd name="T15" fmla="*/ 30 h 306"/>
                <a:gd name="T16" fmla="*/ 370 w 370"/>
                <a:gd name="T17" fmla="*/ 78 h 306"/>
                <a:gd name="T18" fmla="*/ 356 w 370"/>
                <a:gd name="T19" fmla="*/ 291 h 306"/>
                <a:gd name="T20" fmla="*/ 311 w 370"/>
                <a:gd name="T21" fmla="*/ 263 h 306"/>
                <a:gd name="T22" fmla="*/ 281 w 370"/>
                <a:gd name="T23" fmla="*/ 263 h 306"/>
                <a:gd name="T24" fmla="*/ 281 w 370"/>
                <a:gd name="T25" fmla="*/ 263 h 306"/>
                <a:gd name="T26" fmla="*/ 89 w 370"/>
                <a:gd name="T27" fmla="*/ 263 h 306"/>
                <a:gd name="T28" fmla="*/ 268 w 370"/>
                <a:gd name="T29" fmla="*/ 153 h 306"/>
                <a:gd name="T30" fmla="*/ 318 w 370"/>
                <a:gd name="T31" fmla="*/ 156 h 306"/>
                <a:gd name="T32" fmla="*/ 214 w 370"/>
                <a:gd name="T33" fmla="*/ 151 h 306"/>
                <a:gd name="T34" fmla="*/ 268 w 370"/>
                <a:gd name="T35" fmla="*/ 122 h 306"/>
                <a:gd name="T36" fmla="*/ 318 w 370"/>
                <a:gd name="T37" fmla="*/ 125 h 306"/>
                <a:gd name="T38" fmla="*/ 214 w 370"/>
                <a:gd name="T39" fmla="*/ 120 h 306"/>
                <a:gd name="T40" fmla="*/ 268 w 370"/>
                <a:gd name="T41" fmla="*/ 91 h 306"/>
                <a:gd name="T42" fmla="*/ 318 w 370"/>
                <a:gd name="T43" fmla="*/ 94 h 306"/>
                <a:gd name="T44" fmla="*/ 214 w 370"/>
                <a:gd name="T45" fmla="*/ 89 h 306"/>
                <a:gd name="T46" fmla="*/ 268 w 370"/>
                <a:gd name="T47" fmla="*/ 60 h 306"/>
                <a:gd name="T48" fmla="*/ 318 w 370"/>
                <a:gd name="T49" fmla="*/ 62 h 306"/>
                <a:gd name="T50" fmla="*/ 214 w 370"/>
                <a:gd name="T51" fmla="*/ 57 h 306"/>
                <a:gd name="T52" fmla="*/ 174 w 370"/>
                <a:gd name="T53" fmla="*/ 30 h 306"/>
                <a:gd name="T54" fmla="*/ 33 w 370"/>
                <a:gd name="T55" fmla="*/ 252 h 306"/>
                <a:gd name="T56" fmla="*/ 294 w 370"/>
                <a:gd name="T57" fmla="*/ 242 h 306"/>
                <a:gd name="T58" fmla="*/ 299 w 370"/>
                <a:gd name="T59" fmla="*/ 193 h 306"/>
                <a:gd name="T60" fmla="*/ 265 w 370"/>
                <a:gd name="T61" fmla="*/ 25 h 306"/>
                <a:gd name="T62" fmla="*/ 267 w 370"/>
                <a:gd name="T63" fmla="*/ 239 h 306"/>
                <a:gd name="T64" fmla="*/ 312 w 370"/>
                <a:gd name="T65" fmla="*/ 216 h 306"/>
                <a:gd name="T66" fmla="*/ 148 w 370"/>
                <a:gd name="T67" fmla="*/ 154 h 306"/>
                <a:gd name="T68" fmla="*/ 102 w 370"/>
                <a:gd name="T69" fmla="*/ 140 h 306"/>
                <a:gd name="T70" fmla="*/ 57 w 370"/>
                <a:gd name="T71" fmla="*/ 168 h 306"/>
                <a:gd name="T72" fmla="*/ 148 w 370"/>
                <a:gd name="T73" fmla="*/ 123 h 306"/>
                <a:gd name="T74" fmla="*/ 102 w 370"/>
                <a:gd name="T75" fmla="*/ 109 h 306"/>
                <a:gd name="T76" fmla="*/ 57 w 370"/>
                <a:gd name="T77" fmla="*/ 137 h 306"/>
                <a:gd name="T78" fmla="*/ 148 w 370"/>
                <a:gd name="T79" fmla="*/ 92 h 306"/>
                <a:gd name="T80" fmla="*/ 49 w 370"/>
                <a:gd name="T81" fmla="*/ 104 h 306"/>
                <a:gd name="T82" fmla="*/ 152 w 370"/>
                <a:gd name="T83" fmla="*/ 80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70" h="306">
                  <a:moveTo>
                    <a:pt x="148" y="61"/>
                  </a:moveTo>
                  <a:cubicBezTo>
                    <a:pt x="151" y="61"/>
                    <a:pt x="155" y="59"/>
                    <a:pt x="156" y="56"/>
                  </a:cubicBezTo>
                  <a:cubicBezTo>
                    <a:pt x="157" y="52"/>
                    <a:pt x="155" y="49"/>
                    <a:pt x="152" y="48"/>
                  </a:cubicBezTo>
                  <a:cubicBezTo>
                    <a:pt x="136" y="44"/>
                    <a:pt x="119" y="44"/>
                    <a:pt x="102" y="46"/>
                  </a:cubicBezTo>
                  <a:cubicBezTo>
                    <a:pt x="86" y="49"/>
                    <a:pt x="69" y="55"/>
                    <a:pt x="53" y="63"/>
                  </a:cubicBezTo>
                  <a:cubicBezTo>
                    <a:pt x="49" y="65"/>
                    <a:pt x="48" y="69"/>
                    <a:pt x="49" y="72"/>
                  </a:cubicBezTo>
                  <a:cubicBezTo>
                    <a:pt x="50" y="75"/>
                    <a:pt x="54" y="76"/>
                    <a:pt x="57" y="75"/>
                  </a:cubicBezTo>
                  <a:cubicBezTo>
                    <a:pt x="72" y="67"/>
                    <a:pt x="87" y="62"/>
                    <a:pt x="102" y="59"/>
                  </a:cubicBezTo>
                  <a:cubicBezTo>
                    <a:pt x="117" y="57"/>
                    <a:pt x="132" y="57"/>
                    <a:pt x="148" y="61"/>
                  </a:cubicBezTo>
                  <a:close/>
                  <a:moveTo>
                    <a:pt x="210" y="291"/>
                  </a:moveTo>
                  <a:cubicBezTo>
                    <a:pt x="210" y="306"/>
                    <a:pt x="210" y="306"/>
                    <a:pt x="210" y="306"/>
                  </a:cubicBezTo>
                  <a:cubicBezTo>
                    <a:pt x="159" y="306"/>
                    <a:pt x="159" y="306"/>
                    <a:pt x="159" y="306"/>
                  </a:cubicBezTo>
                  <a:cubicBezTo>
                    <a:pt x="159" y="291"/>
                    <a:pt x="159" y="291"/>
                    <a:pt x="159" y="291"/>
                  </a:cubicBezTo>
                  <a:cubicBezTo>
                    <a:pt x="15" y="291"/>
                    <a:pt x="15" y="291"/>
                    <a:pt x="15" y="291"/>
                  </a:cubicBezTo>
                  <a:cubicBezTo>
                    <a:pt x="0" y="291"/>
                    <a:pt x="0" y="291"/>
                    <a:pt x="0" y="291"/>
                  </a:cubicBezTo>
                  <a:cubicBezTo>
                    <a:pt x="0" y="263"/>
                    <a:pt x="0" y="263"/>
                    <a:pt x="0" y="263"/>
                  </a:cubicBezTo>
                  <a:cubicBezTo>
                    <a:pt x="0" y="72"/>
                    <a:pt x="0" y="72"/>
                    <a:pt x="0" y="72"/>
                  </a:cubicBezTo>
                  <a:cubicBezTo>
                    <a:pt x="11" y="72"/>
                    <a:pt x="11" y="72"/>
                    <a:pt x="11" y="72"/>
                  </a:cubicBezTo>
                  <a:cubicBezTo>
                    <a:pt x="11" y="39"/>
                    <a:pt x="11" y="39"/>
                    <a:pt x="11" y="39"/>
                  </a:cubicBezTo>
                  <a:cubicBezTo>
                    <a:pt x="17" y="30"/>
                    <a:pt x="17" y="30"/>
                    <a:pt x="17" y="30"/>
                  </a:cubicBezTo>
                  <a:cubicBezTo>
                    <a:pt x="43" y="16"/>
                    <a:pt x="73" y="6"/>
                    <a:pt x="104" y="3"/>
                  </a:cubicBezTo>
                  <a:cubicBezTo>
                    <a:pt x="131" y="0"/>
                    <a:pt x="159" y="2"/>
                    <a:pt x="185" y="10"/>
                  </a:cubicBezTo>
                  <a:cubicBezTo>
                    <a:pt x="212" y="2"/>
                    <a:pt x="240" y="0"/>
                    <a:pt x="267" y="3"/>
                  </a:cubicBezTo>
                  <a:cubicBezTo>
                    <a:pt x="298" y="6"/>
                    <a:pt x="328" y="16"/>
                    <a:pt x="353" y="30"/>
                  </a:cubicBezTo>
                  <a:cubicBezTo>
                    <a:pt x="359" y="39"/>
                    <a:pt x="359" y="39"/>
                    <a:pt x="359" y="39"/>
                  </a:cubicBezTo>
                  <a:cubicBezTo>
                    <a:pt x="359" y="52"/>
                    <a:pt x="359" y="65"/>
                    <a:pt x="359" y="78"/>
                  </a:cubicBezTo>
                  <a:cubicBezTo>
                    <a:pt x="370" y="78"/>
                    <a:pt x="370" y="78"/>
                    <a:pt x="370" y="78"/>
                  </a:cubicBezTo>
                  <a:cubicBezTo>
                    <a:pt x="370" y="291"/>
                    <a:pt x="370" y="291"/>
                    <a:pt x="370" y="291"/>
                  </a:cubicBezTo>
                  <a:cubicBezTo>
                    <a:pt x="367" y="291"/>
                    <a:pt x="367" y="291"/>
                    <a:pt x="367" y="291"/>
                  </a:cubicBezTo>
                  <a:cubicBezTo>
                    <a:pt x="356" y="291"/>
                    <a:pt x="356" y="291"/>
                    <a:pt x="356" y="291"/>
                  </a:cubicBezTo>
                  <a:cubicBezTo>
                    <a:pt x="210" y="291"/>
                    <a:pt x="210" y="291"/>
                    <a:pt x="210" y="291"/>
                  </a:cubicBezTo>
                  <a:close/>
                  <a:moveTo>
                    <a:pt x="356" y="214"/>
                  </a:moveTo>
                  <a:cubicBezTo>
                    <a:pt x="311" y="263"/>
                    <a:pt x="311" y="263"/>
                    <a:pt x="311" y="263"/>
                  </a:cubicBezTo>
                  <a:cubicBezTo>
                    <a:pt x="356" y="263"/>
                    <a:pt x="356" y="263"/>
                    <a:pt x="356" y="263"/>
                  </a:cubicBezTo>
                  <a:cubicBezTo>
                    <a:pt x="356" y="214"/>
                    <a:pt x="356" y="214"/>
                    <a:pt x="356" y="214"/>
                  </a:cubicBezTo>
                  <a:close/>
                  <a:moveTo>
                    <a:pt x="281" y="263"/>
                  </a:moveTo>
                  <a:cubicBezTo>
                    <a:pt x="276" y="262"/>
                    <a:pt x="270" y="261"/>
                    <a:pt x="265" y="261"/>
                  </a:cubicBezTo>
                  <a:cubicBezTo>
                    <a:pt x="245" y="258"/>
                    <a:pt x="225" y="257"/>
                    <a:pt x="207" y="263"/>
                  </a:cubicBezTo>
                  <a:cubicBezTo>
                    <a:pt x="281" y="263"/>
                    <a:pt x="281" y="263"/>
                    <a:pt x="281" y="263"/>
                  </a:cubicBezTo>
                  <a:close/>
                  <a:moveTo>
                    <a:pt x="164" y="263"/>
                  </a:moveTo>
                  <a:cubicBezTo>
                    <a:pt x="145" y="257"/>
                    <a:pt x="126" y="258"/>
                    <a:pt x="106" y="261"/>
                  </a:cubicBezTo>
                  <a:cubicBezTo>
                    <a:pt x="100" y="261"/>
                    <a:pt x="95" y="262"/>
                    <a:pt x="89" y="263"/>
                  </a:cubicBezTo>
                  <a:cubicBezTo>
                    <a:pt x="164" y="263"/>
                    <a:pt x="164" y="263"/>
                    <a:pt x="164" y="263"/>
                  </a:cubicBezTo>
                  <a:close/>
                  <a:moveTo>
                    <a:pt x="223" y="156"/>
                  </a:moveTo>
                  <a:cubicBezTo>
                    <a:pt x="238" y="152"/>
                    <a:pt x="253" y="151"/>
                    <a:pt x="268" y="153"/>
                  </a:cubicBezTo>
                  <a:cubicBezTo>
                    <a:pt x="283" y="155"/>
                    <a:pt x="298" y="160"/>
                    <a:pt x="313" y="167"/>
                  </a:cubicBezTo>
                  <a:cubicBezTo>
                    <a:pt x="317" y="169"/>
                    <a:pt x="320" y="168"/>
                    <a:pt x="321" y="165"/>
                  </a:cubicBezTo>
                  <a:cubicBezTo>
                    <a:pt x="323" y="161"/>
                    <a:pt x="321" y="158"/>
                    <a:pt x="318" y="156"/>
                  </a:cubicBezTo>
                  <a:cubicBezTo>
                    <a:pt x="301" y="148"/>
                    <a:pt x="285" y="143"/>
                    <a:pt x="268" y="140"/>
                  </a:cubicBezTo>
                  <a:cubicBezTo>
                    <a:pt x="251" y="138"/>
                    <a:pt x="235" y="139"/>
                    <a:pt x="218" y="143"/>
                  </a:cubicBezTo>
                  <a:cubicBezTo>
                    <a:pt x="215" y="144"/>
                    <a:pt x="213" y="148"/>
                    <a:pt x="214" y="151"/>
                  </a:cubicBezTo>
                  <a:cubicBezTo>
                    <a:pt x="216" y="154"/>
                    <a:pt x="219" y="157"/>
                    <a:pt x="223" y="156"/>
                  </a:cubicBezTo>
                  <a:close/>
                  <a:moveTo>
                    <a:pt x="223" y="125"/>
                  </a:moveTo>
                  <a:cubicBezTo>
                    <a:pt x="238" y="121"/>
                    <a:pt x="253" y="120"/>
                    <a:pt x="268" y="122"/>
                  </a:cubicBezTo>
                  <a:cubicBezTo>
                    <a:pt x="283" y="124"/>
                    <a:pt x="298" y="129"/>
                    <a:pt x="313" y="136"/>
                  </a:cubicBezTo>
                  <a:cubicBezTo>
                    <a:pt x="317" y="138"/>
                    <a:pt x="320" y="137"/>
                    <a:pt x="321" y="133"/>
                  </a:cubicBezTo>
                  <a:cubicBezTo>
                    <a:pt x="323" y="130"/>
                    <a:pt x="321" y="126"/>
                    <a:pt x="318" y="125"/>
                  </a:cubicBezTo>
                  <a:cubicBezTo>
                    <a:pt x="301" y="117"/>
                    <a:pt x="285" y="111"/>
                    <a:pt x="268" y="109"/>
                  </a:cubicBezTo>
                  <a:cubicBezTo>
                    <a:pt x="251" y="107"/>
                    <a:pt x="235" y="108"/>
                    <a:pt x="218" y="112"/>
                  </a:cubicBezTo>
                  <a:cubicBezTo>
                    <a:pt x="215" y="113"/>
                    <a:pt x="213" y="116"/>
                    <a:pt x="214" y="120"/>
                  </a:cubicBezTo>
                  <a:cubicBezTo>
                    <a:pt x="216" y="123"/>
                    <a:pt x="219" y="125"/>
                    <a:pt x="223" y="125"/>
                  </a:cubicBezTo>
                  <a:close/>
                  <a:moveTo>
                    <a:pt x="223" y="94"/>
                  </a:moveTo>
                  <a:cubicBezTo>
                    <a:pt x="238" y="90"/>
                    <a:pt x="253" y="89"/>
                    <a:pt x="268" y="91"/>
                  </a:cubicBezTo>
                  <a:cubicBezTo>
                    <a:pt x="283" y="93"/>
                    <a:pt x="298" y="98"/>
                    <a:pt x="313" y="106"/>
                  </a:cubicBezTo>
                  <a:cubicBezTo>
                    <a:pt x="317" y="107"/>
                    <a:pt x="320" y="106"/>
                    <a:pt x="321" y="103"/>
                  </a:cubicBezTo>
                  <a:cubicBezTo>
                    <a:pt x="323" y="100"/>
                    <a:pt x="321" y="96"/>
                    <a:pt x="318" y="94"/>
                  </a:cubicBezTo>
                  <a:cubicBezTo>
                    <a:pt x="301" y="86"/>
                    <a:pt x="285" y="81"/>
                    <a:pt x="268" y="79"/>
                  </a:cubicBezTo>
                  <a:cubicBezTo>
                    <a:pt x="251" y="76"/>
                    <a:pt x="235" y="77"/>
                    <a:pt x="218" y="81"/>
                  </a:cubicBezTo>
                  <a:cubicBezTo>
                    <a:pt x="215" y="82"/>
                    <a:pt x="213" y="86"/>
                    <a:pt x="214" y="89"/>
                  </a:cubicBezTo>
                  <a:cubicBezTo>
                    <a:pt x="216" y="93"/>
                    <a:pt x="219" y="95"/>
                    <a:pt x="223" y="94"/>
                  </a:cubicBezTo>
                  <a:close/>
                  <a:moveTo>
                    <a:pt x="223" y="62"/>
                  </a:moveTo>
                  <a:cubicBezTo>
                    <a:pt x="238" y="58"/>
                    <a:pt x="253" y="58"/>
                    <a:pt x="268" y="60"/>
                  </a:cubicBezTo>
                  <a:cubicBezTo>
                    <a:pt x="283" y="62"/>
                    <a:pt x="298" y="66"/>
                    <a:pt x="313" y="74"/>
                  </a:cubicBezTo>
                  <a:cubicBezTo>
                    <a:pt x="317" y="75"/>
                    <a:pt x="320" y="74"/>
                    <a:pt x="321" y="71"/>
                  </a:cubicBezTo>
                  <a:cubicBezTo>
                    <a:pt x="323" y="68"/>
                    <a:pt x="321" y="64"/>
                    <a:pt x="318" y="62"/>
                  </a:cubicBezTo>
                  <a:cubicBezTo>
                    <a:pt x="301" y="54"/>
                    <a:pt x="285" y="49"/>
                    <a:pt x="268" y="47"/>
                  </a:cubicBezTo>
                  <a:cubicBezTo>
                    <a:pt x="251" y="45"/>
                    <a:pt x="235" y="45"/>
                    <a:pt x="218" y="50"/>
                  </a:cubicBezTo>
                  <a:cubicBezTo>
                    <a:pt x="215" y="50"/>
                    <a:pt x="213" y="54"/>
                    <a:pt x="214" y="57"/>
                  </a:cubicBezTo>
                  <a:cubicBezTo>
                    <a:pt x="216" y="61"/>
                    <a:pt x="219" y="63"/>
                    <a:pt x="223" y="62"/>
                  </a:cubicBezTo>
                  <a:close/>
                  <a:moveTo>
                    <a:pt x="106" y="25"/>
                  </a:moveTo>
                  <a:cubicBezTo>
                    <a:pt x="129" y="22"/>
                    <a:pt x="152" y="24"/>
                    <a:pt x="174" y="30"/>
                  </a:cubicBezTo>
                  <a:cubicBezTo>
                    <a:pt x="174" y="243"/>
                    <a:pt x="174" y="243"/>
                    <a:pt x="174" y="243"/>
                  </a:cubicBezTo>
                  <a:cubicBezTo>
                    <a:pt x="154" y="236"/>
                    <a:pt x="129" y="236"/>
                    <a:pt x="104" y="239"/>
                  </a:cubicBezTo>
                  <a:cubicBezTo>
                    <a:pt x="79" y="241"/>
                    <a:pt x="53" y="247"/>
                    <a:pt x="33" y="252"/>
                  </a:cubicBezTo>
                  <a:cubicBezTo>
                    <a:pt x="33" y="46"/>
                    <a:pt x="33" y="46"/>
                    <a:pt x="33" y="46"/>
                  </a:cubicBezTo>
                  <a:cubicBezTo>
                    <a:pt x="55" y="35"/>
                    <a:pt x="80" y="27"/>
                    <a:pt x="106" y="25"/>
                  </a:cubicBezTo>
                  <a:close/>
                  <a:moveTo>
                    <a:pt x="294" y="242"/>
                  </a:moveTo>
                  <a:cubicBezTo>
                    <a:pt x="288" y="206"/>
                    <a:pt x="288" y="206"/>
                    <a:pt x="288" y="206"/>
                  </a:cubicBezTo>
                  <a:cubicBezTo>
                    <a:pt x="285" y="192"/>
                    <a:pt x="285" y="192"/>
                    <a:pt x="285" y="192"/>
                  </a:cubicBezTo>
                  <a:cubicBezTo>
                    <a:pt x="299" y="193"/>
                    <a:pt x="299" y="193"/>
                    <a:pt x="299" y="193"/>
                  </a:cubicBezTo>
                  <a:cubicBezTo>
                    <a:pt x="337" y="195"/>
                    <a:pt x="337" y="195"/>
                    <a:pt x="337" y="195"/>
                  </a:cubicBezTo>
                  <a:cubicBezTo>
                    <a:pt x="337" y="46"/>
                    <a:pt x="337" y="46"/>
                    <a:pt x="337" y="46"/>
                  </a:cubicBezTo>
                  <a:cubicBezTo>
                    <a:pt x="315" y="35"/>
                    <a:pt x="290" y="27"/>
                    <a:pt x="265" y="25"/>
                  </a:cubicBezTo>
                  <a:cubicBezTo>
                    <a:pt x="242" y="22"/>
                    <a:pt x="219" y="24"/>
                    <a:pt x="196" y="30"/>
                  </a:cubicBezTo>
                  <a:cubicBezTo>
                    <a:pt x="196" y="243"/>
                    <a:pt x="196" y="243"/>
                    <a:pt x="196" y="243"/>
                  </a:cubicBezTo>
                  <a:cubicBezTo>
                    <a:pt x="217" y="236"/>
                    <a:pt x="242" y="236"/>
                    <a:pt x="267" y="239"/>
                  </a:cubicBezTo>
                  <a:cubicBezTo>
                    <a:pt x="276" y="240"/>
                    <a:pt x="285" y="241"/>
                    <a:pt x="294" y="242"/>
                  </a:cubicBezTo>
                  <a:close/>
                  <a:moveTo>
                    <a:pt x="332" y="217"/>
                  </a:moveTo>
                  <a:cubicBezTo>
                    <a:pt x="312" y="216"/>
                    <a:pt x="312" y="216"/>
                    <a:pt x="312" y="216"/>
                  </a:cubicBezTo>
                  <a:cubicBezTo>
                    <a:pt x="315" y="236"/>
                    <a:pt x="315" y="236"/>
                    <a:pt x="315" y="236"/>
                  </a:cubicBezTo>
                  <a:cubicBezTo>
                    <a:pt x="332" y="217"/>
                    <a:pt x="332" y="217"/>
                    <a:pt x="332" y="217"/>
                  </a:cubicBezTo>
                  <a:close/>
                  <a:moveTo>
                    <a:pt x="148" y="154"/>
                  </a:moveTo>
                  <a:cubicBezTo>
                    <a:pt x="151" y="155"/>
                    <a:pt x="155" y="153"/>
                    <a:pt x="156" y="149"/>
                  </a:cubicBezTo>
                  <a:cubicBezTo>
                    <a:pt x="157" y="146"/>
                    <a:pt x="155" y="142"/>
                    <a:pt x="152" y="141"/>
                  </a:cubicBezTo>
                  <a:cubicBezTo>
                    <a:pt x="136" y="138"/>
                    <a:pt x="119" y="137"/>
                    <a:pt x="102" y="140"/>
                  </a:cubicBezTo>
                  <a:cubicBezTo>
                    <a:pt x="86" y="143"/>
                    <a:pt x="69" y="148"/>
                    <a:pt x="53" y="157"/>
                  </a:cubicBezTo>
                  <a:cubicBezTo>
                    <a:pt x="49" y="159"/>
                    <a:pt x="48" y="162"/>
                    <a:pt x="49" y="166"/>
                  </a:cubicBezTo>
                  <a:cubicBezTo>
                    <a:pt x="50" y="169"/>
                    <a:pt x="54" y="170"/>
                    <a:pt x="57" y="168"/>
                  </a:cubicBezTo>
                  <a:cubicBezTo>
                    <a:pt x="72" y="160"/>
                    <a:pt x="87" y="155"/>
                    <a:pt x="102" y="153"/>
                  </a:cubicBezTo>
                  <a:cubicBezTo>
                    <a:pt x="117" y="150"/>
                    <a:pt x="132" y="151"/>
                    <a:pt x="148" y="154"/>
                  </a:cubicBezTo>
                  <a:close/>
                  <a:moveTo>
                    <a:pt x="148" y="123"/>
                  </a:moveTo>
                  <a:cubicBezTo>
                    <a:pt x="151" y="124"/>
                    <a:pt x="155" y="121"/>
                    <a:pt x="156" y="118"/>
                  </a:cubicBezTo>
                  <a:cubicBezTo>
                    <a:pt x="157" y="115"/>
                    <a:pt x="155" y="111"/>
                    <a:pt x="152" y="110"/>
                  </a:cubicBezTo>
                  <a:cubicBezTo>
                    <a:pt x="136" y="107"/>
                    <a:pt x="119" y="106"/>
                    <a:pt x="102" y="109"/>
                  </a:cubicBezTo>
                  <a:cubicBezTo>
                    <a:pt x="86" y="111"/>
                    <a:pt x="69" y="117"/>
                    <a:pt x="53" y="126"/>
                  </a:cubicBezTo>
                  <a:cubicBezTo>
                    <a:pt x="49" y="127"/>
                    <a:pt x="48" y="131"/>
                    <a:pt x="49" y="134"/>
                  </a:cubicBezTo>
                  <a:cubicBezTo>
                    <a:pt x="50" y="138"/>
                    <a:pt x="54" y="139"/>
                    <a:pt x="57" y="137"/>
                  </a:cubicBezTo>
                  <a:cubicBezTo>
                    <a:pt x="72" y="129"/>
                    <a:pt x="87" y="124"/>
                    <a:pt x="102" y="122"/>
                  </a:cubicBezTo>
                  <a:cubicBezTo>
                    <a:pt x="117" y="119"/>
                    <a:pt x="132" y="120"/>
                    <a:pt x="148" y="123"/>
                  </a:cubicBezTo>
                  <a:close/>
                  <a:moveTo>
                    <a:pt x="148" y="92"/>
                  </a:moveTo>
                  <a:cubicBezTo>
                    <a:pt x="132" y="89"/>
                    <a:pt x="117" y="89"/>
                    <a:pt x="102" y="91"/>
                  </a:cubicBezTo>
                  <a:cubicBezTo>
                    <a:pt x="87" y="93"/>
                    <a:pt x="72" y="99"/>
                    <a:pt x="57" y="106"/>
                  </a:cubicBezTo>
                  <a:cubicBezTo>
                    <a:pt x="54" y="108"/>
                    <a:pt x="50" y="107"/>
                    <a:pt x="49" y="104"/>
                  </a:cubicBezTo>
                  <a:cubicBezTo>
                    <a:pt x="48" y="101"/>
                    <a:pt x="49" y="97"/>
                    <a:pt x="53" y="95"/>
                  </a:cubicBezTo>
                  <a:cubicBezTo>
                    <a:pt x="69" y="87"/>
                    <a:pt x="86" y="81"/>
                    <a:pt x="102" y="78"/>
                  </a:cubicBezTo>
                  <a:cubicBezTo>
                    <a:pt x="119" y="76"/>
                    <a:pt x="136" y="76"/>
                    <a:pt x="152" y="80"/>
                  </a:cubicBezTo>
                  <a:cubicBezTo>
                    <a:pt x="155" y="80"/>
                    <a:pt x="157" y="84"/>
                    <a:pt x="156" y="87"/>
                  </a:cubicBezTo>
                  <a:cubicBezTo>
                    <a:pt x="155" y="91"/>
                    <a:pt x="151" y="93"/>
                    <a:pt x="148" y="92"/>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200" dirty="0"/>
            </a:p>
          </p:txBody>
        </p:sp>
      </p:grpSp>
      <p:grpSp>
        <p:nvGrpSpPr>
          <p:cNvPr id="9" name="Group 8"/>
          <p:cNvGrpSpPr/>
          <p:nvPr/>
        </p:nvGrpSpPr>
        <p:grpSpPr>
          <a:xfrm>
            <a:off x="2537594" y="2339677"/>
            <a:ext cx="819446" cy="809954"/>
            <a:chOff x="2698473" y="1607250"/>
            <a:chExt cx="1249743" cy="1249743"/>
          </a:xfrm>
        </p:grpSpPr>
        <p:sp>
          <p:nvSpPr>
            <p:cNvPr id="2" name="Oval 1"/>
            <p:cNvSpPr/>
            <p:nvPr/>
          </p:nvSpPr>
          <p:spPr>
            <a:xfrm>
              <a:off x="2698473" y="1607250"/>
              <a:ext cx="1249743" cy="1249743"/>
            </a:xfrm>
            <a:prstGeom prst="ellipse">
              <a:avLst/>
            </a:prstGeom>
            <a:gradFill flip="none" rotWithShape="1">
              <a:gsLst>
                <a:gs pos="0">
                  <a:schemeClr val="bg1"/>
                </a:gs>
                <a:gs pos="100000">
                  <a:schemeClr val="bg1">
                    <a:lumMod val="95000"/>
                  </a:schemeClr>
                </a:gs>
              </a:gsLst>
              <a:path path="circle">
                <a:fillToRect l="50000" t="50000" r="50000" b="50000"/>
              </a:path>
              <a:tileRect/>
            </a:gradFill>
            <a:ln w="9525" cap="flat" cmpd="sng" algn="ctr">
              <a:noFill/>
              <a:prstDash val="dash"/>
              <a:miter lim="800000"/>
              <a:headEnd type="none" w="med" len="med"/>
              <a:tailEnd type="none" w="med" len="med"/>
            </a:ln>
            <a:effectLst>
              <a:innerShdw blurRad="63500">
                <a:prstClr val="black">
                  <a:alpha val="61000"/>
                </a:prstClr>
              </a:innerShdw>
            </a:effectLst>
          </p:spPr>
          <p:txBody>
            <a:bodyPr vert="horz" wrap="none" lIns="91440" tIns="45720" rIns="91440" bIns="45720" numCol="1" rtlCol="0" anchor="t" anchorCtr="0" compatLnSpc="1">
              <a:prstTxWarp prst="textNoShape">
                <a:avLst/>
              </a:prstTxWarp>
            </a:bodyPr>
            <a:lstStyle/>
            <a:p>
              <a:pPr marL="0" indent="0" defTabSz="914400">
                <a:buClrTx/>
                <a:buFontTx/>
                <a:buNone/>
              </a:pPr>
              <a:endParaRPr lang="en-US" sz="1200" dirty="0">
                <a:solidFill>
                  <a:schemeClr val="tx1"/>
                </a:solidFill>
              </a:endParaRPr>
            </a:p>
          </p:txBody>
        </p:sp>
        <p:sp>
          <p:nvSpPr>
            <p:cNvPr id="21" name="Freeform 5"/>
            <p:cNvSpPr>
              <a:spLocks noEditPoints="1"/>
            </p:cNvSpPr>
            <p:nvPr/>
          </p:nvSpPr>
          <p:spPr bwMode="auto">
            <a:xfrm>
              <a:off x="2912911" y="1922359"/>
              <a:ext cx="826060" cy="675614"/>
            </a:xfrm>
            <a:custGeom>
              <a:avLst/>
              <a:gdLst>
                <a:gd name="T0" fmla="*/ 477 w 593"/>
                <a:gd name="T1" fmla="*/ 339 h 485"/>
                <a:gd name="T2" fmla="*/ 307 w 593"/>
                <a:gd name="T3" fmla="*/ 453 h 485"/>
                <a:gd name="T4" fmla="*/ 193 w 593"/>
                <a:gd name="T5" fmla="*/ 394 h 485"/>
                <a:gd name="T6" fmla="*/ 49 w 593"/>
                <a:gd name="T7" fmla="*/ 485 h 485"/>
                <a:gd name="T8" fmla="*/ 0 w 593"/>
                <a:gd name="T9" fmla="*/ 408 h 485"/>
                <a:gd name="T10" fmla="*/ 190 w 593"/>
                <a:gd name="T11" fmla="*/ 289 h 485"/>
                <a:gd name="T12" fmla="*/ 301 w 593"/>
                <a:gd name="T13" fmla="*/ 346 h 485"/>
                <a:gd name="T14" fmla="*/ 423 w 593"/>
                <a:gd name="T15" fmla="*/ 262 h 485"/>
                <a:gd name="T16" fmla="*/ 385 w 593"/>
                <a:gd name="T17" fmla="*/ 205 h 485"/>
                <a:gd name="T18" fmla="*/ 593 w 593"/>
                <a:gd name="T19" fmla="*/ 195 h 485"/>
                <a:gd name="T20" fmla="*/ 514 w 593"/>
                <a:gd name="T21" fmla="*/ 394 h 485"/>
                <a:gd name="T22" fmla="*/ 477 w 593"/>
                <a:gd name="T23" fmla="*/ 339 h 485"/>
                <a:gd name="T24" fmla="*/ 477 w 593"/>
                <a:gd name="T25" fmla="*/ 339 h 485"/>
                <a:gd name="T26" fmla="*/ 170 w 593"/>
                <a:gd name="T27" fmla="*/ 265 h 485"/>
                <a:gd name="T28" fmla="*/ 170 w 593"/>
                <a:gd name="T29" fmla="*/ 59 h 485"/>
                <a:gd name="T30" fmla="*/ 37 w 593"/>
                <a:gd name="T31" fmla="*/ 59 h 485"/>
                <a:gd name="T32" fmla="*/ 37 w 593"/>
                <a:gd name="T33" fmla="*/ 347 h 485"/>
                <a:gd name="T34" fmla="*/ 170 w 593"/>
                <a:gd name="T35" fmla="*/ 265 h 485"/>
                <a:gd name="T36" fmla="*/ 170 w 593"/>
                <a:gd name="T37" fmla="*/ 265 h 485"/>
                <a:gd name="T38" fmla="*/ 351 w 593"/>
                <a:gd name="T39" fmla="*/ 273 h 485"/>
                <a:gd name="T40" fmla="*/ 351 w 593"/>
                <a:gd name="T41" fmla="*/ 96 h 485"/>
                <a:gd name="T42" fmla="*/ 218 w 593"/>
                <a:gd name="T43" fmla="*/ 96 h 485"/>
                <a:gd name="T44" fmla="*/ 218 w 593"/>
                <a:gd name="T45" fmla="*/ 268 h 485"/>
                <a:gd name="T46" fmla="*/ 299 w 593"/>
                <a:gd name="T47" fmla="*/ 310 h 485"/>
                <a:gd name="T48" fmla="*/ 351 w 593"/>
                <a:gd name="T49" fmla="*/ 273 h 485"/>
                <a:gd name="T50" fmla="*/ 351 w 593"/>
                <a:gd name="T51" fmla="*/ 273 h 485"/>
                <a:gd name="T52" fmla="*/ 532 w 593"/>
                <a:gd name="T53" fmla="*/ 166 h 485"/>
                <a:gd name="T54" fmla="*/ 532 w 593"/>
                <a:gd name="T55" fmla="*/ 0 h 485"/>
                <a:gd name="T56" fmla="*/ 400 w 593"/>
                <a:gd name="T57" fmla="*/ 0 h 485"/>
                <a:gd name="T58" fmla="*/ 400 w 593"/>
                <a:gd name="T59" fmla="*/ 173 h 485"/>
                <a:gd name="T60" fmla="*/ 532 w 593"/>
                <a:gd name="T61" fmla="*/ 166 h 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93" h="485">
                  <a:moveTo>
                    <a:pt x="477" y="339"/>
                  </a:moveTo>
                  <a:lnTo>
                    <a:pt x="307" y="453"/>
                  </a:lnTo>
                  <a:lnTo>
                    <a:pt x="193" y="394"/>
                  </a:lnTo>
                  <a:lnTo>
                    <a:pt x="49" y="485"/>
                  </a:lnTo>
                  <a:lnTo>
                    <a:pt x="0" y="408"/>
                  </a:lnTo>
                  <a:lnTo>
                    <a:pt x="190" y="289"/>
                  </a:lnTo>
                  <a:lnTo>
                    <a:pt x="301" y="346"/>
                  </a:lnTo>
                  <a:lnTo>
                    <a:pt x="423" y="262"/>
                  </a:lnTo>
                  <a:lnTo>
                    <a:pt x="385" y="205"/>
                  </a:lnTo>
                  <a:lnTo>
                    <a:pt x="593" y="195"/>
                  </a:lnTo>
                  <a:lnTo>
                    <a:pt x="514" y="394"/>
                  </a:lnTo>
                  <a:lnTo>
                    <a:pt x="477" y="339"/>
                  </a:lnTo>
                  <a:lnTo>
                    <a:pt x="477" y="339"/>
                  </a:lnTo>
                  <a:close/>
                  <a:moveTo>
                    <a:pt x="170" y="265"/>
                  </a:moveTo>
                  <a:lnTo>
                    <a:pt x="170" y="59"/>
                  </a:lnTo>
                  <a:lnTo>
                    <a:pt x="37" y="59"/>
                  </a:lnTo>
                  <a:lnTo>
                    <a:pt x="37" y="347"/>
                  </a:lnTo>
                  <a:lnTo>
                    <a:pt x="170" y="265"/>
                  </a:lnTo>
                  <a:lnTo>
                    <a:pt x="170" y="265"/>
                  </a:lnTo>
                  <a:close/>
                  <a:moveTo>
                    <a:pt x="351" y="273"/>
                  </a:moveTo>
                  <a:lnTo>
                    <a:pt x="351" y="96"/>
                  </a:lnTo>
                  <a:lnTo>
                    <a:pt x="218" y="96"/>
                  </a:lnTo>
                  <a:lnTo>
                    <a:pt x="218" y="268"/>
                  </a:lnTo>
                  <a:lnTo>
                    <a:pt x="299" y="310"/>
                  </a:lnTo>
                  <a:lnTo>
                    <a:pt x="351" y="273"/>
                  </a:lnTo>
                  <a:lnTo>
                    <a:pt x="351" y="273"/>
                  </a:lnTo>
                  <a:close/>
                  <a:moveTo>
                    <a:pt x="532" y="166"/>
                  </a:moveTo>
                  <a:lnTo>
                    <a:pt x="532" y="0"/>
                  </a:lnTo>
                  <a:lnTo>
                    <a:pt x="400" y="0"/>
                  </a:lnTo>
                  <a:lnTo>
                    <a:pt x="400" y="173"/>
                  </a:lnTo>
                  <a:lnTo>
                    <a:pt x="532" y="16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200" dirty="0"/>
            </a:p>
          </p:txBody>
        </p:sp>
      </p:grpSp>
      <p:grpSp>
        <p:nvGrpSpPr>
          <p:cNvPr id="15" name="Group 14"/>
          <p:cNvGrpSpPr/>
          <p:nvPr/>
        </p:nvGrpSpPr>
        <p:grpSpPr>
          <a:xfrm>
            <a:off x="1358108" y="4355901"/>
            <a:ext cx="819446" cy="809954"/>
            <a:chOff x="2627771" y="4084592"/>
            <a:chExt cx="1249743" cy="1249743"/>
          </a:xfrm>
        </p:grpSpPr>
        <p:sp>
          <p:nvSpPr>
            <p:cNvPr id="49" name="Oval 48"/>
            <p:cNvSpPr/>
            <p:nvPr/>
          </p:nvSpPr>
          <p:spPr>
            <a:xfrm>
              <a:off x="2627771" y="4084592"/>
              <a:ext cx="1249743" cy="1249743"/>
            </a:xfrm>
            <a:prstGeom prst="ellipse">
              <a:avLst/>
            </a:prstGeom>
            <a:gradFill flip="none" rotWithShape="1">
              <a:gsLst>
                <a:gs pos="0">
                  <a:schemeClr val="bg1"/>
                </a:gs>
                <a:gs pos="100000">
                  <a:schemeClr val="bg1">
                    <a:lumMod val="95000"/>
                  </a:schemeClr>
                </a:gs>
              </a:gsLst>
              <a:path path="circle">
                <a:fillToRect l="50000" t="50000" r="50000" b="50000"/>
              </a:path>
              <a:tileRect/>
            </a:gradFill>
            <a:ln w="9525" cap="flat" cmpd="sng" algn="ctr">
              <a:noFill/>
              <a:prstDash val="dash"/>
              <a:miter lim="800000"/>
              <a:headEnd type="none" w="med" len="med"/>
              <a:tailEnd type="none" w="med" len="med"/>
            </a:ln>
            <a:effectLst>
              <a:innerShdw blurRad="63500">
                <a:prstClr val="black">
                  <a:alpha val="61000"/>
                </a:prstClr>
              </a:innerShdw>
            </a:effectLst>
          </p:spPr>
          <p:txBody>
            <a:bodyPr vert="horz" wrap="none" lIns="91440" tIns="45720" rIns="91440" bIns="45720" numCol="1" rtlCol="0" anchor="t" anchorCtr="0" compatLnSpc="1">
              <a:prstTxWarp prst="textNoShape">
                <a:avLst/>
              </a:prstTxWarp>
            </a:bodyPr>
            <a:lstStyle/>
            <a:p>
              <a:pPr marL="0" indent="0" defTabSz="914400">
                <a:buClrTx/>
                <a:buFontTx/>
                <a:buNone/>
              </a:pPr>
              <a:endParaRPr lang="en-US" sz="1200" dirty="0">
                <a:solidFill>
                  <a:schemeClr val="tx1"/>
                </a:solidFill>
              </a:endParaRPr>
            </a:p>
          </p:txBody>
        </p:sp>
        <p:grpSp>
          <p:nvGrpSpPr>
            <p:cNvPr id="35" name="Group 34"/>
            <p:cNvGrpSpPr/>
            <p:nvPr/>
          </p:nvGrpSpPr>
          <p:grpSpPr>
            <a:xfrm>
              <a:off x="2761182" y="4393969"/>
              <a:ext cx="970418" cy="644573"/>
              <a:chOff x="6405563" y="3587751"/>
              <a:chExt cx="1082675" cy="719137"/>
            </a:xfrm>
            <a:solidFill>
              <a:schemeClr val="accent6"/>
            </a:solidFill>
          </p:grpSpPr>
          <p:sp>
            <p:nvSpPr>
              <p:cNvPr id="30" name="Freeform 9"/>
              <p:cNvSpPr>
                <a:spLocks/>
              </p:cNvSpPr>
              <p:nvPr/>
            </p:nvSpPr>
            <p:spPr bwMode="auto">
              <a:xfrm>
                <a:off x="6405563" y="3587751"/>
                <a:ext cx="534988" cy="407987"/>
              </a:xfrm>
              <a:custGeom>
                <a:avLst/>
                <a:gdLst>
                  <a:gd name="T0" fmla="*/ 58 w 112"/>
                  <a:gd name="T1" fmla="*/ 68 h 85"/>
                  <a:gd name="T2" fmla="*/ 43 w 112"/>
                  <a:gd name="T3" fmla="*/ 54 h 85"/>
                  <a:gd name="T4" fmla="*/ 70 w 112"/>
                  <a:gd name="T5" fmla="*/ 54 h 85"/>
                  <a:gd name="T6" fmla="*/ 95 w 112"/>
                  <a:gd name="T7" fmla="*/ 79 h 85"/>
                  <a:gd name="T8" fmla="*/ 98 w 112"/>
                  <a:gd name="T9" fmla="*/ 85 h 85"/>
                  <a:gd name="T10" fmla="*/ 102 w 112"/>
                  <a:gd name="T11" fmla="*/ 79 h 85"/>
                  <a:gd name="T12" fmla="*/ 110 w 112"/>
                  <a:gd name="T13" fmla="*/ 62 h 85"/>
                  <a:gd name="T14" fmla="*/ 112 w 112"/>
                  <a:gd name="T15" fmla="*/ 60 h 85"/>
                  <a:gd name="T16" fmla="*/ 110 w 112"/>
                  <a:gd name="T17" fmla="*/ 58 h 85"/>
                  <a:gd name="T18" fmla="*/ 70 w 112"/>
                  <a:gd name="T19" fmla="*/ 30 h 85"/>
                  <a:gd name="T20" fmla="*/ 43 w 112"/>
                  <a:gd name="T21" fmla="*/ 30 h 85"/>
                  <a:gd name="T22" fmla="*/ 58 w 112"/>
                  <a:gd name="T23" fmla="*/ 16 h 85"/>
                  <a:gd name="T24" fmla="*/ 42 w 112"/>
                  <a:gd name="T25" fmla="*/ 0 h 85"/>
                  <a:gd name="T26" fmla="*/ 0 w 112"/>
                  <a:gd name="T27" fmla="*/ 42 h 85"/>
                  <a:gd name="T28" fmla="*/ 42 w 112"/>
                  <a:gd name="T29" fmla="*/ 84 h 85"/>
                  <a:gd name="T30" fmla="*/ 58 w 112"/>
                  <a:gd name="T31" fmla="*/ 68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2" h="85">
                    <a:moveTo>
                      <a:pt x="58" y="68"/>
                    </a:moveTo>
                    <a:cubicBezTo>
                      <a:pt x="43" y="54"/>
                      <a:pt x="43" y="54"/>
                      <a:pt x="43" y="54"/>
                    </a:cubicBezTo>
                    <a:cubicBezTo>
                      <a:pt x="70" y="54"/>
                      <a:pt x="70" y="54"/>
                      <a:pt x="70" y="54"/>
                    </a:cubicBezTo>
                    <a:cubicBezTo>
                      <a:pt x="80" y="54"/>
                      <a:pt x="88" y="67"/>
                      <a:pt x="95" y="79"/>
                    </a:cubicBezTo>
                    <a:cubicBezTo>
                      <a:pt x="98" y="85"/>
                      <a:pt x="98" y="85"/>
                      <a:pt x="98" y="85"/>
                    </a:cubicBezTo>
                    <a:cubicBezTo>
                      <a:pt x="102" y="79"/>
                      <a:pt x="102" y="79"/>
                      <a:pt x="102" y="79"/>
                    </a:cubicBezTo>
                    <a:cubicBezTo>
                      <a:pt x="104" y="73"/>
                      <a:pt x="107" y="68"/>
                      <a:pt x="110" y="62"/>
                    </a:cubicBezTo>
                    <a:cubicBezTo>
                      <a:pt x="112" y="60"/>
                      <a:pt x="112" y="60"/>
                      <a:pt x="112" y="60"/>
                    </a:cubicBezTo>
                    <a:cubicBezTo>
                      <a:pt x="110" y="58"/>
                      <a:pt x="110" y="58"/>
                      <a:pt x="110" y="58"/>
                    </a:cubicBezTo>
                    <a:cubicBezTo>
                      <a:pt x="103" y="46"/>
                      <a:pt x="90" y="30"/>
                      <a:pt x="70" y="30"/>
                    </a:cubicBezTo>
                    <a:cubicBezTo>
                      <a:pt x="43" y="30"/>
                      <a:pt x="43" y="30"/>
                      <a:pt x="43" y="30"/>
                    </a:cubicBezTo>
                    <a:cubicBezTo>
                      <a:pt x="58" y="16"/>
                      <a:pt x="58" y="16"/>
                      <a:pt x="58" y="16"/>
                    </a:cubicBezTo>
                    <a:cubicBezTo>
                      <a:pt x="42" y="0"/>
                      <a:pt x="42" y="0"/>
                      <a:pt x="42" y="0"/>
                    </a:cubicBezTo>
                    <a:cubicBezTo>
                      <a:pt x="0" y="42"/>
                      <a:pt x="0" y="42"/>
                      <a:pt x="0" y="42"/>
                    </a:cubicBezTo>
                    <a:cubicBezTo>
                      <a:pt x="42" y="84"/>
                      <a:pt x="42" y="84"/>
                      <a:pt x="42" y="84"/>
                    </a:cubicBezTo>
                    <a:lnTo>
                      <a:pt x="58" y="68"/>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31" name="Freeform 10"/>
              <p:cNvSpPr>
                <a:spLocks/>
              </p:cNvSpPr>
              <p:nvPr/>
            </p:nvSpPr>
            <p:spPr bwMode="auto">
              <a:xfrm>
                <a:off x="6959600" y="4043363"/>
                <a:ext cx="333375" cy="263525"/>
              </a:xfrm>
              <a:custGeom>
                <a:avLst/>
                <a:gdLst>
                  <a:gd name="T0" fmla="*/ 17 w 70"/>
                  <a:gd name="T1" fmla="*/ 6 h 55"/>
                  <a:gd name="T2" fmla="*/ 14 w 70"/>
                  <a:gd name="T3" fmla="*/ 0 h 55"/>
                  <a:gd name="T4" fmla="*/ 10 w 70"/>
                  <a:gd name="T5" fmla="*/ 6 h 55"/>
                  <a:gd name="T6" fmla="*/ 2 w 70"/>
                  <a:gd name="T7" fmla="*/ 23 h 55"/>
                  <a:gd name="T8" fmla="*/ 0 w 70"/>
                  <a:gd name="T9" fmla="*/ 25 h 55"/>
                  <a:gd name="T10" fmla="*/ 2 w 70"/>
                  <a:gd name="T11" fmla="*/ 27 h 55"/>
                  <a:gd name="T12" fmla="*/ 42 w 70"/>
                  <a:gd name="T13" fmla="*/ 55 h 55"/>
                  <a:gd name="T14" fmla="*/ 70 w 70"/>
                  <a:gd name="T15" fmla="*/ 55 h 55"/>
                  <a:gd name="T16" fmla="*/ 70 w 70"/>
                  <a:gd name="T17" fmla="*/ 31 h 55"/>
                  <a:gd name="T18" fmla="*/ 42 w 70"/>
                  <a:gd name="T19" fmla="*/ 31 h 55"/>
                  <a:gd name="T20" fmla="*/ 17 w 70"/>
                  <a:gd name="T21" fmla="*/ 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 h="55">
                    <a:moveTo>
                      <a:pt x="17" y="6"/>
                    </a:moveTo>
                    <a:cubicBezTo>
                      <a:pt x="14" y="0"/>
                      <a:pt x="14" y="0"/>
                      <a:pt x="14" y="0"/>
                    </a:cubicBezTo>
                    <a:cubicBezTo>
                      <a:pt x="10" y="6"/>
                      <a:pt x="10" y="6"/>
                      <a:pt x="10" y="6"/>
                    </a:cubicBezTo>
                    <a:cubicBezTo>
                      <a:pt x="8" y="12"/>
                      <a:pt x="5" y="17"/>
                      <a:pt x="2" y="23"/>
                    </a:cubicBezTo>
                    <a:cubicBezTo>
                      <a:pt x="0" y="25"/>
                      <a:pt x="0" y="25"/>
                      <a:pt x="0" y="25"/>
                    </a:cubicBezTo>
                    <a:cubicBezTo>
                      <a:pt x="2" y="27"/>
                      <a:pt x="2" y="27"/>
                      <a:pt x="2" y="27"/>
                    </a:cubicBezTo>
                    <a:cubicBezTo>
                      <a:pt x="9" y="39"/>
                      <a:pt x="22" y="55"/>
                      <a:pt x="42" y="55"/>
                    </a:cubicBezTo>
                    <a:cubicBezTo>
                      <a:pt x="70" y="55"/>
                      <a:pt x="70" y="55"/>
                      <a:pt x="70" y="55"/>
                    </a:cubicBezTo>
                    <a:cubicBezTo>
                      <a:pt x="70" y="31"/>
                      <a:pt x="70" y="31"/>
                      <a:pt x="70" y="31"/>
                    </a:cubicBezTo>
                    <a:cubicBezTo>
                      <a:pt x="42" y="31"/>
                      <a:pt x="42" y="31"/>
                      <a:pt x="42" y="31"/>
                    </a:cubicBezTo>
                    <a:cubicBezTo>
                      <a:pt x="32" y="31"/>
                      <a:pt x="24" y="18"/>
                      <a:pt x="17" y="6"/>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32" name="Freeform 11"/>
              <p:cNvSpPr>
                <a:spLocks/>
              </p:cNvSpPr>
              <p:nvPr/>
            </p:nvSpPr>
            <p:spPr bwMode="auto">
              <a:xfrm>
                <a:off x="6605588" y="3587751"/>
                <a:ext cx="882650" cy="719137"/>
              </a:xfrm>
              <a:custGeom>
                <a:avLst/>
                <a:gdLst>
                  <a:gd name="T0" fmla="*/ 116 w 185"/>
                  <a:gd name="T1" fmla="*/ 54 h 150"/>
                  <a:gd name="T2" fmla="*/ 142 w 185"/>
                  <a:gd name="T3" fmla="*/ 54 h 150"/>
                  <a:gd name="T4" fmla="*/ 128 w 185"/>
                  <a:gd name="T5" fmla="*/ 68 h 150"/>
                  <a:gd name="T6" fmla="*/ 144 w 185"/>
                  <a:gd name="T7" fmla="*/ 84 h 150"/>
                  <a:gd name="T8" fmla="*/ 185 w 185"/>
                  <a:gd name="T9" fmla="*/ 42 h 150"/>
                  <a:gd name="T10" fmla="*/ 144 w 185"/>
                  <a:gd name="T11" fmla="*/ 0 h 150"/>
                  <a:gd name="T12" fmla="*/ 128 w 185"/>
                  <a:gd name="T13" fmla="*/ 16 h 150"/>
                  <a:gd name="T14" fmla="*/ 142 w 185"/>
                  <a:gd name="T15" fmla="*/ 30 h 150"/>
                  <a:gd name="T16" fmla="*/ 116 w 185"/>
                  <a:gd name="T17" fmla="*/ 30 h 150"/>
                  <a:gd name="T18" fmla="*/ 61 w 185"/>
                  <a:gd name="T19" fmla="*/ 85 h 150"/>
                  <a:gd name="T20" fmla="*/ 28 w 185"/>
                  <a:gd name="T21" fmla="*/ 126 h 150"/>
                  <a:gd name="T22" fmla="*/ 0 w 185"/>
                  <a:gd name="T23" fmla="*/ 126 h 150"/>
                  <a:gd name="T24" fmla="*/ 0 w 185"/>
                  <a:gd name="T25" fmla="*/ 150 h 150"/>
                  <a:gd name="T26" fmla="*/ 28 w 185"/>
                  <a:gd name="T27" fmla="*/ 150 h 150"/>
                  <a:gd name="T28" fmla="*/ 82 w 185"/>
                  <a:gd name="T29" fmla="*/ 95 h 150"/>
                  <a:gd name="T30" fmla="*/ 116 w 185"/>
                  <a:gd name="T31" fmla="*/ 54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5" h="150">
                    <a:moveTo>
                      <a:pt x="116" y="54"/>
                    </a:moveTo>
                    <a:cubicBezTo>
                      <a:pt x="142" y="54"/>
                      <a:pt x="142" y="54"/>
                      <a:pt x="142" y="54"/>
                    </a:cubicBezTo>
                    <a:cubicBezTo>
                      <a:pt x="128" y="68"/>
                      <a:pt x="128" y="68"/>
                      <a:pt x="128" y="68"/>
                    </a:cubicBezTo>
                    <a:cubicBezTo>
                      <a:pt x="144" y="84"/>
                      <a:pt x="144" y="84"/>
                      <a:pt x="144" y="84"/>
                    </a:cubicBezTo>
                    <a:cubicBezTo>
                      <a:pt x="185" y="42"/>
                      <a:pt x="185" y="42"/>
                      <a:pt x="185" y="42"/>
                    </a:cubicBezTo>
                    <a:cubicBezTo>
                      <a:pt x="144" y="0"/>
                      <a:pt x="144" y="0"/>
                      <a:pt x="144" y="0"/>
                    </a:cubicBezTo>
                    <a:cubicBezTo>
                      <a:pt x="128" y="16"/>
                      <a:pt x="128" y="16"/>
                      <a:pt x="128" y="16"/>
                    </a:cubicBezTo>
                    <a:cubicBezTo>
                      <a:pt x="142" y="30"/>
                      <a:pt x="142" y="30"/>
                      <a:pt x="142" y="30"/>
                    </a:cubicBezTo>
                    <a:cubicBezTo>
                      <a:pt x="116" y="30"/>
                      <a:pt x="116" y="30"/>
                      <a:pt x="116" y="30"/>
                    </a:cubicBezTo>
                    <a:cubicBezTo>
                      <a:pt x="88" y="30"/>
                      <a:pt x="74" y="58"/>
                      <a:pt x="61" y="85"/>
                    </a:cubicBezTo>
                    <a:cubicBezTo>
                      <a:pt x="51" y="104"/>
                      <a:pt x="40" y="126"/>
                      <a:pt x="28" y="126"/>
                    </a:cubicBezTo>
                    <a:cubicBezTo>
                      <a:pt x="0" y="126"/>
                      <a:pt x="0" y="126"/>
                      <a:pt x="0" y="126"/>
                    </a:cubicBezTo>
                    <a:cubicBezTo>
                      <a:pt x="0" y="150"/>
                      <a:pt x="0" y="150"/>
                      <a:pt x="0" y="150"/>
                    </a:cubicBezTo>
                    <a:cubicBezTo>
                      <a:pt x="28" y="150"/>
                      <a:pt x="28" y="150"/>
                      <a:pt x="28" y="150"/>
                    </a:cubicBezTo>
                    <a:cubicBezTo>
                      <a:pt x="55" y="150"/>
                      <a:pt x="69" y="122"/>
                      <a:pt x="82" y="95"/>
                    </a:cubicBezTo>
                    <a:cubicBezTo>
                      <a:pt x="92" y="76"/>
                      <a:pt x="103" y="54"/>
                      <a:pt x="116" y="54"/>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grpSp>
      </p:grpSp>
      <p:sp>
        <p:nvSpPr>
          <p:cNvPr id="22" name="Oval 21"/>
          <p:cNvSpPr/>
          <p:nvPr/>
        </p:nvSpPr>
        <p:spPr>
          <a:xfrm>
            <a:off x="2223875" y="3347789"/>
            <a:ext cx="1465847" cy="144886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marL="0" indent="0" algn="ctr">
              <a:buNone/>
            </a:pPr>
            <a:endParaRPr lang="en-US" sz="1200" dirty="0" smtClean="0"/>
          </a:p>
        </p:txBody>
      </p:sp>
      <p:pic>
        <p:nvPicPr>
          <p:cNvPr id="57" name="Picture 56" descr="BNEF.png"/>
          <p:cNvPicPr>
            <a:picLocks noChangeAspect="1"/>
          </p:cNvPicPr>
          <p:nvPr/>
        </p:nvPicPr>
        <p:blipFill>
          <a:blip r:embed="rId3" cstate="print">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2321570" y="3923853"/>
            <a:ext cx="1224136" cy="289152"/>
          </a:xfrm>
          <a:prstGeom prst="rect">
            <a:avLst/>
          </a:prstGeom>
          <a:noFill/>
        </p:spPr>
      </p:pic>
      <p:graphicFrame>
        <p:nvGraphicFramePr>
          <p:cNvPr id="42" name="Table 41"/>
          <p:cNvGraphicFramePr>
            <a:graphicFrameLocks noGrp="1"/>
          </p:cNvGraphicFramePr>
          <p:nvPr>
            <p:extLst>
              <p:ext uri="{D42A27DB-BD31-4B8C-83A1-F6EECF244321}">
                <p14:modId xmlns:p14="http://schemas.microsoft.com/office/powerpoint/2010/main" val="167459242"/>
              </p:ext>
            </p:extLst>
          </p:nvPr>
        </p:nvGraphicFramePr>
        <p:xfrm>
          <a:off x="6029276" y="3014101"/>
          <a:ext cx="4501206" cy="2827192"/>
        </p:xfrm>
        <a:graphic>
          <a:graphicData uri="http://schemas.openxmlformats.org/drawingml/2006/table">
            <a:tbl>
              <a:tblPr firstRow="1" bandRow="1">
                <a:tableStyleId>{5C22544A-7EE6-4342-B048-85BDC9FD1C3A}</a:tableStyleId>
              </a:tblPr>
              <a:tblGrid>
                <a:gridCol w="1500402"/>
                <a:gridCol w="1500402"/>
                <a:gridCol w="1500402"/>
              </a:tblGrid>
              <a:tr h="981760">
                <a:tc>
                  <a:txBody>
                    <a:bodyPr/>
                    <a:lstStyle/>
                    <a:p>
                      <a:pPr marL="0" marR="0" lvl="0" indent="0" algn="ctr" defTabSz="932962" rtl="0" eaLnBrk="1" fontAlgn="base" latinLnBrk="0" hangingPunct="1">
                        <a:lnSpc>
                          <a:spcPct val="100000"/>
                        </a:lnSpc>
                        <a:spcBef>
                          <a:spcPct val="0"/>
                        </a:spcBef>
                        <a:spcAft>
                          <a:spcPct val="0"/>
                        </a:spcAft>
                        <a:buClrTx/>
                        <a:buSzTx/>
                        <a:buFont typeface="Arial" panose="020B0604020202020204" pitchFamily="34" charset="0"/>
                        <a:buNone/>
                        <a:tabLst/>
                        <a:defRPr/>
                      </a:pPr>
                      <a:r>
                        <a:rPr lang="en-GB" sz="1400" b="0" dirty="0" smtClean="0">
                          <a:solidFill>
                            <a:schemeClr val="bg1">
                              <a:lumMod val="50000"/>
                            </a:schemeClr>
                          </a:solidFill>
                        </a:rPr>
                        <a:t>Market &amp; investment forecasts</a:t>
                      </a:r>
                      <a:endParaRPr lang="en-GB" sz="1400" b="0" kern="1200" dirty="0" smtClean="0">
                        <a:solidFill>
                          <a:schemeClr val="bg1">
                            <a:lumMod val="50000"/>
                          </a:schemeClr>
                        </a:solidFill>
                        <a:latin typeface="+mn-lt"/>
                        <a:ea typeface="+mn-ea"/>
                        <a:cs typeface="Arial" charset="0"/>
                      </a:endParaRPr>
                    </a:p>
                  </a:txBody>
                  <a:tcPr marL="36000" marR="36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0" marR="0" lvl="0" indent="0" algn="ctr" defTabSz="932962" rtl="0" eaLnBrk="1" fontAlgn="base" latinLnBrk="0" hangingPunct="1">
                        <a:lnSpc>
                          <a:spcPct val="100000"/>
                        </a:lnSpc>
                        <a:spcBef>
                          <a:spcPct val="0"/>
                        </a:spcBef>
                        <a:spcAft>
                          <a:spcPct val="0"/>
                        </a:spcAft>
                        <a:buClrTx/>
                        <a:buSzTx/>
                        <a:buFont typeface="Arial" panose="020B0604020202020204" pitchFamily="34" charset="0"/>
                        <a:buNone/>
                        <a:tabLst/>
                        <a:defRPr/>
                      </a:pPr>
                      <a:r>
                        <a:rPr lang="en-GB" sz="1400" b="0" kern="1200" dirty="0" smtClean="0">
                          <a:solidFill>
                            <a:schemeClr val="bg1">
                              <a:lumMod val="50000"/>
                            </a:schemeClr>
                          </a:solidFill>
                          <a:latin typeface="+mn-lt"/>
                          <a:ea typeface="+mn-ea"/>
                          <a:cs typeface="+mn-cs"/>
                        </a:rPr>
                        <a:t>Country profiles </a:t>
                      </a:r>
                      <a:br>
                        <a:rPr lang="en-GB" sz="1400" b="0" kern="1200" dirty="0" smtClean="0">
                          <a:solidFill>
                            <a:schemeClr val="bg1">
                              <a:lumMod val="50000"/>
                            </a:schemeClr>
                          </a:solidFill>
                          <a:latin typeface="+mn-lt"/>
                          <a:ea typeface="+mn-ea"/>
                          <a:cs typeface="+mn-cs"/>
                        </a:rPr>
                      </a:br>
                      <a:r>
                        <a:rPr lang="en-GB" sz="1400" b="0" kern="1200" dirty="0" smtClean="0">
                          <a:solidFill>
                            <a:schemeClr val="bg1">
                              <a:lumMod val="50000"/>
                            </a:schemeClr>
                          </a:solidFill>
                          <a:latin typeface="+mn-lt"/>
                          <a:ea typeface="+mn-ea"/>
                          <a:cs typeface="+mn-cs"/>
                        </a:rPr>
                        <a:t>&amp; market data</a:t>
                      </a:r>
                    </a:p>
                  </a:txBody>
                  <a:tcPr marL="36000" marR="36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0" marR="0" lvl="0" indent="0" algn="ctr" defTabSz="932962" rtl="0" eaLnBrk="1" fontAlgn="base" latinLnBrk="0" hangingPunct="1">
                        <a:lnSpc>
                          <a:spcPct val="100000"/>
                        </a:lnSpc>
                        <a:spcBef>
                          <a:spcPct val="0"/>
                        </a:spcBef>
                        <a:spcAft>
                          <a:spcPct val="0"/>
                        </a:spcAft>
                        <a:buClrTx/>
                        <a:buSzTx/>
                        <a:buFont typeface="Arial" panose="020B0604020202020204" pitchFamily="34" charset="0"/>
                        <a:buNone/>
                        <a:tabLst/>
                        <a:defRPr/>
                      </a:pPr>
                      <a:r>
                        <a:rPr lang="en-GB" sz="1400" b="0" kern="1200" dirty="0" smtClean="0">
                          <a:solidFill>
                            <a:schemeClr val="bg1">
                              <a:lumMod val="50000"/>
                            </a:schemeClr>
                          </a:solidFill>
                          <a:latin typeface="+mn-lt"/>
                          <a:ea typeface="+mn-ea"/>
                          <a:cs typeface="+mn-cs"/>
                        </a:rPr>
                        <a:t>Technology analysis &amp; forecasts</a:t>
                      </a:r>
                    </a:p>
                  </a:txBody>
                  <a:tcPr marL="36000" marR="36000" marT="36000" marB="3600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r>
              <a:tr h="980911">
                <a:tc>
                  <a:txBody>
                    <a:bodyPr/>
                    <a:lstStyle/>
                    <a:p>
                      <a:pPr marL="0" marR="0" lvl="0" indent="0" algn="ctr" defTabSz="932962" rtl="0" eaLnBrk="1" fontAlgn="base" latinLnBrk="0" hangingPunct="1">
                        <a:lnSpc>
                          <a:spcPct val="100000"/>
                        </a:lnSpc>
                        <a:spcBef>
                          <a:spcPct val="0"/>
                        </a:spcBef>
                        <a:spcAft>
                          <a:spcPct val="0"/>
                        </a:spcAft>
                        <a:buClrTx/>
                        <a:buSzTx/>
                        <a:buFont typeface="Arial" panose="020B0604020202020204" pitchFamily="34" charset="0"/>
                        <a:buNone/>
                        <a:tabLst/>
                        <a:defRPr/>
                      </a:pPr>
                      <a:r>
                        <a:rPr lang="en-GB" sz="1400" b="0" kern="1200" dirty="0" smtClean="0">
                          <a:solidFill>
                            <a:schemeClr val="bg1">
                              <a:lumMod val="50000"/>
                            </a:schemeClr>
                          </a:solidFill>
                          <a:latin typeface="+mn-lt"/>
                          <a:ea typeface="+mn-ea"/>
                          <a:cs typeface="Arial" charset="0"/>
                        </a:rPr>
                        <a:t>Levelized cost of electricity analysis</a:t>
                      </a:r>
                    </a:p>
                  </a:txBody>
                  <a:tcPr marL="36000" marR="36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0" marR="0" lvl="0" indent="0" algn="ctr" defTabSz="932962" rtl="0" eaLnBrk="1" fontAlgn="base" latinLnBrk="0" hangingPunct="1">
                        <a:lnSpc>
                          <a:spcPct val="100000"/>
                        </a:lnSpc>
                        <a:spcBef>
                          <a:spcPct val="0"/>
                        </a:spcBef>
                        <a:spcAft>
                          <a:spcPct val="0"/>
                        </a:spcAft>
                        <a:buClrTx/>
                        <a:buSzTx/>
                        <a:buFont typeface="Arial" panose="020B0604020202020204" pitchFamily="34" charset="0"/>
                        <a:buNone/>
                        <a:tabLst/>
                        <a:defRPr/>
                      </a:pPr>
                      <a:r>
                        <a:rPr lang="en-GB" sz="1400" b="0" kern="1200" dirty="0" smtClean="0">
                          <a:solidFill>
                            <a:schemeClr val="bg1">
                              <a:lumMod val="50000"/>
                            </a:schemeClr>
                          </a:solidFill>
                          <a:latin typeface="+mn-lt"/>
                          <a:ea typeface="+mn-ea"/>
                          <a:cs typeface="+mn-cs"/>
                        </a:rPr>
                        <a:t>Policy &amp; regulatory analysis</a:t>
                      </a:r>
                    </a:p>
                  </a:txBody>
                  <a:tcPr marL="36000" marR="36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0" marR="0" lvl="0" indent="0" algn="ctr" defTabSz="932962" rtl="0" eaLnBrk="1" fontAlgn="base" latinLnBrk="0" hangingPunct="1">
                        <a:lnSpc>
                          <a:spcPct val="100000"/>
                        </a:lnSpc>
                        <a:spcBef>
                          <a:spcPct val="0"/>
                        </a:spcBef>
                        <a:spcAft>
                          <a:spcPct val="0"/>
                        </a:spcAft>
                        <a:buClrTx/>
                        <a:buSzTx/>
                        <a:buFont typeface="Arial" panose="020B0604020202020204" pitchFamily="34" charset="0"/>
                        <a:buNone/>
                        <a:tabLst/>
                        <a:defRPr/>
                      </a:pPr>
                      <a:r>
                        <a:rPr lang="en-GB" sz="1400" b="0" kern="1200" dirty="0" smtClean="0">
                          <a:solidFill>
                            <a:schemeClr val="bg1">
                              <a:lumMod val="50000"/>
                            </a:schemeClr>
                          </a:solidFill>
                          <a:latin typeface="+mn-lt"/>
                          <a:ea typeface="+mn-ea"/>
                          <a:cs typeface="+mn-cs"/>
                        </a:rPr>
                        <a:t>Competitive landscapes &amp; value chain analysis</a:t>
                      </a:r>
                    </a:p>
                  </a:txBody>
                  <a:tcPr marL="36000" marR="36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r>
              <a:tr h="864521">
                <a:tc>
                  <a:txBody>
                    <a:bodyPr/>
                    <a:lstStyle/>
                    <a:p>
                      <a:pPr marL="0" marR="0" lvl="0" indent="0" algn="ctr" defTabSz="932962" rtl="0" eaLnBrk="1" fontAlgn="base" latinLnBrk="0" hangingPunct="1">
                        <a:lnSpc>
                          <a:spcPct val="100000"/>
                        </a:lnSpc>
                        <a:spcBef>
                          <a:spcPct val="0"/>
                        </a:spcBef>
                        <a:spcAft>
                          <a:spcPct val="0"/>
                        </a:spcAft>
                        <a:buClrTx/>
                        <a:buSzTx/>
                        <a:buFont typeface="Arial" panose="020B0604020202020204" pitchFamily="34" charset="0"/>
                        <a:buNone/>
                        <a:tabLst/>
                        <a:defRPr/>
                      </a:pPr>
                      <a:r>
                        <a:rPr lang="en-GB" sz="1400" b="0" kern="1200" dirty="0" smtClean="0">
                          <a:solidFill>
                            <a:schemeClr val="bg1">
                              <a:lumMod val="50000"/>
                            </a:schemeClr>
                          </a:solidFill>
                          <a:latin typeface="+mn-lt"/>
                          <a:ea typeface="+mn-ea"/>
                          <a:cs typeface="Arial" charset="0"/>
                        </a:rPr>
                        <a:t>Asset &amp; deal databases &amp; valuation tools</a:t>
                      </a:r>
                    </a:p>
                  </a:txBody>
                  <a:tcPr marL="36000" marR="36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0" marR="0" lvl="0" indent="0" algn="ctr" defTabSz="932962" rtl="0" eaLnBrk="1" fontAlgn="base" latinLnBrk="0" hangingPunct="1">
                        <a:lnSpc>
                          <a:spcPct val="100000"/>
                        </a:lnSpc>
                        <a:spcBef>
                          <a:spcPct val="0"/>
                        </a:spcBef>
                        <a:spcAft>
                          <a:spcPct val="0"/>
                        </a:spcAft>
                        <a:buClrTx/>
                        <a:buSzTx/>
                        <a:buFont typeface="Arial" panose="020B0604020202020204" pitchFamily="34" charset="0"/>
                        <a:buNone/>
                        <a:tabLst/>
                        <a:defRPr/>
                      </a:pPr>
                      <a:r>
                        <a:rPr lang="en-GB" sz="1400" b="0" kern="1200" dirty="0" smtClean="0">
                          <a:solidFill>
                            <a:schemeClr val="bg1">
                              <a:lumMod val="50000"/>
                            </a:schemeClr>
                          </a:solidFill>
                          <a:latin typeface="+mn-lt"/>
                          <a:ea typeface="+mn-ea"/>
                          <a:cs typeface="+mn-cs"/>
                        </a:rPr>
                        <a:t>Breaking news </a:t>
                      </a:r>
                      <a:br>
                        <a:rPr lang="en-GB" sz="1400" b="0" kern="1200" dirty="0" smtClean="0">
                          <a:solidFill>
                            <a:schemeClr val="bg1">
                              <a:lumMod val="50000"/>
                            </a:schemeClr>
                          </a:solidFill>
                          <a:latin typeface="+mn-lt"/>
                          <a:ea typeface="+mn-ea"/>
                          <a:cs typeface="+mn-cs"/>
                        </a:rPr>
                      </a:br>
                      <a:r>
                        <a:rPr lang="en-GB" sz="1400" b="0" kern="1200" dirty="0" smtClean="0">
                          <a:solidFill>
                            <a:schemeClr val="bg1">
                              <a:lumMod val="50000"/>
                            </a:schemeClr>
                          </a:solidFill>
                          <a:latin typeface="+mn-lt"/>
                          <a:ea typeface="+mn-ea"/>
                          <a:cs typeface="+mn-cs"/>
                        </a:rPr>
                        <a:t>&amp; ‘First Takes’</a:t>
                      </a:r>
                    </a:p>
                  </a:txBody>
                  <a:tcPr marL="36000" marR="36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0" marR="0" lvl="0" indent="0" algn="ctr" defTabSz="932962" rtl="0" eaLnBrk="1" fontAlgn="base" latinLnBrk="0" hangingPunct="1">
                        <a:lnSpc>
                          <a:spcPct val="100000"/>
                        </a:lnSpc>
                        <a:spcBef>
                          <a:spcPct val="0"/>
                        </a:spcBef>
                        <a:spcAft>
                          <a:spcPct val="0"/>
                        </a:spcAft>
                        <a:buClrTx/>
                        <a:buSzTx/>
                        <a:buFont typeface="Arial" panose="020B0604020202020204" pitchFamily="34" charset="0"/>
                        <a:buNone/>
                        <a:tabLst/>
                        <a:defRPr/>
                      </a:pPr>
                      <a:r>
                        <a:rPr lang="en-GB" sz="1400" b="0" dirty="0" smtClean="0">
                          <a:solidFill>
                            <a:schemeClr val="bg1">
                              <a:lumMod val="50000"/>
                            </a:schemeClr>
                          </a:solidFill>
                        </a:rPr>
                        <a:t>Price indexes</a:t>
                      </a:r>
                      <a:r>
                        <a:rPr lang="en-GB" sz="1400" b="0" baseline="0" dirty="0" smtClean="0">
                          <a:solidFill>
                            <a:schemeClr val="bg1">
                              <a:lumMod val="50000"/>
                            </a:schemeClr>
                          </a:solidFill>
                        </a:rPr>
                        <a:t> </a:t>
                      </a:r>
                      <a:br>
                        <a:rPr lang="en-GB" sz="1400" b="0" baseline="0" dirty="0" smtClean="0">
                          <a:solidFill>
                            <a:schemeClr val="bg1">
                              <a:lumMod val="50000"/>
                            </a:schemeClr>
                          </a:solidFill>
                        </a:rPr>
                      </a:br>
                      <a:r>
                        <a:rPr lang="en-GB" sz="1400" b="0" baseline="0" dirty="0" smtClean="0">
                          <a:solidFill>
                            <a:schemeClr val="bg1">
                              <a:lumMod val="50000"/>
                            </a:schemeClr>
                          </a:solidFill>
                        </a:rPr>
                        <a:t>&amp;</a:t>
                      </a:r>
                      <a:r>
                        <a:rPr lang="en-GB" sz="1400" b="0" dirty="0" smtClean="0">
                          <a:solidFill>
                            <a:schemeClr val="bg1">
                              <a:lumMod val="50000"/>
                            </a:schemeClr>
                          </a:solidFill>
                        </a:rPr>
                        <a:t> benchmarks</a:t>
                      </a:r>
                    </a:p>
                  </a:txBody>
                  <a:tcPr marL="36000" marR="36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r>
            </a:tbl>
          </a:graphicData>
        </a:graphic>
      </p:graphicFrame>
      <p:sp>
        <p:nvSpPr>
          <p:cNvPr id="43" name="Round Same Side Corner Rectangle 42"/>
          <p:cNvSpPr/>
          <p:nvPr/>
        </p:nvSpPr>
        <p:spPr>
          <a:xfrm>
            <a:off x="6065986" y="2339677"/>
            <a:ext cx="1391701" cy="589483"/>
          </a:xfrm>
          <a:prstGeom prst="round2SameRect">
            <a:avLst>
              <a:gd name="adj1" fmla="val 8672"/>
              <a:gd name="adj2"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marL="0" indent="0" algn="ctr">
              <a:lnSpc>
                <a:spcPct val="85000"/>
              </a:lnSpc>
              <a:spcBef>
                <a:spcPts val="0"/>
              </a:spcBef>
              <a:buNone/>
            </a:pPr>
            <a:r>
              <a:rPr lang="en-US" b="1" dirty="0" smtClean="0"/>
              <a:t>Economics,</a:t>
            </a:r>
            <a:r>
              <a:rPr lang="en-US" b="1" dirty="0"/>
              <a:t/>
            </a:r>
            <a:br>
              <a:rPr lang="en-US" b="1" dirty="0"/>
            </a:br>
            <a:r>
              <a:rPr lang="en-US" b="1" dirty="0"/>
              <a:t>Finance &amp; </a:t>
            </a:r>
            <a:r>
              <a:rPr lang="en-US" b="1" dirty="0" smtClean="0"/>
              <a:t>Markets</a:t>
            </a:r>
            <a:endParaRPr lang="en-US" b="1" dirty="0"/>
          </a:p>
        </p:txBody>
      </p:sp>
      <p:sp>
        <p:nvSpPr>
          <p:cNvPr id="44" name="Round Same Side Corner Rectangle 43"/>
          <p:cNvSpPr/>
          <p:nvPr/>
        </p:nvSpPr>
        <p:spPr>
          <a:xfrm>
            <a:off x="7555527" y="2339677"/>
            <a:ext cx="1440160" cy="589483"/>
          </a:xfrm>
          <a:prstGeom prst="round2SameRect">
            <a:avLst>
              <a:gd name="adj1" fmla="val 8672"/>
              <a:gd name="adj2"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marL="0" indent="0" algn="ctr">
              <a:lnSpc>
                <a:spcPct val="85000"/>
              </a:lnSpc>
              <a:spcBef>
                <a:spcPts val="0"/>
              </a:spcBef>
              <a:buNone/>
            </a:pPr>
            <a:r>
              <a:rPr lang="en-US" b="1" dirty="0" smtClean="0"/>
              <a:t>Policy &amp; News</a:t>
            </a:r>
            <a:endParaRPr lang="en-US" b="1" dirty="0"/>
          </a:p>
        </p:txBody>
      </p:sp>
      <p:sp>
        <p:nvSpPr>
          <p:cNvPr id="45" name="Round Same Side Corner Rectangle 44"/>
          <p:cNvSpPr/>
          <p:nvPr/>
        </p:nvSpPr>
        <p:spPr>
          <a:xfrm>
            <a:off x="9090322" y="2339677"/>
            <a:ext cx="1440160" cy="589483"/>
          </a:xfrm>
          <a:prstGeom prst="round2SameRect">
            <a:avLst>
              <a:gd name="adj1" fmla="val 8672"/>
              <a:gd name="adj2"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marL="0" indent="0" algn="ctr">
              <a:lnSpc>
                <a:spcPct val="85000"/>
              </a:lnSpc>
              <a:spcBef>
                <a:spcPts val="0"/>
              </a:spcBef>
              <a:buNone/>
            </a:pPr>
            <a:r>
              <a:rPr lang="en-US" b="1" dirty="0"/>
              <a:t>Supply </a:t>
            </a:r>
            <a:r>
              <a:rPr lang="en-US" b="1" dirty="0" smtClean="0"/>
              <a:t>Chain &amp; </a:t>
            </a:r>
            <a:r>
              <a:rPr lang="en-US" b="1" dirty="0"/>
              <a:t>Technology</a:t>
            </a:r>
          </a:p>
        </p:txBody>
      </p:sp>
    </p:spTree>
    <p:extLst>
      <p:ext uri="{BB962C8B-B14F-4D97-AF65-F5344CB8AC3E}">
        <p14:creationId xmlns:p14="http://schemas.microsoft.com/office/powerpoint/2010/main" val="3961185767"/>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opyright and disclaimer</a:t>
            </a:r>
            <a:endParaRPr lang="en-GB" dirty="0"/>
          </a:p>
        </p:txBody>
      </p:sp>
      <p:sp>
        <p:nvSpPr>
          <p:cNvPr id="3" name="Date Placeholder 2"/>
          <p:cNvSpPr>
            <a:spLocks noGrp="1"/>
          </p:cNvSpPr>
          <p:nvPr>
            <p:ph type="dt" sz="half" idx="11"/>
          </p:nvPr>
        </p:nvSpPr>
        <p:spPr/>
        <p:txBody>
          <a:bodyPr/>
          <a:lstStyle/>
          <a:p>
            <a:fld id="{17CB5FD9-BE86-4B75-B341-8688EBDFBA0A}" type="datetime1">
              <a:rPr lang="en-US" smtClean="0"/>
              <a:t>8/4/2014</a:t>
            </a:fld>
            <a:endParaRPr lang="en-GB" dirty="0"/>
          </a:p>
        </p:txBody>
      </p:sp>
    </p:spTree>
    <p:extLst>
      <p:ext uri="{BB962C8B-B14F-4D97-AF65-F5344CB8AC3E}">
        <p14:creationId xmlns:p14="http://schemas.microsoft.com/office/powerpoint/2010/main" val="1815371012"/>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GB" dirty="0" smtClean="0"/>
              <a:t>Milo </a:t>
            </a:r>
            <a:r>
              <a:rPr lang="en-GB" dirty="0" err="1" smtClean="0"/>
              <a:t>Sjardin</a:t>
            </a:r>
            <a:endParaRPr lang="en-GB" dirty="0" smtClean="0"/>
          </a:p>
          <a:p>
            <a:pPr lvl="1"/>
            <a:r>
              <a:rPr lang="en-GB" dirty="0" smtClean="0"/>
              <a:t>msjardin@bloomberg.net</a:t>
            </a:r>
            <a:endParaRPr lang="en-GB" dirty="0"/>
          </a:p>
        </p:txBody>
      </p:sp>
    </p:spTree>
    <p:extLst>
      <p:ext uri="{BB962C8B-B14F-4D97-AF65-F5344CB8AC3E}">
        <p14:creationId xmlns:p14="http://schemas.microsoft.com/office/powerpoint/2010/main" val="182531641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Myth 1: renewable energy is still marginal</a:t>
            </a:r>
            <a:endParaRPr lang="en-US" dirty="0"/>
          </a:p>
        </p:txBody>
      </p:sp>
    </p:spTree>
    <p:extLst>
      <p:ext uri="{BB962C8B-B14F-4D97-AF65-F5344CB8AC3E}">
        <p14:creationId xmlns:p14="http://schemas.microsoft.com/office/powerpoint/2010/main" val="403025789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a:blip r:embed="rId3"/>
          <a:stretch>
            <a:fillRect/>
          </a:stretch>
        </p:blipFill>
        <p:spPr>
          <a:xfrm>
            <a:off x="1098518" y="665911"/>
            <a:ext cx="8666988" cy="6295644"/>
          </a:xfrm>
          <a:prstGeom prst="rect">
            <a:avLst/>
          </a:prstGeom>
        </p:spPr>
      </p:pic>
      <p:sp>
        <p:nvSpPr>
          <p:cNvPr id="2" name="Title 1"/>
          <p:cNvSpPr>
            <a:spLocks noGrp="1"/>
          </p:cNvSpPr>
          <p:nvPr>
            <p:ph type="title"/>
          </p:nvPr>
        </p:nvSpPr>
        <p:spPr>
          <a:xfrm>
            <a:off x="565118" y="107950"/>
            <a:ext cx="7512443" cy="828050"/>
          </a:xfrm>
        </p:spPr>
        <p:txBody>
          <a:bodyPr/>
          <a:lstStyle/>
          <a:p>
            <a:r>
              <a:rPr lang="en-US" dirty="0" smtClean="0">
                <a:solidFill>
                  <a:schemeClr val="bg1"/>
                </a:solidFill>
              </a:rPr>
              <a:t>Similar investments are now going into clean energy as in fossil power</a:t>
            </a:r>
            <a:endParaRPr lang="en-US" dirty="0"/>
          </a:p>
        </p:txBody>
      </p:sp>
      <p:sp>
        <p:nvSpPr>
          <p:cNvPr id="4" name="Text Placeholder 3"/>
          <p:cNvSpPr>
            <a:spLocks noGrp="1"/>
          </p:cNvSpPr>
          <p:nvPr>
            <p:ph type="body" idx="10"/>
          </p:nvPr>
        </p:nvSpPr>
        <p:spPr>
          <a:xfrm>
            <a:off x="6614577" y="6675437"/>
            <a:ext cx="3917888" cy="577475"/>
          </a:xfrm>
        </p:spPr>
        <p:txBody>
          <a:bodyPr/>
          <a:lstStyle/>
          <a:p>
            <a:r>
              <a:rPr lang="en-US" dirty="0" smtClean="0"/>
              <a:t>Source: Bloomberg New Energy Finance</a:t>
            </a:r>
            <a:endParaRPr lang="en-US" dirty="0"/>
          </a:p>
        </p:txBody>
      </p:sp>
      <p:sp>
        <p:nvSpPr>
          <p:cNvPr id="5" name="Text Placeholder 4"/>
          <p:cNvSpPr>
            <a:spLocks noGrp="1"/>
          </p:cNvSpPr>
          <p:nvPr>
            <p:ph type="body" idx="11"/>
          </p:nvPr>
        </p:nvSpPr>
        <p:spPr>
          <a:xfrm>
            <a:off x="164306" y="6677931"/>
            <a:ext cx="6450271" cy="577475"/>
          </a:xfrm>
        </p:spPr>
        <p:txBody>
          <a:bodyPr/>
          <a:lstStyle/>
          <a:p>
            <a:r>
              <a:rPr lang="en-GB" sz="1100" dirty="0"/>
              <a:t>Note: Total values include estimates for undisclosed deals. Includes corporate and government R&amp;D, and spending for digital energy and energy storage projects (not reported in quarterly statistics</a:t>
            </a:r>
            <a:r>
              <a:rPr lang="en-GB" sz="1100" dirty="0" smtClean="0"/>
              <a:t>)</a:t>
            </a:r>
            <a:endParaRPr lang="en-GB" sz="1100" dirty="0">
              <a:solidFill>
                <a:srgbClr val="00B050"/>
              </a:solidFill>
            </a:endParaRPr>
          </a:p>
        </p:txBody>
      </p:sp>
      <p:sp>
        <p:nvSpPr>
          <p:cNvPr id="7" name="TextBox 6"/>
          <p:cNvSpPr txBox="1"/>
          <p:nvPr/>
        </p:nvSpPr>
        <p:spPr>
          <a:xfrm>
            <a:off x="316706" y="1209343"/>
            <a:ext cx="9982200" cy="400110"/>
          </a:xfrm>
          <a:prstGeom prst="rect">
            <a:avLst/>
          </a:prstGeom>
          <a:solidFill>
            <a:schemeClr val="accent1"/>
          </a:solidFill>
          <a:ln>
            <a:solidFill>
              <a:schemeClr val="accent1"/>
            </a:solidFill>
          </a:ln>
        </p:spPr>
        <p:txBody>
          <a:bodyPr wrap="square" rtlCol="0">
            <a:spAutoFit/>
          </a:bodyPr>
          <a:lstStyle/>
          <a:p>
            <a:pPr marL="0" indent="0" algn="ctr">
              <a:buNone/>
            </a:pPr>
            <a:r>
              <a:rPr lang="en-US" sz="2000" b="1" dirty="0">
                <a:solidFill>
                  <a:schemeClr val="bg1"/>
                </a:solidFill>
              </a:rPr>
              <a:t>New investment in clean </a:t>
            </a:r>
            <a:r>
              <a:rPr lang="en-US" sz="2000" b="1" dirty="0" smtClean="0">
                <a:solidFill>
                  <a:schemeClr val="bg1"/>
                </a:solidFill>
              </a:rPr>
              <a:t>energy 2004–13 </a:t>
            </a:r>
            <a:r>
              <a:rPr lang="en-US" sz="2000" b="1" dirty="0">
                <a:solidFill>
                  <a:schemeClr val="bg1"/>
                </a:solidFill>
              </a:rPr>
              <a:t>($</a:t>
            </a:r>
            <a:r>
              <a:rPr lang="en-US" sz="2000" b="1" dirty="0" err="1">
                <a:solidFill>
                  <a:schemeClr val="bg1"/>
                </a:solidFill>
              </a:rPr>
              <a:t>bn</a:t>
            </a:r>
            <a:r>
              <a:rPr lang="en-US" sz="2000" b="1" dirty="0">
                <a:solidFill>
                  <a:schemeClr val="bg1"/>
                </a:solidFill>
              </a:rPr>
              <a:t>)</a:t>
            </a:r>
          </a:p>
        </p:txBody>
      </p:sp>
      <p:sp>
        <p:nvSpPr>
          <p:cNvPr id="3" name="TextBox 2"/>
          <p:cNvSpPr txBox="1"/>
          <p:nvPr/>
        </p:nvSpPr>
        <p:spPr>
          <a:xfrm>
            <a:off x="365368" y="1998919"/>
            <a:ext cx="4398018" cy="830997"/>
          </a:xfrm>
          <a:prstGeom prst="rect">
            <a:avLst/>
          </a:prstGeom>
          <a:noFill/>
        </p:spPr>
        <p:txBody>
          <a:bodyPr wrap="square" lIns="0" tIns="0" rIns="0" bIns="0" rtlCol="0">
            <a:spAutoFit/>
          </a:bodyPr>
          <a:lstStyle/>
          <a:p>
            <a:pPr marL="0" indent="0">
              <a:buNone/>
            </a:pPr>
            <a:r>
              <a:rPr lang="en-US" sz="1800" dirty="0" smtClean="0">
                <a:solidFill>
                  <a:schemeClr val="accent6"/>
                </a:solidFill>
              </a:rPr>
              <a:t>Clean Energy = Biomass, Biofuels, Energy Smart Technologies, Geothermal, Small scale hydro, Marine, Solar, Wind</a:t>
            </a:r>
          </a:p>
        </p:txBody>
      </p:sp>
    </p:spTree>
    <p:extLst>
      <p:ext uri="{BB962C8B-B14F-4D97-AF65-F5344CB8AC3E}">
        <p14:creationId xmlns:p14="http://schemas.microsoft.com/office/powerpoint/2010/main" val="2975975619"/>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9"/>
          <p:cNvGrpSpPr/>
          <p:nvPr/>
        </p:nvGrpSpPr>
        <p:grpSpPr>
          <a:xfrm>
            <a:off x="869755" y="2037288"/>
            <a:ext cx="9418343" cy="4205017"/>
            <a:chOff x="269875" y="1196975"/>
            <a:chExt cx="8188325" cy="4806950"/>
          </a:xfrm>
          <a:solidFill>
            <a:schemeClr val="bg1">
              <a:lumMod val="75000"/>
            </a:schemeClr>
          </a:solidFill>
        </p:grpSpPr>
        <p:sp>
          <p:nvSpPr>
            <p:cNvPr id="13" name="Freeform 14"/>
            <p:cNvSpPr>
              <a:spLocks/>
            </p:cNvSpPr>
            <p:nvPr>
              <p:custDataLst>
                <p:tags r:id="rId1"/>
              </p:custDataLst>
            </p:nvPr>
          </p:nvSpPr>
          <p:spPr bwMode="auto">
            <a:xfrm>
              <a:off x="5773816" y="2065594"/>
              <a:ext cx="1398513" cy="1171291"/>
            </a:xfrm>
            <a:custGeom>
              <a:avLst/>
              <a:gdLst>
                <a:gd name="T0" fmla="*/ 162757 w 2936"/>
                <a:gd name="T1" fmla="*/ 560736 h 1983"/>
                <a:gd name="T2" fmla="*/ 167993 w 2936"/>
                <a:gd name="T3" fmla="*/ 618851 h 1983"/>
                <a:gd name="T4" fmla="*/ 208573 w 2936"/>
                <a:gd name="T5" fmla="*/ 710998 h 1983"/>
                <a:gd name="T6" fmla="*/ 335114 w 2936"/>
                <a:gd name="T7" fmla="*/ 781156 h 1983"/>
                <a:gd name="T8" fmla="*/ 452055 w 2936"/>
                <a:gd name="T9" fmla="*/ 812569 h 1983"/>
                <a:gd name="T10" fmla="*/ 490453 w 2936"/>
                <a:gd name="T11" fmla="*/ 800527 h 1983"/>
                <a:gd name="T12" fmla="*/ 611321 w 2936"/>
                <a:gd name="T13" fmla="*/ 758119 h 1983"/>
                <a:gd name="T14" fmla="*/ 675027 w 2936"/>
                <a:gd name="T15" fmla="*/ 807334 h 1983"/>
                <a:gd name="T16" fmla="*/ 688118 w 2936"/>
                <a:gd name="T17" fmla="*/ 888486 h 1983"/>
                <a:gd name="T18" fmla="*/ 701208 w 2936"/>
                <a:gd name="T19" fmla="*/ 928277 h 1983"/>
                <a:gd name="T20" fmla="*/ 744406 w 2936"/>
                <a:gd name="T21" fmla="*/ 1001052 h 1983"/>
                <a:gd name="T22" fmla="*/ 803749 w 2936"/>
                <a:gd name="T23" fmla="*/ 973303 h 1983"/>
                <a:gd name="T24" fmla="*/ 904109 w 2936"/>
                <a:gd name="T25" fmla="*/ 970685 h 1983"/>
                <a:gd name="T26" fmla="*/ 988324 w 2936"/>
                <a:gd name="T27" fmla="*/ 1038225 h 1983"/>
                <a:gd name="T28" fmla="*/ 1028468 w 2936"/>
                <a:gd name="T29" fmla="*/ 1000005 h 1983"/>
                <a:gd name="T30" fmla="*/ 1072102 w 2936"/>
                <a:gd name="T31" fmla="*/ 976968 h 1983"/>
                <a:gd name="T32" fmla="*/ 1110937 w 2936"/>
                <a:gd name="T33" fmla="*/ 956026 h 1983"/>
                <a:gd name="T34" fmla="*/ 1170716 w 2936"/>
                <a:gd name="T35" fmla="*/ 906811 h 1983"/>
                <a:gd name="T36" fmla="*/ 1186425 w 2936"/>
                <a:gd name="T37" fmla="*/ 846077 h 1983"/>
                <a:gd name="T38" fmla="*/ 1219151 w 2936"/>
                <a:gd name="T39" fmla="*/ 743459 h 1983"/>
                <a:gd name="T40" fmla="*/ 1180316 w 2936"/>
                <a:gd name="T41" fmla="*/ 719899 h 1983"/>
                <a:gd name="T42" fmla="*/ 1151954 w 2936"/>
                <a:gd name="T43" fmla="*/ 666495 h 1983"/>
                <a:gd name="T44" fmla="*/ 1164608 w 2936"/>
                <a:gd name="T45" fmla="*/ 642412 h 1983"/>
                <a:gd name="T46" fmla="*/ 1104828 w 2936"/>
                <a:gd name="T47" fmla="*/ 555500 h 1983"/>
                <a:gd name="T48" fmla="*/ 1127082 w 2936"/>
                <a:gd name="T49" fmla="*/ 519898 h 1983"/>
                <a:gd name="T50" fmla="*/ 1070357 w 2936"/>
                <a:gd name="T51" fmla="*/ 503667 h 1983"/>
                <a:gd name="T52" fmla="*/ 1017995 w 2936"/>
                <a:gd name="T53" fmla="*/ 464400 h 1983"/>
                <a:gd name="T54" fmla="*/ 1033267 w 2936"/>
                <a:gd name="T55" fmla="*/ 437698 h 1983"/>
                <a:gd name="T56" fmla="*/ 1065993 w 2936"/>
                <a:gd name="T57" fmla="*/ 395813 h 1983"/>
                <a:gd name="T58" fmla="*/ 1089120 w 2936"/>
                <a:gd name="T59" fmla="*/ 408379 h 1983"/>
                <a:gd name="T60" fmla="*/ 1104828 w 2936"/>
                <a:gd name="T61" fmla="*/ 446599 h 1983"/>
                <a:gd name="T62" fmla="*/ 1173335 w 2936"/>
                <a:gd name="T63" fmla="*/ 399478 h 1983"/>
                <a:gd name="T64" fmla="*/ 1233987 w 2936"/>
                <a:gd name="T65" fmla="*/ 352358 h 1983"/>
                <a:gd name="T66" fmla="*/ 1259295 w 2936"/>
                <a:gd name="T67" fmla="*/ 295289 h 1983"/>
                <a:gd name="T68" fmla="*/ 1277621 w 2936"/>
                <a:gd name="T69" fmla="*/ 258640 h 1983"/>
                <a:gd name="T70" fmla="*/ 1262349 w 2936"/>
                <a:gd name="T71" fmla="*/ 160734 h 1983"/>
                <a:gd name="T72" fmla="*/ 1187734 w 2936"/>
                <a:gd name="T73" fmla="*/ 178535 h 1983"/>
                <a:gd name="T74" fmla="*/ 1073848 w 2936"/>
                <a:gd name="T75" fmla="*/ 107330 h 1983"/>
                <a:gd name="T76" fmla="*/ 1003596 w 2936"/>
                <a:gd name="T77" fmla="*/ 46597 h 1983"/>
                <a:gd name="T78" fmla="*/ 863965 w 2936"/>
                <a:gd name="T79" fmla="*/ 27749 h 1983"/>
                <a:gd name="T80" fmla="*/ 875747 w 2936"/>
                <a:gd name="T81" fmla="*/ 81152 h 1983"/>
                <a:gd name="T82" fmla="*/ 851747 w 2936"/>
                <a:gd name="T83" fmla="*/ 118849 h 1983"/>
                <a:gd name="T84" fmla="*/ 883601 w 2936"/>
                <a:gd name="T85" fmla="*/ 183247 h 1983"/>
                <a:gd name="T86" fmla="*/ 936399 w 2936"/>
                <a:gd name="T87" fmla="*/ 193718 h 1983"/>
                <a:gd name="T88" fmla="*/ 890582 w 2936"/>
                <a:gd name="T89" fmla="*/ 238221 h 1983"/>
                <a:gd name="T90" fmla="*/ 825130 w 2936"/>
                <a:gd name="T91" fmla="*/ 298431 h 1983"/>
                <a:gd name="T92" fmla="*/ 711244 w 2936"/>
                <a:gd name="T93" fmla="*/ 373300 h 1983"/>
                <a:gd name="T94" fmla="*/ 535833 w 2936"/>
                <a:gd name="T95" fmla="*/ 345028 h 1983"/>
                <a:gd name="T96" fmla="*/ 452055 w 2936"/>
                <a:gd name="T97" fmla="*/ 293195 h 1983"/>
                <a:gd name="T98" fmla="*/ 328132 w 2936"/>
                <a:gd name="T99" fmla="*/ 259164 h 1983"/>
                <a:gd name="T100" fmla="*/ 299333 w 2936"/>
                <a:gd name="T101" fmla="*/ 198430 h 1983"/>
                <a:gd name="T102" fmla="*/ 223409 w 2936"/>
                <a:gd name="T103" fmla="*/ 156545 h 1983"/>
                <a:gd name="T104" fmla="*/ 187629 w 2936"/>
                <a:gd name="T105" fmla="*/ 162828 h 1983"/>
                <a:gd name="T106" fmla="*/ 184574 w 2936"/>
                <a:gd name="T107" fmla="*/ 203142 h 1983"/>
                <a:gd name="T108" fmla="*/ 133086 w 2936"/>
                <a:gd name="T109" fmla="*/ 200001 h 1983"/>
                <a:gd name="T110" fmla="*/ 99051 w 2936"/>
                <a:gd name="T111" fmla="*/ 265446 h 1983"/>
                <a:gd name="T112" fmla="*/ 113450 w 2936"/>
                <a:gd name="T113" fmla="*/ 311520 h 1983"/>
                <a:gd name="T114" fmla="*/ 109959 w 2936"/>
                <a:gd name="T115" fmla="*/ 374871 h 1983"/>
                <a:gd name="T116" fmla="*/ 51489 w 2936"/>
                <a:gd name="T117" fmla="*/ 408903 h 1983"/>
                <a:gd name="T118" fmla="*/ 17454 w 2936"/>
                <a:gd name="T119" fmla="*/ 468065 h 198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936" h="1983">
                  <a:moveTo>
                    <a:pt x="98" y="954"/>
                  </a:moveTo>
                  <a:lnTo>
                    <a:pt x="129" y="989"/>
                  </a:lnTo>
                  <a:lnTo>
                    <a:pt x="157" y="1017"/>
                  </a:lnTo>
                  <a:lnTo>
                    <a:pt x="170" y="1029"/>
                  </a:lnTo>
                  <a:lnTo>
                    <a:pt x="182" y="1041"/>
                  </a:lnTo>
                  <a:lnTo>
                    <a:pt x="194" y="1050"/>
                  </a:lnTo>
                  <a:lnTo>
                    <a:pt x="205" y="1059"/>
                  </a:lnTo>
                  <a:lnTo>
                    <a:pt x="216" y="1066"/>
                  </a:lnTo>
                  <a:lnTo>
                    <a:pt x="227" y="1072"/>
                  </a:lnTo>
                  <a:lnTo>
                    <a:pt x="238" y="1076"/>
                  </a:lnTo>
                  <a:lnTo>
                    <a:pt x="248" y="1080"/>
                  </a:lnTo>
                  <a:lnTo>
                    <a:pt x="259" y="1082"/>
                  </a:lnTo>
                  <a:lnTo>
                    <a:pt x="270" y="1084"/>
                  </a:lnTo>
                  <a:lnTo>
                    <a:pt x="281" y="1084"/>
                  </a:lnTo>
                  <a:lnTo>
                    <a:pt x="292" y="1084"/>
                  </a:lnTo>
                  <a:lnTo>
                    <a:pt x="364" y="1065"/>
                  </a:lnTo>
                  <a:lnTo>
                    <a:pt x="373" y="1071"/>
                  </a:lnTo>
                  <a:lnTo>
                    <a:pt x="383" y="1079"/>
                  </a:lnTo>
                  <a:lnTo>
                    <a:pt x="393" y="1090"/>
                  </a:lnTo>
                  <a:lnTo>
                    <a:pt x="401" y="1102"/>
                  </a:lnTo>
                  <a:lnTo>
                    <a:pt x="410" y="1114"/>
                  </a:lnTo>
                  <a:lnTo>
                    <a:pt x="418" y="1127"/>
                  </a:lnTo>
                  <a:lnTo>
                    <a:pt x="420" y="1133"/>
                  </a:lnTo>
                  <a:lnTo>
                    <a:pt x="422" y="1139"/>
                  </a:lnTo>
                  <a:lnTo>
                    <a:pt x="423" y="1145"/>
                  </a:lnTo>
                  <a:lnTo>
                    <a:pt x="425" y="1151"/>
                  </a:lnTo>
                  <a:lnTo>
                    <a:pt x="423" y="1157"/>
                  </a:lnTo>
                  <a:lnTo>
                    <a:pt x="420" y="1162"/>
                  </a:lnTo>
                  <a:lnTo>
                    <a:pt x="416" y="1167"/>
                  </a:lnTo>
                  <a:lnTo>
                    <a:pt x="409" y="1172"/>
                  </a:lnTo>
                  <a:lnTo>
                    <a:pt x="403" y="1176"/>
                  </a:lnTo>
                  <a:lnTo>
                    <a:pt x="396" y="1179"/>
                  </a:lnTo>
                  <a:lnTo>
                    <a:pt x="390" y="1182"/>
                  </a:lnTo>
                  <a:lnTo>
                    <a:pt x="385" y="1182"/>
                  </a:lnTo>
                  <a:lnTo>
                    <a:pt x="399" y="1200"/>
                  </a:lnTo>
                  <a:lnTo>
                    <a:pt x="412" y="1217"/>
                  </a:lnTo>
                  <a:lnTo>
                    <a:pt x="419" y="1226"/>
                  </a:lnTo>
                  <a:lnTo>
                    <a:pt x="423" y="1235"/>
                  </a:lnTo>
                  <a:lnTo>
                    <a:pt x="428" y="1245"/>
                  </a:lnTo>
                  <a:lnTo>
                    <a:pt x="431" y="1256"/>
                  </a:lnTo>
                  <a:lnTo>
                    <a:pt x="385" y="1256"/>
                  </a:lnTo>
                  <a:lnTo>
                    <a:pt x="385" y="1287"/>
                  </a:lnTo>
                  <a:lnTo>
                    <a:pt x="390" y="1300"/>
                  </a:lnTo>
                  <a:lnTo>
                    <a:pt x="397" y="1311"/>
                  </a:lnTo>
                  <a:lnTo>
                    <a:pt x="405" y="1321"/>
                  </a:lnTo>
                  <a:lnTo>
                    <a:pt x="414" y="1328"/>
                  </a:lnTo>
                  <a:lnTo>
                    <a:pt x="423" y="1335"/>
                  </a:lnTo>
                  <a:lnTo>
                    <a:pt x="434" y="1340"/>
                  </a:lnTo>
                  <a:lnTo>
                    <a:pt x="444" y="1345"/>
                  </a:lnTo>
                  <a:lnTo>
                    <a:pt x="456" y="1349"/>
                  </a:lnTo>
                  <a:lnTo>
                    <a:pt x="478" y="1358"/>
                  </a:lnTo>
                  <a:lnTo>
                    <a:pt x="500" y="1367"/>
                  </a:lnTo>
                  <a:lnTo>
                    <a:pt x="510" y="1373"/>
                  </a:lnTo>
                  <a:lnTo>
                    <a:pt x="520" y="1381"/>
                  </a:lnTo>
                  <a:lnTo>
                    <a:pt x="529" y="1389"/>
                  </a:lnTo>
                  <a:lnTo>
                    <a:pt x="538" y="1398"/>
                  </a:lnTo>
                  <a:lnTo>
                    <a:pt x="617" y="1404"/>
                  </a:lnTo>
                  <a:lnTo>
                    <a:pt x="620" y="1408"/>
                  </a:lnTo>
                  <a:lnTo>
                    <a:pt x="623" y="1411"/>
                  </a:lnTo>
                  <a:lnTo>
                    <a:pt x="628" y="1414"/>
                  </a:lnTo>
                  <a:lnTo>
                    <a:pt x="633" y="1417"/>
                  </a:lnTo>
                  <a:lnTo>
                    <a:pt x="644" y="1422"/>
                  </a:lnTo>
                  <a:lnTo>
                    <a:pt x="656" y="1427"/>
                  </a:lnTo>
                  <a:lnTo>
                    <a:pt x="678" y="1436"/>
                  </a:lnTo>
                  <a:lnTo>
                    <a:pt x="690" y="1441"/>
                  </a:lnTo>
                  <a:lnTo>
                    <a:pt x="723" y="1462"/>
                  </a:lnTo>
                  <a:lnTo>
                    <a:pt x="754" y="1481"/>
                  </a:lnTo>
                  <a:lnTo>
                    <a:pt x="768" y="1492"/>
                  </a:lnTo>
                  <a:lnTo>
                    <a:pt x="784" y="1501"/>
                  </a:lnTo>
                  <a:lnTo>
                    <a:pt x="798" y="1509"/>
                  </a:lnTo>
                  <a:lnTo>
                    <a:pt x="814" y="1517"/>
                  </a:lnTo>
                  <a:lnTo>
                    <a:pt x="830" y="1525"/>
                  </a:lnTo>
                  <a:lnTo>
                    <a:pt x="847" y="1531"/>
                  </a:lnTo>
                  <a:lnTo>
                    <a:pt x="866" y="1537"/>
                  </a:lnTo>
                  <a:lnTo>
                    <a:pt x="886" y="1543"/>
                  </a:lnTo>
                  <a:lnTo>
                    <a:pt x="907" y="1547"/>
                  </a:lnTo>
                  <a:lnTo>
                    <a:pt x="930" y="1550"/>
                  </a:lnTo>
                  <a:lnTo>
                    <a:pt x="955" y="1552"/>
                  </a:lnTo>
                  <a:lnTo>
                    <a:pt x="982" y="1552"/>
                  </a:lnTo>
                  <a:lnTo>
                    <a:pt x="982" y="1521"/>
                  </a:lnTo>
                  <a:lnTo>
                    <a:pt x="1015" y="1521"/>
                  </a:lnTo>
                  <a:lnTo>
                    <a:pt x="1021" y="1532"/>
                  </a:lnTo>
                  <a:lnTo>
                    <a:pt x="1025" y="1539"/>
                  </a:lnTo>
                  <a:lnTo>
                    <a:pt x="1031" y="1545"/>
                  </a:lnTo>
                  <a:lnTo>
                    <a:pt x="1036" y="1552"/>
                  </a:lnTo>
                  <a:lnTo>
                    <a:pt x="1042" y="1552"/>
                  </a:lnTo>
                  <a:lnTo>
                    <a:pt x="1046" y="1551"/>
                  </a:lnTo>
                  <a:lnTo>
                    <a:pt x="1050" y="1548"/>
                  </a:lnTo>
                  <a:lnTo>
                    <a:pt x="1054" y="1546"/>
                  </a:lnTo>
                  <a:lnTo>
                    <a:pt x="1058" y="1538"/>
                  </a:lnTo>
                  <a:lnTo>
                    <a:pt x="1062" y="1530"/>
                  </a:lnTo>
                  <a:lnTo>
                    <a:pt x="1066" y="1522"/>
                  </a:lnTo>
                  <a:lnTo>
                    <a:pt x="1071" y="1516"/>
                  </a:lnTo>
                  <a:lnTo>
                    <a:pt x="1075" y="1513"/>
                  </a:lnTo>
                  <a:lnTo>
                    <a:pt x="1078" y="1511"/>
                  </a:lnTo>
                  <a:lnTo>
                    <a:pt x="1083" y="1510"/>
                  </a:lnTo>
                  <a:lnTo>
                    <a:pt x="1089" y="1509"/>
                  </a:lnTo>
                  <a:lnTo>
                    <a:pt x="1092" y="1512"/>
                  </a:lnTo>
                  <a:lnTo>
                    <a:pt x="1096" y="1516"/>
                  </a:lnTo>
                  <a:lnTo>
                    <a:pt x="1102" y="1519"/>
                  </a:lnTo>
                  <a:lnTo>
                    <a:pt x="1109" y="1522"/>
                  </a:lnTo>
                  <a:lnTo>
                    <a:pt x="1124" y="1529"/>
                  </a:lnTo>
                  <a:lnTo>
                    <a:pt x="1142" y="1534"/>
                  </a:lnTo>
                  <a:lnTo>
                    <a:pt x="1159" y="1539"/>
                  </a:lnTo>
                  <a:lnTo>
                    <a:pt x="1178" y="1543"/>
                  </a:lnTo>
                  <a:lnTo>
                    <a:pt x="1194" y="1546"/>
                  </a:lnTo>
                  <a:lnTo>
                    <a:pt x="1208" y="1546"/>
                  </a:lnTo>
                  <a:lnTo>
                    <a:pt x="1217" y="1535"/>
                  </a:lnTo>
                  <a:lnTo>
                    <a:pt x="1227" y="1526"/>
                  </a:lnTo>
                  <a:lnTo>
                    <a:pt x="1236" y="1518"/>
                  </a:lnTo>
                  <a:lnTo>
                    <a:pt x="1247" y="1510"/>
                  </a:lnTo>
                  <a:lnTo>
                    <a:pt x="1258" y="1502"/>
                  </a:lnTo>
                  <a:lnTo>
                    <a:pt x="1269" y="1496"/>
                  </a:lnTo>
                  <a:lnTo>
                    <a:pt x="1280" y="1489"/>
                  </a:lnTo>
                  <a:lnTo>
                    <a:pt x="1292" y="1482"/>
                  </a:lnTo>
                  <a:lnTo>
                    <a:pt x="1317" y="1472"/>
                  </a:lnTo>
                  <a:lnTo>
                    <a:pt x="1344" y="1463"/>
                  </a:lnTo>
                  <a:lnTo>
                    <a:pt x="1372" y="1455"/>
                  </a:lnTo>
                  <a:lnTo>
                    <a:pt x="1401" y="1448"/>
                  </a:lnTo>
                  <a:lnTo>
                    <a:pt x="1408" y="1456"/>
                  </a:lnTo>
                  <a:lnTo>
                    <a:pt x="1418" y="1465"/>
                  </a:lnTo>
                  <a:lnTo>
                    <a:pt x="1431" y="1476"/>
                  </a:lnTo>
                  <a:lnTo>
                    <a:pt x="1446" y="1487"/>
                  </a:lnTo>
                  <a:lnTo>
                    <a:pt x="1453" y="1492"/>
                  </a:lnTo>
                  <a:lnTo>
                    <a:pt x="1461" y="1496"/>
                  </a:lnTo>
                  <a:lnTo>
                    <a:pt x="1469" y="1499"/>
                  </a:lnTo>
                  <a:lnTo>
                    <a:pt x="1475" y="1502"/>
                  </a:lnTo>
                  <a:lnTo>
                    <a:pt x="1483" y="1504"/>
                  </a:lnTo>
                  <a:lnTo>
                    <a:pt x="1490" y="1505"/>
                  </a:lnTo>
                  <a:lnTo>
                    <a:pt x="1495" y="1505"/>
                  </a:lnTo>
                  <a:lnTo>
                    <a:pt x="1501" y="1503"/>
                  </a:lnTo>
                  <a:lnTo>
                    <a:pt x="1512" y="1510"/>
                  </a:lnTo>
                  <a:lnTo>
                    <a:pt x="1521" y="1518"/>
                  </a:lnTo>
                  <a:lnTo>
                    <a:pt x="1530" y="1526"/>
                  </a:lnTo>
                  <a:lnTo>
                    <a:pt x="1538" y="1534"/>
                  </a:lnTo>
                  <a:lnTo>
                    <a:pt x="1547" y="1542"/>
                  </a:lnTo>
                  <a:lnTo>
                    <a:pt x="1555" y="1547"/>
                  </a:lnTo>
                  <a:lnTo>
                    <a:pt x="1561" y="1550"/>
                  </a:lnTo>
                  <a:lnTo>
                    <a:pt x="1566" y="1551"/>
                  </a:lnTo>
                  <a:lnTo>
                    <a:pt x="1573" y="1552"/>
                  </a:lnTo>
                  <a:lnTo>
                    <a:pt x="1581" y="1552"/>
                  </a:lnTo>
                  <a:lnTo>
                    <a:pt x="1586" y="1578"/>
                  </a:lnTo>
                  <a:lnTo>
                    <a:pt x="1593" y="1602"/>
                  </a:lnTo>
                  <a:lnTo>
                    <a:pt x="1596" y="1613"/>
                  </a:lnTo>
                  <a:lnTo>
                    <a:pt x="1598" y="1625"/>
                  </a:lnTo>
                  <a:lnTo>
                    <a:pt x="1599" y="1637"/>
                  </a:lnTo>
                  <a:lnTo>
                    <a:pt x="1600" y="1650"/>
                  </a:lnTo>
                  <a:lnTo>
                    <a:pt x="1599" y="1658"/>
                  </a:lnTo>
                  <a:lnTo>
                    <a:pt x="1598" y="1664"/>
                  </a:lnTo>
                  <a:lnTo>
                    <a:pt x="1596" y="1670"/>
                  </a:lnTo>
                  <a:lnTo>
                    <a:pt x="1593" y="1676"/>
                  </a:lnTo>
                  <a:lnTo>
                    <a:pt x="1585" y="1686"/>
                  </a:lnTo>
                  <a:lnTo>
                    <a:pt x="1577" y="1697"/>
                  </a:lnTo>
                  <a:lnTo>
                    <a:pt x="1569" y="1707"/>
                  </a:lnTo>
                  <a:lnTo>
                    <a:pt x="1561" y="1719"/>
                  </a:lnTo>
                  <a:lnTo>
                    <a:pt x="1558" y="1724"/>
                  </a:lnTo>
                  <a:lnTo>
                    <a:pt x="1555" y="1730"/>
                  </a:lnTo>
                  <a:lnTo>
                    <a:pt x="1554" y="1736"/>
                  </a:lnTo>
                  <a:lnTo>
                    <a:pt x="1553" y="1743"/>
                  </a:lnTo>
                  <a:lnTo>
                    <a:pt x="1554" y="1748"/>
                  </a:lnTo>
                  <a:lnTo>
                    <a:pt x="1555" y="1753"/>
                  </a:lnTo>
                  <a:lnTo>
                    <a:pt x="1558" y="1756"/>
                  </a:lnTo>
                  <a:lnTo>
                    <a:pt x="1561" y="1759"/>
                  </a:lnTo>
                  <a:lnTo>
                    <a:pt x="1565" y="1761"/>
                  </a:lnTo>
                  <a:lnTo>
                    <a:pt x="1570" y="1764"/>
                  </a:lnTo>
                  <a:lnTo>
                    <a:pt x="1574" y="1765"/>
                  </a:lnTo>
                  <a:lnTo>
                    <a:pt x="1580" y="1767"/>
                  </a:lnTo>
                  <a:lnTo>
                    <a:pt x="1591" y="1769"/>
                  </a:lnTo>
                  <a:lnTo>
                    <a:pt x="1602" y="1771"/>
                  </a:lnTo>
                  <a:lnTo>
                    <a:pt x="1607" y="1773"/>
                  </a:lnTo>
                  <a:lnTo>
                    <a:pt x="1611" y="1775"/>
                  </a:lnTo>
                  <a:lnTo>
                    <a:pt x="1616" y="1777"/>
                  </a:lnTo>
                  <a:lnTo>
                    <a:pt x="1620" y="1780"/>
                  </a:lnTo>
                  <a:lnTo>
                    <a:pt x="1627" y="1787"/>
                  </a:lnTo>
                  <a:lnTo>
                    <a:pt x="1632" y="1794"/>
                  </a:lnTo>
                  <a:lnTo>
                    <a:pt x="1636" y="1801"/>
                  </a:lnTo>
                  <a:lnTo>
                    <a:pt x="1639" y="1807"/>
                  </a:lnTo>
                  <a:lnTo>
                    <a:pt x="1645" y="1822"/>
                  </a:lnTo>
                  <a:lnTo>
                    <a:pt x="1653" y="1836"/>
                  </a:lnTo>
                  <a:lnTo>
                    <a:pt x="1659" y="1848"/>
                  </a:lnTo>
                  <a:lnTo>
                    <a:pt x="1666" y="1862"/>
                  </a:lnTo>
                  <a:lnTo>
                    <a:pt x="1674" y="1877"/>
                  </a:lnTo>
                  <a:lnTo>
                    <a:pt x="1683" y="1890"/>
                  </a:lnTo>
                  <a:lnTo>
                    <a:pt x="1688" y="1897"/>
                  </a:lnTo>
                  <a:lnTo>
                    <a:pt x="1694" y="1903"/>
                  </a:lnTo>
                  <a:lnTo>
                    <a:pt x="1699" y="1908"/>
                  </a:lnTo>
                  <a:lnTo>
                    <a:pt x="1706" y="1912"/>
                  </a:lnTo>
                  <a:lnTo>
                    <a:pt x="1712" y="1916"/>
                  </a:lnTo>
                  <a:lnTo>
                    <a:pt x="1719" y="1919"/>
                  </a:lnTo>
                  <a:lnTo>
                    <a:pt x="1726" y="1921"/>
                  </a:lnTo>
                  <a:lnTo>
                    <a:pt x="1733" y="1921"/>
                  </a:lnTo>
                  <a:lnTo>
                    <a:pt x="1741" y="1921"/>
                  </a:lnTo>
                  <a:lnTo>
                    <a:pt x="1752" y="1918"/>
                  </a:lnTo>
                  <a:lnTo>
                    <a:pt x="1762" y="1916"/>
                  </a:lnTo>
                  <a:lnTo>
                    <a:pt x="1766" y="1915"/>
                  </a:lnTo>
                  <a:lnTo>
                    <a:pt x="1777" y="1910"/>
                  </a:lnTo>
                  <a:lnTo>
                    <a:pt x="1787" y="1904"/>
                  </a:lnTo>
                  <a:lnTo>
                    <a:pt x="1795" y="1898"/>
                  </a:lnTo>
                  <a:lnTo>
                    <a:pt x="1803" y="1891"/>
                  </a:lnTo>
                  <a:lnTo>
                    <a:pt x="1809" y="1884"/>
                  </a:lnTo>
                  <a:lnTo>
                    <a:pt x="1816" y="1878"/>
                  </a:lnTo>
                  <a:lnTo>
                    <a:pt x="1823" y="1871"/>
                  </a:lnTo>
                  <a:lnTo>
                    <a:pt x="1833" y="1866"/>
                  </a:lnTo>
                  <a:lnTo>
                    <a:pt x="1842" y="1859"/>
                  </a:lnTo>
                  <a:lnTo>
                    <a:pt x="1852" y="1853"/>
                  </a:lnTo>
                  <a:lnTo>
                    <a:pt x="1863" y="1848"/>
                  </a:lnTo>
                  <a:lnTo>
                    <a:pt x="1874" y="1844"/>
                  </a:lnTo>
                  <a:lnTo>
                    <a:pt x="1896" y="1838"/>
                  </a:lnTo>
                  <a:lnTo>
                    <a:pt x="1919" y="1834"/>
                  </a:lnTo>
                  <a:lnTo>
                    <a:pt x="1941" y="1831"/>
                  </a:lnTo>
                  <a:lnTo>
                    <a:pt x="1960" y="1827"/>
                  </a:lnTo>
                  <a:lnTo>
                    <a:pt x="1968" y="1824"/>
                  </a:lnTo>
                  <a:lnTo>
                    <a:pt x="1975" y="1821"/>
                  </a:lnTo>
                  <a:lnTo>
                    <a:pt x="1981" y="1816"/>
                  </a:lnTo>
                  <a:lnTo>
                    <a:pt x="1986" y="1811"/>
                  </a:lnTo>
                  <a:lnTo>
                    <a:pt x="1996" y="1820"/>
                  </a:lnTo>
                  <a:lnTo>
                    <a:pt x="2008" y="1827"/>
                  </a:lnTo>
                  <a:lnTo>
                    <a:pt x="2019" y="1832"/>
                  </a:lnTo>
                  <a:lnTo>
                    <a:pt x="2031" y="1837"/>
                  </a:lnTo>
                  <a:lnTo>
                    <a:pt x="2054" y="1846"/>
                  </a:lnTo>
                  <a:lnTo>
                    <a:pt x="2072" y="1854"/>
                  </a:lnTo>
                  <a:lnTo>
                    <a:pt x="2091" y="1869"/>
                  </a:lnTo>
                  <a:lnTo>
                    <a:pt x="2109" y="1887"/>
                  </a:lnTo>
                  <a:lnTo>
                    <a:pt x="2119" y="1896"/>
                  </a:lnTo>
                  <a:lnTo>
                    <a:pt x="2129" y="1903"/>
                  </a:lnTo>
                  <a:lnTo>
                    <a:pt x="2140" y="1910"/>
                  </a:lnTo>
                  <a:lnTo>
                    <a:pt x="2152" y="1915"/>
                  </a:lnTo>
                  <a:lnTo>
                    <a:pt x="2245" y="1921"/>
                  </a:lnTo>
                  <a:lnTo>
                    <a:pt x="2238" y="1935"/>
                  </a:lnTo>
                  <a:lnTo>
                    <a:pt x="2232" y="1947"/>
                  </a:lnTo>
                  <a:lnTo>
                    <a:pt x="2232" y="1953"/>
                  </a:lnTo>
                  <a:lnTo>
                    <a:pt x="2235" y="1957"/>
                  </a:lnTo>
                  <a:lnTo>
                    <a:pt x="2238" y="1961"/>
                  </a:lnTo>
                  <a:lnTo>
                    <a:pt x="2243" y="1965"/>
                  </a:lnTo>
                  <a:lnTo>
                    <a:pt x="2248" y="1968"/>
                  </a:lnTo>
                  <a:lnTo>
                    <a:pt x="2254" y="1972"/>
                  </a:lnTo>
                  <a:lnTo>
                    <a:pt x="2259" y="1977"/>
                  </a:lnTo>
                  <a:lnTo>
                    <a:pt x="2265" y="1983"/>
                  </a:lnTo>
                  <a:lnTo>
                    <a:pt x="2266" y="1980"/>
                  </a:lnTo>
                  <a:lnTo>
                    <a:pt x="2267" y="1972"/>
                  </a:lnTo>
                  <a:lnTo>
                    <a:pt x="2268" y="1968"/>
                  </a:lnTo>
                  <a:lnTo>
                    <a:pt x="2267" y="1963"/>
                  </a:lnTo>
                  <a:lnTo>
                    <a:pt x="2267" y="1957"/>
                  </a:lnTo>
                  <a:lnTo>
                    <a:pt x="2265" y="1953"/>
                  </a:lnTo>
                  <a:lnTo>
                    <a:pt x="2275" y="1947"/>
                  </a:lnTo>
                  <a:lnTo>
                    <a:pt x="2293" y="1935"/>
                  </a:lnTo>
                  <a:lnTo>
                    <a:pt x="2303" y="1927"/>
                  </a:lnTo>
                  <a:lnTo>
                    <a:pt x="2313" y="1921"/>
                  </a:lnTo>
                  <a:lnTo>
                    <a:pt x="2319" y="1919"/>
                  </a:lnTo>
                  <a:lnTo>
                    <a:pt x="2323" y="1917"/>
                  </a:lnTo>
                  <a:lnTo>
                    <a:pt x="2327" y="1916"/>
                  </a:lnTo>
                  <a:lnTo>
                    <a:pt x="2331" y="1915"/>
                  </a:lnTo>
                  <a:lnTo>
                    <a:pt x="2341" y="1915"/>
                  </a:lnTo>
                  <a:lnTo>
                    <a:pt x="2349" y="1913"/>
                  </a:lnTo>
                  <a:lnTo>
                    <a:pt x="2357" y="1910"/>
                  </a:lnTo>
                  <a:lnTo>
                    <a:pt x="2364" y="1906"/>
                  </a:lnTo>
                  <a:lnTo>
                    <a:pt x="2370" y="1901"/>
                  </a:lnTo>
                  <a:lnTo>
                    <a:pt x="2376" y="1895"/>
                  </a:lnTo>
                  <a:lnTo>
                    <a:pt x="2382" y="1889"/>
                  </a:lnTo>
                  <a:lnTo>
                    <a:pt x="2388" y="1882"/>
                  </a:lnTo>
                  <a:lnTo>
                    <a:pt x="2399" y="1867"/>
                  </a:lnTo>
                  <a:lnTo>
                    <a:pt x="2412" y="1853"/>
                  </a:lnTo>
                  <a:lnTo>
                    <a:pt x="2418" y="1847"/>
                  </a:lnTo>
                  <a:lnTo>
                    <a:pt x="2426" y="1840"/>
                  </a:lnTo>
                  <a:lnTo>
                    <a:pt x="2435" y="1835"/>
                  </a:lnTo>
                  <a:lnTo>
                    <a:pt x="2444" y="1830"/>
                  </a:lnTo>
                  <a:lnTo>
                    <a:pt x="2449" y="1838"/>
                  </a:lnTo>
                  <a:lnTo>
                    <a:pt x="2454" y="1846"/>
                  </a:lnTo>
                  <a:lnTo>
                    <a:pt x="2455" y="1850"/>
                  </a:lnTo>
                  <a:lnTo>
                    <a:pt x="2456" y="1854"/>
                  </a:lnTo>
                  <a:lnTo>
                    <a:pt x="2457" y="1860"/>
                  </a:lnTo>
                  <a:lnTo>
                    <a:pt x="2457" y="1866"/>
                  </a:lnTo>
                  <a:lnTo>
                    <a:pt x="2462" y="1860"/>
                  </a:lnTo>
                  <a:lnTo>
                    <a:pt x="2468" y="1857"/>
                  </a:lnTo>
                  <a:lnTo>
                    <a:pt x="2474" y="1855"/>
                  </a:lnTo>
                  <a:lnTo>
                    <a:pt x="2481" y="1855"/>
                  </a:lnTo>
                  <a:lnTo>
                    <a:pt x="2487" y="1856"/>
                  </a:lnTo>
                  <a:lnTo>
                    <a:pt x="2493" y="1858"/>
                  </a:lnTo>
                  <a:lnTo>
                    <a:pt x="2499" y="1862"/>
                  </a:lnTo>
                  <a:lnTo>
                    <a:pt x="2504" y="1866"/>
                  </a:lnTo>
                  <a:lnTo>
                    <a:pt x="2505" y="1856"/>
                  </a:lnTo>
                  <a:lnTo>
                    <a:pt x="2507" y="1847"/>
                  </a:lnTo>
                  <a:lnTo>
                    <a:pt x="2511" y="1841"/>
                  </a:lnTo>
                  <a:lnTo>
                    <a:pt x="2514" y="1836"/>
                  </a:lnTo>
                  <a:lnTo>
                    <a:pt x="2517" y="1832"/>
                  </a:lnTo>
                  <a:lnTo>
                    <a:pt x="2522" y="1829"/>
                  </a:lnTo>
                  <a:lnTo>
                    <a:pt x="2527" y="1828"/>
                  </a:lnTo>
                  <a:lnTo>
                    <a:pt x="2533" y="1827"/>
                  </a:lnTo>
                  <a:lnTo>
                    <a:pt x="2546" y="1826"/>
                  </a:lnTo>
                  <a:lnTo>
                    <a:pt x="2561" y="1827"/>
                  </a:lnTo>
                  <a:lnTo>
                    <a:pt x="2569" y="1827"/>
                  </a:lnTo>
                  <a:lnTo>
                    <a:pt x="2578" y="1826"/>
                  </a:lnTo>
                  <a:lnTo>
                    <a:pt x="2588" y="1825"/>
                  </a:lnTo>
                  <a:lnTo>
                    <a:pt x="2596" y="1824"/>
                  </a:lnTo>
                  <a:lnTo>
                    <a:pt x="2604" y="1821"/>
                  </a:lnTo>
                  <a:lnTo>
                    <a:pt x="2611" y="1816"/>
                  </a:lnTo>
                  <a:lnTo>
                    <a:pt x="2616" y="1810"/>
                  </a:lnTo>
                  <a:lnTo>
                    <a:pt x="2622" y="1804"/>
                  </a:lnTo>
                  <a:lnTo>
                    <a:pt x="2633" y="1790"/>
                  </a:lnTo>
                  <a:lnTo>
                    <a:pt x="2642" y="1774"/>
                  </a:lnTo>
                  <a:lnTo>
                    <a:pt x="2648" y="1766"/>
                  </a:lnTo>
                  <a:lnTo>
                    <a:pt x="2653" y="1758"/>
                  </a:lnTo>
                  <a:lnTo>
                    <a:pt x="2660" y="1750"/>
                  </a:lnTo>
                  <a:lnTo>
                    <a:pt x="2667" y="1743"/>
                  </a:lnTo>
                  <a:lnTo>
                    <a:pt x="2674" y="1737"/>
                  </a:lnTo>
                  <a:lnTo>
                    <a:pt x="2683" y="1732"/>
                  </a:lnTo>
                  <a:lnTo>
                    <a:pt x="2693" y="1728"/>
                  </a:lnTo>
                  <a:lnTo>
                    <a:pt x="2703" y="1725"/>
                  </a:lnTo>
                  <a:lnTo>
                    <a:pt x="2704" y="1716"/>
                  </a:lnTo>
                  <a:lnTo>
                    <a:pt x="2706" y="1707"/>
                  </a:lnTo>
                  <a:lnTo>
                    <a:pt x="2711" y="1699"/>
                  </a:lnTo>
                  <a:lnTo>
                    <a:pt x="2715" y="1691"/>
                  </a:lnTo>
                  <a:lnTo>
                    <a:pt x="2726" y="1677"/>
                  </a:lnTo>
                  <a:lnTo>
                    <a:pt x="2737" y="1663"/>
                  </a:lnTo>
                  <a:lnTo>
                    <a:pt x="2733" y="1658"/>
                  </a:lnTo>
                  <a:lnTo>
                    <a:pt x="2730" y="1651"/>
                  </a:lnTo>
                  <a:lnTo>
                    <a:pt x="2729" y="1645"/>
                  </a:lnTo>
                  <a:lnTo>
                    <a:pt x="2729" y="1638"/>
                  </a:lnTo>
                  <a:lnTo>
                    <a:pt x="2728" y="1631"/>
                  </a:lnTo>
                  <a:lnTo>
                    <a:pt x="2726" y="1625"/>
                  </a:lnTo>
                  <a:lnTo>
                    <a:pt x="2725" y="1622"/>
                  </a:lnTo>
                  <a:lnTo>
                    <a:pt x="2723" y="1619"/>
                  </a:lnTo>
                  <a:lnTo>
                    <a:pt x="2719" y="1616"/>
                  </a:lnTo>
                  <a:lnTo>
                    <a:pt x="2716" y="1614"/>
                  </a:lnTo>
                  <a:lnTo>
                    <a:pt x="2728" y="1602"/>
                  </a:lnTo>
                  <a:lnTo>
                    <a:pt x="2739" y="1588"/>
                  </a:lnTo>
                  <a:lnTo>
                    <a:pt x="2750" y="1573"/>
                  </a:lnTo>
                  <a:lnTo>
                    <a:pt x="2760" y="1558"/>
                  </a:lnTo>
                  <a:lnTo>
                    <a:pt x="2780" y="1521"/>
                  </a:lnTo>
                  <a:lnTo>
                    <a:pt x="2803" y="1478"/>
                  </a:lnTo>
                  <a:lnTo>
                    <a:pt x="2798" y="1475"/>
                  </a:lnTo>
                  <a:lnTo>
                    <a:pt x="2796" y="1471"/>
                  </a:lnTo>
                  <a:lnTo>
                    <a:pt x="2795" y="1467"/>
                  </a:lnTo>
                  <a:lnTo>
                    <a:pt x="2794" y="1462"/>
                  </a:lnTo>
                  <a:lnTo>
                    <a:pt x="2795" y="1451"/>
                  </a:lnTo>
                  <a:lnTo>
                    <a:pt x="2796" y="1441"/>
                  </a:lnTo>
                  <a:lnTo>
                    <a:pt x="2790" y="1428"/>
                  </a:lnTo>
                  <a:lnTo>
                    <a:pt x="2790" y="1426"/>
                  </a:lnTo>
                  <a:lnTo>
                    <a:pt x="2792" y="1423"/>
                  </a:lnTo>
                  <a:lnTo>
                    <a:pt x="2794" y="1420"/>
                  </a:lnTo>
                  <a:lnTo>
                    <a:pt x="2797" y="1417"/>
                  </a:lnTo>
                  <a:lnTo>
                    <a:pt x="2801" y="1414"/>
                  </a:lnTo>
                  <a:lnTo>
                    <a:pt x="2804" y="1412"/>
                  </a:lnTo>
                  <a:lnTo>
                    <a:pt x="2807" y="1411"/>
                  </a:lnTo>
                  <a:lnTo>
                    <a:pt x="2809" y="1410"/>
                  </a:lnTo>
                  <a:lnTo>
                    <a:pt x="2809" y="1386"/>
                  </a:lnTo>
                  <a:lnTo>
                    <a:pt x="2801" y="1389"/>
                  </a:lnTo>
                  <a:lnTo>
                    <a:pt x="2793" y="1391"/>
                  </a:lnTo>
                  <a:lnTo>
                    <a:pt x="2785" y="1393"/>
                  </a:lnTo>
                  <a:lnTo>
                    <a:pt x="2778" y="1394"/>
                  </a:lnTo>
                  <a:lnTo>
                    <a:pt x="2763" y="1395"/>
                  </a:lnTo>
                  <a:lnTo>
                    <a:pt x="2750" y="1394"/>
                  </a:lnTo>
                  <a:lnTo>
                    <a:pt x="2738" y="1392"/>
                  </a:lnTo>
                  <a:lnTo>
                    <a:pt x="2725" y="1389"/>
                  </a:lnTo>
                  <a:lnTo>
                    <a:pt x="2711" y="1384"/>
                  </a:lnTo>
                  <a:lnTo>
                    <a:pt x="2696" y="1380"/>
                  </a:lnTo>
                  <a:lnTo>
                    <a:pt x="2705" y="1375"/>
                  </a:lnTo>
                  <a:lnTo>
                    <a:pt x="2713" y="1369"/>
                  </a:lnTo>
                  <a:lnTo>
                    <a:pt x="2719" y="1363"/>
                  </a:lnTo>
                  <a:lnTo>
                    <a:pt x="2726" y="1356"/>
                  </a:lnTo>
                  <a:lnTo>
                    <a:pt x="2737" y="1342"/>
                  </a:lnTo>
                  <a:lnTo>
                    <a:pt x="2750" y="1324"/>
                  </a:lnTo>
                  <a:lnTo>
                    <a:pt x="2730" y="1316"/>
                  </a:lnTo>
                  <a:lnTo>
                    <a:pt x="2712" y="1310"/>
                  </a:lnTo>
                  <a:lnTo>
                    <a:pt x="2695" y="1305"/>
                  </a:lnTo>
                  <a:lnTo>
                    <a:pt x="2679" y="1300"/>
                  </a:lnTo>
                  <a:lnTo>
                    <a:pt x="2662" y="1294"/>
                  </a:lnTo>
                  <a:lnTo>
                    <a:pt x="2647" y="1287"/>
                  </a:lnTo>
                  <a:lnTo>
                    <a:pt x="2639" y="1282"/>
                  </a:lnTo>
                  <a:lnTo>
                    <a:pt x="2632" y="1277"/>
                  </a:lnTo>
                  <a:lnTo>
                    <a:pt x="2624" y="1270"/>
                  </a:lnTo>
                  <a:lnTo>
                    <a:pt x="2617" y="1262"/>
                  </a:lnTo>
                  <a:lnTo>
                    <a:pt x="2626" y="1268"/>
                  </a:lnTo>
                  <a:lnTo>
                    <a:pt x="2640" y="1273"/>
                  </a:lnTo>
                  <a:lnTo>
                    <a:pt x="2657" y="1278"/>
                  </a:lnTo>
                  <a:lnTo>
                    <a:pt x="2675" y="1283"/>
                  </a:lnTo>
                  <a:lnTo>
                    <a:pt x="2715" y="1293"/>
                  </a:lnTo>
                  <a:lnTo>
                    <a:pt x="2750" y="1299"/>
                  </a:lnTo>
                  <a:lnTo>
                    <a:pt x="2749" y="1293"/>
                  </a:lnTo>
                  <a:lnTo>
                    <a:pt x="2746" y="1288"/>
                  </a:lnTo>
                  <a:lnTo>
                    <a:pt x="2742" y="1283"/>
                  </a:lnTo>
                  <a:lnTo>
                    <a:pt x="2737" y="1279"/>
                  </a:lnTo>
                  <a:lnTo>
                    <a:pt x="2725" y="1272"/>
                  </a:lnTo>
                  <a:lnTo>
                    <a:pt x="2709" y="1266"/>
                  </a:lnTo>
                  <a:lnTo>
                    <a:pt x="2695" y="1259"/>
                  </a:lnTo>
                  <a:lnTo>
                    <a:pt x="2682" y="1252"/>
                  </a:lnTo>
                  <a:lnTo>
                    <a:pt x="2678" y="1248"/>
                  </a:lnTo>
                  <a:lnTo>
                    <a:pt x="2673" y="1244"/>
                  </a:lnTo>
                  <a:lnTo>
                    <a:pt x="2671" y="1238"/>
                  </a:lnTo>
                  <a:lnTo>
                    <a:pt x="2670" y="1232"/>
                  </a:lnTo>
                  <a:lnTo>
                    <a:pt x="2669" y="1227"/>
                  </a:lnTo>
                  <a:lnTo>
                    <a:pt x="2668" y="1224"/>
                  </a:lnTo>
                  <a:lnTo>
                    <a:pt x="2666" y="1220"/>
                  </a:lnTo>
                  <a:lnTo>
                    <a:pt x="2662" y="1217"/>
                  </a:lnTo>
                  <a:lnTo>
                    <a:pt x="2656" y="1212"/>
                  </a:lnTo>
                  <a:lnTo>
                    <a:pt x="2650" y="1208"/>
                  </a:lnTo>
                  <a:lnTo>
                    <a:pt x="2626" y="1186"/>
                  </a:lnTo>
                  <a:lnTo>
                    <a:pt x="2581" y="1145"/>
                  </a:lnTo>
                  <a:lnTo>
                    <a:pt x="2557" y="1124"/>
                  </a:lnTo>
                  <a:lnTo>
                    <a:pt x="2537" y="1105"/>
                  </a:lnTo>
                  <a:lnTo>
                    <a:pt x="2523" y="1090"/>
                  </a:lnTo>
                  <a:lnTo>
                    <a:pt x="2517" y="1084"/>
                  </a:lnTo>
                  <a:lnTo>
                    <a:pt x="2517" y="1078"/>
                  </a:lnTo>
                  <a:lnTo>
                    <a:pt x="2520" y="1074"/>
                  </a:lnTo>
                  <a:lnTo>
                    <a:pt x="2522" y="1070"/>
                  </a:lnTo>
                  <a:lnTo>
                    <a:pt x="2525" y="1068"/>
                  </a:lnTo>
                  <a:lnTo>
                    <a:pt x="2528" y="1065"/>
                  </a:lnTo>
                  <a:lnTo>
                    <a:pt x="2532" y="1061"/>
                  </a:lnTo>
                  <a:lnTo>
                    <a:pt x="2534" y="1055"/>
                  </a:lnTo>
                  <a:lnTo>
                    <a:pt x="2537" y="1047"/>
                  </a:lnTo>
                  <a:lnTo>
                    <a:pt x="2535" y="1046"/>
                  </a:lnTo>
                  <a:lnTo>
                    <a:pt x="2530" y="1043"/>
                  </a:lnTo>
                  <a:lnTo>
                    <a:pt x="2528" y="1042"/>
                  </a:lnTo>
                  <a:lnTo>
                    <a:pt x="2526" y="1039"/>
                  </a:lnTo>
                  <a:lnTo>
                    <a:pt x="2524" y="1036"/>
                  </a:lnTo>
                  <a:lnTo>
                    <a:pt x="2524" y="1034"/>
                  </a:lnTo>
                  <a:lnTo>
                    <a:pt x="2557" y="1034"/>
                  </a:lnTo>
                  <a:lnTo>
                    <a:pt x="2558" y="1028"/>
                  </a:lnTo>
                  <a:lnTo>
                    <a:pt x="2559" y="1022"/>
                  </a:lnTo>
                  <a:lnTo>
                    <a:pt x="2561" y="1016"/>
                  </a:lnTo>
                  <a:lnTo>
                    <a:pt x="2565" y="1011"/>
                  </a:lnTo>
                  <a:lnTo>
                    <a:pt x="2569" y="1006"/>
                  </a:lnTo>
                  <a:lnTo>
                    <a:pt x="2573" y="1002"/>
                  </a:lnTo>
                  <a:lnTo>
                    <a:pt x="2578" y="997"/>
                  </a:lnTo>
                  <a:lnTo>
                    <a:pt x="2583" y="993"/>
                  </a:lnTo>
                  <a:lnTo>
                    <a:pt x="2607" y="977"/>
                  </a:lnTo>
                  <a:lnTo>
                    <a:pt x="2630" y="960"/>
                  </a:lnTo>
                  <a:lnTo>
                    <a:pt x="2617" y="958"/>
                  </a:lnTo>
                  <a:lnTo>
                    <a:pt x="2603" y="954"/>
                  </a:lnTo>
                  <a:lnTo>
                    <a:pt x="2590" y="949"/>
                  </a:lnTo>
                  <a:lnTo>
                    <a:pt x="2577" y="944"/>
                  </a:lnTo>
                  <a:lnTo>
                    <a:pt x="2563" y="938"/>
                  </a:lnTo>
                  <a:lnTo>
                    <a:pt x="2552" y="932"/>
                  </a:lnTo>
                  <a:lnTo>
                    <a:pt x="2544" y="924"/>
                  </a:lnTo>
                  <a:lnTo>
                    <a:pt x="2537" y="917"/>
                  </a:lnTo>
                  <a:lnTo>
                    <a:pt x="2498" y="917"/>
                  </a:lnTo>
                  <a:lnTo>
                    <a:pt x="2498" y="926"/>
                  </a:lnTo>
                  <a:lnTo>
                    <a:pt x="2498" y="938"/>
                  </a:lnTo>
                  <a:lnTo>
                    <a:pt x="2498" y="950"/>
                  </a:lnTo>
                  <a:lnTo>
                    <a:pt x="2498" y="967"/>
                  </a:lnTo>
                  <a:lnTo>
                    <a:pt x="2457" y="967"/>
                  </a:lnTo>
                  <a:lnTo>
                    <a:pt x="2453" y="962"/>
                  </a:lnTo>
                  <a:lnTo>
                    <a:pt x="2449" y="956"/>
                  </a:lnTo>
                  <a:lnTo>
                    <a:pt x="2447" y="949"/>
                  </a:lnTo>
                  <a:lnTo>
                    <a:pt x="2444" y="942"/>
                  </a:lnTo>
                  <a:lnTo>
                    <a:pt x="2442" y="936"/>
                  </a:lnTo>
                  <a:lnTo>
                    <a:pt x="2438" y="928"/>
                  </a:lnTo>
                  <a:lnTo>
                    <a:pt x="2435" y="922"/>
                  </a:lnTo>
                  <a:lnTo>
                    <a:pt x="2431" y="917"/>
                  </a:lnTo>
                  <a:lnTo>
                    <a:pt x="2426" y="914"/>
                  </a:lnTo>
                  <a:lnTo>
                    <a:pt x="2421" y="911"/>
                  </a:lnTo>
                  <a:lnTo>
                    <a:pt x="2413" y="909"/>
                  </a:lnTo>
                  <a:lnTo>
                    <a:pt x="2404" y="907"/>
                  </a:lnTo>
                  <a:lnTo>
                    <a:pt x="2387" y="903"/>
                  </a:lnTo>
                  <a:lnTo>
                    <a:pt x="2367" y="899"/>
                  </a:lnTo>
                  <a:lnTo>
                    <a:pt x="2357" y="897"/>
                  </a:lnTo>
                  <a:lnTo>
                    <a:pt x="2348" y="894"/>
                  </a:lnTo>
                  <a:lnTo>
                    <a:pt x="2339" y="890"/>
                  </a:lnTo>
                  <a:lnTo>
                    <a:pt x="2333" y="887"/>
                  </a:lnTo>
                  <a:lnTo>
                    <a:pt x="2326" y="882"/>
                  </a:lnTo>
                  <a:lnTo>
                    <a:pt x="2322" y="876"/>
                  </a:lnTo>
                  <a:lnTo>
                    <a:pt x="2320" y="872"/>
                  </a:lnTo>
                  <a:lnTo>
                    <a:pt x="2319" y="869"/>
                  </a:lnTo>
                  <a:lnTo>
                    <a:pt x="2319" y="866"/>
                  </a:lnTo>
                  <a:lnTo>
                    <a:pt x="2317" y="862"/>
                  </a:lnTo>
                  <a:lnTo>
                    <a:pt x="2319" y="858"/>
                  </a:lnTo>
                  <a:lnTo>
                    <a:pt x="2319" y="855"/>
                  </a:lnTo>
                  <a:lnTo>
                    <a:pt x="2321" y="853"/>
                  </a:lnTo>
                  <a:lnTo>
                    <a:pt x="2322" y="850"/>
                  </a:lnTo>
                  <a:lnTo>
                    <a:pt x="2327" y="846"/>
                  </a:lnTo>
                  <a:lnTo>
                    <a:pt x="2334" y="843"/>
                  </a:lnTo>
                  <a:lnTo>
                    <a:pt x="2341" y="840"/>
                  </a:lnTo>
                  <a:lnTo>
                    <a:pt x="2348" y="839"/>
                  </a:lnTo>
                  <a:lnTo>
                    <a:pt x="2357" y="838"/>
                  </a:lnTo>
                  <a:lnTo>
                    <a:pt x="2365" y="837"/>
                  </a:lnTo>
                  <a:lnTo>
                    <a:pt x="2368" y="836"/>
                  </a:lnTo>
                  <a:lnTo>
                    <a:pt x="2372" y="833"/>
                  </a:lnTo>
                  <a:lnTo>
                    <a:pt x="2378" y="828"/>
                  </a:lnTo>
                  <a:lnTo>
                    <a:pt x="2383" y="822"/>
                  </a:lnTo>
                  <a:lnTo>
                    <a:pt x="2393" y="811"/>
                  </a:lnTo>
                  <a:lnTo>
                    <a:pt x="2398" y="806"/>
                  </a:lnTo>
                  <a:lnTo>
                    <a:pt x="2410" y="798"/>
                  </a:lnTo>
                  <a:lnTo>
                    <a:pt x="2423" y="789"/>
                  </a:lnTo>
                  <a:lnTo>
                    <a:pt x="2428" y="783"/>
                  </a:lnTo>
                  <a:lnTo>
                    <a:pt x="2433" y="776"/>
                  </a:lnTo>
                  <a:lnTo>
                    <a:pt x="2435" y="773"/>
                  </a:lnTo>
                  <a:lnTo>
                    <a:pt x="2436" y="768"/>
                  </a:lnTo>
                  <a:lnTo>
                    <a:pt x="2437" y="763"/>
                  </a:lnTo>
                  <a:lnTo>
                    <a:pt x="2437" y="757"/>
                  </a:lnTo>
                  <a:lnTo>
                    <a:pt x="2438" y="758"/>
                  </a:lnTo>
                  <a:lnTo>
                    <a:pt x="2439" y="758"/>
                  </a:lnTo>
                  <a:lnTo>
                    <a:pt x="2442" y="757"/>
                  </a:lnTo>
                  <a:lnTo>
                    <a:pt x="2443" y="756"/>
                  </a:lnTo>
                  <a:lnTo>
                    <a:pt x="2445" y="752"/>
                  </a:lnTo>
                  <a:lnTo>
                    <a:pt x="2448" y="747"/>
                  </a:lnTo>
                  <a:lnTo>
                    <a:pt x="2451" y="742"/>
                  </a:lnTo>
                  <a:lnTo>
                    <a:pt x="2455" y="737"/>
                  </a:lnTo>
                  <a:lnTo>
                    <a:pt x="2457" y="735"/>
                  </a:lnTo>
                  <a:lnTo>
                    <a:pt x="2459" y="734"/>
                  </a:lnTo>
                  <a:lnTo>
                    <a:pt x="2461" y="733"/>
                  </a:lnTo>
                  <a:lnTo>
                    <a:pt x="2464" y="733"/>
                  </a:lnTo>
                  <a:lnTo>
                    <a:pt x="2471" y="733"/>
                  </a:lnTo>
                  <a:lnTo>
                    <a:pt x="2478" y="735"/>
                  </a:lnTo>
                  <a:lnTo>
                    <a:pt x="2484" y="737"/>
                  </a:lnTo>
                  <a:lnTo>
                    <a:pt x="2491" y="741"/>
                  </a:lnTo>
                  <a:lnTo>
                    <a:pt x="2503" y="751"/>
                  </a:lnTo>
                  <a:lnTo>
                    <a:pt x="2517" y="764"/>
                  </a:lnTo>
                  <a:lnTo>
                    <a:pt x="2511" y="769"/>
                  </a:lnTo>
                  <a:lnTo>
                    <a:pt x="2504" y="775"/>
                  </a:lnTo>
                  <a:lnTo>
                    <a:pt x="2496" y="780"/>
                  </a:lnTo>
                  <a:lnTo>
                    <a:pt x="2491" y="782"/>
                  </a:lnTo>
                  <a:lnTo>
                    <a:pt x="2493" y="789"/>
                  </a:lnTo>
                  <a:lnTo>
                    <a:pt x="2496" y="795"/>
                  </a:lnTo>
                  <a:lnTo>
                    <a:pt x="2501" y="800"/>
                  </a:lnTo>
                  <a:lnTo>
                    <a:pt x="2504" y="805"/>
                  </a:lnTo>
                  <a:lnTo>
                    <a:pt x="2510" y="809"/>
                  </a:lnTo>
                  <a:lnTo>
                    <a:pt x="2514" y="813"/>
                  </a:lnTo>
                  <a:lnTo>
                    <a:pt x="2518" y="816"/>
                  </a:lnTo>
                  <a:lnTo>
                    <a:pt x="2524" y="819"/>
                  </a:lnTo>
                  <a:lnTo>
                    <a:pt x="2524" y="837"/>
                  </a:lnTo>
                  <a:lnTo>
                    <a:pt x="2523" y="840"/>
                  </a:lnTo>
                  <a:lnTo>
                    <a:pt x="2523" y="842"/>
                  </a:lnTo>
                  <a:lnTo>
                    <a:pt x="2525" y="844"/>
                  </a:lnTo>
                  <a:lnTo>
                    <a:pt x="2527" y="847"/>
                  </a:lnTo>
                  <a:lnTo>
                    <a:pt x="2529" y="849"/>
                  </a:lnTo>
                  <a:lnTo>
                    <a:pt x="2532" y="851"/>
                  </a:lnTo>
                  <a:lnTo>
                    <a:pt x="2532" y="853"/>
                  </a:lnTo>
                  <a:lnTo>
                    <a:pt x="2530" y="856"/>
                  </a:lnTo>
                  <a:lnTo>
                    <a:pt x="2561" y="830"/>
                  </a:lnTo>
                  <a:lnTo>
                    <a:pt x="2585" y="810"/>
                  </a:lnTo>
                  <a:lnTo>
                    <a:pt x="2596" y="803"/>
                  </a:lnTo>
                  <a:lnTo>
                    <a:pt x="2605" y="797"/>
                  </a:lnTo>
                  <a:lnTo>
                    <a:pt x="2613" y="793"/>
                  </a:lnTo>
                  <a:lnTo>
                    <a:pt x="2621" y="790"/>
                  </a:lnTo>
                  <a:lnTo>
                    <a:pt x="2627" y="787"/>
                  </a:lnTo>
                  <a:lnTo>
                    <a:pt x="2633" y="786"/>
                  </a:lnTo>
                  <a:lnTo>
                    <a:pt x="2638" y="785"/>
                  </a:lnTo>
                  <a:lnTo>
                    <a:pt x="2645" y="785"/>
                  </a:lnTo>
                  <a:lnTo>
                    <a:pt x="2657" y="786"/>
                  </a:lnTo>
                  <a:lnTo>
                    <a:pt x="2670" y="788"/>
                  </a:lnTo>
                  <a:lnTo>
                    <a:pt x="2674" y="781"/>
                  </a:lnTo>
                  <a:lnTo>
                    <a:pt x="2679" y="774"/>
                  </a:lnTo>
                  <a:lnTo>
                    <a:pt x="2683" y="768"/>
                  </a:lnTo>
                  <a:lnTo>
                    <a:pt x="2689" y="763"/>
                  </a:lnTo>
                  <a:lnTo>
                    <a:pt x="2701" y="753"/>
                  </a:lnTo>
                  <a:lnTo>
                    <a:pt x="2713" y="745"/>
                  </a:lnTo>
                  <a:lnTo>
                    <a:pt x="2724" y="738"/>
                  </a:lnTo>
                  <a:lnTo>
                    <a:pt x="2735" y="730"/>
                  </a:lnTo>
                  <a:lnTo>
                    <a:pt x="2739" y="726"/>
                  </a:lnTo>
                  <a:lnTo>
                    <a:pt x="2743" y="721"/>
                  </a:lnTo>
                  <a:lnTo>
                    <a:pt x="2747" y="715"/>
                  </a:lnTo>
                  <a:lnTo>
                    <a:pt x="2750" y="708"/>
                  </a:lnTo>
                  <a:lnTo>
                    <a:pt x="2758" y="708"/>
                  </a:lnTo>
                  <a:lnTo>
                    <a:pt x="2765" y="706"/>
                  </a:lnTo>
                  <a:lnTo>
                    <a:pt x="2773" y="705"/>
                  </a:lnTo>
                  <a:lnTo>
                    <a:pt x="2780" y="704"/>
                  </a:lnTo>
                  <a:lnTo>
                    <a:pt x="2792" y="700"/>
                  </a:lnTo>
                  <a:lnTo>
                    <a:pt x="2803" y="694"/>
                  </a:lnTo>
                  <a:lnTo>
                    <a:pt x="2812" y="688"/>
                  </a:lnTo>
                  <a:lnTo>
                    <a:pt x="2820" y="681"/>
                  </a:lnTo>
                  <a:lnTo>
                    <a:pt x="2828" y="673"/>
                  </a:lnTo>
                  <a:lnTo>
                    <a:pt x="2836" y="665"/>
                  </a:lnTo>
                  <a:lnTo>
                    <a:pt x="2842" y="657"/>
                  </a:lnTo>
                  <a:lnTo>
                    <a:pt x="2850" y="649"/>
                  </a:lnTo>
                  <a:lnTo>
                    <a:pt x="2858" y="641"/>
                  </a:lnTo>
                  <a:lnTo>
                    <a:pt x="2866" y="635"/>
                  </a:lnTo>
                  <a:lnTo>
                    <a:pt x="2876" y="630"/>
                  </a:lnTo>
                  <a:lnTo>
                    <a:pt x="2887" y="625"/>
                  </a:lnTo>
                  <a:lnTo>
                    <a:pt x="2901" y="623"/>
                  </a:lnTo>
                  <a:lnTo>
                    <a:pt x="2916" y="622"/>
                  </a:lnTo>
                  <a:lnTo>
                    <a:pt x="2915" y="611"/>
                  </a:lnTo>
                  <a:lnTo>
                    <a:pt x="2914" y="602"/>
                  </a:lnTo>
                  <a:lnTo>
                    <a:pt x="2910" y="593"/>
                  </a:lnTo>
                  <a:lnTo>
                    <a:pt x="2906" y="586"/>
                  </a:lnTo>
                  <a:lnTo>
                    <a:pt x="2902" y="580"/>
                  </a:lnTo>
                  <a:lnTo>
                    <a:pt x="2897" y="574"/>
                  </a:lnTo>
                  <a:lnTo>
                    <a:pt x="2892" y="569"/>
                  </a:lnTo>
                  <a:lnTo>
                    <a:pt x="2886" y="564"/>
                  </a:lnTo>
                  <a:lnTo>
                    <a:pt x="2875" y="554"/>
                  </a:lnTo>
                  <a:lnTo>
                    <a:pt x="2865" y="543"/>
                  </a:lnTo>
                  <a:lnTo>
                    <a:pt x="2861" y="536"/>
                  </a:lnTo>
                  <a:lnTo>
                    <a:pt x="2859" y="529"/>
                  </a:lnTo>
                  <a:lnTo>
                    <a:pt x="2857" y="520"/>
                  </a:lnTo>
                  <a:lnTo>
                    <a:pt x="2855" y="511"/>
                  </a:lnTo>
                  <a:lnTo>
                    <a:pt x="2857" y="505"/>
                  </a:lnTo>
                  <a:lnTo>
                    <a:pt x="2860" y="499"/>
                  </a:lnTo>
                  <a:lnTo>
                    <a:pt x="2862" y="497"/>
                  </a:lnTo>
                  <a:lnTo>
                    <a:pt x="2864" y="495"/>
                  </a:lnTo>
                  <a:lnTo>
                    <a:pt x="2866" y="493"/>
                  </a:lnTo>
                  <a:lnTo>
                    <a:pt x="2870" y="493"/>
                  </a:lnTo>
                  <a:lnTo>
                    <a:pt x="2885" y="493"/>
                  </a:lnTo>
                  <a:lnTo>
                    <a:pt x="2903" y="495"/>
                  </a:lnTo>
                  <a:lnTo>
                    <a:pt x="2911" y="495"/>
                  </a:lnTo>
                  <a:lnTo>
                    <a:pt x="2919" y="495"/>
                  </a:lnTo>
                  <a:lnTo>
                    <a:pt x="2928" y="494"/>
                  </a:lnTo>
                  <a:lnTo>
                    <a:pt x="2936" y="493"/>
                  </a:lnTo>
                  <a:lnTo>
                    <a:pt x="2936" y="412"/>
                  </a:lnTo>
                  <a:lnTo>
                    <a:pt x="2930" y="407"/>
                  </a:lnTo>
                  <a:lnTo>
                    <a:pt x="2926" y="402"/>
                  </a:lnTo>
                  <a:lnTo>
                    <a:pt x="2921" y="396"/>
                  </a:lnTo>
                  <a:lnTo>
                    <a:pt x="2917" y="389"/>
                  </a:lnTo>
                  <a:lnTo>
                    <a:pt x="2914" y="382"/>
                  </a:lnTo>
                  <a:lnTo>
                    <a:pt x="2911" y="375"/>
                  </a:lnTo>
                  <a:lnTo>
                    <a:pt x="2909" y="365"/>
                  </a:lnTo>
                  <a:lnTo>
                    <a:pt x="2909" y="357"/>
                  </a:lnTo>
                  <a:lnTo>
                    <a:pt x="2909" y="348"/>
                  </a:lnTo>
                  <a:lnTo>
                    <a:pt x="2909" y="341"/>
                  </a:lnTo>
                  <a:lnTo>
                    <a:pt x="2909" y="332"/>
                  </a:lnTo>
                  <a:lnTo>
                    <a:pt x="2909" y="320"/>
                  </a:lnTo>
                  <a:lnTo>
                    <a:pt x="2904" y="316"/>
                  </a:lnTo>
                  <a:lnTo>
                    <a:pt x="2897" y="310"/>
                  </a:lnTo>
                  <a:lnTo>
                    <a:pt x="2893" y="307"/>
                  </a:lnTo>
                  <a:lnTo>
                    <a:pt x="2888" y="304"/>
                  </a:lnTo>
                  <a:lnTo>
                    <a:pt x="2883" y="302"/>
                  </a:lnTo>
                  <a:lnTo>
                    <a:pt x="2876" y="301"/>
                  </a:lnTo>
                  <a:lnTo>
                    <a:pt x="2866" y="302"/>
                  </a:lnTo>
                  <a:lnTo>
                    <a:pt x="2858" y="303"/>
                  </a:lnTo>
                  <a:lnTo>
                    <a:pt x="2849" y="305"/>
                  </a:lnTo>
                  <a:lnTo>
                    <a:pt x="2841" y="308"/>
                  </a:lnTo>
                  <a:lnTo>
                    <a:pt x="2827" y="314"/>
                  </a:lnTo>
                  <a:lnTo>
                    <a:pt x="2813" y="323"/>
                  </a:lnTo>
                  <a:lnTo>
                    <a:pt x="2798" y="331"/>
                  </a:lnTo>
                  <a:lnTo>
                    <a:pt x="2784" y="338"/>
                  </a:lnTo>
                  <a:lnTo>
                    <a:pt x="2776" y="341"/>
                  </a:lnTo>
                  <a:lnTo>
                    <a:pt x="2768" y="343"/>
                  </a:lnTo>
                  <a:lnTo>
                    <a:pt x="2759" y="344"/>
                  </a:lnTo>
                  <a:lnTo>
                    <a:pt x="2750" y="344"/>
                  </a:lnTo>
                  <a:lnTo>
                    <a:pt x="2735" y="343"/>
                  </a:lnTo>
                  <a:lnTo>
                    <a:pt x="2722" y="341"/>
                  </a:lnTo>
                  <a:lnTo>
                    <a:pt x="2708" y="336"/>
                  </a:lnTo>
                  <a:lnTo>
                    <a:pt x="2696" y="331"/>
                  </a:lnTo>
                  <a:lnTo>
                    <a:pt x="2684" y="324"/>
                  </a:lnTo>
                  <a:lnTo>
                    <a:pt x="2672" y="315"/>
                  </a:lnTo>
                  <a:lnTo>
                    <a:pt x="2661" y="307"/>
                  </a:lnTo>
                  <a:lnTo>
                    <a:pt x="2650" y="298"/>
                  </a:lnTo>
                  <a:lnTo>
                    <a:pt x="2627" y="280"/>
                  </a:lnTo>
                  <a:lnTo>
                    <a:pt x="2604" y="261"/>
                  </a:lnTo>
                  <a:lnTo>
                    <a:pt x="2592" y="253"/>
                  </a:lnTo>
                  <a:lnTo>
                    <a:pt x="2579" y="245"/>
                  </a:lnTo>
                  <a:lnTo>
                    <a:pt x="2565" y="239"/>
                  </a:lnTo>
                  <a:lnTo>
                    <a:pt x="2550" y="233"/>
                  </a:lnTo>
                  <a:lnTo>
                    <a:pt x="2525" y="227"/>
                  </a:lnTo>
                  <a:lnTo>
                    <a:pt x="2499" y="219"/>
                  </a:lnTo>
                  <a:lnTo>
                    <a:pt x="2487" y="215"/>
                  </a:lnTo>
                  <a:lnTo>
                    <a:pt x="2473" y="211"/>
                  </a:lnTo>
                  <a:lnTo>
                    <a:pt x="2461" y="205"/>
                  </a:lnTo>
                  <a:lnTo>
                    <a:pt x="2450" y="199"/>
                  </a:lnTo>
                  <a:lnTo>
                    <a:pt x="2438" y="193"/>
                  </a:lnTo>
                  <a:lnTo>
                    <a:pt x="2428" y="187"/>
                  </a:lnTo>
                  <a:lnTo>
                    <a:pt x="2418" y="179"/>
                  </a:lnTo>
                  <a:lnTo>
                    <a:pt x="2410" y="171"/>
                  </a:lnTo>
                  <a:lnTo>
                    <a:pt x="2401" y="162"/>
                  </a:lnTo>
                  <a:lnTo>
                    <a:pt x="2394" y="152"/>
                  </a:lnTo>
                  <a:lnTo>
                    <a:pt x="2389" y="141"/>
                  </a:lnTo>
                  <a:lnTo>
                    <a:pt x="2384" y="129"/>
                  </a:lnTo>
                  <a:lnTo>
                    <a:pt x="2370" y="128"/>
                  </a:lnTo>
                  <a:lnTo>
                    <a:pt x="2357" y="126"/>
                  </a:lnTo>
                  <a:lnTo>
                    <a:pt x="2346" y="122"/>
                  </a:lnTo>
                  <a:lnTo>
                    <a:pt x="2335" y="117"/>
                  </a:lnTo>
                  <a:lnTo>
                    <a:pt x="2325" y="111"/>
                  </a:lnTo>
                  <a:lnTo>
                    <a:pt x="2316" y="105"/>
                  </a:lnTo>
                  <a:lnTo>
                    <a:pt x="2308" y="98"/>
                  </a:lnTo>
                  <a:lnTo>
                    <a:pt x="2300" y="89"/>
                  </a:lnTo>
                  <a:lnTo>
                    <a:pt x="2283" y="74"/>
                  </a:lnTo>
                  <a:lnTo>
                    <a:pt x="2267" y="59"/>
                  </a:lnTo>
                  <a:lnTo>
                    <a:pt x="2257" y="52"/>
                  </a:lnTo>
                  <a:lnTo>
                    <a:pt x="2247" y="46"/>
                  </a:lnTo>
                  <a:lnTo>
                    <a:pt x="2236" y="41"/>
                  </a:lnTo>
                  <a:lnTo>
                    <a:pt x="2225" y="36"/>
                  </a:lnTo>
                  <a:lnTo>
                    <a:pt x="2190" y="25"/>
                  </a:lnTo>
                  <a:lnTo>
                    <a:pt x="2160" y="18"/>
                  </a:lnTo>
                  <a:lnTo>
                    <a:pt x="2131" y="10"/>
                  </a:lnTo>
                  <a:lnTo>
                    <a:pt x="2092" y="0"/>
                  </a:lnTo>
                  <a:lnTo>
                    <a:pt x="1973" y="18"/>
                  </a:lnTo>
                  <a:lnTo>
                    <a:pt x="1973" y="27"/>
                  </a:lnTo>
                  <a:lnTo>
                    <a:pt x="1973" y="36"/>
                  </a:lnTo>
                  <a:lnTo>
                    <a:pt x="1973" y="42"/>
                  </a:lnTo>
                  <a:lnTo>
                    <a:pt x="1975" y="46"/>
                  </a:lnTo>
                  <a:lnTo>
                    <a:pt x="1977" y="50"/>
                  </a:lnTo>
                  <a:lnTo>
                    <a:pt x="1980" y="53"/>
                  </a:lnTo>
                  <a:lnTo>
                    <a:pt x="1989" y="58"/>
                  </a:lnTo>
                  <a:lnTo>
                    <a:pt x="1999" y="62"/>
                  </a:lnTo>
                  <a:lnTo>
                    <a:pt x="2009" y="66"/>
                  </a:lnTo>
                  <a:lnTo>
                    <a:pt x="2018" y="72"/>
                  </a:lnTo>
                  <a:lnTo>
                    <a:pt x="2021" y="75"/>
                  </a:lnTo>
                  <a:lnTo>
                    <a:pt x="2023" y="80"/>
                  </a:lnTo>
                  <a:lnTo>
                    <a:pt x="2025" y="85"/>
                  </a:lnTo>
                  <a:lnTo>
                    <a:pt x="2025" y="91"/>
                  </a:lnTo>
                  <a:lnTo>
                    <a:pt x="2024" y="101"/>
                  </a:lnTo>
                  <a:lnTo>
                    <a:pt x="2022" y="108"/>
                  </a:lnTo>
                  <a:lnTo>
                    <a:pt x="2019" y="114"/>
                  </a:lnTo>
                  <a:lnTo>
                    <a:pt x="2016" y="120"/>
                  </a:lnTo>
                  <a:lnTo>
                    <a:pt x="2012" y="125"/>
                  </a:lnTo>
                  <a:lnTo>
                    <a:pt x="2009" y="131"/>
                  </a:lnTo>
                  <a:lnTo>
                    <a:pt x="2007" y="138"/>
                  </a:lnTo>
                  <a:lnTo>
                    <a:pt x="2006" y="147"/>
                  </a:lnTo>
                  <a:lnTo>
                    <a:pt x="2007" y="155"/>
                  </a:lnTo>
                  <a:lnTo>
                    <a:pt x="2009" y="161"/>
                  </a:lnTo>
                  <a:lnTo>
                    <a:pt x="2012" y="168"/>
                  </a:lnTo>
                  <a:lnTo>
                    <a:pt x="2018" y="174"/>
                  </a:lnTo>
                  <a:lnTo>
                    <a:pt x="2022" y="179"/>
                  </a:lnTo>
                  <a:lnTo>
                    <a:pt x="2028" y="184"/>
                  </a:lnTo>
                  <a:lnTo>
                    <a:pt x="2033" y="187"/>
                  </a:lnTo>
                  <a:lnTo>
                    <a:pt x="2039" y="190"/>
                  </a:lnTo>
                  <a:lnTo>
                    <a:pt x="2033" y="197"/>
                  </a:lnTo>
                  <a:lnTo>
                    <a:pt x="2025" y="204"/>
                  </a:lnTo>
                  <a:lnTo>
                    <a:pt x="2017" y="211"/>
                  </a:lnTo>
                  <a:lnTo>
                    <a:pt x="2008" y="216"/>
                  </a:lnTo>
                  <a:lnTo>
                    <a:pt x="1999" y="221"/>
                  </a:lnTo>
                  <a:lnTo>
                    <a:pt x="1989" y="224"/>
                  </a:lnTo>
                  <a:lnTo>
                    <a:pt x="1980" y="227"/>
                  </a:lnTo>
                  <a:lnTo>
                    <a:pt x="1973" y="227"/>
                  </a:lnTo>
                  <a:lnTo>
                    <a:pt x="1962" y="227"/>
                  </a:lnTo>
                  <a:lnTo>
                    <a:pt x="1952" y="227"/>
                  </a:lnTo>
                  <a:lnTo>
                    <a:pt x="1940" y="227"/>
                  </a:lnTo>
                  <a:lnTo>
                    <a:pt x="1925" y="227"/>
                  </a:lnTo>
                  <a:lnTo>
                    <a:pt x="1919" y="258"/>
                  </a:lnTo>
                  <a:lnTo>
                    <a:pt x="1924" y="278"/>
                  </a:lnTo>
                  <a:lnTo>
                    <a:pt x="1930" y="296"/>
                  </a:lnTo>
                  <a:lnTo>
                    <a:pt x="1933" y="304"/>
                  </a:lnTo>
                  <a:lnTo>
                    <a:pt x="1938" y="311"/>
                  </a:lnTo>
                  <a:lnTo>
                    <a:pt x="1942" y="319"/>
                  </a:lnTo>
                  <a:lnTo>
                    <a:pt x="1947" y="326"/>
                  </a:lnTo>
                  <a:lnTo>
                    <a:pt x="1953" y="331"/>
                  </a:lnTo>
                  <a:lnTo>
                    <a:pt x="1961" y="336"/>
                  </a:lnTo>
                  <a:lnTo>
                    <a:pt x="1968" y="340"/>
                  </a:lnTo>
                  <a:lnTo>
                    <a:pt x="1977" y="344"/>
                  </a:lnTo>
                  <a:lnTo>
                    <a:pt x="1987" y="347"/>
                  </a:lnTo>
                  <a:lnTo>
                    <a:pt x="1999" y="349"/>
                  </a:lnTo>
                  <a:lnTo>
                    <a:pt x="2011" y="350"/>
                  </a:lnTo>
                  <a:lnTo>
                    <a:pt x="2025" y="350"/>
                  </a:lnTo>
                  <a:lnTo>
                    <a:pt x="2036" y="350"/>
                  </a:lnTo>
                  <a:lnTo>
                    <a:pt x="2043" y="349"/>
                  </a:lnTo>
                  <a:lnTo>
                    <a:pt x="2048" y="347"/>
                  </a:lnTo>
                  <a:lnTo>
                    <a:pt x="2053" y="344"/>
                  </a:lnTo>
                  <a:lnTo>
                    <a:pt x="2057" y="342"/>
                  </a:lnTo>
                  <a:lnTo>
                    <a:pt x="2064" y="340"/>
                  </a:lnTo>
                  <a:lnTo>
                    <a:pt x="2073" y="339"/>
                  </a:lnTo>
                  <a:lnTo>
                    <a:pt x="2086" y="338"/>
                  </a:lnTo>
                  <a:lnTo>
                    <a:pt x="2092" y="339"/>
                  </a:lnTo>
                  <a:lnTo>
                    <a:pt x="2098" y="340"/>
                  </a:lnTo>
                  <a:lnTo>
                    <a:pt x="2103" y="341"/>
                  </a:lnTo>
                  <a:lnTo>
                    <a:pt x="2109" y="343"/>
                  </a:lnTo>
                  <a:lnTo>
                    <a:pt x="2122" y="349"/>
                  </a:lnTo>
                  <a:lnTo>
                    <a:pt x="2138" y="357"/>
                  </a:lnTo>
                  <a:lnTo>
                    <a:pt x="2140" y="361"/>
                  </a:lnTo>
                  <a:lnTo>
                    <a:pt x="2142" y="366"/>
                  </a:lnTo>
                  <a:lnTo>
                    <a:pt x="2146" y="370"/>
                  </a:lnTo>
                  <a:lnTo>
                    <a:pt x="2151" y="375"/>
                  </a:lnTo>
                  <a:lnTo>
                    <a:pt x="2157" y="379"/>
                  </a:lnTo>
                  <a:lnTo>
                    <a:pt x="2164" y="382"/>
                  </a:lnTo>
                  <a:lnTo>
                    <a:pt x="2170" y="385"/>
                  </a:lnTo>
                  <a:lnTo>
                    <a:pt x="2178" y="388"/>
                  </a:lnTo>
                  <a:lnTo>
                    <a:pt x="2175" y="393"/>
                  </a:lnTo>
                  <a:lnTo>
                    <a:pt x="2169" y="399"/>
                  </a:lnTo>
                  <a:lnTo>
                    <a:pt x="2160" y="405"/>
                  </a:lnTo>
                  <a:lnTo>
                    <a:pt x="2152" y="410"/>
                  </a:lnTo>
                  <a:lnTo>
                    <a:pt x="2141" y="416"/>
                  </a:lnTo>
                  <a:lnTo>
                    <a:pt x="2130" y="420"/>
                  </a:lnTo>
                  <a:lnTo>
                    <a:pt x="2118" y="423"/>
                  </a:lnTo>
                  <a:lnTo>
                    <a:pt x="2106" y="424"/>
                  </a:lnTo>
                  <a:lnTo>
                    <a:pt x="2098" y="426"/>
                  </a:lnTo>
                  <a:lnTo>
                    <a:pt x="2084" y="434"/>
                  </a:lnTo>
                  <a:lnTo>
                    <a:pt x="2064" y="443"/>
                  </a:lnTo>
                  <a:lnTo>
                    <a:pt x="2041" y="455"/>
                  </a:lnTo>
                  <a:lnTo>
                    <a:pt x="2019" y="467"/>
                  </a:lnTo>
                  <a:lnTo>
                    <a:pt x="1998" y="479"/>
                  </a:lnTo>
                  <a:lnTo>
                    <a:pt x="1989" y="485"/>
                  </a:lnTo>
                  <a:lnTo>
                    <a:pt x="1981" y="490"/>
                  </a:lnTo>
                  <a:lnTo>
                    <a:pt x="1976" y="495"/>
                  </a:lnTo>
                  <a:lnTo>
                    <a:pt x="1973" y="499"/>
                  </a:lnTo>
                  <a:lnTo>
                    <a:pt x="1860" y="499"/>
                  </a:lnTo>
                  <a:lnTo>
                    <a:pt x="1860" y="506"/>
                  </a:lnTo>
                  <a:lnTo>
                    <a:pt x="1861" y="513"/>
                  </a:lnTo>
                  <a:lnTo>
                    <a:pt x="1863" y="520"/>
                  </a:lnTo>
                  <a:lnTo>
                    <a:pt x="1864" y="525"/>
                  </a:lnTo>
                  <a:lnTo>
                    <a:pt x="1869" y="536"/>
                  </a:lnTo>
                  <a:lnTo>
                    <a:pt x="1876" y="546"/>
                  </a:lnTo>
                  <a:lnTo>
                    <a:pt x="1882" y="554"/>
                  </a:lnTo>
                  <a:lnTo>
                    <a:pt x="1887" y="562"/>
                  </a:lnTo>
                  <a:lnTo>
                    <a:pt x="1889" y="566"/>
                  </a:lnTo>
                  <a:lnTo>
                    <a:pt x="1891" y="570"/>
                  </a:lnTo>
                  <a:lnTo>
                    <a:pt x="1893" y="574"/>
                  </a:lnTo>
                  <a:lnTo>
                    <a:pt x="1893" y="578"/>
                  </a:lnTo>
                  <a:lnTo>
                    <a:pt x="1893" y="583"/>
                  </a:lnTo>
                  <a:lnTo>
                    <a:pt x="1890" y="588"/>
                  </a:lnTo>
                  <a:lnTo>
                    <a:pt x="1888" y="594"/>
                  </a:lnTo>
                  <a:lnTo>
                    <a:pt x="1885" y="601"/>
                  </a:lnTo>
                  <a:lnTo>
                    <a:pt x="1877" y="613"/>
                  </a:lnTo>
                  <a:lnTo>
                    <a:pt x="1867" y="625"/>
                  </a:lnTo>
                  <a:lnTo>
                    <a:pt x="1856" y="637"/>
                  </a:lnTo>
                  <a:lnTo>
                    <a:pt x="1845" y="647"/>
                  </a:lnTo>
                  <a:lnTo>
                    <a:pt x="1834" y="655"/>
                  </a:lnTo>
                  <a:lnTo>
                    <a:pt x="1827" y="659"/>
                  </a:lnTo>
                  <a:lnTo>
                    <a:pt x="1727" y="659"/>
                  </a:lnTo>
                  <a:lnTo>
                    <a:pt x="1699" y="674"/>
                  </a:lnTo>
                  <a:lnTo>
                    <a:pt x="1664" y="694"/>
                  </a:lnTo>
                  <a:lnTo>
                    <a:pt x="1647" y="704"/>
                  </a:lnTo>
                  <a:lnTo>
                    <a:pt x="1630" y="713"/>
                  </a:lnTo>
                  <a:lnTo>
                    <a:pt x="1624" y="716"/>
                  </a:lnTo>
                  <a:lnTo>
                    <a:pt x="1617" y="718"/>
                  </a:lnTo>
                  <a:lnTo>
                    <a:pt x="1611" y="720"/>
                  </a:lnTo>
                  <a:lnTo>
                    <a:pt x="1607" y="721"/>
                  </a:lnTo>
                  <a:lnTo>
                    <a:pt x="1598" y="720"/>
                  </a:lnTo>
                  <a:lnTo>
                    <a:pt x="1587" y="719"/>
                  </a:lnTo>
                  <a:lnTo>
                    <a:pt x="1574" y="717"/>
                  </a:lnTo>
                  <a:lnTo>
                    <a:pt x="1560" y="714"/>
                  </a:lnTo>
                  <a:lnTo>
                    <a:pt x="1527" y="705"/>
                  </a:lnTo>
                  <a:lnTo>
                    <a:pt x="1493" y="696"/>
                  </a:lnTo>
                  <a:lnTo>
                    <a:pt x="1460" y="686"/>
                  </a:lnTo>
                  <a:lnTo>
                    <a:pt x="1430" y="676"/>
                  </a:lnTo>
                  <a:lnTo>
                    <a:pt x="1418" y="671"/>
                  </a:lnTo>
                  <a:lnTo>
                    <a:pt x="1407" y="667"/>
                  </a:lnTo>
                  <a:lnTo>
                    <a:pt x="1400" y="663"/>
                  </a:lnTo>
                  <a:lnTo>
                    <a:pt x="1394" y="659"/>
                  </a:lnTo>
                  <a:lnTo>
                    <a:pt x="1228" y="659"/>
                  </a:lnTo>
                  <a:lnTo>
                    <a:pt x="1169" y="646"/>
                  </a:lnTo>
                  <a:lnTo>
                    <a:pt x="1160" y="646"/>
                  </a:lnTo>
                  <a:lnTo>
                    <a:pt x="1151" y="646"/>
                  </a:lnTo>
                  <a:lnTo>
                    <a:pt x="1143" y="644"/>
                  </a:lnTo>
                  <a:lnTo>
                    <a:pt x="1133" y="641"/>
                  </a:lnTo>
                  <a:lnTo>
                    <a:pt x="1123" y="638"/>
                  </a:lnTo>
                  <a:lnTo>
                    <a:pt x="1112" y="633"/>
                  </a:lnTo>
                  <a:lnTo>
                    <a:pt x="1102" y="628"/>
                  </a:lnTo>
                  <a:lnTo>
                    <a:pt x="1092" y="622"/>
                  </a:lnTo>
                  <a:lnTo>
                    <a:pt x="1082" y="615"/>
                  </a:lnTo>
                  <a:lnTo>
                    <a:pt x="1073" y="608"/>
                  </a:lnTo>
                  <a:lnTo>
                    <a:pt x="1065" y="601"/>
                  </a:lnTo>
                  <a:lnTo>
                    <a:pt x="1056" y="592"/>
                  </a:lnTo>
                  <a:lnTo>
                    <a:pt x="1049" y="584"/>
                  </a:lnTo>
                  <a:lnTo>
                    <a:pt x="1044" y="576"/>
                  </a:lnTo>
                  <a:lnTo>
                    <a:pt x="1038" y="568"/>
                  </a:lnTo>
                  <a:lnTo>
                    <a:pt x="1036" y="560"/>
                  </a:lnTo>
                  <a:lnTo>
                    <a:pt x="1022" y="560"/>
                  </a:lnTo>
                  <a:lnTo>
                    <a:pt x="1008" y="558"/>
                  </a:lnTo>
                  <a:lnTo>
                    <a:pt x="994" y="555"/>
                  </a:lnTo>
                  <a:lnTo>
                    <a:pt x="980" y="552"/>
                  </a:lnTo>
                  <a:lnTo>
                    <a:pt x="953" y="543"/>
                  </a:lnTo>
                  <a:lnTo>
                    <a:pt x="923" y="532"/>
                  </a:lnTo>
                  <a:lnTo>
                    <a:pt x="893" y="522"/>
                  </a:lnTo>
                  <a:lnTo>
                    <a:pt x="863" y="513"/>
                  </a:lnTo>
                  <a:lnTo>
                    <a:pt x="846" y="510"/>
                  </a:lnTo>
                  <a:lnTo>
                    <a:pt x="831" y="507"/>
                  </a:lnTo>
                  <a:lnTo>
                    <a:pt x="813" y="505"/>
                  </a:lnTo>
                  <a:lnTo>
                    <a:pt x="797" y="505"/>
                  </a:lnTo>
                  <a:lnTo>
                    <a:pt x="786" y="504"/>
                  </a:lnTo>
                  <a:lnTo>
                    <a:pt x="770" y="501"/>
                  </a:lnTo>
                  <a:lnTo>
                    <a:pt x="763" y="499"/>
                  </a:lnTo>
                  <a:lnTo>
                    <a:pt x="756" y="497"/>
                  </a:lnTo>
                  <a:lnTo>
                    <a:pt x="752" y="495"/>
                  </a:lnTo>
                  <a:lnTo>
                    <a:pt x="750" y="493"/>
                  </a:lnTo>
                  <a:lnTo>
                    <a:pt x="746" y="485"/>
                  </a:lnTo>
                  <a:lnTo>
                    <a:pt x="744" y="477"/>
                  </a:lnTo>
                  <a:lnTo>
                    <a:pt x="743" y="470"/>
                  </a:lnTo>
                  <a:lnTo>
                    <a:pt x="743" y="461"/>
                  </a:lnTo>
                  <a:lnTo>
                    <a:pt x="743" y="456"/>
                  </a:lnTo>
                  <a:lnTo>
                    <a:pt x="743" y="449"/>
                  </a:lnTo>
                  <a:lnTo>
                    <a:pt x="743" y="440"/>
                  </a:lnTo>
                  <a:lnTo>
                    <a:pt x="743" y="431"/>
                  </a:lnTo>
                  <a:lnTo>
                    <a:pt x="741" y="431"/>
                  </a:lnTo>
                  <a:lnTo>
                    <a:pt x="736" y="428"/>
                  </a:lnTo>
                  <a:lnTo>
                    <a:pt x="732" y="426"/>
                  </a:lnTo>
                  <a:lnTo>
                    <a:pt x="728" y="422"/>
                  </a:lnTo>
                  <a:lnTo>
                    <a:pt x="717" y="414"/>
                  </a:lnTo>
                  <a:lnTo>
                    <a:pt x="705" y="403"/>
                  </a:lnTo>
                  <a:lnTo>
                    <a:pt x="695" y="391"/>
                  </a:lnTo>
                  <a:lnTo>
                    <a:pt x="686" y="379"/>
                  </a:lnTo>
                  <a:lnTo>
                    <a:pt x="681" y="372"/>
                  </a:lnTo>
                  <a:lnTo>
                    <a:pt x="679" y="367"/>
                  </a:lnTo>
                  <a:lnTo>
                    <a:pt x="677" y="361"/>
                  </a:lnTo>
                  <a:lnTo>
                    <a:pt x="677" y="357"/>
                  </a:lnTo>
                  <a:lnTo>
                    <a:pt x="661" y="356"/>
                  </a:lnTo>
                  <a:lnTo>
                    <a:pt x="645" y="355"/>
                  </a:lnTo>
                  <a:lnTo>
                    <a:pt x="630" y="353"/>
                  </a:lnTo>
                  <a:lnTo>
                    <a:pt x="616" y="351"/>
                  </a:lnTo>
                  <a:lnTo>
                    <a:pt x="602" y="348"/>
                  </a:lnTo>
                  <a:lnTo>
                    <a:pt x="589" y="344"/>
                  </a:lnTo>
                  <a:lnTo>
                    <a:pt x="576" y="340"/>
                  </a:lnTo>
                  <a:lnTo>
                    <a:pt x="564" y="335"/>
                  </a:lnTo>
                  <a:lnTo>
                    <a:pt x="552" y="329"/>
                  </a:lnTo>
                  <a:lnTo>
                    <a:pt x="541" y="323"/>
                  </a:lnTo>
                  <a:lnTo>
                    <a:pt x="531" y="315"/>
                  </a:lnTo>
                  <a:lnTo>
                    <a:pt x="522" y="307"/>
                  </a:lnTo>
                  <a:lnTo>
                    <a:pt x="512" y="299"/>
                  </a:lnTo>
                  <a:lnTo>
                    <a:pt x="505" y="290"/>
                  </a:lnTo>
                  <a:lnTo>
                    <a:pt x="497" y="281"/>
                  </a:lnTo>
                  <a:lnTo>
                    <a:pt x="490" y="271"/>
                  </a:lnTo>
                  <a:lnTo>
                    <a:pt x="475" y="268"/>
                  </a:lnTo>
                  <a:lnTo>
                    <a:pt x="463" y="267"/>
                  </a:lnTo>
                  <a:lnTo>
                    <a:pt x="454" y="267"/>
                  </a:lnTo>
                  <a:lnTo>
                    <a:pt x="449" y="268"/>
                  </a:lnTo>
                  <a:lnTo>
                    <a:pt x="444" y="270"/>
                  </a:lnTo>
                  <a:lnTo>
                    <a:pt x="442" y="273"/>
                  </a:lnTo>
                  <a:lnTo>
                    <a:pt x="441" y="277"/>
                  </a:lnTo>
                  <a:lnTo>
                    <a:pt x="441" y="281"/>
                  </a:lnTo>
                  <a:lnTo>
                    <a:pt x="441" y="286"/>
                  </a:lnTo>
                  <a:lnTo>
                    <a:pt x="441" y="291"/>
                  </a:lnTo>
                  <a:lnTo>
                    <a:pt x="440" y="296"/>
                  </a:lnTo>
                  <a:lnTo>
                    <a:pt x="439" y="301"/>
                  </a:lnTo>
                  <a:lnTo>
                    <a:pt x="436" y="307"/>
                  </a:lnTo>
                  <a:lnTo>
                    <a:pt x="430" y="311"/>
                  </a:lnTo>
                  <a:lnTo>
                    <a:pt x="422" y="316"/>
                  </a:lnTo>
                  <a:lnTo>
                    <a:pt x="411" y="320"/>
                  </a:lnTo>
                  <a:lnTo>
                    <a:pt x="407" y="320"/>
                  </a:lnTo>
                  <a:lnTo>
                    <a:pt x="403" y="321"/>
                  </a:lnTo>
                  <a:lnTo>
                    <a:pt x="400" y="322"/>
                  </a:lnTo>
                  <a:lnTo>
                    <a:pt x="398" y="323"/>
                  </a:lnTo>
                  <a:lnTo>
                    <a:pt x="397" y="325"/>
                  </a:lnTo>
                  <a:lnTo>
                    <a:pt x="396" y="327"/>
                  </a:lnTo>
                  <a:lnTo>
                    <a:pt x="396" y="329"/>
                  </a:lnTo>
                  <a:lnTo>
                    <a:pt x="396" y="332"/>
                  </a:lnTo>
                  <a:lnTo>
                    <a:pt x="401" y="344"/>
                  </a:lnTo>
                  <a:lnTo>
                    <a:pt x="410" y="357"/>
                  </a:lnTo>
                  <a:lnTo>
                    <a:pt x="415" y="364"/>
                  </a:lnTo>
                  <a:lnTo>
                    <a:pt x="419" y="371"/>
                  </a:lnTo>
                  <a:lnTo>
                    <a:pt x="421" y="379"/>
                  </a:lnTo>
                  <a:lnTo>
                    <a:pt x="423" y="385"/>
                  </a:lnTo>
                  <a:lnTo>
                    <a:pt x="423" y="388"/>
                  </a:lnTo>
                  <a:lnTo>
                    <a:pt x="422" y="390"/>
                  </a:lnTo>
                  <a:lnTo>
                    <a:pt x="421" y="393"/>
                  </a:lnTo>
                  <a:lnTo>
                    <a:pt x="420" y="395"/>
                  </a:lnTo>
                  <a:lnTo>
                    <a:pt x="417" y="397"/>
                  </a:lnTo>
                  <a:lnTo>
                    <a:pt x="414" y="398"/>
                  </a:lnTo>
                  <a:lnTo>
                    <a:pt x="409" y="399"/>
                  </a:lnTo>
                  <a:lnTo>
                    <a:pt x="405" y="400"/>
                  </a:lnTo>
                  <a:lnTo>
                    <a:pt x="392" y="400"/>
                  </a:lnTo>
                  <a:lnTo>
                    <a:pt x="377" y="400"/>
                  </a:lnTo>
                  <a:lnTo>
                    <a:pt x="370" y="400"/>
                  </a:lnTo>
                  <a:lnTo>
                    <a:pt x="361" y="399"/>
                  </a:lnTo>
                  <a:lnTo>
                    <a:pt x="351" y="397"/>
                  </a:lnTo>
                  <a:lnTo>
                    <a:pt x="341" y="395"/>
                  </a:lnTo>
                  <a:lnTo>
                    <a:pt x="331" y="393"/>
                  </a:lnTo>
                  <a:lnTo>
                    <a:pt x="321" y="390"/>
                  </a:lnTo>
                  <a:lnTo>
                    <a:pt x="313" y="386"/>
                  </a:lnTo>
                  <a:lnTo>
                    <a:pt x="305" y="382"/>
                  </a:lnTo>
                  <a:lnTo>
                    <a:pt x="303" y="387"/>
                  </a:lnTo>
                  <a:lnTo>
                    <a:pt x="302" y="393"/>
                  </a:lnTo>
                  <a:lnTo>
                    <a:pt x="303" y="401"/>
                  </a:lnTo>
                  <a:lnTo>
                    <a:pt x="303" y="409"/>
                  </a:lnTo>
                  <a:lnTo>
                    <a:pt x="307" y="427"/>
                  </a:lnTo>
                  <a:lnTo>
                    <a:pt x="311" y="448"/>
                  </a:lnTo>
                  <a:lnTo>
                    <a:pt x="316" y="467"/>
                  </a:lnTo>
                  <a:lnTo>
                    <a:pt x="320" y="483"/>
                  </a:lnTo>
                  <a:lnTo>
                    <a:pt x="320" y="491"/>
                  </a:lnTo>
                  <a:lnTo>
                    <a:pt x="320" y="497"/>
                  </a:lnTo>
                  <a:lnTo>
                    <a:pt x="320" y="502"/>
                  </a:lnTo>
                  <a:lnTo>
                    <a:pt x="318" y="505"/>
                  </a:lnTo>
                  <a:lnTo>
                    <a:pt x="292" y="503"/>
                  </a:lnTo>
                  <a:lnTo>
                    <a:pt x="254" y="503"/>
                  </a:lnTo>
                  <a:lnTo>
                    <a:pt x="244" y="504"/>
                  </a:lnTo>
                  <a:lnTo>
                    <a:pt x="236" y="505"/>
                  </a:lnTo>
                  <a:lnTo>
                    <a:pt x="227" y="507"/>
                  </a:lnTo>
                  <a:lnTo>
                    <a:pt x="220" y="510"/>
                  </a:lnTo>
                  <a:lnTo>
                    <a:pt x="214" y="513"/>
                  </a:lnTo>
                  <a:lnTo>
                    <a:pt x="209" y="517"/>
                  </a:lnTo>
                  <a:lnTo>
                    <a:pt x="207" y="520"/>
                  </a:lnTo>
                  <a:lnTo>
                    <a:pt x="206" y="523"/>
                  </a:lnTo>
                  <a:lnTo>
                    <a:pt x="205" y="526"/>
                  </a:lnTo>
                  <a:lnTo>
                    <a:pt x="205" y="529"/>
                  </a:lnTo>
                  <a:lnTo>
                    <a:pt x="216" y="531"/>
                  </a:lnTo>
                  <a:lnTo>
                    <a:pt x="226" y="534"/>
                  </a:lnTo>
                  <a:lnTo>
                    <a:pt x="233" y="538"/>
                  </a:lnTo>
                  <a:lnTo>
                    <a:pt x="239" y="544"/>
                  </a:lnTo>
                  <a:lnTo>
                    <a:pt x="243" y="550"/>
                  </a:lnTo>
                  <a:lnTo>
                    <a:pt x="247" y="556"/>
                  </a:lnTo>
                  <a:lnTo>
                    <a:pt x="250" y="563"/>
                  </a:lnTo>
                  <a:lnTo>
                    <a:pt x="252" y="569"/>
                  </a:lnTo>
                  <a:lnTo>
                    <a:pt x="255" y="583"/>
                  </a:lnTo>
                  <a:lnTo>
                    <a:pt x="260" y="595"/>
                  </a:lnTo>
                  <a:lnTo>
                    <a:pt x="262" y="601"/>
                  </a:lnTo>
                  <a:lnTo>
                    <a:pt x="266" y="605"/>
                  </a:lnTo>
                  <a:lnTo>
                    <a:pt x="272" y="608"/>
                  </a:lnTo>
                  <a:lnTo>
                    <a:pt x="278" y="610"/>
                  </a:lnTo>
                  <a:lnTo>
                    <a:pt x="276" y="614"/>
                  </a:lnTo>
                  <a:lnTo>
                    <a:pt x="275" y="618"/>
                  </a:lnTo>
                  <a:lnTo>
                    <a:pt x="275" y="621"/>
                  </a:lnTo>
                  <a:lnTo>
                    <a:pt x="275" y="625"/>
                  </a:lnTo>
                  <a:lnTo>
                    <a:pt x="277" y="632"/>
                  </a:lnTo>
                  <a:lnTo>
                    <a:pt x="278" y="640"/>
                  </a:lnTo>
                  <a:lnTo>
                    <a:pt x="277" y="658"/>
                  </a:lnTo>
                  <a:lnTo>
                    <a:pt x="274" y="674"/>
                  </a:lnTo>
                  <a:lnTo>
                    <a:pt x="270" y="688"/>
                  </a:lnTo>
                  <a:lnTo>
                    <a:pt x="264" y="700"/>
                  </a:lnTo>
                  <a:lnTo>
                    <a:pt x="261" y="705"/>
                  </a:lnTo>
                  <a:lnTo>
                    <a:pt x="257" y="711"/>
                  </a:lnTo>
                  <a:lnTo>
                    <a:pt x="252" y="716"/>
                  </a:lnTo>
                  <a:lnTo>
                    <a:pt x="248" y="720"/>
                  </a:lnTo>
                  <a:lnTo>
                    <a:pt x="242" y="724"/>
                  </a:lnTo>
                  <a:lnTo>
                    <a:pt x="237" y="727"/>
                  </a:lnTo>
                  <a:lnTo>
                    <a:pt x="231" y="730"/>
                  </a:lnTo>
                  <a:lnTo>
                    <a:pt x="225" y="733"/>
                  </a:lnTo>
                  <a:lnTo>
                    <a:pt x="206" y="735"/>
                  </a:lnTo>
                  <a:lnTo>
                    <a:pt x="182" y="737"/>
                  </a:lnTo>
                  <a:lnTo>
                    <a:pt x="170" y="739"/>
                  </a:lnTo>
                  <a:lnTo>
                    <a:pt x="158" y="741"/>
                  </a:lnTo>
                  <a:lnTo>
                    <a:pt x="152" y="743"/>
                  </a:lnTo>
                  <a:lnTo>
                    <a:pt x="147" y="745"/>
                  </a:lnTo>
                  <a:lnTo>
                    <a:pt x="142" y="748"/>
                  </a:lnTo>
                  <a:lnTo>
                    <a:pt x="139" y="751"/>
                  </a:lnTo>
                  <a:lnTo>
                    <a:pt x="134" y="758"/>
                  </a:lnTo>
                  <a:lnTo>
                    <a:pt x="127" y="770"/>
                  </a:lnTo>
                  <a:lnTo>
                    <a:pt x="123" y="776"/>
                  </a:lnTo>
                  <a:lnTo>
                    <a:pt x="118" y="781"/>
                  </a:lnTo>
                  <a:lnTo>
                    <a:pt x="113" y="785"/>
                  </a:lnTo>
                  <a:lnTo>
                    <a:pt x="105" y="788"/>
                  </a:lnTo>
                  <a:lnTo>
                    <a:pt x="81" y="794"/>
                  </a:lnTo>
                  <a:lnTo>
                    <a:pt x="45" y="800"/>
                  </a:lnTo>
                  <a:lnTo>
                    <a:pt x="27" y="804"/>
                  </a:lnTo>
                  <a:lnTo>
                    <a:pt x="13" y="807"/>
                  </a:lnTo>
                  <a:lnTo>
                    <a:pt x="3" y="810"/>
                  </a:lnTo>
                  <a:lnTo>
                    <a:pt x="0" y="812"/>
                  </a:lnTo>
                  <a:lnTo>
                    <a:pt x="0" y="824"/>
                  </a:lnTo>
                  <a:lnTo>
                    <a:pt x="3" y="833"/>
                  </a:lnTo>
                  <a:lnTo>
                    <a:pt x="6" y="842"/>
                  </a:lnTo>
                  <a:lnTo>
                    <a:pt x="9" y="850"/>
                  </a:lnTo>
                  <a:lnTo>
                    <a:pt x="14" y="859"/>
                  </a:lnTo>
                  <a:lnTo>
                    <a:pt x="18" y="869"/>
                  </a:lnTo>
                  <a:lnTo>
                    <a:pt x="23" y="880"/>
                  </a:lnTo>
                  <a:lnTo>
                    <a:pt x="26" y="893"/>
                  </a:lnTo>
                  <a:lnTo>
                    <a:pt x="40" y="894"/>
                  </a:lnTo>
                  <a:lnTo>
                    <a:pt x="53" y="896"/>
                  </a:lnTo>
                  <a:lnTo>
                    <a:pt x="59" y="897"/>
                  </a:lnTo>
                  <a:lnTo>
                    <a:pt x="64" y="899"/>
                  </a:lnTo>
                  <a:lnTo>
                    <a:pt x="70" y="902"/>
                  </a:lnTo>
                  <a:lnTo>
                    <a:pt x="74" y="905"/>
                  </a:lnTo>
                  <a:lnTo>
                    <a:pt x="79" y="909"/>
                  </a:lnTo>
                  <a:lnTo>
                    <a:pt x="83" y="913"/>
                  </a:lnTo>
                  <a:lnTo>
                    <a:pt x="87" y="918"/>
                  </a:lnTo>
                  <a:lnTo>
                    <a:pt x="90" y="924"/>
                  </a:lnTo>
                  <a:lnTo>
                    <a:pt x="93" y="931"/>
                  </a:lnTo>
                  <a:lnTo>
                    <a:pt x="95" y="938"/>
                  </a:lnTo>
                  <a:lnTo>
                    <a:pt x="97" y="946"/>
                  </a:lnTo>
                  <a:lnTo>
                    <a:pt x="98" y="954"/>
                  </a:lnTo>
                </a:path>
              </a:pathLst>
            </a:custGeom>
            <a:grpFill/>
            <a:ln w="9525" cmpd="sng">
              <a:solidFill>
                <a:srgbClr val="FFFFFF"/>
              </a:solidFill>
              <a:prstDash val="solid"/>
              <a:round/>
              <a:headEnd/>
              <a:tailEnd/>
            </a:ln>
          </p:spPr>
          <p:txBody>
            <a:bodyPr/>
            <a:lstStyle/>
            <a:p>
              <a:endParaRPr lang="en-GB" sz="1637">
                <a:solidFill>
                  <a:schemeClr val="accent1"/>
                </a:solidFill>
              </a:endParaRPr>
            </a:p>
          </p:txBody>
        </p:sp>
        <p:grpSp>
          <p:nvGrpSpPr>
            <p:cNvPr id="14" name="Group 11"/>
            <p:cNvGrpSpPr/>
            <p:nvPr/>
          </p:nvGrpSpPr>
          <p:grpSpPr>
            <a:xfrm>
              <a:off x="3403101" y="1548004"/>
              <a:ext cx="1462634" cy="1223230"/>
              <a:chOff x="3403101" y="1548004"/>
              <a:chExt cx="1462634" cy="1223230"/>
            </a:xfrm>
            <a:grpFill/>
          </p:grpSpPr>
          <p:sp>
            <p:nvSpPr>
              <p:cNvPr id="473" name="Freeform 15"/>
              <p:cNvSpPr>
                <a:spLocks/>
              </p:cNvSpPr>
              <p:nvPr>
                <p:custDataLst>
                  <p:tags r:id="rId305"/>
                </p:custDataLst>
              </p:nvPr>
            </p:nvSpPr>
            <p:spPr bwMode="auto">
              <a:xfrm>
                <a:off x="4345841" y="1548004"/>
                <a:ext cx="240884" cy="308046"/>
              </a:xfrm>
              <a:custGeom>
                <a:avLst/>
                <a:gdLst>
                  <a:gd name="T0" fmla="*/ 151048 w 504"/>
                  <a:gd name="T1" fmla="*/ 256896 h 524"/>
                  <a:gd name="T2" fmla="*/ 112082 w 504"/>
                  <a:gd name="T3" fmla="*/ 263149 h 524"/>
                  <a:gd name="T4" fmla="*/ 102888 w 504"/>
                  <a:gd name="T5" fmla="*/ 269402 h 524"/>
                  <a:gd name="T6" fmla="*/ 91943 w 504"/>
                  <a:gd name="T7" fmla="*/ 272008 h 524"/>
                  <a:gd name="T8" fmla="*/ 67862 w 504"/>
                  <a:gd name="T9" fmla="*/ 273050 h 524"/>
                  <a:gd name="T10" fmla="*/ 46409 w 504"/>
                  <a:gd name="T11" fmla="*/ 272008 h 524"/>
                  <a:gd name="T12" fmla="*/ 41155 w 504"/>
                  <a:gd name="T13" fmla="*/ 268881 h 524"/>
                  <a:gd name="T14" fmla="*/ 31085 w 504"/>
                  <a:gd name="T15" fmla="*/ 265234 h 524"/>
                  <a:gd name="T16" fmla="*/ 15762 w 504"/>
                  <a:gd name="T17" fmla="*/ 258460 h 524"/>
                  <a:gd name="T18" fmla="*/ 9632 w 504"/>
                  <a:gd name="T19" fmla="*/ 253249 h 524"/>
                  <a:gd name="T20" fmla="*/ 8756 w 504"/>
                  <a:gd name="T21" fmla="*/ 248559 h 524"/>
                  <a:gd name="T22" fmla="*/ 11821 w 504"/>
                  <a:gd name="T23" fmla="*/ 241264 h 524"/>
                  <a:gd name="T24" fmla="*/ 14010 w 504"/>
                  <a:gd name="T25" fmla="*/ 231884 h 524"/>
                  <a:gd name="T26" fmla="*/ 12259 w 504"/>
                  <a:gd name="T27" fmla="*/ 225110 h 524"/>
                  <a:gd name="T28" fmla="*/ 4378 w 504"/>
                  <a:gd name="T29" fmla="*/ 217294 h 524"/>
                  <a:gd name="T30" fmla="*/ 438 w 504"/>
                  <a:gd name="T31" fmla="*/ 212083 h 524"/>
                  <a:gd name="T32" fmla="*/ 438 w 504"/>
                  <a:gd name="T33" fmla="*/ 203745 h 524"/>
                  <a:gd name="T34" fmla="*/ 7443 w 504"/>
                  <a:gd name="T35" fmla="*/ 187592 h 524"/>
                  <a:gd name="T36" fmla="*/ 21015 w 504"/>
                  <a:gd name="T37" fmla="*/ 170917 h 524"/>
                  <a:gd name="T38" fmla="*/ 37653 w 504"/>
                  <a:gd name="T39" fmla="*/ 155805 h 524"/>
                  <a:gd name="T40" fmla="*/ 54290 w 504"/>
                  <a:gd name="T41" fmla="*/ 145383 h 524"/>
                  <a:gd name="T42" fmla="*/ 70051 w 504"/>
                  <a:gd name="T43" fmla="*/ 141736 h 524"/>
                  <a:gd name="T44" fmla="*/ 67862 w 504"/>
                  <a:gd name="T45" fmla="*/ 137567 h 524"/>
                  <a:gd name="T46" fmla="*/ 62171 w 504"/>
                  <a:gd name="T47" fmla="*/ 134962 h 524"/>
                  <a:gd name="T48" fmla="*/ 58230 w 504"/>
                  <a:gd name="T49" fmla="*/ 130793 h 524"/>
                  <a:gd name="T50" fmla="*/ 55603 w 504"/>
                  <a:gd name="T51" fmla="*/ 119329 h 524"/>
                  <a:gd name="T52" fmla="*/ 54290 w 504"/>
                  <a:gd name="T53" fmla="*/ 101612 h 524"/>
                  <a:gd name="T54" fmla="*/ 50349 w 504"/>
                  <a:gd name="T55" fmla="*/ 83895 h 524"/>
                  <a:gd name="T56" fmla="*/ 43782 w 504"/>
                  <a:gd name="T57" fmla="*/ 69826 h 524"/>
                  <a:gd name="T58" fmla="*/ 29772 w 504"/>
                  <a:gd name="T59" fmla="*/ 46898 h 524"/>
                  <a:gd name="T60" fmla="*/ 37653 w 504"/>
                  <a:gd name="T61" fmla="*/ 31265 h 524"/>
                  <a:gd name="T62" fmla="*/ 46409 w 504"/>
                  <a:gd name="T63" fmla="*/ 29181 h 524"/>
                  <a:gd name="T64" fmla="*/ 56917 w 504"/>
                  <a:gd name="T65" fmla="*/ 30223 h 524"/>
                  <a:gd name="T66" fmla="*/ 60857 w 504"/>
                  <a:gd name="T67" fmla="*/ 31786 h 524"/>
                  <a:gd name="T68" fmla="*/ 70051 w 504"/>
                  <a:gd name="T69" fmla="*/ 29181 h 524"/>
                  <a:gd name="T70" fmla="*/ 71803 w 504"/>
                  <a:gd name="T71" fmla="*/ 17196 h 524"/>
                  <a:gd name="T72" fmla="*/ 74867 w 504"/>
                  <a:gd name="T73" fmla="*/ 6774 h 524"/>
                  <a:gd name="T74" fmla="*/ 81873 w 504"/>
                  <a:gd name="T75" fmla="*/ 0 h 524"/>
                  <a:gd name="T76" fmla="*/ 98510 w 504"/>
                  <a:gd name="T77" fmla="*/ 0 h 524"/>
                  <a:gd name="T78" fmla="*/ 111207 w 504"/>
                  <a:gd name="T79" fmla="*/ 4169 h 524"/>
                  <a:gd name="T80" fmla="*/ 122590 w 504"/>
                  <a:gd name="T81" fmla="*/ 10943 h 524"/>
                  <a:gd name="T82" fmla="*/ 122152 w 504"/>
                  <a:gd name="T83" fmla="*/ 32307 h 524"/>
                  <a:gd name="T84" fmla="*/ 127844 w 504"/>
                  <a:gd name="T85" fmla="*/ 40124 h 524"/>
                  <a:gd name="T86" fmla="*/ 139665 w 504"/>
                  <a:gd name="T87" fmla="*/ 48982 h 524"/>
                  <a:gd name="T88" fmla="*/ 155864 w 504"/>
                  <a:gd name="T89" fmla="*/ 62009 h 524"/>
                  <a:gd name="T90" fmla="*/ 151486 w 504"/>
                  <a:gd name="T91" fmla="*/ 70347 h 524"/>
                  <a:gd name="T92" fmla="*/ 148859 w 504"/>
                  <a:gd name="T93" fmla="*/ 79726 h 524"/>
                  <a:gd name="T94" fmla="*/ 150611 w 504"/>
                  <a:gd name="T95" fmla="*/ 91711 h 524"/>
                  <a:gd name="T96" fmla="*/ 158929 w 504"/>
                  <a:gd name="T97" fmla="*/ 104218 h 524"/>
                  <a:gd name="T98" fmla="*/ 165497 w 504"/>
                  <a:gd name="T99" fmla="*/ 109428 h 524"/>
                  <a:gd name="T100" fmla="*/ 168999 w 504"/>
                  <a:gd name="T101" fmla="*/ 133398 h 524"/>
                  <a:gd name="T102" fmla="*/ 176880 w 504"/>
                  <a:gd name="T103" fmla="*/ 150594 h 524"/>
                  <a:gd name="T104" fmla="*/ 189139 w 504"/>
                  <a:gd name="T105" fmla="*/ 164143 h 524"/>
                  <a:gd name="T106" fmla="*/ 202711 w 504"/>
                  <a:gd name="T107" fmla="*/ 174564 h 524"/>
                  <a:gd name="T108" fmla="*/ 204025 w 504"/>
                  <a:gd name="T109" fmla="*/ 203224 h 524"/>
                  <a:gd name="T110" fmla="*/ 173815 w 504"/>
                  <a:gd name="T111" fmla="*/ 238137 h 52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504" h="524">
                    <a:moveTo>
                      <a:pt x="365" y="493"/>
                    </a:moveTo>
                    <a:lnTo>
                      <a:pt x="355" y="493"/>
                    </a:lnTo>
                    <a:lnTo>
                      <a:pt x="345" y="493"/>
                    </a:lnTo>
                    <a:lnTo>
                      <a:pt x="266" y="493"/>
                    </a:lnTo>
                    <a:lnTo>
                      <a:pt x="262" y="500"/>
                    </a:lnTo>
                    <a:lnTo>
                      <a:pt x="256" y="505"/>
                    </a:lnTo>
                    <a:lnTo>
                      <a:pt x="250" y="510"/>
                    </a:lnTo>
                    <a:lnTo>
                      <a:pt x="243" y="513"/>
                    </a:lnTo>
                    <a:lnTo>
                      <a:pt x="235" y="517"/>
                    </a:lnTo>
                    <a:lnTo>
                      <a:pt x="228" y="519"/>
                    </a:lnTo>
                    <a:lnTo>
                      <a:pt x="219" y="521"/>
                    </a:lnTo>
                    <a:lnTo>
                      <a:pt x="210" y="522"/>
                    </a:lnTo>
                    <a:lnTo>
                      <a:pt x="191" y="524"/>
                    </a:lnTo>
                    <a:lnTo>
                      <a:pt x="173" y="524"/>
                    </a:lnTo>
                    <a:lnTo>
                      <a:pt x="155" y="524"/>
                    </a:lnTo>
                    <a:lnTo>
                      <a:pt x="140" y="524"/>
                    </a:lnTo>
                    <a:lnTo>
                      <a:pt x="121" y="523"/>
                    </a:lnTo>
                    <a:lnTo>
                      <a:pt x="106" y="522"/>
                    </a:lnTo>
                    <a:lnTo>
                      <a:pt x="100" y="521"/>
                    </a:lnTo>
                    <a:lnTo>
                      <a:pt x="96" y="519"/>
                    </a:lnTo>
                    <a:lnTo>
                      <a:pt x="94" y="516"/>
                    </a:lnTo>
                    <a:lnTo>
                      <a:pt x="93" y="512"/>
                    </a:lnTo>
                    <a:lnTo>
                      <a:pt x="82" y="511"/>
                    </a:lnTo>
                    <a:lnTo>
                      <a:pt x="71" y="509"/>
                    </a:lnTo>
                    <a:lnTo>
                      <a:pt x="59" y="505"/>
                    </a:lnTo>
                    <a:lnTo>
                      <a:pt x="47" y="501"/>
                    </a:lnTo>
                    <a:lnTo>
                      <a:pt x="36" y="496"/>
                    </a:lnTo>
                    <a:lnTo>
                      <a:pt x="28" y="491"/>
                    </a:lnTo>
                    <a:lnTo>
                      <a:pt x="25" y="489"/>
                    </a:lnTo>
                    <a:lnTo>
                      <a:pt x="22" y="486"/>
                    </a:lnTo>
                    <a:lnTo>
                      <a:pt x="20" y="484"/>
                    </a:lnTo>
                    <a:lnTo>
                      <a:pt x="20" y="481"/>
                    </a:lnTo>
                    <a:lnTo>
                      <a:pt x="20" y="477"/>
                    </a:lnTo>
                    <a:lnTo>
                      <a:pt x="22" y="472"/>
                    </a:lnTo>
                    <a:lnTo>
                      <a:pt x="25" y="467"/>
                    </a:lnTo>
                    <a:lnTo>
                      <a:pt x="27" y="463"/>
                    </a:lnTo>
                    <a:lnTo>
                      <a:pt x="31" y="456"/>
                    </a:lnTo>
                    <a:lnTo>
                      <a:pt x="33" y="450"/>
                    </a:lnTo>
                    <a:lnTo>
                      <a:pt x="32" y="445"/>
                    </a:lnTo>
                    <a:lnTo>
                      <a:pt x="31" y="440"/>
                    </a:lnTo>
                    <a:lnTo>
                      <a:pt x="30" y="436"/>
                    </a:lnTo>
                    <a:lnTo>
                      <a:pt x="28" y="432"/>
                    </a:lnTo>
                    <a:lnTo>
                      <a:pt x="22" y="426"/>
                    </a:lnTo>
                    <a:lnTo>
                      <a:pt x="17" y="421"/>
                    </a:lnTo>
                    <a:lnTo>
                      <a:pt x="10" y="417"/>
                    </a:lnTo>
                    <a:lnTo>
                      <a:pt x="5" y="412"/>
                    </a:lnTo>
                    <a:lnTo>
                      <a:pt x="3" y="409"/>
                    </a:lnTo>
                    <a:lnTo>
                      <a:pt x="1" y="407"/>
                    </a:lnTo>
                    <a:lnTo>
                      <a:pt x="0" y="404"/>
                    </a:lnTo>
                    <a:lnTo>
                      <a:pt x="0" y="401"/>
                    </a:lnTo>
                    <a:lnTo>
                      <a:pt x="1" y="391"/>
                    </a:lnTo>
                    <a:lnTo>
                      <a:pt x="5" y="381"/>
                    </a:lnTo>
                    <a:lnTo>
                      <a:pt x="10" y="371"/>
                    </a:lnTo>
                    <a:lnTo>
                      <a:pt x="17" y="360"/>
                    </a:lnTo>
                    <a:lnTo>
                      <a:pt x="26" y="349"/>
                    </a:lnTo>
                    <a:lnTo>
                      <a:pt x="37" y="338"/>
                    </a:lnTo>
                    <a:lnTo>
                      <a:pt x="48" y="328"/>
                    </a:lnTo>
                    <a:lnTo>
                      <a:pt x="60" y="318"/>
                    </a:lnTo>
                    <a:lnTo>
                      <a:pt x="73" y="309"/>
                    </a:lnTo>
                    <a:lnTo>
                      <a:pt x="86" y="299"/>
                    </a:lnTo>
                    <a:lnTo>
                      <a:pt x="99" y="291"/>
                    </a:lnTo>
                    <a:lnTo>
                      <a:pt x="112" y="285"/>
                    </a:lnTo>
                    <a:lnTo>
                      <a:pt x="124" y="279"/>
                    </a:lnTo>
                    <a:lnTo>
                      <a:pt x="138" y="275"/>
                    </a:lnTo>
                    <a:lnTo>
                      <a:pt x="149" y="272"/>
                    </a:lnTo>
                    <a:lnTo>
                      <a:pt x="160" y="272"/>
                    </a:lnTo>
                    <a:lnTo>
                      <a:pt x="166" y="266"/>
                    </a:lnTo>
                    <a:lnTo>
                      <a:pt x="160" y="265"/>
                    </a:lnTo>
                    <a:lnTo>
                      <a:pt x="155" y="264"/>
                    </a:lnTo>
                    <a:lnTo>
                      <a:pt x="150" y="263"/>
                    </a:lnTo>
                    <a:lnTo>
                      <a:pt x="145" y="261"/>
                    </a:lnTo>
                    <a:lnTo>
                      <a:pt x="142" y="259"/>
                    </a:lnTo>
                    <a:lnTo>
                      <a:pt x="139" y="257"/>
                    </a:lnTo>
                    <a:lnTo>
                      <a:pt x="135" y="254"/>
                    </a:lnTo>
                    <a:lnTo>
                      <a:pt x="133" y="251"/>
                    </a:lnTo>
                    <a:lnTo>
                      <a:pt x="130" y="244"/>
                    </a:lnTo>
                    <a:lnTo>
                      <a:pt x="128" y="236"/>
                    </a:lnTo>
                    <a:lnTo>
                      <a:pt x="127" y="229"/>
                    </a:lnTo>
                    <a:lnTo>
                      <a:pt x="127" y="222"/>
                    </a:lnTo>
                    <a:lnTo>
                      <a:pt x="126" y="208"/>
                    </a:lnTo>
                    <a:lnTo>
                      <a:pt x="124" y="195"/>
                    </a:lnTo>
                    <a:lnTo>
                      <a:pt x="121" y="182"/>
                    </a:lnTo>
                    <a:lnTo>
                      <a:pt x="119" y="171"/>
                    </a:lnTo>
                    <a:lnTo>
                      <a:pt x="115" y="161"/>
                    </a:lnTo>
                    <a:lnTo>
                      <a:pt x="110" y="152"/>
                    </a:lnTo>
                    <a:lnTo>
                      <a:pt x="106" y="143"/>
                    </a:lnTo>
                    <a:lnTo>
                      <a:pt x="100" y="134"/>
                    </a:lnTo>
                    <a:lnTo>
                      <a:pt x="89" y="119"/>
                    </a:lnTo>
                    <a:lnTo>
                      <a:pt x="78" y="104"/>
                    </a:lnTo>
                    <a:lnTo>
                      <a:pt x="68" y="90"/>
                    </a:lnTo>
                    <a:lnTo>
                      <a:pt x="60" y="74"/>
                    </a:lnTo>
                    <a:lnTo>
                      <a:pt x="74" y="66"/>
                    </a:lnTo>
                    <a:lnTo>
                      <a:pt x="86" y="60"/>
                    </a:lnTo>
                    <a:lnTo>
                      <a:pt x="93" y="58"/>
                    </a:lnTo>
                    <a:lnTo>
                      <a:pt x="99" y="57"/>
                    </a:lnTo>
                    <a:lnTo>
                      <a:pt x="106" y="56"/>
                    </a:lnTo>
                    <a:lnTo>
                      <a:pt x="112" y="56"/>
                    </a:lnTo>
                    <a:lnTo>
                      <a:pt x="123" y="56"/>
                    </a:lnTo>
                    <a:lnTo>
                      <a:pt x="130" y="58"/>
                    </a:lnTo>
                    <a:lnTo>
                      <a:pt x="133" y="59"/>
                    </a:lnTo>
                    <a:lnTo>
                      <a:pt x="137" y="60"/>
                    </a:lnTo>
                    <a:lnTo>
                      <a:pt x="139" y="61"/>
                    </a:lnTo>
                    <a:lnTo>
                      <a:pt x="143" y="61"/>
                    </a:lnTo>
                    <a:lnTo>
                      <a:pt x="149" y="59"/>
                    </a:lnTo>
                    <a:lnTo>
                      <a:pt x="160" y="56"/>
                    </a:lnTo>
                    <a:lnTo>
                      <a:pt x="160" y="47"/>
                    </a:lnTo>
                    <a:lnTo>
                      <a:pt x="162" y="40"/>
                    </a:lnTo>
                    <a:lnTo>
                      <a:pt x="164" y="33"/>
                    </a:lnTo>
                    <a:lnTo>
                      <a:pt x="166" y="25"/>
                    </a:lnTo>
                    <a:lnTo>
                      <a:pt x="168" y="19"/>
                    </a:lnTo>
                    <a:lnTo>
                      <a:pt x="171" y="13"/>
                    </a:lnTo>
                    <a:lnTo>
                      <a:pt x="172" y="7"/>
                    </a:lnTo>
                    <a:lnTo>
                      <a:pt x="173" y="0"/>
                    </a:lnTo>
                    <a:lnTo>
                      <a:pt x="187" y="0"/>
                    </a:lnTo>
                    <a:lnTo>
                      <a:pt x="201" y="0"/>
                    </a:lnTo>
                    <a:lnTo>
                      <a:pt x="214" y="0"/>
                    </a:lnTo>
                    <a:lnTo>
                      <a:pt x="225" y="0"/>
                    </a:lnTo>
                    <a:lnTo>
                      <a:pt x="235" y="1"/>
                    </a:lnTo>
                    <a:lnTo>
                      <a:pt x="244" y="4"/>
                    </a:lnTo>
                    <a:lnTo>
                      <a:pt x="254" y="8"/>
                    </a:lnTo>
                    <a:lnTo>
                      <a:pt x="263" y="12"/>
                    </a:lnTo>
                    <a:lnTo>
                      <a:pt x="270" y="17"/>
                    </a:lnTo>
                    <a:lnTo>
                      <a:pt x="280" y="21"/>
                    </a:lnTo>
                    <a:lnTo>
                      <a:pt x="289" y="24"/>
                    </a:lnTo>
                    <a:lnTo>
                      <a:pt x="299" y="25"/>
                    </a:lnTo>
                    <a:lnTo>
                      <a:pt x="279" y="62"/>
                    </a:lnTo>
                    <a:lnTo>
                      <a:pt x="283" y="67"/>
                    </a:lnTo>
                    <a:lnTo>
                      <a:pt x="287" y="72"/>
                    </a:lnTo>
                    <a:lnTo>
                      <a:pt x="292" y="77"/>
                    </a:lnTo>
                    <a:lnTo>
                      <a:pt x="297" y="82"/>
                    </a:lnTo>
                    <a:lnTo>
                      <a:pt x="308" y="88"/>
                    </a:lnTo>
                    <a:lnTo>
                      <a:pt x="319" y="94"/>
                    </a:lnTo>
                    <a:lnTo>
                      <a:pt x="341" y="103"/>
                    </a:lnTo>
                    <a:lnTo>
                      <a:pt x="358" y="111"/>
                    </a:lnTo>
                    <a:lnTo>
                      <a:pt x="356" y="119"/>
                    </a:lnTo>
                    <a:lnTo>
                      <a:pt x="353" y="126"/>
                    </a:lnTo>
                    <a:lnTo>
                      <a:pt x="350" y="131"/>
                    </a:lnTo>
                    <a:lnTo>
                      <a:pt x="346" y="135"/>
                    </a:lnTo>
                    <a:lnTo>
                      <a:pt x="343" y="141"/>
                    </a:lnTo>
                    <a:lnTo>
                      <a:pt x="341" y="146"/>
                    </a:lnTo>
                    <a:lnTo>
                      <a:pt x="340" y="153"/>
                    </a:lnTo>
                    <a:lnTo>
                      <a:pt x="339" y="161"/>
                    </a:lnTo>
                    <a:lnTo>
                      <a:pt x="340" y="168"/>
                    </a:lnTo>
                    <a:lnTo>
                      <a:pt x="344" y="176"/>
                    </a:lnTo>
                    <a:lnTo>
                      <a:pt x="350" y="184"/>
                    </a:lnTo>
                    <a:lnTo>
                      <a:pt x="356" y="193"/>
                    </a:lnTo>
                    <a:lnTo>
                      <a:pt x="363" y="200"/>
                    </a:lnTo>
                    <a:lnTo>
                      <a:pt x="369" y="205"/>
                    </a:lnTo>
                    <a:lnTo>
                      <a:pt x="375" y="209"/>
                    </a:lnTo>
                    <a:lnTo>
                      <a:pt x="378" y="210"/>
                    </a:lnTo>
                    <a:lnTo>
                      <a:pt x="379" y="226"/>
                    </a:lnTo>
                    <a:lnTo>
                      <a:pt x="381" y="241"/>
                    </a:lnTo>
                    <a:lnTo>
                      <a:pt x="386" y="256"/>
                    </a:lnTo>
                    <a:lnTo>
                      <a:pt x="391" y="268"/>
                    </a:lnTo>
                    <a:lnTo>
                      <a:pt x="397" y="279"/>
                    </a:lnTo>
                    <a:lnTo>
                      <a:pt x="404" y="289"/>
                    </a:lnTo>
                    <a:lnTo>
                      <a:pt x="413" y="298"/>
                    </a:lnTo>
                    <a:lnTo>
                      <a:pt x="422" y="307"/>
                    </a:lnTo>
                    <a:lnTo>
                      <a:pt x="432" y="315"/>
                    </a:lnTo>
                    <a:lnTo>
                      <a:pt x="442" y="322"/>
                    </a:lnTo>
                    <a:lnTo>
                      <a:pt x="452" y="329"/>
                    </a:lnTo>
                    <a:lnTo>
                      <a:pt x="463" y="335"/>
                    </a:lnTo>
                    <a:lnTo>
                      <a:pt x="485" y="346"/>
                    </a:lnTo>
                    <a:lnTo>
                      <a:pt x="504" y="357"/>
                    </a:lnTo>
                    <a:lnTo>
                      <a:pt x="466" y="390"/>
                    </a:lnTo>
                    <a:lnTo>
                      <a:pt x="430" y="424"/>
                    </a:lnTo>
                    <a:lnTo>
                      <a:pt x="413" y="440"/>
                    </a:lnTo>
                    <a:lnTo>
                      <a:pt x="397" y="457"/>
                    </a:lnTo>
                    <a:lnTo>
                      <a:pt x="380" y="476"/>
                    </a:lnTo>
                    <a:lnTo>
                      <a:pt x="365" y="493"/>
                    </a:lnTo>
                  </a:path>
                </a:pathLst>
              </a:custGeom>
              <a:grpFill/>
              <a:ln w="9525" cap="flat" cmpd="sng">
                <a:solidFill>
                  <a:schemeClr val="bg1"/>
                </a:solidFill>
                <a:prstDash val="solid"/>
                <a:round/>
                <a:headEnd type="none" w="med" len="med"/>
                <a:tailEnd type="none" w="med" len="med"/>
              </a:ln>
              <a:effectLst/>
            </p:spPr>
            <p:txBody>
              <a:bodyPr/>
              <a:lstStyle/>
              <a:p>
                <a:endParaRPr lang="en-GB" sz="1637"/>
              </a:p>
            </p:txBody>
          </p:sp>
          <p:sp>
            <p:nvSpPr>
              <p:cNvPr id="474" name="Freeform 246"/>
              <p:cNvSpPr>
                <a:spLocks/>
              </p:cNvSpPr>
              <p:nvPr>
                <p:custDataLst>
                  <p:tags r:id="rId306"/>
                </p:custDataLst>
              </p:nvPr>
            </p:nvSpPr>
            <p:spPr bwMode="auto">
              <a:xfrm>
                <a:off x="4728829" y="2701386"/>
                <a:ext cx="55455" cy="64475"/>
              </a:xfrm>
              <a:custGeom>
                <a:avLst/>
                <a:gdLst>
                  <a:gd name="T0" fmla="*/ 0 w 113"/>
                  <a:gd name="T1" fmla="*/ 33981 h 74"/>
                  <a:gd name="T2" fmla="*/ 8991 w 113"/>
                  <a:gd name="T3" fmla="*/ 57150 h 74"/>
                  <a:gd name="T4" fmla="*/ 16634 w 113"/>
                  <a:gd name="T5" fmla="*/ 53289 h 74"/>
                  <a:gd name="T6" fmla="*/ 22927 w 113"/>
                  <a:gd name="T7" fmla="*/ 50199 h 74"/>
                  <a:gd name="T8" fmla="*/ 28772 w 113"/>
                  <a:gd name="T9" fmla="*/ 45566 h 74"/>
                  <a:gd name="T10" fmla="*/ 33267 w 113"/>
                  <a:gd name="T11" fmla="*/ 40932 h 74"/>
                  <a:gd name="T12" fmla="*/ 35065 w 113"/>
                  <a:gd name="T13" fmla="*/ 37843 h 74"/>
                  <a:gd name="T14" fmla="*/ 37313 w 113"/>
                  <a:gd name="T15" fmla="*/ 34753 h 74"/>
                  <a:gd name="T16" fmla="*/ 38662 w 113"/>
                  <a:gd name="T17" fmla="*/ 31664 h 74"/>
                  <a:gd name="T18" fmla="*/ 39561 w 113"/>
                  <a:gd name="T19" fmla="*/ 28575 h 74"/>
                  <a:gd name="T20" fmla="*/ 40460 w 113"/>
                  <a:gd name="T21" fmla="*/ 24714 h 74"/>
                  <a:gd name="T22" fmla="*/ 40910 w 113"/>
                  <a:gd name="T23" fmla="*/ 20080 h 74"/>
                  <a:gd name="T24" fmla="*/ 41809 w 113"/>
                  <a:gd name="T25" fmla="*/ 14674 h 74"/>
                  <a:gd name="T26" fmla="*/ 42258 w 113"/>
                  <a:gd name="T27" fmla="*/ 10040 h 74"/>
                  <a:gd name="T28" fmla="*/ 44506 w 113"/>
                  <a:gd name="T29" fmla="*/ 9268 h 74"/>
                  <a:gd name="T30" fmla="*/ 47653 w 113"/>
                  <a:gd name="T31" fmla="*/ 6951 h 74"/>
                  <a:gd name="T32" fmla="*/ 48552 w 113"/>
                  <a:gd name="T33" fmla="*/ 5406 h 74"/>
                  <a:gd name="T34" fmla="*/ 49901 w 113"/>
                  <a:gd name="T35" fmla="*/ 3861 h 74"/>
                  <a:gd name="T36" fmla="*/ 50350 w 113"/>
                  <a:gd name="T37" fmla="*/ 2317 h 74"/>
                  <a:gd name="T38" fmla="*/ 50800 w 113"/>
                  <a:gd name="T39" fmla="*/ 0 h 74"/>
                  <a:gd name="T40" fmla="*/ 44057 w 113"/>
                  <a:gd name="T41" fmla="*/ 3089 h 74"/>
                  <a:gd name="T42" fmla="*/ 36864 w 113"/>
                  <a:gd name="T43" fmla="*/ 6178 h 74"/>
                  <a:gd name="T44" fmla="*/ 29221 w 113"/>
                  <a:gd name="T45" fmla="*/ 10040 h 74"/>
                  <a:gd name="T46" fmla="*/ 22028 w 113"/>
                  <a:gd name="T47" fmla="*/ 14674 h 74"/>
                  <a:gd name="T48" fmla="*/ 8991 w 113"/>
                  <a:gd name="T49" fmla="*/ 25486 h 74"/>
                  <a:gd name="T50" fmla="*/ 0 w 113"/>
                  <a:gd name="T51" fmla="*/ 33981 h 7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13" h="74">
                    <a:moveTo>
                      <a:pt x="0" y="44"/>
                    </a:moveTo>
                    <a:lnTo>
                      <a:pt x="20" y="74"/>
                    </a:lnTo>
                    <a:lnTo>
                      <a:pt x="37" y="69"/>
                    </a:lnTo>
                    <a:lnTo>
                      <a:pt x="51" y="65"/>
                    </a:lnTo>
                    <a:lnTo>
                      <a:pt x="64" y="59"/>
                    </a:lnTo>
                    <a:lnTo>
                      <a:pt x="74" y="53"/>
                    </a:lnTo>
                    <a:lnTo>
                      <a:pt x="78" y="49"/>
                    </a:lnTo>
                    <a:lnTo>
                      <a:pt x="83" y="45"/>
                    </a:lnTo>
                    <a:lnTo>
                      <a:pt x="86" y="41"/>
                    </a:lnTo>
                    <a:lnTo>
                      <a:pt x="88" y="37"/>
                    </a:lnTo>
                    <a:lnTo>
                      <a:pt x="90" y="32"/>
                    </a:lnTo>
                    <a:lnTo>
                      <a:pt x="91" y="26"/>
                    </a:lnTo>
                    <a:lnTo>
                      <a:pt x="93" y="19"/>
                    </a:lnTo>
                    <a:lnTo>
                      <a:pt x="94" y="13"/>
                    </a:lnTo>
                    <a:lnTo>
                      <a:pt x="99" y="12"/>
                    </a:lnTo>
                    <a:lnTo>
                      <a:pt x="106" y="9"/>
                    </a:lnTo>
                    <a:lnTo>
                      <a:pt x="108" y="7"/>
                    </a:lnTo>
                    <a:lnTo>
                      <a:pt x="111" y="5"/>
                    </a:lnTo>
                    <a:lnTo>
                      <a:pt x="112" y="3"/>
                    </a:lnTo>
                    <a:lnTo>
                      <a:pt x="113" y="0"/>
                    </a:lnTo>
                    <a:lnTo>
                      <a:pt x="98" y="4"/>
                    </a:lnTo>
                    <a:lnTo>
                      <a:pt x="82" y="8"/>
                    </a:lnTo>
                    <a:lnTo>
                      <a:pt x="65" y="13"/>
                    </a:lnTo>
                    <a:lnTo>
                      <a:pt x="49" y="19"/>
                    </a:lnTo>
                    <a:lnTo>
                      <a:pt x="20" y="33"/>
                    </a:lnTo>
                    <a:lnTo>
                      <a:pt x="0" y="44"/>
                    </a:lnTo>
                  </a:path>
                </a:pathLst>
              </a:custGeom>
              <a:grpFill/>
              <a:ln w="9525" cmpd="sng">
                <a:solidFill>
                  <a:schemeClr val="bg1"/>
                </a:solidFill>
                <a:prstDash val="solid"/>
                <a:round/>
                <a:headEnd/>
                <a:tailEnd/>
              </a:ln>
            </p:spPr>
            <p:txBody>
              <a:bodyPr/>
              <a:lstStyle/>
              <a:p>
                <a:endParaRPr lang="en-GB" sz="1637"/>
              </a:p>
            </p:txBody>
          </p:sp>
          <p:sp>
            <p:nvSpPr>
              <p:cNvPr id="475" name="Freeform 462"/>
              <p:cNvSpPr>
                <a:spLocks/>
              </p:cNvSpPr>
              <p:nvPr>
                <p:custDataLst>
                  <p:tags r:id="rId307"/>
                </p:custDataLst>
              </p:nvPr>
            </p:nvSpPr>
            <p:spPr bwMode="auto">
              <a:xfrm>
                <a:off x="4500076" y="2706759"/>
                <a:ext cx="76251" cy="64475"/>
              </a:xfrm>
              <a:custGeom>
                <a:avLst/>
                <a:gdLst>
                  <a:gd name="T0" fmla="*/ 0 w 153"/>
                  <a:gd name="T1" fmla="*/ 0 h 49"/>
                  <a:gd name="T2" fmla="*/ 20088 w 153"/>
                  <a:gd name="T3" fmla="*/ 2333 h 49"/>
                  <a:gd name="T4" fmla="*/ 37892 w 153"/>
                  <a:gd name="T5" fmla="*/ 6998 h 49"/>
                  <a:gd name="T6" fmla="*/ 47023 w 153"/>
                  <a:gd name="T7" fmla="*/ 9331 h 49"/>
                  <a:gd name="T8" fmla="*/ 55241 w 153"/>
                  <a:gd name="T9" fmla="*/ 8164 h 49"/>
                  <a:gd name="T10" fmla="*/ 59350 w 153"/>
                  <a:gd name="T11" fmla="*/ 6998 h 49"/>
                  <a:gd name="T12" fmla="*/ 62545 w 153"/>
                  <a:gd name="T13" fmla="*/ 5832 h 49"/>
                  <a:gd name="T14" fmla="*/ 66198 w 153"/>
                  <a:gd name="T15" fmla="*/ 3499 h 49"/>
                  <a:gd name="T16" fmla="*/ 69850 w 153"/>
                  <a:gd name="T17" fmla="*/ 0 h 49"/>
                  <a:gd name="T18" fmla="*/ 69850 w 153"/>
                  <a:gd name="T19" fmla="*/ 10497 h 49"/>
                  <a:gd name="T20" fmla="*/ 69850 w 153"/>
                  <a:gd name="T21" fmla="*/ 29158 h 49"/>
                  <a:gd name="T22" fmla="*/ 65285 w 153"/>
                  <a:gd name="T23" fmla="*/ 36156 h 49"/>
                  <a:gd name="T24" fmla="*/ 60719 w 153"/>
                  <a:gd name="T25" fmla="*/ 41988 h 49"/>
                  <a:gd name="T26" fmla="*/ 56610 w 153"/>
                  <a:gd name="T27" fmla="*/ 46653 h 49"/>
                  <a:gd name="T28" fmla="*/ 52045 w 153"/>
                  <a:gd name="T29" fmla="*/ 51318 h 49"/>
                  <a:gd name="T30" fmla="*/ 48393 w 153"/>
                  <a:gd name="T31" fmla="*/ 53651 h 49"/>
                  <a:gd name="T32" fmla="*/ 45197 w 153"/>
                  <a:gd name="T33" fmla="*/ 55984 h 49"/>
                  <a:gd name="T34" fmla="*/ 42001 w 153"/>
                  <a:gd name="T35" fmla="*/ 57150 h 49"/>
                  <a:gd name="T36" fmla="*/ 39719 w 153"/>
                  <a:gd name="T37" fmla="*/ 57150 h 49"/>
                  <a:gd name="T38" fmla="*/ 32871 w 153"/>
                  <a:gd name="T39" fmla="*/ 55984 h 49"/>
                  <a:gd name="T40" fmla="*/ 27392 w 153"/>
                  <a:gd name="T41" fmla="*/ 53651 h 49"/>
                  <a:gd name="T42" fmla="*/ 22827 w 153"/>
                  <a:gd name="T43" fmla="*/ 50152 h 49"/>
                  <a:gd name="T44" fmla="*/ 18718 w 153"/>
                  <a:gd name="T45" fmla="*/ 44320 h 49"/>
                  <a:gd name="T46" fmla="*/ 10044 w 153"/>
                  <a:gd name="T47" fmla="*/ 33823 h 49"/>
                  <a:gd name="T48" fmla="*/ 0 w 153"/>
                  <a:gd name="T49" fmla="*/ 22160 h 49"/>
                  <a:gd name="T50" fmla="*/ 0 w 153"/>
                  <a:gd name="T51" fmla="*/ 0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53" h="49">
                    <a:moveTo>
                      <a:pt x="0" y="0"/>
                    </a:moveTo>
                    <a:lnTo>
                      <a:pt x="44" y="2"/>
                    </a:lnTo>
                    <a:lnTo>
                      <a:pt x="83" y="6"/>
                    </a:lnTo>
                    <a:lnTo>
                      <a:pt x="103" y="8"/>
                    </a:lnTo>
                    <a:lnTo>
                      <a:pt x="121" y="7"/>
                    </a:lnTo>
                    <a:lnTo>
                      <a:pt x="130" y="6"/>
                    </a:lnTo>
                    <a:lnTo>
                      <a:pt x="137" y="5"/>
                    </a:lnTo>
                    <a:lnTo>
                      <a:pt x="145" y="3"/>
                    </a:lnTo>
                    <a:lnTo>
                      <a:pt x="153" y="0"/>
                    </a:lnTo>
                    <a:lnTo>
                      <a:pt x="153" y="9"/>
                    </a:lnTo>
                    <a:lnTo>
                      <a:pt x="153" y="25"/>
                    </a:lnTo>
                    <a:lnTo>
                      <a:pt x="143" y="31"/>
                    </a:lnTo>
                    <a:lnTo>
                      <a:pt x="133" y="36"/>
                    </a:lnTo>
                    <a:lnTo>
                      <a:pt x="124" y="40"/>
                    </a:lnTo>
                    <a:lnTo>
                      <a:pt x="114" y="44"/>
                    </a:lnTo>
                    <a:lnTo>
                      <a:pt x="106" y="46"/>
                    </a:lnTo>
                    <a:lnTo>
                      <a:pt x="99" y="48"/>
                    </a:lnTo>
                    <a:lnTo>
                      <a:pt x="92" y="49"/>
                    </a:lnTo>
                    <a:lnTo>
                      <a:pt x="87" y="49"/>
                    </a:lnTo>
                    <a:lnTo>
                      <a:pt x="72" y="48"/>
                    </a:lnTo>
                    <a:lnTo>
                      <a:pt x="60" y="46"/>
                    </a:lnTo>
                    <a:lnTo>
                      <a:pt x="50" y="43"/>
                    </a:lnTo>
                    <a:lnTo>
                      <a:pt x="41" y="38"/>
                    </a:lnTo>
                    <a:lnTo>
                      <a:pt x="22" y="29"/>
                    </a:lnTo>
                    <a:lnTo>
                      <a:pt x="0" y="19"/>
                    </a:lnTo>
                    <a:lnTo>
                      <a:pt x="0" y="0"/>
                    </a:lnTo>
                  </a:path>
                </a:pathLst>
              </a:custGeom>
              <a:grpFill/>
              <a:ln w="9525" cap="flat" cmpd="sng">
                <a:solidFill>
                  <a:schemeClr val="bg1"/>
                </a:solidFill>
                <a:prstDash val="solid"/>
                <a:round/>
                <a:headEnd type="none" w="med" len="med"/>
                <a:tailEnd type="none" w="med" len="med"/>
              </a:ln>
              <a:effectLst/>
            </p:spPr>
            <p:txBody>
              <a:bodyPr/>
              <a:lstStyle/>
              <a:p>
                <a:endParaRPr lang="en-GB" sz="1637"/>
              </a:p>
            </p:txBody>
          </p:sp>
          <p:sp>
            <p:nvSpPr>
              <p:cNvPr id="476" name="Freeform 34"/>
              <p:cNvSpPr>
                <a:spLocks/>
              </p:cNvSpPr>
              <p:nvPr>
                <p:custDataLst>
                  <p:tags r:id="rId308"/>
                </p:custDataLst>
              </p:nvPr>
            </p:nvSpPr>
            <p:spPr bwMode="auto">
              <a:xfrm>
                <a:off x="4316380" y="2217825"/>
                <a:ext cx="136906" cy="64475"/>
              </a:xfrm>
              <a:custGeom>
                <a:avLst/>
                <a:gdLst>
                  <a:gd name="T0" fmla="*/ 54117 w 292"/>
                  <a:gd name="T1" fmla="*/ 0 h 99"/>
                  <a:gd name="T2" fmla="*/ 65713 w 292"/>
                  <a:gd name="T3" fmla="*/ 0 h 99"/>
                  <a:gd name="T4" fmla="*/ 85040 w 292"/>
                  <a:gd name="T5" fmla="*/ 577 h 99"/>
                  <a:gd name="T6" fmla="*/ 107374 w 292"/>
                  <a:gd name="T7" fmla="*/ 3464 h 99"/>
                  <a:gd name="T8" fmla="*/ 125413 w 292"/>
                  <a:gd name="T9" fmla="*/ 4041 h 99"/>
                  <a:gd name="T10" fmla="*/ 124554 w 292"/>
                  <a:gd name="T11" fmla="*/ 11545 h 99"/>
                  <a:gd name="T12" fmla="*/ 122407 w 292"/>
                  <a:gd name="T13" fmla="*/ 19050 h 99"/>
                  <a:gd name="T14" fmla="*/ 119830 w 292"/>
                  <a:gd name="T15" fmla="*/ 31750 h 99"/>
                  <a:gd name="T16" fmla="*/ 57982 w 292"/>
                  <a:gd name="T17" fmla="*/ 40409 h 99"/>
                  <a:gd name="T18" fmla="*/ 42520 w 292"/>
                  <a:gd name="T19" fmla="*/ 51377 h 99"/>
                  <a:gd name="T20" fmla="*/ 33930 w 292"/>
                  <a:gd name="T21" fmla="*/ 55418 h 99"/>
                  <a:gd name="T22" fmla="*/ 28347 w 292"/>
                  <a:gd name="T23" fmla="*/ 56573 h 99"/>
                  <a:gd name="T24" fmla="*/ 23622 w 292"/>
                  <a:gd name="T25" fmla="*/ 56573 h 99"/>
                  <a:gd name="T26" fmla="*/ 19327 w 292"/>
                  <a:gd name="T27" fmla="*/ 54264 h 99"/>
                  <a:gd name="T28" fmla="*/ 14173 w 292"/>
                  <a:gd name="T29" fmla="*/ 49645 h 99"/>
                  <a:gd name="T30" fmla="*/ 8590 w 292"/>
                  <a:gd name="T31" fmla="*/ 44450 h 99"/>
                  <a:gd name="T32" fmla="*/ 3006 w 292"/>
                  <a:gd name="T33" fmla="*/ 39832 h 99"/>
                  <a:gd name="T34" fmla="*/ 429 w 292"/>
                  <a:gd name="T35" fmla="*/ 32905 h 99"/>
                  <a:gd name="T36" fmla="*/ 0 w 292"/>
                  <a:gd name="T37" fmla="*/ 24245 h 99"/>
                  <a:gd name="T38" fmla="*/ 429 w 292"/>
                  <a:gd name="T39" fmla="*/ 14432 h 99"/>
                  <a:gd name="T40" fmla="*/ 1288 w 292"/>
                  <a:gd name="T41" fmla="*/ 11545 h 99"/>
                  <a:gd name="T42" fmla="*/ 3865 w 292"/>
                  <a:gd name="T43" fmla="*/ 10391 h 99"/>
                  <a:gd name="T44" fmla="*/ 6442 w 292"/>
                  <a:gd name="T45" fmla="*/ 12123 h 99"/>
                  <a:gd name="T46" fmla="*/ 10737 w 292"/>
                  <a:gd name="T47" fmla="*/ 16164 h 99"/>
                  <a:gd name="T48" fmla="*/ 15032 w 292"/>
                  <a:gd name="T49" fmla="*/ 18473 h 99"/>
                  <a:gd name="T50" fmla="*/ 19327 w 292"/>
                  <a:gd name="T51" fmla="*/ 19627 h 99"/>
                  <a:gd name="T52" fmla="*/ 23193 w 292"/>
                  <a:gd name="T53" fmla="*/ 19050 h 99"/>
                  <a:gd name="T54" fmla="*/ 28776 w 292"/>
                  <a:gd name="T55" fmla="*/ 16741 h 99"/>
                  <a:gd name="T56" fmla="*/ 34789 w 292"/>
                  <a:gd name="T57" fmla="*/ 10968 h 99"/>
                  <a:gd name="T58" fmla="*/ 37796 w 292"/>
                  <a:gd name="T59" fmla="*/ 6350 h 99"/>
                  <a:gd name="T60" fmla="*/ 40373 w 292"/>
                  <a:gd name="T61" fmla="*/ 3464 h 99"/>
                  <a:gd name="T62" fmla="*/ 46815 w 292"/>
                  <a:gd name="T63" fmla="*/ 577 h 9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92" h="99">
                    <a:moveTo>
                      <a:pt x="113" y="0"/>
                    </a:moveTo>
                    <a:lnTo>
                      <a:pt x="126" y="0"/>
                    </a:lnTo>
                    <a:lnTo>
                      <a:pt x="138" y="0"/>
                    </a:lnTo>
                    <a:lnTo>
                      <a:pt x="153" y="0"/>
                    </a:lnTo>
                    <a:lnTo>
                      <a:pt x="172" y="0"/>
                    </a:lnTo>
                    <a:lnTo>
                      <a:pt x="198" y="1"/>
                    </a:lnTo>
                    <a:lnTo>
                      <a:pt x="224" y="3"/>
                    </a:lnTo>
                    <a:lnTo>
                      <a:pt x="250" y="6"/>
                    </a:lnTo>
                    <a:lnTo>
                      <a:pt x="279" y="7"/>
                    </a:lnTo>
                    <a:lnTo>
                      <a:pt x="292" y="7"/>
                    </a:lnTo>
                    <a:lnTo>
                      <a:pt x="292" y="14"/>
                    </a:lnTo>
                    <a:lnTo>
                      <a:pt x="290" y="20"/>
                    </a:lnTo>
                    <a:lnTo>
                      <a:pt x="288" y="27"/>
                    </a:lnTo>
                    <a:lnTo>
                      <a:pt x="285" y="33"/>
                    </a:lnTo>
                    <a:lnTo>
                      <a:pt x="281" y="45"/>
                    </a:lnTo>
                    <a:lnTo>
                      <a:pt x="279" y="55"/>
                    </a:lnTo>
                    <a:lnTo>
                      <a:pt x="153" y="62"/>
                    </a:lnTo>
                    <a:lnTo>
                      <a:pt x="135" y="70"/>
                    </a:lnTo>
                    <a:lnTo>
                      <a:pt x="111" y="83"/>
                    </a:lnTo>
                    <a:lnTo>
                      <a:pt x="99" y="89"/>
                    </a:lnTo>
                    <a:lnTo>
                      <a:pt x="86" y="94"/>
                    </a:lnTo>
                    <a:lnTo>
                      <a:pt x="79" y="96"/>
                    </a:lnTo>
                    <a:lnTo>
                      <a:pt x="72" y="97"/>
                    </a:lnTo>
                    <a:lnTo>
                      <a:pt x="66" y="98"/>
                    </a:lnTo>
                    <a:lnTo>
                      <a:pt x="60" y="99"/>
                    </a:lnTo>
                    <a:lnTo>
                      <a:pt x="55" y="98"/>
                    </a:lnTo>
                    <a:lnTo>
                      <a:pt x="51" y="97"/>
                    </a:lnTo>
                    <a:lnTo>
                      <a:pt x="45" y="94"/>
                    </a:lnTo>
                    <a:lnTo>
                      <a:pt x="41" y="92"/>
                    </a:lnTo>
                    <a:lnTo>
                      <a:pt x="33" y="86"/>
                    </a:lnTo>
                    <a:lnTo>
                      <a:pt x="26" y="80"/>
                    </a:lnTo>
                    <a:lnTo>
                      <a:pt x="20" y="77"/>
                    </a:lnTo>
                    <a:lnTo>
                      <a:pt x="11" y="72"/>
                    </a:lnTo>
                    <a:lnTo>
                      <a:pt x="7" y="69"/>
                    </a:lnTo>
                    <a:lnTo>
                      <a:pt x="3" y="64"/>
                    </a:lnTo>
                    <a:lnTo>
                      <a:pt x="1" y="57"/>
                    </a:lnTo>
                    <a:lnTo>
                      <a:pt x="0" y="49"/>
                    </a:lnTo>
                    <a:lnTo>
                      <a:pt x="0" y="42"/>
                    </a:lnTo>
                    <a:lnTo>
                      <a:pt x="0" y="28"/>
                    </a:lnTo>
                    <a:lnTo>
                      <a:pt x="1" y="25"/>
                    </a:lnTo>
                    <a:lnTo>
                      <a:pt x="2" y="22"/>
                    </a:lnTo>
                    <a:lnTo>
                      <a:pt x="3" y="20"/>
                    </a:lnTo>
                    <a:lnTo>
                      <a:pt x="5" y="18"/>
                    </a:lnTo>
                    <a:lnTo>
                      <a:pt x="9" y="18"/>
                    </a:lnTo>
                    <a:lnTo>
                      <a:pt x="11" y="19"/>
                    </a:lnTo>
                    <a:lnTo>
                      <a:pt x="15" y="21"/>
                    </a:lnTo>
                    <a:lnTo>
                      <a:pt x="20" y="25"/>
                    </a:lnTo>
                    <a:lnTo>
                      <a:pt x="25" y="28"/>
                    </a:lnTo>
                    <a:lnTo>
                      <a:pt x="30" y="30"/>
                    </a:lnTo>
                    <a:lnTo>
                      <a:pt x="35" y="32"/>
                    </a:lnTo>
                    <a:lnTo>
                      <a:pt x="40" y="33"/>
                    </a:lnTo>
                    <a:lnTo>
                      <a:pt x="45" y="34"/>
                    </a:lnTo>
                    <a:lnTo>
                      <a:pt x="49" y="34"/>
                    </a:lnTo>
                    <a:lnTo>
                      <a:pt x="54" y="33"/>
                    </a:lnTo>
                    <a:lnTo>
                      <a:pt x="58" y="32"/>
                    </a:lnTo>
                    <a:lnTo>
                      <a:pt x="67" y="29"/>
                    </a:lnTo>
                    <a:lnTo>
                      <a:pt x="75" y="25"/>
                    </a:lnTo>
                    <a:lnTo>
                      <a:pt x="81" y="19"/>
                    </a:lnTo>
                    <a:lnTo>
                      <a:pt x="87" y="13"/>
                    </a:lnTo>
                    <a:lnTo>
                      <a:pt x="88" y="11"/>
                    </a:lnTo>
                    <a:lnTo>
                      <a:pt x="91" y="8"/>
                    </a:lnTo>
                    <a:lnTo>
                      <a:pt x="94" y="6"/>
                    </a:lnTo>
                    <a:lnTo>
                      <a:pt x="100" y="3"/>
                    </a:lnTo>
                    <a:lnTo>
                      <a:pt x="109" y="1"/>
                    </a:lnTo>
                    <a:lnTo>
                      <a:pt x="113" y="0"/>
                    </a:lnTo>
                  </a:path>
                </a:pathLst>
              </a:custGeom>
              <a:grpFill/>
              <a:ln w="9525" cap="flat" cmpd="sng">
                <a:solidFill>
                  <a:schemeClr val="bg1"/>
                </a:solidFill>
                <a:prstDash val="solid"/>
                <a:round/>
                <a:headEnd type="none" w="med" len="med"/>
                <a:tailEnd type="none" w="med" len="med"/>
              </a:ln>
              <a:effectLst/>
            </p:spPr>
            <p:txBody>
              <a:bodyPr/>
              <a:lstStyle/>
              <a:p>
                <a:endParaRPr lang="en-GB" sz="1637"/>
              </a:p>
            </p:txBody>
          </p:sp>
          <p:sp>
            <p:nvSpPr>
              <p:cNvPr id="477" name="Freeform 343"/>
              <p:cNvSpPr>
                <a:spLocks/>
              </p:cNvSpPr>
              <p:nvPr>
                <p:custDataLst>
                  <p:tags r:id="rId309"/>
                </p:custDataLst>
              </p:nvPr>
            </p:nvSpPr>
            <p:spPr bwMode="auto">
              <a:xfrm>
                <a:off x="4302516" y="2257226"/>
                <a:ext cx="159434" cy="80594"/>
              </a:xfrm>
              <a:custGeom>
                <a:avLst/>
                <a:gdLst>
                  <a:gd name="T0" fmla="*/ 134815 w 338"/>
                  <a:gd name="T1" fmla="*/ 0 h 141"/>
                  <a:gd name="T2" fmla="*/ 80371 w 338"/>
                  <a:gd name="T3" fmla="*/ 0 h 141"/>
                  <a:gd name="T4" fmla="*/ 72593 w 338"/>
                  <a:gd name="T5" fmla="*/ 4053 h 141"/>
                  <a:gd name="T6" fmla="*/ 62222 w 338"/>
                  <a:gd name="T7" fmla="*/ 10640 h 141"/>
                  <a:gd name="T8" fmla="*/ 57037 w 338"/>
                  <a:gd name="T9" fmla="*/ 13680 h 141"/>
                  <a:gd name="T10" fmla="*/ 51420 w 338"/>
                  <a:gd name="T11" fmla="*/ 16213 h 141"/>
                  <a:gd name="T12" fmla="*/ 48395 w 338"/>
                  <a:gd name="T13" fmla="*/ 17226 h 141"/>
                  <a:gd name="T14" fmla="*/ 45371 w 338"/>
                  <a:gd name="T15" fmla="*/ 17733 h 141"/>
                  <a:gd name="T16" fmla="*/ 42778 w 338"/>
                  <a:gd name="T17" fmla="*/ 18239 h 141"/>
                  <a:gd name="T18" fmla="*/ 40185 w 338"/>
                  <a:gd name="T19" fmla="*/ 18746 h 141"/>
                  <a:gd name="T20" fmla="*/ 38025 w 338"/>
                  <a:gd name="T21" fmla="*/ 18239 h 141"/>
                  <a:gd name="T22" fmla="*/ 36296 w 338"/>
                  <a:gd name="T23" fmla="*/ 17733 h 141"/>
                  <a:gd name="T24" fmla="*/ 33704 w 338"/>
                  <a:gd name="T25" fmla="*/ 16213 h 141"/>
                  <a:gd name="T26" fmla="*/ 31975 w 338"/>
                  <a:gd name="T27" fmla="*/ 15200 h 141"/>
                  <a:gd name="T28" fmla="*/ 28519 w 338"/>
                  <a:gd name="T29" fmla="*/ 12160 h 141"/>
                  <a:gd name="T30" fmla="*/ 25494 w 338"/>
                  <a:gd name="T31" fmla="*/ 9120 h 141"/>
                  <a:gd name="T32" fmla="*/ 21173 w 338"/>
                  <a:gd name="T33" fmla="*/ 17226 h 141"/>
                  <a:gd name="T34" fmla="*/ 15988 w 338"/>
                  <a:gd name="T35" fmla="*/ 25839 h 141"/>
                  <a:gd name="T36" fmla="*/ 12963 w 338"/>
                  <a:gd name="T37" fmla="*/ 30399 h 141"/>
                  <a:gd name="T38" fmla="*/ 9074 w 338"/>
                  <a:gd name="T39" fmla="*/ 34452 h 141"/>
                  <a:gd name="T40" fmla="*/ 4753 w 338"/>
                  <a:gd name="T41" fmla="*/ 37999 h 141"/>
                  <a:gd name="T42" fmla="*/ 0 w 338"/>
                  <a:gd name="T43" fmla="*/ 40532 h 141"/>
                  <a:gd name="T44" fmla="*/ 5185 w 338"/>
                  <a:gd name="T45" fmla="*/ 45599 h 141"/>
                  <a:gd name="T46" fmla="*/ 9938 w 338"/>
                  <a:gd name="T47" fmla="*/ 50665 h 141"/>
                  <a:gd name="T48" fmla="*/ 14259 w 338"/>
                  <a:gd name="T49" fmla="*/ 54718 h 141"/>
                  <a:gd name="T50" fmla="*/ 19012 w 338"/>
                  <a:gd name="T51" fmla="*/ 58772 h 141"/>
                  <a:gd name="T52" fmla="*/ 23766 w 338"/>
                  <a:gd name="T53" fmla="*/ 61812 h 141"/>
                  <a:gd name="T54" fmla="*/ 28519 w 338"/>
                  <a:gd name="T55" fmla="*/ 65358 h 141"/>
                  <a:gd name="T56" fmla="*/ 34136 w 338"/>
                  <a:gd name="T57" fmla="*/ 68398 h 141"/>
                  <a:gd name="T58" fmla="*/ 40185 w 338"/>
                  <a:gd name="T59" fmla="*/ 71438 h 141"/>
                  <a:gd name="T60" fmla="*/ 111914 w 338"/>
                  <a:gd name="T61" fmla="*/ 71438 h 141"/>
                  <a:gd name="T62" fmla="*/ 116235 w 338"/>
                  <a:gd name="T63" fmla="*/ 62825 h 141"/>
                  <a:gd name="T64" fmla="*/ 121420 w 338"/>
                  <a:gd name="T65" fmla="*/ 54212 h 141"/>
                  <a:gd name="T66" fmla="*/ 126173 w 338"/>
                  <a:gd name="T67" fmla="*/ 46612 h 141"/>
                  <a:gd name="T68" fmla="*/ 131359 w 338"/>
                  <a:gd name="T69" fmla="*/ 39519 h 141"/>
                  <a:gd name="T70" fmla="*/ 136112 w 338"/>
                  <a:gd name="T71" fmla="*/ 32426 h 141"/>
                  <a:gd name="T72" fmla="*/ 140001 w 338"/>
                  <a:gd name="T73" fmla="*/ 24319 h 141"/>
                  <a:gd name="T74" fmla="*/ 143889 w 338"/>
                  <a:gd name="T75" fmla="*/ 17226 h 141"/>
                  <a:gd name="T76" fmla="*/ 146050 w 338"/>
                  <a:gd name="T77" fmla="*/ 9120 h 141"/>
                  <a:gd name="T78" fmla="*/ 134815 w 338"/>
                  <a:gd name="T79" fmla="*/ 0 h 14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338" h="141">
                    <a:moveTo>
                      <a:pt x="312" y="0"/>
                    </a:moveTo>
                    <a:lnTo>
                      <a:pt x="186" y="0"/>
                    </a:lnTo>
                    <a:lnTo>
                      <a:pt x="168" y="8"/>
                    </a:lnTo>
                    <a:lnTo>
                      <a:pt x="144" y="21"/>
                    </a:lnTo>
                    <a:lnTo>
                      <a:pt x="132" y="27"/>
                    </a:lnTo>
                    <a:lnTo>
                      <a:pt x="119" y="32"/>
                    </a:lnTo>
                    <a:lnTo>
                      <a:pt x="112" y="34"/>
                    </a:lnTo>
                    <a:lnTo>
                      <a:pt x="105" y="35"/>
                    </a:lnTo>
                    <a:lnTo>
                      <a:pt x="99" y="36"/>
                    </a:lnTo>
                    <a:lnTo>
                      <a:pt x="93" y="37"/>
                    </a:lnTo>
                    <a:lnTo>
                      <a:pt x="88" y="36"/>
                    </a:lnTo>
                    <a:lnTo>
                      <a:pt x="84" y="35"/>
                    </a:lnTo>
                    <a:lnTo>
                      <a:pt x="78" y="32"/>
                    </a:lnTo>
                    <a:lnTo>
                      <a:pt x="74" y="30"/>
                    </a:lnTo>
                    <a:lnTo>
                      <a:pt x="66" y="24"/>
                    </a:lnTo>
                    <a:lnTo>
                      <a:pt x="59" y="18"/>
                    </a:lnTo>
                    <a:lnTo>
                      <a:pt x="49" y="34"/>
                    </a:lnTo>
                    <a:lnTo>
                      <a:pt x="37" y="51"/>
                    </a:lnTo>
                    <a:lnTo>
                      <a:pt x="30" y="60"/>
                    </a:lnTo>
                    <a:lnTo>
                      <a:pt x="21" y="68"/>
                    </a:lnTo>
                    <a:lnTo>
                      <a:pt x="11" y="75"/>
                    </a:lnTo>
                    <a:lnTo>
                      <a:pt x="0" y="80"/>
                    </a:lnTo>
                    <a:lnTo>
                      <a:pt x="12" y="90"/>
                    </a:lnTo>
                    <a:lnTo>
                      <a:pt x="23" y="100"/>
                    </a:lnTo>
                    <a:lnTo>
                      <a:pt x="33" y="108"/>
                    </a:lnTo>
                    <a:lnTo>
                      <a:pt x="44" y="116"/>
                    </a:lnTo>
                    <a:lnTo>
                      <a:pt x="55" y="122"/>
                    </a:lnTo>
                    <a:lnTo>
                      <a:pt x="66" y="129"/>
                    </a:lnTo>
                    <a:lnTo>
                      <a:pt x="79" y="135"/>
                    </a:lnTo>
                    <a:lnTo>
                      <a:pt x="93" y="141"/>
                    </a:lnTo>
                    <a:lnTo>
                      <a:pt x="259" y="141"/>
                    </a:lnTo>
                    <a:lnTo>
                      <a:pt x="269" y="124"/>
                    </a:lnTo>
                    <a:lnTo>
                      <a:pt x="281" y="107"/>
                    </a:lnTo>
                    <a:lnTo>
                      <a:pt x="292" y="92"/>
                    </a:lnTo>
                    <a:lnTo>
                      <a:pt x="304" y="78"/>
                    </a:lnTo>
                    <a:lnTo>
                      <a:pt x="315" y="64"/>
                    </a:lnTo>
                    <a:lnTo>
                      <a:pt x="324" y="48"/>
                    </a:lnTo>
                    <a:lnTo>
                      <a:pt x="333" y="34"/>
                    </a:lnTo>
                    <a:lnTo>
                      <a:pt x="338" y="18"/>
                    </a:lnTo>
                    <a:lnTo>
                      <a:pt x="312" y="0"/>
                    </a:lnTo>
                  </a:path>
                </a:pathLst>
              </a:custGeom>
              <a:grpFill/>
              <a:ln w="9525" cap="flat" cmpd="sng">
                <a:solidFill>
                  <a:schemeClr val="bg1"/>
                </a:solidFill>
                <a:prstDash val="solid"/>
                <a:round/>
                <a:headEnd type="none" w="med" len="med"/>
                <a:tailEnd type="none" w="med" len="med"/>
              </a:ln>
              <a:effectLst/>
            </p:spPr>
            <p:txBody>
              <a:bodyPr/>
              <a:lstStyle/>
              <a:p>
                <a:endParaRPr lang="en-GB" sz="1637"/>
              </a:p>
            </p:txBody>
          </p:sp>
          <p:grpSp>
            <p:nvGrpSpPr>
              <p:cNvPr id="478" name="Group 552"/>
              <p:cNvGrpSpPr/>
              <p:nvPr/>
            </p:nvGrpSpPr>
            <p:grpSpPr>
              <a:xfrm>
                <a:off x="3403101" y="1567705"/>
                <a:ext cx="1462634" cy="1124727"/>
                <a:chOff x="3403101" y="1567705"/>
                <a:chExt cx="1462634" cy="1124727"/>
              </a:xfrm>
              <a:grpFill/>
            </p:grpSpPr>
            <p:sp>
              <p:nvSpPr>
                <p:cNvPr id="479" name="Freeform 446"/>
                <p:cNvSpPr>
                  <a:spLocks/>
                </p:cNvSpPr>
                <p:nvPr>
                  <p:custDataLst>
                    <p:tags r:id="rId310"/>
                  </p:custDataLst>
                </p:nvPr>
              </p:nvSpPr>
              <p:spPr bwMode="auto">
                <a:xfrm>
                  <a:off x="4467150" y="2400503"/>
                  <a:ext cx="145570" cy="109249"/>
                </a:xfrm>
                <a:custGeom>
                  <a:avLst/>
                  <a:gdLst>
                    <a:gd name="T0" fmla="*/ 33873 w 311"/>
                    <a:gd name="T1" fmla="*/ 20558 h 179"/>
                    <a:gd name="T2" fmla="*/ 49309 w 311"/>
                    <a:gd name="T3" fmla="*/ 14066 h 179"/>
                    <a:gd name="T4" fmla="*/ 63459 w 311"/>
                    <a:gd name="T5" fmla="*/ 7574 h 179"/>
                    <a:gd name="T6" fmla="*/ 76323 w 311"/>
                    <a:gd name="T7" fmla="*/ 2164 h 179"/>
                    <a:gd name="T8" fmla="*/ 90472 w 311"/>
                    <a:gd name="T9" fmla="*/ 0 h 179"/>
                    <a:gd name="T10" fmla="*/ 101192 w 311"/>
                    <a:gd name="T11" fmla="*/ 1082 h 179"/>
                    <a:gd name="T12" fmla="*/ 109767 w 311"/>
                    <a:gd name="T13" fmla="*/ 3246 h 179"/>
                    <a:gd name="T14" fmla="*/ 125203 w 311"/>
                    <a:gd name="T15" fmla="*/ 6492 h 179"/>
                    <a:gd name="T16" fmla="*/ 123059 w 311"/>
                    <a:gd name="T17" fmla="*/ 15148 h 179"/>
                    <a:gd name="T18" fmla="*/ 119200 w 311"/>
                    <a:gd name="T19" fmla="*/ 22722 h 179"/>
                    <a:gd name="T20" fmla="*/ 115341 w 311"/>
                    <a:gd name="T21" fmla="*/ 28673 h 179"/>
                    <a:gd name="T22" fmla="*/ 113626 w 311"/>
                    <a:gd name="T23" fmla="*/ 33542 h 179"/>
                    <a:gd name="T24" fmla="*/ 114055 w 311"/>
                    <a:gd name="T25" fmla="*/ 35706 h 179"/>
                    <a:gd name="T26" fmla="*/ 116199 w 311"/>
                    <a:gd name="T27" fmla="*/ 38411 h 179"/>
                    <a:gd name="T28" fmla="*/ 122202 w 311"/>
                    <a:gd name="T29" fmla="*/ 42739 h 179"/>
                    <a:gd name="T30" fmla="*/ 133350 w 311"/>
                    <a:gd name="T31" fmla="*/ 50312 h 179"/>
                    <a:gd name="T32" fmla="*/ 123059 w 311"/>
                    <a:gd name="T33" fmla="*/ 57886 h 179"/>
                    <a:gd name="T34" fmla="*/ 120487 w 311"/>
                    <a:gd name="T35" fmla="*/ 62214 h 179"/>
                    <a:gd name="T36" fmla="*/ 119200 w 311"/>
                    <a:gd name="T37" fmla="*/ 69788 h 179"/>
                    <a:gd name="T38" fmla="*/ 108052 w 311"/>
                    <a:gd name="T39" fmla="*/ 73575 h 179"/>
                    <a:gd name="T40" fmla="*/ 90472 w 311"/>
                    <a:gd name="T41" fmla="*/ 80067 h 179"/>
                    <a:gd name="T42" fmla="*/ 81897 w 311"/>
                    <a:gd name="T43" fmla="*/ 90887 h 179"/>
                    <a:gd name="T44" fmla="*/ 76323 w 311"/>
                    <a:gd name="T45" fmla="*/ 95215 h 179"/>
                    <a:gd name="T46" fmla="*/ 70748 w 311"/>
                    <a:gd name="T47" fmla="*/ 96838 h 179"/>
                    <a:gd name="T48" fmla="*/ 64745 w 311"/>
                    <a:gd name="T49" fmla="*/ 94674 h 179"/>
                    <a:gd name="T50" fmla="*/ 58743 w 311"/>
                    <a:gd name="T51" fmla="*/ 90346 h 179"/>
                    <a:gd name="T52" fmla="*/ 51453 w 311"/>
                    <a:gd name="T53" fmla="*/ 85477 h 179"/>
                    <a:gd name="T54" fmla="*/ 42020 w 311"/>
                    <a:gd name="T55" fmla="*/ 83854 h 179"/>
                    <a:gd name="T56" fmla="*/ 28299 w 311"/>
                    <a:gd name="T57" fmla="*/ 83854 h 179"/>
                    <a:gd name="T58" fmla="*/ 21868 w 311"/>
                    <a:gd name="T59" fmla="*/ 84936 h 179"/>
                    <a:gd name="T60" fmla="*/ 16722 w 311"/>
                    <a:gd name="T61" fmla="*/ 87100 h 179"/>
                    <a:gd name="T62" fmla="*/ 15436 w 311"/>
                    <a:gd name="T63" fmla="*/ 76821 h 179"/>
                    <a:gd name="T64" fmla="*/ 13721 w 311"/>
                    <a:gd name="T65" fmla="*/ 66542 h 179"/>
                    <a:gd name="T66" fmla="*/ 9004 w 311"/>
                    <a:gd name="T67" fmla="*/ 69247 h 179"/>
                    <a:gd name="T68" fmla="*/ 5574 w 311"/>
                    <a:gd name="T69" fmla="*/ 69788 h 179"/>
                    <a:gd name="T70" fmla="*/ 3001 w 311"/>
                    <a:gd name="T71" fmla="*/ 68165 h 179"/>
                    <a:gd name="T72" fmla="*/ 1286 w 311"/>
                    <a:gd name="T73" fmla="*/ 65460 h 179"/>
                    <a:gd name="T74" fmla="*/ 0 w 311"/>
                    <a:gd name="T75" fmla="*/ 56804 h 179"/>
                    <a:gd name="T76" fmla="*/ 0 w 311"/>
                    <a:gd name="T77" fmla="*/ 47067 h 179"/>
                    <a:gd name="T78" fmla="*/ 1286 w 311"/>
                    <a:gd name="T79" fmla="*/ 44362 h 179"/>
                    <a:gd name="T80" fmla="*/ 5574 w 311"/>
                    <a:gd name="T81" fmla="*/ 42198 h 179"/>
                    <a:gd name="T82" fmla="*/ 9004 w 311"/>
                    <a:gd name="T83" fmla="*/ 38952 h 179"/>
                    <a:gd name="T84" fmla="*/ 10719 w 311"/>
                    <a:gd name="T85" fmla="*/ 36788 h 179"/>
                    <a:gd name="T86" fmla="*/ 11148 w 311"/>
                    <a:gd name="T87" fmla="*/ 33542 h 179"/>
                    <a:gd name="T88" fmla="*/ 10291 w 311"/>
                    <a:gd name="T89" fmla="*/ 27591 h 179"/>
                    <a:gd name="T90" fmla="*/ 8147 w 311"/>
                    <a:gd name="T91" fmla="*/ 23263 h 179"/>
                    <a:gd name="T92" fmla="*/ 3430 w 311"/>
                    <a:gd name="T93" fmla="*/ 15689 h 179"/>
                    <a:gd name="T94" fmla="*/ 429 w 311"/>
                    <a:gd name="T95" fmla="*/ 9738 h 179"/>
                    <a:gd name="T96" fmla="*/ 429 w 311"/>
                    <a:gd name="T97" fmla="*/ 7033 h 179"/>
                    <a:gd name="T98" fmla="*/ 2573 w 311"/>
                    <a:gd name="T99" fmla="*/ 3246 h 179"/>
                    <a:gd name="T100" fmla="*/ 0 w 311"/>
                    <a:gd name="T101" fmla="*/ 3246 h 17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11" h="179">
                      <a:moveTo>
                        <a:pt x="0" y="6"/>
                      </a:moveTo>
                      <a:lnTo>
                        <a:pt x="79" y="38"/>
                      </a:lnTo>
                      <a:lnTo>
                        <a:pt x="97" y="33"/>
                      </a:lnTo>
                      <a:lnTo>
                        <a:pt x="115" y="26"/>
                      </a:lnTo>
                      <a:lnTo>
                        <a:pt x="132" y="20"/>
                      </a:lnTo>
                      <a:lnTo>
                        <a:pt x="148" y="14"/>
                      </a:lnTo>
                      <a:lnTo>
                        <a:pt x="163" y="9"/>
                      </a:lnTo>
                      <a:lnTo>
                        <a:pt x="178" y="4"/>
                      </a:lnTo>
                      <a:lnTo>
                        <a:pt x="195" y="1"/>
                      </a:lnTo>
                      <a:lnTo>
                        <a:pt x="211" y="0"/>
                      </a:lnTo>
                      <a:lnTo>
                        <a:pt x="224" y="1"/>
                      </a:lnTo>
                      <a:lnTo>
                        <a:pt x="236" y="2"/>
                      </a:lnTo>
                      <a:lnTo>
                        <a:pt x="247" y="4"/>
                      </a:lnTo>
                      <a:lnTo>
                        <a:pt x="256" y="6"/>
                      </a:lnTo>
                      <a:lnTo>
                        <a:pt x="275" y="10"/>
                      </a:lnTo>
                      <a:lnTo>
                        <a:pt x="292" y="12"/>
                      </a:lnTo>
                      <a:lnTo>
                        <a:pt x="290" y="21"/>
                      </a:lnTo>
                      <a:lnTo>
                        <a:pt x="287" y="28"/>
                      </a:lnTo>
                      <a:lnTo>
                        <a:pt x="283" y="36"/>
                      </a:lnTo>
                      <a:lnTo>
                        <a:pt x="278" y="42"/>
                      </a:lnTo>
                      <a:lnTo>
                        <a:pt x="273" y="48"/>
                      </a:lnTo>
                      <a:lnTo>
                        <a:pt x="269" y="53"/>
                      </a:lnTo>
                      <a:lnTo>
                        <a:pt x="266" y="57"/>
                      </a:lnTo>
                      <a:lnTo>
                        <a:pt x="265" y="62"/>
                      </a:lnTo>
                      <a:lnTo>
                        <a:pt x="265" y="64"/>
                      </a:lnTo>
                      <a:lnTo>
                        <a:pt x="266" y="66"/>
                      </a:lnTo>
                      <a:lnTo>
                        <a:pt x="269" y="69"/>
                      </a:lnTo>
                      <a:lnTo>
                        <a:pt x="271" y="71"/>
                      </a:lnTo>
                      <a:lnTo>
                        <a:pt x="277" y="75"/>
                      </a:lnTo>
                      <a:lnTo>
                        <a:pt x="285" y="79"/>
                      </a:lnTo>
                      <a:lnTo>
                        <a:pt x="301" y="87"/>
                      </a:lnTo>
                      <a:lnTo>
                        <a:pt x="311" y="93"/>
                      </a:lnTo>
                      <a:lnTo>
                        <a:pt x="298" y="100"/>
                      </a:lnTo>
                      <a:lnTo>
                        <a:pt x="287" y="107"/>
                      </a:lnTo>
                      <a:lnTo>
                        <a:pt x="283" y="110"/>
                      </a:lnTo>
                      <a:lnTo>
                        <a:pt x="281" y="115"/>
                      </a:lnTo>
                      <a:lnTo>
                        <a:pt x="278" y="121"/>
                      </a:lnTo>
                      <a:lnTo>
                        <a:pt x="278" y="129"/>
                      </a:lnTo>
                      <a:lnTo>
                        <a:pt x="271" y="131"/>
                      </a:lnTo>
                      <a:lnTo>
                        <a:pt x="252" y="136"/>
                      </a:lnTo>
                      <a:lnTo>
                        <a:pt x="230" y="143"/>
                      </a:lnTo>
                      <a:lnTo>
                        <a:pt x="211" y="148"/>
                      </a:lnTo>
                      <a:lnTo>
                        <a:pt x="202" y="158"/>
                      </a:lnTo>
                      <a:lnTo>
                        <a:pt x="191" y="168"/>
                      </a:lnTo>
                      <a:lnTo>
                        <a:pt x="185" y="172"/>
                      </a:lnTo>
                      <a:lnTo>
                        <a:pt x="178" y="176"/>
                      </a:lnTo>
                      <a:lnTo>
                        <a:pt x="172" y="178"/>
                      </a:lnTo>
                      <a:lnTo>
                        <a:pt x="165" y="179"/>
                      </a:lnTo>
                      <a:lnTo>
                        <a:pt x="158" y="178"/>
                      </a:lnTo>
                      <a:lnTo>
                        <a:pt x="151" y="175"/>
                      </a:lnTo>
                      <a:lnTo>
                        <a:pt x="144" y="171"/>
                      </a:lnTo>
                      <a:lnTo>
                        <a:pt x="137" y="167"/>
                      </a:lnTo>
                      <a:lnTo>
                        <a:pt x="129" y="162"/>
                      </a:lnTo>
                      <a:lnTo>
                        <a:pt x="120" y="158"/>
                      </a:lnTo>
                      <a:lnTo>
                        <a:pt x="110" y="156"/>
                      </a:lnTo>
                      <a:lnTo>
                        <a:pt x="98" y="155"/>
                      </a:lnTo>
                      <a:lnTo>
                        <a:pt x="83" y="155"/>
                      </a:lnTo>
                      <a:lnTo>
                        <a:pt x="66" y="155"/>
                      </a:lnTo>
                      <a:lnTo>
                        <a:pt x="59" y="156"/>
                      </a:lnTo>
                      <a:lnTo>
                        <a:pt x="51" y="157"/>
                      </a:lnTo>
                      <a:lnTo>
                        <a:pt x="45" y="159"/>
                      </a:lnTo>
                      <a:lnTo>
                        <a:pt x="39" y="161"/>
                      </a:lnTo>
                      <a:lnTo>
                        <a:pt x="38" y="151"/>
                      </a:lnTo>
                      <a:lnTo>
                        <a:pt x="36" y="142"/>
                      </a:lnTo>
                      <a:lnTo>
                        <a:pt x="34" y="132"/>
                      </a:lnTo>
                      <a:lnTo>
                        <a:pt x="32" y="123"/>
                      </a:lnTo>
                      <a:lnTo>
                        <a:pt x="26" y="126"/>
                      </a:lnTo>
                      <a:lnTo>
                        <a:pt x="21" y="128"/>
                      </a:lnTo>
                      <a:lnTo>
                        <a:pt x="17" y="129"/>
                      </a:lnTo>
                      <a:lnTo>
                        <a:pt x="13" y="129"/>
                      </a:lnTo>
                      <a:lnTo>
                        <a:pt x="9" y="128"/>
                      </a:lnTo>
                      <a:lnTo>
                        <a:pt x="7" y="126"/>
                      </a:lnTo>
                      <a:lnTo>
                        <a:pt x="5" y="124"/>
                      </a:lnTo>
                      <a:lnTo>
                        <a:pt x="3" y="121"/>
                      </a:lnTo>
                      <a:lnTo>
                        <a:pt x="1" y="114"/>
                      </a:lnTo>
                      <a:lnTo>
                        <a:pt x="0" y="105"/>
                      </a:lnTo>
                      <a:lnTo>
                        <a:pt x="0" y="96"/>
                      </a:lnTo>
                      <a:lnTo>
                        <a:pt x="0" y="87"/>
                      </a:lnTo>
                      <a:lnTo>
                        <a:pt x="1" y="84"/>
                      </a:lnTo>
                      <a:lnTo>
                        <a:pt x="3" y="82"/>
                      </a:lnTo>
                      <a:lnTo>
                        <a:pt x="7" y="80"/>
                      </a:lnTo>
                      <a:lnTo>
                        <a:pt x="13" y="78"/>
                      </a:lnTo>
                      <a:lnTo>
                        <a:pt x="17" y="76"/>
                      </a:lnTo>
                      <a:lnTo>
                        <a:pt x="21" y="72"/>
                      </a:lnTo>
                      <a:lnTo>
                        <a:pt x="23" y="70"/>
                      </a:lnTo>
                      <a:lnTo>
                        <a:pt x="25" y="68"/>
                      </a:lnTo>
                      <a:lnTo>
                        <a:pt x="25" y="65"/>
                      </a:lnTo>
                      <a:lnTo>
                        <a:pt x="26" y="62"/>
                      </a:lnTo>
                      <a:lnTo>
                        <a:pt x="25" y="56"/>
                      </a:lnTo>
                      <a:lnTo>
                        <a:pt x="24" y="51"/>
                      </a:lnTo>
                      <a:lnTo>
                        <a:pt x="21" y="47"/>
                      </a:lnTo>
                      <a:lnTo>
                        <a:pt x="19" y="43"/>
                      </a:lnTo>
                      <a:lnTo>
                        <a:pt x="14" y="36"/>
                      </a:lnTo>
                      <a:lnTo>
                        <a:pt x="8" y="29"/>
                      </a:lnTo>
                      <a:lnTo>
                        <a:pt x="3" y="24"/>
                      </a:lnTo>
                      <a:lnTo>
                        <a:pt x="1" y="18"/>
                      </a:lnTo>
                      <a:lnTo>
                        <a:pt x="0" y="16"/>
                      </a:lnTo>
                      <a:lnTo>
                        <a:pt x="1" y="13"/>
                      </a:lnTo>
                      <a:lnTo>
                        <a:pt x="3" y="10"/>
                      </a:lnTo>
                      <a:lnTo>
                        <a:pt x="6" y="6"/>
                      </a:lnTo>
                      <a:lnTo>
                        <a:pt x="3" y="6"/>
                      </a:lnTo>
                      <a:lnTo>
                        <a:pt x="0" y="6"/>
                      </a:lnTo>
                    </a:path>
                  </a:pathLst>
                </a:custGeom>
                <a:grpFill/>
                <a:ln w="9525" cap="flat" cmpd="sng">
                  <a:solidFill>
                    <a:schemeClr val="bg1"/>
                  </a:solidFill>
                  <a:prstDash val="solid"/>
                  <a:round/>
                  <a:headEnd type="none" w="med" len="med"/>
                  <a:tailEnd type="none" w="med" len="med"/>
                </a:ln>
                <a:effectLst/>
              </p:spPr>
              <p:txBody>
                <a:bodyPr/>
                <a:lstStyle/>
                <a:p>
                  <a:endParaRPr lang="en-GB" sz="1637"/>
                </a:p>
              </p:txBody>
            </p:sp>
            <p:grpSp>
              <p:nvGrpSpPr>
                <p:cNvPr id="480" name="Group 3"/>
                <p:cNvGrpSpPr/>
                <p:nvPr/>
              </p:nvGrpSpPr>
              <p:grpSpPr>
                <a:xfrm>
                  <a:off x="3403101" y="1567705"/>
                  <a:ext cx="1462634" cy="1124727"/>
                  <a:chOff x="3403101" y="1567705"/>
                  <a:chExt cx="1462634" cy="1124727"/>
                </a:xfrm>
                <a:grpFill/>
              </p:grpSpPr>
              <p:sp>
                <p:nvSpPr>
                  <p:cNvPr id="481" name="Freeform 13"/>
                  <p:cNvSpPr>
                    <a:spLocks/>
                  </p:cNvSpPr>
                  <p:nvPr>
                    <p:custDataLst>
                      <p:tags r:id="rId311"/>
                    </p:custDataLst>
                  </p:nvPr>
                </p:nvSpPr>
                <p:spPr bwMode="auto">
                  <a:xfrm>
                    <a:off x="4144816" y="2235735"/>
                    <a:ext cx="185428" cy="85966"/>
                  </a:xfrm>
                  <a:custGeom>
                    <a:avLst/>
                    <a:gdLst>
                      <a:gd name="T0" fmla="*/ 84486 w 382"/>
                      <a:gd name="T1" fmla="*/ 10812 h 148"/>
                      <a:gd name="T2" fmla="*/ 78706 w 382"/>
                      <a:gd name="T3" fmla="*/ 15961 h 148"/>
                      <a:gd name="T4" fmla="*/ 77372 w 382"/>
                      <a:gd name="T5" fmla="*/ 23169 h 148"/>
                      <a:gd name="T6" fmla="*/ 74704 w 382"/>
                      <a:gd name="T7" fmla="*/ 27288 h 148"/>
                      <a:gd name="T8" fmla="*/ 73814 w 382"/>
                      <a:gd name="T9" fmla="*/ 31407 h 148"/>
                      <a:gd name="T10" fmla="*/ 78706 w 382"/>
                      <a:gd name="T11" fmla="*/ 38100 h 148"/>
                      <a:gd name="T12" fmla="*/ 68923 w 382"/>
                      <a:gd name="T13" fmla="*/ 44278 h 148"/>
                      <a:gd name="T14" fmla="*/ 48024 w 382"/>
                      <a:gd name="T15" fmla="*/ 49427 h 148"/>
                      <a:gd name="T16" fmla="*/ 34239 w 382"/>
                      <a:gd name="T17" fmla="*/ 49942 h 148"/>
                      <a:gd name="T18" fmla="*/ 23123 w 382"/>
                      <a:gd name="T19" fmla="*/ 48912 h 148"/>
                      <a:gd name="T20" fmla="*/ 1779 w 382"/>
                      <a:gd name="T21" fmla="*/ 57150 h 148"/>
                      <a:gd name="T22" fmla="*/ 0 w 382"/>
                      <a:gd name="T23" fmla="*/ 66418 h 148"/>
                      <a:gd name="T24" fmla="*/ 1779 w 382"/>
                      <a:gd name="T25" fmla="*/ 67447 h 148"/>
                      <a:gd name="T26" fmla="*/ 5336 w 382"/>
                      <a:gd name="T27" fmla="*/ 67447 h 148"/>
                      <a:gd name="T28" fmla="*/ 22678 w 382"/>
                      <a:gd name="T29" fmla="*/ 66418 h 148"/>
                      <a:gd name="T30" fmla="*/ 50692 w 382"/>
                      <a:gd name="T31" fmla="*/ 65388 h 148"/>
                      <a:gd name="T32" fmla="*/ 54694 w 382"/>
                      <a:gd name="T33" fmla="*/ 68992 h 148"/>
                      <a:gd name="T34" fmla="*/ 60919 w 382"/>
                      <a:gd name="T35" fmla="*/ 72596 h 148"/>
                      <a:gd name="T36" fmla="*/ 70702 w 382"/>
                      <a:gd name="T37" fmla="*/ 75685 h 148"/>
                      <a:gd name="T38" fmla="*/ 82263 w 382"/>
                      <a:gd name="T39" fmla="*/ 76200 h 148"/>
                      <a:gd name="T40" fmla="*/ 93380 w 382"/>
                      <a:gd name="T41" fmla="*/ 76200 h 148"/>
                      <a:gd name="T42" fmla="*/ 103607 w 382"/>
                      <a:gd name="T43" fmla="*/ 76200 h 148"/>
                      <a:gd name="T44" fmla="*/ 113390 w 382"/>
                      <a:gd name="T45" fmla="*/ 76200 h 148"/>
                      <a:gd name="T46" fmla="*/ 122283 w 382"/>
                      <a:gd name="T47" fmla="*/ 73626 h 148"/>
                      <a:gd name="T48" fmla="*/ 133844 w 382"/>
                      <a:gd name="T49" fmla="*/ 68992 h 148"/>
                      <a:gd name="T50" fmla="*/ 148518 w 382"/>
                      <a:gd name="T51" fmla="*/ 62299 h 148"/>
                      <a:gd name="T52" fmla="*/ 156967 w 382"/>
                      <a:gd name="T53" fmla="*/ 53031 h 148"/>
                      <a:gd name="T54" fmla="*/ 165415 w 382"/>
                      <a:gd name="T55" fmla="*/ 37070 h 148"/>
                      <a:gd name="T56" fmla="*/ 167194 w 382"/>
                      <a:gd name="T57" fmla="*/ 26773 h 148"/>
                      <a:gd name="T58" fmla="*/ 161413 w 382"/>
                      <a:gd name="T59" fmla="*/ 22654 h 148"/>
                      <a:gd name="T60" fmla="*/ 158745 w 382"/>
                      <a:gd name="T61" fmla="*/ 16476 h 148"/>
                      <a:gd name="T62" fmla="*/ 154299 w 382"/>
                      <a:gd name="T63" fmla="*/ 11327 h 148"/>
                      <a:gd name="T64" fmla="*/ 148518 w 382"/>
                      <a:gd name="T65" fmla="*/ 8753 h 148"/>
                      <a:gd name="T66" fmla="*/ 141848 w 382"/>
                      <a:gd name="T67" fmla="*/ 4119 h 148"/>
                      <a:gd name="T68" fmla="*/ 90267 w 382"/>
                      <a:gd name="T69" fmla="*/ 9268 h 14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382" h="148">
                        <a:moveTo>
                          <a:pt x="203" y="18"/>
                        </a:moveTo>
                        <a:lnTo>
                          <a:pt x="190" y="21"/>
                        </a:lnTo>
                        <a:lnTo>
                          <a:pt x="177" y="24"/>
                        </a:lnTo>
                        <a:lnTo>
                          <a:pt x="177" y="31"/>
                        </a:lnTo>
                        <a:lnTo>
                          <a:pt x="175" y="40"/>
                        </a:lnTo>
                        <a:lnTo>
                          <a:pt x="174" y="45"/>
                        </a:lnTo>
                        <a:lnTo>
                          <a:pt x="172" y="49"/>
                        </a:lnTo>
                        <a:lnTo>
                          <a:pt x="168" y="53"/>
                        </a:lnTo>
                        <a:lnTo>
                          <a:pt x="164" y="55"/>
                        </a:lnTo>
                        <a:lnTo>
                          <a:pt x="166" y="61"/>
                        </a:lnTo>
                        <a:lnTo>
                          <a:pt x="170" y="67"/>
                        </a:lnTo>
                        <a:lnTo>
                          <a:pt x="177" y="74"/>
                        </a:lnTo>
                        <a:lnTo>
                          <a:pt x="184" y="80"/>
                        </a:lnTo>
                        <a:lnTo>
                          <a:pt x="155" y="86"/>
                        </a:lnTo>
                        <a:lnTo>
                          <a:pt x="125" y="93"/>
                        </a:lnTo>
                        <a:lnTo>
                          <a:pt x="108" y="96"/>
                        </a:lnTo>
                        <a:lnTo>
                          <a:pt x="88" y="97"/>
                        </a:lnTo>
                        <a:lnTo>
                          <a:pt x="77" y="97"/>
                        </a:lnTo>
                        <a:lnTo>
                          <a:pt x="65" y="96"/>
                        </a:lnTo>
                        <a:lnTo>
                          <a:pt x="52" y="95"/>
                        </a:lnTo>
                        <a:lnTo>
                          <a:pt x="38" y="93"/>
                        </a:lnTo>
                        <a:lnTo>
                          <a:pt x="4" y="111"/>
                        </a:lnTo>
                        <a:lnTo>
                          <a:pt x="1" y="122"/>
                        </a:lnTo>
                        <a:lnTo>
                          <a:pt x="0" y="129"/>
                        </a:lnTo>
                        <a:lnTo>
                          <a:pt x="1" y="130"/>
                        </a:lnTo>
                        <a:lnTo>
                          <a:pt x="4" y="131"/>
                        </a:lnTo>
                        <a:lnTo>
                          <a:pt x="7" y="131"/>
                        </a:lnTo>
                        <a:lnTo>
                          <a:pt x="12" y="131"/>
                        </a:lnTo>
                        <a:lnTo>
                          <a:pt x="28" y="131"/>
                        </a:lnTo>
                        <a:lnTo>
                          <a:pt x="51" y="129"/>
                        </a:lnTo>
                        <a:lnTo>
                          <a:pt x="110" y="123"/>
                        </a:lnTo>
                        <a:lnTo>
                          <a:pt x="114" y="127"/>
                        </a:lnTo>
                        <a:lnTo>
                          <a:pt x="119" y="131"/>
                        </a:lnTo>
                        <a:lnTo>
                          <a:pt x="123" y="134"/>
                        </a:lnTo>
                        <a:lnTo>
                          <a:pt x="128" y="137"/>
                        </a:lnTo>
                        <a:lnTo>
                          <a:pt x="137" y="141"/>
                        </a:lnTo>
                        <a:lnTo>
                          <a:pt x="148" y="144"/>
                        </a:lnTo>
                        <a:lnTo>
                          <a:pt x="159" y="147"/>
                        </a:lnTo>
                        <a:lnTo>
                          <a:pt x="172" y="148"/>
                        </a:lnTo>
                        <a:lnTo>
                          <a:pt x="185" y="148"/>
                        </a:lnTo>
                        <a:lnTo>
                          <a:pt x="197" y="148"/>
                        </a:lnTo>
                        <a:lnTo>
                          <a:pt x="210" y="148"/>
                        </a:lnTo>
                        <a:lnTo>
                          <a:pt x="222" y="148"/>
                        </a:lnTo>
                        <a:lnTo>
                          <a:pt x="233" y="148"/>
                        </a:lnTo>
                        <a:lnTo>
                          <a:pt x="243" y="148"/>
                        </a:lnTo>
                        <a:lnTo>
                          <a:pt x="255" y="148"/>
                        </a:lnTo>
                        <a:lnTo>
                          <a:pt x="265" y="145"/>
                        </a:lnTo>
                        <a:lnTo>
                          <a:pt x="275" y="143"/>
                        </a:lnTo>
                        <a:lnTo>
                          <a:pt x="284" y="140"/>
                        </a:lnTo>
                        <a:lnTo>
                          <a:pt x="301" y="134"/>
                        </a:lnTo>
                        <a:lnTo>
                          <a:pt x="323" y="129"/>
                        </a:lnTo>
                        <a:lnTo>
                          <a:pt x="334" y="121"/>
                        </a:lnTo>
                        <a:lnTo>
                          <a:pt x="344" y="113"/>
                        </a:lnTo>
                        <a:lnTo>
                          <a:pt x="353" y="103"/>
                        </a:lnTo>
                        <a:lnTo>
                          <a:pt x="360" y="93"/>
                        </a:lnTo>
                        <a:lnTo>
                          <a:pt x="372" y="72"/>
                        </a:lnTo>
                        <a:lnTo>
                          <a:pt x="382" y="55"/>
                        </a:lnTo>
                        <a:lnTo>
                          <a:pt x="376" y="52"/>
                        </a:lnTo>
                        <a:lnTo>
                          <a:pt x="367" y="47"/>
                        </a:lnTo>
                        <a:lnTo>
                          <a:pt x="363" y="44"/>
                        </a:lnTo>
                        <a:lnTo>
                          <a:pt x="359" y="39"/>
                        </a:lnTo>
                        <a:lnTo>
                          <a:pt x="357" y="32"/>
                        </a:lnTo>
                        <a:lnTo>
                          <a:pt x="356" y="24"/>
                        </a:lnTo>
                        <a:lnTo>
                          <a:pt x="347" y="22"/>
                        </a:lnTo>
                        <a:lnTo>
                          <a:pt x="341" y="20"/>
                        </a:lnTo>
                        <a:lnTo>
                          <a:pt x="334" y="17"/>
                        </a:lnTo>
                        <a:lnTo>
                          <a:pt x="330" y="14"/>
                        </a:lnTo>
                        <a:lnTo>
                          <a:pt x="319" y="8"/>
                        </a:lnTo>
                        <a:lnTo>
                          <a:pt x="303" y="0"/>
                        </a:lnTo>
                        <a:lnTo>
                          <a:pt x="203" y="18"/>
                        </a:lnTo>
                      </a:path>
                    </a:pathLst>
                  </a:custGeom>
                  <a:grpFill/>
                  <a:ln w="9525" cap="flat" cmpd="sng">
                    <a:solidFill>
                      <a:schemeClr val="bg1"/>
                    </a:solidFill>
                    <a:prstDash val="solid"/>
                    <a:round/>
                    <a:headEnd type="none" w="med" len="med"/>
                    <a:tailEnd type="none" w="med" len="med"/>
                  </a:ln>
                  <a:effectLst/>
                </p:spPr>
                <p:txBody>
                  <a:bodyPr/>
                  <a:lstStyle/>
                  <a:p>
                    <a:endParaRPr lang="en-GB" sz="1637"/>
                  </a:p>
                </p:txBody>
              </p:sp>
              <p:sp>
                <p:nvSpPr>
                  <p:cNvPr id="482" name="Freeform 16"/>
                  <p:cNvSpPr>
                    <a:spLocks/>
                  </p:cNvSpPr>
                  <p:nvPr>
                    <p:custDataLst>
                      <p:tags r:id="rId312"/>
                    </p:custDataLst>
                  </p:nvPr>
                </p:nvSpPr>
                <p:spPr bwMode="auto">
                  <a:xfrm>
                    <a:off x="4058167" y="2019028"/>
                    <a:ext cx="199292" cy="268645"/>
                  </a:xfrm>
                  <a:custGeom>
                    <a:avLst/>
                    <a:gdLst>
                      <a:gd name="T0" fmla="*/ 177560 w 438"/>
                      <a:gd name="T1" fmla="*/ 100319 h 451"/>
                      <a:gd name="T2" fmla="*/ 170058 w 438"/>
                      <a:gd name="T3" fmla="*/ 67583 h 451"/>
                      <a:gd name="T4" fmla="*/ 161305 w 438"/>
                      <a:gd name="T5" fmla="*/ 44879 h 451"/>
                      <a:gd name="T6" fmla="*/ 152969 w 438"/>
                      <a:gd name="T7" fmla="*/ 32736 h 451"/>
                      <a:gd name="T8" fmla="*/ 148384 w 438"/>
                      <a:gd name="T9" fmla="*/ 30624 h 451"/>
                      <a:gd name="T10" fmla="*/ 139631 w 438"/>
                      <a:gd name="T11" fmla="*/ 23760 h 451"/>
                      <a:gd name="T12" fmla="*/ 130878 w 438"/>
                      <a:gd name="T13" fmla="*/ 20064 h 451"/>
                      <a:gd name="T14" fmla="*/ 122125 w 438"/>
                      <a:gd name="T15" fmla="*/ 20064 h 451"/>
                      <a:gd name="T16" fmla="*/ 115039 w 438"/>
                      <a:gd name="T17" fmla="*/ 22176 h 451"/>
                      <a:gd name="T18" fmla="*/ 104619 w 438"/>
                      <a:gd name="T19" fmla="*/ 30624 h 451"/>
                      <a:gd name="T20" fmla="*/ 97950 w 438"/>
                      <a:gd name="T21" fmla="*/ 35376 h 451"/>
                      <a:gd name="T22" fmla="*/ 90447 w 438"/>
                      <a:gd name="T23" fmla="*/ 34848 h 451"/>
                      <a:gd name="T24" fmla="*/ 72525 w 438"/>
                      <a:gd name="T25" fmla="*/ 19536 h 451"/>
                      <a:gd name="T26" fmla="*/ 47099 w 438"/>
                      <a:gd name="T27" fmla="*/ 0 h 451"/>
                      <a:gd name="T28" fmla="*/ 39597 w 438"/>
                      <a:gd name="T29" fmla="*/ 12144 h 451"/>
                      <a:gd name="T30" fmla="*/ 38763 w 438"/>
                      <a:gd name="T31" fmla="*/ 22704 h 451"/>
                      <a:gd name="T32" fmla="*/ 40847 w 438"/>
                      <a:gd name="T33" fmla="*/ 27456 h 451"/>
                      <a:gd name="T34" fmla="*/ 49600 w 438"/>
                      <a:gd name="T35" fmla="*/ 36432 h 451"/>
                      <a:gd name="T36" fmla="*/ 41264 w 438"/>
                      <a:gd name="T37" fmla="*/ 38544 h 451"/>
                      <a:gd name="T38" fmla="*/ 27509 w 438"/>
                      <a:gd name="T39" fmla="*/ 49103 h 451"/>
                      <a:gd name="T40" fmla="*/ 24175 w 438"/>
                      <a:gd name="T41" fmla="*/ 62831 h 451"/>
                      <a:gd name="T42" fmla="*/ 18756 w 438"/>
                      <a:gd name="T43" fmla="*/ 72863 h 451"/>
                      <a:gd name="T44" fmla="*/ 14588 w 438"/>
                      <a:gd name="T45" fmla="*/ 82367 h 451"/>
                      <a:gd name="T46" fmla="*/ 13755 w 438"/>
                      <a:gd name="T47" fmla="*/ 94511 h 451"/>
                      <a:gd name="T48" fmla="*/ 2918 w 438"/>
                      <a:gd name="T49" fmla="*/ 125662 h 451"/>
                      <a:gd name="T50" fmla="*/ 6252 w 438"/>
                      <a:gd name="T51" fmla="*/ 129886 h 451"/>
                      <a:gd name="T52" fmla="*/ 10837 w 438"/>
                      <a:gd name="T53" fmla="*/ 130414 h 451"/>
                      <a:gd name="T54" fmla="*/ 13755 w 438"/>
                      <a:gd name="T55" fmla="*/ 182686 h 451"/>
                      <a:gd name="T56" fmla="*/ 38763 w 438"/>
                      <a:gd name="T57" fmla="*/ 186382 h 451"/>
                      <a:gd name="T58" fmla="*/ 43348 w 438"/>
                      <a:gd name="T59" fmla="*/ 198525 h 451"/>
                      <a:gd name="T60" fmla="*/ 37096 w 438"/>
                      <a:gd name="T61" fmla="*/ 224397 h 451"/>
                      <a:gd name="T62" fmla="*/ 45432 w 438"/>
                      <a:gd name="T63" fmla="*/ 236013 h 451"/>
                      <a:gd name="T64" fmla="*/ 63355 w 438"/>
                      <a:gd name="T65" fmla="*/ 236013 h 451"/>
                      <a:gd name="T66" fmla="*/ 85446 w 438"/>
                      <a:gd name="T67" fmla="*/ 234429 h 451"/>
                      <a:gd name="T68" fmla="*/ 115039 w 438"/>
                      <a:gd name="T69" fmla="*/ 235485 h 451"/>
                      <a:gd name="T70" fmla="*/ 142965 w 438"/>
                      <a:gd name="T71" fmla="*/ 233373 h 451"/>
                      <a:gd name="T72" fmla="*/ 155053 w 438"/>
                      <a:gd name="T73" fmla="*/ 228093 h 451"/>
                      <a:gd name="T74" fmla="*/ 149634 w 438"/>
                      <a:gd name="T75" fmla="*/ 218061 h 451"/>
                      <a:gd name="T76" fmla="*/ 153802 w 438"/>
                      <a:gd name="T77" fmla="*/ 212781 h 451"/>
                      <a:gd name="T78" fmla="*/ 155053 w 438"/>
                      <a:gd name="T79" fmla="*/ 201693 h 451"/>
                      <a:gd name="T80" fmla="*/ 158387 w 438"/>
                      <a:gd name="T81" fmla="*/ 193774 h 451"/>
                      <a:gd name="T82" fmla="*/ 142965 w 438"/>
                      <a:gd name="T83" fmla="*/ 181630 h 451"/>
                      <a:gd name="T84" fmla="*/ 135463 w 438"/>
                      <a:gd name="T85" fmla="*/ 170542 h 451"/>
                      <a:gd name="T86" fmla="*/ 129627 w 438"/>
                      <a:gd name="T87" fmla="*/ 155230 h 451"/>
                      <a:gd name="T88" fmla="*/ 122542 w 438"/>
                      <a:gd name="T89" fmla="*/ 146254 h 451"/>
                      <a:gd name="T90" fmla="*/ 130878 w 438"/>
                      <a:gd name="T91" fmla="*/ 145198 h 451"/>
                      <a:gd name="T92" fmla="*/ 144216 w 438"/>
                      <a:gd name="T93" fmla="*/ 143086 h 451"/>
                      <a:gd name="T94" fmla="*/ 153802 w 438"/>
                      <a:gd name="T95" fmla="*/ 137278 h 451"/>
                      <a:gd name="T96" fmla="*/ 169641 w 438"/>
                      <a:gd name="T97" fmla="*/ 126718 h 451"/>
                      <a:gd name="T98" fmla="*/ 182562 w 438"/>
                      <a:gd name="T99" fmla="*/ 124078 h 45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438" h="451">
                        <a:moveTo>
                          <a:pt x="438" y="235"/>
                        </a:moveTo>
                        <a:lnTo>
                          <a:pt x="431" y="212"/>
                        </a:lnTo>
                        <a:lnTo>
                          <a:pt x="426" y="190"/>
                        </a:lnTo>
                        <a:lnTo>
                          <a:pt x="420" y="169"/>
                        </a:lnTo>
                        <a:lnTo>
                          <a:pt x="415" y="148"/>
                        </a:lnTo>
                        <a:lnTo>
                          <a:pt x="408" y="128"/>
                        </a:lnTo>
                        <a:lnTo>
                          <a:pt x="398" y="106"/>
                        </a:lnTo>
                        <a:lnTo>
                          <a:pt x="393" y="95"/>
                        </a:lnTo>
                        <a:lnTo>
                          <a:pt x="387" y="85"/>
                        </a:lnTo>
                        <a:lnTo>
                          <a:pt x="380" y="74"/>
                        </a:lnTo>
                        <a:lnTo>
                          <a:pt x="372" y="62"/>
                        </a:lnTo>
                        <a:lnTo>
                          <a:pt x="367" y="62"/>
                        </a:lnTo>
                        <a:lnTo>
                          <a:pt x="363" y="61"/>
                        </a:lnTo>
                        <a:lnTo>
                          <a:pt x="359" y="60"/>
                        </a:lnTo>
                        <a:lnTo>
                          <a:pt x="356" y="58"/>
                        </a:lnTo>
                        <a:lnTo>
                          <a:pt x="349" y="54"/>
                        </a:lnTo>
                        <a:lnTo>
                          <a:pt x="342" y="49"/>
                        </a:lnTo>
                        <a:lnTo>
                          <a:pt x="335" y="45"/>
                        </a:lnTo>
                        <a:lnTo>
                          <a:pt x="326" y="41"/>
                        </a:lnTo>
                        <a:lnTo>
                          <a:pt x="320" y="40"/>
                        </a:lnTo>
                        <a:lnTo>
                          <a:pt x="314" y="38"/>
                        </a:lnTo>
                        <a:lnTo>
                          <a:pt x="307" y="38"/>
                        </a:lnTo>
                        <a:lnTo>
                          <a:pt x="298" y="37"/>
                        </a:lnTo>
                        <a:lnTo>
                          <a:pt x="293" y="38"/>
                        </a:lnTo>
                        <a:lnTo>
                          <a:pt x="287" y="39"/>
                        </a:lnTo>
                        <a:lnTo>
                          <a:pt x="282" y="40"/>
                        </a:lnTo>
                        <a:lnTo>
                          <a:pt x="276" y="42"/>
                        </a:lnTo>
                        <a:lnTo>
                          <a:pt x="268" y="47"/>
                        </a:lnTo>
                        <a:lnTo>
                          <a:pt x="260" y="52"/>
                        </a:lnTo>
                        <a:lnTo>
                          <a:pt x="251" y="58"/>
                        </a:lnTo>
                        <a:lnTo>
                          <a:pt x="244" y="64"/>
                        </a:lnTo>
                        <a:lnTo>
                          <a:pt x="239" y="66"/>
                        </a:lnTo>
                        <a:lnTo>
                          <a:pt x="235" y="67"/>
                        </a:lnTo>
                        <a:lnTo>
                          <a:pt x="230" y="68"/>
                        </a:lnTo>
                        <a:lnTo>
                          <a:pt x="226" y="69"/>
                        </a:lnTo>
                        <a:lnTo>
                          <a:pt x="217" y="66"/>
                        </a:lnTo>
                        <a:lnTo>
                          <a:pt x="205" y="58"/>
                        </a:lnTo>
                        <a:lnTo>
                          <a:pt x="190" y="48"/>
                        </a:lnTo>
                        <a:lnTo>
                          <a:pt x="174" y="37"/>
                        </a:lnTo>
                        <a:lnTo>
                          <a:pt x="145" y="16"/>
                        </a:lnTo>
                        <a:lnTo>
                          <a:pt x="133" y="7"/>
                        </a:lnTo>
                        <a:lnTo>
                          <a:pt x="113" y="0"/>
                        </a:lnTo>
                        <a:lnTo>
                          <a:pt x="104" y="9"/>
                        </a:lnTo>
                        <a:lnTo>
                          <a:pt x="98" y="18"/>
                        </a:lnTo>
                        <a:lnTo>
                          <a:pt x="95" y="23"/>
                        </a:lnTo>
                        <a:lnTo>
                          <a:pt x="94" y="28"/>
                        </a:lnTo>
                        <a:lnTo>
                          <a:pt x="93" y="35"/>
                        </a:lnTo>
                        <a:lnTo>
                          <a:pt x="93" y="43"/>
                        </a:lnTo>
                        <a:lnTo>
                          <a:pt x="93" y="46"/>
                        </a:lnTo>
                        <a:lnTo>
                          <a:pt x="95" y="49"/>
                        </a:lnTo>
                        <a:lnTo>
                          <a:pt x="98" y="52"/>
                        </a:lnTo>
                        <a:lnTo>
                          <a:pt x="101" y="55"/>
                        </a:lnTo>
                        <a:lnTo>
                          <a:pt x="110" y="63"/>
                        </a:lnTo>
                        <a:lnTo>
                          <a:pt x="119" y="69"/>
                        </a:lnTo>
                        <a:lnTo>
                          <a:pt x="112" y="69"/>
                        </a:lnTo>
                        <a:lnTo>
                          <a:pt x="105" y="71"/>
                        </a:lnTo>
                        <a:lnTo>
                          <a:pt x="99" y="73"/>
                        </a:lnTo>
                        <a:lnTo>
                          <a:pt x="93" y="76"/>
                        </a:lnTo>
                        <a:lnTo>
                          <a:pt x="80" y="84"/>
                        </a:lnTo>
                        <a:lnTo>
                          <a:pt x="66" y="93"/>
                        </a:lnTo>
                        <a:lnTo>
                          <a:pt x="63" y="103"/>
                        </a:lnTo>
                        <a:lnTo>
                          <a:pt x="61" y="112"/>
                        </a:lnTo>
                        <a:lnTo>
                          <a:pt x="58" y="119"/>
                        </a:lnTo>
                        <a:lnTo>
                          <a:pt x="56" y="125"/>
                        </a:lnTo>
                        <a:lnTo>
                          <a:pt x="49" y="133"/>
                        </a:lnTo>
                        <a:lnTo>
                          <a:pt x="45" y="138"/>
                        </a:lnTo>
                        <a:lnTo>
                          <a:pt x="39" y="144"/>
                        </a:lnTo>
                        <a:lnTo>
                          <a:pt x="36" y="151"/>
                        </a:lnTo>
                        <a:lnTo>
                          <a:pt x="35" y="156"/>
                        </a:lnTo>
                        <a:lnTo>
                          <a:pt x="34" y="162"/>
                        </a:lnTo>
                        <a:lnTo>
                          <a:pt x="33" y="169"/>
                        </a:lnTo>
                        <a:lnTo>
                          <a:pt x="33" y="179"/>
                        </a:lnTo>
                        <a:lnTo>
                          <a:pt x="0" y="235"/>
                        </a:lnTo>
                        <a:lnTo>
                          <a:pt x="4" y="236"/>
                        </a:lnTo>
                        <a:lnTo>
                          <a:pt x="7" y="238"/>
                        </a:lnTo>
                        <a:lnTo>
                          <a:pt x="11" y="240"/>
                        </a:lnTo>
                        <a:lnTo>
                          <a:pt x="13" y="243"/>
                        </a:lnTo>
                        <a:lnTo>
                          <a:pt x="15" y="246"/>
                        </a:lnTo>
                        <a:lnTo>
                          <a:pt x="18" y="248"/>
                        </a:lnTo>
                        <a:lnTo>
                          <a:pt x="22" y="248"/>
                        </a:lnTo>
                        <a:lnTo>
                          <a:pt x="26" y="247"/>
                        </a:lnTo>
                        <a:lnTo>
                          <a:pt x="39" y="277"/>
                        </a:lnTo>
                        <a:lnTo>
                          <a:pt x="33" y="308"/>
                        </a:lnTo>
                        <a:lnTo>
                          <a:pt x="33" y="346"/>
                        </a:lnTo>
                        <a:lnTo>
                          <a:pt x="53" y="347"/>
                        </a:lnTo>
                        <a:lnTo>
                          <a:pt x="72" y="350"/>
                        </a:lnTo>
                        <a:lnTo>
                          <a:pt x="93" y="353"/>
                        </a:lnTo>
                        <a:lnTo>
                          <a:pt x="113" y="358"/>
                        </a:lnTo>
                        <a:lnTo>
                          <a:pt x="107" y="366"/>
                        </a:lnTo>
                        <a:lnTo>
                          <a:pt x="104" y="376"/>
                        </a:lnTo>
                        <a:lnTo>
                          <a:pt x="100" y="387"/>
                        </a:lnTo>
                        <a:lnTo>
                          <a:pt x="96" y="400"/>
                        </a:lnTo>
                        <a:lnTo>
                          <a:pt x="89" y="425"/>
                        </a:lnTo>
                        <a:lnTo>
                          <a:pt x="79" y="451"/>
                        </a:lnTo>
                        <a:lnTo>
                          <a:pt x="94" y="449"/>
                        </a:lnTo>
                        <a:lnTo>
                          <a:pt x="109" y="447"/>
                        </a:lnTo>
                        <a:lnTo>
                          <a:pt x="123" y="447"/>
                        </a:lnTo>
                        <a:lnTo>
                          <a:pt x="137" y="447"/>
                        </a:lnTo>
                        <a:lnTo>
                          <a:pt x="152" y="447"/>
                        </a:lnTo>
                        <a:lnTo>
                          <a:pt x="169" y="446"/>
                        </a:lnTo>
                        <a:lnTo>
                          <a:pt x="186" y="445"/>
                        </a:lnTo>
                        <a:lnTo>
                          <a:pt x="205" y="444"/>
                        </a:lnTo>
                        <a:lnTo>
                          <a:pt x="228" y="445"/>
                        </a:lnTo>
                        <a:lnTo>
                          <a:pt x="252" y="446"/>
                        </a:lnTo>
                        <a:lnTo>
                          <a:pt x="276" y="446"/>
                        </a:lnTo>
                        <a:lnTo>
                          <a:pt x="300" y="445"/>
                        </a:lnTo>
                        <a:lnTo>
                          <a:pt x="322" y="444"/>
                        </a:lnTo>
                        <a:lnTo>
                          <a:pt x="343" y="442"/>
                        </a:lnTo>
                        <a:lnTo>
                          <a:pt x="362" y="440"/>
                        </a:lnTo>
                        <a:lnTo>
                          <a:pt x="379" y="438"/>
                        </a:lnTo>
                        <a:lnTo>
                          <a:pt x="372" y="432"/>
                        </a:lnTo>
                        <a:lnTo>
                          <a:pt x="365" y="425"/>
                        </a:lnTo>
                        <a:lnTo>
                          <a:pt x="361" y="419"/>
                        </a:lnTo>
                        <a:lnTo>
                          <a:pt x="359" y="413"/>
                        </a:lnTo>
                        <a:lnTo>
                          <a:pt x="363" y="411"/>
                        </a:lnTo>
                        <a:lnTo>
                          <a:pt x="367" y="407"/>
                        </a:lnTo>
                        <a:lnTo>
                          <a:pt x="369" y="403"/>
                        </a:lnTo>
                        <a:lnTo>
                          <a:pt x="370" y="398"/>
                        </a:lnTo>
                        <a:lnTo>
                          <a:pt x="372" y="389"/>
                        </a:lnTo>
                        <a:lnTo>
                          <a:pt x="372" y="382"/>
                        </a:lnTo>
                        <a:lnTo>
                          <a:pt x="385" y="379"/>
                        </a:lnTo>
                        <a:lnTo>
                          <a:pt x="398" y="376"/>
                        </a:lnTo>
                        <a:lnTo>
                          <a:pt x="380" y="367"/>
                        </a:lnTo>
                        <a:lnTo>
                          <a:pt x="365" y="359"/>
                        </a:lnTo>
                        <a:lnTo>
                          <a:pt x="353" y="351"/>
                        </a:lnTo>
                        <a:lnTo>
                          <a:pt x="343" y="344"/>
                        </a:lnTo>
                        <a:lnTo>
                          <a:pt x="336" y="336"/>
                        </a:lnTo>
                        <a:lnTo>
                          <a:pt x="330" y="329"/>
                        </a:lnTo>
                        <a:lnTo>
                          <a:pt x="325" y="323"/>
                        </a:lnTo>
                        <a:lnTo>
                          <a:pt x="322" y="317"/>
                        </a:lnTo>
                        <a:lnTo>
                          <a:pt x="316" y="305"/>
                        </a:lnTo>
                        <a:lnTo>
                          <a:pt x="311" y="294"/>
                        </a:lnTo>
                        <a:lnTo>
                          <a:pt x="306" y="289"/>
                        </a:lnTo>
                        <a:lnTo>
                          <a:pt x="301" y="283"/>
                        </a:lnTo>
                        <a:lnTo>
                          <a:pt x="294" y="277"/>
                        </a:lnTo>
                        <a:lnTo>
                          <a:pt x="285" y="271"/>
                        </a:lnTo>
                        <a:lnTo>
                          <a:pt x="301" y="274"/>
                        </a:lnTo>
                        <a:lnTo>
                          <a:pt x="314" y="275"/>
                        </a:lnTo>
                        <a:lnTo>
                          <a:pt x="326" y="275"/>
                        </a:lnTo>
                        <a:lnTo>
                          <a:pt x="336" y="273"/>
                        </a:lnTo>
                        <a:lnTo>
                          <a:pt x="346" y="271"/>
                        </a:lnTo>
                        <a:lnTo>
                          <a:pt x="354" y="268"/>
                        </a:lnTo>
                        <a:lnTo>
                          <a:pt x="362" y="264"/>
                        </a:lnTo>
                        <a:lnTo>
                          <a:pt x="369" y="260"/>
                        </a:lnTo>
                        <a:lnTo>
                          <a:pt x="383" y="251"/>
                        </a:lnTo>
                        <a:lnTo>
                          <a:pt x="398" y="243"/>
                        </a:lnTo>
                        <a:lnTo>
                          <a:pt x="407" y="240"/>
                        </a:lnTo>
                        <a:lnTo>
                          <a:pt x="416" y="237"/>
                        </a:lnTo>
                        <a:lnTo>
                          <a:pt x="427" y="236"/>
                        </a:lnTo>
                        <a:lnTo>
                          <a:pt x="438" y="235"/>
                        </a:lnTo>
                      </a:path>
                    </a:pathLst>
                  </a:custGeom>
                  <a:grpFill/>
                  <a:ln w="9525" cap="flat" cmpd="sng">
                    <a:solidFill>
                      <a:schemeClr val="bg1"/>
                    </a:solidFill>
                    <a:prstDash val="solid"/>
                    <a:round/>
                    <a:headEnd type="none" w="med" len="med"/>
                    <a:tailEnd type="none" w="med" len="med"/>
                  </a:ln>
                  <a:effectLst/>
                </p:spPr>
                <p:txBody>
                  <a:bodyPr/>
                  <a:lstStyle/>
                  <a:p>
                    <a:endParaRPr lang="en-GB" sz="1637"/>
                  </a:p>
                </p:txBody>
              </p:sp>
              <p:sp>
                <p:nvSpPr>
                  <p:cNvPr id="483" name="Freeform 243"/>
                  <p:cNvSpPr>
                    <a:spLocks/>
                  </p:cNvSpPr>
                  <p:nvPr>
                    <p:custDataLst>
                      <p:tags r:id="rId313"/>
                    </p:custDataLst>
                  </p:nvPr>
                </p:nvSpPr>
                <p:spPr bwMode="auto">
                  <a:xfrm>
                    <a:off x="4144816" y="1567705"/>
                    <a:ext cx="256481" cy="445950"/>
                  </a:xfrm>
                  <a:custGeom>
                    <a:avLst/>
                    <a:gdLst>
                      <a:gd name="T0" fmla="*/ 185394 w 531"/>
                      <a:gd name="T1" fmla="*/ 106002 h 757"/>
                      <a:gd name="T2" fmla="*/ 179642 w 531"/>
                      <a:gd name="T3" fmla="*/ 115401 h 757"/>
                      <a:gd name="T4" fmla="*/ 178757 w 531"/>
                      <a:gd name="T5" fmla="*/ 123756 h 757"/>
                      <a:gd name="T6" fmla="*/ 169022 w 531"/>
                      <a:gd name="T7" fmla="*/ 143598 h 757"/>
                      <a:gd name="T8" fmla="*/ 143802 w 531"/>
                      <a:gd name="T9" fmla="*/ 159786 h 757"/>
                      <a:gd name="T10" fmla="*/ 111502 w 531"/>
                      <a:gd name="T11" fmla="*/ 184850 h 757"/>
                      <a:gd name="T12" fmla="*/ 104865 w 531"/>
                      <a:gd name="T13" fmla="*/ 192683 h 757"/>
                      <a:gd name="T14" fmla="*/ 108404 w 531"/>
                      <a:gd name="T15" fmla="*/ 198949 h 757"/>
                      <a:gd name="T16" fmla="*/ 106192 w 531"/>
                      <a:gd name="T17" fmla="*/ 221402 h 757"/>
                      <a:gd name="T18" fmla="*/ 105750 w 531"/>
                      <a:gd name="T19" fmla="*/ 234457 h 757"/>
                      <a:gd name="T20" fmla="*/ 115926 w 531"/>
                      <a:gd name="T21" fmla="*/ 244378 h 757"/>
                      <a:gd name="T22" fmla="*/ 141589 w 531"/>
                      <a:gd name="T23" fmla="*/ 253255 h 757"/>
                      <a:gd name="T24" fmla="*/ 146899 w 531"/>
                      <a:gd name="T25" fmla="*/ 263699 h 757"/>
                      <a:gd name="T26" fmla="*/ 137165 w 531"/>
                      <a:gd name="T27" fmla="*/ 277275 h 757"/>
                      <a:gd name="T28" fmla="*/ 120351 w 531"/>
                      <a:gd name="T29" fmla="*/ 285630 h 757"/>
                      <a:gd name="T30" fmla="*/ 117254 w 531"/>
                      <a:gd name="T31" fmla="*/ 292418 h 757"/>
                      <a:gd name="T32" fmla="*/ 111502 w 531"/>
                      <a:gd name="T33" fmla="*/ 329493 h 757"/>
                      <a:gd name="T34" fmla="*/ 105750 w 531"/>
                      <a:gd name="T35" fmla="*/ 376489 h 757"/>
                      <a:gd name="T36" fmla="*/ 76547 w 531"/>
                      <a:gd name="T37" fmla="*/ 379622 h 757"/>
                      <a:gd name="T38" fmla="*/ 67255 w 531"/>
                      <a:gd name="T39" fmla="*/ 385366 h 757"/>
                      <a:gd name="T40" fmla="*/ 67697 w 531"/>
                      <a:gd name="T41" fmla="*/ 395287 h 757"/>
                      <a:gd name="T42" fmla="*/ 46902 w 531"/>
                      <a:gd name="T43" fmla="*/ 395287 h 757"/>
                      <a:gd name="T44" fmla="*/ 42034 w 531"/>
                      <a:gd name="T45" fmla="*/ 392676 h 757"/>
                      <a:gd name="T46" fmla="*/ 31415 w 531"/>
                      <a:gd name="T47" fmla="*/ 374922 h 757"/>
                      <a:gd name="T48" fmla="*/ 18141 w 531"/>
                      <a:gd name="T49" fmla="*/ 334192 h 757"/>
                      <a:gd name="T50" fmla="*/ 15044 w 531"/>
                      <a:gd name="T51" fmla="*/ 311739 h 757"/>
                      <a:gd name="T52" fmla="*/ 6195 w 531"/>
                      <a:gd name="T53" fmla="*/ 305995 h 757"/>
                      <a:gd name="T54" fmla="*/ 8407 w 531"/>
                      <a:gd name="T55" fmla="*/ 292941 h 757"/>
                      <a:gd name="T56" fmla="*/ 15929 w 531"/>
                      <a:gd name="T57" fmla="*/ 280931 h 757"/>
                      <a:gd name="T58" fmla="*/ 23451 w 531"/>
                      <a:gd name="T59" fmla="*/ 263177 h 757"/>
                      <a:gd name="T60" fmla="*/ 26990 w 531"/>
                      <a:gd name="T61" fmla="*/ 245945 h 757"/>
                      <a:gd name="T62" fmla="*/ 28318 w 531"/>
                      <a:gd name="T63" fmla="*/ 230279 h 757"/>
                      <a:gd name="T64" fmla="*/ 25663 w 531"/>
                      <a:gd name="T65" fmla="*/ 213048 h 757"/>
                      <a:gd name="T66" fmla="*/ 19026 w 531"/>
                      <a:gd name="T67" fmla="*/ 196860 h 757"/>
                      <a:gd name="T68" fmla="*/ 32743 w 531"/>
                      <a:gd name="T69" fmla="*/ 144120 h 757"/>
                      <a:gd name="T70" fmla="*/ 45574 w 531"/>
                      <a:gd name="T71" fmla="*/ 143598 h 757"/>
                      <a:gd name="T72" fmla="*/ 49999 w 531"/>
                      <a:gd name="T73" fmla="*/ 122189 h 757"/>
                      <a:gd name="T74" fmla="*/ 60618 w 531"/>
                      <a:gd name="T75" fmla="*/ 100258 h 757"/>
                      <a:gd name="T76" fmla="*/ 79644 w 531"/>
                      <a:gd name="T77" fmla="*/ 75715 h 757"/>
                      <a:gd name="T78" fmla="*/ 87608 w 531"/>
                      <a:gd name="T79" fmla="*/ 57962 h 757"/>
                      <a:gd name="T80" fmla="*/ 100882 w 531"/>
                      <a:gd name="T81" fmla="*/ 31331 h 757"/>
                      <a:gd name="T82" fmla="*/ 110174 w 531"/>
                      <a:gd name="T83" fmla="*/ 22454 h 757"/>
                      <a:gd name="T84" fmla="*/ 136722 w 531"/>
                      <a:gd name="T85" fmla="*/ 15143 h 757"/>
                      <a:gd name="T86" fmla="*/ 162828 w 531"/>
                      <a:gd name="T87" fmla="*/ 6788 h 757"/>
                      <a:gd name="T88" fmla="*/ 177429 w 531"/>
                      <a:gd name="T89" fmla="*/ 2611 h 757"/>
                      <a:gd name="T90" fmla="*/ 190703 w 531"/>
                      <a:gd name="T91" fmla="*/ 16710 h 757"/>
                      <a:gd name="T92" fmla="*/ 202207 w 531"/>
                      <a:gd name="T93" fmla="*/ 21931 h 757"/>
                      <a:gd name="T94" fmla="*/ 226986 w 531"/>
                      <a:gd name="T95" fmla="*/ 57962 h 757"/>
                      <a:gd name="T96" fmla="*/ 233623 w 531"/>
                      <a:gd name="T97" fmla="*/ 78326 h 75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31" h="757">
                        <a:moveTo>
                          <a:pt x="531" y="190"/>
                        </a:moveTo>
                        <a:lnTo>
                          <a:pt x="432" y="190"/>
                        </a:lnTo>
                        <a:lnTo>
                          <a:pt x="428" y="194"/>
                        </a:lnTo>
                        <a:lnTo>
                          <a:pt x="419" y="203"/>
                        </a:lnTo>
                        <a:lnTo>
                          <a:pt x="413" y="208"/>
                        </a:lnTo>
                        <a:lnTo>
                          <a:pt x="409" y="213"/>
                        </a:lnTo>
                        <a:lnTo>
                          <a:pt x="407" y="218"/>
                        </a:lnTo>
                        <a:lnTo>
                          <a:pt x="406" y="221"/>
                        </a:lnTo>
                        <a:lnTo>
                          <a:pt x="404" y="226"/>
                        </a:lnTo>
                        <a:lnTo>
                          <a:pt x="403" y="230"/>
                        </a:lnTo>
                        <a:lnTo>
                          <a:pt x="403" y="233"/>
                        </a:lnTo>
                        <a:lnTo>
                          <a:pt x="404" y="237"/>
                        </a:lnTo>
                        <a:lnTo>
                          <a:pt x="407" y="244"/>
                        </a:lnTo>
                        <a:lnTo>
                          <a:pt x="412" y="252"/>
                        </a:lnTo>
                        <a:lnTo>
                          <a:pt x="397" y="264"/>
                        </a:lnTo>
                        <a:lnTo>
                          <a:pt x="382" y="275"/>
                        </a:lnTo>
                        <a:lnTo>
                          <a:pt x="367" y="284"/>
                        </a:lnTo>
                        <a:lnTo>
                          <a:pt x="353" y="291"/>
                        </a:lnTo>
                        <a:lnTo>
                          <a:pt x="339" y="299"/>
                        </a:lnTo>
                        <a:lnTo>
                          <a:pt x="325" y="306"/>
                        </a:lnTo>
                        <a:lnTo>
                          <a:pt x="311" y="315"/>
                        </a:lnTo>
                        <a:lnTo>
                          <a:pt x="299" y="325"/>
                        </a:lnTo>
                        <a:lnTo>
                          <a:pt x="277" y="338"/>
                        </a:lnTo>
                        <a:lnTo>
                          <a:pt x="252" y="354"/>
                        </a:lnTo>
                        <a:lnTo>
                          <a:pt x="248" y="358"/>
                        </a:lnTo>
                        <a:lnTo>
                          <a:pt x="242" y="361"/>
                        </a:lnTo>
                        <a:lnTo>
                          <a:pt x="239" y="365"/>
                        </a:lnTo>
                        <a:lnTo>
                          <a:pt x="237" y="369"/>
                        </a:lnTo>
                        <a:lnTo>
                          <a:pt x="237" y="372"/>
                        </a:lnTo>
                        <a:lnTo>
                          <a:pt x="238" y="375"/>
                        </a:lnTo>
                        <a:lnTo>
                          <a:pt x="241" y="378"/>
                        </a:lnTo>
                        <a:lnTo>
                          <a:pt x="245" y="381"/>
                        </a:lnTo>
                        <a:lnTo>
                          <a:pt x="245" y="391"/>
                        </a:lnTo>
                        <a:lnTo>
                          <a:pt x="245" y="400"/>
                        </a:lnTo>
                        <a:lnTo>
                          <a:pt x="243" y="413"/>
                        </a:lnTo>
                        <a:lnTo>
                          <a:pt x="240" y="424"/>
                        </a:lnTo>
                        <a:lnTo>
                          <a:pt x="238" y="430"/>
                        </a:lnTo>
                        <a:lnTo>
                          <a:pt x="238" y="436"/>
                        </a:lnTo>
                        <a:lnTo>
                          <a:pt x="238" y="443"/>
                        </a:lnTo>
                        <a:lnTo>
                          <a:pt x="239" y="449"/>
                        </a:lnTo>
                        <a:lnTo>
                          <a:pt x="243" y="456"/>
                        </a:lnTo>
                        <a:lnTo>
                          <a:pt x="249" y="461"/>
                        </a:lnTo>
                        <a:lnTo>
                          <a:pt x="255" y="465"/>
                        </a:lnTo>
                        <a:lnTo>
                          <a:pt x="262" y="468"/>
                        </a:lnTo>
                        <a:lnTo>
                          <a:pt x="277" y="473"/>
                        </a:lnTo>
                        <a:lnTo>
                          <a:pt x="293" y="477"/>
                        </a:lnTo>
                        <a:lnTo>
                          <a:pt x="308" y="480"/>
                        </a:lnTo>
                        <a:lnTo>
                          <a:pt x="320" y="485"/>
                        </a:lnTo>
                        <a:lnTo>
                          <a:pt x="326" y="488"/>
                        </a:lnTo>
                        <a:lnTo>
                          <a:pt x="329" y="492"/>
                        </a:lnTo>
                        <a:lnTo>
                          <a:pt x="331" y="499"/>
                        </a:lnTo>
                        <a:lnTo>
                          <a:pt x="332" y="505"/>
                        </a:lnTo>
                        <a:lnTo>
                          <a:pt x="332" y="517"/>
                        </a:lnTo>
                        <a:lnTo>
                          <a:pt x="332" y="529"/>
                        </a:lnTo>
                        <a:lnTo>
                          <a:pt x="321" y="530"/>
                        </a:lnTo>
                        <a:lnTo>
                          <a:pt x="310" y="531"/>
                        </a:lnTo>
                        <a:lnTo>
                          <a:pt x="299" y="534"/>
                        </a:lnTo>
                        <a:lnTo>
                          <a:pt x="289" y="537"/>
                        </a:lnTo>
                        <a:lnTo>
                          <a:pt x="280" y="542"/>
                        </a:lnTo>
                        <a:lnTo>
                          <a:pt x="272" y="547"/>
                        </a:lnTo>
                        <a:lnTo>
                          <a:pt x="270" y="551"/>
                        </a:lnTo>
                        <a:lnTo>
                          <a:pt x="267" y="554"/>
                        </a:lnTo>
                        <a:lnTo>
                          <a:pt x="266" y="557"/>
                        </a:lnTo>
                        <a:lnTo>
                          <a:pt x="265" y="560"/>
                        </a:lnTo>
                        <a:lnTo>
                          <a:pt x="264" y="576"/>
                        </a:lnTo>
                        <a:lnTo>
                          <a:pt x="262" y="593"/>
                        </a:lnTo>
                        <a:lnTo>
                          <a:pt x="258" y="612"/>
                        </a:lnTo>
                        <a:lnTo>
                          <a:pt x="252" y="631"/>
                        </a:lnTo>
                        <a:lnTo>
                          <a:pt x="248" y="651"/>
                        </a:lnTo>
                        <a:lnTo>
                          <a:pt x="243" y="673"/>
                        </a:lnTo>
                        <a:lnTo>
                          <a:pt x="240" y="695"/>
                        </a:lnTo>
                        <a:lnTo>
                          <a:pt x="239" y="721"/>
                        </a:lnTo>
                        <a:lnTo>
                          <a:pt x="224" y="721"/>
                        </a:lnTo>
                        <a:lnTo>
                          <a:pt x="206" y="722"/>
                        </a:lnTo>
                        <a:lnTo>
                          <a:pt x="189" y="724"/>
                        </a:lnTo>
                        <a:lnTo>
                          <a:pt x="173" y="727"/>
                        </a:lnTo>
                        <a:lnTo>
                          <a:pt x="166" y="730"/>
                        </a:lnTo>
                        <a:lnTo>
                          <a:pt x="161" y="732"/>
                        </a:lnTo>
                        <a:lnTo>
                          <a:pt x="155" y="735"/>
                        </a:lnTo>
                        <a:lnTo>
                          <a:pt x="152" y="738"/>
                        </a:lnTo>
                        <a:lnTo>
                          <a:pt x="150" y="742"/>
                        </a:lnTo>
                        <a:lnTo>
                          <a:pt x="149" y="747"/>
                        </a:lnTo>
                        <a:lnTo>
                          <a:pt x="150" y="751"/>
                        </a:lnTo>
                        <a:lnTo>
                          <a:pt x="153" y="757"/>
                        </a:lnTo>
                        <a:lnTo>
                          <a:pt x="142" y="757"/>
                        </a:lnTo>
                        <a:lnTo>
                          <a:pt x="127" y="757"/>
                        </a:lnTo>
                        <a:lnTo>
                          <a:pt x="113" y="757"/>
                        </a:lnTo>
                        <a:lnTo>
                          <a:pt x="106" y="757"/>
                        </a:lnTo>
                        <a:lnTo>
                          <a:pt x="104" y="757"/>
                        </a:lnTo>
                        <a:lnTo>
                          <a:pt x="101" y="756"/>
                        </a:lnTo>
                        <a:lnTo>
                          <a:pt x="98" y="754"/>
                        </a:lnTo>
                        <a:lnTo>
                          <a:pt x="95" y="752"/>
                        </a:lnTo>
                        <a:lnTo>
                          <a:pt x="90" y="746"/>
                        </a:lnTo>
                        <a:lnTo>
                          <a:pt x="84" y="738"/>
                        </a:lnTo>
                        <a:lnTo>
                          <a:pt x="77" y="729"/>
                        </a:lnTo>
                        <a:lnTo>
                          <a:pt x="71" y="718"/>
                        </a:lnTo>
                        <a:lnTo>
                          <a:pt x="65" y="706"/>
                        </a:lnTo>
                        <a:lnTo>
                          <a:pt x="60" y="693"/>
                        </a:lnTo>
                        <a:lnTo>
                          <a:pt x="49" y="667"/>
                        </a:lnTo>
                        <a:lnTo>
                          <a:pt x="41" y="640"/>
                        </a:lnTo>
                        <a:lnTo>
                          <a:pt x="38" y="628"/>
                        </a:lnTo>
                        <a:lnTo>
                          <a:pt x="35" y="616"/>
                        </a:lnTo>
                        <a:lnTo>
                          <a:pt x="34" y="606"/>
                        </a:lnTo>
                        <a:lnTo>
                          <a:pt x="34" y="597"/>
                        </a:lnTo>
                        <a:lnTo>
                          <a:pt x="27" y="596"/>
                        </a:lnTo>
                        <a:lnTo>
                          <a:pt x="22" y="594"/>
                        </a:lnTo>
                        <a:lnTo>
                          <a:pt x="17" y="590"/>
                        </a:lnTo>
                        <a:lnTo>
                          <a:pt x="14" y="586"/>
                        </a:lnTo>
                        <a:lnTo>
                          <a:pt x="8" y="576"/>
                        </a:lnTo>
                        <a:lnTo>
                          <a:pt x="0" y="566"/>
                        </a:lnTo>
                        <a:lnTo>
                          <a:pt x="9" y="563"/>
                        </a:lnTo>
                        <a:lnTo>
                          <a:pt x="19" y="561"/>
                        </a:lnTo>
                        <a:lnTo>
                          <a:pt x="27" y="560"/>
                        </a:lnTo>
                        <a:lnTo>
                          <a:pt x="34" y="560"/>
                        </a:lnTo>
                        <a:lnTo>
                          <a:pt x="34" y="548"/>
                        </a:lnTo>
                        <a:lnTo>
                          <a:pt x="36" y="538"/>
                        </a:lnTo>
                        <a:lnTo>
                          <a:pt x="38" y="528"/>
                        </a:lnTo>
                        <a:lnTo>
                          <a:pt x="42" y="519"/>
                        </a:lnTo>
                        <a:lnTo>
                          <a:pt x="47" y="511"/>
                        </a:lnTo>
                        <a:lnTo>
                          <a:pt x="53" y="504"/>
                        </a:lnTo>
                        <a:lnTo>
                          <a:pt x="59" y="498"/>
                        </a:lnTo>
                        <a:lnTo>
                          <a:pt x="67" y="492"/>
                        </a:lnTo>
                        <a:lnTo>
                          <a:pt x="62" y="480"/>
                        </a:lnTo>
                        <a:lnTo>
                          <a:pt x="61" y="471"/>
                        </a:lnTo>
                        <a:lnTo>
                          <a:pt x="61" y="464"/>
                        </a:lnTo>
                        <a:lnTo>
                          <a:pt x="61" y="457"/>
                        </a:lnTo>
                        <a:lnTo>
                          <a:pt x="63" y="450"/>
                        </a:lnTo>
                        <a:lnTo>
                          <a:pt x="64" y="441"/>
                        </a:lnTo>
                        <a:lnTo>
                          <a:pt x="65" y="428"/>
                        </a:lnTo>
                        <a:lnTo>
                          <a:pt x="67" y="412"/>
                        </a:lnTo>
                        <a:lnTo>
                          <a:pt x="62" y="410"/>
                        </a:lnTo>
                        <a:lnTo>
                          <a:pt x="58" y="408"/>
                        </a:lnTo>
                        <a:lnTo>
                          <a:pt x="54" y="404"/>
                        </a:lnTo>
                        <a:lnTo>
                          <a:pt x="51" y="400"/>
                        </a:lnTo>
                        <a:lnTo>
                          <a:pt x="47" y="390"/>
                        </a:lnTo>
                        <a:lnTo>
                          <a:pt x="43" y="377"/>
                        </a:lnTo>
                        <a:lnTo>
                          <a:pt x="40" y="354"/>
                        </a:lnTo>
                        <a:lnTo>
                          <a:pt x="40" y="338"/>
                        </a:lnTo>
                        <a:lnTo>
                          <a:pt x="60" y="277"/>
                        </a:lnTo>
                        <a:lnTo>
                          <a:pt x="74" y="276"/>
                        </a:lnTo>
                        <a:lnTo>
                          <a:pt x="88" y="275"/>
                        </a:lnTo>
                        <a:lnTo>
                          <a:pt x="94" y="274"/>
                        </a:lnTo>
                        <a:lnTo>
                          <a:pt x="99" y="274"/>
                        </a:lnTo>
                        <a:lnTo>
                          <a:pt x="103" y="275"/>
                        </a:lnTo>
                        <a:lnTo>
                          <a:pt x="106" y="277"/>
                        </a:lnTo>
                        <a:lnTo>
                          <a:pt x="107" y="261"/>
                        </a:lnTo>
                        <a:lnTo>
                          <a:pt x="109" y="247"/>
                        </a:lnTo>
                        <a:lnTo>
                          <a:pt x="113" y="234"/>
                        </a:lnTo>
                        <a:lnTo>
                          <a:pt x="118" y="222"/>
                        </a:lnTo>
                        <a:lnTo>
                          <a:pt x="124" y="211"/>
                        </a:lnTo>
                        <a:lnTo>
                          <a:pt x="130" y="201"/>
                        </a:lnTo>
                        <a:lnTo>
                          <a:pt x="137" y="192"/>
                        </a:lnTo>
                        <a:lnTo>
                          <a:pt x="144" y="183"/>
                        </a:lnTo>
                        <a:lnTo>
                          <a:pt x="160" y="168"/>
                        </a:lnTo>
                        <a:lnTo>
                          <a:pt x="173" y="152"/>
                        </a:lnTo>
                        <a:lnTo>
                          <a:pt x="180" y="145"/>
                        </a:lnTo>
                        <a:lnTo>
                          <a:pt x="185" y="138"/>
                        </a:lnTo>
                        <a:lnTo>
                          <a:pt x="189" y="130"/>
                        </a:lnTo>
                        <a:lnTo>
                          <a:pt x="193" y="123"/>
                        </a:lnTo>
                        <a:lnTo>
                          <a:pt x="198" y="111"/>
                        </a:lnTo>
                        <a:lnTo>
                          <a:pt x="205" y="97"/>
                        </a:lnTo>
                        <a:lnTo>
                          <a:pt x="213" y="83"/>
                        </a:lnTo>
                        <a:lnTo>
                          <a:pt x="220" y="71"/>
                        </a:lnTo>
                        <a:lnTo>
                          <a:pt x="228" y="60"/>
                        </a:lnTo>
                        <a:lnTo>
                          <a:pt x="237" y="51"/>
                        </a:lnTo>
                        <a:lnTo>
                          <a:pt x="241" y="47"/>
                        </a:lnTo>
                        <a:lnTo>
                          <a:pt x="244" y="44"/>
                        </a:lnTo>
                        <a:lnTo>
                          <a:pt x="249" y="43"/>
                        </a:lnTo>
                        <a:lnTo>
                          <a:pt x="252" y="42"/>
                        </a:lnTo>
                        <a:lnTo>
                          <a:pt x="272" y="36"/>
                        </a:lnTo>
                        <a:lnTo>
                          <a:pt x="291" y="32"/>
                        </a:lnTo>
                        <a:lnTo>
                          <a:pt x="309" y="29"/>
                        </a:lnTo>
                        <a:lnTo>
                          <a:pt x="327" y="25"/>
                        </a:lnTo>
                        <a:lnTo>
                          <a:pt x="344" y="22"/>
                        </a:lnTo>
                        <a:lnTo>
                          <a:pt x="361" y="16"/>
                        </a:lnTo>
                        <a:lnTo>
                          <a:pt x="368" y="13"/>
                        </a:lnTo>
                        <a:lnTo>
                          <a:pt x="376" y="9"/>
                        </a:lnTo>
                        <a:lnTo>
                          <a:pt x="384" y="5"/>
                        </a:lnTo>
                        <a:lnTo>
                          <a:pt x="392" y="0"/>
                        </a:lnTo>
                        <a:lnTo>
                          <a:pt x="401" y="5"/>
                        </a:lnTo>
                        <a:lnTo>
                          <a:pt x="409" y="11"/>
                        </a:lnTo>
                        <a:lnTo>
                          <a:pt x="416" y="18"/>
                        </a:lnTo>
                        <a:lnTo>
                          <a:pt x="423" y="25"/>
                        </a:lnTo>
                        <a:lnTo>
                          <a:pt x="431" y="32"/>
                        </a:lnTo>
                        <a:lnTo>
                          <a:pt x="441" y="37"/>
                        </a:lnTo>
                        <a:lnTo>
                          <a:pt x="445" y="39"/>
                        </a:lnTo>
                        <a:lnTo>
                          <a:pt x="452" y="41"/>
                        </a:lnTo>
                        <a:lnTo>
                          <a:pt x="457" y="42"/>
                        </a:lnTo>
                        <a:lnTo>
                          <a:pt x="465" y="42"/>
                        </a:lnTo>
                        <a:lnTo>
                          <a:pt x="487" y="72"/>
                        </a:lnTo>
                        <a:lnTo>
                          <a:pt x="508" y="102"/>
                        </a:lnTo>
                        <a:lnTo>
                          <a:pt x="513" y="111"/>
                        </a:lnTo>
                        <a:lnTo>
                          <a:pt x="518" y="120"/>
                        </a:lnTo>
                        <a:lnTo>
                          <a:pt x="521" y="129"/>
                        </a:lnTo>
                        <a:lnTo>
                          <a:pt x="524" y="139"/>
                        </a:lnTo>
                        <a:lnTo>
                          <a:pt x="528" y="150"/>
                        </a:lnTo>
                        <a:lnTo>
                          <a:pt x="530" y="163"/>
                        </a:lnTo>
                        <a:lnTo>
                          <a:pt x="531" y="176"/>
                        </a:lnTo>
                        <a:lnTo>
                          <a:pt x="531" y="190"/>
                        </a:lnTo>
                      </a:path>
                    </a:pathLst>
                  </a:custGeom>
                  <a:grpFill/>
                  <a:ln w="9525" cap="flat" cmpd="sng">
                    <a:solidFill>
                      <a:schemeClr val="bg1"/>
                    </a:solidFill>
                    <a:prstDash val="solid"/>
                    <a:round/>
                    <a:headEnd type="none" w="med" len="med"/>
                    <a:tailEnd type="none" w="med" len="med"/>
                  </a:ln>
                  <a:effectLst/>
                </p:spPr>
                <p:txBody>
                  <a:bodyPr/>
                  <a:lstStyle/>
                  <a:p>
                    <a:endParaRPr lang="en-GB" sz="1637"/>
                  </a:p>
                </p:txBody>
              </p:sp>
              <p:sp>
                <p:nvSpPr>
                  <p:cNvPr id="484" name="Freeform 342"/>
                  <p:cNvSpPr>
                    <a:spLocks/>
                  </p:cNvSpPr>
                  <p:nvPr>
                    <p:custDataLst>
                      <p:tags r:id="rId314"/>
                    </p:custDataLst>
                  </p:nvPr>
                </p:nvSpPr>
                <p:spPr bwMode="auto">
                  <a:xfrm>
                    <a:off x="4233197" y="2026192"/>
                    <a:ext cx="240885" cy="200588"/>
                  </a:xfrm>
                  <a:custGeom>
                    <a:avLst/>
                    <a:gdLst>
                      <a:gd name="T0" fmla="*/ 118852 w 505"/>
                      <a:gd name="T1" fmla="*/ 18881 h 339"/>
                      <a:gd name="T2" fmla="*/ 211487 w 505"/>
                      <a:gd name="T3" fmla="*/ 45106 h 339"/>
                      <a:gd name="T4" fmla="*/ 208865 w 505"/>
                      <a:gd name="T5" fmla="*/ 57169 h 339"/>
                      <a:gd name="T6" fmla="*/ 205806 w 505"/>
                      <a:gd name="T7" fmla="*/ 67658 h 339"/>
                      <a:gd name="T8" fmla="*/ 201437 w 505"/>
                      <a:gd name="T9" fmla="*/ 76050 h 339"/>
                      <a:gd name="T10" fmla="*/ 197067 w 505"/>
                      <a:gd name="T11" fmla="*/ 80246 h 339"/>
                      <a:gd name="T12" fmla="*/ 201437 w 505"/>
                      <a:gd name="T13" fmla="*/ 96505 h 339"/>
                      <a:gd name="T14" fmla="*/ 208428 w 505"/>
                      <a:gd name="T15" fmla="*/ 112764 h 339"/>
                      <a:gd name="T16" fmla="*/ 220663 w 505"/>
                      <a:gd name="T17" fmla="*/ 135317 h 339"/>
                      <a:gd name="T18" fmla="*/ 215420 w 505"/>
                      <a:gd name="T19" fmla="*/ 142135 h 339"/>
                      <a:gd name="T20" fmla="*/ 209302 w 505"/>
                      <a:gd name="T21" fmla="*/ 153149 h 339"/>
                      <a:gd name="T22" fmla="*/ 204496 w 505"/>
                      <a:gd name="T23" fmla="*/ 164688 h 339"/>
                      <a:gd name="T24" fmla="*/ 202748 w 505"/>
                      <a:gd name="T25" fmla="*/ 177800 h 339"/>
                      <a:gd name="T26" fmla="*/ 193572 w 505"/>
                      <a:gd name="T27" fmla="*/ 177276 h 339"/>
                      <a:gd name="T28" fmla="*/ 180900 w 505"/>
                      <a:gd name="T29" fmla="*/ 175702 h 339"/>
                      <a:gd name="T30" fmla="*/ 168228 w 505"/>
                      <a:gd name="T31" fmla="*/ 173604 h 339"/>
                      <a:gd name="T32" fmla="*/ 156430 w 505"/>
                      <a:gd name="T33" fmla="*/ 170982 h 339"/>
                      <a:gd name="T34" fmla="*/ 132835 w 505"/>
                      <a:gd name="T35" fmla="*/ 170457 h 339"/>
                      <a:gd name="T36" fmla="*/ 115356 w 505"/>
                      <a:gd name="T37" fmla="*/ 168359 h 339"/>
                      <a:gd name="T38" fmla="*/ 108365 w 505"/>
                      <a:gd name="T39" fmla="*/ 166261 h 339"/>
                      <a:gd name="T40" fmla="*/ 101374 w 505"/>
                      <a:gd name="T41" fmla="*/ 162590 h 339"/>
                      <a:gd name="T42" fmla="*/ 93072 w 505"/>
                      <a:gd name="T43" fmla="*/ 157345 h 339"/>
                      <a:gd name="T44" fmla="*/ 78652 w 505"/>
                      <a:gd name="T45" fmla="*/ 151576 h 339"/>
                      <a:gd name="T46" fmla="*/ 63796 w 505"/>
                      <a:gd name="T47" fmla="*/ 143184 h 339"/>
                      <a:gd name="T48" fmla="*/ 42822 w 505"/>
                      <a:gd name="T49" fmla="*/ 130596 h 339"/>
                      <a:gd name="T50" fmla="*/ 27091 w 505"/>
                      <a:gd name="T51" fmla="*/ 108044 h 339"/>
                      <a:gd name="T52" fmla="*/ 22722 w 505"/>
                      <a:gd name="T53" fmla="*/ 88638 h 339"/>
                      <a:gd name="T54" fmla="*/ 15730 w 505"/>
                      <a:gd name="T55" fmla="*/ 65036 h 339"/>
                      <a:gd name="T56" fmla="*/ 6554 w 505"/>
                      <a:gd name="T57" fmla="*/ 43532 h 339"/>
                      <a:gd name="T58" fmla="*/ 874 w 505"/>
                      <a:gd name="T59" fmla="*/ 33567 h 339"/>
                      <a:gd name="T60" fmla="*/ 2185 w 505"/>
                      <a:gd name="T61" fmla="*/ 31994 h 339"/>
                      <a:gd name="T62" fmla="*/ 4807 w 505"/>
                      <a:gd name="T63" fmla="*/ 29371 h 339"/>
                      <a:gd name="T64" fmla="*/ 4807 w 505"/>
                      <a:gd name="T65" fmla="*/ 25175 h 339"/>
                      <a:gd name="T66" fmla="*/ 4807 w 505"/>
                      <a:gd name="T67" fmla="*/ 22553 h 339"/>
                      <a:gd name="T68" fmla="*/ 14857 w 505"/>
                      <a:gd name="T69" fmla="*/ 17832 h 339"/>
                      <a:gd name="T70" fmla="*/ 31898 w 505"/>
                      <a:gd name="T71" fmla="*/ 11539 h 339"/>
                      <a:gd name="T72" fmla="*/ 55930 w 505"/>
                      <a:gd name="T73" fmla="*/ 4196 h 339"/>
                      <a:gd name="T74" fmla="*/ 75593 w 505"/>
                      <a:gd name="T75" fmla="*/ 5769 h 339"/>
                      <a:gd name="T76" fmla="*/ 82148 w 505"/>
                      <a:gd name="T77" fmla="*/ 14686 h 339"/>
                      <a:gd name="T78" fmla="*/ 87828 w 505"/>
                      <a:gd name="T79" fmla="*/ 18357 h 339"/>
                      <a:gd name="T80" fmla="*/ 95693 w 505"/>
                      <a:gd name="T81" fmla="*/ 18881 h 339"/>
                      <a:gd name="T82" fmla="*/ 104433 w 505"/>
                      <a:gd name="T83" fmla="*/ 18881 h 339"/>
                      <a:gd name="T84" fmla="*/ 113172 w 505"/>
                      <a:gd name="T85" fmla="*/ 12588 h 33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05" h="339">
                        <a:moveTo>
                          <a:pt x="259" y="24"/>
                        </a:moveTo>
                        <a:lnTo>
                          <a:pt x="272" y="36"/>
                        </a:lnTo>
                        <a:lnTo>
                          <a:pt x="444" y="48"/>
                        </a:lnTo>
                        <a:lnTo>
                          <a:pt x="484" y="86"/>
                        </a:lnTo>
                        <a:lnTo>
                          <a:pt x="482" y="97"/>
                        </a:lnTo>
                        <a:lnTo>
                          <a:pt x="478" y="109"/>
                        </a:lnTo>
                        <a:lnTo>
                          <a:pt x="474" y="120"/>
                        </a:lnTo>
                        <a:lnTo>
                          <a:pt x="471" y="129"/>
                        </a:lnTo>
                        <a:lnTo>
                          <a:pt x="465" y="138"/>
                        </a:lnTo>
                        <a:lnTo>
                          <a:pt x="461" y="145"/>
                        </a:lnTo>
                        <a:lnTo>
                          <a:pt x="456" y="150"/>
                        </a:lnTo>
                        <a:lnTo>
                          <a:pt x="451" y="153"/>
                        </a:lnTo>
                        <a:lnTo>
                          <a:pt x="455" y="169"/>
                        </a:lnTo>
                        <a:lnTo>
                          <a:pt x="461" y="184"/>
                        </a:lnTo>
                        <a:lnTo>
                          <a:pt x="470" y="200"/>
                        </a:lnTo>
                        <a:lnTo>
                          <a:pt x="477" y="215"/>
                        </a:lnTo>
                        <a:lnTo>
                          <a:pt x="494" y="242"/>
                        </a:lnTo>
                        <a:lnTo>
                          <a:pt x="505" y="258"/>
                        </a:lnTo>
                        <a:lnTo>
                          <a:pt x="499" y="264"/>
                        </a:lnTo>
                        <a:lnTo>
                          <a:pt x="493" y="271"/>
                        </a:lnTo>
                        <a:lnTo>
                          <a:pt x="486" y="281"/>
                        </a:lnTo>
                        <a:lnTo>
                          <a:pt x="479" y="292"/>
                        </a:lnTo>
                        <a:lnTo>
                          <a:pt x="474" y="303"/>
                        </a:lnTo>
                        <a:lnTo>
                          <a:pt x="468" y="314"/>
                        </a:lnTo>
                        <a:lnTo>
                          <a:pt x="465" y="326"/>
                        </a:lnTo>
                        <a:lnTo>
                          <a:pt x="464" y="339"/>
                        </a:lnTo>
                        <a:lnTo>
                          <a:pt x="457" y="339"/>
                        </a:lnTo>
                        <a:lnTo>
                          <a:pt x="443" y="338"/>
                        </a:lnTo>
                        <a:lnTo>
                          <a:pt x="428" y="337"/>
                        </a:lnTo>
                        <a:lnTo>
                          <a:pt x="414" y="335"/>
                        </a:lnTo>
                        <a:lnTo>
                          <a:pt x="399" y="333"/>
                        </a:lnTo>
                        <a:lnTo>
                          <a:pt x="385" y="331"/>
                        </a:lnTo>
                        <a:lnTo>
                          <a:pt x="371" y="328"/>
                        </a:lnTo>
                        <a:lnTo>
                          <a:pt x="358" y="326"/>
                        </a:lnTo>
                        <a:lnTo>
                          <a:pt x="344" y="326"/>
                        </a:lnTo>
                        <a:lnTo>
                          <a:pt x="304" y="325"/>
                        </a:lnTo>
                        <a:lnTo>
                          <a:pt x="275" y="323"/>
                        </a:lnTo>
                        <a:lnTo>
                          <a:pt x="264" y="321"/>
                        </a:lnTo>
                        <a:lnTo>
                          <a:pt x="255" y="319"/>
                        </a:lnTo>
                        <a:lnTo>
                          <a:pt x="248" y="317"/>
                        </a:lnTo>
                        <a:lnTo>
                          <a:pt x="242" y="315"/>
                        </a:lnTo>
                        <a:lnTo>
                          <a:pt x="232" y="310"/>
                        </a:lnTo>
                        <a:lnTo>
                          <a:pt x="224" y="305"/>
                        </a:lnTo>
                        <a:lnTo>
                          <a:pt x="213" y="300"/>
                        </a:lnTo>
                        <a:lnTo>
                          <a:pt x="198" y="295"/>
                        </a:lnTo>
                        <a:lnTo>
                          <a:pt x="180" y="289"/>
                        </a:lnTo>
                        <a:lnTo>
                          <a:pt x="162" y="282"/>
                        </a:lnTo>
                        <a:lnTo>
                          <a:pt x="146" y="273"/>
                        </a:lnTo>
                        <a:lnTo>
                          <a:pt x="130" y="266"/>
                        </a:lnTo>
                        <a:lnTo>
                          <a:pt x="98" y="249"/>
                        </a:lnTo>
                        <a:lnTo>
                          <a:pt x="65" y="228"/>
                        </a:lnTo>
                        <a:lnTo>
                          <a:pt x="62" y="206"/>
                        </a:lnTo>
                        <a:lnTo>
                          <a:pt x="57" y="187"/>
                        </a:lnTo>
                        <a:lnTo>
                          <a:pt x="52" y="169"/>
                        </a:lnTo>
                        <a:lnTo>
                          <a:pt x="47" y="152"/>
                        </a:lnTo>
                        <a:lnTo>
                          <a:pt x="36" y="124"/>
                        </a:lnTo>
                        <a:lnTo>
                          <a:pt x="25" y="100"/>
                        </a:lnTo>
                        <a:lnTo>
                          <a:pt x="15" y="83"/>
                        </a:lnTo>
                        <a:lnTo>
                          <a:pt x="7" y="71"/>
                        </a:lnTo>
                        <a:lnTo>
                          <a:pt x="2" y="64"/>
                        </a:lnTo>
                        <a:lnTo>
                          <a:pt x="0" y="62"/>
                        </a:lnTo>
                        <a:lnTo>
                          <a:pt x="5" y="61"/>
                        </a:lnTo>
                        <a:lnTo>
                          <a:pt x="8" y="59"/>
                        </a:lnTo>
                        <a:lnTo>
                          <a:pt x="11" y="56"/>
                        </a:lnTo>
                        <a:lnTo>
                          <a:pt x="11" y="51"/>
                        </a:lnTo>
                        <a:lnTo>
                          <a:pt x="11" y="48"/>
                        </a:lnTo>
                        <a:lnTo>
                          <a:pt x="11" y="45"/>
                        </a:lnTo>
                        <a:lnTo>
                          <a:pt x="11" y="43"/>
                        </a:lnTo>
                        <a:lnTo>
                          <a:pt x="13" y="42"/>
                        </a:lnTo>
                        <a:lnTo>
                          <a:pt x="34" y="34"/>
                        </a:lnTo>
                        <a:lnTo>
                          <a:pt x="55" y="27"/>
                        </a:lnTo>
                        <a:lnTo>
                          <a:pt x="73" y="22"/>
                        </a:lnTo>
                        <a:lnTo>
                          <a:pt x="92" y="17"/>
                        </a:lnTo>
                        <a:lnTo>
                          <a:pt x="128" y="8"/>
                        </a:lnTo>
                        <a:lnTo>
                          <a:pt x="165" y="0"/>
                        </a:lnTo>
                        <a:lnTo>
                          <a:pt x="173" y="11"/>
                        </a:lnTo>
                        <a:lnTo>
                          <a:pt x="183" y="23"/>
                        </a:lnTo>
                        <a:lnTo>
                          <a:pt x="188" y="28"/>
                        </a:lnTo>
                        <a:lnTo>
                          <a:pt x="194" y="32"/>
                        </a:lnTo>
                        <a:lnTo>
                          <a:pt x="201" y="35"/>
                        </a:lnTo>
                        <a:lnTo>
                          <a:pt x="205" y="36"/>
                        </a:lnTo>
                        <a:lnTo>
                          <a:pt x="219" y="36"/>
                        </a:lnTo>
                        <a:lnTo>
                          <a:pt x="230" y="36"/>
                        </a:lnTo>
                        <a:lnTo>
                          <a:pt x="239" y="36"/>
                        </a:lnTo>
                        <a:lnTo>
                          <a:pt x="246" y="36"/>
                        </a:lnTo>
                        <a:lnTo>
                          <a:pt x="259" y="24"/>
                        </a:lnTo>
                      </a:path>
                    </a:pathLst>
                  </a:custGeom>
                  <a:grpFill/>
                  <a:ln w="9525" cap="flat" cmpd="sng">
                    <a:solidFill>
                      <a:schemeClr val="bg1"/>
                    </a:solidFill>
                    <a:prstDash val="solid"/>
                    <a:round/>
                    <a:headEnd type="none" w="med" len="med"/>
                    <a:tailEnd type="none" w="med" len="med"/>
                  </a:ln>
                  <a:effectLst/>
                </p:spPr>
                <p:txBody>
                  <a:bodyPr/>
                  <a:lstStyle/>
                  <a:p>
                    <a:endParaRPr lang="en-GB" sz="1637"/>
                  </a:p>
                </p:txBody>
              </p:sp>
              <p:sp>
                <p:nvSpPr>
                  <p:cNvPr id="485" name="Freeform 344"/>
                  <p:cNvSpPr>
                    <a:spLocks/>
                  </p:cNvSpPr>
                  <p:nvPr>
                    <p:custDataLst>
                      <p:tags r:id="rId315"/>
                    </p:custDataLst>
                  </p:nvPr>
                </p:nvSpPr>
                <p:spPr bwMode="auto">
                  <a:xfrm>
                    <a:off x="4411695" y="1868587"/>
                    <a:ext cx="121309" cy="73429"/>
                  </a:xfrm>
                  <a:custGeom>
                    <a:avLst/>
                    <a:gdLst>
                      <a:gd name="T0" fmla="*/ 111125 w 259"/>
                      <a:gd name="T1" fmla="*/ 65087 h 129"/>
                      <a:gd name="T2" fmla="*/ 109409 w 259"/>
                      <a:gd name="T3" fmla="*/ 51464 h 129"/>
                      <a:gd name="T4" fmla="*/ 108122 w 259"/>
                      <a:gd name="T5" fmla="*/ 40364 h 129"/>
                      <a:gd name="T6" fmla="*/ 108122 w 259"/>
                      <a:gd name="T7" fmla="*/ 31787 h 129"/>
                      <a:gd name="T8" fmla="*/ 108551 w 259"/>
                      <a:gd name="T9" fmla="*/ 25228 h 129"/>
                      <a:gd name="T10" fmla="*/ 110267 w 259"/>
                      <a:gd name="T11" fmla="*/ 14632 h 129"/>
                      <a:gd name="T12" fmla="*/ 111125 w 259"/>
                      <a:gd name="T13" fmla="*/ 6055 h 129"/>
                      <a:gd name="T14" fmla="*/ 110696 w 259"/>
                      <a:gd name="T15" fmla="*/ 7064 h 129"/>
                      <a:gd name="T16" fmla="*/ 109838 w 259"/>
                      <a:gd name="T17" fmla="*/ 8073 h 129"/>
                      <a:gd name="T18" fmla="*/ 108551 w 259"/>
                      <a:gd name="T19" fmla="*/ 8577 h 129"/>
                      <a:gd name="T20" fmla="*/ 106834 w 259"/>
                      <a:gd name="T21" fmla="*/ 9082 h 129"/>
                      <a:gd name="T22" fmla="*/ 102544 w 259"/>
                      <a:gd name="T23" fmla="*/ 9586 h 129"/>
                      <a:gd name="T24" fmla="*/ 97824 w 259"/>
                      <a:gd name="T25" fmla="*/ 9586 h 129"/>
                      <a:gd name="T26" fmla="*/ 87956 w 259"/>
                      <a:gd name="T27" fmla="*/ 9586 h 129"/>
                      <a:gd name="T28" fmla="*/ 82378 w 259"/>
                      <a:gd name="T29" fmla="*/ 9082 h 129"/>
                      <a:gd name="T30" fmla="*/ 77659 w 259"/>
                      <a:gd name="T31" fmla="*/ 8577 h 129"/>
                      <a:gd name="T32" fmla="*/ 73797 w 259"/>
                      <a:gd name="T33" fmla="*/ 7568 h 129"/>
                      <a:gd name="T34" fmla="*/ 69936 w 259"/>
                      <a:gd name="T35" fmla="*/ 6055 h 129"/>
                      <a:gd name="T36" fmla="*/ 66932 w 259"/>
                      <a:gd name="T37" fmla="*/ 4541 h 129"/>
                      <a:gd name="T38" fmla="*/ 62642 w 259"/>
                      <a:gd name="T39" fmla="*/ 3027 h 129"/>
                      <a:gd name="T40" fmla="*/ 57493 w 259"/>
                      <a:gd name="T41" fmla="*/ 1514 h 129"/>
                      <a:gd name="T42" fmla="*/ 50628 w 259"/>
                      <a:gd name="T43" fmla="*/ 505 h 129"/>
                      <a:gd name="T44" fmla="*/ 42476 w 259"/>
                      <a:gd name="T45" fmla="*/ 0 h 129"/>
                      <a:gd name="T46" fmla="*/ 35611 w 259"/>
                      <a:gd name="T47" fmla="*/ 0 h 129"/>
                      <a:gd name="T48" fmla="*/ 28747 w 259"/>
                      <a:gd name="T49" fmla="*/ 0 h 129"/>
                      <a:gd name="T50" fmla="*/ 21453 w 259"/>
                      <a:gd name="T51" fmla="*/ 0 h 129"/>
                      <a:gd name="T52" fmla="*/ 14588 w 259"/>
                      <a:gd name="T53" fmla="*/ 1009 h 129"/>
                      <a:gd name="T54" fmla="*/ 11584 w 259"/>
                      <a:gd name="T55" fmla="*/ 2018 h 129"/>
                      <a:gd name="T56" fmla="*/ 9010 w 259"/>
                      <a:gd name="T57" fmla="*/ 3027 h 129"/>
                      <a:gd name="T58" fmla="*/ 6007 w 259"/>
                      <a:gd name="T59" fmla="*/ 4541 h 129"/>
                      <a:gd name="T60" fmla="*/ 4291 w 259"/>
                      <a:gd name="T61" fmla="*/ 6559 h 129"/>
                      <a:gd name="T62" fmla="*/ 2145 w 259"/>
                      <a:gd name="T63" fmla="*/ 8577 h 129"/>
                      <a:gd name="T64" fmla="*/ 858 w 259"/>
                      <a:gd name="T65" fmla="*/ 11100 h 129"/>
                      <a:gd name="T66" fmla="*/ 0 w 259"/>
                      <a:gd name="T67" fmla="*/ 14632 h 129"/>
                      <a:gd name="T68" fmla="*/ 0 w 259"/>
                      <a:gd name="T69" fmla="*/ 18164 h 129"/>
                      <a:gd name="T70" fmla="*/ 0 w 259"/>
                      <a:gd name="T71" fmla="*/ 24218 h 129"/>
                      <a:gd name="T72" fmla="*/ 1287 w 259"/>
                      <a:gd name="T73" fmla="*/ 29264 h 129"/>
                      <a:gd name="T74" fmla="*/ 2574 w 259"/>
                      <a:gd name="T75" fmla="*/ 32796 h 129"/>
                      <a:gd name="T76" fmla="*/ 5149 w 259"/>
                      <a:gd name="T77" fmla="*/ 35823 h 129"/>
                      <a:gd name="T78" fmla="*/ 7294 w 259"/>
                      <a:gd name="T79" fmla="*/ 38346 h 129"/>
                      <a:gd name="T80" fmla="*/ 10297 w 259"/>
                      <a:gd name="T81" fmla="*/ 40364 h 129"/>
                      <a:gd name="T82" fmla="*/ 13301 w 259"/>
                      <a:gd name="T83" fmla="*/ 41878 h 129"/>
                      <a:gd name="T84" fmla="*/ 15875 w 259"/>
                      <a:gd name="T85" fmla="*/ 42887 h 129"/>
                      <a:gd name="T86" fmla="*/ 21453 w 259"/>
                      <a:gd name="T87" fmla="*/ 44400 h 129"/>
                      <a:gd name="T88" fmla="*/ 26172 w 259"/>
                      <a:gd name="T89" fmla="*/ 46419 h 129"/>
                      <a:gd name="T90" fmla="*/ 27889 w 259"/>
                      <a:gd name="T91" fmla="*/ 47932 h 129"/>
                      <a:gd name="T92" fmla="*/ 28747 w 259"/>
                      <a:gd name="T93" fmla="*/ 49950 h 129"/>
                      <a:gd name="T94" fmla="*/ 28747 w 259"/>
                      <a:gd name="T95" fmla="*/ 52978 h 129"/>
                      <a:gd name="T96" fmla="*/ 28318 w 259"/>
                      <a:gd name="T97" fmla="*/ 56005 h 129"/>
                      <a:gd name="T98" fmla="*/ 34753 w 259"/>
                      <a:gd name="T99" fmla="*/ 55501 h 129"/>
                      <a:gd name="T100" fmla="*/ 39044 w 259"/>
                      <a:gd name="T101" fmla="*/ 54491 h 129"/>
                      <a:gd name="T102" fmla="*/ 42047 w 259"/>
                      <a:gd name="T103" fmla="*/ 53482 h 129"/>
                      <a:gd name="T104" fmla="*/ 45051 w 259"/>
                      <a:gd name="T105" fmla="*/ 52978 h 129"/>
                      <a:gd name="T106" fmla="*/ 51486 w 259"/>
                      <a:gd name="T107" fmla="*/ 53482 h 129"/>
                      <a:gd name="T108" fmla="*/ 60068 w 259"/>
                      <a:gd name="T109" fmla="*/ 54491 h 129"/>
                      <a:gd name="T110" fmla="*/ 71223 w 259"/>
                      <a:gd name="T111" fmla="*/ 56510 h 129"/>
                      <a:gd name="T112" fmla="*/ 82378 w 259"/>
                      <a:gd name="T113" fmla="*/ 59032 h 129"/>
                      <a:gd name="T114" fmla="*/ 102115 w 259"/>
                      <a:gd name="T115" fmla="*/ 63069 h 129"/>
                      <a:gd name="T116" fmla="*/ 111125 w 259"/>
                      <a:gd name="T117" fmla="*/ 65087 h 12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59" h="129">
                        <a:moveTo>
                          <a:pt x="259" y="129"/>
                        </a:moveTo>
                        <a:lnTo>
                          <a:pt x="255" y="102"/>
                        </a:lnTo>
                        <a:lnTo>
                          <a:pt x="252" y="80"/>
                        </a:lnTo>
                        <a:lnTo>
                          <a:pt x="252" y="63"/>
                        </a:lnTo>
                        <a:lnTo>
                          <a:pt x="253" y="50"/>
                        </a:lnTo>
                        <a:lnTo>
                          <a:pt x="257" y="29"/>
                        </a:lnTo>
                        <a:lnTo>
                          <a:pt x="259" y="12"/>
                        </a:lnTo>
                        <a:lnTo>
                          <a:pt x="258" y="14"/>
                        </a:lnTo>
                        <a:lnTo>
                          <a:pt x="256" y="16"/>
                        </a:lnTo>
                        <a:lnTo>
                          <a:pt x="253" y="17"/>
                        </a:lnTo>
                        <a:lnTo>
                          <a:pt x="249" y="18"/>
                        </a:lnTo>
                        <a:lnTo>
                          <a:pt x="239" y="19"/>
                        </a:lnTo>
                        <a:lnTo>
                          <a:pt x="228" y="19"/>
                        </a:lnTo>
                        <a:lnTo>
                          <a:pt x="205" y="19"/>
                        </a:lnTo>
                        <a:lnTo>
                          <a:pt x="192" y="18"/>
                        </a:lnTo>
                        <a:lnTo>
                          <a:pt x="181" y="17"/>
                        </a:lnTo>
                        <a:lnTo>
                          <a:pt x="172" y="15"/>
                        </a:lnTo>
                        <a:lnTo>
                          <a:pt x="163" y="12"/>
                        </a:lnTo>
                        <a:lnTo>
                          <a:pt x="156" y="9"/>
                        </a:lnTo>
                        <a:lnTo>
                          <a:pt x="146" y="6"/>
                        </a:lnTo>
                        <a:lnTo>
                          <a:pt x="134" y="3"/>
                        </a:lnTo>
                        <a:lnTo>
                          <a:pt x="118" y="1"/>
                        </a:lnTo>
                        <a:lnTo>
                          <a:pt x="99" y="0"/>
                        </a:lnTo>
                        <a:lnTo>
                          <a:pt x="83" y="0"/>
                        </a:lnTo>
                        <a:lnTo>
                          <a:pt x="67" y="0"/>
                        </a:lnTo>
                        <a:lnTo>
                          <a:pt x="50" y="0"/>
                        </a:lnTo>
                        <a:lnTo>
                          <a:pt x="34" y="2"/>
                        </a:lnTo>
                        <a:lnTo>
                          <a:pt x="27" y="4"/>
                        </a:lnTo>
                        <a:lnTo>
                          <a:pt x="21" y="6"/>
                        </a:lnTo>
                        <a:lnTo>
                          <a:pt x="14" y="9"/>
                        </a:lnTo>
                        <a:lnTo>
                          <a:pt x="10" y="13"/>
                        </a:lnTo>
                        <a:lnTo>
                          <a:pt x="5" y="17"/>
                        </a:lnTo>
                        <a:lnTo>
                          <a:pt x="2" y="22"/>
                        </a:lnTo>
                        <a:lnTo>
                          <a:pt x="0" y="29"/>
                        </a:lnTo>
                        <a:lnTo>
                          <a:pt x="0" y="36"/>
                        </a:lnTo>
                        <a:lnTo>
                          <a:pt x="0" y="48"/>
                        </a:lnTo>
                        <a:lnTo>
                          <a:pt x="3" y="58"/>
                        </a:lnTo>
                        <a:lnTo>
                          <a:pt x="6" y="65"/>
                        </a:lnTo>
                        <a:lnTo>
                          <a:pt x="12" y="71"/>
                        </a:lnTo>
                        <a:lnTo>
                          <a:pt x="17" y="76"/>
                        </a:lnTo>
                        <a:lnTo>
                          <a:pt x="24" y="80"/>
                        </a:lnTo>
                        <a:lnTo>
                          <a:pt x="31" y="83"/>
                        </a:lnTo>
                        <a:lnTo>
                          <a:pt x="37" y="85"/>
                        </a:lnTo>
                        <a:lnTo>
                          <a:pt x="50" y="88"/>
                        </a:lnTo>
                        <a:lnTo>
                          <a:pt x="61" y="92"/>
                        </a:lnTo>
                        <a:lnTo>
                          <a:pt x="65" y="95"/>
                        </a:lnTo>
                        <a:lnTo>
                          <a:pt x="67" y="99"/>
                        </a:lnTo>
                        <a:lnTo>
                          <a:pt x="67" y="105"/>
                        </a:lnTo>
                        <a:lnTo>
                          <a:pt x="66" y="111"/>
                        </a:lnTo>
                        <a:lnTo>
                          <a:pt x="81" y="110"/>
                        </a:lnTo>
                        <a:lnTo>
                          <a:pt x="91" y="108"/>
                        </a:lnTo>
                        <a:lnTo>
                          <a:pt x="98" y="106"/>
                        </a:lnTo>
                        <a:lnTo>
                          <a:pt x="105" y="105"/>
                        </a:lnTo>
                        <a:lnTo>
                          <a:pt x="120" y="106"/>
                        </a:lnTo>
                        <a:lnTo>
                          <a:pt x="140" y="108"/>
                        </a:lnTo>
                        <a:lnTo>
                          <a:pt x="166" y="112"/>
                        </a:lnTo>
                        <a:lnTo>
                          <a:pt x="192" y="117"/>
                        </a:lnTo>
                        <a:lnTo>
                          <a:pt x="238" y="125"/>
                        </a:lnTo>
                        <a:lnTo>
                          <a:pt x="259" y="129"/>
                        </a:lnTo>
                      </a:path>
                    </a:pathLst>
                  </a:custGeom>
                  <a:grpFill/>
                  <a:ln w="9525" cap="flat" cmpd="sng">
                    <a:solidFill>
                      <a:schemeClr val="bg1"/>
                    </a:solidFill>
                    <a:prstDash val="solid"/>
                    <a:round/>
                    <a:headEnd type="none" w="med" len="med"/>
                    <a:tailEnd type="none" w="med" len="med"/>
                  </a:ln>
                  <a:effectLst/>
                </p:spPr>
                <p:txBody>
                  <a:bodyPr/>
                  <a:lstStyle/>
                  <a:p>
                    <a:endParaRPr lang="en-GB" sz="1637"/>
                  </a:p>
                </p:txBody>
              </p:sp>
              <p:sp>
                <p:nvSpPr>
                  <p:cNvPr id="486" name="Freeform 345"/>
                  <p:cNvSpPr>
                    <a:spLocks/>
                  </p:cNvSpPr>
                  <p:nvPr>
                    <p:custDataLst>
                      <p:tags r:id="rId316"/>
                    </p:custDataLst>
                  </p:nvPr>
                </p:nvSpPr>
                <p:spPr bwMode="auto">
                  <a:xfrm>
                    <a:off x="4425559" y="2260808"/>
                    <a:ext cx="195826" cy="161187"/>
                  </a:xfrm>
                  <a:custGeom>
                    <a:avLst/>
                    <a:gdLst>
                      <a:gd name="T0" fmla="*/ 176432 w 425"/>
                      <a:gd name="T1" fmla="*/ 89297 h 272"/>
                      <a:gd name="T2" fmla="*/ 167991 w 425"/>
                      <a:gd name="T3" fmla="*/ 98752 h 272"/>
                      <a:gd name="T4" fmla="*/ 161659 w 425"/>
                      <a:gd name="T5" fmla="*/ 108207 h 272"/>
                      <a:gd name="T6" fmla="*/ 162081 w 425"/>
                      <a:gd name="T7" fmla="*/ 116086 h 272"/>
                      <a:gd name="T8" fmla="*/ 164192 w 425"/>
                      <a:gd name="T9" fmla="*/ 124490 h 272"/>
                      <a:gd name="T10" fmla="*/ 158283 w 425"/>
                      <a:gd name="T11" fmla="*/ 128167 h 272"/>
                      <a:gd name="T12" fmla="*/ 146464 w 425"/>
                      <a:gd name="T13" fmla="*/ 125016 h 272"/>
                      <a:gd name="T14" fmla="*/ 136756 w 425"/>
                      <a:gd name="T15" fmla="*/ 123440 h 272"/>
                      <a:gd name="T16" fmla="*/ 124516 w 425"/>
                      <a:gd name="T17" fmla="*/ 123440 h 272"/>
                      <a:gd name="T18" fmla="*/ 111009 w 425"/>
                      <a:gd name="T19" fmla="*/ 127642 h 272"/>
                      <a:gd name="T20" fmla="*/ 97924 w 425"/>
                      <a:gd name="T21" fmla="*/ 133420 h 272"/>
                      <a:gd name="T22" fmla="*/ 83151 w 425"/>
                      <a:gd name="T23" fmla="*/ 140249 h 272"/>
                      <a:gd name="T24" fmla="*/ 42209 w 425"/>
                      <a:gd name="T25" fmla="*/ 126066 h 272"/>
                      <a:gd name="T26" fmla="*/ 35877 w 425"/>
                      <a:gd name="T27" fmla="*/ 118712 h 272"/>
                      <a:gd name="T28" fmla="*/ 29546 w 425"/>
                      <a:gd name="T29" fmla="*/ 112409 h 272"/>
                      <a:gd name="T30" fmla="*/ 15617 w 425"/>
                      <a:gd name="T31" fmla="*/ 100853 h 272"/>
                      <a:gd name="T32" fmla="*/ 9286 w 425"/>
                      <a:gd name="T33" fmla="*/ 94550 h 272"/>
                      <a:gd name="T34" fmla="*/ 4643 w 425"/>
                      <a:gd name="T35" fmla="*/ 87721 h 272"/>
                      <a:gd name="T36" fmla="*/ 844 w 425"/>
                      <a:gd name="T37" fmla="*/ 78791 h 272"/>
                      <a:gd name="T38" fmla="*/ 0 w 425"/>
                      <a:gd name="T39" fmla="*/ 67761 h 272"/>
                      <a:gd name="T40" fmla="*/ 21104 w 425"/>
                      <a:gd name="T41" fmla="*/ 34668 h 272"/>
                      <a:gd name="T42" fmla="*/ 29968 w 425"/>
                      <a:gd name="T43" fmla="*/ 18910 h 272"/>
                      <a:gd name="T44" fmla="*/ 33767 w 425"/>
                      <a:gd name="T45" fmla="*/ 11556 h 272"/>
                      <a:gd name="T46" fmla="*/ 35877 w 425"/>
                      <a:gd name="T47" fmla="*/ 3152 h 272"/>
                      <a:gd name="T48" fmla="*/ 51917 w 425"/>
                      <a:gd name="T49" fmla="*/ 5253 h 272"/>
                      <a:gd name="T50" fmla="*/ 64579 w 425"/>
                      <a:gd name="T51" fmla="*/ 9455 h 272"/>
                      <a:gd name="T52" fmla="*/ 75976 w 425"/>
                      <a:gd name="T53" fmla="*/ 14182 h 272"/>
                      <a:gd name="T54" fmla="*/ 86528 w 425"/>
                      <a:gd name="T55" fmla="*/ 16284 h 272"/>
                      <a:gd name="T56" fmla="*/ 90327 w 425"/>
                      <a:gd name="T57" fmla="*/ 15233 h 272"/>
                      <a:gd name="T58" fmla="*/ 93281 w 425"/>
                      <a:gd name="T59" fmla="*/ 13657 h 272"/>
                      <a:gd name="T60" fmla="*/ 97924 w 425"/>
                      <a:gd name="T61" fmla="*/ 7879 h 272"/>
                      <a:gd name="T62" fmla="*/ 102145 w 425"/>
                      <a:gd name="T63" fmla="*/ 2626 h 272"/>
                      <a:gd name="T64" fmla="*/ 105522 w 425"/>
                      <a:gd name="T65" fmla="*/ 1051 h 272"/>
                      <a:gd name="T66" fmla="*/ 109321 w 425"/>
                      <a:gd name="T67" fmla="*/ 0 h 272"/>
                      <a:gd name="T68" fmla="*/ 116074 w 425"/>
                      <a:gd name="T69" fmla="*/ 1051 h 272"/>
                      <a:gd name="T70" fmla="*/ 121983 w 425"/>
                      <a:gd name="T71" fmla="*/ 3677 h 272"/>
                      <a:gd name="T72" fmla="*/ 127470 w 425"/>
                      <a:gd name="T73" fmla="*/ 7879 h 272"/>
                      <a:gd name="T74" fmla="*/ 130847 w 425"/>
                      <a:gd name="T75" fmla="*/ 13657 h 272"/>
                      <a:gd name="T76" fmla="*/ 137178 w 425"/>
                      <a:gd name="T77" fmla="*/ 27840 h 272"/>
                      <a:gd name="T78" fmla="*/ 142243 w 425"/>
                      <a:gd name="T79" fmla="*/ 43073 h 272"/>
                      <a:gd name="T80" fmla="*/ 147308 w 425"/>
                      <a:gd name="T81" fmla="*/ 59356 h 272"/>
                      <a:gd name="T82" fmla="*/ 150263 w 425"/>
                      <a:gd name="T83" fmla="*/ 66185 h 272"/>
                      <a:gd name="T84" fmla="*/ 154062 w 425"/>
                      <a:gd name="T85" fmla="*/ 72488 h 272"/>
                      <a:gd name="T86" fmla="*/ 158705 w 425"/>
                      <a:gd name="T87" fmla="*/ 77216 h 272"/>
                      <a:gd name="T88" fmla="*/ 164192 w 425"/>
                      <a:gd name="T89" fmla="*/ 81943 h 272"/>
                      <a:gd name="T90" fmla="*/ 170945 w 425"/>
                      <a:gd name="T91" fmla="*/ 84044 h 272"/>
                      <a:gd name="T92" fmla="*/ 179387 w 425"/>
                      <a:gd name="T93" fmla="*/ 84569 h 27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425" h="272">
                        <a:moveTo>
                          <a:pt x="425" y="161"/>
                        </a:moveTo>
                        <a:lnTo>
                          <a:pt x="418" y="170"/>
                        </a:lnTo>
                        <a:lnTo>
                          <a:pt x="409" y="179"/>
                        </a:lnTo>
                        <a:lnTo>
                          <a:pt x="398" y="188"/>
                        </a:lnTo>
                        <a:lnTo>
                          <a:pt x="385" y="197"/>
                        </a:lnTo>
                        <a:lnTo>
                          <a:pt x="383" y="206"/>
                        </a:lnTo>
                        <a:lnTo>
                          <a:pt x="383" y="214"/>
                        </a:lnTo>
                        <a:lnTo>
                          <a:pt x="384" y="221"/>
                        </a:lnTo>
                        <a:lnTo>
                          <a:pt x="385" y="227"/>
                        </a:lnTo>
                        <a:lnTo>
                          <a:pt x="389" y="237"/>
                        </a:lnTo>
                        <a:lnTo>
                          <a:pt x="392" y="246"/>
                        </a:lnTo>
                        <a:lnTo>
                          <a:pt x="375" y="244"/>
                        </a:lnTo>
                        <a:lnTo>
                          <a:pt x="356" y="240"/>
                        </a:lnTo>
                        <a:lnTo>
                          <a:pt x="347" y="238"/>
                        </a:lnTo>
                        <a:lnTo>
                          <a:pt x="336" y="236"/>
                        </a:lnTo>
                        <a:lnTo>
                          <a:pt x="324" y="235"/>
                        </a:lnTo>
                        <a:lnTo>
                          <a:pt x="311" y="234"/>
                        </a:lnTo>
                        <a:lnTo>
                          <a:pt x="295" y="235"/>
                        </a:lnTo>
                        <a:lnTo>
                          <a:pt x="278" y="238"/>
                        </a:lnTo>
                        <a:lnTo>
                          <a:pt x="263" y="243"/>
                        </a:lnTo>
                        <a:lnTo>
                          <a:pt x="248" y="248"/>
                        </a:lnTo>
                        <a:lnTo>
                          <a:pt x="232" y="254"/>
                        </a:lnTo>
                        <a:lnTo>
                          <a:pt x="215" y="260"/>
                        </a:lnTo>
                        <a:lnTo>
                          <a:pt x="197" y="267"/>
                        </a:lnTo>
                        <a:lnTo>
                          <a:pt x="179" y="272"/>
                        </a:lnTo>
                        <a:lnTo>
                          <a:pt x="100" y="240"/>
                        </a:lnTo>
                        <a:lnTo>
                          <a:pt x="92" y="233"/>
                        </a:lnTo>
                        <a:lnTo>
                          <a:pt x="85" y="226"/>
                        </a:lnTo>
                        <a:lnTo>
                          <a:pt x="78" y="220"/>
                        </a:lnTo>
                        <a:lnTo>
                          <a:pt x="70" y="214"/>
                        </a:lnTo>
                        <a:lnTo>
                          <a:pt x="52" y="202"/>
                        </a:lnTo>
                        <a:lnTo>
                          <a:pt x="37" y="192"/>
                        </a:lnTo>
                        <a:lnTo>
                          <a:pt x="29" y="186"/>
                        </a:lnTo>
                        <a:lnTo>
                          <a:pt x="22" y="180"/>
                        </a:lnTo>
                        <a:lnTo>
                          <a:pt x="16" y="174"/>
                        </a:lnTo>
                        <a:lnTo>
                          <a:pt x="11" y="167"/>
                        </a:lnTo>
                        <a:lnTo>
                          <a:pt x="6" y="159"/>
                        </a:lnTo>
                        <a:lnTo>
                          <a:pt x="2" y="150"/>
                        </a:lnTo>
                        <a:lnTo>
                          <a:pt x="0" y="140"/>
                        </a:lnTo>
                        <a:lnTo>
                          <a:pt x="0" y="129"/>
                        </a:lnTo>
                        <a:lnTo>
                          <a:pt x="25" y="95"/>
                        </a:lnTo>
                        <a:lnTo>
                          <a:pt x="50" y="66"/>
                        </a:lnTo>
                        <a:lnTo>
                          <a:pt x="61" y="52"/>
                        </a:lnTo>
                        <a:lnTo>
                          <a:pt x="71" y="36"/>
                        </a:lnTo>
                        <a:lnTo>
                          <a:pt x="75" y="29"/>
                        </a:lnTo>
                        <a:lnTo>
                          <a:pt x="80" y="22"/>
                        </a:lnTo>
                        <a:lnTo>
                          <a:pt x="83" y="14"/>
                        </a:lnTo>
                        <a:lnTo>
                          <a:pt x="85" y="6"/>
                        </a:lnTo>
                        <a:lnTo>
                          <a:pt x="105" y="7"/>
                        </a:lnTo>
                        <a:lnTo>
                          <a:pt x="123" y="10"/>
                        </a:lnTo>
                        <a:lnTo>
                          <a:pt x="138" y="14"/>
                        </a:lnTo>
                        <a:lnTo>
                          <a:pt x="153" y="18"/>
                        </a:lnTo>
                        <a:lnTo>
                          <a:pt x="166" y="23"/>
                        </a:lnTo>
                        <a:lnTo>
                          <a:pt x="180" y="27"/>
                        </a:lnTo>
                        <a:lnTo>
                          <a:pt x="193" y="30"/>
                        </a:lnTo>
                        <a:lnTo>
                          <a:pt x="205" y="31"/>
                        </a:lnTo>
                        <a:lnTo>
                          <a:pt x="210" y="30"/>
                        </a:lnTo>
                        <a:lnTo>
                          <a:pt x="214" y="29"/>
                        </a:lnTo>
                        <a:lnTo>
                          <a:pt x="218" y="28"/>
                        </a:lnTo>
                        <a:lnTo>
                          <a:pt x="221" y="26"/>
                        </a:lnTo>
                        <a:lnTo>
                          <a:pt x="227" y="21"/>
                        </a:lnTo>
                        <a:lnTo>
                          <a:pt x="232" y="15"/>
                        </a:lnTo>
                        <a:lnTo>
                          <a:pt x="237" y="10"/>
                        </a:lnTo>
                        <a:lnTo>
                          <a:pt x="242" y="5"/>
                        </a:lnTo>
                        <a:lnTo>
                          <a:pt x="246" y="3"/>
                        </a:lnTo>
                        <a:lnTo>
                          <a:pt x="250" y="2"/>
                        </a:lnTo>
                        <a:lnTo>
                          <a:pt x="253" y="1"/>
                        </a:lnTo>
                        <a:lnTo>
                          <a:pt x="259" y="0"/>
                        </a:lnTo>
                        <a:lnTo>
                          <a:pt x="268" y="1"/>
                        </a:lnTo>
                        <a:lnTo>
                          <a:pt x="275" y="2"/>
                        </a:lnTo>
                        <a:lnTo>
                          <a:pt x="283" y="4"/>
                        </a:lnTo>
                        <a:lnTo>
                          <a:pt x="289" y="7"/>
                        </a:lnTo>
                        <a:lnTo>
                          <a:pt x="296" y="11"/>
                        </a:lnTo>
                        <a:lnTo>
                          <a:pt x="302" y="15"/>
                        </a:lnTo>
                        <a:lnTo>
                          <a:pt x="306" y="20"/>
                        </a:lnTo>
                        <a:lnTo>
                          <a:pt x="310" y="26"/>
                        </a:lnTo>
                        <a:lnTo>
                          <a:pt x="318" y="38"/>
                        </a:lnTo>
                        <a:lnTo>
                          <a:pt x="325" y="53"/>
                        </a:lnTo>
                        <a:lnTo>
                          <a:pt x="331" y="67"/>
                        </a:lnTo>
                        <a:lnTo>
                          <a:pt x="337" y="82"/>
                        </a:lnTo>
                        <a:lnTo>
                          <a:pt x="342" y="98"/>
                        </a:lnTo>
                        <a:lnTo>
                          <a:pt x="349" y="113"/>
                        </a:lnTo>
                        <a:lnTo>
                          <a:pt x="352" y="119"/>
                        </a:lnTo>
                        <a:lnTo>
                          <a:pt x="356" y="126"/>
                        </a:lnTo>
                        <a:lnTo>
                          <a:pt x="360" y="132"/>
                        </a:lnTo>
                        <a:lnTo>
                          <a:pt x="365" y="138"/>
                        </a:lnTo>
                        <a:lnTo>
                          <a:pt x="370" y="143"/>
                        </a:lnTo>
                        <a:lnTo>
                          <a:pt x="376" y="147"/>
                        </a:lnTo>
                        <a:lnTo>
                          <a:pt x="382" y="151"/>
                        </a:lnTo>
                        <a:lnTo>
                          <a:pt x="389" y="156"/>
                        </a:lnTo>
                        <a:lnTo>
                          <a:pt x="397" y="158"/>
                        </a:lnTo>
                        <a:lnTo>
                          <a:pt x="405" y="160"/>
                        </a:lnTo>
                        <a:lnTo>
                          <a:pt x="415" y="161"/>
                        </a:lnTo>
                        <a:lnTo>
                          <a:pt x="425" y="161"/>
                        </a:lnTo>
                      </a:path>
                    </a:pathLst>
                  </a:custGeom>
                  <a:grpFill/>
                  <a:ln w="9525" cap="flat" cmpd="sng">
                    <a:solidFill>
                      <a:schemeClr val="bg1"/>
                    </a:solidFill>
                    <a:prstDash val="solid"/>
                    <a:round/>
                    <a:headEnd type="none" w="med" len="med"/>
                    <a:tailEnd type="none" w="med" len="med"/>
                  </a:ln>
                  <a:effectLst/>
                </p:spPr>
                <p:txBody>
                  <a:bodyPr/>
                  <a:lstStyle/>
                  <a:p>
                    <a:endParaRPr lang="en-GB" sz="1637"/>
                  </a:p>
                </p:txBody>
              </p:sp>
              <p:sp>
                <p:nvSpPr>
                  <p:cNvPr id="487" name="Freeform 348"/>
                  <p:cNvSpPr>
                    <a:spLocks/>
                  </p:cNvSpPr>
                  <p:nvPr>
                    <p:custDataLst>
                      <p:tags r:id="rId317"/>
                    </p:custDataLst>
                  </p:nvPr>
                </p:nvSpPr>
                <p:spPr bwMode="auto">
                  <a:xfrm>
                    <a:off x="4449820" y="2119323"/>
                    <a:ext cx="415915" cy="279391"/>
                  </a:xfrm>
                  <a:custGeom>
                    <a:avLst/>
                    <a:gdLst>
                      <a:gd name="T0" fmla="*/ 170299 w 877"/>
                      <a:gd name="T1" fmla="*/ 179533 h 469"/>
                      <a:gd name="T2" fmla="*/ 138585 w 877"/>
                      <a:gd name="T3" fmla="*/ 133594 h 469"/>
                      <a:gd name="T4" fmla="*/ 89494 w 877"/>
                      <a:gd name="T5" fmla="*/ 127257 h 469"/>
                      <a:gd name="T6" fmla="*/ 82977 w 877"/>
                      <a:gd name="T7" fmla="*/ 128313 h 469"/>
                      <a:gd name="T8" fmla="*/ 77330 w 877"/>
                      <a:gd name="T9" fmla="*/ 132538 h 469"/>
                      <a:gd name="T10" fmla="*/ 70379 w 877"/>
                      <a:gd name="T11" fmla="*/ 140986 h 469"/>
                      <a:gd name="T12" fmla="*/ 65600 w 877"/>
                      <a:gd name="T13" fmla="*/ 143098 h 469"/>
                      <a:gd name="T14" fmla="*/ 52567 w 877"/>
                      <a:gd name="T15" fmla="*/ 141514 h 469"/>
                      <a:gd name="T16" fmla="*/ 34320 w 877"/>
                      <a:gd name="T17" fmla="*/ 134650 h 469"/>
                      <a:gd name="T18" fmla="*/ 11295 w 877"/>
                      <a:gd name="T19" fmla="*/ 130425 h 469"/>
                      <a:gd name="T20" fmla="*/ 3475 w 877"/>
                      <a:gd name="T21" fmla="*/ 111944 h 469"/>
                      <a:gd name="T22" fmla="*/ 5648 w 877"/>
                      <a:gd name="T23" fmla="*/ 98743 h 469"/>
                      <a:gd name="T24" fmla="*/ 5648 w 877"/>
                      <a:gd name="T25" fmla="*/ 95047 h 469"/>
                      <a:gd name="T26" fmla="*/ 9992 w 877"/>
                      <a:gd name="T27" fmla="*/ 76038 h 469"/>
                      <a:gd name="T28" fmla="*/ 19115 w 877"/>
                      <a:gd name="T29" fmla="*/ 59140 h 469"/>
                      <a:gd name="T30" fmla="*/ 23460 w 877"/>
                      <a:gd name="T31" fmla="*/ 48580 h 469"/>
                      <a:gd name="T32" fmla="*/ 11295 w 877"/>
                      <a:gd name="T33" fmla="*/ 26402 h 469"/>
                      <a:gd name="T34" fmla="*/ 75157 w 877"/>
                      <a:gd name="T35" fmla="*/ 13729 h 469"/>
                      <a:gd name="T36" fmla="*/ 147274 w 877"/>
                      <a:gd name="T37" fmla="*/ 26402 h 469"/>
                      <a:gd name="T38" fmla="*/ 170299 w 877"/>
                      <a:gd name="T39" fmla="*/ 6864 h 469"/>
                      <a:gd name="T40" fmla="*/ 210701 w 877"/>
                      <a:gd name="T41" fmla="*/ 0 h 469"/>
                      <a:gd name="T42" fmla="*/ 251538 w 877"/>
                      <a:gd name="T43" fmla="*/ 20065 h 469"/>
                      <a:gd name="T44" fmla="*/ 277170 w 877"/>
                      <a:gd name="T45" fmla="*/ 58612 h 469"/>
                      <a:gd name="T46" fmla="*/ 314966 w 877"/>
                      <a:gd name="T47" fmla="*/ 58612 h 469"/>
                      <a:gd name="T48" fmla="*/ 364057 w 877"/>
                      <a:gd name="T49" fmla="*/ 81846 h 469"/>
                      <a:gd name="T50" fmla="*/ 375352 w 877"/>
                      <a:gd name="T51" fmla="*/ 124089 h 469"/>
                      <a:gd name="T52" fmla="*/ 349286 w 877"/>
                      <a:gd name="T53" fmla="*/ 143626 h 469"/>
                      <a:gd name="T54" fmla="*/ 327564 w 877"/>
                      <a:gd name="T55" fmla="*/ 165276 h 469"/>
                      <a:gd name="T56" fmla="*/ 298892 w 877"/>
                      <a:gd name="T57" fmla="*/ 174253 h 469"/>
                      <a:gd name="T58" fmla="*/ 288031 w 877"/>
                      <a:gd name="T59" fmla="*/ 181117 h 469"/>
                      <a:gd name="T60" fmla="*/ 281514 w 877"/>
                      <a:gd name="T61" fmla="*/ 189038 h 469"/>
                      <a:gd name="T62" fmla="*/ 280645 w 877"/>
                      <a:gd name="T63" fmla="*/ 198014 h 469"/>
                      <a:gd name="T64" fmla="*/ 283686 w 877"/>
                      <a:gd name="T65" fmla="*/ 205935 h 469"/>
                      <a:gd name="T66" fmla="*/ 289334 w 877"/>
                      <a:gd name="T67" fmla="*/ 211743 h 469"/>
                      <a:gd name="T68" fmla="*/ 308884 w 877"/>
                      <a:gd name="T69" fmla="*/ 209103 h 469"/>
                      <a:gd name="T70" fmla="*/ 321917 w 877"/>
                      <a:gd name="T71" fmla="*/ 208047 h 469"/>
                      <a:gd name="T72" fmla="*/ 318876 w 877"/>
                      <a:gd name="T73" fmla="*/ 212799 h 469"/>
                      <a:gd name="T74" fmla="*/ 311056 w 877"/>
                      <a:gd name="T75" fmla="*/ 222304 h 469"/>
                      <a:gd name="T76" fmla="*/ 303236 w 877"/>
                      <a:gd name="T77" fmla="*/ 231281 h 469"/>
                      <a:gd name="T78" fmla="*/ 299326 w 877"/>
                      <a:gd name="T79" fmla="*/ 221248 h 469"/>
                      <a:gd name="T80" fmla="*/ 291506 w 877"/>
                      <a:gd name="T81" fmla="*/ 215440 h 469"/>
                      <a:gd name="T82" fmla="*/ 289334 w 877"/>
                      <a:gd name="T83" fmla="*/ 223360 h 469"/>
                      <a:gd name="T84" fmla="*/ 279342 w 877"/>
                      <a:gd name="T85" fmla="*/ 233393 h 469"/>
                      <a:gd name="T86" fmla="*/ 268916 w 877"/>
                      <a:gd name="T87" fmla="*/ 242898 h 469"/>
                      <a:gd name="T88" fmla="*/ 265440 w 877"/>
                      <a:gd name="T89" fmla="*/ 247650 h 469"/>
                      <a:gd name="T90" fmla="*/ 258489 w 877"/>
                      <a:gd name="T91" fmla="*/ 245010 h 469"/>
                      <a:gd name="T92" fmla="*/ 253710 w 877"/>
                      <a:gd name="T93" fmla="*/ 240257 h 469"/>
                      <a:gd name="T94" fmla="*/ 249800 w 877"/>
                      <a:gd name="T95" fmla="*/ 231809 h 469"/>
                      <a:gd name="T96" fmla="*/ 248497 w 877"/>
                      <a:gd name="T97" fmla="*/ 215440 h 469"/>
                      <a:gd name="T98" fmla="*/ 238071 w 877"/>
                      <a:gd name="T99" fmla="*/ 213328 h 469"/>
                      <a:gd name="T100" fmla="*/ 225038 w 877"/>
                      <a:gd name="T101" fmla="*/ 205407 h 469"/>
                      <a:gd name="T102" fmla="*/ 242849 w 877"/>
                      <a:gd name="T103" fmla="*/ 200127 h 469"/>
                      <a:gd name="T104" fmla="*/ 271522 w 877"/>
                      <a:gd name="T105" fmla="*/ 195374 h 469"/>
                      <a:gd name="T106" fmla="*/ 214177 w 877"/>
                      <a:gd name="T107" fmla="*/ 186926 h 469"/>
                      <a:gd name="T108" fmla="*/ 193324 w 877"/>
                      <a:gd name="T109" fmla="*/ 175837 h 469"/>
                      <a:gd name="T110" fmla="*/ 172905 w 877"/>
                      <a:gd name="T111" fmla="*/ 194846 h 469"/>
                      <a:gd name="T112" fmla="*/ 165086 w 877"/>
                      <a:gd name="T113" fmla="*/ 208575 h 469"/>
                      <a:gd name="T114" fmla="*/ 153356 w 877"/>
                      <a:gd name="T115" fmla="*/ 211215 h 469"/>
                      <a:gd name="T116" fmla="*/ 142495 w 877"/>
                      <a:gd name="T117" fmla="*/ 206991 h 469"/>
                      <a:gd name="T118" fmla="*/ 132937 w 877"/>
                      <a:gd name="T119" fmla="*/ 198542 h 46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877" h="469">
                        <a:moveTo>
                          <a:pt x="326" y="352"/>
                        </a:moveTo>
                        <a:lnTo>
                          <a:pt x="352" y="346"/>
                        </a:lnTo>
                        <a:lnTo>
                          <a:pt x="392" y="340"/>
                        </a:lnTo>
                        <a:lnTo>
                          <a:pt x="366" y="315"/>
                        </a:lnTo>
                        <a:lnTo>
                          <a:pt x="346" y="285"/>
                        </a:lnTo>
                        <a:lnTo>
                          <a:pt x="319" y="253"/>
                        </a:lnTo>
                        <a:lnTo>
                          <a:pt x="292" y="241"/>
                        </a:lnTo>
                        <a:lnTo>
                          <a:pt x="252" y="222"/>
                        </a:lnTo>
                        <a:lnTo>
                          <a:pt x="206" y="241"/>
                        </a:lnTo>
                        <a:lnTo>
                          <a:pt x="200" y="241"/>
                        </a:lnTo>
                        <a:lnTo>
                          <a:pt x="194" y="242"/>
                        </a:lnTo>
                        <a:lnTo>
                          <a:pt x="191" y="243"/>
                        </a:lnTo>
                        <a:lnTo>
                          <a:pt x="187" y="244"/>
                        </a:lnTo>
                        <a:lnTo>
                          <a:pt x="183" y="246"/>
                        </a:lnTo>
                        <a:lnTo>
                          <a:pt x="178" y="251"/>
                        </a:lnTo>
                        <a:lnTo>
                          <a:pt x="173" y="256"/>
                        </a:lnTo>
                        <a:lnTo>
                          <a:pt x="168" y="262"/>
                        </a:lnTo>
                        <a:lnTo>
                          <a:pt x="162" y="267"/>
                        </a:lnTo>
                        <a:lnTo>
                          <a:pt x="159" y="269"/>
                        </a:lnTo>
                        <a:lnTo>
                          <a:pt x="155" y="270"/>
                        </a:lnTo>
                        <a:lnTo>
                          <a:pt x="151" y="271"/>
                        </a:lnTo>
                        <a:lnTo>
                          <a:pt x="146" y="272"/>
                        </a:lnTo>
                        <a:lnTo>
                          <a:pt x="134" y="271"/>
                        </a:lnTo>
                        <a:lnTo>
                          <a:pt x="121" y="268"/>
                        </a:lnTo>
                        <a:lnTo>
                          <a:pt x="107" y="264"/>
                        </a:lnTo>
                        <a:lnTo>
                          <a:pt x="94" y="259"/>
                        </a:lnTo>
                        <a:lnTo>
                          <a:pt x="79" y="255"/>
                        </a:lnTo>
                        <a:lnTo>
                          <a:pt x="64" y="251"/>
                        </a:lnTo>
                        <a:lnTo>
                          <a:pt x="46" y="248"/>
                        </a:lnTo>
                        <a:lnTo>
                          <a:pt x="26" y="247"/>
                        </a:lnTo>
                        <a:lnTo>
                          <a:pt x="0" y="222"/>
                        </a:lnTo>
                        <a:lnTo>
                          <a:pt x="4" y="217"/>
                        </a:lnTo>
                        <a:lnTo>
                          <a:pt x="8" y="212"/>
                        </a:lnTo>
                        <a:lnTo>
                          <a:pt x="10" y="206"/>
                        </a:lnTo>
                        <a:lnTo>
                          <a:pt x="12" y="200"/>
                        </a:lnTo>
                        <a:lnTo>
                          <a:pt x="13" y="187"/>
                        </a:lnTo>
                        <a:lnTo>
                          <a:pt x="13" y="174"/>
                        </a:lnTo>
                        <a:lnTo>
                          <a:pt x="6" y="174"/>
                        </a:lnTo>
                        <a:lnTo>
                          <a:pt x="13" y="180"/>
                        </a:lnTo>
                        <a:lnTo>
                          <a:pt x="14" y="167"/>
                        </a:lnTo>
                        <a:lnTo>
                          <a:pt x="17" y="155"/>
                        </a:lnTo>
                        <a:lnTo>
                          <a:pt x="23" y="144"/>
                        </a:lnTo>
                        <a:lnTo>
                          <a:pt x="30" y="133"/>
                        </a:lnTo>
                        <a:lnTo>
                          <a:pt x="36" y="122"/>
                        </a:lnTo>
                        <a:lnTo>
                          <a:pt x="44" y="112"/>
                        </a:lnTo>
                        <a:lnTo>
                          <a:pt x="53" y="105"/>
                        </a:lnTo>
                        <a:lnTo>
                          <a:pt x="60" y="99"/>
                        </a:lnTo>
                        <a:lnTo>
                          <a:pt x="54" y="92"/>
                        </a:lnTo>
                        <a:lnTo>
                          <a:pt x="46" y="82"/>
                        </a:lnTo>
                        <a:lnTo>
                          <a:pt x="36" y="68"/>
                        </a:lnTo>
                        <a:lnTo>
                          <a:pt x="26" y="50"/>
                        </a:lnTo>
                        <a:lnTo>
                          <a:pt x="60" y="38"/>
                        </a:lnTo>
                        <a:lnTo>
                          <a:pt x="113" y="26"/>
                        </a:lnTo>
                        <a:lnTo>
                          <a:pt x="173" y="26"/>
                        </a:lnTo>
                        <a:lnTo>
                          <a:pt x="239" y="44"/>
                        </a:lnTo>
                        <a:lnTo>
                          <a:pt x="285" y="38"/>
                        </a:lnTo>
                        <a:lnTo>
                          <a:pt x="339" y="50"/>
                        </a:lnTo>
                        <a:lnTo>
                          <a:pt x="385" y="63"/>
                        </a:lnTo>
                        <a:lnTo>
                          <a:pt x="385" y="38"/>
                        </a:lnTo>
                        <a:lnTo>
                          <a:pt x="392" y="13"/>
                        </a:lnTo>
                        <a:lnTo>
                          <a:pt x="433" y="13"/>
                        </a:lnTo>
                        <a:lnTo>
                          <a:pt x="465" y="13"/>
                        </a:lnTo>
                        <a:lnTo>
                          <a:pt x="485" y="0"/>
                        </a:lnTo>
                        <a:lnTo>
                          <a:pt x="531" y="0"/>
                        </a:lnTo>
                        <a:lnTo>
                          <a:pt x="551" y="13"/>
                        </a:lnTo>
                        <a:lnTo>
                          <a:pt x="579" y="38"/>
                        </a:lnTo>
                        <a:lnTo>
                          <a:pt x="565" y="63"/>
                        </a:lnTo>
                        <a:lnTo>
                          <a:pt x="618" y="63"/>
                        </a:lnTo>
                        <a:lnTo>
                          <a:pt x="638" y="111"/>
                        </a:lnTo>
                        <a:lnTo>
                          <a:pt x="664" y="105"/>
                        </a:lnTo>
                        <a:lnTo>
                          <a:pt x="692" y="124"/>
                        </a:lnTo>
                        <a:lnTo>
                          <a:pt x="725" y="111"/>
                        </a:lnTo>
                        <a:lnTo>
                          <a:pt x="758" y="136"/>
                        </a:lnTo>
                        <a:lnTo>
                          <a:pt x="797" y="136"/>
                        </a:lnTo>
                        <a:lnTo>
                          <a:pt x="838" y="155"/>
                        </a:lnTo>
                        <a:lnTo>
                          <a:pt x="877" y="167"/>
                        </a:lnTo>
                        <a:lnTo>
                          <a:pt x="871" y="198"/>
                        </a:lnTo>
                        <a:lnTo>
                          <a:pt x="864" y="235"/>
                        </a:lnTo>
                        <a:lnTo>
                          <a:pt x="877" y="259"/>
                        </a:lnTo>
                        <a:lnTo>
                          <a:pt x="844" y="259"/>
                        </a:lnTo>
                        <a:lnTo>
                          <a:pt x="804" y="272"/>
                        </a:lnTo>
                        <a:lnTo>
                          <a:pt x="797" y="303"/>
                        </a:lnTo>
                        <a:lnTo>
                          <a:pt x="777" y="309"/>
                        </a:lnTo>
                        <a:lnTo>
                          <a:pt x="754" y="313"/>
                        </a:lnTo>
                        <a:lnTo>
                          <a:pt x="731" y="318"/>
                        </a:lnTo>
                        <a:lnTo>
                          <a:pt x="709" y="324"/>
                        </a:lnTo>
                        <a:lnTo>
                          <a:pt x="688" y="330"/>
                        </a:lnTo>
                        <a:lnTo>
                          <a:pt x="680" y="334"/>
                        </a:lnTo>
                        <a:lnTo>
                          <a:pt x="671" y="337"/>
                        </a:lnTo>
                        <a:lnTo>
                          <a:pt x="663" y="343"/>
                        </a:lnTo>
                        <a:lnTo>
                          <a:pt x="656" y="347"/>
                        </a:lnTo>
                        <a:lnTo>
                          <a:pt x="652" y="352"/>
                        </a:lnTo>
                        <a:lnTo>
                          <a:pt x="648" y="358"/>
                        </a:lnTo>
                        <a:lnTo>
                          <a:pt x="646" y="364"/>
                        </a:lnTo>
                        <a:lnTo>
                          <a:pt x="644" y="370"/>
                        </a:lnTo>
                        <a:lnTo>
                          <a:pt x="646" y="375"/>
                        </a:lnTo>
                        <a:lnTo>
                          <a:pt x="647" y="380"/>
                        </a:lnTo>
                        <a:lnTo>
                          <a:pt x="650" y="385"/>
                        </a:lnTo>
                        <a:lnTo>
                          <a:pt x="653" y="390"/>
                        </a:lnTo>
                        <a:lnTo>
                          <a:pt x="656" y="395"/>
                        </a:lnTo>
                        <a:lnTo>
                          <a:pt x="661" y="399"/>
                        </a:lnTo>
                        <a:lnTo>
                          <a:pt x="666" y="401"/>
                        </a:lnTo>
                        <a:lnTo>
                          <a:pt x="671" y="402"/>
                        </a:lnTo>
                        <a:lnTo>
                          <a:pt x="692" y="400"/>
                        </a:lnTo>
                        <a:lnTo>
                          <a:pt x="711" y="396"/>
                        </a:lnTo>
                        <a:lnTo>
                          <a:pt x="721" y="395"/>
                        </a:lnTo>
                        <a:lnTo>
                          <a:pt x="731" y="394"/>
                        </a:lnTo>
                        <a:lnTo>
                          <a:pt x="741" y="394"/>
                        </a:lnTo>
                        <a:lnTo>
                          <a:pt x="751" y="396"/>
                        </a:lnTo>
                        <a:lnTo>
                          <a:pt x="742" y="399"/>
                        </a:lnTo>
                        <a:lnTo>
                          <a:pt x="734" y="403"/>
                        </a:lnTo>
                        <a:lnTo>
                          <a:pt x="728" y="408"/>
                        </a:lnTo>
                        <a:lnTo>
                          <a:pt x="721" y="414"/>
                        </a:lnTo>
                        <a:lnTo>
                          <a:pt x="716" y="421"/>
                        </a:lnTo>
                        <a:lnTo>
                          <a:pt x="710" y="427"/>
                        </a:lnTo>
                        <a:lnTo>
                          <a:pt x="705" y="433"/>
                        </a:lnTo>
                        <a:lnTo>
                          <a:pt x="698" y="438"/>
                        </a:lnTo>
                        <a:lnTo>
                          <a:pt x="695" y="430"/>
                        </a:lnTo>
                        <a:lnTo>
                          <a:pt x="693" y="424"/>
                        </a:lnTo>
                        <a:lnTo>
                          <a:pt x="689" y="419"/>
                        </a:lnTo>
                        <a:lnTo>
                          <a:pt x="687" y="416"/>
                        </a:lnTo>
                        <a:lnTo>
                          <a:pt x="680" y="412"/>
                        </a:lnTo>
                        <a:lnTo>
                          <a:pt x="671" y="408"/>
                        </a:lnTo>
                        <a:lnTo>
                          <a:pt x="671" y="413"/>
                        </a:lnTo>
                        <a:lnTo>
                          <a:pt x="669" y="418"/>
                        </a:lnTo>
                        <a:lnTo>
                          <a:pt x="666" y="423"/>
                        </a:lnTo>
                        <a:lnTo>
                          <a:pt x="663" y="427"/>
                        </a:lnTo>
                        <a:lnTo>
                          <a:pt x="654" y="435"/>
                        </a:lnTo>
                        <a:lnTo>
                          <a:pt x="643" y="442"/>
                        </a:lnTo>
                        <a:lnTo>
                          <a:pt x="633" y="450"/>
                        </a:lnTo>
                        <a:lnTo>
                          <a:pt x="624" y="456"/>
                        </a:lnTo>
                        <a:lnTo>
                          <a:pt x="619" y="460"/>
                        </a:lnTo>
                        <a:lnTo>
                          <a:pt x="616" y="463"/>
                        </a:lnTo>
                        <a:lnTo>
                          <a:pt x="613" y="466"/>
                        </a:lnTo>
                        <a:lnTo>
                          <a:pt x="611" y="469"/>
                        </a:lnTo>
                        <a:lnTo>
                          <a:pt x="605" y="468"/>
                        </a:lnTo>
                        <a:lnTo>
                          <a:pt x="600" y="466"/>
                        </a:lnTo>
                        <a:lnTo>
                          <a:pt x="595" y="464"/>
                        </a:lnTo>
                        <a:lnTo>
                          <a:pt x="591" y="461"/>
                        </a:lnTo>
                        <a:lnTo>
                          <a:pt x="587" y="459"/>
                        </a:lnTo>
                        <a:lnTo>
                          <a:pt x="584" y="455"/>
                        </a:lnTo>
                        <a:lnTo>
                          <a:pt x="582" y="452"/>
                        </a:lnTo>
                        <a:lnTo>
                          <a:pt x="579" y="447"/>
                        </a:lnTo>
                        <a:lnTo>
                          <a:pt x="575" y="439"/>
                        </a:lnTo>
                        <a:lnTo>
                          <a:pt x="573" y="429"/>
                        </a:lnTo>
                        <a:lnTo>
                          <a:pt x="572" y="419"/>
                        </a:lnTo>
                        <a:lnTo>
                          <a:pt x="572" y="408"/>
                        </a:lnTo>
                        <a:lnTo>
                          <a:pt x="563" y="407"/>
                        </a:lnTo>
                        <a:lnTo>
                          <a:pt x="555" y="406"/>
                        </a:lnTo>
                        <a:lnTo>
                          <a:pt x="548" y="404"/>
                        </a:lnTo>
                        <a:lnTo>
                          <a:pt x="540" y="401"/>
                        </a:lnTo>
                        <a:lnTo>
                          <a:pt x="527" y="395"/>
                        </a:lnTo>
                        <a:lnTo>
                          <a:pt x="518" y="389"/>
                        </a:lnTo>
                        <a:lnTo>
                          <a:pt x="532" y="385"/>
                        </a:lnTo>
                        <a:lnTo>
                          <a:pt x="547" y="381"/>
                        </a:lnTo>
                        <a:lnTo>
                          <a:pt x="559" y="379"/>
                        </a:lnTo>
                        <a:lnTo>
                          <a:pt x="572" y="377"/>
                        </a:lnTo>
                        <a:lnTo>
                          <a:pt x="597" y="374"/>
                        </a:lnTo>
                        <a:lnTo>
                          <a:pt x="625" y="370"/>
                        </a:lnTo>
                        <a:lnTo>
                          <a:pt x="512" y="370"/>
                        </a:lnTo>
                        <a:lnTo>
                          <a:pt x="503" y="362"/>
                        </a:lnTo>
                        <a:lnTo>
                          <a:pt x="493" y="354"/>
                        </a:lnTo>
                        <a:lnTo>
                          <a:pt x="481" y="348"/>
                        </a:lnTo>
                        <a:lnTo>
                          <a:pt x="469" y="342"/>
                        </a:lnTo>
                        <a:lnTo>
                          <a:pt x="445" y="333"/>
                        </a:lnTo>
                        <a:lnTo>
                          <a:pt x="425" y="327"/>
                        </a:lnTo>
                        <a:lnTo>
                          <a:pt x="412" y="350"/>
                        </a:lnTo>
                        <a:lnTo>
                          <a:pt x="398" y="369"/>
                        </a:lnTo>
                        <a:lnTo>
                          <a:pt x="393" y="378"/>
                        </a:lnTo>
                        <a:lnTo>
                          <a:pt x="386" y="386"/>
                        </a:lnTo>
                        <a:lnTo>
                          <a:pt x="380" y="395"/>
                        </a:lnTo>
                        <a:lnTo>
                          <a:pt x="372" y="402"/>
                        </a:lnTo>
                        <a:lnTo>
                          <a:pt x="362" y="401"/>
                        </a:lnTo>
                        <a:lnTo>
                          <a:pt x="353" y="400"/>
                        </a:lnTo>
                        <a:lnTo>
                          <a:pt x="345" y="399"/>
                        </a:lnTo>
                        <a:lnTo>
                          <a:pt x="337" y="396"/>
                        </a:lnTo>
                        <a:lnTo>
                          <a:pt x="328" y="392"/>
                        </a:lnTo>
                        <a:lnTo>
                          <a:pt x="321" y="388"/>
                        </a:lnTo>
                        <a:lnTo>
                          <a:pt x="313" y="383"/>
                        </a:lnTo>
                        <a:lnTo>
                          <a:pt x="306" y="376"/>
                        </a:lnTo>
                        <a:lnTo>
                          <a:pt x="326" y="352"/>
                        </a:lnTo>
                      </a:path>
                    </a:pathLst>
                  </a:custGeom>
                  <a:grpFill/>
                  <a:ln w="9525" cap="flat" cmpd="sng">
                    <a:solidFill>
                      <a:schemeClr val="bg1"/>
                    </a:solidFill>
                    <a:prstDash val="solid"/>
                    <a:round/>
                    <a:headEnd type="none" w="med" len="med"/>
                    <a:tailEnd type="none" w="med" len="med"/>
                  </a:ln>
                  <a:effectLst/>
                </p:spPr>
                <p:txBody>
                  <a:bodyPr/>
                  <a:lstStyle/>
                  <a:p>
                    <a:endParaRPr lang="en-GB" sz="1637"/>
                  </a:p>
                </p:txBody>
              </p:sp>
              <p:sp>
                <p:nvSpPr>
                  <p:cNvPr id="488" name="Freeform 443"/>
                  <p:cNvSpPr>
                    <a:spLocks/>
                  </p:cNvSpPr>
                  <p:nvPr>
                    <p:custDataLst>
                      <p:tags r:id="rId318"/>
                    </p:custDataLst>
                  </p:nvPr>
                </p:nvSpPr>
                <p:spPr bwMode="auto">
                  <a:xfrm>
                    <a:off x="4449820" y="1986791"/>
                    <a:ext cx="228753" cy="170141"/>
                  </a:xfrm>
                  <a:custGeom>
                    <a:avLst/>
                    <a:gdLst>
                      <a:gd name="T0" fmla="*/ 108880 w 485"/>
                      <a:gd name="T1" fmla="*/ 10365 h 291"/>
                      <a:gd name="T2" fmla="*/ 129619 w 485"/>
                      <a:gd name="T3" fmla="*/ 22803 h 291"/>
                      <a:gd name="T4" fmla="*/ 160727 w 485"/>
                      <a:gd name="T5" fmla="*/ 22803 h 291"/>
                      <a:gd name="T6" fmla="*/ 183626 w 485"/>
                      <a:gd name="T7" fmla="*/ 67891 h 291"/>
                      <a:gd name="T8" fmla="*/ 209550 w 485"/>
                      <a:gd name="T9" fmla="*/ 86548 h 291"/>
                      <a:gd name="T10" fmla="*/ 178009 w 485"/>
                      <a:gd name="T11" fmla="*/ 89658 h 291"/>
                      <a:gd name="T12" fmla="*/ 187083 w 485"/>
                      <a:gd name="T13" fmla="*/ 108833 h 291"/>
                      <a:gd name="T14" fmla="*/ 169368 w 485"/>
                      <a:gd name="T15" fmla="*/ 124899 h 291"/>
                      <a:gd name="T16" fmla="*/ 166344 w 485"/>
                      <a:gd name="T17" fmla="*/ 150812 h 291"/>
                      <a:gd name="T18" fmla="*/ 123138 w 485"/>
                      <a:gd name="T19" fmla="*/ 137856 h 291"/>
                      <a:gd name="T20" fmla="*/ 74747 w 485"/>
                      <a:gd name="T21" fmla="*/ 131637 h 291"/>
                      <a:gd name="T22" fmla="*/ 25924 w 485"/>
                      <a:gd name="T23" fmla="*/ 137856 h 291"/>
                      <a:gd name="T24" fmla="*/ 6481 w 485"/>
                      <a:gd name="T25" fmla="*/ 140447 h 291"/>
                      <a:gd name="T26" fmla="*/ 3456 w 485"/>
                      <a:gd name="T27" fmla="*/ 133191 h 291"/>
                      <a:gd name="T28" fmla="*/ 1296 w 485"/>
                      <a:gd name="T29" fmla="*/ 126454 h 291"/>
                      <a:gd name="T30" fmla="*/ 0 w 485"/>
                      <a:gd name="T31" fmla="*/ 118680 h 291"/>
                      <a:gd name="T32" fmla="*/ 2160 w 485"/>
                      <a:gd name="T33" fmla="*/ 113498 h 291"/>
                      <a:gd name="T34" fmla="*/ 6049 w 485"/>
                      <a:gd name="T35" fmla="*/ 107279 h 291"/>
                      <a:gd name="T36" fmla="*/ 9937 w 485"/>
                      <a:gd name="T37" fmla="*/ 97950 h 291"/>
                      <a:gd name="T38" fmla="*/ 13394 w 485"/>
                      <a:gd name="T39" fmla="*/ 86030 h 291"/>
                      <a:gd name="T40" fmla="*/ 17715 w 485"/>
                      <a:gd name="T41" fmla="*/ 71001 h 291"/>
                      <a:gd name="T42" fmla="*/ 20739 w 485"/>
                      <a:gd name="T43" fmla="*/ 65300 h 291"/>
                      <a:gd name="T44" fmla="*/ 25924 w 485"/>
                      <a:gd name="T45" fmla="*/ 61672 h 291"/>
                      <a:gd name="T46" fmla="*/ 37589 w 485"/>
                      <a:gd name="T47" fmla="*/ 57526 h 291"/>
                      <a:gd name="T48" fmla="*/ 38454 w 485"/>
                      <a:gd name="T49" fmla="*/ 54935 h 291"/>
                      <a:gd name="T50" fmla="*/ 40614 w 485"/>
                      <a:gd name="T51" fmla="*/ 51825 h 291"/>
                      <a:gd name="T52" fmla="*/ 43638 w 485"/>
                      <a:gd name="T53" fmla="*/ 49234 h 291"/>
                      <a:gd name="T54" fmla="*/ 45799 w 485"/>
                      <a:gd name="T55" fmla="*/ 48198 h 291"/>
                      <a:gd name="T56" fmla="*/ 45799 w 485"/>
                      <a:gd name="T57" fmla="*/ 39387 h 291"/>
                      <a:gd name="T58" fmla="*/ 47095 w 485"/>
                      <a:gd name="T59" fmla="*/ 36278 h 291"/>
                      <a:gd name="T60" fmla="*/ 48823 w 485"/>
                      <a:gd name="T61" fmla="*/ 34723 h 291"/>
                      <a:gd name="T62" fmla="*/ 52712 w 485"/>
                      <a:gd name="T63" fmla="*/ 35760 h 291"/>
                      <a:gd name="T64" fmla="*/ 55304 w 485"/>
                      <a:gd name="T65" fmla="*/ 35760 h 291"/>
                      <a:gd name="T66" fmla="*/ 57032 w 485"/>
                      <a:gd name="T67" fmla="*/ 34205 h 291"/>
                      <a:gd name="T68" fmla="*/ 57896 w 485"/>
                      <a:gd name="T69" fmla="*/ 29022 h 291"/>
                      <a:gd name="T70" fmla="*/ 60057 w 485"/>
                      <a:gd name="T71" fmla="*/ 22803 h 291"/>
                      <a:gd name="T72" fmla="*/ 62217 w 485"/>
                      <a:gd name="T73" fmla="*/ 20212 h 291"/>
                      <a:gd name="T74" fmla="*/ 92029 w 485"/>
                      <a:gd name="T75" fmla="*/ 0 h 29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485" h="291">
                        <a:moveTo>
                          <a:pt x="206" y="6"/>
                        </a:moveTo>
                        <a:lnTo>
                          <a:pt x="252" y="20"/>
                        </a:lnTo>
                        <a:lnTo>
                          <a:pt x="292" y="20"/>
                        </a:lnTo>
                        <a:lnTo>
                          <a:pt x="300" y="44"/>
                        </a:lnTo>
                        <a:lnTo>
                          <a:pt x="339" y="32"/>
                        </a:lnTo>
                        <a:lnTo>
                          <a:pt x="372" y="44"/>
                        </a:lnTo>
                        <a:lnTo>
                          <a:pt x="379" y="93"/>
                        </a:lnTo>
                        <a:lnTo>
                          <a:pt x="425" y="131"/>
                        </a:lnTo>
                        <a:lnTo>
                          <a:pt x="459" y="149"/>
                        </a:lnTo>
                        <a:lnTo>
                          <a:pt x="485" y="167"/>
                        </a:lnTo>
                        <a:lnTo>
                          <a:pt x="459" y="186"/>
                        </a:lnTo>
                        <a:lnTo>
                          <a:pt x="412" y="173"/>
                        </a:lnTo>
                        <a:lnTo>
                          <a:pt x="418" y="198"/>
                        </a:lnTo>
                        <a:lnTo>
                          <a:pt x="433" y="210"/>
                        </a:lnTo>
                        <a:lnTo>
                          <a:pt x="433" y="241"/>
                        </a:lnTo>
                        <a:lnTo>
                          <a:pt x="392" y="241"/>
                        </a:lnTo>
                        <a:lnTo>
                          <a:pt x="385" y="266"/>
                        </a:lnTo>
                        <a:lnTo>
                          <a:pt x="385" y="291"/>
                        </a:lnTo>
                        <a:lnTo>
                          <a:pt x="339" y="278"/>
                        </a:lnTo>
                        <a:lnTo>
                          <a:pt x="285" y="266"/>
                        </a:lnTo>
                        <a:lnTo>
                          <a:pt x="239" y="272"/>
                        </a:lnTo>
                        <a:lnTo>
                          <a:pt x="173" y="254"/>
                        </a:lnTo>
                        <a:lnTo>
                          <a:pt x="113" y="254"/>
                        </a:lnTo>
                        <a:lnTo>
                          <a:pt x="60" y="266"/>
                        </a:lnTo>
                        <a:lnTo>
                          <a:pt x="20" y="278"/>
                        </a:lnTo>
                        <a:lnTo>
                          <a:pt x="15" y="271"/>
                        </a:lnTo>
                        <a:lnTo>
                          <a:pt x="11" y="264"/>
                        </a:lnTo>
                        <a:lnTo>
                          <a:pt x="8" y="257"/>
                        </a:lnTo>
                        <a:lnTo>
                          <a:pt x="5" y="251"/>
                        </a:lnTo>
                        <a:lnTo>
                          <a:pt x="3" y="244"/>
                        </a:lnTo>
                        <a:lnTo>
                          <a:pt x="1" y="237"/>
                        </a:lnTo>
                        <a:lnTo>
                          <a:pt x="0" y="229"/>
                        </a:lnTo>
                        <a:lnTo>
                          <a:pt x="0" y="222"/>
                        </a:lnTo>
                        <a:lnTo>
                          <a:pt x="5" y="219"/>
                        </a:lnTo>
                        <a:lnTo>
                          <a:pt x="10" y="214"/>
                        </a:lnTo>
                        <a:lnTo>
                          <a:pt x="14" y="207"/>
                        </a:lnTo>
                        <a:lnTo>
                          <a:pt x="20" y="198"/>
                        </a:lnTo>
                        <a:lnTo>
                          <a:pt x="23" y="189"/>
                        </a:lnTo>
                        <a:lnTo>
                          <a:pt x="27" y="178"/>
                        </a:lnTo>
                        <a:lnTo>
                          <a:pt x="31" y="166"/>
                        </a:lnTo>
                        <a:lnTo>
                          <a:pt x="33" y="155"/>
                        </a:lnTo>
                        <a:lnTo>
                          <a:pt x="41" y="137"/>
                        </a:lnTo>
                        <a:lnTo>
                          <a:pt x="44" y="131"/>
                        </a:lnTo>
                        <a:lnTo>
                          <a:pt x="48" y="126"/>
                        </a:lnTo>
                        <a:lnTo>
                          <a:pt x="54" y="123"/>
                        </a:lnTo>
                        <a:lnTo>
                          <a:pt x="60" y="119"/>
                        </a:lnTo>
                        <a:lnTo>
                          <a:pt x="75" y="115"/>
                        </a:lnTo>
                        <a:lnTo>
                          <a:pt x="87" y="111"/>
                        </a:lnTo>
                        <a:lnTo>
                          <a:pt x="87" y="109"/>
                        </a:lnTo>
                        <a:lnTo>
                          <a:pt x="89" y="106"/>
                        </a:lnTo>
                        <a:lnTo>
                          <a:pt x="91" y="103"/>
                        </a:lnTo>
                        <a:lnTo>
                          <a:pt x="94" y="100"/>
                        </a:lnTo>
                        <a:lnTo>
                          <a:pt x="98" y="97"/>
                        </a:lnTo>
                        <a:lnTo>
                          <a:pt x="101" y="95"/>
                        </a:lnTo>
                        <a:lnTo>
                          <a:pt x="103" y="94"/>
                        </a:lnTo>
                        <a:lnTo>
                          <a:pt x="106" y="93"/>
                        </a:lnTo>
                        <a:lnTo>
                          <a:pt x="106" y="81"/>
                        </a:lnTo>
                        <a:lnTo>
                          <a:pt x="106" y="76"/>
                        </a:lnTo>
                        <a:lnTo>
                          <a:pt x="107" y="72"/>
                        </a:lnTo>
                        <a:lnTo>
                          <a:pt x="109" y="70"/>
                        </a:lnTo>
                        <a:lnTo>
                          <a:pt x="110" y="68"/>
                        </a:lnTo>
                        <a:lnTo>
                          <a:pt x="113" y="67"/>
                        </a:lnTo>
                        <a:lnTo>
                          <a:pt x="117" y="68"/>
                        </a:lnTo>
                        <a:lnTo>
                          <a:pt x="122" y="69"/>
                        </a:lnTo>
                        <a:lnTo>
                          <a:pt x="126" y="69"/>
                        </a:lnTo>
                        <a:lnTo>
                          <a:pt x="128" y="69"/>
                        </a:lnTo>
                        <a:lnTo>
                          <a:pt x="129" y="68"/>
                        </a:lnTo>
                        <a:lnTo>
                          <a:pt x="132" y="66"/>
                        </a:lnTo>
                        <a:lnTo>
                          <a:pt x="133" y="62"/>
                        </a:lnTo>
                        <a:lnTo>
                          <a:pt x="134" y="56"/>
                        </a:lnTo>
                        <a:lnTo>
                          <a:pt x="137" y="48"/>
                        </a:lnTo>
                        <a:lnTo>
                          <a:pt x="139" y="44"/>
                        </a:lnTo>
                        <a:lnTo>
                          <a:pt x="142" y="41"/>
                        </a:lnTo>
                        <a:lnTo>
                          <a:pt x="144" y="39"/>
                        </a:lnTo>
                        <a:lnTo>
                          <a:pt x="146" y="38"/>
                        </a:lnTo>
                        <a:lnTo>
                          <a:pt x="213" y="0"/>
                        </a:lnTo>
                        <a:lnTo>
                          <a:pt x="206" y="6"/>
                        </a:lnTo>
                      </a:path>
                    </a:pathLst>
                  </a:custGeom>
                  <a:grpFill/>
                  <a:ln w="9525" cmpd="sng">
                    <a:solidFill>
                      <a:schemeClr val="bg1"/>
                    </a:solidFill>
                    <a:prstDash val="solid"/>
                    <a:round/>
                    <a:headEnd/>
                    <a:tailEnd/>
                  </a:ln>
                </p:spPr>
                <p:txBody>
                  <a:bodyPr/>
                  <a:lstStyle/>
                  <a:p>
                    <a:endParaRPr lang="en-GB" sz="1637"/>
                  </a:p>
                </p:txBody>
              </p:sp>
              <p:sp>
                <p:nvSpPr>
                  <p:cNvPr id="489" name="Freeform 453"/>
                  <p:cNvSpPr>
                    <a:spLocks/>
                  </p:cNvSpPr>
                  <p:nvPr>
                    <p:custDataLst>
                      <p:tags r:id="rId319"/>
                    </p:custDataLst>
                  </p:nvPr>
                </p:nvSpPr>
                <p:spPr bwMode="auto">
                  <a:xfrm>
                    <a:off x="4188140" y="2160514"/>
                    <a:ext cx="183696" cy="87758"/>
                  </a:xfrm>
                  <a:custGeom>
                    <a:avLst/>
                    <a:gdLst>
                      <a:gd name="T0" fmla="*/ 166499 w 379"/>
                      <a:gd name="T1" fmla="*/ 49742 h 147"/>
                      <a:gd name="T2" fmla="*/ 159839 w 379"/>
                      <a:gd name="T3" fmla="*/ 53446 h 147"/>
                      <a:gd name="T4" fmla="*/ 157175 w 379"/>
                      <a:gd name="T5" fmla="*/ 57150 h 147"/>
                      <a:gd name="T6" fmla="*/ 154067 w 379"/>
                      <a:gd name="T7" fmla="*/ 61913 h 147"/>
                      <a:gd name="T8" fmla="*/ 147851 w 379"/>
                      <a:gd name="T9" fmla="*/ 67205 h 147"/>
                      <a:gd name="T10" fmla="*/ 142079 w 379"/>
                      <a:gd name="T11" fmla="*/ 69321 h 147"/>
                      <a:gd name="T12" fmla="*/ 138083 w 379"/>
                      <a:gd name="T13" fmla="*/ 69850 h 147"/>
                      <a:gd name="T14" fmla="*/ 133643 w 379"/>
                      <a:gd name="T15" fmla="*/ 68792 h 147"/>
                      <a:gd name="T16" fmla="*/ 129203 w 379"/>
                      <a:gd name="T17" fmla="*/ 66675 h 147"/>
                      <a:gd name="T18" fmla="*/ 124763 w 379"/>
                      <a:gd name="T19" fmla="*/ 62971 h 147"/>
                      <a:gd name="T20" fmla="*/ 122099 w 379"/>
                      <a:gd name="T21" fmla="*/ 61384 h 147"/>
                      <a:gd name="T22" fmla="*/ 119435 w 379"/>
                      <a:gd name="T23" fmla="*/ 62442 h 147"/>
                      <a:gd name="T24" fmla="*/ 118547 w 379"/>
                      <a:gd name="T25" fmla="*/ 65088 h 147"/>
                      <a:gd name="T26" fmla="*/ 118103 w 379"/>
                      <a:gd name="T27" fmla="*/ 74084 h 147"/>
                      <a:gd name="T28" fmla="*/ 114107 w 379"/>
                      <a:gd name="T29" fmla="*/ 76730 h 147"/>
                      <a:gd name="T30" fmla="*/ 108335 w 379"/>
                      <a:gd name="T31" fmla="*/ 74084 h 147"/>
                      <a:gd name="T32" fmla="*/ 101675 w 379"/>
                      <a:gd name="T33" fmla="*/ 69321 h 147"/>
                      <a:gd name="T34" fmla="*/ 50172 w 379"/>
                      <a:gd name="T35" fmla="*/ 74613 h 147"/>
                      <a:gd name="T36" fmla="*/ 35520 w 379"/>
                      <a:gd name="T37" fmla="*/ 65617 h 147"/>
                      <a:gd name="T38" fmla="*/ 25752 w 379"/>
                      <a:gd name="T39" fmla="*/ 57680 h 147"/>
                      <a:gd name="T40" fmla="*/ 19980 w 379"/>
                      <a:gd name="T41" fmla="*/ 49742 h 147"/>
                      <a:gd name="T42" fmla="*/ 16428 w 379"/>
                      <a:gd name="T43" fmla="*/ 43392 h 147"/>
                      <a:gd name="T44" fmla="*/ 11544 w 379"/>
                      <a:gd name="T45" fmla="*/ 31221 h 147"/>
                      <a:gd name="T46" fmla="*/ 7104 w 379"/>
                      <a:gd name="T47" fmla="*/ 25400 h 147"/>
                      <a:gd name="T48" fmla="*/ 0 w 379"/>
                      <a:gd name="T49" fmla="*/ 19050 h 147"/>
                      <a:gd name="T50" fmla="*/ 12876 w 379"/>
                      <a:gd name="T51" fmla="*/ 21167 h 147"/>
                      <a:gd name="T52" fmla="*/ 23088 w 379"/>
                      <a:gd name="T53" fmla="*/ 20108 h 147"/>
                      <a:gd name="T54" fmla="*/ 31968 w 379"/>
                      <a:gd name="T55" fmla="*/ 17463 h 147"/>
                      <a:gd name="T56" fmla="*/ 38628 w 379"/>
                      <a:gd name="T57" fmla="*/ 13229 h 147"/>
                      <a:gd name="T58" fmla="*/ 52836 w 379"/>
                      <a:gd name="T59" fmla="*/ 4233 h 147"/>
                      <a:gd name="T60" fmla="*/ 61272 w 379"/>
                      <a:gd name="T61" fmla="*/ 1058 h 147"/>
                      <a:gd name="T62" fmla="*/ 70596 w 379"/>
                      <a:gd name="T63" fmla="*/ 0 h 147"/>
                      <a:gd name="T64" fmla="*/ 88799 w 379"/>
                      <a:gd name="T65" fmla="*/ 12171 h 147"/>
                      <a:gd name="T66" fmla="*/ 108335 w 379"/>
                      <a:gd name="T67" fmla="*/ 23813 h 147"/>
                      <a:gd name="T68" fmla="*/ 129647 w 379"/>
                      <a:gd name="T69" fmla="*/ 35454 h 147"/>
                      <a:gd name="T70" fmla="*/ 147851 w 379"/>
                      <a:gd name="T71" fmla="*/ 42334 h 147"/>
                      <a:gd name="T72" fmla="*/ 157175 w 379"/>
                      <a:gd name="T73" fmla="*/ 45509 h 147"/>
                      <a:gd name="T74" fmla="*/ 168275 w 379"/>
                      <a:gd name="T75" fmla="*/ 48684 h 14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79" h="147">
                        <a:moveTo>
                          <a:pt x="379" y="92"/>
                        </a:moveTo>
                        <a:lnTo>
                          <a:pt x="375" y="94"/>
                        </a:lnTo>
                        <a:lnTo>
                          <a:pt x="366" y="98"/>
                        </a:lnTo>
                        <a:lnTo>
                          <a:pt x="360" y="101"/>
                        </a:lnTo>
                        <a:lnTo>
                          <a:pt x="357" y="105"/>
                        </a:lnTo>
                        <a:lnTo>
                          <a:pt x="354" y="108"/>
                        </a:lnTo>
                        <a:lnTo>
                          <a:pt x="353" y="111"/>
                        </a:lnTo>
                        <a:lnTo>
                          <a:pt x="347" y="117"/>
                        </a:lnTo>
                        <a:lnTo>
                          <a:pt x="341" y="123"/>
                        </a:lnTo>
                        <a:lnTo>
                          <a:pt x="333" y="127"/>
                        </a:lnTo>
                        <a:lnTo>
                          <a:pt x="324" y="130"/>
                        </a:lnTo>
                        <a:lnTo>
                          <a:pt x="320" y="131"/>
                        </a:lnTo>
                        <a:lnTo>
                          <a:pt x="315" y="132"/>
                        </a:lnTo>
                        <a:lnTo>
                          <a:pt x="311" y="132"/>
                        </a:lnTo>
                        <a:lnTo>
                          <a:pt x="306" y="131"/>
                        </a:lnTo>
                        <a:lnTo>
                          <a:pt x="301" y="130"/>
                        </a:lnTo>
                        <a:lnTo>
                          <a:pt x="296" y="128"/>
                        </a:lnTo>
                        <a:lnTo>
                          <a:pt x="291" y="126"/>
                        </a:lnTo>
                        <a:lnTo>
                          <a:pt x="286" y="123"/>
                        </a:lnTo>
                        <a:lnTo>
                          <a:pt x="281" y="119"/>
                        </a:lnTo>
                        <a:lnTo>
                          <a:pt x="277" y="117"/>
                        </a:lnTo>
                        <a:lnTo>
                          <a:pt x="275" y="116"/>
                        </a:lnTo>
                        <a:lnTo>
                          <a:pt x="271" y="116"/>
                        </a:lnTo>
                        <a:lnTo>
                          <a:pt x="269" y="118"/>
                        </a:lnTo>
                        <a:lnTo>
                          <a:pt x="268" y="120"/>
                        </a:lnTo>
                        <a:lnTo>
                          <a:pt x="267" y="123"/>
                        </a:lnTo>
                        <a:lnTo>
                          <a:pt x="266" y="126"/>
                        </a:lnTo>
                        <a:lnTo>
                          <a:pt x="266" y="140"/>
                        </a:lnTo>
                        <a:lnTo>
                          <a:pt x="266" y="147"/>
                        </a:lnTo>
                        <a:lnTo>
                          <a:pt x="257" y="145"/>
                        </a:lnTo>
                        <a:lnTo>
                          <a:pt x="251" y="143"/>
                        </a:lnTo>
                        <a:lnTo>
                          <a:pt x="244" y="140"/>
                        </a:lnTo>
                        <a:lnTo>
                          <a:pt x="240" y="137"/>
                        </a:lnTo>
                        <a:lnTo>
                          <a:pt x="229" y="131"/>
                        </a:lnTo>
                        <a:lnTo>
                          <a:pt x="213" y="123"/>
                        </a:lnTo>
                        <a:lnTo>
                          <a:pt x="113" y="141"/>
                        </a:lnTo>
                        <a:lnTo>
                          <a:pt x="95" y="132"/>
                        </a:lnTo>
                        <a:lnTo>
                          <a:pt x="80" y="124"/>
                        </a:lnTo>
                        <a:lnTo>
                          <a:pt x="68" y="116"/>
                        </a:lnTo>
                        <a:lnTo>
                          <a:pt x="58" y="109"/>
                        </a:lnTo>
                        <a:lnTo>
                          <a:pt x="51" y="101"/>
                        </a:lnTo>
                        <a:lnTo>
                          <a:pt x="45" y="94"/>
                        </a:lnTo>
                        <a:lnTo>
                          <a:pt x="40" y="88"/>
                        </a:lnTo>
                        <a:lnTo>
                          <a:pt x="37" y="82"/>
                        </a:lnTo>
                        <a:lnTo>
                          <a:pt x="31" y="70"/>
                        </a:lnTo>
                        <a:lnTo>
                          <a:pt x="26" y="59"/>
                        </a:lnTo>
                        <a:lnTo>
                          <a:pt x="21" y="54"/>
                        </a:lnTo>
                        <a:lnTo>
                          <a:pt x="16" y="48"/>
                        </a:lnTo>
                        <a:lnTo>
                          <a:pt x="9" y="42"/>
                        </a:lnTo>
                        <a:lnTo>
                          <a:pt x="0" y="36"/>
                        </a:lnTo>
                        <a:lnTo>
                          <a:pt x="16" y="39"/>
                        </a:lnTo>
                        <a:lnTo>
                          <a:pt x="29" y="40"/>
                        </a:lnTo>
                        <a:lnTo>
                          <a:pt x="41" y="40"/>
                        </a:lnTo>
                        <a:lnTo>
                          <a:pt x="52" y="38"/>
                        </a:lnTo>
                        <a:lnTo>
                          <a:pt x="62" y="36"/>
                        </a:lnTo>
                        <a:lnTo>
                          <a:pt x="72" y="33"/>
                        </a:lnTo>
                        <a:lnTo>
                          <a:pt x="79" y="29"/>
                        </a:lnTo>
                        <a:lnTo>
                          <a:pt x="87" y="25"/>
                        </a:lnTo>
                        <a:lnTo>
                          <a:pt x="102" y="16"/>
                        </a:lnTo>
                        <a:lnTo>
                          <a:pt x="119" y="8"/>
                        </a:lnTo>
                        <a:lnTo>
                          <a:pt x="128" y="5"/>
                        </a:lnTo>
                        <a:lnTo>
                          <a:pt x="138" y="2"/>
                        </a:lnTo>
                        <a:lnTo>
                          <a:pt x="149" y="1"/>
                        </a:lnTo>
                        <a:lnTo>
                          <a:pt x="159" y="0"/>
                        </a:lnTo>
                        <a:lnTo>
                          <a:pt x="179" y="11"/>
                        </a:lnTo>
                        <a:lnTo>
                          <a:pt x="200" y="23"/>
                        </a:lnTo>
                        <a:lnTo>
                          <a:pt x="222" y="34"/>
                        </a:lnTo>
                        <a:lnTo>
                          <a:pt x="244" y="45"/>
                        </a:lnTo>
                        <a:lnTo>
                          <a:pt x="278" y="61"/>
                        </a:lnTo>
                        <a:lnTo>
                          <a:pt x="292" y="67"/>
                        </a:lnTo>
                        <a:lnTo>
                          <a:pt x="314" y="73"/>
                        </a:lnTo>
                        <a:lnTo>
                          <a:pt x="333" y="80"/>
                        </a:lnTo>
                        <a:lnTo>
                          <a:pt x="343" y="83"/>
                        </a:lnTo>
                        <a:lnTo>
                          <a:pt x="354" y="86"/>
                        </a:lnTo>
                        <a:lnTo>
                          <a:pt x="365" y="89"/>
                        </a:lnTo>
                        <a:lnTo>
                          <a:pt x="379" y="92"/>
                        </a:lnTo>
                      </a:path>
                    </a:pathLst>
                  </a:custGeom>
                  <a:grpFill/>
                  <a:ln w="9525" cap="flat" cmpd="sng">
                    <a:solidFill>
                      <a:schemeClr val="bg1"/>
                    </a:solidFill>
                    <a:prstDash val="solid"/>
                    <a:round/>
                    <a:headEnd type="none" w="med" len="med"/>
                    <a:tailEnd type="none" w="med" len="med"/>
                  </a:ln>
                  <a:effectLst/>
                </p:spPr>
                <p:txBody>
                  <a:bodyPr/>
                  <a:lstStyle/>
                  <a:p>
                    <a:endParaRPr lang="en-GB" sz="1637"/>
                  </a:p>
                </p:txBody>
              </p:sp>
              <p:sp>
                <p:nvSpPr>
                  <p:cNvPr id="490" name="Freeform 454"/>
                  <p:cNvSpPr>
                    <a:spLocks/>
                  </p:cNvSpPr>
                  <p:nvPr>
                    <p:custDataLst>
                      <p:tags r:id="rId320"/>
                    </p:custDataLst>
                  </p:nvPr>
                </p:nvSpPr>
                <p:spPr bwMode="auto">
                  <a:xfrm>
                    <a:off x="4148282" y="1997537"/>
                    <a:ext cx="32926" cy="68057"/>
                  </a:xfrm>
                  <a:custGeom>
                    <a:avLst/>
                    <a:gdLst>
                      <a:gd name="T0" fmla="*/ 0 w 61"/>
                      <a:gd name="T1" fmla="*/ 0 h 67"/>
                      <a:gd name="T2" fmla="*/ 0 w 61"/>
                      <a:gd name="T3" fmla="*/ 8103 h 67"/>
                      <a:gd name="T4" fmla="*/ 0 w 61"/>
                      <a:gd name="T5" fmla="*/ 16207 h 67"/>
                      <a:gd name="T6" fmla="*/ 494 w 61"/>
                      <a:gd name="T7" fmla="*/ 21609 h 67"/>
                      <a:gd name="T8" fmla="*/ 989 w 61"/>
                      <a:gd name="T9" fmla="*/ 27011 h 67"/>
                      <a:gd name="T10" fmla="*/ 1483 w 61"/>
                      <a:gd name="T11" fmla="*/ 32413 h 67"/>
                      <a:gd name="T12" fmla="*/ 2967 w 61"/>
                      <a:gd name="T13" fmla="*/ 37816 h 67"/>
                      <a:gd name="T14" fmla="*/ 5934 w 61"/>
                      <a:gd name="T15" fmla="*/ 49521 h 67"/>
                      <a:gd name="T16" fmla="*/ 10384 w 61"/>
                      <a:gd name="T17" fmla="*/ 60325 h 67"/>
                      <a:gd name="T18" fmla="*/ 13845 w 61"/>
                      <a:gd name="T19" fmla="*/ 58524 h 67"/>
                      <a:gd name="T20" fmla="*/ 17306 w 61"/>
                      <a:gd name="T21" fmla="*/ 54923 h 67"/>
                      <a:gd name="T22" fmla="*/ 20767 w 61"/>
                      <a:gd name="T23" fmla="*/ 52222 h 67"/>
                      <a:gd name="T24" fmla="*/ 23734 w 61"/>
                      <a:gd name="T25" fmla="*/ 47720 h 67"/>
                      <a:gd name="T26" fmla="*/ 26206 w 61"/>
                      <a:gd name="T27" fmla="*/ 42318 h 67"/>
                      <a:gd name="T28" fmla="*/ 28184 w 61"/>
                      <a:gd name="T29" fmla="*/ 36015 h 67"/>
                      <a:gd name="T30" fmla="*/ 29173 w 61"/>
                      <a:gd name="T31" fmla="*/ 28812 h 67"/>
                      <a:gd name="T32" fmla="*/ 30162 w 61"/>
                      <a:gd name="T33" fmla="*/ 21609 h 67"/>
                      <a:gd name="T34" fmla="*/ 26206 w 61"/>
                      <a:gd name="T35" fmla="*/ 12605 h 67"/>
                      <a:gd name="T36" fmla="*/ 20273 w 61"/>
                      <a:gd name="T37" fmla="*/ 0 h 67"/>
                      <a:gd name="T38" fmla="*/ 13845 w 61"/>
                      <a:gd name="T39" fmla="*/ 2701 h 67"/>
                      <a:gd name="T40" fmla="*/ 8900 w 61"/>
                      <a:gd name="T41" fmla="*/ 3601 h 67"/>
                      <a:gd name="T42" fmla="*/ 6428 w 61"/>
                      <a:gd name="T43" fmla="*/ 3601 h 67"/>
                      <a:gd name="T44" fmla="*/ 4945 w 61"/>
                      <a:gd name="T45" fmla="*/ 2701 h 67"/>
                      <a:gd name="T46" fmla="*/ 2967 w 61"/>
                      <a:gd name="T47" fmla="*/ 1801 h 67"/>
                      <a:gd name="T48" fmla="*/ 0 w 61"/>
                      <a:gd name="T49" fmla="*/ 0 h 6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1" h="67">
                        <a:moveTo>
                          <a:pt x="0" y="0"/>
                        </a:moveTo>
                        <a:lnTo>
                          <a:pt x="0" y="9"/>
                        </a:lnTo>
                        <a:lnTo>
                          <a:pt x="0" y="18"/>
                        </a:lnTo>
                        <a:lnTo>
                          <a:pt x="1" y="24"/>
                        </a:lnTo>
                        <a:lnTo>
                          <a:pt x="2" y="30"/>
                        </a:lnTo>
                        <a:lnTo>
                          <a:pt x="3" y="36"/>
                        </a:lnTo>
                        <a:lnTo>
                          <a:pt x="6" y="42"/>
                        </a:lnTo>
                        <a:lnTo>
                          <a:pt x="12" y="55"/>
                        </a:lnTo>
                        <a:lnTo>
                          <a:pt x="21" y="67"/>
                        </a:lnTo>
                        <a:lnTo>
                          <a:pt x="28" y="65"/>
                        </a:lnTo>
                        <a:lnTo>
                          <a:pt x="35" y="61"/>
                        </a:lnTo>
                        <a:lnTo>
                          <a:pt x="42" y="58"/>
                        </a:lnTo>
                        <a:lnTo>
                          <a:pt x="48" y="53"/>
                        </a:lnTo>
                        <a:lnTo>
                          <a:pt x="53" y="47"/>
                        </a:lnTo>
                        <a:lnTo>
                          <a:pt x="57" y="40"/>
                        </a:lnTo>
                        <a:lnTo>
                          <a:pt x="59" y="32"/>
                        </a:lnTo>
                        <a:lnTo>
                          <a:pt x="61" y="24"/>
                        </a:lnTo>
                        <a:lnTo>
                          <a:pt x="53" y="14"/>
                        </a:lnTo>
                        <a:lnTo>
                          <a:pt x="41" y="0"/>
                        </a:lnTo>
                        <a:lnTo>
                          <a:pt x="28" y="3"/>
                        </a:lnTo>
                        <a:lnTo>
                          <a:pt x="18" y="4"/>
                        </a:lnTo>
                        <a:lnTo>
                          <a:pt x="13" y="4"/>
                        </a:lnTo>
                        <a:lnTo>
                          <a:pt x="10" y="3"/>
                        </a:lnTo>
                        <a:lnTo>
                          <a:pt x="6" y="2"/>
                        </a:lnTo>
                        <a:lnTo>
                          <a:pt x="0" y="0"/>
                        </a:lnTo>
                      </a:path>
                    </a:pathLst>
                  </a:custGeom>
                  <a:grpFill/>
                  <a:ln w="9525" cap="flat" cmpd="sng">
                    <a:solidFill>
                      <a:schemeClr val="bg1"/>
                    </a:solidFill>
                    <a:prstDash val="solid"/>
                    <a:round/>
                    <a:headEnd type="none" w="med" len="med"/>
                    <a:tailEnd type="none" w="med" len="med"/>
                  </a:ln>
                  <a:effectLst/>
                </p:spPr>
                <p:txBody>
                  <a:bodyPr/>
                  <a:lstStyle/>
                  <a:p>
                    <a:endParaRPr lang="en-GB" sz="1637"/>
                  </a:p>
                </p:txBody>
              </p:sp>
              <p:sp>
                <p:nvSpPr>
                  <p:cNvPr id="491" name="Freeform 455"/>
                  <p:cNvSpPr>
                    <a:spLocks/>
                  </p:cNvSpPr>
                  <p:nvPr>
                    <p:custDataLst>
                      <p:tags r:id="rId321"/>
                    </p:custDataLst>
                  </p:nvPr>
                </p:nvSpPr>
                <p:spPr bwMode="auto">
                  <a:xfrm>
                    <a:off x="4117088" y="2002909"/>
                    <a:ext cx="27728" cy="66266"/>
                  </a:xfrm>
                  <a:custGeom>
                    <a:avLst/>
                    <a:gdLst>
                      <a:gd name="T0" fmla="*/ 0 w 60"/>
                      <a:gd name="T1" fmla="*/ 6408 h 55"/>
                      <a:gd name="T2" fmla="*/ 0 w 60"/>
                      <a:gd name="T3" fmla="*/ 25631 h 55"/>
                      <a:gd name="T4" fmla="*/ 2117 w 60"/>
                      <a:gd name="T5" fmla="*/ 34175 h 55"/>
                      <a:gd name="T6" fmla="*/ 4233 w 60"/>
                      <a:gd name="T7" fmla="*/ 42719 h 55"/>
                      <a:gd name="T8" fmla="*/ 6773 w 60"/>
                      <a:gd name="T9" fmla="*/ 48058 h 55"/>
                      <a:gd name="T10" fmla="*/ 8890 w 60"/>
                      <a:gd name="T11" fmla="*/ 52330 h 55"/>
                      <a:gd name="T12" fmla="*/ 11430 w 60"/>
                      <a:gd name="T13" fmla="*/ 55534 h 55"/>
                      <a:gd name="T14" fmla="*/ 13970 w 60"/>
                      <a:gd name="T15" fmla="*/ 57670 h 55"/>
                      <a:gd name="T16" fmla="*/ 16933 w 60"/>
                      <a:gd name="T17" fmla="*/ 58738 h 55"/>
                      <a:gd name="T18" fmla="*/ 19473 w 60"/>
                      <a:gd name="T19" fmla="*/ 58738 h 55"/>
                      <a:gd name="T20" fmla="*/ 22437 w 60"/>
                      <a:gd name="T21" fmla="*/ 55534 h 55"/>
                      <a:gd name="T22" fmla="*/ 25400 w 60"/>
                      <a:gd name="T23" fmla="*/ 52330 h 55"/>
                      <a:gd name="T24" fmla="*/ 21167 w 60"/>
                      <a:gd name="T25" fmla="*/ 36311 h 55"/>
                      <a:gd name="T26" fmla="*/ 17780 w 60"/>
                      <a:gd name="T27" fmla="*/ 23495 h 55"/>
                      <a:gd name="T28" fmla="*/ 16510 w 60"/>
                      <a:gd name="T29" fmla="*/ 18155 h 55"/>
                      <a:gd name="T30" fmla="*/ 14817 w 60"/>
                      <a:gd name="T31" fmla="*/ 12816 h 55"/>
                      <a:gd name="T32" fmla="*/ 14393 w 60"/>
                      <a:gd name="T33" fmla="*/ 6408 h 55"/>
                      <a:gd name="T34" fmla="*/ 13970 w 60"/>
                      <a:gd name="T35" fmla="*/ 0 h 55"/>
                      <a:gd name="T36" fmla="*/ 9737 w 60"/>
                      <a:gd name="T37" fmla="*/ 1068 h 55"/>
                      <a:gd name="T38" fmla="*/ 6350 w 60"/>
                      <a:gd name="T39" fmla="*/ 3204 h 55"/>
                      <a:gd name="T40" fmla="*/ 2963 w 60"/>
                      <a:gd name="T41" fmla="*/ 5340 h 55"/>
                      <a:gd name="T42" fmla="*/ 0 w 60"/>
                      <a:gd name="T43" fmla="*/ 6408 h 5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0" h="55">
                        <a:moveTo>
                          <a:pt x="0" y="6"/>
                        </a:moveTo>
                        <a:lnTo>
                          <a:pt x="0" y="24"/>
                        </a:lnTo>
                        <a:lnTo>
                          <a:pt x="5" y="32"/>
                        </a:lnTo>
                        <a:lnTo>
                          <a:pt x="10" y="40"/>
                        </a:lnTo>
                        <a:lnTo>
                          <a:pt x="16" y="45"/>
                        </a:lnTo>
                        <a:lnTo>
                          <a:pt x="21" y="49"/>
                        </a:lnTo>
                        <a:lnTo>
                          <a:pt x="27" y="52"/>
                        </a:lnTo>
                        <a:lnTo>
                          <a:pt x="33" y="54"/>
                        </a:lnTo>
                        <a:lnTo>
                          <a:pt x="40" y="55"/>
                        </a:lnTo>
                        <a:lnTo>
                          <a:pt x="46" y="55"/>
                        </a:lnTo>
                        <a:lnTo>
                          <a:pt x="53" y="52"/>
                        </a:lnTo>
                        <a:lnTo>
                          <a:pt x="60" y="49"/>
                        </a:lnTo>
                        <a:lnTo>
                          <a:pt x="50" y="34"/>
                        </a:lnTo>
                        <a:lnTo>
                          <a:pt x="42" y="22"/>
                        </a:lnTo>
                        <a:lnTo>
                          <a:pt x="39" y="17"/>
                        </a:lnTo>
                        <a:lnTo>
                          <a:pt x="35" y="12"/>
                        </a:lnTo>
                        <a:lnTo>
                          <a:pt x="34" y="6"/>
                        </a:lnTo>
                        <a:lnTo>
                          <a:pt x="33" y="0"/>
                        </a:lnTo>
                        <a:lnTo>
                          <a:pt x="23" y="1"/>
                        </a:lnTo>
                        <a:lnTo>
                          <a:pt x="15" y="3"/>
                        </a:lnTo>
                        <a:lnTo>
                          <a:pt x="7" y="5"/>
                        </a:lnTo>
                        <a:lnTo>
                          <a:pt x="0" y="6"/>
                        </a:lnTo>
                      </a:path>
                    </a:pathLst>
                  </a:custGeom>
                  <a:grpFill/>
                  <a:ln w="9525" cmpd="sng">
                    <a:solidFill>
                      <a:schemeClr val="bg1"/>
                    </a:solidFill>
                    <a:prstDash val="solid"/>
                    <a:round/>
                    <a:headEnd/>
                    <a:tailEnd/>
                  </a:ln>
                </p:spPr>
                <p:txBody>
                  <a:bodyPr/>
                  <a:lstStyle/>
                  <a:p>
                    <a:endParaRPr lang="en-GB" sz="1637"/>
                  </a:p>
                </p:txBody>
              </p:sp>
              <p:sp>
                <p:nvSpPr>
                  <p:cNvPr id="492" name="Freeform 456"/>
                  <p:cNvSpPr>
                    <a:spLocks/>
                  </p:cNvSpPr>
                  <p:nvPr>
                    <p:custDataLst>
                      <p:tags r:id="rId322"/>
                    </p:custDataLst>
                  </p:nvPr>
                </p:nvSpPr>
                <p:spPr bwMode="auto">
                  <a:xfrm>
                    <a:off x="4084161" y="1942016"/>
                    <a:ext cx="57189" cy="87758"/>
                  </a:xfrm>
                  <a:custGeom>
                    <a:avLst/>
                    <a:gdLst>
                      <a:gd name="T0" fmla="*/ 32306 w 120"/>
                      <a:gd name="T1" fmla="*/ 67802 h 148"/>
                      <a:gd name="T2" fmla="*/ 30560 w 120"/>
                      <a:gd name="T3" fmla="*/ 68853 h 148"/>
                      <a:gd name="T4" fmla="*/ 29250 w 120"/>
                      <a:gd name="T5" fmla="*/ 69378 h 148"/>
                      <a:gd name="T6" fmla="*/ 27940 w 120"/>
                      <a:gd name="T7" fmla="*/ 69904 h 148"/>
                      <a:gd name="T8" fmla="*/ 26194 w 120"/>
                      <a:gd name="T9" fmla="*/ 69904 h 148"/>
                      <a:gd name="T10" fmla="*/ 24448 w 120"/>
                      <a:gd name="T11" fmla="*/ 69904 h 148"/>
                      <a:gd name="T12" fmla="*/ 23138 w 120"/>
                      <a:gd name="T13" fmla="*/ 69378 h 148"/>
                      <a:gd name="T14" fmla="*/ 21828 w 120"/>
                      <a:gd name="T15" fmla="*/ 68853 h 148"/>
                      <a:gd name="T16" fmla="*/ 20519 w 120"/>
                      <a:gd name="T17" fmla="*/ 67802 h 148"/>
                      <a:gd name="T18" fmla="*/ 17899 w 120"/>
                      <a:gd name="T19" fmla="*/ 67276 h 148"/>
                      <a:gd name="T20" fmla="*/ 14843 w 120"/>
                      <a:gd name="T21" fmla="*/ 65699 h 148"/>
                      <a:gd name="T22" fmla="*/ 11351 w 120"/>
                      <a:gd name="T23" fmla="*/ 63071 h 148"/>
                      <a:gd name="T24" fmla="*/ 8295 w 120"/>
                      <a:gd name="T25" fmla="*/ 60443 h 148"/>
                      <a:gd name="T26" fmla="*/ 4802 w 120"/>
                      <a:gd name="T27" fmla="*/ 56764 h 148"/>
                      <a:gd name="T28" fmla="*/ 2619 w 120"/>
                      <a:gd name="T29" fmla="*/ 53085 h 148"/>
                      <a:gd name="T30" fmla="*/ 1310 w 120"/>
                      <a:gd name="T31" fmla="*/ 50983 h 148"/>
                      <a:gd name="T32" fmla="*/ 873 w 120"/>
                      <a:gd name="T33" fmla="*/ 49406 h 148"/>
                      <a:gd name="T34" fmla="*/ 437 w 120"/>
                      <a:gd name="T35" fmla="*/ 47304 h 148"/>
                      <a:gd name="T36" fmla="*/ 0 w 120"/>
                      <a:gd name="T37" fmla="*/ 45727 h 148"/>
                      <a:gd name="T38" fmla="*/ 873 w 120"/>
                      <a:gd name="T39" fmla="*/ 38368 h 148"/>
                      <a:gd name="T40" fmla="*/ 3493 w 120"/>
                      <a:gd name="T41" fmla="*/ 28908 h 148"/>
                      <a:gd name="T42" fmla="*/ 6112 w 120"/>
                      <a:gd name="T43" fmla="*/ 18396 h 148"/>
                      <a:gd name="T44" fmla="*/ 8731 w 120"/>
                      <a:gd name="T45" fmla="*/ 9461 h 148"/>
                      <a:gd name="T46" fmla="*/ 13970 w 120"/>
                      <a:gd name="T47" fmla="*/ 8935 h 148"/>
                      <a:gd name="T48" fmla="*/ 18336 w 120"/>
                      <a:gd name="T49" fmla="*/ 8410 h 148"/>
                      <a:gd name="T50" fmla="*/ 22265 w 120"/>
                      <a:gd name="T51" fmla="*/ 7358 h 148"/>
                      <a:gd name="T52" fmla="*/ 25321 w 120"/>
                      <a:gd name="T53" fmla="*/ 5782 h 148"/>
                      <a:gd name="T54" fmla="*/ 30560 w 120"/>
                      <a:gd name="T55" fmla="*/ 2628 h 148"/>
                      <a:gd name="T56" fmla="*/ 34925 w 120"/>
                      <a:gd name="T57" fmla="*/ 0 h 148"/>
                      <a:gd name="T58" fmla="*/ 37108 w 120"/>
                      <a:gd name="T59" fmla="*/ 1051 h 148"/>
                      <a:gd name="T60" fmla="*/ 40601 w 120"/>
                      <a:gd name="T61" fmla="*/ 3679 h 148"/>
                      <a:gd name="T62" fmla="*/ 42784 w 120"/>
                      <a:gd name="T63" fmla="*/ 5256 h 148"/>
                      <a:gd name="T64" fmla="*/ 44530 w 120"/>
                      <a:gd name="T65" fmla="*/ 6833 h 148"/>
                      <a:gd name="T66" fmla="*/ 46276 w 120"/>
                      <a:gd name="T67" fmla="*/ 8410 h 148"/>
                      <a:gd name="T68" fmla="*/ 46713 w 120"/>
                      <a:gd name="T69" fmla="*/ 9461 h 148"/>
                      <a:gd name="T70" fmla="*/ 43657 w 120"/>
                      <a:gd name="T71" fmla="*/ 14717 h 148"/>
                      <a:gd name="T72" fmla="*/ 40601 w 120"/>
                      <a:gd name="T73" fmla="*/ 19447 h 148"/>
                      <a:gd name="T74" fmla="*/ 41474 w 120"/>
                      <a:gd name="T75" fmla="*/ 22075 h 148"/>
                      <a:gd name="T76" fmla="*/ 42784 w 120"/>
                      <a:gd name="T77" fmla="*/ 25754 h 148"/>
                      <a:gd name="T78" fmla="*/ 44530 w 120"/>
                      <a:gd name="T79" fmla="*/ 29433 h 148"/>
                      <a:gd name="T80" fmla="*/ 46713 w 120"/>
                      <a:gd name="T81" fmla="*/ 33112 h 148"/>
                      <a:gd name="T82" fmla="*/ 50205 w 120"/>
                      <a:gd name="T83" fmla="*/ 39420 h 148"/>
                      <a:gd name="T84" fmla="*/ 52388 w 120"/>
                      <a:gd name="T85" fmla="*/ 41522 h 148"/>
                      <a:gd name="T86" fmla="*/ 49332 w 120"/>
                      <a:gd name="T87" fmla="*/ 42573 h 148"/>
                      <a:gd name="T88" fmla="*/ 46713 w 120"/>
                      <a:gd name="T89" fmla="*/ 44150 h 148"/>
                      <a:gd name="T90" fmla="*/ 43657 w 120"/>
                      <a:gd name="T91" fmla="*/ 45727 h 148"/>
                      <a:gd name="T92" fmla="*/ 41910 w 120"/>
                      <a:gd name="T93" fmla="*/ 47829 h 148"/>
                      <a:gd name="T94" fmla="*/ 39291 w 120"/>
                      <a:gd name="T95" fmla="*/ 49931 h 148"/>
                      <a:gd name="T96" fmla="*/ 37981 w 120"/>
                      <a:gd name="T97" fmla="*/ 52034 h 148"/>
                      <a:gd name="T98" fmla="*/ 35798 w 120"/>
                      <a:gd name="T99" fmla="*/ 54662 h 148"/>
                      <a:gd name="T100" fmla="*/ 34925 w 120"/>
                      <a:gd name="T101" fmla="*/ 57290 h 148"/>
                      <a:gd name="T102" fmla="*/ 34052 w 120"/>
                      <a:gd name="T103" fmla="*/ 59918 h 148"/>
                      <a:gd name="T104" fmla="*/ 33616 w 120"/>
                      <a:gd name="T105" fmla="*/ 63071 h 148"/>
                      <a:gd name="T106" fmla="*/ 33179 w 120"/>
                      <a:gd name="T107" fmla="*/ 65699 h 148"/>
                      <a:gd name="T108" fmla="*/ 32743 w 120"/>
                      <a:gd name="T109" fmla="*/ 68327 h 148"/>
                      <a:gd name="T110" fmla="*/ 33179 w 120"/>
                      <a:gd name="T111" fmla="*/ 70955 h 148"/>
                      <a:gd name="T112" fmla="*/ 33616 w 120"/>
                      <a:gd name="T113" fmla="*/ 73583 h 148"/>
                      <a:gd name="T114" fmla="*/ 34052 w 120"/>
                      <a:gd name="T115" fmla="*/ 75686 h 148"/>
                      <a:gd name="T116" fmla="*/ 34925 w 120"/>
                      <a:gd name="T117" fmla="*/ 77788 h 148"/>
                      <a:gd name="T118" fmla="*/ 32306 w 120"/>
                      <a:gd name="T119" fmla="*/ 67802 h 14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20" h="148">
                        <a:moveTo>
                          <a:pt x="74" y="129"/>
                        </a:moveTo>
                        <a:lnTo>
                          <a:pt x="70" y="131"/>
                        </a:lnTo>
                        <a:lnTo>
                          <a:pt x="67" y="132"/>
                        </a:lnTo>
                        <a:lnTo>
                          <a:pt x="64" y="133"/>
                        </a:lnTo>
                        <a:lnTo>
                          <a:pt x="60" y="133"/>
                        </a:lnTo>
                        <a:lnTo>
                          <a:pt x="56" y="133"/>
                        </a:lnTo>
                        <a:lnTo>
                          <a:pt x="53" y="132"/>
                        </a:lnTo>
                        <a:lnTo>
                          <a:pt x="50" y="131"/>
                        </a:lnTo>
                        <a:lnTo>
                          <a:pt x="47" y="129"/>
                        </a:lnTo>
                        <a:lnTo>
                          <a:pt x="41" y="128"/>
                        </a:lnTo>
                        <a:lnTo>
                          <a:pt x="34" y="125"/>
                        </a:lnTo>
                        <a:lnTo>
                          <a:pt x="26" y="120"/>
                        </a:lnTo>
                        <a:lnTo>
                          <a:pt x="19" y="115"/>
                        </a:lnTo>
                        <a:lnTo>
                          <a:pt x="11" y="108"/>
                        </a:lnTo>
                        <a:lnTo>
                          <a:pt x="6" y="101"/>
                        </a:lnTo>
                        <a:lnTo>
                          <a:pt x="3" y="97"/>
                        </a:lnTo>
                        <a:lnTo>
                          <a:pt x="2" y="94"/>
                        </a:lnTo>
                        <a:lnTo>
                          <a:pt x="1" y="90"/>
                        </a:lnTo>
                        <a:lnTo>
                          <a:pt x="0" y="87"/>
                        </a:lnTo>
                        <a:lnTo>
                          <a:pt x="2" y="73"/>
                        </a:lnTo>
                        <a:lnTo>
                          <a:pt x="8" y="55"/>
                        </a:lnTo>
                        <a:lnTo>
                          <a:pt x="14" y="35"/>
                        </a:lnTo>
                        <a:lnTo>
                          <a:pt x="20" y="18"/>
                        </a:lnTo>
                        <a:lnTo>
                          <a:pt x="32" y="17"/>
                        </a:lnTo>
                        <a:lnTo>
                          <a:pt x="42" y="16"/>
                        </a:lnTo>
                        <a:lnTo>
                          <a:pt x="51" y="14"/>
                        </a:lnTo>
                        <a:lnTo>
                          <a:pt x="58" y="11"/>
                        </a:lnTo>
                        <a:lnTo>
                          <a:pt x="70" y="5"/>
                        </a:lnTo>
                        <a:lnTo>
                          <a:pt x="80" y="0"/>
                        </a:lnTo>
                        <a:lnTo>
                          <a:pt x="85" y="2"/>
                        </a:lnTo>
                        <a:lnTo>
                          <a:pt x="93" y="7"/>
                        </a:lnTo>
                        <a:lnTo>
                          <a:pt x="98" y="10"/>
                        </a:lnTo>
                        <a:lnTo>
                          <a:pt x="102" y="13"/>
                        </a:lnTo>
                        <a:lnTo>
                          <a:pt x="106" y="16"/>
                        </a:lnTo>
                        <a:lnTo>
                          <a:pt x="107" y="18"/>
                        </a:lnTo>
                        <a:lnTo>
                          <a:pt x="100" y="28"/>
                        </a:lnTo>
                        <a:lnTo>
                          <a:pt x="93" y="37"/>
                        </a:lnTo>
                        <a:lnTo>
                          <a:pt x="95" y="42"/>
                        </a:lnTo>
                        <a:lnTo>
                          <a:pt x="98" y="49"/>
                        </a:lnTo>
                        <a:lnTo>
                          <a:pt x="102" y="56"/>
                        </a:lnTo>
                        <a:lnTo>
                          <a:pt x="107" y="63"/>
                        </a:lnTo>
                        <a:lnTo>
                          <a:pt x="115" y="75"/>
                        </a:lnTo>
                        <a:lnTo>
                          <a:pt x="120" y="79"/>
                        </a:lnTo>
                        <a:lnTo>
                          <a:pt x="113" y="81"/>
                        </a:lnTo>
                        <a:lnTo>
                          <a:pt x="107" y="84"/>
                        </a:lnTo>
                        <a:lnTo>
                          <a:pt x="100" y="87"/>
                        </a:lnTo>
                        <a:lnTo>
                          <a:pt x="96" y="91"/>
                        </a:lnTo>
                        <a:lnTo>
                          <a:pt x="90" y="95"/>
                        </a:lnTo>
                        <a:lnTo>
                          <a:pt x="87" y="99"/>
                        </a:lnTo>
                        <a:lnTo>
                          <a:pt x="82" y="104"/>
                        </a:lnTo>
                        <a:lnTo>
                          <a:pt x="80" y="109"/>
                        </a:lnTo>
                        <a:lnTo>
                          <a:pt x="78" y="114"/>
                        </a:lnTo>
                        <a:lnTo>
                          <a:pt x="77" y="120"/>
                        </a:lnTo>
                        <a:lnTo>
                          <a:pt x="76" y="125"/>
                        </a:lnTo>
                        <a:lnTo>
                          <a:pt x="75" y="130"/>
                        </a:lnTo>
                        <a:lnTo>
                          <a:pt x="76" y="135"/>
                        </a:lnTo>
                        <a:lnTo>
                          <a:pt x="77" y="140"/>
                        </a:lnTo>
                        <a:lnTo>
                          <a:pt x="78" y="144"/>
                        </a:lnTo>
                        <a:lnTo>
                          <a:pt x="80" y="148"/>
                        </a:lnTo>
                        <a:lnTo>
                          <a:pt x="74" y="129"/>
                        </a:lnTo>
                      </a:path>
                    </a:pathLst>
                  </a:custGeom>
                  <a:grpFill/>
                  <a:ln w="9525" cap="flat" cmpd="sng">
                    <a:solidFill>
                      <a:schemeClr val="bg1"/>
                    </a:solidFill>
                    <a:prstDash val="solid"/>
                    <a:round/>
                    <a:headEnd type="none" w="med" len="med"/>
                    <a:tailEnd type="none" w="med" len="med"/>
                  </a:ln>
                  <a:effectLst/>
                </p:spPr>
                <p:txBody>
                  <a:bodyPr/>
                  <a:lstStyle/>
                  <a:p>
                    <a:endParaRPr lang="en-GB" sz="1637"/>
                  </a:p>
                </p:txBody>
              </p:sp>
              <p:sp>
                <p:nvSpPr>
                  <p:cNvPr id="493" name="Freeform 461"/>
                  <p:cNvSpPr>
                    <a:spLocks/>
                  </p:cNvSpPr>
                  <p:nvPr>
                    <p:custDataLst>
                      <p:tags r:id="rId323"/>
                    </p:custDataLst>
                  </p:nvPr>
                </p:nvSpPr>
                <p:spPr bwMode="auto">
                  <a:xfrm>
                    <a:off x="4408229" y="2490052"/>
                    <a:ext cx="161166" cy="195216"/>
                  </a:xfrm>
                  <a:custGeom>
                    <a:avLst/>
                    <a:gdLst>
                      <a:gd name="T0" fmla="*/ 102588 w 331"/>
                      <a:gd name="T1" fmla="*/ 21167 h 327"/>
                      <a:gd name="T2" fmla="*/ 86084 w 331"/>
                      <a:gd name="T3" fmla="*/ 29633 h 327"/>
                      <a:gd name="T4" fmla="*/ 81178 w 331"/>
                      <a:gd name="T5" fmla="*/ 35454 h 327"/>
                      <a:gd name="T6" fmla="*/ 80732 w 331"/>
                      <a:gd name="T7" fmla="*/ 42863 h 327"/>
                      <a:gd name="T8" fmla="*/ 82070 w 331"/>
                      <a:gd name="T9" fmla="*/ 49742 h 327"/>
                      <a:gd name="T10" fmla="*/ 78948 w 331"/>
                      <a:gd name="T11" fmla="*/ 53975 h 327"/>
                      <a:gd name="T12" fmla="*/ 74934 w 331"/>
                      <a:gd name="T13" fmla="*/ 55563 h 327"/>
                      <a:gd name="T14" fmla="*/ 71365 w 331"/>
                      <a:gd name="T15" fmla="*/ 51858 h 327"/>
                      <a:gd name="T16" fmla="*/ 66459 w 331"/>
                      <a:gd name="T17" fmla="*/ 44979 h 327"/>
                      <a:gd name="T18" fmla="*/ 56200 w 331"/>
                      <a:gd name="T19" fmla="*/ 39158 h 327"/>
                      <a:gd name="T20" fmla="*/ 56646 w 331"/>
                      <a:gd name="T21" fmla="*/ 50800 h 327"/>
                      <a:gd name="T22" fmla="*/ 61999 w 331"/>
                      <a:gd name="T23" fmla="*/ 61384 h 327"/>
                      <a:gd name="T24" fmla="*/ 68689 w 331"/>
                      <a:gd name="T25" fmla="*/ 68263 h 327"/>
                      <a:gd name="T26" fmla="*/ 70919 w 331"/>
                      <a:gd name="T27" fmla="*/ 68792 h 327"/>
                      <a:gd name="T28" fmla="*/ 70919 w 331"/>
                      <a:gd name="T29" fmla="*/ 93663 h 327"/>
                      <a:gd name="T30" fmla="*/ 70919 w 331"/>
                      <a:gd name="T31" fmla="*/ 125413 h 327"/>
                      <a:gd name="T32" fmla="*/ 69581 w 331"/>
                      <a:gd name="T33" fmla="*/ 132821 h 327"/>
                      <a:gd name="T34" fmla="*/ 65567 w 331"/>
                      <a:gd name="T35" fmla="*/ 137055 h 327"/>
                      <a:gd name="T36" fmla="*/ 64675 w 331"/>
                      <a:gd name="T37" fmla="*/ 139700 h 327"/>
                      <a:gd name="T38" fmla="*/ 72257 w 331"/>
                      <a:gd name="T39" fmla="*/ 146050 h 327"/>
                      <a:gd name="T40" fmla="*/ 74488 w 331"/>
                      <a:gd name="T41" fmla="*/ 151342 h 327"/>
                      <a:gd name="T42" fmla="*/ 69135 w 331"/>
                      <a:gd name="T43" fmla="*/ 156105 h 327"/>
                      <a:gd name="T44" fmla="*/ 62445 w 331"/>
                      <a:gd name="T45" fmla="*/ 157163 h 327"/>
                      <a:gd name="T46" fmla="*/ 57984 w 331"/>
                      <a:gd name="T47" fmla="*/ 162455 h 327"/>
                      <a:gd name="T48" fmla="*/ 56200 w 331"/>
                      <a:gd name="T49" fmla="*/ 169863 h 327"/>
                      <a:gd name="T50" fmla="*/ 53970 w 331"/>
                      <a:gd name="T51" fmla="*/ 158750 h 327"/>
                      <a:gd name="T52" fmla="*/ 55308 w 331"/>
                      <a:gd name="T53" fmla="*/ 152400 h 327"/>
                      <a:gd name="T54" fmla="*/ 48618 w 331"/>
                      <a:gd name="T55" fmla="*/ 151342 h 327"/>
                      <a:gd name="T56" fmla="*/ 41481 w 331"/>
                      <a:gd name="T57" fmla="*/ 154517 h 327"/>
                      <a:gd name="T58" fmla="*/ 35237 w 331"/>
                      <a:gd name="T59" fmla="*/ 156634 h 327"/>
                      <a:gd name="T60" fmla="*/ 32560 w 331"/>
                      <a:gd name="T61" fmla="*/ 128059 h 327"/>
                      <a:gd name="T62" fmla="*/ 35237 w 331"/>
                      <a:gd name="T63" fmla="*/ 114300 h 327"/>
                      <a:gd name="T64" fmla="*/ 21410 w 331"/>
                      <a:gd name="T65" fmla="*/ 111654 h 327"/>
                      <a:gd name="T66" fmla="*/ 12489 w 331"/>
                      <a:gd name="T67" fmla="*/ 104775 h 327"/>
                      <a:gd name="T68" fmla="*/ 5798 w 331"/>
                      <a:gd name="T69" fmla="*/ 91546 h 327"/>
                      <a:gd name="T70" fmla="*/ 0 w 331"/>
                      <a:gd name="T71" fmla="*/ 68792 h 327"/>
                      <a:gd name="T72" fmla="*/ 12489 w 331"/>
                      <a:gd name="T73" fmla="*/ 58738 h 327"/>
                      <a:gd name="T74" fmla="*/ 22302 w 331"/>
                      <a:gd name="T75" fmla="*/ 42863 h 327"/>
                      <a:gd name="T76" fmla="*/ 32560 w 331"/>
                      <a:gd name="T77" fmla="*/ 29104 h 327"/>
                      <a:gd name="T78" fmla="*/ 51294 w 331"/>
                      <a:gd name="T79" fmla="*/ 21696 h 327"/>
                      <a:gd name="T80" fmla="*/ 80286 w 331"/>
                      <a:gd name="T81" fmla="*/ 7408 h 327"/>
                      <a:gd name="T82" fmla="*/ 97235 w 331"/>
                      <a:gd name="T83" fmla="*/ 3704 h 327"/>
                      <a:gd name="T84" fmla="*/ 111062 w 331"/>
                      <a:gd name="T85" fmla="*/ 7408 h 327"/>
                      <a:gd name="T86" fmla="*/ 120875 w 331"/>
                      <a:gd name="T87" fmla="*/ 14288 h 327"/>
                      <a:gd name="T88" fmla="*/ 130242 w 331"/>
                      <a:gd name="T89" fmla="*/ 15875 h 327"/>
                      <a:gd name="T90" fmla="*/ 136932 w 331"/>
                      <a:gd name="T91" fmla="*/ 10583 h 327"/>
                      <a:gd name="T92" fmla="*/ 145853 w 331"/>
                      <a:gd name="T93" fmla="*/ 3175 h 327"/>
                      <a:gd name="T94" fmla="*/ 147191 w 331"/>
                      <a:gd name="T95" fmla="*/ 16933 h 32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31" h="327">
                        <a:moveTo>
                          <a:pt x="331" y="56"/>
                        </a:moveTo>
                        <a:lnTo>
                          <a:pt x="245" y="37"/>
                        </a:lnTo>
                        <a:lnTo>
                          <a:pt x="230" y="40"/>
                        </a:lnTo>
                        <a:lnTo>
                          <a:pt x="216" y="44"/>
                        </a:lnTo>
                        <a:lnTo>
                          <a:pt x="204" y="50"/>
                        </a:lnTo>
                        <a:lnTo>
                          <a:pt x="193" y="56"/>
                        </a:lnTo>
                        <a:lnTo>
                          <a:pt x="189" y="59"/>
                        </a:lnTo>
                        <a:lnTo>
                          <a:pt x="185" y="63"/>
                        </a:lnTo>
                        <a:lnTo>
                          <a:pt x="182" y="67"/>
                        </a:lnTo>
                        <a:lnTo>
                          <a:pt x="181" y="72"/>
                        </a:lnTo>
                        <a:lnTo>
                          <a:pt x="180" y="77"/>
                        </a:lnTo>
                        <a:lnTo>
                          <a:pt x="181" y="81"/>
                        </a:lnTo>
                        <a:lnTo>
                          <a:pt x="182" y="87"/>
                        </a:lnTo>
                        <a:lnTo>
                          <a:pt x="185" y="92"/>
                        </a:lnTo>
                        <a:lnTo>
                          <a:pt x="184" y="94"/>
                        </a:lnTo>
                        <a:lnTo>
                          <a:pt x="181" y="98"/>
                        </a:lnTo>
                        <a:lnTo>
                          <a:pt x="179" y="101"/>
                        </a:lnTo>
                        <a:lnTo>
                          <a:pt x="177" y="102"/>
                        </a:lnTo>
                        <a:lnTo>
                          <a:pt x="174" y="105"/>
                        </a:lnTo>
                        <a:lnTo>
                          <a:pt x="172" y="105"/>
                        </a:lnTo>
                        <a:lnTo>
                          <a:pt x="168" y="105"/>
                        </a:lnTo>
                        <a:lnTo>
                          <a:pt x="165" y="102"/>
                        </a:lnTo>
                        <a:lnTo>
                          <a:pt x="162" y="100"/>
                        </a:lnTo>
                        <a:lnTo>
                          <a:pt x="160" y="98"/>
                        </a:lnTo>
                        <a:lnTo>
                          <a:pt x="159" y="92"/>
                        </a:lnTo>
                        <a:lnTo>
                          <a:pt x="159" y="86"/>
                        </a:lnTo>
                        <a:lnTo>
                          <a:pt x="149" y="85"/>
                        </a:lnTo>
                        <a:lnTo>
                          <a:pt x="139" y="82"/>
                        </a:lnTo>
                        <a:lnTo>
                          <a:pt x="132" y="79"/>
                        </a:lnTo>
                        <a:lnTo>
                          <a:pt x="126" y="74"/>
                        </a:lnTo>
                        <a:lnTo>
                          <a:pt x="126" y="83"/>
                        </a:lnTo>
                        <a:lnTo>
                          <a:pt x="126" y="92"/>
                        </a:lnTo>
                        <a:lnTo>
                          <a:pt x="127" y="96"/>
                        </a:lnTo>
                        <a:lnTo>
                          <a:pt x="129" y="101"/>
                        </a:lnTo>
                        <a:lnTo>
                          <a:pt x="135" y="109"/>
                        </a:lnTo>
                        <a:lnTo>
                          <a:pt x="139" y="116"/>
                        </a:lnTo>
                        <a:lnTo>
                          <a:pt x="146" y="122"/>
                        </a:lnTo>
                        <a:lnTo>
                          <a:pt x="151" y="127"/>
                        </a:lnTo>
                        <a:lnTo>
                          <a:pt x="154" y="129"/>
                        </a:lnTo>
                        <a:lnTo>
                          <a:pt x="156" y="130"/>
                        </a:lnTo>
                        <a:lnTo>
                          <a:pt x="157" y="130"/>
                        </a:lnTo>
                        <a:lnTo>
                          <a:pt x="159" y="130"/>
                        </a:lnTo>
                        <a:lnTo>
                          <a:pt x="159" y="147"/>
                        </a:lnTo>
                        <a:lnTo>
                          <a:pt x="159" y="163"/>
                        </a:lnTo>
                        <a:lnTo>
                          <a:pt x="159" y="177"/>
                        </a:lnTo>
                        <a:lnTo>
                          <a:pt x="159" y="191"/>
                        </a:lnTo>
                        <a:lnTo>
                          <a:pt x="159" y="213"/>
                        </a:lnTo>
                        <a:lnTo>
                          <a:pt x="159" y="237"/>
                        </a:lnTo>
                        <a:lnTo>
                          <a:pt x="158" y="242"/>
                        </a:lnTo>
                        <a:lnTo>
                          <a:pt x="157" y="247"/>
                        </a:lnTo>
                        <a:lnTo>
                          <a:pt x="156" y="251"/>
                        </a:lnTo>
                        <a:lnTo>
                          <a:pt x="154" y="254"/>
                        </a:lnTo>
                        <a:lnTo>
                          <a:pt x="150" y="257"/>
                        </a:lnTo>
                        <a:lnTo>
                          <a:pt x="147" y="259"/>
                        </a:lnTo>
                        <a:lnTo>
                          <a:pt x="144" y="259"/>
                        </a:lnTo>
                        <a:lnTo>
                          <a:pt x="139" y="259"/>
                        </a:lnTo>
                        <a:lnTo>
                          <a:pt x="145" y="264"/>
                        </a:lnTo>
                        <a:lnTo>
                          <a:pt x="154" y="270"/>
                        </a:lnTo>
                        <a:lnTo>
                          <a:pt x="158" y="274"/>
                        </a:lnTo>
                        <a:lnTo>
                          <a:pt x="162" y="276"/>
                        </a:lnTo>
                        <a:lnTo>
                          <a:pt x="167" y="277"/>
                        </a:lnTo>
                        <a:lnTo>
                          <a:pt x="172" y="278"/>
                        </a:lnTo>
                        <a:lnTo>
                          <a:pt x="167" y="286"/>
                        </a:lnTo>
                        <a:lnTo>
                          <a:pt x="161" y="291"/>
                        </a:lnTo>
                        <a:lnTo>
                          <a:pt x="158" y="293"/>
                        </a:lnTo>
                        <a:lnTo>
                          <a:pt x="155" y="295"/>
                        </a:lnTo>
                        <a:lnTo>
                          <a:pt x="150" y="296"/>
                        </a:lnTo>
                        <a:lnTo>
                          <a:pt x="146" y="296"/>
                        </a:lnTo>
                        <a:lnTo>
                          <a:pt x="140" y="297"/>
                        </a:lnTo>
                        <a:lnTo>
                          <a:pt x="137" y="299"/>
                        </a:lnTo>
                        <a:lnTo>
                          <a:pt x="134" y="302"/>
                        </a:lnTo>
                        <a:lnTo>
                          <a:pt x="130" y="307"/>
                        </a:lnTo>
                        <a:lnTo>
                          <a:pt x="128" y="311"/>
                        </a:lnTo>
                        <a:lnTo>
                          <a:pt x="127" y="316"/>
                        </a:lnTo>
                        <a:lnTo>
                          <a:pt x="126" y="321"/>
                        </a:lnTo>
                        <a:lnTo>
                          <a:pt x="126" y="327"/>
                        </a:lnTo>
                        <a:lnTo>
                          <a:pt x="122" y="311"/>
                        </a:lnTo>
                        <a:lnTo>
                          <a:pt x="121" y="300"/>
                        </a:lnTo>
                        <a:lnTo>
                          <a:pt x="121" y="296"/>
                        </a:lnTo>
                        <a:lnTo>
                          <a:pt x="122" y="292"/>
                        </a:lnTo>
                        <a:lnTo>
                          <a:pt x="124" y="288"/>
                        </a:lnTo>
                        <a:lnTo>
                          <a:pt x="126" y="284"/>
                        </a:lnTo>
                        <a:lnTo>
                          <a:pt x="116" y="284"/>
                        </a:lnTo>
                        <a:lnTo>
                          <a:pt x="109" y="286"/>
                        </a:lnTo>
                        <a:lnTo>
                          <a:pt x="103" y="288"/>
                        </a:lnTo>
                        <a:lnTo>
                          <a:pt x="98" y="290"/>
                        </a:lnTo>
                        <a:lnTo>
                          <a:pt x="93" y="292"/>
                        </a:lnTo>
                        <a:lnTo>
                          <a:pt x="89" y="294"/>
                        </a:lnTo>
                        <a:lnTo>
                          <a:pt x="83" y="295"/>
                        </a:lnTo>
                        <a:lnTo>
                          <a:pt x="79" y="296"/>
                        </a:lnTo>
                        <a:lnTo>
                          <a:pt x="78" y="272"/>
                        </a:lnTo>
                        <a:lnTo>
                          <a:pt x="74" y="251"/>
                        </a:lnTo>
                        <a:lnTo>
                          <a:pt x="73" y="242"/>
                        </a:lnTo>
                        <a:lnTo>
                          <a:pt x="73" y="234"/>
                        </a:lnTo>
                        <a:lnTo>
                          <a:pt x="76" y="225"/>
                        </a:lnTo>
                        <a:lnTo>
                          <a:pt x="79" y="216"/>
                        </a:lnTo>
                        <a:lnTo>
                          <a:pt x="68" y="216"/>
                        </a:lnTo>
                        <a:lnTo>
                          <a:pt x="57" y="213"/>
                        </a:lnTo>
                        <a:lnTo>
                          <a:pt x="48" y="211"/>
                        </a:lnTo>
                        <a:lnTo>
                          <a:pt x="40" y="207"/>
                        </a:lnTo>
                        <a:lnTo>
                          <a:pt x="34" y="203"/>
                        </a:lnTo>
                        <a:lnTo>
                          <a:pt x="28" y="198"/>
                        </a:lnTo>
                        <a:lnTo>
                          <a:pt x="23" y="193"/>
                        </a:lnTo>
                        <a:lnTo>
                          <a:pt x="20" y="187"/>
                        </a:lnTo>
                        <a:lnTo>
                          <a:pt x="13" y="173"/>
                        </a:lnTo>
                        <a:lnTo>
                          <a:pt x="9" y="158"/>
                        </a:lnTo>
                        <a:lnTo>
                          <a:pt x="4" y="144"/>
                        </a:lnTo>
                        <a:lnTo>
                          <a:pt x="0" y="130"/>
                        </a:lnTo>
                        <a:lnTo>
                          <a:pt x="10" y="124"/>
                        </a:lnTo>
                        <a:lnTo>
                          <a:pt x="19" y="118"/>
                        </a:lnTo>
                        <a:lnTo>
                          <a:pt x="28" y="111"/>
                        </a:lnTo>
                        <a:lnTo>
                          <a:pt x="37" y="101"/>
                        </a:lnTo>
                        <a:lnTo>
                          <a:pt x="45" y="92"/>
                        </a:lnTo>
                        <a:lnTo>
                          <a:pt x="50" y="81"/>
                        </a:lnTo>
                        <a:lnTo>
                          <a:pt x="56" y="69"/>
                        </a:lnTo>
                        <a:lnTo>
                          <a:pt x="59" y="56"/>
                        </a:lnTo>
                        <a:lnTo>
                          <a:pt x="73" y="55"/>
                        </a:lnTo>
                        <a:lnTo>
                          <a:pt x="88" y="52"/>
                        </a:lnTo>
                        <a:lnTo>
                          <a:pt x="102" y="47"/>
                        </a:lnTo>
                        <a:lnTo>
                          <a:pt x="115" y="41"/>
                        </a:lnTo>
                        <a:lnTo>
                          <a:pt x="140" y="29"/>
                        </a:lnTo>
                        <a:lnTo>
                          <a:pt x="166" y="19"/>
                        </a:lnTo>
                        <a:lnTo>
                          <a:pt x="180" y="14"/>
                        </a:lnTo>
                        <a:lnTo>
                          <a:pt x="192" y="10"/>
                        </a:lnTo>
                        <a:lnTo>
                          <a:pt x="205" y="8"/>
                        </a:lnTo>
                        <a:lnTo>
                          <a:pt x="218" y="7"/>
                        </a:lnTo>
                        <a:lnTo>
                          <a:pt x="230" y="8"/>
                        </a:lnTo>
                        <a:lnTo>
                          <a:pt x="240" y="10"/>
                        </a:lnTo>
                        <a:lnTo>
                          <a:pt x="249" y="14"/>
                        </a:lnTo>
                        <a:lnTo>
                          <a:pt x="257" y="19"/>
                        </a:lnTo>
                        <a:lnTo>
                          <a:pt x="264" y="23"/>
                        </a:lnTo>
                        <a:lnTo>
                          <a:pt x="271" y="27"/>
                        </a:lnTo>
                        <a:lnTo>
                          <a:pt x="278" y="30"/>
                        </a:lnTo>
                        <a:lnTo>
                          <a:pt x="285" y="31"/>
                        </a:lnTo>
                        <a:lnTo>
                          <a:pt x="292" y="30"/>
                        </a:lnTo>
                        <a:lnTo>
                          <a:pt x="297" y="28"/>
                        </a:lnTo>
                        <a:lnTo>
                          <a:pt x="303" y="24"/>
                        </a:lnTo>
                        <a:lnTo>
                          <a:pt x="307" y="20"/>
                        </a:lnTo>
                        <a:lnTo>
                          <a:pt x="316" y="10"/>
                        </a:lnTo>
                        <a:lnTo>
                          <a:pt x="325" y="0"/>
                        </a:lnTo>
                        <a:lnTo>
                          <a:pt x="327" y="6"/>
                        </a:lnTo>
                        <a:lnTo>
                          <a:pt x="329" y="14"/>
                        </a:lnTo>
                        <a:lnTo>
                          <a:pt x="330" y="23"/>
                        </a:lnTo>
                        <a:lnTo>
                          <a:pt x="330" y="32"/>
                        </a:lnTo>
                        <a:lnTo>
                          <a:pt x="331" y="49"/>
                        </a:lnTo>
                        <a:lnTo>
                          <a:pt x="331" y="56"/>
                        </a:lnTo>
                      </a:path>
                    </a:pathLst>
                  </a:custGeom>
                  <a:grpFill/>
                  <a:ln w="9525" cmpd="sng">
                    <a:solidFill>
                      <a:schemeClr val="bg1"/>
                    </a:solidFill>
                    <a:prstDash val="solid"/>
                    <a:round/>
                    <a:headEnd/>
                    <a:tailEnd/>
                  </a:ln>
                </p:spPr>
                <p:txBody>
                  <a:bodyPr/>
                  <a:lstStyle/>
                  <a:p>
                    <a:endParaRPr lang="en-GB" sz="1637"/>
                  </a:p>
                </p:txBody>
              </p:sp>
              <p:sp>
                <p:nvSpPr>
                  <p:cNvPr id="494" name="Freeform 469"/>
                  <p:cNvSpPr>
                    <a:spLocks/>
                  </p:cNvSpPr>
                  <p:nvPr>
                    <p:custDataLst>
                      <p:tags r:id="rId324"/>
                    </p:custDataLst>
                  </p:nvPr>
                </p:nvSpPr>
                <p:spPr bwMode="auto">
                  <a:xfrm>
                    <a:off x="4371836" y="1927689"/>
                    <a:ext cx="176764" cy="75221"/>
                  </a:xfrm>
                  <a:custGeom>
                    <a:avLst/>
                    <a:gdLst>
                      <a:gd name="T0" fmla="*/ 109409 w 370"/>
                      <a:gd name="T1" fmla="*/ 60473 h 129"/>
                      <a:gd name="T2" fmla="*/ 112910 w 370"/>
                      <a:gd name="T3" fmla="*/ 61506 h 129"/>
                      <a:gd name="T4" fmla="*/ 121225 w 370"/>
                      <a:gd name="T5" fmla="*/ 63574 h 129"/>
                      <a:gd name="T6" fmla="*/ 129102 w 370"/>
                      <a:gd name="T7" fmla="*/ 65641 h 129"/>
                      <a:gd name="T8" fmla="*/ 132603 w 370"/>
                      <a:gd name="T9" fmla="*/ 66675 h 129"/>
                      <a:gd name="T10" fmla="*/ 161925 w 370"/>
                      <a:gd name="T11" fmla="*/ 50135 h 129"/>
                      <a:gd name="T12" fmla="*/ 156673 w 370"/>
                      <a:gd name="T13" fmla="*/ 38765 h 129"/>
                      <a:gd name="T14" fmla="*/ 150984 w 370"/>
                      <a:gd name="T15" fmla="*/ 24809 h 129"/>
                      <a:gd name="T16" fmla="*/ 146608 w 370"/>
                      <a:gd name="T17" fmla="*/ 13955 h 129"/>
                      <a:gd name="T18" fmla="*/ 144420 w 370"/>
                      <a:gd name="T19" fmla="*/ 9303 h 129"/>
                      <a:gd name="T20" fmla="*/ 131291 w 370"/>
                      <a:gd name="T21" fmla="*/ 7753 h 129"/>
                      <a:gd name="T22" fmla="*/ 112472 w 370"/>
                      <a:gd name="T23" fmla="*/ 4652 h 129"/>
                      <a:gd name="T24" fmla="*/ 93654 w 370"/>
                      <a:gd name="T25" fmla="*/ 1034 h 129"/>
                      <a:gd name="T26" fmla="*/ 80087 w 370"/>
                      <a:gd name="T27" fmla="*/ 0 h 129"/>
                      <a:gd name="T28" fmla="*/ 78337 w 370"/>
                      <a:gd name="T29" fmla="*/ 0 h 129"/>
                      <a:gd name="T30" fmla="*/ 77024 w 370"/>
                      <a:gd name="T31" fmla="*/ 517 h 129"/>
                      <a:gd name="T32" fmla="*/ 75273 w 370"/>
                      <a:gd name="T33" fmla="*/ 1034 h 129"/>
                      <a:gd name="T34" fmla="*/ 74398 w 370"/>
                      <a:gd name="T35" fmla="*/ 1551 h 129"/>
                      <a:gd name="T36" fmla="*/ 70897 w 370"/>
                      <a:gd name="T37" fmla="*/ 3618 h 129"/>
                      <a:gd name="T38" fmla="*/ 65645 w 370"/>
                      <a:gd name="T39" fmla="*/ 6202 h 129"/>
                      <a:gd name="T40" fmla="*/ 64332 w 370"/>
                      <a:gd name="T41" fmla="*/ 10854 h 129"/>
                      <a:gd name="T42" fmla="*/ 61269 w 370"/>
                      <a:gd name="T43" fmla="*/ 18090 h 129"/>
                      <a:gd name="T44" fmla="*/ 58643 w 370"/>
                      <a:gd name="T45" fmla="*/ 24809 h 129"/>
                      <a:gd name="T46" fmla="*/ 57330 w 370"/>
                      <a:gd name="T47" fmla="*/ 28427 h 129"/>
                      <a:gd name="T48" fmla="*/ 53391 w 370"/>
                      <a:gd name="T49" fmla="*/ 27910 h 129"/>
                      <a:gd name="T50" fmla="*/ 48578 w 370"/>
                      <a:gd name="T51" fmla="*/ 25326 h 129"/>
                      <a:gd name="T52" fmla="*/ 42888 w 370"/>
                      <a:gd name="T53" fmla="*/ 22742 h 129"/>
                      <a:gd name="T54" fmla="*/ 36761 w 370"/>
                      <a:gd name="T55" fmla="*/ 19641 h 129"/>
                      <a:gd name="T56" fmla="*/ 26258 w 370"/>
                      <a:gd name="T57" fmla="*/ 13438 h 129"/>
                      <a:gd name="T58" fmla="*/ 19256 w 370"/>
                      <a:gd name="T59" fmla="*/ 9303 h 129"/>
                      <a:gd name="T60" fmla="*/ 14004 w 370"/>
                      <a:gd name="T61" fmla="*/ 12922 h 129"/>
                      <a:gd name="T62" fmla="*/ 9190 w 370"/>
                      <a:gd name="T63" fmla="*/ 17056 h 129"/>
                      <a:gd name="T64" fmla="*/ 7002 w 370"/>
                      <a:gd name="T65" fmla="*/ 19124 h 129"/>
                      <a:gd name="T66" fmla="*/ 5252 w 370"/>
                      <a:gd name="T67" fmla="*/ 21191 h 129"/>
                      <a:gd name="T68" fmla="*/ 3939 w 370"/>
                      <a:gd name="T69" fmla="*/ 23776 h 129"/>
                      <a:gd name="T70" fmla="*/ 2188 w 370"/>
                      <a:gd name="T71" fmla="*/ 26877 h 129"/>
                      <a:gd name="T72" fmla="*/ 1313 w 370"/>
                      <a:gd name="T73" fmla="*/ 29461 h 129"/>
                      <a:gd name="T74" fmla="*/ 438 w 370"/>
                      <a:gd name="T75" fmla="*/ 32562 h 129"/>
                      <a:gd name="T76" fmla="*/ 0 w 370"/>
                      <a:gd name="T77" fmla="*/ 35663 h 129"/>
                      <a:gd name="T78" fmla="*/ 0 w 370"/>
                      <a:gd name="T79" fmla="*/ 38765 h 129"/>
                      <a:gd name="T80" fmla="*/ 438 w 370"/>
                      <a:gd name="T81" fmla="*/ 42383 h 129"/>
                      <a:gd name="T82" fmla="*/ 1313 w 370"/>
                      <a:gd name="T83" fmla="*/ 45484 h 129"/>
                      <a:gd name="T84" fmla="*/ 2626 w 370"/>
                      <a:gd name="T85" fmla="*/ 49619 h 129"/>
                      <a:gd name="T86" fmla="*/ 4814 w 370"/>
                      <a:gd name="T87" fmla="*/ 53237 h 129"/>
                      <a:gd name="T88" fmla="*/ 8753 w 370"/>
                      <a:gd name="T89" fmla="*/ 52203 h 129"/>
                      <a:gd name="T90" fmla="*/ 14442 w 370"/>
                      <a:gd name="T91" fmla="*/ 51169 h 129"/>
                      <a:gd name="T92" fmla="*/ 21882 w 370"/>
                      <a:gd name="T93" fmla="*/ 50135 h 129"/>
                      <a:gd name="T94" fmla="*/ 30197 w 370"/>
                      <a:gd name="T95" fmla="*/ 49102 h 129"/>
                      <a:gd name="T96" fmla="*/ 44639 w 370"/>
                      <a:gd name="T97" fmla="*/ 47551 h 129"/>
                      <a:gd name="T98" fmla="*/ 51203 w 370"/>
                      <a:gd name="T99" fmla="*/ 47034 h 129"/>
                      <a:gd name="T100" fmla="*/ 59956 w 370"/>
                      <a:gd name="T101" fmla="*/ 47551 h 129"/>
                      <a:gd name="T102" fmla="*/ 66521 w 370"/>
                      <a:gd name="T103" fmla="*/ 48585 h 129"/>
                      <a:gd name="T104" fmla="*/ 72647 w 370"/>
                      <a:gd name="T105" fmla="*/ 50135 h 129"/>
                      <a:gd name="T106" fmla="*/ 77461 w 370"/>
                      <a:gd name="T107" fmla="*/ 51686 h 129"/>
                      <a:gd name="T108" fmla="*/ 82713 w 370"/>
                      <a:gd name="T109" fmla="*/ 53753 h 129"/>
                      <a:gd name="T110" fmla="*/ 87965 w 370"/>
                      <a:gd name="T111" fmla="*/ 55821 h 129"/>
                      <a:gd name="T112" fmla="*/ 94967 w 370"/>
                      <a:gd name="T113" fmla="*/ 56855 h 129"/>
                      <a:gd name="T114" fmla="*/ 103720 w 370"/>
                      <a:gd name="T115" fmla="*/ 57372 h 129"/>
                      <a:gd name="T116" fmla="*/ 103720 w 370"/>
                      <a:gd name="T117" fmla="*/ 60473 h 129"/>
                      <a:gd name="T118" fmla="*/ 109409 w 370"/>
                      <a:gd name="T119" fmla="*/ 60473 h 12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70" h="129">
                        <a:moveTo>
                          <a:pt x="250" y="117"/>
                        </a:moveTo>
                        <a:lnTo>
                          <a:pt x="258" y="119"/>
                        </a:lnTo>
                        <a:lnTo>
                          <a:pt x="277" y="123"/>
                        </a:lnTo>
                        <a:lnTo>
                          <a:pt x="295" y="127"/>
                        </a:lnTo>
                        <a:lnTo>
                          <a:pt x="303" y="129"/>
                        </a:lnTo>
                        <a:lnTo>
                          <a:pt x="370" y="97"/>
                        </a:lnTo>
                        <a:lnTo>
                          <a:pt x="358" y="75"/>
                        </a:lnTo>
                        <a:lnTo>
                          <a:pt x="345" y="48"/>
                        </a:lnTo>
                        <a:lnTo>
                          <a:pt x="335" y="27"/>
                        </a:lnTo>
                        <a:lnTo>
                          <a:pt x="330" y="18"/>
                        </a:lnTo>
                        <a:lnTo>
                          <a:pt x="300" y="15"/>
                        </a:lnTo>
                        <a:lnTo>
                          <a:pt x="257" y="9"/>
                        </a:lnTo>
                        <a:lnTo>
                          <a:pt x="214" y="2"/>
                        </a:lnTo>
                        <a:lnTo>
                          <a:pt x="183" y="0"/>
                        </a:lnTo>
                        <a:lnTo>
                          <a:pt x="179" y="0"/>
                        </a:lnTo>
                        <a:lnTo>
                          <a:pt x="176" y="1"/>
                        </a:lnTo>
                        <a:lnTo>
                          <a:pt x="172" y="2"/>
                        </a:lnTo>
                        <a:lnTo>
                          <a:pt x="170" y="3"/>
                        </a:lnTo>
                        <a:lnTo>
                          <a:pt x="162" y="7"/>
                        </a:lnTo>
                        <a:lnTo>
                          <a:pt x="150" y="12"/>
                        </a:lnTo>
                        <a:lnTo>
                          <a:pt x="147" y="21"/>
                        </a:lnTo>
                        <a:lnTo>
                          <a:pt x="140" y="35"/>
                        </a:lnTo>
                        <a:lnTo>
                          <a:pt x="134" y="48"/>
                        </a:lnTo>
                        <a:lnTo>
                          <a:pt x="131" y="55"/>
                        </a:lnTo>
                        <a:lnTo>
                          <a:pt x="122" y="54"/>
                        </a:lnTo>
                        <a:lnTo>
                          <a:pt x="111" y="49"/>
                        </a:lnTo>
                        <a:lnTo>
                          <a:pt x="98" y="44"/>
                        </a:lnTo>
                        <a:lnTo>
                          <a:pt x="84" y="38"/>
                        </a:lnTo>
                        <a:lnTo>
                          <a:pt x="60" y="26"/>
                        </a:lnTo>
                        <a:lnTo>
                          <a:pt x="44" y="18"/>
                        </a:lnTo>
                        <a:lnTo>
                          <a:pt x="32" y="25"/>
                        </a:lnTo>
                        <a:lnTo>
                          <a:pt x="21" y="33"/>
                        </a:lnTo>
                        <a:lnTo>
                          <a:pt x="16" y="37"/>
                        </a:lnTo>
                        <a:lnTo>
                          <a:pt x="12" y="41"/>
                        </a:lnTo>
                        <a:lnTo>
                          <a:pt x="9" y="46"/>
                        </a:lnTo>
                        <a:lnTo>
                          <a:pt x="5" y="52"/>
                        </a:lnTo>
                        <a:lnTo>
                          <a:pt x="3" y="57"/>
                        </a:lnTo>
                        <a:lnTo>
                          <a:pt x="1" y="63"/>
                        </a:lnTo>
                        <a:lnTo>
                          <a:pt x="0" y="69"/>
                        </a:lnTo>
                        <a:lnTo>
                          <a:pt x="0" y="75"/>
                        </a:lnTo>
                        <a:lnTo>
                          <a:pt x="1" y="82"/>
                        </a:lnTo>
                        <a:lnTo>
                          <a:pt x="3" y="88"/>
                        </a:lnTo>
                        <a:lnTo>
                          <a:pt x="6" y="96"/>
                        </a:lnTo>
                        <a:lnTo>
                          <a:pt x="11" y="103"/>
                        </a:lnTo>
                        <a:lnTo>
                          <a:pt x="20" y="101"/>
                        </a:lnTo>
                        <a:lnTo>
                          <a:pt x="33" y="99"/>
                        </a:lnTo>
                        <a:lnTo>
                          <a:pt x="50" y="97"/>
                        </a:lnTo>
                        <a:lnTo>
                          <a:pt x="69" y="95"/>
                        </a:lnTo>
                        <a:lnTo>
                          <a:pt x="102" y="92"/>
                        </a:lnTo>
                        <a:lnTo>
                          <a:pt x="117" y="91"/>
                        </a:lnTo>
                        <a:lnTo>
                          <a:pt x="137" y="92"/>
                        </a:lnTo>
                        <a:lnTo>
                          <a:pt x="152" y="94"/>
                        </a:lnTo>
                        <a:lnTo>
                          <a:pt x="166" y="97"/>
                        </a:lnTo>
                        <a:lnTo>
                          <a:pt x="177" y="100"/>
                        </a:lnTo>
                        <a:lnTo>
                          <a:pt x="189" y="104"/>
                        </a:lnTo>
                        <a:lnTo>
                          <a:pt x="201" y="108"/>
                        </a:lnTo>
                        <a:lnTo>
                          <a:pt x="217" y="110"/>
                        </a:lnTo>
                        <a:lnTo>
                          <a:pt x="237" y="111"/>
                        </a:lnTo>
                        <a:lnTo>
                          <a:pt x="237" y="117"/>
                        </a:lnTo>
                        <a:lnTo>
                          <a:pt x="250" y="117"/>
                        </a:lnTo>
                      </a:path>
                    </a:pathLst>
                  </a:custGeom>
                  <a:grpFill/>
                  <a:ln w="9525" cap="flat" cmpd="sng">
                    <a:solidFill>
                      <a:schemeClr val="bg1"/>
                    </a:solidFill>
                    <a:prstDash val="solid"/>
                    <a:round/>
                    <a:headEnd type="none" w="med" len="med"/>
                    <a:tailEnd type="none" w="med" len="med"/>
                  </a:ln>
                  <a:effectLst/>
                </p:spPr>
                <p:txBody>
                  <a:bodyPr/>
                  <a:lstStyle/>
                  <a:p>
                    <a:endParaRPr lang="en-GB" sz="1637"/>
                  </a:p>
                </p:txBody>
              </p:sp>
              <p:sp>
                <p:nvSpPr>
                  <p:cNvPr id="495" name="Freeform 472"/>
                  <p:cNvSpPr>
                    <a:spLocks/>
                  </p:cNvSpPr>
                  <p:nvPr>
                    <p:custDataLst>
                      <p:tags r:id="rId325"/>
                    </p:custDataLst>
                  </p:nvPr>
                </p:nvSpPr>
                <p:spPr bwMode="auto">
                  <a:xfrm>
                    <a:off x="4370103" y="1981418"/>
                    <a:ext cx="143837" cy="94922"/>
                  </a:xfrm>
                  <a:custGeom>
                    <a:avLst/>
                    <a:gdLst>
                      <a:gd name="T0" fmla="*/ 81084 w 312"/>
                      <a:gd name="T1" fmla="*/ 84138 h 155"/>
                      <a:gd name="T2" fmla="*/ 81929 w 312"/>
                      <a:gd name="T3" fmla="*/ 81967 h 155"/>
                      <a:gd name="T4" fmla="*/ 83196 w 312"/>
                      <a:gd name="T5" fmla="*/ 80338 h 155"/>
                      <a:gd name="T6" fmla="*/ 84463 w 312"/>
                      <a:gd name="T7" fmla="*/ 78710 h 155"/>
                      <a:gd name="T8" fmla="*/ 85730 w 312"/>
                      <a:gd name="T9" fmla="*/ 77081 h 155"/>
                      <a:gd name="T10" fmla="*/ 89108 w 312"/>
                      <a:gd name="T11" fmla="*/ 74367 h 155"/>
                      <a:gd name="T12" fmla="*/ 92909 w 312"/>
                      <a:gd name="T13" fmla="*/ 71653 h 155"/>
                      <a:gd name="T14" fmla="*/ 100511 w 312"/>
                      <a:gd name="T15" fmla="*/ 66768 h 155"/>
                      <a:gd name="T16" fmla="*/ 106845 w 312"/>
                      <a:gd name="T17" fmla="*/ 63511 h 155"/>
                      <a:gd name="T18" fmla="*/ 107690 w 312"/>
                      <a:gd name="T19" fmla="*/ 59168 h 155"/>
                      <a:gd name="T20" fmla="*/ 109802 w 312"/>
                      <a:gd name="T21" fmla="*/ 52654 h 155"/>
                      <a:gd name="T22" fmla="*/ 111491 w 312"/>
                      <a:gd name="T23" fmla="*/ 49397 h 155"/>
                      <a:gd name="T24" fmla="*/ 112758 w 312"/>
                      <a:gd name="T25" fmla="*/ 46683 h 155"/>
                      <a:gd name="T26" fmla="*/ 113602 w 312"/>
                      <a:gd name="T27" fmla="*/ 44512 h 155"/>
                      <a:gd name="T28" fmla="*/ 114869 w 312"/>
                      <a:gd name="T29" fmla="*/ 43969 h 155"/>
                      <a:gd name="T30" fmla="*/ 131762 w 312"/>
                      <a:gd name="T31" fmla="*/ 23884 h 155"/>
                      <a:gd name="T32" fmla="*/ 131762 w 312"/>
                      <a:gd name="T33" fmla="*/ 21170 h 155"/>
                      <a:gd name="T34" fmla="*/ 130917 w 312"/>
                      <a:gd name="T35" fmla="*/ 18999 h 155"/>
                      <a:gd name="T36" fmla="*/ 129228 w 312"/>
                      <a:gd name="T37" fmla="*/ 17370 h 155"/>
                      <a:gd name="T38" fmla="*/ 127539 w 312"/>
                      <a:gd name="T39" fmla="*/ 16285 h 155"/>
                      <a:gd name="T40" fmla="*/ 122893 w 312"/>
                      <a:gd name="T41" fmla="*/ 15199 h 155"/>
                      <a:gd name="T42" fmla="*/ 118248 w 312"/>
                      <a:gd name="T43" fmla="*/ 14656 h 155"/>
                      <a:gd name="T44" fmla="*/ 113180 w 312"/>
                      <a:gd name="T45" fmla="*/ 14656 h 155"/>
                      <a:gd name="T46" fmla="*/ 109379 w 312"/>
                      <a:gd name="T47" fmla="*/ 14656 h 155"/>
                      <a:gd name="T48" fmla="*/ 108112 w 312"/>
                      <a:gd name="T49" fmla="*/ 14113 h 155"/>
                      <a:gd name="T50" fmla="*/ 106845 w 312"/>
                      <a:gd name="T51" fmla="*/ 13571 h 155"/>
                      <a:gd name="T52" fmla="*/ 106423 w 312"/>
                      <a:gd name="T53" fmla="*/ 12485 h 155"/>
                      <a:gd name="T54" fmla="*/ 106845 w 312"/>
                      <a:gd name="T55" fmla="*/ 10857 h 155"/>
                      <a:gd name="T56" fmla="*/ 97977 w 312"/>
                      <a:gd name="T57" fmla="*/ 10314 h 155"/>
                      <a:gd name="T58" fmla="*/ 91220 w 312"/>
                      <a:gd name="T59" fmla="*/ 9228 h 155"/>
                      <a:gd name="T60" fmla="*/ 85307 w 312"/>
                      <a:gd name="T61" fmla="*/ 7057 h 155"/>
                      <a:gd name="T62" fmla="*/ 79817 w 312"/>
                      <a:gd name="T63" fmla="*/ 4885 h 155"/>
                      <a:gd name="T64" fmla="*/ 74750 w 312"/>
                      <a:gd name="T65" fmla="*/ 3257 h 155"/>
                      <a:gd name="T66" fmla="*/ 68837 w 312"/>
                      <a:gd name="T67" fmla="*/ 1628 h 155"/>
                      <a:gd name="T68" fmla="*/ 61658 w 312"/>
                      <a:gd name="T69" fmla="*/ 543 h 155"/>
                      <a:gd name="T70" fmla="*/ 53212 w 312"/>
                      <a:gd name="T71" fmla="*/ 0 h 155"/>
                      <a:gd name="T72" fmla="*/ 46455 w 312"/>
                      <a:gd name="T73" fmla="*/ 543 h 155"/>
                      <a:gd name="T74" fmla="*/ 31251 w 312"/>
                      <a:gd name="T75" fmla="*/ 2171 h 155"/>
                      <a:gd name="T76" fmla="*/ 22383 w 312"/>
                      <a:gd name="T77" fmla="*/ 3257 h 155"/>
                      <a:gd name="T78" fmla="*/ 14359 w 312"/>
                      <a:gd name="T79" fmla="*/ 4343 h 155"/>
                      <a:gd name="T80" fmla="*/ 7602 w 312"/>
                      <a:gd name="T81" fmla="*/ 5428 h 155"/>
                      <a:gd name="T82" fmla="*/ 2956 w 312"/>
                      <a:gd name="T83" fmla="*/ 6514 h 155"/>
                      <a:gd name="T84" fmla="*/ 3801 w 312"/>
                      <a:gd name="T85" fmla="*/ 9228 h 155"/>
                      <a:gd name="T86" fmla="*/ 4645 w 312"/>
                      <a:gd name="T87" fmla="*/ 10314 h 155"/>
                      <a:gd name="T88" fmla="*/ 5490 w 312"/>
                      <a:gd name="T89" fmla="*/ 10314 h 155"/>
                      <a:gd name="T90" fmla="*/ 6335 w 312"/>
                      <a:gd name="T91" fmla="*/ 10857 h 155"/>
                      <a:gd name="T92" fmla="*/ 7602 w 312"/>
                      <a:gd name="T93" fmla="*/ 10857 h 155"/>
                      <a:gd name="T94" fmla="*/ 8024 w 312"/>
                      <a:gd name="T95" fmla="*/ 10857 h 155"/>
                      <a:gd name="T96" fmla="*/ 8446 w 312"/>
                      <a:gd name="T97" fmla="*/ 11942 h 155"/>
                      <a:gd name="T98" fmla="*/ 8446 w 312"/>
                      <a:gd name="T99" fmla="*/ 14113 h 155"/>
                      <a:gd name="T100" fmla="*/ 8446 w 312"/>
                      <a:gd name="T101" fmla="*/ 16285 h 155"/>
                      <a:gd name="T102" fmla="*/ 8024 w 312"/>
                      <a:gd name="T103" fmla="*/ 18999 h 155"/>
                      <a:gd name="T104" fmla="*/ 7602 w 312"/>
                      <a:gd name="T105" fmla="*/ 21170 h 155"/>
                      <a:gd name="T106" fmla="*/ 6335 w 312"/>
                      <a:gd name="T107" fmla="*/ 22799 h 155"/>
                      <a:gd name="T108" fmla="*/ 5068 w 312"/>
                      <a:gd name="T109" fmla="*/ 24427 h 155"/>
                      <a:gd name="T110" fmla="*/ 3801 w 312"/>
                      <a:gd name="T111" fmla="*/ 26056 h 155"/>
                      <a:gd name="T112" fmla="*/ 1689 w 312"/>
                      <a:gd name="T113" fmla="*/ 26598 h 155"/>
                      <a:gd name="T114" fmla="*/ 0 w 312"/>
                      <a:gd name="T115" fmla="*/ 27141 h 155"/>
                      <a:gd name="T116" fmla="*/ 31251 w 312"/>
                      <a:gd name="T117" fmla="*/ 36912 h 155"/>
                      <a:gd name="T118" fmla="*/ 36741 w 312"/>
                      <a:gd name="T119" fmla="*/ 60254 h 155"/>
                      <a:gd name="T120" fmla="*/ 70104 w 312"/>
                      <a:gd name="T121" fmla="*/ 66768 h 155"/>
                      <a:gd name="T122" fmla="*/ 81084 w 312"/>
                      <a:gd name="T123" fmla="*/ 84138 h 15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12" h="155">
                        <a:moveTo>
                          <a:pt x="192" y="155"/>
                        </a:moveTo>
                        <a:lnTo>
                          <a:pt x="194" y="151"/>
                        </a:lnTo>
                        <a:lnTo>
                          <a:pt x="197" y="148"/>
                        </a:lnTo>
                        <a:lnTo>
                          <a:pt x="200" y="145"/>
                        </a:lnTo>
                        <a:lnTo>
                          <a:pt x="203" y="142"/>
                        </a:lnTo>
                        <a:lnTo>
                          <a:pt x="211" y="137"/>
                        </a:lnTo>
                        <a:lnTo>
                          <a:pt x="220" y="132"/>
                        </a:lnTo>
                        <a:lnTo>
                          <a:pt x="238" y="123"/>
                        </a:lnTo>
                        <a:lnTo>
                          <a:pt x="253" y="117"/>
                        </a:lnTo>
                        <a:lnTo>
                          <a:pt x="255" y="109"/>
                        </a:lnTo>
                        <a:lnTo>
                          <a:pt x="260" y="97"/>
                        </a:lnTo>
                        <a:lnTo>
                          <a:pt x="264" y="91"/>
                        </a:lnTo>
                        <a:lnTo>
                          <a:pt x="267" y="86"/>
                        </a:lnTo>
                        <a:lnTo>
                          <a:pt x="269" y="82"/>
                        </a:lnTo>
                        <a:lnTo>
                          <a:pt x="272" y="81"/>
                        </a:lnTo>
                        <a:lnTo>
                          <a:pt x="312" y="44"/>
                        </a:lnTo>
                        <a:lnTo>
                          <a:pt x="312" y="39"/>
                        </a:lnTo>
                        <a:lnTo>
                          <a:pt x="310" y="35"/>
                        </a:lnTo>
                        <a:lnTo>
                          <a:pt x="306" y="32"/>
                        </a:lnTo>
                        <a:lnTo>
                          <a:pt x="302" y="30"/>
                        </a:lnTo>
                        <a:lnTo>
                          <a:pt x="291" y="28"/>
                        </a:lnTo>
                        <a:lnTo>
                          <a:pt x="280" y="27"/>
                        </a:lnTo>
                        <a:lnTo>
                          <a:pt x="268" y="27"/>
                        </a:lnTo>
                        <a:lnTo>
                          <a:pt x="259" y="27"/>
                        </a:lnTo>
                        <a:lnTo>
                          <a:pt x="256" y="26"/>
                        </a:lnTo>
                        <a:lnTo>
                          <a:pt x="253" y="25"/>
                        </a:lnTo>
                        <a:lnTo>
                          <a:pt x="252" y="23"/>
                        </a:lnTo>
                        <a:lnTo>
                          <a:pt x="253" y="20"/>
                        </a:lnTo>
                        <a:lnTo>
                          <a:pt x="232" y="19"/>
                        </a:lnTo>
                        <a:lnTo>
                          <a:pt x="216" y="17"/>
                        </a:lnTo>
                        <a:lnTo>
                          <a:pt x="202" y="13"/>
                        </a:lnTo>
                        <a:lnTo>
                          <a:pt x="189" y="9"/>
                        </a:lnTo>
                        <a:lnTo>
                          <a:pt x="177" y="6"/>
                        </a:lnTo>
                        <a:lnTo>
                          <a:pt x="163" y="3"/>
                        </a:lnTo>
                        <a:lnTo>
                          <a:pt x="146" y="1"/>
                        </a:lnTo>
                        <a:lnTo>
                          <a:pt x="126" y="0"/>
                        </a:lnTo>
                        <a:lnTo>
                          <a:pt x="110" y="1"/>
                        </a:lnTo>
                        <a:lnTo>
                          <a:pt x="74" y="4"/>
                        </a:lnTo>
                        <a:lnTo>
                          <a:pt x="53" y="6"/>
                        </a:lnTo>
                        <a:lnTo>
                          <a:pt x="34" y="8"/>
                        </a:lnTo>
                        <a:lnTo>
                          <a:pt x="18" y="10"/>
                        </a:lnTo>
                        <a:lnTo>
                          <a:pt x="7" y="12"/>
                        </a:lnTo>
                        <a:lnTo>
                          <a:pt x="9" y="17"/>
                        </a:lnTo>
                        <a:lnTo>
                          <a:pt x="11" y="19"/>
                        </a:lnTo>
                        <a:lnTo>
                          <a:pt x="13" y="19"/>
                        </a:lnTo>
                        <a:lnTo>
                          <a:pt x="15" y="20"/>
                        </a:lnTo>
                        <a:lnTo>
                          <a:pt x="18" y="20"/>
                        </a:lnTo>
                        <a:lnTo>
                          <a:pt x="19" y="20"/>
                        </a:lnTo>
                        <a:lnTo>
                          <a:pt x="20" y="22"/>
                        </a:lnTo>
                        <a:lnTo>
                          <a:pt x="20" y="26"/>
                        </a:lnTo>
                        <a:lnTo>
                          <a:pt x="20" y="30"/>
                        </a:lnTo>
                        <a:lnTo>
                          <a:pt x="19" y="35"/>
                        </a:lnTo>
                        <a:lnTo>
                          <a:pt x="18" y="39"/>
                        </a:lnTo>
                        <a:lnTo>
                          <a:pt x="15" y="42"/>
                        </a:lnTo>
                        <a:lnTo>
                          <a:pt x="12" y="45"/>
                        </a:lnTo>
                        <a:lnTo>
                          <a:pt x="9" y="48"/>
                        </a:lnTo>
                        <a:lnTo>
                          <a:pt x="4" y="49"/>
                        </a:lnTo>
                        <a:lnTo>
                          <a:pt x="0" y="50"/>
                        </a:lnTo>
                        <a:lnTo>
                          <a:pt x="74" y="68"/>
                        </a:lnTo>
                        <a:lnTo>
                          <a:pt x="87" y="111"/>
                        </a:lnTo>
                        <a:lnTo>
                          <a:pt x="166" y="123"/>
                        </a:lnTo>
                        <a:lnTo>
                          <a:pt x="192" y="155"/>
                        </a:lnTo>
                      </a:path>
                    </a:pathLst>
                  </a:custGeom>
                  <a:grpFill/>
                  <a:ln w="9525" cap="flat" cmpd="sng">
                    <a:solidFill>
                      <a:schemeClr val="bg1"/>
                    </a:solidFill>
                    <a:prstDash val="solid"/>
                    <a:round/>
                    <a:headEnd type="none" w="med" len="med"/>
                    <a:tailEnd type="none" w="med" len="med"/>
                  </a:ln>
                  <a:effectLst/>
                </p:spPr>
                <p:txBody>
                  <a:bodyPr/>
                  <a:lstStyle/>
                  <a:p>
                    <a:endParaRPr lang="en-GB" sz="1637"/>
                  </a:p>
                </p:txBody>
              </p:sp>
              <p:grpSp>
                <p:nvGrpSpPr>
                  <p:cNvPr id="496" name="Group 2"/>
                  <p:cNvGrpSpPr/>
                  <p:nvPr/>
                </p:nvGrpSpPr>
                <p:grpSpPr>
                  <a:xfrm>
                    <a:off x="3403101" y="1650090"/>
                    <a:ext cx="956605" cy="1042342"/>
                    <a:chOff x="3403101" y="1650090"/>
                    <a:chExt cx="956605" cy="1042342"/>
                  </a:xfrm>
                  <a:grpFill/>
                </p:grpSpPr>
                <p:sp>
                  <p:nvSpPr>
                    <p:cNvPr id="499" name="Freeform 10"/>
                    <p:cNvSpPr>
                      <a:spLocks/>
                    </p:cNvSpPr>
                    <p:nvPr>
                      <p:custDataLst>
                        <p:tags r:id="rId328"/>
                      </p:custDataLst>
                    </p:nvPr>
                  </p:nvSpPr>
                  <p:spPr bwMode="auto">
                    <a:xfrm>
                      <a:off x="4212402" y="2615419"/>
                      <a:ext cx="76251" cy="55520"/>
                    </a:xfrm>
                    <a:custGeom>
                      <a:avLst/>
                      <a:gdLst>
                        <a:gd name="T0" fmla="*/ 40782 w 161"/>
                        <a:gd name="T1" fmla="*/ 0 h 93"/>
                        <a:gd name="T2" fmla="*/ 46422 w 161"/>
                        <a:gd name="T3" fmla="*/ 9525 h 93"/>
                        <a:gd name="T4" fmla="*/ 48591 w 161"/>
                        <a:gd name="T5" fmla="*/ 6350 h 93"/>
                        <a:gd name="T6" fmla="*/ 50761 w 161"/>
                        <a:gd name="T7" fmla="*/ 4233 h 93"/>
                        <a:gd name="T8" fmla="*/ 52930 w 161"/>
                        <a:gd name="T9" fmla="*/ 2646 h 93"/>
                        <a:gd name="T10" fmla="*/ 55099 w 161"/>
                        <a:gd name="T11" fmla="*/ 1588 h 93"/>
                        <a:gd name="T12" fmla="*/ 59438 w 161"/>
                        <a:gd name="T13" fmla="*/ 529 h 93"/>
                        <a:gd name="T14" fmla="*/ 64210 w 161"/>
                        <a:gd name="T15" fmla="*/ 0 h 93"/>
                        <a:gd name="T16" fmla="*/ 65511 w 161"/>
                        <a:gd name="T17" fmla="*/ 0 h 93"/>
                        <a:gd name="T18" fmla="*/ 69850 w 161"/>
                        <a:gd name="T19" fmla="*/ 0 h 93"/>
                        <a:gd name="T20" fmla="*/ 69850 w 161"/>
                        <a:gd name="T21" fmla="*/ 48684 h 93"/>
                        <a:gd name="T22" fmla="*/ 67247 w 161"/>
                        <a:gd name="T23" fmla="*/ 49213 h 93"/>
                        <a:gd name="T24" fmla="*/ 65078 w 161"/>
                        <a:gd name="T25" fmla="*/ 49213 h 93"/>
                        <a:gd name="T26" fmla="*/ 62908 w 161"/>
                        <a:gd name="T27" fmla="*/ 48684 h 93"/>
                        <a:gd name="T28" fmla="*/ 60739 w 161"/>
                        <a:gd name="T29" fmla="*/ 48155 h 93"/>
                        <a:gd name="T30" fmla="*/ 55967 w 161"/>
                        <a:gd name="T31" fmla="*/ 46567 h 93"/>
                        <a:gd name="T32" fmla="*/ 52062 w 161"/>
                        <a:gd name="T33" fmla="*/ 43392 h 93"/>
                        <a:gd name="T34" fmla="*/ 48157 w 161"/>
                        <a:gd name="T35" fmla="*/ 39688 h 93"/>
                        <a:gd name="T36" fmla="*/ 45120 w 161"/>
                        <a:gd name="T37" fmla="*/ 35455 h 93"/>
                        <a:gd name="T38" fmla="*/ 42084 w 161"/>
                        <a:gd name="T39" fmla="*/ 31221 h 93"/>
                        <a:gd name="T40" fmla="*/ 40782 w 161"/>
                        <a:gd name="T41" fmla="*/ 25929 h 93"/>
                        <a:gd name="T42" fmla="*/ 39914 w 161"/>
                        <a:gd name="T43" fmla="*/ 26459 h 93"/>
                        <a:gd name="T44" fmla="*/ 38613 w 161"/>
                        <a:gd name="T45" fmla="*/ 26988 h 93"/>
                        <a:gd name="T46" fmla="*/ 37311 w 161"/>
                        <a:gd name="T47" fmla="*/ 26988 h 93"/>
                        <a:gd name="T48" fmla="*/ 36443 w 161"/>
                        <a:gd name="T49" fmla="*/ 26988 h 93"/>
                        <a:gd name="T50" fmla="*/ 33840 w 161"/>
                        <a:gd name="T51" fmla="*/ 26459 h 93"/>
                        <a:gd name="T52" fmla="*/ 32105 w 161"/>
                        <a:gd name="T53" fmla="*/ 25929 h 93"/>
                        <a:gd name="T54" fmla="*/ 28200 w 161"/>
                        <a:gd name="T55" fmla="*/ 25400 h 93"/>
                        <a:gd name="T56" fmla="*/ 23862 w 161"/>
                        <a:gd name="T57" fmla="*/ 23813 h 93"/>
                        <a:gd name="T58" fmla="*/ 19089 w 161"/>
                        <a:gd name="T59" fmla="*/ 21167 h 93"/>
                        <a:gd name="T60" fmla="*/ 13883 w 161"/>
                        <a:gd name="T61" fmla="*/ 17992 h 93"/>
                        <a:gd name="T62" fmla="*/ 9111 w 161"/>
                        <a:gd name="T63" fmla="*/ 13758 h 93"/>
                        <a:gd name="T64" fmla="*/ 5206 w 161"/>
                        <a:gd name="T65" fmla="*/ 9525 h 93"/>
                        <a:gd name="T66" fmla="*/ 3471 w 161"/>
                        <a:gd name="T67" fmla="*/ 7408 h 93"/>
                        <a:gd name="T68" fmla="*/ 2169 w 161"/>
                        <a:gd name="T69" fmla="*/ 4763 h 93"/>
                        <a:gd name="T70" fmla="*/ 1302 w 161"/>
                        <a:gd name="T71" fmla="*/ 2646 h 93"/>
                        <a:gd name="T72" fmla="*/ 0 w 161"/>
                        <a:gd name="T73" fmla="*/ 0 h 93"/>
                        <a:gd name="T74" fmla="*/ 40782 w 161"/>
                        <a:gd name="T75" fmla="*/ 0 h 9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61" h="93">
                          <a:moveTo>
                            <a:pt x="94" y="0"/>
                          </a:moveTo>
                          <a:lnTo>
                            <a:pt x="107" y="18"/>
                          </a:lnTo>
                          <a:lnTo>
                            <a:pt x="112" y="12"/>
                          </a:lnTo>
                          <a:lnTo>
                            <a:pt x="117" y="8"/>
                          </a:lnTo>
                          <a:lnTo>
                            <a:pt x="122" y="5"/>
                          </a:lnTo>
                          <a:lnTo>
                            <a:pt x="127" y="3"/>
                          </a:lnTo>
                          <a:lnTo>
                            <a:pt x="137" y="1"/>
                          </a:lnTo>
                          <a:lnTo>
                            <a:pt x="148" y="0"/>
                          </a:lnTo>
                          <a:lnTo>
                            <a:pt x="151" y="0"/>
                          </a:lnTo>
                          <a:lnTo>
                            <a:pt x="161" y="0"/>
                          </a:lnTo>
                          <a:lnTo>
                            <a:pt x="161" y="92"/>
                          </a:lnTo>
                          <a:lnTo>
                            <a:pt x="155" y="93"/>
                          </a:lnTo>
                          <a:lnTo>
                            <a:pt x="150" y="93"/>
                          </a:lnTo>
                          <a:lnTo>
                            <a:pt x="145" y="92"/>
                          </a:lnTo>
                          <a:lnTo>
                            <a:pt x="140" y="91"/>
                          </a:lnTo>
                          <a:lnTo>
                            <a:pt x="129" y="88"/>
                          </a:lnTo>
                          <a:lnTo>
                            <a:pt x="120" y="82"/>
                          </a:lnTo>
                          <a:lnTo>
                            <a:pt x="111" y="75"/>
                          </a:lnTo>
                          <a:lnTo>
                            <a:pt x="104" y="67"/>
                          </a:lnTo>
                          <a:lnTo>
                            <a:pt x="97" y="59"/>
                          </a:lnTo>
                          <a:lnTo>
                            <a:pt x="94" y="49"/>
                          </a:lnTo>
                          <a:lnTo>
                            <a:pt x="92" y="50"/>
                          </a:lnTo>
                          <a:lnTo>
                            <a:pt x="89" y="51"/>
                          </a:lnTo>
                          <a:lnTo>
                            <a:pt x="86" y="51"/>
                          </a:lnTo>
                          <a:lnTo>
                            <a:pt x="84" y="51"/>
                          </a:lnTo>
                          <a:lnTo>
                            <a:pt x="78" y="50"/>
                          </a:lnTo>
                          <a:lnTo>
                            <a:pt x="74" y="49"/>
                          </a:lnTo>
                          <a:lnTo>
                            <a:pt x="65" y="48"/>
                          </a:lnTo>
                          <a:lnTo>
                            <a:pt x="55" y="45"/>
                          </a:lnTo>
                          <a:lnTo>
                            <a:pt x="44" y="40"/>
                          </a:lnTo>
                          <a:lnTo>
                            <a:pt x="32" y="34"/>
                          </a:lnTo>
                          <a:lnTo>
                            <a:pt x="21" y="26"/>
                          </a:lnTo>
                          <a:lnTo>
                            <a:pt x="12" y="18"/>
                          </a:lnTo>
                          <a:lnTo>
                            <a:pt x="8" y="14"/>
                          </a:lnTo>
                          <a:lnTo>
                            <a:pt x="5" y="9"/>
                          </a:lnTo>
                          <a:lnTo>
                            <a:pt x="3" y="5"/>
                          </a:lnTo>
                          <a:lnTo>
                            <a:pt x="0" y="0"/>
                          </a:lnTo>
                          <a:lnTo>
                            <a:pt x="94" y="0"/>
                          </a:lnTo>
                        </a:path>
                      </a:pathLst>
                    </a:custGeom>
                    <a:grpFill/>
                    <a:ln w="9525" cap="flat" cmpd="sng">
                      <a:solidFill>
                        <a:schemeClr val="bg1"/>
                      </a:solidFill>
                      <a:prstDash val="solid"/>
                      <a:round/>
                      <a:headEnd type="none" w="med" len="med"/>
                      <a:tailEnd type="none" w="med" len="med"/>
                    </a:ln>
                    <a:effectLst/>
                  </p:spPr>
                  <p:txBody>
                    <a:bodyPr/>
                    <a:lstStyle/>
                    <a:p>
                      <a:endParaRPr lang="en-GB" sz="1637"/>
                    </a:p>
                  </p:txBody>
                </p:sp>
                <p:sp>
                  <p:nvSpPr>
                    <p:cNvPr id="500" name="Freeform 11"/>
                    <p:cNvSpPr>
                      <a:spLocks/>
                    </p:cNvSpPr>
                    <p:nvPr>
                      <p:custDataLst>
                        <p:tags r:id="rId329"/>
                      </p:custDataLst>
                    </p:nvPr>
                  </p:nvSpPr>
                  <p:spPr bwMode="auto">
                    <a:xfrm>
                      <a:off x="3664780" y="2473934"/>
                      <a:ext cx="90115" cy="180887"/>
                    </a:xfrm>
                    <a:custGeom>
                      <a:avLst/>
                      <a:gdLst>
                        <a:gd name="T0" fmla="*/ 16338 w 192"/>
                        <a:gd name="T1" fmla="*/ 1567 h 307"/>
                        <a:gd name="T2" fmla="*/ 15908 w 192"/>
                        <a:gd name="T3" fmla="*/ 0 h 307"/>
                        <a:gd name="T4" fmla="*/ 24507 w 192"/>
                        <a:gd name="T5" fmla="*/ 1567 h 307"/>
                        <a:gd name="T6" fmla="*/ 47294 w 192"/>
                        <a:gd name="T7" fmla="*/ 7312 h 307"/>
                        <a:gd name="T8" fmla="*/ 66642 w 192"/>
                        <a:gd name="T9" fmla="*/ 13057 h 307"/>
                        <a:gd name="T10" fmla="*/ 77821 w 192"/>
                        <a:gd name="T11" fmla="*/ 14624 h 307"/>
                        <a:gd name="T12" fmla="*/ 82550 w 192"/>
                        <a:gd name="T13" fmla="*/ 18279 h 307"/>
                        <a:gd name="T14" fmla="*/ 80830 w 192"/>
                        <a:gd name="T15" fmla="*/ 24547 h 307"/>
                        <a:gd name="T16" fmla="*/ 75241 w 192"/>
                        <a:gd name="T17" fmla="*/ 42826 h 307"/>
                        <a:gd name="T18" fmla="*/ 67932 w 192"/>
                        <a:gd name="T19" fmla="*/ 66328 h 307"/>
                        <a:gd name="T20" fmla="*/ 63202 w 192"/>
                        <a:gd name="T21" fmla="*/ 86175 h 307"/>
                        <a:gd name="T22" fmla="*/ 62772 w 192"/>
                        <a:gd name="T23" fmla="*/ 108110 h 307"/>
                        <a:gd name="T24" fmla="*/ 61913 w 192"/>
                        <a:gd name="T25" fmla="*/ 130045 h 307"/>
                        <a:gd name="T26" fmla="*/ 57613 w 192"/>
                        <a:gd name="T27" fmla="*/ 144669 h 307"/>
                        <a:gd name="T28" fmla="*/ 45574 w 192"/>
                        <a:gd name="T29" fmla="*/ 154592 h 307"/>
                        <a:gd name="T30" fmla="*/ 35686 w 192"/>
                        <a:gd name="T31" fmla="*/ 158248 h 307"/>
                        <a:gd name="T32" fmla="*/ 30956 w 192"/>
                        <a:gd name="T33" fmla="*/ 160337 h 307"/>
                        <a:gd name="T34" fmla="*/ 22357 w 192"/>
                        <a:gd name="T35" fmla="*/ 159292 h 307"/>
                        <a:gd name="T36" fmla="*/ 13758 w 192"/>
                        <a:gd name="T37" fmla="*/ 151981 h 307"/>
                        <a:gd name="T38" fmla="*/ 12898 w 192"/>
                        <a:gd name="T39" fmla="*/ 144669 h 307"/>
                        <a:gd name="T40" fmla="*/ 9459 w 192"/>
                        <a:gd name="T41" fmla="*/ 134223 h 307"/>
                        <a:gd name="T42" fmla="*/ 4299 w 192"/>
                        <a:gd name="T43" fmla="*/ 120644 h 307"/>
                        <a:gd name="T44" fmla="*/ 860 w 192"/>
                        <a:gd name="T45" fmla="*/ 110199 h 307"/>
                        <a:gd name="T46" fmla="*/ 0 w 192"/>
                        <a:gd name="T47" fmla="*/ 102887 h 307"/>
                        <a:gd name="T48" fmla="*/ 0 w 192"/>
                        <a:gd name="T49" fmla="*/ 94009 h 307"/>
                        <a:gd name="T50" fmla="*/ 860 w 192"/>
                        <a:gd name="T51" fmla="*/ 86175 h 307"/>
                        <a:gd name="T52" fmla="*/ 4729 w 192"/>
                        <a:gd name="T53" fmla="*/ 75729 h 307"/>
                        <a:gd name="T54" fmla="*/ 14188 w 192"/>
                        <a:gd name="T55" fmla="*/ 56927 h 307"/>
                        <a:gd name="T56" fmla="*/ 20638 w 192"/>
                        <a:gd name="T57" fmla="*/ 42304 h 307"/>
                        <a:gd name="T58" fmla="*/ 22357 w 192"/>
                        <a:gd name="T59" fmla="*/ 32381 h 307"/>
                        <a:gd name="T60" fmla="*/ 22787 w 192"/>
                        <a:gd name="T61" fmla="*/ 21413 h 307"/>
                        <a:gd name="T62" fmla="*/ 23647 w 192"/>
                        <a:gd name="T63" fmla="*/ 15668 h 307"/>
                        <a:gd name="T64" fmla="*/ 24507 w 192"/>
                        <a:gd name="T65" fmla="*/ 13579 h 307"/>
                        <a:gd name="T66" fmla="*/ 25797 w 192"/>
                        <a:gd name="T67" fmla="*/ 11490 h 307"/>
                        <a:gd name="T68" fmla="*/ 18918 w 192"/>
                        <a:gd name="T69" fmla="*/ 3656 h 30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92" h="307">
                          <a:moveTo>
                            <a:pt x="44" y="7"/>
                          </a:moveTo>
                          <a:lnTo>
                            <a:pt x="38" y="3"/>
                          </a:lnTo>
                          <a:lnTo>
                            <a:pt x="35" y="1"/>
                          </a:lnTo>
                          <a:lnTo>
                            <a:pt x="37" y="0"/>
                          </a:lnTo>
                          <a:lnTo>
                            <a:pt x="41" y="0"/>
                          </a:lnTo>
                          <a:lnTo>
                            <a:pt x="57" y="3"/>
                          </a:lnTo>
                          <a:lnTo>
                            <a:pt x="82" y="8"/>
                          </a:lnTo>
                          <a:lnTo>
                            <a:pt x="110" y="14"/>
                          </a:lnTo>
                          <a:lnTo>
                            <a:pt x="141" y="22"/>
                          </a:lnTo>
                          <a:lnTo>
                            <a:pt x="155" y="25"/>
                          </a:lnTo>
                          <a:lnTo>
                            <a:pt x="169" y="27"/>
                          </a:lnTo>
                          <a:lnTo>
                            <a:pt x="181" y="28"/>
                          </a:lnTo>
                          <a:lnTo>
                            <a:pt x="192" y="29"/>
                          </a:lnTo>
                          <a:lnTo>
                            <a:pt x="192" y="35"/>
                          </a:lnTo>
                          <a:lnTo>
                            <a:pt x="192" y="41"/>
                          </a:lnTo>
                          <a:lnTo>
                            <a:pt x="188" y="47"/>
                          </a:lnTo>
                          <a:lnTo>
                            <a:pt x="183" y="61"/>
                          </a:lnTo>
                          <a:lnTo>
                            <a:pt x="175" y="82"/>
                          </a:lnTo>
                          <a:lnTo>
                            <a:pt x="167" y="104"/>
                          </a:lnTo>
                          <a:lnTo>
                            <a:pt x="158" y="127"/>
                          </a:lnTo>
                          <a:lnTo>
                            <a:pt x="152" y="148"/>
                          </a:lnTo>
                          <a:lnTo>
                            <a:pt x="147" y="165"/>
                          </a:lnTo>
                          <a:lnTo>
                            <a:pt x="146" y="176"/>
                          </a:lnTo>
                          <a:lnTo>
                            <a:pt x="146" y="207"/>
                          </a:lnTo>
                          <a:lnTo>
                            <a:pt x="146" y="234"/>
                          </a:lnTo>
                          <a:lnTo>
                            <a:pt x="144" y="249"/>
                          </a:lnTo>
                          <a:lnTo>
                            <a:pt x="141" y="263"/>
                          </a:lnTo>
                          <a:lnTo>
                            <a:pt x="134" y="277"/>
                          </a:lnTo>
                          <a:lnTo>
                            <a:pt x="127" y="294"/>
                          </a:lnTo>
                          <a:lnTo>
                            <a:pt x="106" y="296"/>
                          </a:lnTo>
                          <a:lnTo>
                            <a:pt x="91" y="300"/>
                          </a:lnTo>
                          <a:lnTo>
                            <a:pt x="83" y="303"/>
                          </a:lnTo>
                          <a:lnTo>
                            <a:pt x="77" y="306"/>
                          </a:lnTo>
                          <a:lnTo>
                            <a:pt x="72" y="307"/>
                          </a:lnTo>
                          <a:lnTo>
                            <a:pt x="64" y="307"/>
                          </a:lnTo>
                          <a:lnTo>
                            <a:pt x="52" y="305"/>
                          </a:lnTo>
                          <a:lnTo>
                            <a:pt x="33" y="300"/>
                          </a:lnTo>
                          <a:lnTo>
                            <a:pt x="32" y="291"/>
                          </a:lnTo>
                          <a:lnTo>
                            <a:pt x="32" y="284"/>
                          </a:lnTo>
                          <a:lnTo>
                            <a:pt x="30" y="277"/>
                          </a:lnTo>
                          <a:lnTo>
                            <a:pt x="28" y="270"/>
                          </a:lnTo>
                          <a:lnTo>
                            <a:pt x="22" y="257"/>
                          </a:lnTo>
                          <a:lnTo>
                            <a:pt x="17" y="244"/>
                          </a:lnTo>
                          <a:lnTo>
                            <a:pt x="10" y="231"/>
                          </a:lnTo>
                          <a:lnTo>
                            <a:pt x="5" y="218"/>
                          </a:lnTo>
                          <a:lnTo>
                            <a:pt x="2" y="211"/>
                          </a:lnTo>
                          <a:lnTo>
                            <a:pt x="1" y="204"/>
                          </a:lnTo>
                          <a:lnTo>
                            <a:pt x="0" y="197"/>
                          </a:lnTo>
                          <a:lnTo>
                            <a:pt x="0" y="189"/>
                          </a:lnTo>
                          <a:lnTo>
                            <a:pt x="0" y="180"/>
                          </a:lnTo>
                          <a:lnTo>
                            <a:pt x="1" y="173"/>
                          </a:lnTo>
                          <a:lnTo>
                            <a:pt x="2" y="165"/>
                          </a:lnTo>
                          <a:lnTo>
                            <a:pt x="5" y="158"/>
                          </a:lnTo>
                          <a:lnTo>
                            <a:pt x="11" y="145"/>
                          </a:lnTo>
                          <a:lnTo>
                            <a:pt x="18" y="133"/>
                          </a:lnTo>
                          <a:lnTo>
                            <a:pt x="33" y="109"/>
                          </a:lnTo>
                          <a:lnTo>
                            <a:pt x="46" y="90"/>
                          </a:lnTo>
                          <a:lnTo>
                            <a:pt x="48" y="81"/>
                          </a:lnTo>
                          <a:lnTo>
                            <a:pt x="50" y="72"/>
                          </a:lnTo>
                          <a:lnTo>
                            <a:pt x="52" y="62"/>
                          </a:lnTo>
                          <a:lnTo>
                            <a:pt x="53" y="53"/>
                          </a:lnTo>
                          <a:lnTo>
                            <a:pt x="53" y="41"/>
                          </a:lnTo>
                          <a:lnTo>
                            <a:pt x="54" y="34"/>
                          </a:lnTo>
                          <a:lnTo>
                            <a:pt x="55" y="30"/>
                          </a:lnTo>
                          <a:lnTo>
                            <a:pt x="56" y="28"/>
                          </a:lnTo>
                          <a:lnTo>
                            <a:pt x="57" y="26"/>
                          </a:lnTo>
                          <a:lnTo>
                            <a:pt x="58" y="25"/>
                          </a:lnTo>
                          <a:lnTo>
                            <a:pt x="60" y="22"/>
                          </a:lnTo>
                          <a:lnTo>
                            <a:pt x="60" y="16"/>
                          </a:lnTo>
                          <a:lnTo>
                            <a:pt x="44" y="7"/>
                          </a:lnTo>
                        </a:path>
                      </a:pathLst>
                    </a:custGeom>
                    <a:grpFill/>
                    <a:ln w="9525" cap="flat" cmpd="sng">
                      <a:solidFill>
                        <a:schemeClr val="bg1"/>
                      </a:solidFill>
                      <a:prstDash val="solid"/>
                      <a:round/>
                      <a:headEnd type="none" w="med" len="med"/>
                      <a:tailEnd type="none" w="med" len="med"/>
                    </a:ln>
                    <a:effectLst/>
                  </p:spPr>
                  <p:txBody>
                    <a:bodyPr/>
                    <a:lstStyle/>
                    <a:p>
                      <a:endParaRPr lang="en-GB" sz="1637"/>
                    </a:p>
                  </p:txBody>
                </p:sp>
                <p:sp>
                  <p:nvSpPr>
                    <p:cNvPr id="501" name="Freeform 12"/>
                    <p:cNvSpPr>
                      <a:spLocks/>
                    </p:cNvSpPr>
                    <p:nvPr>
                      <p:custDataLst>
                        <p:tags r:id="rId330"/>
                      </p:custDataLst>
                    </p:nvPr>
                  </p:nvSpPr>
                  <p:spPr bwMode="auto">
                    <a:xfrm>
                      <a:off x="3761174" y="1899312"/>
                      <a:ext cx="187162" cy="304464"/>
                    </a:xfrm>
                    <a:custGeom>
                      <a:avLst/>
                      <a:gdLst>
                        <a:gd name="T0" fmla="*/ 11200 w 398"/>
                        <a:gd name="T1" fmla="*/ 1042 h 518"/>
                        <a:gd name="T2" fmla="*/ 40924 w 398"/>
                        <a:gd name="T3" fmla="*/ 6773 h 518"/>
                        <a:gd name="T4" fmla="*/ 49970 w 398"/>
                        <a:gd name="T5" fmla="*/ 11983 h 518"/>
                        <a:gd name="T6" fmla="*/ 34462 w 398"/>
                        <a:gd name="T7" fmla="*/ 24487 h 518"/>
                        <a:gd name="T8" fmla="*/ 27570 w 398"/>
                        <a:gd name="T9" fmla="*/ 32302 h 518"/>
                        <a:gd name="T10" fmla="*/ 33170 w 398"/>
                        <a:gd name="T11" fmla="*/ 35949 h 518"/>
                        <a:gd name="T12" fmla="*/ 71940 w 398"/>
                        <a:gd name="T13" fmla="*/ 41159 h 518"/>
                        <a:gd name="T14" fmla="*/ 90464 w 398"/>
                        <a:gd name="T15" fmla="*/ 56788 h 518"/>
                        <a:gd name="T16" fmla="*/ 66340 w 398"/>
                        <a:gd name="T17" fmla="*/ 66166 h 518"/>
                        <a:gd name="T18" fmla="*/ 63324 w 398"/>
                        <a:gd name="T19" fmla="*/ 71897 h 518"/>
                        <a:gd name="T20" fmla="*/ 82279 w 398"/>
                        <a:gd name="T21" fmla="*/ 74502 h 518"/>
                        <a:gd name="T22" fmla="*/ 90894 w 398"/>
                        <a:gd name="T23" fmla="*/ 81275 h 518"/>
                        <a:gd name="T24" fmla="*/ 104679 w 398"/>
                        <a:gd name="T25" fmla="*/ 99510 h 518"/>
                        <a:gd name="T26" fmla="*/ 111141 w 398"/>
                        <a:gd name="T27" fmla="*/ 110451 h 518"/>
                        <a:gd name="T28" fmla="*/ 112003 w 398"/>
                        <a:gd name="T29" fmla="*/ 123476 h 518"/>
                        <a:gd name="T30" fmla="*/ 117172 w 398"/>
                        <a:gd name="T31" fmla="*/ 132333 h 518"/>
                        <a:gd name="T32" fmla="*/ 123203 w 398"/>
                        <a:gd name="T33" fmla="*/ 145357 h 518"/>
                        <a:gd name="T34" fmla="*/ 131818 w 398"/>
                        <a:gd name="T35" fmla="*/ 154735 h 518"/>
                        <a:gd name="T36" fmla="*/ 140865 w 398"/>
                        <a:gd name="T37" fmla="*/ 166718 h 518"/>
                        <a:gd name="T38" fmla="*/ 149049 w 398"/>
                        <a:gd name="T39" fmla="*/ 175575 h 518"/>
                        <a:gd name="T40" fmla="*/ 159388 w 398"/>
                        <a:gd name="T41" fmla="*/ 177659 h 518"/>
                        <a:gd name="T42" fmla="*/ 170588 w 398"/>
                        <a:gd name="T43" fmla="*/ 190163 h 518"/>
                        <a:gd name="T44" fmla="*/ 170158 w 398"/>
                        <a:gd name="T45" fmla="*/ 205793 h 518"/>
                        <a:gd name="T46" fmla="*/ 164558 w 398"/>
                        <a:gd name="T47" fmla="*/ 210482 h 518"/>
                        <a:gd name="T48" fmla="*/ 158096 w 398"/>
                        <a:gd name="T49" fmla="*/ 216213 h 518"/>
                        <a:gd name="T50" fmla="*/ 158527 w 398"/>
                        <a:gd name="T51" fmla="*/ 221944 h 518"/>
                        <a:gd name="T52" fmla="*/ 161973 w 398"/>
                        <a:gd name="T53" fmla="*/ 230800 h 518"/>
                        <a:gd name="T54" fmla="*/ 154650 w 398"/>
                        <a:gd name="T55" fmla="*/ 241220 h 518"/>
                        <a:gd name="T56" fmla="*/ 62894 w 398"/>
                        <a:gd name="T57" fmla="*/ 260497 h 518"/>
                        <a:gd name="T58" fmla="*/ 29293 w 398"/>
                        <a:gd name="T59" fmla="*/ 264665 h 518"/>
                        <a:gd name="T60" fmla="*/ 22831 w 398"/>
                        <a:gd name="T61" fmla="*/ 269875 h 518"/>
                        <a:gd name="T62" fmla="*/ 24985 w 398"/>
                        <a:gd name="T63" fmla="*/ 256850 h 518"/>
                        <a:gd name="T64" fmla="*/ 30585 w 398"/>
                        <a:gd name="T65" fmla="*/ 247993 h 518"/>
                        <a:gd name="T66" fmla="*/ 49109 w 398"/>
                        <a:gd name="T67" fmla="*/ 238615 h 518"/>
                        <a:gd name="T68" fmla="*/ 74094 w 398"/>
                        <a:gd name="T69" fmla="*/ 228716 h 518"/>
                        <a:gd name="T70" fmla="*/ 77109 w 398"/>
                        <a:gd name="T71" fmla="*/ 221944 h 518"/>
                        <a:gd name="T72" fmla="*/ 73663 w 398"/>
                        <a:gd name="T73" fmla="*/ 226111 h 518"/>
                        <a:gd name="T74" fmla="*/ 47816 w 398"/>
                        <a:gd name="T75" fmla="*/ 225069 h 518"/>
                        <a:gd name="T76" fmla="*/ 32739 w 398"/>
                        <a:gd name="T77" fmla="*/ 218818 h 518"/>
                        <a:gd name="T78" fmla="*/ 33170 w 398"/>
                        <a:gd name="T79" fmla="*/ 209440 h 518"/>
                        <a:gd name="T80" fmla="*/ 40924 w 398"/>
                        <a:gd name="T81" fmla="*/ 203709 h 518"/>
                        <a:gd name="T82" fmla="*/ 37478 w 398"/>
                        <a:gd name="T83" fmla="*/ 183390 h 518"/>
                        <a:gd name="T84" fmla="*/ 45232 w 398"/>
                        <a:gd name="T85" fmla="*/ 171407 h 518"/>
                        <a:gd name="T86" fmla="*/ 66340 w 398"/>
                        <a:gd name="T87" fmla="*/ 160987 h 518"/>
                        <a:gd name="T88" fmla="*/ 74094 w 398"/>
                        <a:gd name="T89" fmla="*/ 151609 h 518"/>
                        <a:gd name="T90" fmla="*/ 63755 w 398"/>
                        <a:gd name="T91" fmla="*/ 141189 h 518"/>
                        <a:gd name="T92" fmla="*/ 59878 w 398"/>
                        <a:gd name="T93" fmla="*/ 128686 h 518"/>
                        <a:gd name="T94" fmla="*/ 40493 w 398"/>
                        <a:gd name="T95" fmla="*/ 124518 h 518"/>
                        <a:gd name="T96" fmla="*/ 34462 w 398"/>
                        <a:gd name="T97" fmla="*/ 112535 h 518"/>
                        <a:gd name="T98" fmla="*/ 38770 w 398"/>
                        <a:gd name="T99" fmla="*/ 100031 h 518"/>
                        <a:gd name="T100" fmla="*/ 43078 w 398"/>
                        <a:gd name="T101" fmla="*/ 87527 h 518"/>
                        <a:gd name="T102" fmla="*/ 31447 w 398"/>
                        <a:gd name="T103" fmla="*/ 96905 h 518"/>
                        <a:gd name="T104" fmla="*/ 9477 w 398"/>
                        <a:gd name="T105" fmla="*/ 84401 h 518"/>
                        <a:gd name="T106" fmla="*/ 8616 w 398"/>
                        <a:gd name="T107" fmla="*/ 73981 h 518"/>
                        <a:gd name="T108" fmla="*/ 6031 w 398"/>
                        <a:gd name="T109" fmla="*/ 68250 h 518"/>
                        <a:gd name="T110" fmla="*/ 8616 w 398"/>
                        <a:gd name="T111" fmla="*/ 32823 h 518"/>
                        <a:gd name="T112" fmla="*/ 8185 w 398"/>
                        <a:gd name="T113" fmla="*/ 25529 h 518"/>
                        <a:gd name="T114" fmla="*/ 1723 w 398"/>
                        <a:gd name="T115" fmla="*/ 20840 h 518"/>
                        <a:gd name="T116" fmla="*/ 8616 w 398"/>
                        <a:gd name="T117" fmla="*/ 9899 h 518"/>
                        <a:gd name="T118" fmla="*/ 1292 w 398"/>
                        <a:gd name="T119" fmla="*/ 4689 h 5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98" h="518">
                          <a:moveTo>
                            <a:pt x="0" y="1"/>
                          </a:moveTo>
                          <a:lnTo>
                            <a:pt x="6" y="0"/>
                          </a:lnTo>
                          <a:lnTo>
                            <a:pt x="15" y="1"/>
                          </a:lnTo>
                          <a:lnTo>
                            <a:pt x="26" y="2"/>
                          </a:lnTo>
                          <a:lnTo>
                            <a:pt x="39" y="5"/>
                          </a:lnTo>
                          <a:lnTo>
                            <a:pt x="56" y="8"/>
                          </a:lnTo>
                          <a:lnTo>
                            <a:pt x="75" y="11"/>
                          </a:lnTo>
                          <a:lnTo>
                            <a:pt x="95" y="13"/>
                          </a:lnTo>
                          <a:lnTo>
                            <a:pt x="120" y="13"/>
                          </a:lnTo>
                          <a:lnTo>
                            <a:pt x="120" y="17"/>
                          </a:lnTo>
                          <a:lnTo>
                            <a:pt x="118" y="20"/>
                          </a:lnTo>
                          <a:lnTo>
                            <a:pt x="116" y="23"/>
                          </a:lnTo>
                          <a:lnTo>
                            <a:pt x="114" y="26"/>
                          </a:lnTo>
                          <a:lnTo>
                            <a:pt x="107" y="32"/>
                          </a:lnTo>
                          <a:lnTo>
                            <a:pt x="99" y="37"/>
                          </a:lnTo>
                          <a:lnTo>
                            <a:pt x="80" y="47"/>
                          </a:lnTo>
                          <a:lnTo>
                            <a:pt x="66" y="57"/>
                          </a:lnTo>
                          <a:lnTo>
                            <a:pt x="65" y="59"/>
                          </a:lnTo>
                          <a:lnTo>
                            <a:pt x="64" y="61"/>
                          </a:lnTo>
                          <a:lnTo>
                            <a:pt x="64" y="62"/>
                          </a:lnTo>
                          <a:lnTo>
                            <a:pt x="65" y="64"/>
                          </a:lnTo>
                          <a:lnTo>
                            <a:pt x="68" y="66"/>
                          </a:lnTo>
                          <a:lnTo>
                            <a:pt x="71" y="67"/>
                          </a:lnTo>
                          <a:lnTo>
                            <a:pt x="77" y="69"/>
                          </a:lnTo>
                          <a:lnTo>
                            <a:pt x="84" y="70"/>
                          </a:lnTo>
                          <a:lnTo>
                            <a:pt x="103" y="73"/>
                          </a:lnTo>
                          <a:lnTo>
                            <a:pt x="131" y="76"/>
                          </a:lnTo>
                          <a:lnTo>
                            <a:pt x="167" y="79"/>
                          </a:lnTo>
                          <a:lnTo>
                            <a:pt x="213" y="81"/>
                          </a:lnTo>
                          <a:lnTo>
                            <a:pt x="213" y="91"/>
                          </a:lnTo>
                          <a:lnTo>
                            <a:pt x="213" y="105"/>
                          </a:lnTo>
                          <a:lnTo>
                            <a:pt x="210" y="109"/>
                          </a:lnTo>
                          <a:lnTo>
                            <a:pt x="202" y="112"/>
                          </a:lnTo>
                          <a:lnTo>
                            <a:pt x="191" y="116"/>
                          </a:lnTo>
                          <a:lnTo>
                            <a:pt x="179" y="120"/>
                          </a:lnTo>
                          <a:lnTo>
                            <a:pt x="154" y="127"/>
                          </a:lnTo>
                          <a:lnTo>
                            <a:pt x="139" y="130"/>
                          </a:lnTo>
                          <a:lnTo>
                            <a:pt x="142" y="133"/>
                          </a:lnTo>
                          <a:lnTo>
                            <a:pt x="144" y="136"/>
                          </a:lnTo>
                          <a:lnTo>
                            <a:pt x="147" y="138"/>
                          </a:lnTo>
                          <a:lnTo>
                            <a:pt x="150" y="140"/>
                          </a:lnTo>
                          <a:lnTo>
                            <a:pt x="160" y="142"/>
                          </a:lnTo>
                          <a:lnTo>
                            <a:pt x="170" y="143"/>
                          </a:lnTo>
                          <a:lnTo>
                            <a:pt x="191" y="143"/>
                          </a:lnTo>
                          <a:lnTo>
                            <a:pt x="206" y="142"/>
                          </a:lnTo>
                          <a:lnTo>
                            <a:pt x="206" y="147"/>
                          </a:lnTo>
                          <a:lnTo>
                            <a:pt x="208" y="152"/>
                          </a:lnTo>
                          <a:lnTo>
                            <a:pt x="211" y="156"/>
                          </a:lnTo>
                          <a:lnTo>
                            <a:pt x="214" y="161"/>
                          </a:lnTo>
                          <a:lnTo>
                            <a:pt x="223" y="172"/>
                          </a:lnTo>
                          <a:lnTo>
                            <a:pt x="233" y="182"/>
                          </a:lnTo>
                          <a:lnTo>
                            <a:pt x="243" y="191"/>
                          </a:lnTo>
                          <a:lnTo>
                            <a:pt x="250" y="200"/>
                          </a:lnTo>
                          <a:lnTo>
                            <a:pt x="254" y="205"/>
                          </a:lnTo>
                          <a:lnTo>
                            <a:pt x="257" y="209"/>
                          </a:lnTo>
                          <a:lnTo>
                            <a:pt x="258" y="212"/>
                          </a:lnTo>
                          <a:lnTo>
                            <a:pt x="259" y="216"/>
                          </a:lnTo>
                          <a:lnTo>
                            <a:pt x="259" y="223"/>
                          </a:lnTo>
                          <a:lnTo>
                            <a:pt x="260" y="232"/>
                          </a:lnTo>
                          <a:lnTo>
                            <a:pt x="260" y="237"/>
                          </a:lnTo>
                          <a:lnTo>
                            <a:pt x="262" y="241"/>
                          </a:lnTo>
                          <a:lnTo>
                            <a:pt x="263" y="244"/>
                          </a:lnTo>
                          <a:lnTo>
                            <a:pt x="266" y="247"/>
                          </a:lnTo>
                          <a:lnTo>
                            <a:pt x="272" y="254"/>
                          </a:lnTo>
                          <a:lnTo>
                            <a:pt x="277" y="261"/>
                          </a:lnTo>
                          <a:lnTo>
                            <a:pt x="280" y="267"/>
                          </a:lnTo>
                          <a:lnTo>
                            <a:pt x="283" y="273"/>
                          </a:lnTo>
                          <a:lnTo>
                            <a:pt x="286" y="279"/>
                          </a:lnTo>
                          <a:lnTo>
                            <a:pt x="291" y="284"/>
                          </a:lnTo>
                          <a:lnTo>
                            <a:pt x="297" y="288"/>
                          </a:lnTo>
                          <a:lnTo>
                            <a:pt x="305" y="291"/>
                          </a:lnTo>
                          <a:lnTo>
                            <a:pt x="306" y="297"/>
                          </a:lnTo>
                          <a:lnTo>
                            <a:pt x="310" y="304"/>
                          </a:lnTo>
                          <a:lnTo>
                            <a:pt x="315" y="310"/>
                          </a:lnTo>
                          <a:lnTo>
                            <a:pt x="320" y="316"/>
                          </a:lnTo>
                          <a:lnTo>
                            <a:pt x="327" y="320"/>
                          </a:lnTo>
                          <a:lnTo>
                            <a:pt x="334" y="324"/>
                          </a:lnTo>
                          <a:lnTo>
                            <a:pt x="340" y="326"/>
                          </a:lnTo>
                          <a:lnTo>
                            <a:pt x="346" y="327"/>
                          </a:lnTo>
                          <a:lnTo>
                            <a:pt x="346" y="337"/>
                          </a:lnTo>
                          <a:lnTo>
                            <a:pt x="346" y="346"/>
                          </a:lnTo>
                          <a:lnTo>
                            <a:pt x="355" y="343"/>
                          </a:lnTo>
                          <a:lnTo>
                            <a:pt x="363" y="341"/>
                          </a:lnTo>
                          <a:lnTo>
                            <a:pt x="370" y="341"/>
                          </a:lnTo>
                          <a:lnTo>
                            <a:pt x="376" y="342"/>
                          </a:lnTo>
                          <a:lnTo>
                            <a:pt x="389" y="347"/>
                          </a:lnTo>
                          <a:lnTo>
                            <a:pt x="398" y="352"/>
                          </a:lnTo>
                          <a:lnTo>
                            <a:pt x="396" y="365"/>
                          </a:lnTo>
                          <a:lnTo>
                            <a:pt x="394" y="376"/>
                          </a:lnTo>
                          <a:lnTo>
                            <a:pt x="393" y="382"/>
                          </a:lnTo>
                          <a:lnTo>
                            <a:pt x="393" y="389"/>
                          </a:lnTo>
                          <a:lnTo>
                            <a:pt x="395" y="395"/>
                          </a:lnTo>
                          <a:lnTo>
                            <a:pt x="398" y="401"/>
                          </a:lnTo>
                          <a:lnTo>
                            <a:pt x="393" y="402"/>
                          </a:lnTo>
                          <a:lnTo>
                            <a:pt x="387" y="403"/>
                          </a:lnTo>
                          <a:lnTo>
                            <a:pt x="382" y="404"/>
                          </a:lnTo>
                          <a:lnTo>
                            <a:pt x="376" y="406"/>
                          </a:lnTo>
                          <a:lnTo>
                            <a:pt x="372" y="409"/>
                          </a:lnTo>
                          <a:lnTo>
                            <a:pt x="369" y="412"/>
                          </a:lnTo>
                          <a:lnTo>
                            <a:pt x="367" y="415"/>
                          </a:lnTo>
                          <a:lnTo>
                            <a:pt x="365" y="420"/>
                          </a:lnTo>
                          <a:lnTo>
                            <a:pt x="365" y="422"/>
                          </a:lnTo>
                          <a:lnTo>
                            <a:pt x="367" y="424"/>
                          </a:lnTo>
                          <a:lnTo>
                            <a:pt x="368" y="426"/>
                          </a:lnTo>
                          <a:lnTo>
                            <a:pt x="370" y="429"/>
                          </a:lnTo>
                          <a:lnTo>
                            <a:pt x="376" y="433"/>
                          </a:lnTo>
                          <a:lnTo>
                            <a:pt x="385" y="438"/>
                          </a:lnTo>
                          <a:lnTo>
                            <a:pt x="376" y="443"/>
                          </a:lnTo>
                          <a:lnTo>
                            <a:pt x="371" y="447"/>
                          </a:lnTo>
                          <a:lnTo>
                            <a:pt x="367" y="451"/>
                          </a:lnTo>
                          <a:lnTo>
                            <a:pt x="363" y="455"/>
                          </a:lnTo>
                          <a:lnTo>
                            <a:pt x="359" y="463"/>
                          </a:lnTo>
                          <a:lnTo>
                            <a:pt x="352" y="475"/>
                          </a:lnTo>
                          <a:lnTo>
                            <a:pt x="146" y="475"/>
                          </a:lnTo>
                          <a:lnTo>
                            <a:pt x="146" y="487"/>
                          </a:lnTo>
                          <a:lnTo>
                            <a:pt x="146" y="500"/>
                          </a:lnTo>
                          <a:lnTo>
                            <a:pt x="116" y="501"/>
                          </a:lnTo>
                          <a:lnTo>
                            <a:pt x="90" y="503"/>
                          </a:lnTo>
                          <a:lnTo>
                            <a:pt x="78" y="505"/>
                          </a:lnTo>
                          <a:lnTo>
                            <a:pt x="68" y="508"/>
                          </a:lnTo>
                          <a:lnTo>
                            <a:pt x="64" y="510"/>
                          </a:lnTo>
                          <a:lnTo>
                            <a:pt x="59" y="512"/>
                          </a:lnTo>
                          <a:lnTo>
                            <a:pt x="56" y="515"/>
                          </a:lnTo>
                          <a:lnTo>
                            <a:pt x="53" y="518"/>
                          </a:lnTo>
                          <a:lnTo>
                            <a:pt x="54" y="511"/>
                          </a:lnTo>
                          <a:lnTo>
                            <a:pt x="55" y="505"/>
                          </a:lnTo>
                          <a:lnTo>
                            <a:pt x="56" y="499"/>
                          </a:lnTo>
                          <a:lnTo>
                            <a:pt x="58" y="493"/>
                          </a:lnTo>
                          <a:lnTo>
                            <a:pt x="61" y="488"/>
                          </a:lnTo>
                          <a:lnTo>
                            <a:pt x="64" y="484"/>
                          </a:lnTo>
                          <a:lnTo>
                            <a:pt x="68" y="480"/>
                          </a:lnTo>
                          <a:lnTo>
                            <a:pt x="71" y="476"/>
                          </a:lnTo>
                          <a:lnTo>
                            <a:pt x="81" y="470"/>
                          </a:lnTo>
                          <a:lnTo>
                            <a:pt x="91" y="465"/>
                          </a:lnTo>
                          <a:lnTo>
                            <a:pt x="102" y="462"/>
                          </a:lnTo>
                          <a:lnTo>
                            <a:pt x="114" y="458"/>
                          </a:lnTo>
                          <a:lnTo>
                            <a:pt x="136" y="453"/>
                          </a:lnTo>
                          <a:lnTo>
                            <a:pt x="157" y="448"/>
                          </a:lnTo>
                          <a:lnTo>
                            <a:pt x="165" y="444"/>
                          </a:lnTo>
                          <a:lnTo>
                            <a:pt x="172" y="439"/>
                          </a:lnTo>
                          <a:lnTo>
                            <a:pt x="174" y="436"/>
                          </a:lnTo>
                          <a:lnTo>
                            <a:pt x="177" y="433"/>
                          </a:lnTo>
                          <a:lnTo>
                            <a:pt x="179" y="429"/>
                          </a:lnTo>
                          <a:lnTo>
                            <a:pt x="179" y="426"/>
                          </a:lnTo>
                          <a:lnTo>
                            <a:pt x="179" y="428"/>
                          </a:lnTo>
                          <a:lnTo>
                            <a:pt x="177" y="430"/>
                          </a:lnTo>
                          <a:lnTo>
                            <a:pt x="174" y="432"/>
                          </a:lnTo>
                          <a:lnTo>
                            <a:pt x="171" y="434"/>
                          </a:lnTo>
                          <a:lnTo>
                            <a:pt x="162" y="437"/>
                          </a:lnTo>
                          <a:lnTo>
                            <a:pt x="152" y="438"/>
                          </a:lnTo>
                          <a:lnTo>
                            <a:pt x="137" y="437"/>
                          </a:lnTo>
                          <a:lnTo>
                            <a:pt x="111" y="432"/>
                          </a:lnTo>
                          <a:lnTo>
                            <a:pt x="96" y="429"/>
                          </a:lnTo>
                          <a:lnTo>
                            <a:pt x="84" y="425"/>
                          </a:lnTo>
                          <a:lnTo>
                            <a:pt x="80" y="423"/>
                          </a:lnTo>
                          <a:lnTo>
                            <a:pt x="76" y="420"/>
                          </a:lnTo>
                          <a:lnTo>
                            <a:pt x="73" y="417"/>
                          </a:lnTo>
                          <a:lnTo>
                            <a:pt x="73" y="414"/>
                          </a:lnTo>
                          <a:lnTo>
                            <a:pt x="73" y="407"/>
                          </a:lnTo>
                          <a:lnTo>
                            <a:pt x="77" y="402"/>
                          </a:lnTo>
                          <a:lnTo>
                            <a:pt x="80" y="398"/>
                          </a:lnTo>
                          <a:lnTo>
                            <a:pt x="84" y="395"/>
                          </a:lnTo>
                          <a:lnTo>
                            <a:pt x="90" y="392"/>
                          </a:lnTo>
                          <a:lnTo>
                            <a:pt x="95" y="391"/>
                          </a:lnTo>
                          <a:lnTo>
                            <a:pt x="101" y="390"/>
                          </a:lnTo>
                          <a:lnTo>
                            <a:pt x="106" y="389"/>
                          </a:lnTo>
                          <a:lnTo>
                            <a:pt x="106" y="352"/>
                          </a:lnTo>
                          <a:lnTo>
                            <a:pt x="87" y="352"/>
                          </a:lnTo>
                          <a:lnTo>
                            <a:pt x="90" y="345"/>
                          </a:lnTo>
                          <a:lnTo>
                            <a:pt x="94" y="339"/>
                          </a:lnTo>
                          <a:lnTo>
                            <a:pt x="100" y="334"/>
                          </a:lnTo>
                          <a:lnTo>
                            <a:pt x="105" y="329"/>
                          </a:lnTo>
                          <a:lnTo>
                            <a:pt x="117" y="323"/>
                          </a:lnTo>
                          <a:lnTo>
                            <a:pt x="129" y="319"/>
                          </a:lnTo>
                          <a:lnTo>
                            <a:pt x="142" y="315"/>
                          </a:lnTo>
                          <a:lnTo>
                            <a:pt x="154" y="309"/>
                          </a:lnTo>
                          <a:lnTo>
                            <a:pt x="159" y="306"/>
                          </a:lnTo>
                          <a:lnTo>
                            <a:pt x="163" y="302"/>
                          </a:lnTo>
                          <a:lnTo>
                            <a:pt x="169" y="297"/>
                          </a:lnTo>
                          <a:lnTo>
                            <a:pt x="172" y="291"/>
                          </a:lnTo>
                          <a:lnTo>
                            <a:pt x="166" y="286"/>
                          </a:lnTo>
                          <a:lnTo>
                            <a:pt x="159" y="281"/>
                          </a:lnTo>
                          <a:lnTo>
                            <a:pt x="154" y="277"/>
                          </a:lnTo>
                          <a:lnTo>
                            <a:pt x="148" y="271"/>
                          </a:lnTo>
                          <a:lnTo>
                            <a:pt x="145" y="265"/>
                          </a:lnTo>
                          <a:lnTo>
                            <a:pt x="142" y="260"/>
                          </a:lnTo>
                          <a:lnTo>
                            <a:pt x="140" y="254"/>
                          </a:lnTo>
                          <a:lnTo>
                            <a:pt x="139" y="247"/>
                          </a:lnTo>
                          <a:lnTo>
                            <a:pt x="125" y="247"/>
                          </a:lnTo>
                          <a:lnTo>
                            <a:pt x="113" y="245"/>
                          </a:lnTo>
                          <a:lnTo>
                            <a:pt x="103" y="242"/>
                          </a:lnTo>
                          <a:lnTo>
                            <a:pt x="94" y="239"/>
                          </a:lnTo>
                          <a:lnTo>
                            <a:pt x="88" y="235"/>
                          </a:lnTo>
                          <a:lnTo>
                            <a:pt x="83" y="229"/>
                          </a:lnTo>
                          <a:lnTo>
                            <a:pt x="80" y="224"/>
                          </a:lnTo>
                          <a:lnTo>
                            <a:pt x="80" y="216"/>
                          </a:lnTo>
                          <a:lnTo>
                            <a:pt x="80" y="209"/>
                          </a:lnTo>
                          <a:lnTo>
                            <a:pt x="82" y="203"/>
                          </a:lnTo>
                          <a:lnTo>
                            <a:pt x="86" y="198"/>
                          </a:lnTo>
                          <a:lnTo>
                            <a:pt x="90" y="192"/>
                          </a:lnTo>
                          <a:lnTo>
                            <a:pt x="93" y="186"/>
                          </a:lnTo>
                          <a:lnTo>
                            <a:pt x="96" y="180"/>
                          </a:lnTo>
                          <a:lnTo>
                            <a:pt x="99" y="174"/>
                          </a:lnTo>
                          <a:lnTo>
                            <a:pt x="100" y="168"/>
                          </a:lnTo>
                          <a:lnTo>
                            <a:pt x="92" y="171"/>
                          </a:lnTo>
                          <a:lnTo>
                            <a:pt x="86" y="175"/>
                          </a:lnTo>
                          <a:lnTo>
                            <a:pt x="80" y="180"/>
                          </a:lnTo>
                          <a:lnTo>
                            <a:pt x="73" y="186"/>
                          </a:lnTo>
                          <a:lnTo>
                            <a:pt x="64" y="199"/>
                          </a:lnTo>
                          <a:lnTo>
                            <a:pt x="53" y="210"/>
                          </a:lnTo>
                          <a:lnTo>
                            <a:pt x="31" y="179"/>
                          </a:lnTo>
                          <a:lnTo>
                            <a:pt x="22" y="162"/>
                          </a:lnTo>
                          <a:lnTo>
                            <a:pt x="20" y="157"/>
                          </a:lnTo>
                          <a:lnTo>
                            <a:pt x="20" y="153"/>
                          </a:lnTo>
                          <a:lnTo>
                            <a:pt x="20" y="148"/>
                          </a:lnTo>
                          <a:lnTo>
                            <a:pt x="20" y="142"/>
                          </a:lnTo>
                          <a:lnTo>
                            <a:pt x="17" y="141"/>
                          </a:lnTo>
                          <a:lnTo>
                            <a:pt x="16" y="138"/>
                          </a:lnTo>
                          <a:lnTo>
                            <a:pt x="15" y="135"/>
                          </a:lnTo>
                          <a:lnTo>
                            <a:pt x="14" y="131"/>
                          </a:lnTo>
                          <a:lnTo>
                            <a:pt x="14" y="121"/>
                          </a:lnTo>
                          <a:lnTo>
                            <a:pt x="15" y="110"/>
                          </a:lnTo>
                          <a:lnTo>
                            <a:pt x="17" y="84"/>
                          </a:lnTo>
                          <a:lnTo>
                            <a:pt x="20" y="63"/>
                          </a:lnTo>
                          <a:lnTo>
                            <a:pt x="21" y="59"/>
                          </a:lnTo>
                          <a:lnTo>
                            <a:pt x="21" y="55"/>
                          </a:lnTo>
                          <a:lnTo>
                            <a:pt x="20" y="51"/>
                          </a:lnTo>
                          <a:lnTo>
                            <a:pt x="19" y="49"/>
                          </a:lnTo>
                          <a:lnTo>
                            <a:pt x="15" y="45"/>
                          </a:lnTo>
                          <a:lnTo>
                            <a:pt x="11" y="43"/>
                          </a:lnTo>
                          <a:lnTo>
                            <a:pt x="6" y="41"/>
                          </a:lnTo>
                          <a:lnTo>
                            <a:pt x="4" y="40"/>
                          </a:lnTo>
                          <a:lnTo>
                            <a:pt x="3" y="39"/>
                          </a:lnTo>
                          <a:lnTo>
                            <a:pt x="6" y="37"/>
                          </a:lnTo>
                          <a:lnTo>
                            <a:pt x="13" y="28"/>
                          </a:lnTo>
                          <a:lnTo>
                            <a:pt x="20" y="19"/>
                          </a:lnTo>
                          <a:lnTo>
                            <a:pt x="20" y="13"/>
                          </a:lnTo>
                          <a:lnTo>
                            <a:pt x="11" y="11"/>
                          </a:lnTo>
                          <a:lnTo>
                            <a:pt x="5" y="10"/>
                          </a:lnTo>
                          <a:lnTo>
                            <a:pt x="3" y="9"/>
                          </a:lnTo>
                          <a:lnTo>
                            <a:pt x="1" y="7"/>
                          </a:lnTo>
                          <a:lnTo>
                            <a:pt x="0" y="5"/>
                          </a:lnTo>
                          <a:lnTo>
                            <a:pt x="0" y="1"/>
                          </a:lnTo>
                        </a:path>
                      </a:pathLst>
                    </a:custGeom>
                    <a:grpFill/>
                    <a:ln w="9525" cmpd="sng">
                      <a:solidFill>
                        <a:schemeClr val="bg1"/>
                      </a:solidFill>
                      <a:prstDash val="solid"/>
                      <a:round/>
                      <a:headEnd/>
                      <a:tailEnd/>
                    </a:ln>
                  </p:spPr>
                  <p:txBody>
                    <a:bodyPr/>
                    <a:lstStyle/>
                    <a:p>
                      <a:endParaRPr lang="en-GB" sz="1637"/>
                    </a:p>
                  </p:txBody>
                </p:sp>
                <p:sp>
                  <p:nvSpPr>
                    <p:cNvPr id="502" name="Freeform 17"/>
                    <p:cNvSpPr>
                      <a:spLocks/>
                    </p:cNvSpPr>
                    <p:nvPr>
                      <p:custDataLst>
                        <p:tags r:id="rId331"/>
                      </p:custDataLst>
                    </p:nvPr>
                  </p:nvSpPr>
                  <p:spPr bwMode="auto">
                    <a:xfrm>
                      <a:off x="4085895" y="2309165"/>
                      <a:ext cx="273811" cy="309836"/>
                    </a:xfrm>
                    <a:custGeom>
                      <a:avLst/>
                      <a:gdLst>
                        <a:gd name="T0" fmla="*/ 141903 w 578"/>
                        <a:gd name="T1" fmla="*/ 46122 h 524"/>
                        <a:gd name="T2" fmla="*/ 135393 w 578"/>
                        <a:gd name="T3" fmla="*/ 44550 h 524"/>
                        <a:gd name="T4" fmla="*/ 130620 w 578"/>
                        <a:gd name="T5" fmla="*/ 41405 h 524"/>
                        <a:gd name="T6" fmla="*/ 119337 w 578"/>
                        <a:gd name="T7" fmla="*/ 34592 h 524"/>
                        <a:gd name="T8" fmla="*/ 108922 w 578"/>
                        <a:gd name="T9" fmla="*/ 40881 h 524"/>
                        <a:gd name="T10" fmla="*/ 106753 w 578"/>
                        <a:gd name="T11" fmla="*/ 55032 h 524"/>
                        <a:gd name="T12" fmla="*/ 109790 w 578"/>
                        <a:gd name="T13" fmla="*/ 80190 h 524"/>
                        <a:gd name="T14" fmla="*/ 117167 w 578"/>
                        <a:gd name="T15" fmla="*/ 90148 h 524"/>
                        <a:gd name="T16" fmla="*/ 124545 w 578"/>
                        <a:gd name="T17" fmla="*/ 93293 h 524"/>
                        <a:gd name="T18" fmla="*/ 129318 w 578"/>
                        <a:gd name="T19" fmla="*/ 100106 h 524"/>
                        <a:gd name="T20" fmla="*/ 152318 w 578"/>
                        <a:gd name="T21" fmla="*/ 117926 h 524"/>
                        <a:gd name="T22" fmla="*/ 194845 w 578"/>
                        <a:gd name="T23" fmla="*/ 161952 h 524"/>
                        <a:gd name="T24" fmla="*/ 206996 w 578"/>
                        <a:gd name="T25" fmla="*/ 168765 h 524"/>
                        <a:gd name="T26" fmla="*/ 218712 w 578"/>
                        <a:gd name="T27" fmla="*/ 171910 h 524"/>
                        <a:gd name="T28" fmla="*/ 232599 w 578"/>
                        <a:gd name="T29" fmla="*/ 186585 h 524"/>
                        <a:gd name="T30" fmla="*/ 250825 w 578"/>
                        <a:gd name="T31" fmla="*/ 197068 h 524"/>
                        <a:gd name="T32" fmla="*/ 245184 w 578"/>
                        <a:gd name="T33" fmla="*/ 213315 h 524"/>
                        <a:gd name="T34" fmla="*/ 228259 w 578"/>
                        <a:gd name="T35" fmla="*/ 200737 h 524"/>
                        <a:gd name="T36" fmla="*/ 220448 w 578"/>
                        <a:gd name="T37" fmla="*/ 197068 h 524"/>
                        <a:gd name="T38" fmla="*/ 216109 w 578"/>
                        <a:gd name="T39" fmla="*/ 208074 h 524"/>
                        <a:gd name="T40" fmla="*/ 219580 w 578"/>
                        <a:gd name="T41" fmla="*/ 223274 h 524"/>
                        <a:gd name="T42" fmla="*/ 223052 w 578"/>
                        <a:gd name="T43" fmla="*/ 231659 h 524"/>
                        <a:gd name="T44" fmla="*/ 216977 w 578"/>
                        <a:gd name="T45" fmla="*/ 245286 h 524"/>
                        <a:gd name="T46" fmla="*/ 209599 w 578"/>
                        <a:gd name="T47" fmla="*/ 264679 h 524"/>
                        <a:gd name="T48" fmla="*/ 201788 w 578"/>
                        <a:gd name="T49" fmla="*/ 273589 h 524"/>
                        <a:gd name="T50" fmla="*/ 189204 w 578"/>
                        <a:gd name="T51" fmla="*/ 264679 h 524"/>
                        <a:gd name="T52" fmla="*/ 197883 w 578"/>
                        <a:gd name="T53" fmla="*/ 253672 h 524"/>
                        <a:gd name="T54" fmla="*/ 201788 w 578"/>
                        <a:gd name="T55" fmla="*/ 244762 h 524"/>
                        <a:gd name="T56" fmla="*/ 200052 w 578"/>
                        <a:gd name="T57" fmla="*/ 231135 h 524"/>
                        <a:gd name="T58" fmla="*/ 185298 w 578"/>
                        <a:gd name="T59" fmla="*/ 207026 h 524"/>
                        <a:gd name="T60" fmla="*/ 167072 w 578"/>
                        <a:gd name="T61" fmla="*/ 193399 h 524"/>
                        <a:gd name="T62" fmla="*/ 154053 w 578"/>
                        <a:gd name="T63" fmla="*/ 186585 h 524"/>
                        <a:gd name="T64" fmla="*/ 137997 w 578"/>
                        <a:gd name="T65" fmla="*/ 172958 h 524"/>
                        <a:gd name="T66" fmla="*/ 116299 w 578"/>
                        <a:gd name="T67" fmla="*/ 165097 h 524"/>
                        <a:gd name="T68" fmla="*/ 94602 w 578"/>
                        <a:gd name="T69" fmla="*/ 149373 h 524"/>
                        <a:gd name="T70" fmla="*/ 70300 w 578"/>
                        <a:gd name="T71" fmla="*/ 120023 h 524"/>
                        <a:gd name="T72" fmla="*/ 54678 w 578"/>
                        <a:gd name="T73" fmla="*/ 88052 h 524"/>
                        <a:gd name="T74" fmla="*/ 33414 w 578"/>
                        <a:gd name="T75" fmla="*/ 80714 h 524"/>
                        <a:gd name="T76" fmla="*/ 22132 w 578"/>
                        <a:gd name="T77" fmla="*/ 82286 h 524"/>
                        <a:gd name="T78" fmla="*/ 6509 w 578"/>
                        <a:gd name="T79" fmla="*/ 86479 h 524"/>
                        <a:gd name="T80" fmla="*/ 1302 w 578"/>
                        <a:gd name="T81" fmla="*/ 69707 h 524"/>
                        <a:gd name="T82" fmla="*/ 434 w 578"/>
                        <a:gd name="T83" fmla="*/ 48743 h 524"/>
                        <a:gd name="T84" fmla="*/ 2604 w 578"/>
                        <a:gd name="T85" fmla="*/ 25682 h 524"/>
                        <a:gd name="T86" fmla="*/ 19528 w 578"/>
                        <a:gd name="T87" fmla="*/ 21489 h 524"/>
                        <a:gd name="T88" fmla="*/ 29509 w 578"/>
                        <a:gd name="T89" fmla="*/ 17296 h 524"/>
                        <a:gd name="T90" fmla="*/ 36018 w 578"/>
                        <a:gd name="T91" fmla="*/ 25158 h 524"/>
                        <a:gd name="T92" fmla="*/ 45131 w 578"/>
                        <a:gd name="T93" fmla="*/ 23061 h 524"/>
                        <a:gd name="T94" fmla="*/ 64659 w 578"/>
                        <a:gd name="T95" fmla="*/ 8386 h 524"/>
                        <a:gd name="T96" fmla="*/ 103715 w 578"/>
                        <a:gd name="T97" fmla="*/ 0 h 524"/>
                        <a:gd name="T98" fmla="*/ 111526 w 578"/>
                        <a:gd name="T99" fmla="*/ 6814 h 524"/>
                        <a:gd name="T100" fmla="*/ 144072 w 578"/>
                        <a:gd name="T101" fmla="*/ 9958 h 524"/>
                        <a:gd name="T102" fmla="*/ 139733 w 578"/>
                        <a:gd name="T103" fmla="*/ 34068 h 524"/>
                        <a:gd name="T104" fmla="*/ 141035 w 578"/>
                        <a:gd name="T105" fmla="*/ 47170 h 52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78" h="524">
                          <a:moveTo>
                            <a:pt x="332" y="99"/>
                          </a:moveTo>
                          <a:lnTo>
                            <a:pt x="331" y="94"/>
                          </a:lnTo>
                          <a:lnTo>
                            <a:pt x="329" y="90"/>
                          </a:lnTo>
                          <a:lnTo>
                            <a:pt x="327" y="88"/>
                          </a:lnTo>
                          <a:lnTo>
                            <a:pt x="325" y="86"/>
                          </a:lnTo>
                          <a:lnTo>
                            <a:pt x="320" y="85"/>
                          </a:lnTo>
                          <a:lnTo>
                            <a:pt x="315" y="85"/>
                          </a:lnTo>
                          <a:lnTo>
                            <a:pt x="312" y="85"/>
                          </a:lnTo>
                          <a:lnTo>
                            <a:pt x="309" y="85"/>
                          </a:lnTo>
                          <a:lnTo>
                            <a:pt x="306" y="84"/>
                          </a:lnTo>
                          <a:lnTo>
                            <a:pt x="304" y="82"/>
                          </a:lnTo>
                          <a:lnTo>
                            <a:pt x="301" y="79"/>
                          </a:lnTo>
                          <a:lnTo>
                            <a:pt x="297" y="75"/>
                          </a:lnTo>
                          <a:lnTo>
                            <a:pt x="295" y="69"/>
                          </a:lnTo>
                          <a:lnTo>
                            <a:pt x="293" y="61"/>
                          </a:lnTo>
                          <a:lnTo>
                            <a:pt x="275" y="66"/>
                          </a:lnTo>
                          <a:lnTo>
                            <a:pt x="263" y="70"/>
                          </a:lnTo>
                          <a:lnTo>
                            <a:pt x="258" y="73"/>
                          </a:lnTo>
                          <a:lnTo>
                            <a:pt x="254" y="76"/>
                          </a:lnTo>
                          <a:lnTo>
                            <a:pt x="251" y="78"/>
                          </a:lnTo>
                          <a:lnTo>
                            <a:pt x="249" y="81"/>
                          </a:lnTo>
                          <a:lnTo>
                            <a:pt x="247" y="87"/>
                          </a:lnTo>
                          <a:lnTo>
                            <a:pt x="246" y="95"/>
                          </a:lnTo>
                          <a:lnTo>
                            <a:pt x="246" y="105"/>
                          </a:lnTo>
                          <a:lnTo>
                            <a:pt x="246" y="117"/>
                          </a:lnTo>
                          <a:lnTo>
                            <a:pt x="247" y="131"/>
                          </a:lnTo>
                          <a:lnTo>
                            <a:pt x="249" y="143"/>
                          </a:lnTo>
                          <a:lnTo>
                            <a:pt x="253" y="153"/>
                          </a:lnTo>
                          <a:lnTo>
                            <a:pt x="259" y="162"/>
                          </a:lnTo>
                          <a:lnTo>
                            <a:pt x="262" y="166"/>
                          </a:lnTo>
                          <a:lnTo>
                            <a:pt x="266" y="169"/>
                          </a:lnTo>
                          <a:lnTo>
                            <a:pt x="270" y="172"/>
                          </a:lnTo>
                          <a:lnTo>
                            <a:pt x="274" y="174"/>
                          </a:lnTo>
                          <a:lnTo>
                            <a:pt x="279" y="176"/>
                          </a:lnTo>
                          <a:lnTo>
                            <a:pt x="283" y="177"/>
                          </a:lnTo>
                          <a:lnTo>
                            <a:pt x="287" y="178"/>
                          </a:lnTo>
                          <a:lnTo>
                            <a:pt x="293" y="178"/>
                          </a:lnTo>
                          <a:lnTo>
                            <a:pt x="293" y="182"/>
                          </a:lnTo>
                          <a:lnTo>
                            <a:pt x="295" y="187"/>
                          </a:lnTo>
                          <a:lnTo>
                            <a:pt x="298" y="191"/>
                          </a:lnTo>
                          <a:lnTo>
                            <a:pt x="303" y="195"/>
                          </a:lnTo>
                          <a:lnTo>
                            <a:pt x="314" y="203"/>
                          </a:lnTo>
                          <a:lnTo>
                            <a:pt x="327" y="211"/>
                          </a:lnTo>
                          <a:lnTo>
                            <a:pt x="351" y="225"/>
                          </a:lnTo>
                          <a:lnTo>
                            <a:pt x="365" y="234"/>
                          </a:lnTo>
                          <a:lnTo>
                            <a:pt x="439" y="296"/>
                          </a:lnTo>
                          <a:lnTo>
                            <a:pt x="443" y="303"/>
                          </a:lnTo>
                          <a:lnTo>
                            <a:pt x="449" y="309"/>
                          </a:lnTo>
                          <a:lnTo>
                            <a:pt x="454" y="314"/>
                          </a:lnTo>
                          <a:lnTo>
                            <a:pt x="461" y="318"/>
                          </a:lnTo>
                          <a:lnTo>
                            <a:pt x="469" y="320"/>
                          </a:lnTo>
                          <a:lnTo>
                            <a:pt x="477" y="322"/>
                          </a:lnTo>
                          <a:lnTo>
                            <a:pt x="487" y="322"/>
                          </a:lnTo>
                          <a:lnTo>
                            <a:pt x="498" y="321"/>
                          </a:lnTo>
                          <a:lnTo>
                            <a:pt x="500" y="324"/>
                          </a:lnTo>
                          <a:lnTo>
                            <a:pt x="504" y="328"/>
                          </a:lnTo>
                          <a:lnTo>
                            <a:pt x="507" y="332"/>
                          </a:lnTo>
                          <a:lnTo>
                            <a:pt x="511" y="337"/>
                          </a:lnTo>
                          <a:lnTo>
                            <a:pt x="523" y="346"/>
                          </a:lnTo>
                          <a:lnTo>
                            <a:pt x="536" y="356"/>
                          </a:lnTo>
                          <a:lnTo>
                            <a:pt x="549" y="364"/>
                          </a:lnTo>
                          <a:lnTo>
                            <a:pt x="561" y="370"/>
                          </a:lnTo>
                          <a:lnTo>
                            <a:pt x="571" y="374"/>
                          </a:lnTo>
                          <a:lnTo>
                            <a:pt x="578" y="376"/>
                          </a:lnTo>
                          <a:lnTo>
                            <a:pt x="577" y="383"/>
                          </a:lnTo>
                          <a:lnTo>
                            <a:pt x="574" y="391"/>
                          </a:lnTo>
                          <a:lnTo>
                            <a:pt x="570" y="400"/>
                          </a:lnTo>
                          <a:lnTo>
                            <a:pt x="565" y="407"/>
                          </a:lnTo>
                          <a:lnTo>
                            <a:pt x="552" y="388"/>
                          </a:lnTo>
                          <a:lnTo>
                            <a:pt x="541" y="387"/>
                          </a:lnTo>
                          <a:lnTo>
                            <a:pt x="530" y="384"/>
                          </a:lnTo>
                          <a:lnTo>
                            <a:pt x="526" y="383"/>
                          </a:lnTo>
                          <a:lnTo>
                            <a:pt x="521" y="381"/>
                          </a:lnTo>
                          <a:lnTo>
                            <a:pt x="519" y="378"/>
                          </a:lnTo>
                          <a:lnTo>
                            <a:pt x="518" y="376"/>
                          </a:lnTo>
                          <a:lnTo>
                            <a:pt x="508" y="376"/>
                          </a:lnTo>
                          <a:lnTo>
                            <a:pt x="498" y="376"/>
                          </a:lnTo>
                          <a:lnTo>
                            <a:pt x="498" y="382"/>
                          </a:lnTo>
                          <a:lnTo>
                            <a:pt x="498" y="389"/>
                          </a:lnTo>
                          <a:lnTo>
                            <a:pt x="498" y="397"/>
                          </a:lnTo>
                          <a:lnTo>
                            <a:pt x="498" y="407"/>
                          </a:lnTo>
                          <a:lnTo>
                            <a:pt x="499" y="414"/>
                          </a:lnTo>
                          <a:lnTo>
                            <a:pt x="504" y="422"/>
                          </a:lnTo>
                          <a:lnTo>
                            <a:pt x="506" y="426"/>
                          </a:lnTo>
                          <a:lnTo>
                            <a:pt x="509" y="429"/>
                          </a:lnTo>
                          <a:lnTo>
                            <a:pt x="514" y="431"/>
                          </a:lnTo>
                          <a:lnTo>
                            <a:pt x="518" y="432"/>
                          </a:lnTo>
                          <a:lnTo>
                            <a:pt x="514" y="442"/>
                          </a:lnTo>
                          <a:lnTo>
                            <a:pt x="508" y="454"/>
                          </a:lnTo>
                          <a:lnTo>
                            <a:pt x="506" y="460"/>
                          </a:lnTo>
                          <a:lnTo>
                            <a:pt x="504" y="465"/>
                          </a:lnTo>
                          <a:lnTo>
                            <a:pt x="500" y="468"/>
                          </a:lnTo>
                          <a:lnTo>
                            <a:pt x="498" y="469"/>
                          </a:lnTo>
                          <a:lnTo>
                            <a:pt x="493" y="485"/>
                          </a:lnTo>
                          <a:lnTo>
                            <a:pt x="486" y="498"/>
                          </a:lnTo>
                          <a:lnTo>
                            <a:pt x="483" y="505"/>
                          </a:lnTo>
                          <a:lnTo>
                            <a:pt x="481" y="511"/>
                          </a:lnTo>
                          <a:lnTo>
                            <a:pt x="480" y="518"/>
                          </a:lnTo>
                          <a:lnTo>
                            <a:pt x="478" y="524"/>
                          </a:lnTo>
                          <a:lnTo>
                            <a:pt x="465" y="522"/>
                          </a:lnTo>
                          <a:lnTo>
                            <a:pt x="450" y="518"/>
                          </a:lnTo>
                          <a:lnTo>
                            <a:pt x="438" y="513"/>
                          </a:lnTo>
                          <a:lnTo>
                            <a:pt x="432" y="511"/>
                          </a:lnTo>
                          <a:lnTo>
                            <a:pt x="436" y="505"/>
                          </a:lnTo>
                          <a:lnTo>
                            <a:pt x="440" y="499"/>
                          </a:lnTo>
                          <a:lnTo>
                            <a:pt x="445" y="494"/>
                          </a:lnTo>
                          <a:lnTo>
                            <a:pt x="451" y="489"/>
                          </a:lnTo>
                          <a:lnTo>
                            <a:pt x="456" y="484"/>
                          </a:lnTo>
                          <a:lnTo>
                            <a:pt x="461" y="478"/>
                          </a:lnTo>
                          <a:lnTo>
                            <a:pt x="463" y="475"/>
                          </a:lnTo>
                          <a:lnTo>
                            <a:pt x="464" y="471"/>
                          </a:lnTo>
                          <a:lnTo>
                            <a:pt x="465" y="467"/>
                          </a:lnTo>
                          <a:lnTo>
                            <a:pt x="465" y="463"/>
                          </a:lnTo>
                          <a:lnTo>
                            <a:pt x="464" y="455"/>
                          </a:lnTo>
                          <a:lnTo>
                            <a:pt x="463" y="448"/>
                          </a:lnTo>
                          <a:lnTo>
                            <a:pt x="461" y="441"/>
                          </a:lnTo>
                          <a:lnTo>
                            <a:pt x="458" y="434"/>
                          </a:lnTo>
                          <a:lnTo>
                            <a:pt x="449" y="420"/>
                          </a:lnTo>
                          <a:lnTo>
                            <a:pt x="439" y="407"/>
                          </a:lnTo>
                          <a:lnTo>
                            <a:pt x="427" y="395"/>
                          </a:lnTo>
                          <a:lnTo>
                            <a:pt x="415" y="384"/>
                          </a:lnTo>
                          <a:lnTo>
                            <a:pt x="403" y="376"/>
                          </a:lnTo>
                          <a:lnTo>
                            <a:pt x="392" y="370"/>
                          </a:lnTo>
                          <a:lnTo>
                            <a:pt x="385" y="369"/>
                          </a:lnTo>
                          <a:lnTo>
                            <a:pt x="378" y="367"/>
                          </a:lnTo>
                          <a:lnTo>
                            <a:pt x="372" y="364"/>
                          </a:lnTo>
                          <a:lnTo>
                            <a:pt x="366" y="362"/>
                          </a:lnTo>
                          <a:lnTo>
                            <a:pt x="355" y="356"/>
                          </a:lnTo>
                          <a:lnTo>
                            <a:pt x="348" y="349"/>
                          </a:lnTo>
                          <a:lnTo>
                            <a:pt x="336" y="338"/>
                          </a:lnTo>
                          <a:lnTo>
                            <a:pt x="332" y="333"/>
                          </a:lnTo>
                          <a:lnTo>
                            <a:pt x="318" y="330"/>
                          </a:lnTo>
                          <a:lnTo>
                            <a:pt x="305" y="327"/>
                          </a:lnTo>
                          <a:lnTo>
                            <a:pt x="292" y="323"/>
                          </a:lnTo>
                          <a:lnTo>
                            <a:pt x="280" y="319"/>
                          </a:lnTo>
                          <a:lnTo>
                            <a:pt x="268" y="315"/>
                          </a:lnTo>
                          <a:lnTo>
                            <a:pt x="257" y="310"/>
                          </a:lnTo>
                          <a:lnTo>
                            <a:pt x="247" y="304"/>
                          </a:lnTo>
                          <a:lnTo>
                            <a:pt x="237" y="299"/>
                          </a:lnTo>
                          <a:lnTo>
                            <a:pt x="218" y="285"/>
                          </a:lnTo>
                          <a:lnTo>
                            <a:pt x="202" y="272"/>
                          </a:lnTo>
                          <a:lnTo>
                            <a:pt x="186" y="258"/>
                          </a:lnTo>
                          <a:lnTo>
                            <a:pt x="173" y="244"/>
                          </a:lnTo>
                          <a:lnTo>
                            <a:pt x="162" y="229"/>
                          </a:lnTo>
                          <a:lnTo>
                            <a:pt x="152" y="215"/>
                          </a:lnTo>
                          <a:lnTo>
                            <a:pt x="144" y="202"/>
                          </a:lnTo>
                          <a:lnTo>
                            <a:pt x="137" y="189"/>
                          </a:lnTo>
                          <a:lnTo>
                            <a:pt x="126" y="168"/>
                          </a:lnTo>
                          <a:lnTo>
                            <a:pt x="119" y="154"/>
                          </a:lnTo>
                          <a:lnTo>
                            <a:pt x="102" y="154"/>
                          </a:lnTo>
                          <a:lnTo>
                            <a:pt x="89" y="154"/>
                          </a:lnTo>
                          <a:lnTo>
                            <a:pt x="77" y="154"/>
                          </a:lnTo>
                          <a:lnTo>
                            <a:pt x="67" y="154"/>
                          </a:lnTo>
                          <a:lnTo>
                            <a:pt x="61" y="155"/>
                          </a:lnTo>
                          <a:lnTo>
                            <a:pt x="57" y="155"/>
                          </a:lnTo>
                          <a:lnTo>
                            <a:pt x="51" y="157"/>
                          </a:lnTo>
                          <a:lnTo>
                            <a:pt x="46" y="159"/>
                          </a:lnTo>
                          <a:lnTo>
                            <a:pt x="34" y="164"/>
                          </a:lnTo>
                          <a:lnTo>
                            <a:pt x="21" y="172"/>
                          </a:lnTo>
                          <a:lnTo>
                            <a:pt x="15" y="165"/>
                          </a:lnTo>
                          <a:lnTo>
                            <a:pt x="12" y="158"/>
                          </a:lnTo>
                          <a:lnTo>
                            <a:pt x="7" y="150"/>
                          </a:lnTo>
                          <a:lnTo>
                            <a:pt x="5" y="141"/>
                          </a:lnTo>
                          <a:lnTo>
                            <a:pt x="3" y="133"/>
                          </a:lnTo>
                          <a:lnTo>
                            <a:pt x="1" y="123"/>
                          </a:lnTo>
                          <a:lnTo>
                            <a:pt x="1" y="114"/>
                          </a:lnTo>
                          <a:lnTo>
                            <a:pt x="0" y="105"/>
                          </a:lnTo>
                          <a:lnTo>
                            <a:pt x="1" y="93"/>
                          </a:lnTo>
                          <a:lnTo>
                            <a:pt x="3" y="83"/>
                          </a:lnTo>
                          <a:lnTo>
                            <a:pt x="5" y="71"/>
                          </a:lnTo>
                          <a:lnTo>
                            <a:pt x="6" y="55"/>
                          </a:lnTo>
                          <a:lnTo>
                            <a:pt x="6" y="49"/>
                          </a:lnTo>
                          <a:lnTo>
                            <a:pt x="27" y="49"/>
                          </a:lnTo>
                          <a:lnTo>
                            <a:pt x="34" y="47"/>
                          </a:lnTo>
                          <a:lnTo>
                            <a:pt x="39" y="44"/>
                          </a:lnTo>
                          <a:lnTo>
                            <a:pt x="45" y="41"/>
                          </a:lnTo>
                          <a:lnTo>
                            <a:pt x="49" y="37"/>
                          </a:lnTo>
                          <a:lnTo>
                            <a:pt x="58" y="31"/>
                          </a:lnTo>
                          <a:lnTo>
                            <a:pt x="67" y="25"/>
                          </a:lnTo>
                          <a:lnTo>
                            <a:pt x="68" y="33"/>
                          </a:lnTo>
                          <a:lnTo>
                            <a:pt x="70" y="39"/>
                          </a:lnTo>
                          <a:lnTo>
                            <a:pt x="73" y="44"/>
                          </a:lnTo>
                          <a:lnTo>
                            <a:pt x="78" y="46"/>
                          </a:lnTo>
                          <a:lnTo>
                            <a:pt x="83" y="48"/>
                          </a:lnTo>
                          <a:lnTo>
                            <a:pt x="89" y="49"/>
                          </a:lnTo>
                          <a:lnTo>
                            <a:pt x="94" y="49"/>
                          </a:lnTo>
                          <a:lnTo>
                            <a:pt x="100" y="49"/>
                          </a:lnTo>
                          <a:lnTo>
                            <a:pt x="104" y="44"/>
                          </a:lnTo>
                          <a:lnTo>
                            <a:pt x="113" y="38"/>
                          </a:lnTo>
                          <a:lnTo>
                            <a:pt x="124" y="31"/>
                          </a:lnTo>
                          <a:lnTo>
                            <a:pt x="136" y="24"/>
                          </a:lnTo>
                          <a:lnTo>
                            <a:pt x="149" y="16"/>
                          </a:lnTo>
                          <a:lnTo>
                            <a:pt x="160" y="11"/>
                          </a:lnTo>
                          <a:lnTo>
                            <a:pt x="168" y="7"/>
                          </a:lnTo>
                          <a:lnTo>
                            <a:pt x="173" y="6"/>
                          </a:lnTo>
                          <a:lnTo>
                            <a:pt x="239" y="0"/>
                          </a:lnTo>
                          <a:lnTo>
                            <a:pt x="243" y="4"/>
                          </a:lnTo>
                          <a:lnTo>
                            <a:pt x="248" y="8"/>
                          </a:lnTo>
                          <a:lnTo>
                            <a:pt x="252" y="11"/>
                          </a:lnTo>
                          <a:lnTo>
                            <a:pt x="257" y="13"/>
                          </a:lnTo>
                          <a:lnTo>
                            <a:pt x="266" y="16"/>
                          </a:lnTo>
                          <a:lnTo>
                            <a:pt x="279" y="19"/>
                          </a:lnTo>
                          <a:lnTo>
                            <a:pt x="304" y="20"/>
                          </a:lnTo>
                          <a:lnTo>
                            <a:pt x="332" y="19"/>
                          </a:lnTo>
                          <a:lnTo>
                            <a:pt x="331" y="34"/>
                          </a:lnTo>
                          <a:lnTo>
                            <a:pt x="329" y="46"/>
                          </a:lnTo>
                          <a:lnTo>
                            <a:pt x="325" y="56"/>
                          </a:lnTo>
                          <a:lnTo>
                            <a:pt x="322" y="65"/>
                          </a:lnTo>
                          <a:lnTo>
                            <a:pt x="320" y="74"/>
                          </a:lnTo>
                          <a:lnTo>
                            <a:pt x="321" y="82"/>
                          </a:lnTo>
                          <a:lnTo>
                            <a:pt x="322" y="86"/>
                          </a:lnTo>
                          <a:lnTo>
                            <a:pt x="325" y="90"/>
                          </a:lnTo>
                          <a:lnTo>
                            <a:pt x="328" y="94"/>
                          </a:lnTo>
                          <a:lnTo>
                            <a:pt x="332" y="99"/>
                          </a:lnTo>
                        </a:path>
                      </a:pathLst>
                    </a:custGeom>
                    <a:grpFill/>
                    <a:ln w="9525" cap="flat" cmpd="sng">
                      <a:solidFill>
                        <a:schemeClr val="bg1"/>
                      </a:solidFill>
                      <a:prstDash val="solid"/>
                      <a:round/>
                      <a:headEnd type="none" w="med" len="med"/>
                      <a:tailEnd type="none" w="med" len="med"/>
                    </a:ln>
                    <a:effectLst/>
                  </p:spPr>
                  <p:txBody>
                    <a:bodyPr/>
                    <a:lstStyle/>
                    <a:p>
                      <a:endParaRPr lang="en-GB" sz="1637"/>
                    </a:p>
                  </p:txBody>
                </p:sp>
                <p:sp>
                  <p:nvSpPr>
                    <p:cNvPr id="503" name="Freeform 18"/>
                    <p:cNvSpPr>
                      <a:spLocks/>
                    </p:cNvSpPr>
                    <p:nvPr>
                      <p:custDataLst>
                        <p:tags r:id="rId332"/>
                      </p:custDataLst>
                    </p:nvPr>
                  </p:nvSpPr>
                  <p:spPr bwMode="auto">
                    <a:xfrm>
                      <a:off x="4104957" y="2499007"/>
                      <a:ext cx="36393" cy="93130"/>
                    </a:xfrm>
                    <a:custGeom>
                      <a:avLst/>
                      <a:gdLst>
                        <a:gd name="T0" fmla="*/ 0 w 79"/>
                        <a:gd name="T1" fmla="*/ 19090 h 160"/>
                        <a:gd name="T2" fmla="*/ 2532 w 79"/>
                        <a:gd name="T3" fmla="*/ 19090 h 160"/>
                        <a:gd name="T4" fmla="*/ 4642 w 79"/>
                        <a:gd name="T5" fmla="*/ 18574 h 160"/>
                        <a:gd name="T6" fmla="*/ 6752 w 79"/>
                        <a:gd name="T7" fmla="*/ 18058 h 160"/>
                        <a:gd name="T8" fmla="*/ 8018 w 79"/>
                        <a:gd name="T9" fmla="*/ 17026 h 160"/>
                        <a:gd name="T10" fmla="*/ 10972 w 79"/>
                        <a:gd name="T11" fmla="*/ 14446 h 160"/>
                        <a:gd name="T12" fmla="*/ 13082 w 79"/>
                        <a:gd name="T13" fmla="*/ 11351 h 160"/>
                        <a:gd name="T14" fmla="*/ 15614 w 79"/>
                        <a:gd name="T15" fmla="*/ 8255 h 160"/>
                        <a:gd name="T16" fmla="*/ 17302 w 79"/>
                        <a:gd name="T17" fmla="*/ 5159 h 160"/>
                        <a:gd name="T18" fmla="*/ 19412 w 79"/>
                        <a:gd name="T19" fmla="*/ 2580 h 160"/>
                        <a:gd name="T20" fmla="*/ 22366 w 79"/>
                        <a:gd name="T21" fmla="*/ 0 h 160"/>
                        <a:gd name="T22" fmla="*/ 24054 w 79"/>
                        <a:gd name="T23" fmla="*/ 1548 h 160"/>
                        <a:gd name="T24" fmla="*/ 26164 w 79"/>
                        <a:gd name="T25" fmla="*/ 3612 h 160"/>
                        <a:gd name="T26" fmla="*/ 27008 w 79"/>
                        <a:gd name="T27" fmla="*/ 5159 h 160"/>
                        <a:gd name="T28" fmla="*/ 27852 w 79"/>
                        <a:gd name="T29" fmla="*/ 7223 h 160"/>
                        <a:gd name="T30" fmla="*/ 29118 w 79"/>
                        <a:gd name="T31" fmla="*/ 11351 h 160"/>
                        <a:gd name="T32" fmla="*/ 30384 w 79"/>
                        <a:gd name="T33" fmla="*/ 16510 h 160"/>
                        <a:gd name="T34" fmla="*/ 30806 w 79"/>
                        <a:gd name="T35" fmla="*/ 20638 h 160"/>
                        <a:gd name="T36" fmla="*/ 31228 w 79"/>
                        <a:gd name="T37" fmla="*/ 25281 h 160"/>
                        <a:gd name="T38" fmla="*/ 32072 w 79"/>
                        <a:gd name="T39" fmla="*/ 29924 h 160"/>
                        <a:gd name="T40" fmla="*/ 33338 w 79"/>
                        <a:gd name="T41" fmla="*/ 34568 h 160"/>
                        <a:gd name="T42" fmla="*/ 33338 w 79"/>
                        <a:gd name="T43" fmla="*/ 50562 h 160"/>
                        <a:gd name="T44" fmla="*/ 28696 w 79"/>
                        <a:gd name="T45" fmla="*/ 59333 h 160"/>
                        <a:gd name="T46" fmla="*/ 24898 w 79"/>
                        <a:gd name="T47" fmla="*/ 66556 h 160"/>
                        <a:gd name="T48" fmla="*/ 22366 w 79"/>
                        <a:gd name="T49" fmla="*/ 70168 h 160"/>
                        <a:gd name="T50" fmla="*/ 21100 w 79"/>
                        <a:gd name="T51" fmla="*/ 74295 h 160"/>
                        <a:gd name="T52" fmla="*/ 20256 w 79"/>
                        <a:gd name="T53" fmla="*/ 77907 h 160"/>
                        <a:gd name="T54" fmla="*/ 19412 w 79"/>
                        <a:gd name="T55" fmla="*/ 82550 h 160"/>
                        <a:gd name="T56" fmla="*/ 16880 w 79"/>
                        <a:gd name="T57" fmla="*/ 79970 h 160"/>
                        <a:gd name="T58" fmla="*/ 13926 w 79"/>
                        <a:gd name="T59" fmla="*/ 77391 h 160"/>
                        <a:gd name="T60" fmla="*/ 11816 w 79"/>
                        <a:gd name="T61" fmla="*/ 74295 h 160"/>
                        <a:gd name="T62" fmla="*/ 9284 w 79"/>
                        <a:gd name="T63" fmla="*/ 70683 h 160"/>
                        <a:gd name="T64" fmla="*/ 7596 w 79"/>
                        <a:gd name="T65" fmla="*/ 67072 h 160"/>
                        <a:gd name="T66" fmla="*/ 6330 w 79"/>
                        <a:gd name="T67" fmla="*/ 63460 h 160"/>
                        <a:gd name="T68" fmla="*/ 4642 w 79"/>
                        <a:gd name="T69" fmla="*/ 59333 h 160"/>
                        <a:gd name="T70" fmla="*/ 3376 w 79"/>
                        <a:gd name="T71" fmla="*/ 55721 h 160"/>
                        <a:gd name="T72" fmla="*/ 1688 w 79"/>
                        <a:gd name="T73" fmla="*/ 46950 h 160"/>
                        <a:gd name="T74" fmla="*/ 422 w 79"/>
                        <a:gd name="T75" fmla="*/ 37663 h 160"/>
                        <a:gd name="T76" fmla="*/ 0 w 79"/>
                        <a:gd name="T77" fmla="*/ 28377 h 160"/>
                        <a:gd name="T78" fmla="*/ 0 w 79"/>
                        <a:gd name="T79" fmla="*/ 19090 h 16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79" h="160">
                          <a:moveTo>
                            <a:pt x="0" y="37"/>
                          </a:moveTo>
                          <a:lnTo>
                            <a:pt x="6" y="37"/>
                          </a:lnTo>
                          <a:lnTo>
                            <a:pt x="11" y="36"/>
                          </a:lnTo>
                          <a:lnTo>
                            <a:pt x="16" y="35"/>
                          </a:lnTo>
                          <a:lnTo>
                            <a:pt x="19" y="33"/>
                          </a:lnTo>
                          <a:lnTo>
                            <a:pt x="26" y="28"/>
                          </a:lnTo>
                          <a:lnTo>
                            <a:pt x="31" y="22"/>
                          </a:lnTo>
                          <a:lnTo>
                            <a:pt x="37" y="16"/>
                          </a:lnTo>
                          <a:lnTo>
                            <a:pt x="41" y="10"/>
                          </a:lnTo>
                          <a:lnTo>
                            <a:pt x="46" y="5"/>
                          </a:lnTo>
                          <a:lnTo>
                            <a:pt x="53" y="0"/>
                          </a:lnTo>
                          <a:lnTo>
                            <a:pt x="57" y="3"/>
                          </a:lnTo>
                          <a:lnTo>
                            <a:pt x="62" y="7"/>
                          </a:lnTo>
                          <a:lnTo>
                            <a:pt x="64" y="10"/>
                          </a:lnTo>
                          <a:lnTo>
                            <a:pt x="66" y="14"/>
                          </a:lnTo>
                          <a:lnTo>
                            <a:pt x="69" y="22"/>
                          </a:lnTo>
                          <a:lnTo>
                            <a:pt x="72" y="32"/>
                          </a:lnTo>
                          <a:lnTo>
                            <a:pt x="73" y="40"/>
                          </a:lnTo>
                          <a:lnTo>
                            <a:pt x="74" y="49"/>
                          </a:lnTo>
                          <a:lnTo>
                            <a:pt x="76" y="58"/>
                          </a:lnTo>
                          <a:lnTo>
                            <a:pt x="79" y="67"/>
                          </a:lnTo>
                          <a:lnTo>
                            <a:pt x="79" y="98"/>
                          </a:lnTo>
                          <a:lnTo>
                            <a:pt x="68" y="115"/>
                          </a:lnTo>
                          <a:lnTo>
                            <a:pt x="59" y="129"/>
                          </a:lnTo>
                          <a:lnTo>
                            <a:pt x="53" y="136"/>
                          </a:lnTo>
                          <a:lnTo>
                            <a:pt x="50" y="144"/>
                          </a:lnTo>
                          <a:lnTo>
                            <a:pt x="48" y="151"/>
                          </a:lnTo>
                          <a:lnTo>
                            <a:pt x="46" y="160"/>
                          </a:lnTo>
                          <a:lnTo>
                            <a:pt x="40" y="155"/>
                          </a:lnTo>
                          <a:lnTo>
                            <a:pt x="33" y="150"/>
                          </a:lnTo>
                          <a:lnTo>
                            <a:pt x="28" y="144"/>
                          </a:lnTo>
                          <a:lnTo>
                            <a:pt x="22" y="137"/>
                          </a:lnTo>
                          <a:lnTo>
                            <a:pt x="18" y="130"/>
                          </a:lnTo>
                          <a:lnTo>
                            <a:pt x="15" y="123"/>
                          </a:lnTo>
                          <a:lnTo>
                            <a:pt x="11" y="115"/>
                          </a:lnTo>
                          <a:lnTo>
                            <a:pt x="8" y="108"/>
                          </a:lnTo>
                          <a:lnTo>
                            <a:pt x="4" y="91"/>
                          </a:lnTo>
                          <a:lnTo>
                            <a:pt x="1" y="73"/>
                          </a:lnTo>
                          <a:lnTo>
                            <a:pt x="0" y="55"/>
                          </a:lnTo>
                          <a:lnTo>
                            <a:pt x="0" y="37"/>
                          </a:lnTo>
                        </a:path>
                      </a:pathLst>
                    </a:custGeom>
                    <a:grpFill/>
                    <a:ln w="9525" cap="flat" cmpd="sng">
                      <a:solidFill>
                        <a:schemeClr val="bg1"/>
                      </a:solidFill>
                      <a:prstDash val="solid"/>
                      <a:round/>
                      <a:headEnd type="none" w="med" len="med"/>
                      <a:tailEnd type="none" w="med" len="med"/>
                    </a:ln>
                    <a:effectLst/>
                  </p:spPr>
                  <p:txBody>
                    <a:bodyPr/>
                    <a:lstStyle/>
                    <a:p>
                      <a:endParaRPr lang="en-GB" sz="1637"/>
                    </a:p>
                  </p:txBody>
                </p:sp>
                <p:sp>
                  <p:nvSpPr>
                    <p:cNvPr id="504" name="Freeform 23"/>
                    <p:cNvSpPr>
                      <a:spLocks/>
                    </p:cNvSpPr>
                    <p:nvPr>
                      <p:custDataLst>
                        <p:tags r:id="rId333"/>
                      </p:custDataLst>
                    </p:nvPr>
                  </p:nvSpPr>
                  <p:spPr bwMode="auto">
                    <a:xfrm>
                      <a:off x="3673446" y="2413041"/>
                      <a:ext cx="306737" cy="279391"/>
                    </a:xfrm>
                    <a:custGeom>
                      <a:avLst/>
                      <a:gdLst>
                        <a:gd name="T0" fmla="*/ 176323 w 647"/>
                        <a:gd name="T1" fmla="*/ 14227 h 470"/>
                        <a:gd name="T2" fmla="*/ 185877 w 647"/>
                        <a:gd name="T3" fmla="*/ 23711 h 470"/>
                        <a:gd name="T4" fmla="*/ 198906 w 647"/>
                        <a:gd name="T5" fmla="*/ 31615 h 470"/>
                        <a:gd name="T6" fmla="*/ 222358 w 647"/>
                        <a:gd name="T7" fmla="*/ 41099 h 470"/>
                        <a:gd name="T8" fmla="*/ 233649 w 647"/>
                        <a:gd name="T9" fmla="*/ 42680 h 470"/>
                        <a:gd name="T10" fmla="*/ 244072 w 647"/>
                        <a:gd name="T11" fmla="*/ 52165 h 470"/>
                        <a:gd name="T12" fmla="*/ 246244 w 647"/>
                        <a:gd name="T13" fmla="*/ 51111 h 470"/>
                        <a:gd name="T14" fmla="*/ 249718 w 647"/>
                        <a:gd name="T15" fmla="*/ 44788 h 470"/>
                        <a:gd name="T16" fmla="*/ 253192 w 647"/>
                        <a:gd name="T17" fmla="*/ 41099 h 470"/>
                        <a:gd name="T18" fmla="*/ 261878 w 647"/>
                        <a:gd name="T19" fmla="*/ 42153 h 470"/>
                        <a:gd name="T20" fmla="*/ 270998 w 647"/>
                        <a:gd name="T21" fmla="*/ 41626 h 470"/>
                        <a:gd name="T22" fmla="*/ 277947 w 647"/>
                        <a:gd name="T23" fmla="*/ 44261 h 470"/>
                        <a:gd name="T24" fmla="*/ 280553 w 647"/>
                        <a:gd name="T25" fmla="*/ 54272 h 470"/>
                        <a:gd name="T26" fmla="*/ 280553 w 647"/>
                        <a:gd name="T27" fmla="*/ 64811 h 470"/>
                        <a:gd name="T28" fmla="*/ 268393 w 647"/>
                        <a:gd name="T29" fmla="*/ 69026 h 470"/>
                        <a:gd name="T30" fmla="*/ 254495 w 647"/>
                        <a:gd name="T31" fmla="*/ 76930 h 470"/>
                        <a:gd name="T32" fmla="*/ 243204 w 647"/>
                        <a:gd name="T33" fmla="*/ 86941 h 470"/>
                        <a:gd name="T34" fmla="*/ 218883 w 647"/>
                        <a:gd name="T35" fmla="*/ 112760 h 470"/>
                        <a:gd name="T36" fmla="*/ 212369 w 647"/>
                        <a:gd name="T37" fmla="*/ 119610 h 470"/>
                        <a:gd name="T38" fmla="*/ 205854 w 647"/>
                        <a:gd name="T39" fmla="*/ 133836 h 470"/>
                        <a:gd name="T40" fmla="*/ 205420 w 647"/>
                        <a:gd name="T41" fmla="*/ 148590 h 470"/>
                        <a:gd name="T42" fmla="*/ 205420 w 647"/>
                        <a:gd name="T43" fmla="*/ 163871 h 470"/>
                        <a:gd name="T44" fmla="*/ 201077 w 647"/>
                        <a:gd name="T45" fmla="*/ 179151 h 470"/>
                        <a:gd name="T46" fmla="*/ 195431 w 647"/>
                        <a:gd name="T47" fmla="*/ 186528 h 470"/>
                        <a:gd name="T48" fmla="*/ 178494 w 647"/>
                        <a:gd name="T49" fmla="*/ 202335 h 470"/>
                        <a:gd name="T50" fmla="*/ 166334 w 647"/>
                        <a:gd name="T51" fmla="*/ 216562 h 470"/>
                        <a:gd name="T52" fmla="*/ 162425 w 647"/>
                        <a:gd name="T53" fmla="*/ 223939 h 470"/>
                        <a:gd name="T54" fmla="*/ 160254 w 647"/>
                        <a:gd name="T55" fmla="*/ 227627 h 470"/>
                        <a:gd name="T56" fmla="*/ 134631 w 647"/>
                        <a:gd name="T57" fmla="*/ 226046 h 470"/>
                        <a:gd name="T58" fmla="*/ 111613 w 647"/>
                        <a:gd name="T59" fmla="*/ 228681 h 470"/>
                        <a:gd name="T60" fmla="*/ 97281 w 647"/>
                        <a:gd name="T61" fmla="*/ 235004 h 470"/>
                        <a:gd name="T62" fmla="*/ 83818 w 647"/>
                        <a:gd name="T63" fmla="*/ 246069 h 470"/>
                        <a:gd name="T64" fmla="*/ 77738 w 647"/>
                        <a:gd name="T65" fmla="*/ 247123 h 470"/>
                        <a:gd name="T66" fmla="*/ 73395 w 647"/>
                        <a:gd name="T67" fmla="*/ 242908 h 470"/>
                        <a:gd name="T68" fmla="*/ 66447 w 647"/>
                        <a:gd name="T69" fmla="*/ 227627 h 470"/>
                        <a:gd name="T70" fmla="*/ 60801 w 647"/>
                        <a:gd name="T71" fmla="*/ 218143 h 470"/>
                        <a:gd name="T72" fmla="*/ 52984 w 647"/>
                        <a:gd name="T73" fmla="*/ 210766 h 470"/>
                        <a:gd name="T74" fmla="*/ 49509 w 647"/>
                        <a:gd name="T75" fmla="*/ 199701 h 470"/>
                        <a:gd name="T76" fmla="*/ 54721 w 647"/>
                        <a:gd name="T77" fmla="*/ 177043 h 470"/>
                        <a:gd name="T78" fmla="*/ 55155 w 647"/>
                        <a:gd name="T79" fmla="*/ 140686 h 470"/>
                        <a:gd name="T80" fmla="*/ 63841 w 647"/>
                        <a:gd name="T81" fmla="*/ 108544 h 470"/>
                        <a:gd name="T82" fmla="*/ 72961 w 647"/>
                        <a:gd name="T83" fmla="*/ 78510 h 470"/>
                        <a:gd name="T84" fmla="*/ 74698 w 647"/>
                        <a:gd name="T85" fmla="*/ 69026 h 470"/>
                        <a:gd name="T86" fmla="*/ 50378 w 647"/>
                        <a:gd name="T87" fmla="*/ 64811 h 470"/>
                        <a:gd name="T88" fmla="*/ 26926 w 647"/>
                        <a:gd name="T89" fmla="*/ 57434 h 470"/>
                        <a:gd name="T90" fmla="*/ 7383 w 647"/>
                        <a:gd name="T91" fmla="*/ 49003 h 470"/>
                        <a:gd name="T92" fmla="*/ 0 w 647"/>
                        <a:gd name="T93" fmla="*/ 20023 h 470"/>
                        <a:gd name="T94" fmla="*/ 9989 w 647"/>
                        <a:gd name="T95" fmla="*/ 17915 h 470"/>
                        <a:gd name="T96" fmla="*/ 22149 w 647"/>
                        <a:gd name="T97" fmla="*/ 10538 h 470"/>
                        <a:gd name="T98" fmla="*/ 31703 w 647"/>
                        <a:gd name="T99" fmla="*/ 2108 h 470"/>
                        <a:gd name="T100" fmla="*/ 37349 w 647"/>
                        <a:gd name="T101" fmla="*/ 0 h 470"/>
                        <a:gd name="T102" fmla="*/ 57327 w 647"/>
                        <a:gd name="T103" fmla="*/ 3688 h 470"/>
                        <a:gd name="T104" fmla="*/ 74264 w 647"/>
                        <a:gd name="T105" fmla="*/ 8958 h 470"/>
                        <a:gd name="T106" fmla="*/ 90767 w 647"/>
                        <a:gd name="T107" fmla="*/ 10538 h 470"/>
                        <a:gd name="T108" fmla="*/ 102059 w 647"/>
                        <a:gd name="T109" fmla="*/ 15281 h 470"/>
                        <a:gd name="T110" fmla="*/ 112047 w 647"/>
                        <a:gd name="T111" fmla="*/ 19496 h 470"/>
                        <a:gd name="T112" fmla="*/ 167202 w 647"/>
                        <a:gd name="T113" fmla="*/ 13700 h 4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647" h="470">
                          <a:moveTo>
                            <a:pt x="399" y="14"/>
                          </a:moveTo>
                          <a:lnTo>
                            <a:pt x="402" y="20"/>
                          </a:lnTo>
                          <a:lnTo>
                            <a:pt x="406" y="27"/>
                          </a:lnTo>
                          <a:lnTo>
                            <a:pt x="413" y="33"/>
                          </a:lnTo>
                          <a:lnTo>
                            <a:pt x="421" y="39"/>
                          </a:lnTo>
                          <a:lnTo>
                            <a:pt x="428" y="45"/>
                          </a:lnTo>
                          <a:lnTo>
                            <a:pt x="438" y="51"/>
                          </a:lnTo>
                          <a:lnTo>
                            <a:pt x="448" y="56"/>
                          </a:lnTo>
                          <a:lnTo>
                            <a:pt x="458" y="60"/>
                          </a:lnTo>
                          <a:lnTo>
                            <a:pt x="480" y="70"/>
                          </a:lnTo>
                          <a:lnTo>
                            <a:pt x="501" y="76"/>
                          </a:lnTo>
                          <a:lnTo>
                            <a:pt x="512" y="78"/>
                          </a:lnTo>
                          <a:lnTo>
                            <a:pt x="521" y="80"/>
                          </a:lnTo>
                          <a:lnTo>
                            <a:pt x="530" y="81"/>
                          </a:lnTo>
                          <a:lnTo>
                            <a:pt x="538" y="81"/>
                          </a:lnTo>
                          <a:lnTo>
                            <a:pt x="548" y="88"/>
                          </a:lnTo>
                          <a:lnTo>
                            <a:pt x="561" y="99"/>
                          </a:lnTo>
                          <a:lnTo>
                            <a:pt x="562" y="99"/>
                          </a:lnTo>
                          <a:lnTo>
                            <a:pt x="564" y="99"/>
                          </a:lnTo>
                          <a:lnTo>
                            <a:pt x="566" y="98"/>
                          </a:lnTo>
                          <a:lnTo>
                            <a:pt x="567" y="97"/>
                          </a:lnTo>
                          <a:lnTo>
                            <a:pt x="570" y="93"/>
                          </a:lnTo>
                          <a:lnTo>
                            <a:pt x="572" y="89"/>
                          </a:lnTo>
                          <a:lnTo>
                            <a:pt x="575" y="85"/>
                          </a:lnTo>
                          <a:lnTo>
                            <a:pt x="578" y="81"/>
                          </a:lnTo>
                          <a:lnTo>
                            <a:pt x="580" y="79"/>
                          </a:lnTo>
                          <a:lnTo>
                            <a:pt x="583" y="78"/>
                          </a:lnTo>
                          <a:lnTo>
                            <a:pt x="590" y="80"/>
                          </a:lnTo>
                          <a:lnTo>
                            <a:pt x="596" y="80"/>
                          </a:lnTo>
                          <a:lnTo>
                            <a:pt x="603" y="80"/>
                          </a:lnTo>
                          <a:lnTo>
                            <a:pt x="609" y="80"/>
                          </a:lnTo>
                          <a:lnTo>
                            <a:pt x="617" y="79"/>
                          </a:lnTo>
                          <a:lnTo>
                            <a:pt x="624" y="79"/>
                          </a:lnTo>
                          <a:lnTo>
                            <a:pt x="631" y="80"/>
                          </a:lnTo>
                          <a:lnTo>
                            <a:pt x="638" y="81"/>
                          </a:lnTo>
                          <a:lnTo>
                            <a:pt x="640" y="84"/>
                          </a:lnTo>
                          <a:lnTo>
                            <a:pt x="642" y="89"/>
                          </a:lnTo>
                          <a:lnTo>
                            <a:pt x="645" y="95"/>
                          </a:lnTo>
                          <a:lnTo>
                            <a:pt x="646" y="103"/>
                          </a:lnTo>
                          <a:lnTo>
                            <a:pt x="647" y="111"/>
                          </a:lnTo>
                          <a:lnTo>
                            <a:pt x="647" y="118"/>
                          </a:lnTo>
                          <a:lnTo>
                            <a:pt x="646" y="123"/>
                          </a:lnTo>
                          <a:lnTo>
                            <a:pt x="645" y="124"/>
                          </a:lnTo>
                          <a:lnTo>
                            <a:pt x="631" y="127"/>
                          </a:lnTo>
                          <a:lnTo>
                            <a:pt x="618" y="131"/>
                          </a:lnTo>
                          <a:lnTo>
                            <a:pt x="607" y="135"/>
                          </a:lnTo>
                          <a:lnTo>
                            <a:pt x="596" y="140"/>
                          </a:lnTo>
                          <a:lnTo>
                            <a:pt x="586" y="146"/>
                          </a:lnTo>
                          <a:lnTo>
                            <a:pt x="577" y="152"/>
                          </a:lnTo>
                          <a:lnTo>
                            <a:pt x="569" y="158"/>
                          </a:lnTo>
                          <a:lnTo>
                            <a:pt x="560" y="165"/>
                          </a:lnTo>
                          <a:lnTo>
                            <a:pt x="533" y="191"/>
                          </a:lnTo>
                          <a:lnTo>
                            <a:pt x="512" y="210"/>
                          </a:lnTo>
                          <a:lnTo>
                            <a:pt x="504" y="214"/>
                          </a:lnTo>
                          <a:lnTo>
                            <a:pt x="499" y="218"/>
                          </a:lnTo>
                          <a:lnTo>
                            <a:pt x="493" y="222"/>
                          </a:lnTo>
                          <a:lnTo>
                            <a:pt x="489" y="227"/>
                          </a:lnTo>
                          <a:lnTo>
                            <a:pt x="481" y="236"/>
                          </a:lnTo>
                          <a:lnTo>
                            <a:pt x="477" y="245"/>
                          </a:lnTo>
                          <a:lnTo>
                            <a:pt x="474" y="254"/>
                          </a:lnTo>
                          <a:lnTo>
                            <a:pt x="473" y="263"/>
                          </a:lnTo>
                          <a:lnTo>
                            <a:pt x="472" y="272"/>
                          </a:lnTo>
                          <a:lnTo>
                            <a:pt x="473" y="282"/>
                          </a:lnTo>
                          <a:lnTo>
                            <a:pt x="473" y="292"/>
                          </a:lnTo>
                          <a:lnTo>
                            <a:pt x="474" y="301"/>
                          </a:lnTo>
                          <a:lnTo>
                            <a:pt x="473" y="311"/>
                          </a:lnTo>
                          <a:lnTo>
                            <a:pt x="472" y="320"/>
                          </a:lnTo>
                          <a:lnTo>
                            <a:pt x="469" y="330"/>
                          </a:lnTo>
                          <a:lnTo>
                            <a:pt x="463" y="340"/>
                          </a:lnTo>
                          <a:lnTo>
                            <a:pt x="460" y="345"/>
                          </a:lnTo>
                          <a:lnTo>
                            <a:pt x="456" y="349"/>
                          </a:lnTo>
                          <a:lnTo>
                            <a:pt x="450" y="354"/>
                          </a:lnTo>
                          <a:lnTo>
                            <a:pt x="445" y="358"/>
                          </a:lnTo>
                          <a:lnTo>
                            <a:pt x="426" y="372"/>
                          </a:lnTo>
                          <a:lnTo>
                            <a:pt x="411" y="384"/>
                          </a:lnTo>
                          <a:lnTo>
                            <a:pt x="399" y="394"/>
                          </a:lnTo>
                          <a:lnTo>
                            <a:pt x="390" y="404"/>
                          </a:lnTo>
                          <a:lnTo>
                            <a:pt x="383" y="411"/>
                          </a:lnTo>
                          <a:lnTo>
                            <a:pt x="379" y="417"/>
                          </a:lnTo>
                          <a:lnTo>
                            <a:pt x="376" y="422"/>
                          </a:lnTo>
                          <a:lnTo>
                            <a:pt x="374" y="425"/>
                          </a:lnTo>
                          <a:lnTo>
                            <a:pt x="373" y="430"/>
                          </a:lnTo>
                          <a:lnTo>
                            <a:pt x="373" y="432"/>
                          </a:lnTo>
                          <a:lnTo>
                            <a:pt x="369" y="432"/>
                          </a:lnTo>
                          <a:lnTo>
                            <a:pt x="358" y="432"/>
                          </a:lnTo>
                          <a:lnTo>
                            <a:pt x="333" y="430"/>
                          </a:lnTo>
                          <a:lnTo>
                            <a:pt x="310" y="429"/>
                          </a:lnTo>
                          <a:lnTo>
                            <a:pt x="290" y="429"/>
                          </a:lnTo>
                          <a:lnTo>
                            <a:pt x="272" y="431"/>
                          </a:lnTo>
                          <a:lnTo>
                            <a:pt x="257" y="434"/>
                          </a:lnTo>
                          <a:lnTo>
                            <a:pt x="245" y="437"/>
                          </a:lnTo>
                          <a:lnTo>
                            <a:pt x="234" y="441"/>
                          </a:lnTo>
                          <a:lnTo>
                            <a:pt x="224" y="446"/>
                          </a:lnTo>
                          <a:lnTo>
                            <a:pt x="209" y="456"/>
                          </a:lnTo>
                          <a:lnTo>
                            <a:pt x="198" y="464"/>
                          </a:lnTo>
                          <a:lnTo>
                            <a:pt x="193" y="467"/>
                          </a:lnTo>
                          <a:lnTo>
                            <a:pt x="189" y="469"/>
                          </a:lnTo>
                          <a:lnTo>
                            <a:pt x="183" y="470"/>
                          </a:lnTo>
                          <a:lnTo>
                            <a:pt x="179" y="469"/>
                          </a:lnTo>
                          <a:lnTo>
                            <a:pt x="176" y="468"/>
                          </a:lnTo>
                          <a:lnTo>
                            <a:pt x="172" y="465"/>
                          </a:lnTo>
                          <a:lnTo>
                            <a:pt x="169" y="461"/>
                          </a:lnTo>
                          <a:lnTo>
                            <a:pt x="166" y="456"/>
                          </a:lnTo>
                          <a:lnTo>
                            <a:pt x="159" y="444"/>
                          </a:lnTo>
                          <a:lnTo>
                            <a:pt x="153" y="432"/>
                          </a:lnTo>
                          <a:lnTo>
                            <a:pt x="148" y="426"/>
                          </a:lnTo>
                          <a:lnTo>
                            <a:pt x="144" y="420"/>
                          </a:lnTo>
                          <a:lnTo>
                            <a:pt x="140" y="414"/>
                          </a:lnTo>
                          <a:lnTo>
                            <a:pt x="134" y="409"/>
                          </a:lnTo>
                          <a:lnTo>
                            <a:pt x="129" y="404"/>
                          </a:lnTo>
                          <a:lnTo>
                            <a:pt x="122" y="400"/>
                          </a:lnTo>
                          <a:lnTo>
                            <a:pt x="114" y="397"/>
                          </a:lnTo>
                          <a:lnTo>
                            <a:pt x="107" y="396"/>
                          </a:lnTo>
                          <a:lnTo>
                            <a:pt x="114" y="379"/>
                          </a:lnTo>
                          <a:lnTo>
                            <a:pt x="121" y="365"/>
                          </a:lnTo>
                          <a:lnTo>
                            <a:pt x="124" y="351"/>
                          </a:lnTo>
                          <a:lnTo>
                            <a:pt x="126" y="336"/>
                          </a:lnTo>
                          <a:lnTo>
                            <a:pt x="126" y="309"/>
                          </a:lnTo>
                          <a:lnTo>
                            <a:pt x="126" y="278"/>
                          </a:lnTo>
                          <a:lnTo>
                            <a:pt x="127" y="267"/>
                          </a:lnTo>
                          <a:lnTo>
                            <a:pt x="132" y="250"/>
                          </a:lnTo>
                          <a:lnTo>
                            <a:pt x="138" y="229"/>
                          </a:lnTo>
                          <a:lnTo>
                            <a:pt x="147" y="206"/>
                          </a:lnTo>
                          <a:lnTo>
                            <a:pt x="155" y="184"/>
                          </a:lnTo>
                          <a:lnTo>
                            <a:pt x="163" y="163"/>
                          </a:lnTo>
                          <a:lnTo>
                            <a:pt x="168" y="149"/>
                          </a:lnTo>
                          <a:lnTo>
                            <a:pt x="172" y="143"/>
                          </a:lnTo>
                          <a:lnTo>
                            <a:pt x="172" y="137"/>
                          </a:lnTo>
                          <a:lnTo>
                            <a:pt x="172" y="131"/>
                          </a:lnTo>
                          <a:lnTo>
                            <a:pt x="153" y="130"/>
                          </a:lnTo>
                          <a:lnTo>
                            <a:pt x="135" y="127"/>
                          </a:lnTo>
                          <a:lnTo>
                            <a:pt x="116" y="123"/>
                          </a:lnTo>
                          <a:lnTo>
                            <a:pt x="99" y="118"/>
                          </a:lnTo>
                          <a:lnTo>
                            <a:pt x="80" y="113"/>
                          </a:lnTo>
                          <a:lnTo>
                            <a:pt x="62" y="109"/>
                          </a:lnTo>
                          <a:lnTo>
                            <a:pt x="42" y="106"/>
                          </a:lnTo>
                          <a:lnTo>
                            <a:pt x="20" y="105"/>
                          </a:lnTo>
                          <a:lnTo>
                            <a:pt x="17" y="93"/>
                          </a:lnTo>
                          <a:lnTo>
                            <a:pt x="10" y="72"/>
                          </a:lnTo>
                          <a:lnTo>
                            <a:pt x="3" y="50"/>
                          </a:lnTo>
                          <a:lnTo>
                            <a:pt x="0" y="38"/>
                          </a:lnTo>
                          <a:lnTo>
                            <a:pt x="8" y="37"/>
                          </a:lnTo>
                          <a:lnTo>
                            <a:pt x="15" y="36"/>
                          </a:lnTo>
                          <a:lnTo>
                            <a:pt x="23" y="34"/>
                          </a:lnTo>
                          <a:lnTo>
                            <a:pt x="29" y="32"/>
                          </a:lnTo>
                          <a:lnTo>
                            <a:pt x="41" y="26"/>
                          </a:lnTo>
                          <a:lnTo>
                            <a:pt x="51" y="20"/>
                          </a:lnTo>
                          <a:lnTo>
                            <a:pt x="59" y="13"/>
                          </a:lnTo>
                          <a:lnTo>
                            <a:pt x="68" y="7"/>
                          </a:lnTo>
                          <a:lnTo>
                            <a:pt x="73" y="4"/>
                          </a:lnTo>
                          <a:lnTo>
                            <a:pt x="77" y="2"/>
                          </a:lnTo>
                          <a:lnTo>
                            <a:pt x="81" y="1"/>
                          </a:lnTo>
                          <a:lnTo>
                            <a:pt x="86" y="0"/>
                          </a:lnTo>
                          <a:lnTo>
                            <a:pt x="102" y="1"/>
                          </a:lnTo>
                          <a:lnTo>
                            <a:pt x="118" y="3"/>
                          </a:lnTo>
                          <a:lnTo>
                            <a:pt x="132" y="7"/>
                          </a:lnTo>
                          <a:lnTo>
                            <a:pt x="145" y="11"/>
                          </a:lnTo>
                          <a:lnTo>
                            <a:pt x="158" y="14"/>
                          </a:lnTo>
                          <a:lnTo>
                            <a:pt x="171" y="17"/>
                          </a:lnTo>
                          <a:lnTo>
                            <a:pt x="185" y="19"/>
                          </a:lnTo>
                          <a:lnTo>
                            <a:pt x="199" y="20"/>
                          </a:lnTo>
                          <a:lnTo>
                            <a:pt x="209" y="20"/>
                          </a:lnTo>
                          <a:lnTo>
                            <a:pt x="217" y="22"/>
                          </a:lnTo>
                          <a:lnTo>
                            <a:pt x="226" y="25"/>
                          </a:lnTo>
                          <a:lnTo>
                            <a:pt x="235" y="29"/>
                          </a:lnTo>
                          <a:lnTo>
                            <a:pt x="243" y="32"/>
                          </a:lnTo>
                          <a:lnTo>
                            <a:pt x="250" y="35"/>
                          </a:lnTo>
                          <a:lnTo>
                            <a:pt x="258" y="37"/>
                          </a:lnTo>
                          <a:lnTo>
                            <a:pt x="266" y="38"/>
                          </a:lnTo>
                          <a:lnTo>
                            <a:pt x="372" y="38"/>
                          </a:lnTo>
                          <a:lnTo>
                            <a:pt x="385" y="26"/>
                          </a:lnTo>
                          <a:lnTo>
                            <a:pt x="399" y="14"/>
                          </a:lnTo>
                        </a:path>
                      </a:pathLst>
                    </a:custGeom>
                    <a:grpFill/>
                    <a:ln w="9525" cap="flat" cmpd="sng">
                      <a:solidFill>
                        <a:schemeClr val="bg1"/>
                      </a:solidFill>
                      <a:prstDash val="solid"/>
                      <a:round/>
                      <a:headEnd type="none" w="med" len="med"/>
                      <a:tailEnd type="none" w="med" len="med"/>
                    </a:ln>
                    <a:effectLst/>
                  </p:spPr>
                  <p:txBody>
                    <a:bodyPr/>
                    <a:lstStyle/>
                    <a:p>
                      <a:endParaRPr lang="en-GB" sz="1637"/>
                    </a:p>
                  </p:txBody>
                </p:sp>
                <p:sp>
                  <p:nvSpPr>
                    <p:cNvPr id="505" name="Freeform 230"/>
                    <p:cNvSpPr>
                      <a:spLocks/>
                    </p:cNvSpPr>
                    <p:nvPr>
                      <p:custDataLst>
                        <p:tags r:id="rId334"/>
                      </p:custDataLst>
                    </p:nvPr>
                  </p:nvSpPr>
                  <p:spPr bwMode="auto">
                    <a:xfrm>
                      <a:off x="3994046" y="2078130"/>
                      <a:ext cx="91848" cy="82384"/>
                    </a:xfrm>
                    <a:custGeom>
                      <a:avLst/>
                      <a:gdLst>
                        <a:gd name="T0" fmla="*/ 0 w 186"/>
                        <a:gd name="T1" fmla="*/ 57597 h 142"/>
                        <a:gd name="T2" fmla="*/ 905 w 186"/>
                        <a:gd name="T3" fmla="*/ 59654 h 142"/>
                        <a:gd name="T4" fmla="*/ 1357 w 186"/>
                        <a:gd name="T5" fmla="*/ 55026 h 142"/>
                        <a:gd name="T6" fmla="*/ 1357 w 186"/>
                        <a:gd name="T7" fmla="*/ 47826 h 142"/>
                        <a:gd name="T8" fmla="*/ 4071 w 186"/>
                        <a:gd name="T9" fmla="*/ 42169 h 142"/>
                        <a:gd name="T10" fmla="*/ 7690 w 186"/>
                        <a:gd name="T11" fmla="*/ 35484 h 142"/>
                        <a:gd name="T12" fmla="*/ 9047 w 186"/>
                        <a:gd name="T13" fmla="*/ 28799 h 142"/>
                        <a:gd name="T14" fmla="*/ 10404 w 186"/>
                        <a:gd name="T15" fmla="*/ 23656 h 142"/>
                        <a:gd name="T16" fmla="*/ 12666 w 186"/>
                        <a:gd name="T17" fmla="*/ 19028 h 142"/>
                        <a:gd name="T18" fmla="*/ 15832 w 186"/>
                        <a:gd name="T19" fmla="*/ 16456 h 142"/>
                        <a:gd name="T20" fmla="*/ 18547 w 186"/>
                        <a:gd name="T21" fmla="*/ 19542 h 142"/>
                        <a:gd name="T22" fmla="*/ 19451 w 186"/>
                        <a:gd name="T23" fmla="*/ 25199 h 142"/>
                        <a:gd name="T24" fmla="*/ 21261 w 186"/>
                        <a:gd name="T25" fmla="*/ 29827 h 142"/>
                        <a:gd name="T26" fmla="*/ 24880 w 186"/>
                        <a:gd name="T27" fmla="*/ 33427 h 142"/>
                        <a:gd name="T28" fmla="*/ 39355 w 186"/>
                        <a:gd name="T29" fmla="*/ 34455 h 142"/>
                        <a:gd name="T30" fmla="*/ 35736 w 186"/>
                        <a:gd name="T31" fmla="*/ 21085 h 142"/>
                        <a:gd name="T32" fmla="*/ 31212 w 186"/>
                        <a:gd name="T33" fmla="*/ 18513 h 142"/>
                        <a:gd name="T34" fmla="*/ 28498 w 186"/>
                        <a:gd name="T35" fmla="*/ 15428 h 142"/>
                        <a:gd name="T36" fmla="*/ 27594 w 186"/>
                        <a:gd name="T37" fmla="*/ 11828 h 142"/>
                        <a:gd name="T38" fmla="*/ 31665 w 186"/>
                        <a:gd name="T39" fmla="*/ 8742 h 142"/>
                        <a:gd name="T40" fmla="*/ 39355 w 186"/>
                        <a:gd name="T41" fmla="*/ 7200 h 142"/>
                        <a:gd name="T42" fmla="*/ 44331 w 186"/>
                        <a:gd name="T43" fmla="*/ 5143 h 142"/>
                        <a:gd name="T44" fmla="*/ 50211 w 186"/>
                        <a:gd name="T45" fmla="*/ 3086 h 142"/>
                        <a:gd name="T46" fmla="*/ 58806 w 186"/>
                        <a:gd name="T47" fmla="*/ 1543 h 142"/>
                        <a:gd name="T48" fmla="*/ 66496 w 186"/>
                        <a:gd name="T49" fmla="*/ 514 h 142"/>
                        <a:gd name="T50" fmla="*/ 71924 w 186"/>
                        <a:gd name="T51" fmla="*/ 1029 h 142"/>
                        <a:gd name="T52" fmla="*/ 79614 w 186"/>
                        <a:gd name="T53" fmla="*/ 514 h 142"/>
                        <a:gd name="T54" fmla="*/ 82781 w 186"/>
                        <a:gd name="T55" fmla="*/ 5143 h 142"/>
                        <a:gd name="T56" fmla="*/ 80519 w 186"/>
                        <a:gd name="T57" fmla="*/ 13371 h 142"/>
                        <a:gd name="T58" fmla="*/ 76448 w 186"/>
                        <a:gd name="T59" fmla="*/ 20570 h 142"/>
                        <a:gd name="T60" fmla="*/ 71924 w 186"/>
                        <a:gd name="T61" fmla="*/ 26227 h 142"/>
                        <a:gd name="T62" fmla="*/ 70115 w 186"/>
                        <a:gd name="T63" fmla="*/ 32398 h 142"/>
                        <a:gd name="T64" fmla="*/ 69210 w 186"/>
                        <a:gd name="T65" fmla="*/ 39084 h 142"/>
                        <a:gd name="T66" fmla="*/ 54283 w 186"/>
                        <a:gd name="T67" fmla="*/ 73025 h 142"/>
                        <a:gd name="T68" fmla="*/ 36188 w 186"/>
                        <a:gd name="T69" fmla="*/ 62740 h 142"/>
                        <a:gd name="T70" fmla="*/ 15832 w 186"/>
                        <a:gd name="T71" fmla="*/ 60168 h 142"/>
                        <a:gd name="T72" fmla="*/ 3619 w 186"/>
                        <a:gd name="T73" fmla="*/ 58111 h 14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86" h="142">
                          <a:moveTo>
                            <a:pt x="0" y="111"/>
                          </a:moveTo>
                          <a:lnTo>
                            <a:pt x="0" y="112"/>
                          </a:lnTo>
                          <a:lnTo>
                            <a:pt x="1" y="114"/>
                          </a:lnTo>
                          <a:lnTo>
                            <a:pt x="2" y="116"/>
                          </a:lnTo>
                          <a:lnTo>
                            <a:pt x="7" y="117"/>
                          </a:lnTo>
                          <a:lnTo>
                            <a:pt x="3" y="107"/>
                          </a:lnTo>
                          <a:lnTo>
                            <a:pt x="2" y="99"/>
                          </a:lnTo>
                          <a:lnTo>
                            <a:pt x="3" y="93"/>
                          </a:lnTo>
                          <a:lnTo>
                            <a:pt x="6" y="87"/>
                          </a:lnTo>
                          <a:lnTo>
                            <a:pt x="9" y="82"/>
                          </a:lnTo>
                          <a:lnTo>
                            <a:pt x="13" y="76"/>
                          </a:lnTo>
                          <a:lnTo>
                            <a:pt x="17" y="69"/>
                          </a:lnTo>
                          <a:lnTo>
                            <a:pt x="20" y="61"/>
                          </a:lnTo>
                          <a:lnTo>
                            <a:pt x="20" y="56"/>
                          </a:lnTo>
                          <a:lnTo>
                            <a:pt x="21" y="51"/>
                          </a:lnTo>
                          <a:lnTo>
                            <a:pt x="23" y="46"/>
                          </a:lnTo>
                          <a:lnTo>
                            <a:pt x="25" y="42"/>
                          </a:lnTo>
                          <a:lnTo>
                            <a:pt x="28" y="37"/>
                          </a:lnTo>
                          <a:lnTo>
                            <a:pt x="31" y="34"/>
                          </a:lnTo>
                          <a:lnTo>
                            <a:pt x="35" y="32"/>
                          </a:lnTo>
                          <a:lnTo>
                            <a:pt x="40" y="31"/>
                          </a:lnTo>
                          <a:lnTo>
                            <a:pt x="41" y="38"/>
                          </a:lnTo>
                          <a:lnTo>
                            <a:pt x="41" y="43"/>
                          </a:lnTo>
                          <a:lnTo>
                            <a:pt x="43" y="49"/>
                          </a:lnTo>
                          <a:lnTo>
                            <a:pt x="45" y="54"/>
                          </a:lnTo>
                          <a:lnTo>
                            <a:pt x="47" y="58"/>
                          </a:lnTo>
                          <a:lnTo>
                            <a:pt x="51" y="62"/>
                          </a:lnTo>
                          <a:lnTo>
                            <a:pt x="55" y="65"/>
                          </a:lnTo>
                          <a:lnTo>
                            <a:pt x="59" y="67"/>
                          </a:lnTo>
                          <a:lnTo>
                            <a:pt x="87" y="67"/>
                          </a:lnTo>
                          <a:lnTo>
                            <a:pt x="87" y="43"/>
                          </a:lnTo>
                          <a:lnTo>
                            <a:pt x="79" y="41"/>
                          </a:lnTo>
                          <a:lnTo>
                            <a:pt x="74" y="38"/>
                          </a:lnTo>
                          <a:lnTo>
                            <a:pt x="69" y="36"/>
                          </a:lnTo>
                          <a:lnTo>
                            <a:pt x="66" y="33"/>
                          </a:lnTo>
                          <a:lnTo>
                            <a:pt x="63" y="30"/>
                          </a:lnTo>
                          <a:lnTo>
                            <a:pt x="62" y="27"/>
                          </a:lnTo>
                          <a:lnTo>
                            <a:pt x="61" y="23"/>
                          </a:lnTo>
                          <a:lnTo>
                            <a:pt x="59" y="18"/>
                          </a:lnTo>
                          <a:lnTo>
                            <a:pt x="70" y="17"/>
                          </a:lnTo>
                          <a:lnTo>
                            <a:pt x="79" y="16"/>
                          </a:lnTo>
                          <a:lnTo>
                            <a:pt x="87" y="14"/>
                          </a:lnTo>
                          <a:lnTo>
                            <a:pt x="92" y="12"/>
                          </a:lnTo>
                          <a:lnTo>
                            <a:pt x="98" y="10"/>
                          </a:lnTo>
                          <a:lnTo>
                            <a:pt x="103" y="8"/>
                          </a:lnTo>
                          <a:lnTo>
                            <a:pt x="111" y="6"/>
                          </a:lnTo>
                          <a:lnTo>
                            <a:pt x="120" y="6"/>
                          </a:lnTo>
                          <a:lnTo>
                            <a:pt x="130" y="3"/>
                          </a:lnTo>
                          <a:lnTo>
                            <a:pt x="140" y="0"/>
                          </a:lnTo>
                          <a:lnTo>
                            <a:pt x="147" y="1"/>
                          </a:lnTo>
                          <a:lnTo>
                            <a:pt x="154" y="2"/>
                          </a:lnTo>
                          <a:lnTo>
                            <a:pt x="159" y="2"/>
                          </a:lnTo>
                          <a:lnTo>
                            <a:pt x="165" y="2"/>
                          </a:lnTo>
                          <a:lnTo>
                            <a:pt x="176" y="1"/>
                          </a:lnTo>
                          <a:lnTo>
                            <a:pt x="186" y="0"/>
                          </a:lnTo>
                          <a:lnTo>
                            <a:pt x="183" y="10"/>
                          </a:lnTo>
                          <a:lnTo>
                            <a:pt x="181" y="19"/>
                          </a:lnTo>
                          <a:lnTo>
                            <a:pt x="178" y="26"/>
                          </a:lnTo>
                          <a:lnTo>
                            <a:pt x="176" y="32"/>
                          </a:lnTo>
                          <a:lnTo>
                            <a:pt x="169" y="40"/>
                          </a:lnTo>
                          <a:lnTo>
                            <a:pt x="165" y="45"/>
                          </a:lnTo>
                          <a:lnTo>
                            <a:pt x="159" y="51"/>
                          </a:lnTo>
                          <a:lnTo>
                            <a:pt x="156" y="58"/>
                          </a:lnTo>
                          <a:lnTo>
                            <a:pt x="155" y="63"/>
                          </a:lnTo>
                          <a:lnTo>
                            <a:pt x="154" y="69"/>
                          </a:lnTo>
                          <a:lnTo>
                            <a:pt x="153" y="76"/>
                          </a:lnTo>
                          <a:lnTo>
                            <a:pt x="153" y="86"/>
                          </a:lnTo>
                          <a:lnTo>
                            <a:pt x="120" y="142"/>
                          </a:lnTo>
                          <a:lnTo>
                            <a:pt x="93" y="123"/>
                          </a:lnTo>
                          <a:lnTo>
                            <a:pt x="80" y="122"/>
                          </a:lnTo>
                          <a:lnTo>
                            <a:pt x="52" y="119"/>
                          </a:lnTo>
                          <a:lnTo>
                            <a:pt x="35" y="117"/>
                          </a:lnTo>
                          <a:lnTo>
                            <a:pt x="20" y="115"/>
                          </a:lnTo>
                          <a:lnTo>
                            <a:pt x="8" y="113"/>
                          </a:lnTo>
                          <a:lnTo>
                            <a:pt x="0" y="111"/>
                          </a:lnTo>
                        </a:path>
                      </a:pathLst>
                    </a:custGeom>
                    <a:grpFill/>
                    <a:ln w="9525" cap="flat" cmpd="sng">
                      <a:solidFill>
                        <a:schemeClr val="bg1"/>
                      </a:solidFill>
                      <a:prstDash val="solid"/>
                      <a:round/>
                      <a:headEnd type="none" w="med" len="med"/>
                      <a:tailEnd type="none" w="med" len="med"/>
                    </a:ln>
                    <a:effectLst/>
                  </p:spPr>
                  <p:txBody>
                    <a:bodyPr/>
                    <a:lstStyle/>
                    <a:p>
                      <a:endParaRPr lang="en-GB" sz="1637"/>
                    </a:p>
                  </p:txBody>
                </p:sp>
                <p:sp>
                  <p:nvSpPr>
                    <p:cNvPr id="506" name="Freeform 231"/>
                    <p:cNvSpPr>
                      <a:spLocks/>
                    </p:cNvSpPr>
                    <p:nvPr>
                      <p:custDataLst>
                        <p:tags r:id="rId335"/>
                      </p:custDataLst>
                    </p:nvPr>
                  </p:nvSpPr>
                  <p:spPr bwMode="auto">
                    <a:xfrm>
                      <a:off x="3973250" y="2149768"/>
                      <a:ext cx="91848" cy="64475"/>
                    </a:xfrm>
                    <a:custGeom>
                      <a:avLst/>
                      <a:gdLst>
                        <a:gd name="T0" fmla="*/ 84138 w 192"/>
                        <a:gd name="T1" fmla="*/ 33201 h 105"/>
                        <a:gd name="T2" fmla="*/ 82823 w 192"/>
                        <a:gd name="T3" fmla="*/ 33746 h 105"/>
                        <a:gd name="T4" fmla="*/ 80632 w 192"/>
                        <a:gd name="T5" fmla="*/ 34290 h 105"/>
                        <a:gd name="T6" fmla="*/ 78879 w 192"/>
                        <a:gd name="T7" fmla="*/ 34834 h 105"/>
                        <a:gd name="T8" fmla="*/ 77565 w 192"/>
                        <a:gd name="T9" fmla="*/ 36467 h 105"/>
                        <a:gd name="T10" fmla="*/ 73621 w 192"/>
                        <a:gd name="T11" fmla="*/ 39189 h 105"/>
                        <a:gd name="T12" fmla="*/ 70115 w 192"/>
                        <a:gd name="T13" fmla="*/ 42999 h 105"/>
                        <a:gd name="T14" fmla="*/ 67486 w 192"/>
                        <a:gd name="T15" fmla="*/ 46809 h 105"/>
                        <a:gd name="T16" fmla="*/ 64418 w 192"/>
                        <a:gd name="T17" fmla="*/ 50619 h 105"/>
                        <a:gd name="T18" fmla="*/ 62665 w 192"/>
                        <a:gd name="T19" fmla="*/ 53884 h 105"/>
                        <a:gd name="T20" fmla="*/ 60912 w 192"/>
                        <a:gd name="T21" fmla="*/ 57150 h 105"/>
                        <a:gd name="T22" fmla="*/ 52586 w 192"/>
                        <a:gd name="T23" fmla="*/ 52796 h 105"/>
                        <a:gd name="T24" fmla="*/ 44698 w 192"/>
                        <a:gd name="T25" fmla="*/ 48441 h 105"/>
                        <a:gd name="T26" fmla="*/ 37687 w 192"/>
                        <a:gd name="T27" fmla="*/ 43543 h 105"/>
                        <a:gd name="T28" fmla="*/ 30237 w 192"/>
                        <a:gd name="T29" fmla="*/ 38644 h 105"/>
                        <a:gd name="T30" fmla="*/ 23226 w 192"/>
                        <a:gd name="T31" fmla="*/ 33201 h 105"/>
                        <a:gd name="T32" fmla="*/ 15776 w 192"/>
                        <a:gd name="T33" fmla="*/ 28847 h 105"/>
                        <a:gd name="T34" fmla="*/ 8326 w 192"/>
                        <a:gd name="T35" fmla="*/ 23949 h 105"/>
                        <a:gd name="T36" fmla="*/ 0 w 192"/>
                        <a:gd name="T37" fmla="*/ 20139 h 105"/>
                        <a:gd name="T38" fmla="*/ 0 w 192"/>
                        <a:gd name="T39" fmla="*/ 7076 h 105"/>
                        <a:gd name="T40" fmla="*/ 3068 w 192"/>
                        <a:gd name="T41" fmla="*/ 3810 h 105"/>
                        <a:gd name="T42" fmla="*/ 7012 w 192"/>
                        <a:gd name="T43" fmla="*/ 2177 h 105"/>
                        <a:gd name="T44" fmla="*/ 12708 w 192"/>
                        <a:gd name="T45" fmla="*/ 544 h 105"/>
                        <a:gd name="T46" fmla="*/ 17529 w 192"/>
                        <a:gd name="T47" fmla="*/ 0 h 105"/>
                        <a:gd name="T48" fmla="*/ 26293 w 192"/>
                        <a:gd name="T49" fmla="*/ 1089 h 105"/>
                        <a:gd name="T50" fmla="*/ 40754 w 192"/>
                        <a:gd name="T51" fmla="*/ 2721 h 105"/>
                        <a:gd name="T52" fmla="*/ 48642 w 192"/>
                        <a:gd name="T53" fmla="*/ 3810 h 105"/>
                        <a:gd name="T54" fmla="*/ 56092 w 192"/>
                        <a:gd name="T55" fmla="*/ 3810 h 105"/>
                        <a:gd name="T56" fmla="*/ 62665 w 192"/>
                        <a:gd name="T57" fmla="*/ 3810 h 105"/>
                        <a:gd name="T58" fmla="*/ 67047 w 192"/>
                        <a:gd name="T59" fmla="*/ 3266 h 105"/>
                        <a:gd name="T60" fmla="*/ 67924 w 192"/>
                        <a:gd name="T61" fmla="*/ 5987 h 105"/>
                        <a:gd name="T62" fmla="*/ 69677 w 192"/>
                        <a:gd name="T63" fmla="*/ 9253 h 105"/>
                        <a:gd name="T64" fmla="*/ 70553 w 192"/>
                        <a:gd name="T65" fmla="*/ 10886 h 105"/>
                        <a:gd name="T66" fmla="*/ 71868 w 192"/>
                        <a:gd name="T67" fmla="*/ 12519 h 105"/>
                        <a:gd name="T68" fmla="*/ 72306 w 192"/>
                        <a:gd name="T69" fmla="*/ 14696 h 105"/>
                        <a:gd name="T70" fmla="*/ 72744 w 192"/>
                        <a:gd name="T71" fmla="*/ 16873 h 105"/>
                        <a:gd name="T72" fmla="*/ 74497 w 192"/>
                        <a:gd name="T73" fmla="*/ 17417 h 105"/>
                        <a:gd name="T74" fmla="*/ 77565 w 192"/>
                        <a:gd name="T75" fmla="*/ 17961 h 105"/>
                        <a:gd name="T76" fmla="*/ 78879 w 192"/>
                        <a:gd name="T77" fmla="*/ 18506 h 105"/>
                        <a:gd name="T78" fmla="*/ 80194 w 192"/>
                        <a:gd name="T79" fmla="*/ 18506 h 105"/>
                        <a:gd name="T80" fmla="*/ 82385 w 192"/>
                        <a:gd name="T81" fmla="*/ 17961 h 105"/>
                        <a:gd name="T82" fmla="*/ 84138 w 192"/>
                        <a:gd name="T83" fmla="*/ 16873 h 105"/>
                        <a:gd name="T84" fmla="*/ 84138 w 192"/>
                        <a:gd name="T85" fmla="*/ 33201 h 10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92" h="105">
                          <a:moveTo>
                            <a:pt x="192" y="61"/>
                          </a:moveTo>
                          <a:lnTo>
                            <a:pt x="189" y="62"/>
                          </a:lnTo>
                          <a:lnTo>
                            <a:pt x="184" y="63"/>
                          </a:lnTo>
                          <a:lnTo>
                            <a:pt x="180" y="64"/>
                          </a:lnTo>
                          <a:lnTo>
                            <a:pt x="177" y="67"/>
                          </a:lnTo>
                          <a:lnTo>
                            <a:pt x="168" y="72"/>
                          </a:lnTo>
                          <a:lnTo>
                            <a:pt x="160" y="79"/>
                          </a:lnTo>
                          <a:lnTo>
                            <a:pt x="154" y="86"/>
                          </a:lnTo>
                          <a:lnTo>
                            <a:pt x="147" y="93"/>
                          </a:lnTo>
                          <a:lnTo>
                            <a:pt x="143" y="99"/>
                          </a:lnTo>
                          <a:lnTo>
                            <a:pt x="139" y="105"/>
                          </a:lnTo>
                          <a:lnTo>
                            <a:pt x="120" y="97"/>
                          </a:lnTo>
                          <a:lnTo>
                            <a:pt x="102" y="89"/>
                          </a:lnTo>
                          <a:lnTo>
                            <a:pt x="86" y="80"/>
                          </a:lnTo>
                          <a:lnTo>
                            <a:pt x="69" y="71"/>
                          </a:lnTo>
                          <a:lnTo>
                            <a:pt x="53" y="61"/>
                          </a:lnTo>
                          <a:lnTo>
                            <a:pt x="36" y="53"/>
                          </a:lnTo>
                          <a:lnTo>
                            <a:pt x="19" y="44"/>
                          </a:lnTo>
                          <a:lnTo>
                            <a:pt x="0" y="37"/>
                          </a:lnTo>
                          <a:lnTo>
                            <a:pt x="0" y="13"/>
                          </a:lnTo>
                          <a:lnTo>
                            <a:pt x="7" y="7"/>
                          </a:lnTo>
                          <a:lnTo>
                            <a:pt x="16" y="4"/>
                          </a:lnTo>
                          <a:lnTo>
                            <a:pt x="29" y="1"/>
                          </a:lnTo>
                          <a:lnTo>
                            <a:pt x="40" y="0"/>
                          </a:lnTo>
                          <a:lnTo>
                            <a:pt x="60" y="2"/>
                          </a:lnTo>
                          <a:lnTo>
                            <a:pt x="93" y="5"/>
                          </a:lnTo>
                          <a:lnTo>
                            <a:pt x="111" y="7"/>
                          </a:lnTo>
                          <a:lnTo>
                            <a:pt x="128" y="7"/>
                          </a:lnTo>
                          <a:lnTo>
                            <a:pt x="143" y="7"/>
                          </a:lnTo>
                          <a:lnTo>
                            <a:pt x="153" y="6"/>
                          </a:lnTo>
                          <a:lnTo>
                            <a:pt x="155" y="11"/>
                          </a:lnTo>
                          <a:lnTo>
                            <a:pt x="159" y="17"/>
                          </a:lnTo>
                          <a:lnTo>
                            <a:pt x="161" y="20"/>
                          </a:lnTo>
                          <a:lnTo>
                            <a:pt x="164" y="23"/>
                          </a:lnTo>
                          <a:lnTo>
                            <a:pt x="165" y="27"/>
                          </a:lnTo>
                          <a:lnTo>
                            <a:pt x="166" y="31"/>
                          </a:lnTo>
                          <a:lnTo>
                            <a:pt x="170" y="32"/>
                          </a:lnTo>
                          <a:lnTo>
                            <a:pt x="177" y="33"/>
                          </a:lnTo>
                          <a:lnTo>
                            <a:pt x="180" y="34"/>
                          </a:lnTo>
                          <a:lnTo>
                            <a:pt x="183" y="34"/>
                          </a:lnTo>
                          <a:lnTo>
                            <a:pt x="188" y="33"/>
                          </a:lnTo>
                          <a:lnTo>
                            <a:pt x="192" y="31"/>
                          </a:lnTo>
                          <a:lnTo>
                            <a:pt x="192" y="61"/>
                          </a:lnTo>
                        </a:path>
                      </a:pathLst>
                    </a:custGeom>
                    <a:grpFill/>
                    <a:ln w="9525" cap="flat" cmpd="sng">
                      <a:solidFill>
                        <a:schemeClr val="bg1"/>
                      </a:solidFill>
                      <a:prstDash val="solid"/>
                      <a:round/>
                      <a:headEnd type="none" w="med" len="med"/>
                      <a:tailEnd type="none" w="med" len="med"/>
                    </a:ln>
                    <a:effectLst/>
                  </p:spPr>
                  <p:txBody>
                    <a:bodyPr/>
                    <a:lstStyle/>
                    <a:p>
                      <a:endParaRPr lang="en-GB" sz="1637"/>
                    </a:p>
                  </p:txBody>
                </p:sp>
                <p:sp>
                  <p:nvSpPr>
                    <p:cNvPr id="507" name="Freeform 234"/>
                    <p:cNvSpPr>
                      <a:spLocks/>
                    </p:cNvSpPr>
                    <p:nvPr>
                      <p:custDataLst>
                        <p:tags r:id="rId336"/>
                      </p:custDataLst>
                    </p:nvPr>
                  </p:nvSpPr>
                  <p:spPr bwMode="auto">
                    <a:xfrm>
                      <a:off x="3657848" y="1992163"/>
                      <a:ext cx="105712" cy="162978"/>
                    </a:xfrm>
                    <a:custGeom>
                      <a:avLst/>
                      <a:gdLst>
                        <a:gd name="T0" fmla="*/ 79622 w 225"/>
                        <a:gd name="T1" fmla="*/ 35454 h 273"/>
                        <a:gd name="T2" fmla="*/ 74458 w 225"/>
                        <a:gd name="T3" fmla="*/ 41275 h 273"/>
                        <a:gd name="T4" fmla="*/ 68432 w 225"/>
                        <a:gd name="T5" fmla="*/ 43392 h 273"/>
                        <a:gd name="T6" fmla="*/ 70154 w 225"/>
                        <a:gd name="T7" fmla="*/ 49213 h 273"/>
                        <a:gd name="T8" fmla="*/ 74888 w 225"/>
                        <a:gd name="T9" fmla="*/ 53446 h 273"/>
                        <a:gd name="T10" fmla="*/ 83926 w 225"/>
                        <a:gd name="T11" fmla="*/ 55563 h 273"/>
                        <a:gd name="T12" fmla="*/ 96838 w 225"/>
                        <a:gd name="T13" fmla="*/ 56092 h 273"/>
                        <a:gd name="T14" fmla="*/ 96838 w 225"/>
                        <a:gd name="T15" fmla="*/ 80434 h 273"/>
                        <a:gd name="T16" fmla="*/ 96408 w 225"/>
                        <a:gd name="T17" fmla="*/ 93134 h 273"/>
                        <a:gd name="T18" fmla="*/ 92534 w 225"/>
                        <a:gd name="T19" fmla="*/ 98955 h 273"/>
                        <a:gd name="T20" fmla="*/ 84787 w 225"/>
                        <a:gd name="T21" fmla="*/ 108480 h 273"/>
                        <a:gd name="T22" fmla="*/ 82635 w 225"/>
                        <a:gd name="T23" fmla="*/ 113242 h 273"/>
                        <a:gd name="T24" fmla="*/ 77040 w 225"/>
                        <a:gd name="T25" fmla="*/ 115359 h 273"/>
                        <a:gd name="T26" fmla="*/ 70584 w 225"/>
                        <a:gd name="T27" fmla="*/ 119063 h 273"/>
                        <a:gd name="T28" fmla="*/ 68432 w 225"/>
                        <a:gd name="T29" fmla="*/ 124884 h 273"/>
                        <a:gd name="T30" fmla="*/ 60255 w 225"/>
                        <a:gd name="T31" fmla="*/ 128059 h 273"/>
                        <a:gd name="T32" fmla="*/ 55090 w 225"/>
                        <a:gd name="T33" fmla="*/ 133350 h 273"/>
                        <a:gd name="T34" fmla="*/ 43470 w 225"/>
                        <a:gd name="T35" fmla="*/ 134938 h 273"/>
                        <a:gd name="T36" fmla="*/ 25823 w 225"/>
                        <a:gd name="T37" fmla="*/ 138113 h 273"/>
                        <a:gd name="T38" fmla="*/ 8177 w 225"/>
                        <a:gd name="T39" fmla="*/ 138113 h 273"/>
                        <a:gd name="T40" fmla="*/ 0 w 225"/>
                        <a:gd name="T41" fmla="*/ 114830 h 273"/>
                        <a:gd name="T42" fmla="*/ 9038 w 225"/>
                        <a:gd name="T43" fmla="*/ 112184 h 273"/>
                        <a:gd name="T44" fmla="*/ 11190 w 225"/>
                        <a:gd name="T45" fmla="*/ 108480 h 273"/>
                        <a:gd name="T46" fmla="*/ 25823 w 225"/>
                        <a:gd name="T47" fmla="*/ 106892 h 273"/>
                        <a:gd name="T48" fmla="*/ 30988 w 225"/>
                        <a:gd name="T49" fmla="*/ 102130 h 273"/>
                        <a:gd name="T50" fmla="*/ 20659 w 225"/>
                        <a:gd name="T51" fmla="*/ 104775 h 273"/>
                        <a:gd name="T52" fmla="*/ 17216 w 225"/>
                        <a:gd name="T53" fmla="*/ 104246 h 273"/>
                        <a:gd name="T54" fmla="*/ 16785 w 225"/>
                        <a:gd name="T55" fmla="*/ 99484 h 273"/>
                        <a:gd name="T56" fmla="*/ 19798 w 225"/>
                        <a:gd name="T57" fmla="*/ 91546 h 273"/>
                        <a:gd name="T58" fmla="*/ 16785 w 225"/>
                        <a:gd name="T59" fmla="*/ 84667 h 273"/>
                        <a:gd name="T60" fmla="*/ 6025 w 225"/>
                        <a:gd name="T61" fmla="*/ 79375 h 273"/>
                        <a:gd name="T62" fmla="*/ 2582 w 225"/>
                        <a:gd name="T63" fmla="*/ 68792 h 273"/>
                        <a:gd name="T64" fmla="*/ 9469 w 225"/>
                        <a:gd name="T65" fmla="*/ 60854 h 273"/>
                        <a:gd name="T66" fmla="*/ 15064 w 225"/>
                        <a:gd name="T67" fmla="*/ 53975 h 273"/>
                        <a:gd name="T68" fmla="*/ 29267 w 225"/>
                        <a:gd name="T69" fmla="*/ 49742 h 273"/>
                        <a:gd name="T70" fmla="*/ 38735 w 225"/>
                        <a:gd name="T71" fmla="*/ 49742 h 273"/>
                        <a:gd name="T72" fmla="*/ 43039 w 225"/>
                        <a:gd name="T73" fmla="*/ 46567 h 273"/>
                        <a:gd name="T74" fmla="*/ 46482 w 225"/>
                        <a:gd name="T75" fmla="*/ 27517 h 273"/>
                        <a:gd name="T76" fmla="*/ 51647 w 225"/>
                        <a:gd name="T77" fmla="*/ 16404 h 273"/>
                        <a:gd name="T78" fmla="*/ 55951 w 225"/>
                        <a:gd name="T79" fmla="*/ 10583 h 273"/>
                        <a:gd name="T80" fmla="*/ 60685 w 225"/>
                        <a:gd name="T81" fmla="*/ 3704 h 273"/>
                        <a:gd name="T82" fmla="*/ 66711 w 225"/>
                        <a:gd name="T83" fmla="*/ 529 h 273"/>
                        <a:gd name="T84" fmla="*/ 77040 w 225"/>
                        <a:gd name="T85" fmla="*/ 1588 h 273"/>
                        <a:gd name="T86" fmla="*/ 83926 w 225"/>
                        <a:gd name="T87" fmla="*/ 20108 h 273"/>
                        <a:gd name="T88" fmla="*/ 84357 w 225"/>
                        <a:gd name="T89" fmla="*/ 24871 h 273"/>
                        <a:gd name="T90" fmla="*/ 81774 w 225"/>
                        <a:gd name="T91" fmla="*/ 29633 h 27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225" h="273">
                          <a:moveTo>
                            <a:pt x="192" y="58"/>
                          </a:moveTo>
                          <a:lnTo>
                            <a:pt x="189" y="63"/>
                          </a:lnTo>
                          <a:lnTo>
                            <a:pt x="185" y="67"/>
                          </a:lnTo>
                          <a:lnTo>
                            <a:pt x="182" y="71"/>
                          </a:lnTo>
                          <a:lnTo>
                            <a:pt x="178" y="75"/>
                          </a:lnTo>
                          <a:lnTo>
                            <a:pt x="173" y="78"/>
                          </a:lnTo>
                          <a:lnTo>
                            <a:pt x="169" y="80"/>
                          </a:lnTo>
                          <a:lnTo>
                            <a:pt x="163" y="82"/>
                          </a:lnTo>
                          <a:lnTo>
                            <a:pt x="159" y="82"/>
                          </a:lnTo>
                          <a:lnTo>
                            <a:pt x="159" y="86"/>
                          </a:lnTo>
                          <a:lnTo>
                            <a:pt x="161" y="90"/>
                          </a:lnTo>
                          <a:lnTo>
                            <a:pt x="163" y="93"/>
                          </a:lnTo>
                          <a:lnTo>
                            <a:pt x="167" y="96"/>
                          </a:lnTo>
                          <a:lnTo>
                            <a:pt x="170" y="99"/>
                          </a:lnTo>
                          <a:lnTo>
                            <a:pt x="174" y="101"/>
                          </a:lnTo>
                          <a:lnTo>
                            <a:pt x="179" y="102"/>
                          </a:lnTo>
                          <a:lnTo>
                            <a:pt x="184" y="103"/>
                          </a:lnTo>
                          <a:lnTo>
                            <a:pt x="195" y="105"/>
                          </a:lnTo>
                          <a:lnTo>
                            <a:pt x="206" y="106"/>
                          </a:lnTo>
                          <a:lnTo>
                            <a:pt x="216" y="106"/>
                          </a:lnTo>
                          <a:lnTo>
                            <a:pt x="225" y="106"/>
                          </a:lnTo>
                          <a:lnTo>
                            <a:pt x="225" y="124"/>
                          </a:lnTo>
                          <a:lnTo>
                            <a:pt x="225" y="138"/>
                          </a:lnTo>
                          <a:lnTo>
                            <a:pt x="225" y="152"/>
                          </a:lnTo>
                          <a:lnTo>
                            <a:pt x="225" y="169"/>
                          </a:lnTo>
                          <a:lnTo>
                            <a:pt x="225" y="172"/>
                          </a:lnTo>
                          <a:lnTo>
                            <a:pt x="224" y="176"/>
                          </a:lnTo>
                          <a:lnTo>
                            <a:pt x="222" y="179"/>
                          </a:lnTo>
                          <a:lnTo>
                            <a:pt x="220" y="182"/>
                          </a:lnTo>
                          <a:lnTo>
                            <a:pt x="215" y="187"/>
                          </a:lnTo>
                          <a:lnTo>
                            <a:pt x="208" y="193"/>
                          </a:lnTo>
                          <a:lnTo>
                            <a:pt x="203" y="199"/>
                          </a:lnTo>
                          <a:lnTo>
                            <a:pt x="197" y="205"/>
                          </a:lnTo>
                          <a:lnTo>
                            <a:pt x="195" y="208"/>
                          </a:lnTo>
                          <a:lnTo>
                            <a:pt x="193" y="211"/>
                          </a:lnTo>
                          <a:lnTo>
                            <a:pt x="192" y="214"/>
                          </a:lnTo>
                          <a:lnTo>
                            <a:pt x="192" y="217"/>
                          </a:lnTo>
                          <a:lnTo>
                            <a:pt x="184" y="218"/>
                          </a:lnTo>
                          <a:lnTo>
                            <a:pt x="179" y="218"/>
                          </a:lnTo>
                          <a:lnTo>
                            <a:pt x="172" y="220"/>
                          </a:lnTo>
                          <a:lnTo>
                            <a:pt x="168" y="223"/>
                          </a:lnTo>
                          <a:lnTo>
                            <a:pt x="164" y="225"/>
                          </a:lnTo>
                          <a:lnTo>
                            <a:pt x="161" y="229"/>
                          </a:lnTo>
                          <a:lnTo>
                            <a:pt x="159" y="232"/>
                          </a:lnTo>
                          <a:lnTo>
                            <a:pt x="159" y="236"/>
                          </a:lnTo>
                          <a:lnTo>
                            <a:pt x="151" y="237"/>
                          </a:lnTo>
                          <a:lnTo>
                            <a:pt x="146" y="239"/>
                          </a:lnTo>
                          <a:lnTo>
                            <a:pt x="140" y="242"/>
                          </a:lnTo>
                          <a:lnTo>
                            <a:pt x="136" y="246"/>
                          </a:lnTo>
                          <a:lnTo>
                            <a:pt x="131" y="249"/>
                          </a:lnTo>
                          <a:lnTo>
                            <a:pt x="128" y="252"/>
                          </a:lnTo>
                          <a:lnTo>
                            <a:pt x="124" y="254"/>
                          </a:lnTo>
                          <a:lnTo>
                            <a:pt x="118" y="255"/>
                          </a:lnTo>
                          <a:lnTo>
                            <a:pt x="101" y="255"/>
                          </a:lnTo>
                          <a:lnTo>
                            <a:pt x="85" y="257"/>
                          </a:lnTo>
                          <a:lnTo>
                            <a:pt x="72" y="259"/>
                          </a:lnTo>
                          <a:lnTo>
                            <a:pt x="60" y="261"/>
                          </a:lnTo>
                          <a:lnTo>
                            <a:pt x="38" y="267"/>
                          </a:lnTo>
                          <a:lnTo>
                            <a:pt x="13" y="273"/>
                          </a:lnTo>
                          <a:lnTo>
                            <a:pt x="19" y="261"/>
                          </a:lnTo>
                          <a:lnTo>
                            <a:pt x="10" y="261"/>
                          </a:lnTo>
                          <a:lnTo>
                            <a:pt x="0" y="261"/>
                          </a:lnTo>
                          <a:lnTo>
                            <a:pt x="0" y="217"/>
                          </a:lnTo>
                          <a:lnTo>
                            <a:pt x="8" y="216"/>
                          </a:lnTo>
                          <a:lnTo>
                            <a:pt x="17" y="214"/>
                          </a:lnTo>
                          <a:lnTo>
                            <a:pt x="21" y="212"/>
                          </a:lnTo>
                          <a:lnTo>
                            <a:pt x="24" y="210"/>
                          </a:lnTo>
                          <a:lnTo>
                            <a:pt x="25" y="208"/>
                          </a:lnTo>
                          <a:lnTo>
                            <a:pt x="26" y="205"/>
                          </a:lnTo>
                          <a:lnTo>
                            <a:pt x="40" y="205"/>
                          </a:lnTo>
                          <a:lnTo>
                            <a:pt x="54" y="204"/>
                          </a:lnTo>
                          <a:lnTo>
                            <a:pt x="60" y="202"/>
                          </a:lnTo>
                          <a:lnTo>
                            <a:pt x="64" y="200"/>
                          </a:lnTo>
                          <a:lnTo>
                            <a:pt x="69" y="197"/>
                          </a:lnTo>
                          <a:lnTo>
                            <a:pt x="72" y="193"/>
                          </a:lnTo>
                          <a:lnTo>
                            <a:pt x="64" y="195"/>
                          </a:lnTo>
                          <a:lnTo>
                            <a:pt x="54" y="198"/>
                          </a:lnTo>
                          <a:lnTo>
                            <a:pt x="48" y="198"/>
                          </a:lnTo>
                          <a:lnTo>
                            <a:pt x="44" y="198"/>
                          </a:lnTo>
                          <a:lnTo>
                            <a:pt x="41" y="198"/>
                          </a:lnTo>
                          <a:lnTo>
                            <a:pt x="40" y="197"/>
                          </a:lnTo>
                          <a:lnTo>
                            <a:pt x="39" y="195"/>
                          </a:lnTo>
                          <a:lnTo>
                            <a:pt x="39" y="193"/>
                          </a:lnTo>
                          <a:lnTo>
                            <a:pt x="39" y="188"/>
                          </a:lnTo>
                          <a:lnTo>
                            <a:pt x="41" y="183"/>
                          </a:lnTo>
                          <a:lnTo>
                            <a:pt x="44" y="178"/>
                          </a:lnTo>
                          <a:lnTo>
                            <a:pt x="46" y="173"/>
                          </a:lnTo>
                          <a:lnTo>
                            <a:pt x="50" y="166"/>
                          </a:lnTo>
                          <a:lnTo>
                            <a:pt x="52" y="162"/>
                          </a:lnTo>
                          <a:lnTo>
                            <a:pt x="39" y="160"/>
                          </a:lnTo>
                          <a:lnTo>
                            <a:pt x="28" y="157"/>
                          </a:lnTo>
                          <a:lnTo>
                            <a:pt x="21" y="154"/>
                          </a:lnTo>
                          <a:lnTo>
                            <a:pt x="14" y="150"/>
                          </a:lnTo>
                          <a:lnTo>
                            <a:pt x="10" y="145"/>
                          </a:lnTo>
                          <a:lnTo>
                            <a:pt x="7" y="138"/>
                          </a:lnTo>
                          <a:lnTo>
                            <a:pt x="6" y="130"/>
                          </a:lnTo>
                          <a:lnTo>
                            <a:pt x="6" y="120"/>
                          </a:lnTo>
                          <a:lnTo>
                            <a:pt x="15" y="117"/>
                          </a:lnTo>
                          <a:lnTo>
                            <a:pt x="22" y="115"/>
                          </a:lnTo>
                          <a:lnTo>
                            <a:pt x="26" y="112"/>
                          </a:lnTo>
                          <a:lnTo>
                            <a:pt x="30" y="109"/>
                          </a:lnTo>
                          <a:lnTo>
                            <a:pt x="35" y="102"/>
                          </a:lnTo>
                          <a:lnTo>
                            <a:pt x="39" y="94"/>
                          </a:lnTo>
                          <a:lnTo>
                            <a:pt x="56" y="94"/>
                          </a:lnTo>
                          <a:lnTo>
                            <a:pt x="68" y="94"/>
                          </a:lnTo>
                          <a:lnTo>
                            <a:pt x="77" y="94"/>
                          </a:lnTo>
                          <a:lnTo>
                            <a:pt x="85" y="94"/>
                          </a:lnTo>
                          <a:lnTo>
                            <a:pt x="90" y="94"/>
                          </a:lnTo>
                          <a:lnTo>
                            <a:pt x="94" y="93"/>
                          </a:lnTo>
                          <a:lnTo>
                            <a:pt x="97" y="91"/>
                          </a:lnTo>
                          <a:lnTo>
                            <a:pt x="100" y="88"/>
                          </a:lnTo>
                          <a:lnTo>
                            <a:pt x="104" y="82"/>
                          </a:lnTo>
                          <a:lnTo>
                            <a:pt x="106" y="73"/>
                          </a:lnTo>
                          <a:lnTo>
                            <a:pt x="108" y="52"/>
                          </a:lnTo>
                          <a:lnTo>
                            <a:pt x="112" y="33"/>
                          </a:lnTo>
                          <a:lnTo>
                            <a:pt x="117" y="32"/>
                          </a:lnTo>
                          <a:lnTo>
                            <a:pt x="120" y="31"/>
                          </a:lnTo>
                          <a:lnTo>
                            <a:pt x="124" y="29"/>
                          </a:lnTo>
                          <a:lnTo>
                            <a:pt x="126" y="26"/>
                          </a:lnTo>
                          <a:lnTo>
                            <a:pt x="130" y="20"/>
                          </a:lnTo>
                          <a:lnTo>
                            <a:pt x="136" y="13"/>
                          </a:lnTo>
                          <a:lnTo>
                            <a:pt x="138" y="10"/>
                          </a:lnTo>
                          <a:lnTo>
                            <a:pt x="141" y="7"/>
                          </a:lnTo>
                          <a:lnTo>
                            <a:pt x="145" y="4"/>
                          </a:lnTo>
                          <a:lnTo>
                            <a:pt x="149" y="2"/>
                          </a:lnTo>
                          <a:lnTo>
                            <a:pt x="155" y="1"/>
                          </a:lnTo>
                          <a:lnTo>
                            <a:pt x="161" y="0"/>
                          </a:lnTo>
                          <a:lnTo>
                            <a:pt x="169" y="1"/>
                          </a:lnTo>
                          <a:lnTo>
                            <a:pt x="179" y="3"/>
                          </a:lnTo>
                          <a:lnTo>
                            <a:pt x="186" y="20"/>
                          </a:lnTo>
                          <a:lnTo>
                            <a:pt x="194" y="34"/>
                          </a:lnTo>
                          <a:lnTo>
                            <a:pt x="195" y="38"/>
                          </a:lnTo>
                          <a:lnTo>
                            <a:pt x="196" y="41"/>
                          </a:lnTo>
                          <a:lnTo>
                            <a:pt x="196" y="44"/>
                          </a:lnTo>
                          <a:lnTo>
                            <a:pt x="196" y="47"/>
                          </a:lnTo>
                          <a:lnTo>
                            <a:pt x="195" y="50"/>
                          </a:lnTo>
                          <a:lnTo>
                            <a:pt x="193" y="52"/>
                          </a:lnTo>
                          <a:lnTo>
                            <a:pt x="190" y="56"/>
                          </a:lnTo>
                          <a:lnTo>
                            <a:pt x="185" y="58"/>
                          </a:lnTo>
                          <a:lnTo>
                            <a:pt x="192" y="58"/>
                          </a:lnTo>
                        </a:path>
                      </a:pathLst>
                    </a:custGeom>
                    <a:grpFill/>
                    <a:ln w="9525" cap="flat" cmpd="sng">
                      <a:solidFill>
                        <a:schemeClr val="bg1"/>
                      </a:solidFill>
                      <a:prstDash val="solid"/>
                      <a:round/>
                      <a:headEnd type="none" w="med" len="med"/>
                      <a:tailEnd type="none" w="med" len="med"/>
                    </a:ln>
                    <a:effectLst/>
                  </p:spPr>
                  <p:txBody>
                    <a:bodyPr/>
                    <a:lstStyle/>
                    <a:p>
                      <a:endParaRPr lang="en-GB" sz="1637"/>
                    </a:p>
                  </p:txBody>
                </p:sp>
                <p:sp>
                  <p:nvSpPr>
                    <p:cNvPr id="508" name="Freeform 241"/>
                    <p:cNvSpPr>
                      <a:spLocks/>
                    </p:cNvSpPr>
                    <p:nvPr>
                      <p:custDataLst>
                        <p:tags r:id="rId337"/>
                      </p:custDataLst>
                    </p:nvPr>
                  </p:nvSpPr>
                  <p:spPr bwMode="auto">
                    <a:xfrm>
                      <a:off x="3403101" y="1650090"/>
                      <a:ext cx="207957" cy="105666"/>
                    </a:xfrm>
                    <a:custGeom>
                      <a:avLst/>
                      <a:gdLst>
                        <a:gd name="T0" fmla="*/ 14522 w 446"/>
                        <a:gd name="T1" fmla="*/ 32098 h 178"/>
                        <a:gd name="T2" fmla="*/ 17512 w 446"/>
                        <a:gd name="T3" fmla="*/ 22100 h 178"/>
                        <a:gd name="T4" fmla="*/ 29045 w 446"/>
                        <a:gd name="T5" fmla="*/ 19469 h 178"/>
                        <a:gd name="T6" fmla="*/ 34170 w 446"/>
                        <a:gd name="T7" fmla="*/ 9471 h 178"/>
                        <a:gd name="T8" fmla="*/ 30753 w 446"/>
                        <a:gd name="T9" fmla="*/ 7367 h 178"/>
                        <a:gd name="T10" fmla="*/ 25628 w 446"/>
                        <a:gd name="T11" fmla="*/ 0 h 178"/>
                        <a:gd name="T12" fmla="*/ 36306 w 446"/>
                        <a:gd name="T13" fmla="*/ 5262 h 178"/>
                        <a:gd name="T14" fmla="*/ 46130 w 446"/>
                        <a:gd name="T15" fmla="*/ 20521 h 178"/>
                        <a:gd name="T16" fmla="*/ 53391 w 446"/>
                        <a:gd name="T17" fmla="*/ 32624 h 178"/>
                        <a:gd name="T18" fmla="*/ 59371 w 446"/>
                        <a:gd name="T19" fmla="*/ 35255 h 178"/>
                        <a:gd name="T20" fmla="*/ 67059 w 446"/>
                        <a:gd name="T21" fmla="*/ 33150 h 178"/>
                        <a:gd name="T22" fmla="*/ 77311 w 446"/>
                        <a:gd name="T23" fmla="*/ 23679 h 178"/>
                        <a:gd name="T24" fmla="*/ 87562 w 446"/>
                        <a:gd name="T25" fmla="*/ 12102 h 178"/>
                        <a:gd name="T26" fmla="*/ 93969 w 446"/>
                        <a:gd name="T27" fmla="*/ 16312 h 178"/>
                        <a:gd name="T28" fmla="*/ 153340 w 446"/>
                        <a:gd name="T29" fmla="*/ 5788 h 178"/>
                        <a:gd name="T30" fmla="*/ 160601 w 446"/>
                        <a:gd name="T31" fmla="*/ 12102 h 178"/>
                        <a:gd name="T32" fmla="*/ 169143 w 446"/>
                        <a:gd name="T33" fmla="*/ 11576 h 178"/>
                        <a:gd name="T34" fmla="*/ 176405 w 446"/>
                        <a:gd name="T35" fmla="*/ 19469 h 178"/>
                        <a:gd name="T36" fmla="*/ 177259 w 446"/>
                        <a:gd name="T37" fmla="*/ 22626 h 178"/>
                        <a:gd name="T38" fmla="*/ 183239 w 446"/>
                        <a:gd name="T39" fmla="*/ 28414 h 178"/>
                        <a:gd name="T40" fmla="*/ 189219 w 446"/>
                        <a:gd name="T41" fmla="*/ 35781 h 178"/>
                        <a:gd name="T42" fmla="*/ 190500 w 446"/>
                        <a:gd name="T43" fmla="*/ 42095 h 178"/>
                        <a:gd name="T44" fmla="*/ 187083 w 446"/>
                        <a:gd name="T45" fmla="*/ 50514 h 178"/>
                        <a:gd name="T46" fmla="*/ 176405 w 446"/>
                        <a:gd name="T47" fmla="*/ 58407 h 178"/>
                        <a:gd name="T48" fmla="*/ 169571 w 446"/>
                        <a:gd name="T49" fmla="*/ 63143 h 178"/>
                        <a:gd name="T50" fmla="*/ 156330 w 446"/>
                        <a:gd name="T51" fmla="*/ 64721 h 178"/>
                        <a:gd name="T52" fmla="*/ 128139 w 446"/>
                        <a:gd name="T53" fmla="*/ 76824 h 178"/>
                        <a:gd name="T54" fmla="*/ 99948 w 446"/>
                        <a:gd name="T55" fmla="*/ 89979 h 178"/>
                        <a:gd name="T56" fmla="*/ 84999 w 446"/>
                        <a:gd name="T57" fmla="*/ 93662 h 178"/>
                        <a:gd name="T58" fmla="*/ 75602 w 446"/>
                        <a:gd name="T59" fmla="*/ 91557 h 178"/>
                        <a:gd name="T60" fmla="*/ 73466 w 446"/>
                        <a:gd name="T61" fmla="*/ 86295 h 178"/>
                        <a:gd name="T62" fmla="*/ 72612 w 446"/>
                        <a:gd name="T63" fmla="*/ 84717 h 178"/>
                        <a:gd name="T64" fmla="*/ 66632 w 446"/>
                        <a:gd name="T65" fmla="*/ 84717 h 178"/>
                        <a:gd name="T66" fmla="*/ 59371 w 446"/>
                        <a:gd name="T67" fmla="*/ 84191 h 178"/>
                        <a:gd name="T68" fmla="*/ 42713 w 446"/>
                        <a:gd name="T69" fmla="*/ 77350 h 178"/>
                        <a:gd name="T70" fmla="*/ 36306 w 446"/>
                        <a:gd name="T71" fmla="*/ 72088 h 178"/>
                        <a:gd name="T72" fmla="*/ 34598 w 446"/>
                        <a:gd name="T73" fmla="*/ 65774 h 178"/>
                        <a:gd name="T74" fmla="*/ 37160 w 446"/>
                        <a:gd name="T75" fmla="*/ 58407 h 178"/>
                        <a:gd name="T76" fmla="*/ 11533 w 446"/>
                        <a:gd name="T77" fmla="*/ 54198 h 178"/>
                        <a:gd name="T78" fmla="*/ 3844 w 446"/>
                        <a:gd name="T79" fmla="*/ 55250 h 178"/>
                        <a:gd name="T80" fmla="*/ 0 w 446"/>
                        <a:gd name="T81" fmla="*/ 42095 h 178"/>
                        <a:gd name="T82" fmla="*/ 25628 w 446"/>
                        <a:gd name="T83" fmla="*/ 45252 h 178"/>
                        <a:gd name="T84" fmla="*/ 37160 w 446"/>
                        <a:gd name="T85" fmla="*/ 42095 h 178"/>
                        <a:gd name="T86" fmla="*/ 9824 w 446"/>
                        <a:gd name="T87" fmla="*/ 35781 h 178"/>
                        <a:gd name="T88" fmla="*/ 6834 w 446"/>
                        <a:gd name="T89" fmla="*/ 28941 h 17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446" h="178">
                          <a:moveTo>
                            <a:pt x="27" y="43"/>
                          </a:moveTo>
                          <a:lnTo>
                            <a:pt x="31" y="52"/>
                          </a:lnTo>
                          <a:lnTo>
                            <a:pt x="34" y="61"/>
                          </a:lnTo>
                          <a:lnTo>
                            <a:pt x="37" y="53"/>
                          </a:lnTo>
                          <a:lnTo>
                            <a:pt x="40" y="47"/>
                          </a:lnTo>
                          <a:lnTo>
                            <a:pt x="41" y="42"/>
                          </a:lnTo>
                          <a:lnTo>
                            <a:pt x="41" y="37"/>
                          </a:lnTo>
                          <a:lnTo>
                            <a:pt x="55" y="37"/>
                          </a:lnTo>
                          <a:lnTo>
                            <a:pt x="68" y="37"/>
                          </a:lnTo>
                          <a:lnTo>
                            <a:pt x="77" y="37"/>
                          </a:lnTo>
                          <a:lnTo>
                            <a:pt x="80" y="37"/>
                          </a:lnTo>
                          <a:lnTo>
                            <a:pt x="80" y="18"/>
                          </a:lnTo>
                          <a:lnTo>
                            <a:pt x="78" y="17"/>
                          </a:lnTo>
                          <a:lnTo>
                            <a:pt x="75" y="16"/>
                          </a:lnTo>
                          <a:lnTo>
                            <a:pt x="72" y="14"/>
                          </a:lnTo>
                          <a:lnTo>
                            <a:pt x="70" y="11"/>
                          </a:lnTo>
                          <a:lnTo>
                            <a:pt x="65" y="5"/>
                          </a:lnTo>
                          <a:lnTo>
                            <a:pt x="60" y="0"/>
                          </a:lnTo>
                          <a:lnTo>
                            <a:pt x="69" y="3"/>
                          </a:lnTo>
                          <a:lnTo>
                            <a:pt x="78" y="6"/>
                          </a:lnTo>
                          <a:lnTo>
                            <a:pt x="85" y="10"/>
                          </a:lnTo>
                          <a:lnTo>
                            <a:pt x="90" y="15"/>
                          </a:lnTo>
                          <a:lnTo>
                            <a:pt x="100" y="27"/>
                          </a:lnTo>
                          <a:lnTo>
                            <a:pt x="108" y="39"/>
                          </a:lnTo>
                          <a:lnTo>
                            <a:pt x="114" y="49"/>
                          </a:lnTo>
                          <a:lnTo>
                            <a:pt x="121" y="59"/>
                          </a:lnTo>
                          <a:lnTo>
                            <a:pt x="125" y="62"/>
                          </a:lnTo>
                          <a:lnTo>
                            <a:pt x="130" y="65"/>
                          </a:lnTo>
                          <a:lnTo>
                            <a:pt x="134" y="67"/>
                          </a:lnTo>
                          <a:lnTo>
                            <a:pt x="139" y="67"/>
                          </a:lnTo>
                          <a:lnTo>
                            <a:pt x="146" y="67"/>
                          </a:lnTo>
                          <a:lnTo>
                            <a:pt x="152" y="66"/>
                          </a:lnTo>
                          <a:lnTo>
                            <a:pt x="157" y="63"/>
                          </a:lnTo>
                          <a:lnTo>
                            <a:pt x="163" y="61"/>
                          </a:lnTo>
                          <a:lnTo>
                            <a:pt x="172" y="54"/>
                          </a:lnTo>
                          <a:lnTo>
                            <a:pt x="181" y="45"/>
                          </a:lnTo>
                          <a:lnTo>
                            <a:pt x="190" y="37"/>
                          </a:lnTo>
                          <a:lnTo>
                            <a:pt x="198" y="29"/>
                          </a:lnTo>
                          <a:lnTo>
                            <a:pt x="205" y="23"/>
                          </a:lnTo>
                          <a:lnTo>
                            <a:pt x="213" y="18"/>
                          </a:lnTo>
                          <a:lnTo>
                            <a:pt x="216" y="25"/>
                          </a:lnTo>
                          <a:lnTo>
                            <a:pt x="220" y="31"/>
                          </a:lnTo>
                          <a:lnTo>
                            <a:pt x="293" y="31"/>
                          </a:lnTo>
                          <a:lnTo>
                            <a:pt x="352" y="6"/>
                          </a:lnTo>
                          <a:lnTo>
                            <a:pt x="359" y="11"/>
                          </a:lnTo>
                          <a:lnTo>
                            <a:pt x="367" y="17"/>
                          </a:lnTo>
                          <a:lnTo>
                            <a:pt x="371" y="21"/>
                          </a:lnTo>
                          <a:lnTo>
                            <a:pt x="376" y="23"/>
                          </a:lnTo>
                          <a:lnTo>
                            <a:pt x="381" y="24"/>
                          </a:lnTo>
                          <a:lnTo>
                            <a:pt x="385" y="25"/>
                          </a:lnTo>
                          <a:lnTo>
                            <a:pt x="396" y="22"/>
                          </a:lnTo>
                          <a:lnTo>
                            <a:pt x="413" y="18"/>
                          </a:lnTo>
                          <a:lnTo>
                            <a:pt x="413" y="28"/>
                          </a:lnTo>
                          <a:lnTo>
                            <a:pt x="413" y="37"/>
                          </a:lnTo>
                          <a:lnTo>
                            <a:pt x="413" y="39"/>
                          </a:lnTo>
                          <a:lnTo>
                            <a:pt x="414" y="41"/>
                          </a:lnTo>
                          <a:lnTo>
                            <a:pt x="415" y="43"/>
                          </a:lnTo>
                          <a:lnTo>
                            <a:pt x="417" y="45"/>
                          </a:lnTo>
                          <a:lnTo>
                            <a:pt x="423" y="49"/>
                          </a:lnTo>
                          <a:lnTo>
                            <a:pt x="429" y="54"/>
                          </a:lnTo>
                          <a:lnTo>
                            <a:pt x="435" y="59"/>
                          </a:lnTo>
                          <a:lnTo>
                            <a:pt x="440" y="64"/>
                          </a:lnTo>
                          <a:lnTo>
                            <a:pt x="443" y="68"/>
                          </a:lnTo>
                          <a:lnTo>
                            <a:pt x="444" y="71"/>
                          </a:lnTo>
                          <a:lnTo>
                            <a:pt x="445" y="76"/>
                          </a:lnTo>
                          <a:lnTo>
                            <a:pt x="446" y="80"/>
                          </a:lnTo>
                          <a:lnTo>
                            <a:pt x="445" y="87"/>
                          </a:lnTo>
                          <a:lnTo>
                            <a:pt x="443" y="92"/>
                          </a:lnTo>
                          <a:lnTo>
                            <a:pt x="438" y="96"/>
                          </a:lnTo>
                          <a:lnTo>
                            <a:pt x="434" y="100"/>
                          </a:lnTo>
                          <a:lnTo>
                            <a:pt x="423" y="106"/>
                          </a:lnTo>
                          <a:lnTo>
                            <a:pt x="413" y="111"/>
                          </a:lnTo>
                          <a:lnTo>
                            <a:pt x="407" y="115"/>
                          </a:lnTo>
                          <a:lnTo>
                            <a:pt x="402" y="118"/>
                          </a:lnTo>
                          <a:lnTo>
                            <a:pt x="397" y="120"/>
                          </a:lnTo>
                          <a:lnTo>
                            <a:pt x="392" y="121"/>
                          </a:lnTo>
                          <a:lnTo>
                            <a:pt x="380" y="123"/>
                          </a:lnTo>
                          <a:lnTo>
                            <a:pt x="366" y="123"/>
                          </a:lnTo>
                          <a:lnTo>
                            <a:pt x="344" y="129"/>
                          </a:lnTo>
                          <a:lnTo>
                            <a:pt x="322" y="137"/>
                          </a:lnTo>
                          <a:lnTo>
                            <a:pt x="300" y="146"/>
                          </a:lnTo>
                          <a:lnTo>
                            <a:pt x="279" y="156"/>
                          </a:lnTo>
                          <a:lnTo>
                            <a:pt x="257" y="164"/>
                          </a:lnTo>
                          <a:lnTo>
                            <a:pt x="234" y="171"/>
                          </a:lnTo>
                          <a:lnTo>
                            <a:pt x="223" y="174"/>
                          </a:lnTo>
                          <a:lnTo>
                            <a:pt x="211" y="176"/>
                          </a:lnTo>
                          <a:lnTo>
                            <a:pt x="199" y="178"/>
                          </a:lnTo>
                          <a:lnTo>
                            <a:pt x="187" y="178"/>
                          </a:lnTo>
                          <a:lnTo>
                            <a:pt x="181" y="177"/>
                          </a:lnTo>
                          <a:lnTo>
                            <a:pt x="177" y="174"/>
                          </a:lnTo>
                          <a:lnTo>
                            <a:pt x="175" y="171"/>
                          </a:lnTo>
                          <a:lnTo>
                            <a:pt x="173" y="166"/>
                          </a:lnTo>
                          <a:lnTo>
                            <a:pt x="172" y="164"/>
                          </a:lnTo>
                          <a:lnTo>
                            <a:pt x="172" y="163"/>
                          </a:lnTo>
                          <a:lnTo>
                            <a:pt x="171" y="162"/>
                          </a:lnTo>
                          <a:lnTo>
                            <a:pt x="170" y="161"/>
                          </a:lnTo>
                          <a:lnTo>
                            <a:pt x="166" y="161"/>
                          </a:lnTo>
                          <a:lnTo>
                            <a:pt x="161" y="161"/>
                          </a:lnTo>
                          <a:lnTo>
                            <a:pt x="156" y="161"/>
                          </a:lnTo>
                          <a:lnTo>
                            <a:pt x="150" y="162"/>
                          </a:lnTo>
                          <a:lnTo>
                            <a:pt x="145" y="162"/>
                          </a:lnTo>
                          <a:lnTo>
                            <a:pt x="139" y="160"/>
                          </a:lnTo>
                          <a:lnTo>
                            <a:pt x="125" y="156"/>
                          </a:lnTo>
                          <a:lnTo>
                            <a:pt x="112" y="152"/>
                          </a:lnTo>
                          <a:lnTo>
                            <a:pt x="100" y="147"/>
                          </a:lnTo>
                          <a:lnTo>
                            <a:pt x="91" y="143"/>
                          </a:lnTo>
                          <a:lnTo>
                            <a:pt x="87" y="140"/>
                          </a:lnTo>
                          <a:lnTo>
                            <a:pt x="85" y="137"/>
                          </a:lnTo>
                          <a:lnTo>
                            <a:pt x="82" y="134"/>
                          </a:lnTo>
                          <a:lnTo>
                            <a:pt x="81" y="129"/>
                          </a:lnTo>
                          <a:lnTo>
                            <a:pt x="81" y="125"/>
                          </a:lnTo>
                          <a:lnTo>
                            <a:pt x="81" y="121"/>
                          </a:lnTo>
                          <a:lnTo>
                            <a:pt x="83" y="116"/>
                          </a:lnTo>
                          <a:lnTo>
                            <a:pt x="87" y="111"/>
                          </a:lnTo>
                          <a:lnTo>
                            <a:pt x="63" y="108"/>
                          </a:lnTo>
                          <a:lnTo>
                            <a:pt x="38" y="104"/>
                          </a:lnTo>
                          <a:lnTo>
                            <a:pt x="27" y="103"/>
                          </a:lnTo>
                          <a:lnTo>
                            <a:pt x="18" y="103"/>
                          </a:lnTo>
                          <a:lnTo>
                            <a:pt x="13" y="104"/>
                          </a:lnTo>
                          <a:lnTo>
                            <a:pt x="9" y="105"/>
                          </a:lnTo>
                          <a:lnTo>
                            <a:pt x="4" y="108"/>
                          </a:lnTo>
                          <a:lnTo>
                            <a:pt x="0" y="111"/>
                          </a:lnTo>
                          <a:lnTo>
                            <a:pt x="0" y="80"/>
                          </a:lnTo>
                          <a:lnTo>
                            <a:pt x="30" y="82"/>
                          </a:lnTo>
                          <a:lnTo>
                            <a:pt x="51" y="85"/>
                          </a:lnTo>
                          <a:lnTo>
                            <a:pt x="60" y="86"/>
                          </a:lnTo>
                          <a:lnTo>
                            <a:pt x="68" y="86"/>
                          </a:lnTo>
                          <a:lnTo>
                            <a:pt x="77" y="84"/>
                          </a:lnTo>
                          <a:lnTo>
                            <a:pt x="87" y="80"/>
                          </a:lnTo>
                          <a:lnTo>
                            <a:pt x="64" y="76"/>
                          </a:lnTo>
                          <a:lnTo>
                            <a:pt x="44" y="71"/>
                          </a:lnTo>
                          <a:lnTo>
                            <a:pt x="23" y="68"/>
                          </a:lnTo>
                          <a:lnTo>
                            <a:pt x="0" y="67"/>
                          </a:lnTo>
                          <a:lnTo>
                            <a:pt x="9" y="62"/>
                          </a:lnTo>
                          <a:lnTo>
                            <a:pt x="16" y="55"/>
                          </a:lnTo>
                          <a:lnTo>
                            <a:pt x="22" y="49"/>
                          </a:lnTo>
                          <a:lnTo>
                            <a:pt x="27" y="43"/>
                          </a:lnTo>
                        </a:path>
                      </a:pathLst>
                    </a:custGeom>
                    <a:grpFill/>
                    <a:ln w="9525" cmpd="sng">
                      <a:solidFill>
                        <a:schemeClr val="bg1"/>
                      </a:solidFill>
                      <a:prstDash val="solid"/>
                      <a:round/>
                      <a:headEnd/>
                      <a:tailEnd/>
                    </a:ln>
                  </p:spPr>
                  <p:txBody>
                    <a:bodyPr/>
                    <a:lstStyle/>
                    <a:p>
                      <a:endParaRPr lang="en-GB" sz="1637" dirty="0"/>
                    </a:p>
                  </p:txBody>
                </p:sp>
                <p:sp>
                  <p:nvSpPr>
                    <p:cNvPr id="509" name="Freeform 245"/>
                    <p:cNvSpPr>
                      <a:spLocks/>
                    </p:cNvSpPr>
                    <p:nvPr>
                      <p:custDataLst>
                        <p:tags r:id="rId338"/>
                      </p:custDataLst>
                    </p:nvPr>
                  </p:nvSpPr>
                  <p:spPr bwMode="auto">
                    <a:xfrm>
                      <a:off x="3735833" y="1997627"/>
                      <a:ext cx="31194" cy="64475"/>
                    </a:xfrm>
                    <a:custGeom>
                      <a:avLst/>
                      <a:gdLst>
                        <a:gd name="T0" fmla="*/ 25544 w 66"/>
                        <a:gd name="T1" fmla="*/ 53788 h 51"/>
                        <a:gd name="T2" fmla="*/ 18184 w 66"/>
                        <a:gd name="T3" fmla="*/ 56029 h 51"/>
                        <a:gd name="T4" fmla="*/ 9525 w 66"/>
                        <a:gd name="T5" fmla="*/ 57150 h 51"/>
                        <a:gd name="T6" fmla="*/ 7360 w 66"/>
                        <a:gd name="T7" fmla="*/ 56029 h 51"/>
                        <a:gd name="T8" fmla="*/ 5628 w 66"/>
                        <a:gd name="T9" fmla="*/ 54909 h 51"/>
                        <a:gd name="T10" fmla="*/ 4330 w 66"/>
                        <a:gd name="T11" fmla="*/ 53788 h 51"/>
                        <a:gd name="T12" fmla="*/ 3031 w 66"/>
                        <a:gd name="T13" fmla="*/ 51547 h 51"/>
                        <a:gd name="T14" fmla="*/ 1299 w 66"/>
                        <a:gd name="T15" fmla="*/ 48185 h 51"/>
                        <a:gd name="T16" fmla="*/ 433 w 66"/>
                        <a:gd name="T17" fmla="*/ 44824 h 51"/>
                        <a:gd name="T18" fmla="*/ 0 w 66"/>
                        <a:gd name="T19" fmla="*/ 39221 h 51"/>
                        <a:gd name="T20" fmla="*/ 0 w 66"/>
                        <a:gd name="T21" fmla="*/ 33618 h 51"/>
                        <a:gd name="T22" fmla="*/ 1732 w 66"/>
                        <a:gd name="T23" fmla="*/ 32497 h 51"/>
                        <a:gd name="T24" fmla="*/ 4330 w 66"/>
                        <a:gd name="T25" fmla="*/ 30256 h 51"/>
                        <a:gd name="T26" fmla="*/ 6061 w 66"/>
                        <a:gd name="T27" fmla="*/ 26894 h 51"/>
                        <a:gd name="T28" fmla="*/ 8226 w 66"/>
                        <a:gd name="T29" fmla="*/ 22412 h 51"/>
                        <a:gd name="T30" fmla="*/ 11257 w 66"/>
                        <a:gd name="T31" fmla="*/ 11206 h 51"/>
                        <a:gd name="T32" fmla="*/ 14288 w 66"/>
                        <a:gd name="T33" fmla="*/ 0 h 51"/>
                        <a:gd name="T34" fmla="*/ 19916 w 66"/>
                        <a:gd name="T35" fmla="*/ 1121 h 51"/>
                        <a:gd name="T36" fmla="*/ 22514 w 66"/>
                        <a:gd name="T37" fmla="*/ 2241 h 51"/>
                        <a:gd name="T38" fmla="*/ 24245 w 66"/>
                        <a:gd name="T39" fmla="*/ 3362 h 51"/>
                        <a:gd name="T40" fmla="*/ 28575 w 66"/>
                        <a:gd name="T41" fmla="*/ 0 h 51"/>
                        <a:gd name="T42" fmla="*/ 28142 w 66"/>
                        <a:gd name="T43" fmla="*/ 14568 h 51"/>
                        <a:gd name="T44" fmla="*/ 27276 w 66"/>
                        <a:gd name="T45" fmla="*/ 26894 h 51"/>
                        <a:gd name="T46" fmla="*/ 25977 w 66"/>
                        <a:gd name="T47" fmla="*/ 40341 h 51"/>
                        <a:gd name="T48" fmla="*/ 25544 w 66"/>
                        <a:gd name="T49" fmla="*/ 53788 h 5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6" h="51">
                          <a:moveTo>
                            <a:pt x="59" y="48"/>
                          </a:moveTo>
                          <a:lnTo>
                            <a:pt x="42" y="50"/>
                          </a:lnTo>
                          <a:lnTo>
                            <a:pt x="22" y="51"/>
                          </a:lnTo>
                          <a:lnTo>
                            <a:pt x="17" y="50"/>
                          </a:lnTo>
                          <a:lnTo>
                            <a:pt x="13" y="49"/>
                          </a:lnTo>
                          <a:lnTo>
                            <a:pt x="10" y="48"/>
                          </a:lnTo>
                          <a:lnTo>
                            <a:pt x="7" y="46"/>
                          </a:lnTo>
                          <a:lnTo>
                            <a:pt x="3" y="43"/>
                          </a:lnTo>
                          <a:lnTo>
                            <a:pt x="1" y="40"/>
                          </a:lnTo>
                          <a:lnTo>
                            <a:pt x="0" y="35"/>
                          </a:lnTo>
                          <a:lnTo>
                            <a:pt x="0" y="30"/>
                          </a:lnTo>
                          <a:lnTo>
                            <a:pt x="4" y="29"/>
                          </a:lnTo>
                          <a:lnTo>
                            <a:pt x="10" y="27"/>
                          </a:lnTo>
                          <a:lnTo>
                            <a:pt x="14" y="24"/>
                          </a:lnTo>
                          <a:lnTo>
                            <a:pt x="19" y="20"/>
                          </a:lnTo>
                          <a:lnTo>
                            <a:pt x="26" y="10"/>
                          </a:lnTo>
                          <a:lnTo>
                            <a:pt x="33" y="0"/>
                          </a:lnTo>
                          <a:lnTo>
                            <a:pt x="46" y="1"/>
                          </a:lnTo>
                          <a:lnTo>
                            <a:pt x="52" y="2"/>
                          </a:lnTo>
                          <a:lnTo>
                            <a:pt x="56" y="3"/>
                          </a:lnTo>
                          <a:lnTo>
                            <a:pt x="66" y="0"/>
                          </a:lnTo>
                          <a:lnTo>
                            <a:pt x="65" y="13"/>
                          </a:lnTo>
                          <a:lnTo>
                            <a:pt x="63" y="24"/>
                          </a:lnTo>
                          <a:lnTo>
                            <a:pt x="60" y="36"/>
                          </a:lnTo>
                          <a:lnTo>
                            <a:pt x="59" y="48"/>
                          </a:lnTo>
                        </a:path>
                      </a:pathLst>
                    </a:custGeom>
                    <a:grpFill/>
                    <a:ln w="9525" cap="flat" cmpd="sng">
                      <a:solidFill>
                        <a:schemeClr val="bg1"/>
                      </a:solidFill>
                      <a:prstDash val="solid"/>
                      <a:round/>
                      <a:headEnd type="none" w="med" len="med"/>
                      <a:tailEnd type="none" w="med" len="med"/>
                    </a:ln>
                    <a:effectLst/>
                  </p:spPr>
                  <p:txBody>
                    <a:bodyPr/>
                    <a:lstStyle/>
                    <a:p>
                      <a:endParaRPr lang="en-GB" sz="1637"/>
                    </a:p>
                  </p:txBody>
                </p:sp>
                <p:sp>
                  <p:nvSpPr>
                    <p:cNvPr id="510" name="Freeform 458"/>
                    <p:cNvSpPr>
                      <a:spLocks/>
                    </p:cNvSpPr>
                    <p:nvPr>
                      <p:custDataLst>
                        <p:tags r:id="rId339"/>
                      </p:custDataLst>
                    </p:nvPr>
                  </p:nvSpPr>
                  <p:spPr bwMode="auto">
                    <a:xfrm>
                      <a:off x="4113622" y="2438114"/>
                      <a:ext cx="19062" cy="64475"/>
                    </a:xfrm>
                    <a:custGeom>
                      <a:avLst/>
                      <a:gdLst>
                        <a:gd name="T0" fmla="*/ 3056 w 40"/>
                        <a:gd name="T1" fmla="*/ 19050 h 93"/>
                        <a:gd name="T2" fmla="*/ 4366 w 40"/>
                        <a:gd name="T3" fmla="*/ 18435 h 93"/>
                        <a:gd name="T4" fmla="*/ 6112 w 40"/>
                        <a:gd name="T5" fmla="*/ 15977 h 93"/>
                        <a:gd name="T6" fmla="*/ 8731 w 40"/>
                        <a:gd name="T7" fmla="*/ 12290 h 93"/>
                        <a:gd name="T8" fmla="*/ 10914 w 40"/>
                        <a:gd name="T9" fmla="*/ 9218 h 93"/>
                        <a:gd name="T10" fmla="*/ 15279 w 40"/>
                        <a:gd name="T11" fmla="*/ 2458 h 93"/>
                        <a:gd name="T12" fmla="*/ 17462 w 40"/>
                        <a:gd name="T13" fmla="*/ 0 h 93"/>
                        <a:gd name="T14" fmla="*/ 16152 w 40"/>
                        <a:gd name="T15" fmla="*/ 15977 h 93"/>
                        <a:gd name="T16" fmla="*/ 15279 w 40"/>
                        <a:gd name="T17" fmla="*/ 32569 h 93"/>
                        <a:gd name="T18" fmla="*/ 14843 w 40"/>
                        <a:gd name="T19" fmla="*/ 39944 h 93"/>
                        <a:gd name="T20" fmla="*/ 14843 w 40"/>
                        <a:gd name="T21" fmla="*/ 47318 h 93"/>
                        <a:gd name="T22" fmla="*/ 15279 w 40"/>
                        <a:gd name="T23" fmla="*/ 50390 h 93"/>
                        <a:gd name="T24" fmla="*/ 15716 w 40"/>
                        <a:gd name="T25" fmla="*/ 52848 h 93"/>
                        <a:gd name="T26" fmla="*/ 16152 w 40"/>
                        <a:gd name="T27" fmla="*/ 55306 h 93"/>
                        <a:gd name="T28" fmla="*/ 17462 w 40"/>
                        <a:gd name="T29" fmla="*/ 57150 h 93"/>
                        <a:gd name="T30" fmla="*/ 11350 w 40"/>
                        <a:gd name="T31" fmla="*/ 57150 h 93"/>
                        <a:gd name="T32" fmla="*/ 5675 w 40"/>
                        <a:gd name="T33" fmla="*/ 57150 h 93"/>
                        <a:gd name="T34" fmla="*/ 4802 w 40"/>
                        <a:gd name="T35" fmla="*/ 56535 h 93"/>
                        <a:gd name="T36" fmla="*/ 3492 w 40"/>
                        <a:gd name="T37" fmla="*/ 55921 h 93"/>
                        <a:gd name="T38" fmla="*/ 2619 w 40"/>
                        <a:gd name="T39" fmla="*/ 54077 h 93"/>
                        <a:gd name="T40" fmla="*/ 1746 w 40"/>
                        <a:gd name="T41" fmla="*/ 52848 h 93"/>
                        <a:gd name="T42" fmla="*/ 437 w 40"/>
                        <a:gd name="T43" fmla="*/ 49161 h 93"/>
                        <a:gd name="T44" fmla="*/ 0 w 40"/>
                        <a:gd name="T45" fmla="*/ 44860 h 93"/>
                        <a:gd name="T46" fmla="*/ 437 w 40"/>
                        <a:gd name="T47" fmla="*/ 39329 h 93"/>
                        <a:gd name="T48" fmla="*/ 1310 w 40"/>
                        <a:gd name="T49" fmla="*/ 30726 h 93"/>
                        <a:gd name="T50" fmla="*/ 2619 w 40"/>
                        <a:gd name="T51" fmla="*/ 22737 h 93"/>
                        <a:gd name="T52" fmla="*/ 3056 w 40"/>
                        <a:gd name="T53" fmla="*/ 19050 h 9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0" h="93">
                          <a:moveTo>
                            <a:pt x="7" y="31"/>
                          </a:moveTo>
                          <a:lnTo>
                            <a:pt x="10" y="30"/>
                          </a:lnTo>
                          <a:lnTo>
                            <a:pt x="14" y="26"/>
                          </a:lnTo>
                          <a:lnTo>
                            <a:pt x="20" y="20"/>
                          </a:lnTo>
                          <a:lnTo>
                            <a:pt x="25" y="15"/>
                          </a:lnTo>
                          <a:lnTo>
                            <a:pt x="35" y="4"/>
                          </a:lnTo>
                          <a:lnTo>
                            <a:pt x="40" y="0"/>
                          </a:lnTo>
                          <a:lnTo>
                            <a:pt x="37" y="26"/>
                          </a:lnTo>
                          <a:lnTo>
                            <a:pt x="35" y="53"/>
                          </a:lnTo>
                          <a:lnTo>
                            <a:pt x="34" y="65"/>
                          </a:lnTo>
                          <a:lnTo>
                            <a:pt x="34" y="77"/>
                          </a:lnTo>
                          <a:lnTo>
                            <a:pt x="35" y="82"/>
                          </a:lnTo>
                          <a:lnTo>
                            <a:pt x="36" y="86"/>
                          </a:lnTo>
                          <a:lnTo>
                            <a:pt x="37" y="90"/>
                          </a:lnTo>
                          <a:lnTo>
                            <a:pt x="40" y="93"/>
                          </a:lnTo>
                          <a:lnTo>
                            <a:pt x="26" y="93"/>
                          </a:lnTo>
                          <a:lnTo>
                            <a:pt x="13" y="93"/>
                          </a:lnTo>
                          <a:lnTo>
                            <a:pt x="11" y="92"/>
                          </a:lnTo>
                          <a:lnTo>
                            <a:pt x="8" y="91"/>
                          </a:lnTo>
                          <a:lnTo>
                            <a:pt x="6" y="88"/>
                          </a:lnTo>
                          <a:lnTo>
                            <a:pt x="4" y="86"/>
                          </a:lnTo>
                          <a:lnTo>
                            <a:pt x="1" y="80"/>
                          </a:lnTo>
                          <a:lnTo>
                            <a:pt x="0" y="73"/>
                          </a:lnTo>
                          <a:lnTo>
                            <a:pt x="1" y="64"/>
                          </a:lnTo>
                          <a:lnTo>
                            <a:pt x="3" y="50"/>
                          </a:lnTo>
                          <a:lnTo>
                            <a:pt x="6" y="37"/>
                          </a:lnTo>
                          <a:lnTo>
                            <a:pt x="7" y="31"/>
                          </a:lnTo>
                        </a:path>
                      </a:pathLst>
                    </a:custGeom>
                    <a:grpFill/>
                    <a:ln w="9525" cap="flat" cmpd="sng">
                      <a:solidFill>
                        <a:schemeClr val="bg1"/>
                      </a:solidFill>
                      <a:prstDash val="solid"/>
                      <a:round/>
                      <a:headEnd type="none" w="med" len="med"/>
                      <a:tailEnd type="none" w="med" len="med"/>
                    </a:ln>
                    <a:effectLst/>
                  </p:spPr>
                  <p:txBody>
                    <a:bodyPr/>
                    <a:lstStyle/>
                    <a:p>
                      <a:endParaRPr lang="en-GB" sz="1637"/>
                    </a:p>
                  </p:txBody>
                </p:sp>
                <p:sp>
                  <p:nvSpPr>
                    <p:cNvPr id="511" name="Freeform 459"/>
                    <p:cNvSpPr>
                      <a:spLocks/>
                    </p:cNvSpPr>
                    <p:nvPr>
                      <p:custDataLst>
                        <p:tags r:id="rId340"/>
                      </p:custDataLst>
                    </p:nvPr>
                  </p:nvSpPr>
                  <p:spPr bwMode="auto">
                    <a:xfrm>
                      <a:off x="3789822" y="2164935"/>
                      <a:ext cx="322334" cy="308046"/>
                    </a:xfrm>
                    <a:custGeom>
                      <a:avLst/>
                      <a:gdLst>
                        <a:gd name="T0" fmla="*/ 66259 w 664"/>
                        <a:gd name="T1" fmla="*/ 234570 h 518"/>
                        <a:gd name="T2" fmla="*/ 67148 w 664"/>
                        <a:gd name="T3" fmla="*/ 227190 h 518"/>
                        <a:gd name="T4" fmla="*/ 64925 w 664"/>
                        <a:gd name="T5" fmla="*/ 210849 h 518"/>
                        <a:gd name="T6" fmla="*/ 67148 w 664"/>
                        <a:gd name="T7" fmla="*/ 186075 h 518"/>
                        <a:gd name="T8" fmla="*/ 64925 w 664"/>
                        <a:gd name="T9" fmla="*/ 157083 h 518"/>
                        <a:gd name="T10" fmla="*/ 59589 w 664"/>
                        <a:gd name="T11" fmla="*/ 132308 h 518"/>
                        <a:gd name="T12" fmla="*/ 48471 w 664"/>
                        <a:gd name="T13" fmla="*/ 127037 h 518"/>
                        <a:gd name="T14" fmla="*/ 8894 w 664"/>
                        <a:gd name="T15" fmla="*/ 101208 h 518"/>
                        <a:gd name="T16" fmla="*/ 10673 w 664"/>
                        <a:gd name="T17" fmla="*/ 90138 h 518"/>
                        <a:gd name="T18" fmla="*/ 16009 w 664"/>
                        <a:gd name="T19" fmla="*/ 83813 h 518"/>
                        <a:gd name="T20" fmla="*/ 21345 w 664"/>
                        <a:gd name="T21" fmla="*/ 78014 h 518"/>
                        <a:gd name="T22" fmla="*/ 44469 w 664"/>
                        <a:gd name="T23" fmla="*/ 81704 h 518"/>
                        <a:gd name="T24" fmla="*/ 55586 w 664"/>
                        <a:gd name="T25" fmla="*/ 80123 h 518"/>
                        <a:gd name="T26" fmla="*/ 65370 w 664"/>
                        <a:gd name="T27" fmla="*/ 82758 h 518"/>
                        <a:gd name="T28" fmla="*/ 73374 w 664"/>
                        <a:gd name="T29" fmla="*/ 49550 h 518"/>
                        <a:gd name="T30" fmla="*/ 82268 w 664"/>
                        <a:gd name="T31" fmla="*/ 57456 h 518"/>
                        <a:gd name="T32" fmla="*/ 92051 w 664"/>
                        <a:gd name="T33" fmla="*/ 57984 h 518"/>
                        <a:gd name="T34" fmla="*/ 104947 w 664"/>
                        <a:gd name="T35" fmla="*/ 52185 h 518"/>
                        <a:gd name="T36" fmla="*/ 117398 w 664"/>
                        <a:gd name="T37" fmla="*/ 42170 h 518"/>
                        <a:gd name="T38" fmla="*/ 128516 w 664"/>
                        <a:gd name="T39" fmla="*/ 30046 h 518"/>
                        <a:gd name="T40" fmla="*/ 136965 w 664"/>
                        <a:gd name="T41" fmla="*/ 16868 h 518"/>
                        <a:gd name="T42" fmla="*/ 141412 w 664"/>
                        <a:gd name="T43" fmla="*/ 6325 h 518"/>
                        <a:gd name="T44" fmla="*/ 164536 w 664"/>
                        <a:gd name="T45" fmla="*/ 2108 h 518"/>
                        <a:gd name="T46" fmla="*/ 179655 w 664"/>
                        <a:gd name="T47" fmla="*/ 16868 h 518"/>
                        <a:gd name="T48" fmla="*/ 203224 w 664"/>
                        <a:gd name="T49" fmla="*/ 32155 h 518"/>
                        <a:gd name="T50" fmla="*/ 227237 w 664"/>
                        <a:gd name="T51" fmla="*/ 47441 h 518"/>
                        <a:gd name="T52" fmla="*/ 245470 w 664"/>
                        <a:gd name="T53" fmla="*/ 56402 h 518"/>
                        <a:gd name="T54" fmla="*/ 257032 w 664"/>
                        <a:gd name="T55" fmla="*/ 61146 h 518"/>
                        <a:gd name="T56" fmla="*/ 277043 w 664"/>
                        <a:gd name="T57" fmla="*/ 63782 h 518"/>
                        <a:gd name="T58" fmla="*/ 292607 w 664"/>
                        <a:gd name="T59" fmla="*/ 71689 h 518"/>
                        <a:gd name="T60" fmla="*/ 286826 w 664"/>
                        <a:gd name="T61" fmla="*/ 87503 h 518"/>
                        <a:gd name="T62" fmla="*/ 275709 w 664"/>
                        <a:gd name="T63" fmla="*/ 124401 h 518"/>
                        <a:gd name="T64" fmla="*/ 265925 w 664"/>
                        <a:gd name="T65" fmla="*/ 143378 h 518"/>
                        <a:gd name="T66" fmla="*/ 260144 w 664"/>
                        <a:gd name="T67" fmla="*/ 150757 h 518"/>
                        <a:gd name="T68" fmla="*/ 266370 w 664"/>
                        <a:gd name="T69" fmla="*/ 157083 h 518"/>
                        <a:gd name="T70" fmla="*/ 274819 w 664"/>
                        <a:gd name="T71" fmla="*/ 161827 h 518"/>
                        <a:gd name="T72" fmla="*/ 277043 w 664"/>
                        <a:gd name="T73" fmla="*/ 176059 h 518"/>
                        <a:gd name="T74" fmla="*/ 275709 w 664"/>
                        <a:gd name="T75" fmla="*/ 182912 h 518"/>
                        <a:gd name="T76" fmla="*/ 274819 w 664"/>
                        <a:gd name="T77" fmla="*/ 196090 h 518"/>
                        <a:gd name="T78" fmla="*/ 276598 w 664"/>
                        <a:gd name="T79" fmla="*/ 210322 h 518"/>
                        <a:gd name="T80" fmla="*/ 281045 w 664"/>
                        <a:gd name="T81" fmla="*/ 222973 h 518"/>
                        <a:gd name="T82" fmla="*/ 270372 w 664"/>
                        <a:gd name="T83" fmla="*/ 240895 h 518"/>
                        <a:gd name="T84" fmla="*/ 253029 w 664"/>
                        <a:gd name="T85" fmla="*/ 255128 h 518"/>
                        <a:gd name="T86" fmla="*/ 241023 w 664"/>
                        <a:gd name="T87" fmla="*/ 257763 h 518"/>
                        <a:gd name="T88" fmla="*/ 226348 w 664"/>
                        <a:gd name="T89" fmla="*/ 253546 h 518"/>
                        <a:gd name="T90" fmla="*/ 212118 w 664"/>
                        <a:gd name="T91" fmla="*/ 242477 h 518"/>
                        <a:gd name="T92" fmla="*/ 205892 w 664"/>
                        <a:gd name="T93" fmla="*/ 240368 h 518"/>
                        <a:gd name="T94" fmla="*/ 196998 w 664"/>
                        <a:gd name="T95" fmla="*/ 240895 h 518"/>
                        <a:gd name="T96" fmla="*/ 188104 w 664"/>
                        <a:gd name="T97" fmla="*/ 245112 h 518"/>
                        <a:gd name="T98" fmla="*/ 180545 w 664"/>
                        <a:gd name="T99" fmla="*/ 251438 h 518"/>
                        <a:gd name="T100" fmla="*/ 172540 w 664"/>
                        <a:gd name="T101" fmla="*/ 265143 h 518"/>
                        <a:gd name="T102" fmla="*/ 171206 w 664"/>
                        <a:gd name="T103" fmla="*/ 272523 h 518"/>
                        <a:gd name="T104" fmla="*/ 148082 w 664"/>
                        <a:gd name="T105" fmla="*/ 271469 h 518"/>
                        <a:gd name="T106" fmla="*/ 140967 w 664"/>
                        <a:gd name="T107" fmla="*/ 267252 h 518"/>
                        <a:gd name="T108" fmla="*/ 136520 w 664"/>
                        <a:gd name="T109" fmla="*/ 263562 h 518"/>
                        <a:gd name="T110" fmla="*/ 131629 w 664"/>
                        <a:gd name="T111" fmla="*/ 267779 h 518"/>
                        <a:gd name="T112" fmla="*/ 127626 w 664"/>
                        <a:gd name="T113" fmla="*/ 271996 h 518"/>
                        <a:gd name="T114" fmla="*/ 119177 w 664"/>
                        <a:gd name="T115" fmla="*/ 271996 h 518"/>
                        <a:gd name="T116" fmla="*/ 100945 w 664"/>
                        <a:gd name="T117" fmla="*/ 266725 h 518"/>
                        <a:gd name="T118" fmla="*/ 82268 w 664"/>
                        <a:gd name="T119" fmla="*/ 256709 h 518"/>
                        <a:gd name="T120" fmla="*/ 71151 w 664"/>
                        <a:gd name="T121" fmla="*/ 247221 h 518"/>
                        <a:gd name="T122" fmla="*/ 64925 w 664"/>
                        <a:gd name="T123" fmla="*/ 237206 h 51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664" h="518">
                          <a:moveTo>
                            <a:pt x="146" y="450"/>
                          </a:moveTo>
                          <a:lnTo>
                            <a:pt x="148" y="447"/>
                          </a:lnTo>
                          <a:lnTo>
                            <a:pt x="149" y="445"/>
                          </a:lnTo>
                          <a:lnTo>
                            <a:pt x="150" y="441"/>
                          </a:lnTo>
                          <a:lnTo>
                            <a:pt x="151" y="438"/>
                          </a:lnTo>
                          <a:lnTo>
                            <a:pt x="151" y="431"/>
                          </a:lnTo>
                          <a:lnTo>
                            <a:pt x="150" y="424"/>
                          </a:lnTo>
                          <a:lnTo>
                            <a:pt x="147" y="411"/>
                          </a:lnTo>
                          <a:lnTo>
                            <a:pt x="146" y="400"/>
                          </a:lnTo>
                          <a:lnTo>
                            <a:pt x="147" y="378"/>
                          </a:lnTo>
                          <a:lnTo>
                            <a:pt x="149" y="364"/>
                          </a:lnTo>
                          <a:lnTo>
                            <a:pt x="151" y="353"/>
                          </a:lnTo>
                          <a:lnTo>
                            <a:pt x="152" y="339"/>
                          </a:lnTo>
                          <a:lnTo>
                            <a:pt x="150" y="320"/>
                          </a:lnTo>
                          <a:lnTo>
                            <a:pt x="146" y="298"/>
                          </a:lnTo>
                          <a:lnTo>
                            <a:pt x="141" y="273"/>
                          </a:lnTo>
                          <a:lnTo>
                            <a:pt x="139" y="252"/>
                          </a:lnTo>
                          <a:lnTo>
                            <a:pt x="134" y="251"/>
                          </a:lnTo>
                          <a:lnTo>
                            <a:pt x="127" y="249"/>
                          </a:lnTo>
                          <a:lnTo>
                            <a:pt x="119" y="246"/>
                          </a:lnTo>
                          <a:lnTo>
                            <a:pt x="109" y="241"/>
                          </a:lnTo>
                          <a:lnTo>
                            <a:pt x="87" y="231"/>
                          </a:lnTo>
                          <a:lnTo>
                            <a:pt x="64" y="217"/>
                          </a:lnTo>
                          <a:lnTo>
                            <a:pt x="20" y="192"/>
                          </a:lnTo>
                          <a:lnTo>
                            <a:pt x="0" y="178"/>
                          </a:lnTo>
                          <a:lnTo>
                            <a:pt x="19" y="172"/>
                          </a:lnTo>
                          <a:lnTo>
                            <a:pt x="24" y="171"/>
                          </a:lnTo>
                          <a:lnTo>
                            <a:pt x="28" y="168"/>
                          </a:lnTo>
                          <a:lnTo>
                            <a:pt x="31" y="165"/>
                          </a:lnTo>
                          <a:lnTo>
                            <a:pt x="36" y="159"/>
                          </a:lnTo>
                          <a:lnTo>
                            <a:pt x="39" y="155"/>
                          </a:lnTo>
                          <a:lnTo>
                            <a:pt x="44" y="151"/>
                          </a:lnTo>
                          <a:lnTo>
                            <a:pt x="48" y="148"/>
                          </a:lnTo>
                          <a:lnTo>
                            <a:pt x="52" y="147"/>
                          </a:lnTo>
                          <a:lnTo>
                            <a:pt x="92" y="159"/>
                          </a:lnTo>
                          <a:lnTo>
                            <a:pt x="100" y="155"/>
                          </a:lnTo>
                          <a:lnTo>
                            <a:pt x="108" y="153"/>
                          </a:lnTo>
                          <a:lnTo>
                            <a:pt x="116" y="152"/>
                          </a:lnTo>
                          <a:lnTo>
                            <a:pt x="125" y="152"/>
                          </a:lnTo>
                          <a:lnTo>
                            <a:pt x="132" y="153"/>
                          </a:lnTo>
                          <a:lnTo>
                            <a:pt x="140" y="155"/>
                          </a:lnTo>
                          <a:lnTo>
                            <a:pt x="147" y="157"/>
                          </a:lnTo>
                          <a:lnTo>
                            <a:pt x="152" y="159"/>
                          </a:lnTo>
                          <a:lnTo>
                            <a:pt x="152" y="86"/>
                          </a:lnTo>
                          <a:lnTo>
                            <a:pt x="165" y="94"/>
                          </a:lnTo>
                          <a:lnTo>
                            <a:pt x="175" y="102"/>
                          </a:lnTo>
                          <a:lnTo>
                            <a:pt x="181" y="105"/>
                          </a:lnTo>
                          <a:lnTo>
                            <a:pt x="185" y="109"/>
                          </a:lnTo>
                          <a:lnTo>
                            <a:pt x="192" y="110"/>
                          </a:lnTo>
                          <a:lnTo>
                            <a:pt x="198" y="111"/>
                          </a:lnTo>
                          <a:lnTo>
                            <a:pt x="207" y="110"/>
                          </a:lnTo>
                          <a:lnTo>
                            <a:pt x="217" y="107"/>
                          </a:lnTo>
                          <a:lnTo>
                            <a:pt x="226" y="103"/>
                          </a:lnTo>
                          <a:lnTo>
                            <a:pt x="236" y="99"/>
                          </a:lnTo>
                          <a:lnTo>
                            <a:pt x="246" y="93"/>
                          </a:lnTo>
                          <a:lnTo>
                            <a:pt x="255" y="87"/>
                          </a:lnTo>
                          <a:lnTo>
                            <a:pt x="264" y="80"/>
                          </a:lnTo>
                          <a:lnTo>
                            <a:pt x="273" y="73"/>
                          </a:lnTo>
                          <a:lnTo>
                            <a:pt x="282" y="65"/>
                          </a:lnTo>
                          <a:lnTo>
                            <a:pt x="289" y="57"/>
                          </a:lnTo>
                          <a:lnTo>
                            <a:pt x="297" y="48"/>
                          </a:lnTo>
                          <a:lnTo>
                            <a:pt x="303" y="40"/>
                          </a:lnTo>
                          <a:lnTo>
                            <a:pt x="308" y="32"/>
                          </a:lnTo>
                          <a:lnTo>
                            <a:pt x="313" y="25"/>
                          </a:lnTo>
                          <a:lnTo>
                            <a:pt x="316" y="18"/>
                          </a:lnTo>
                          <a:lnTo>
                            <a:pt x="318" y="12"/>
                          </a:lnTo>
                          <a:lnTo>
                            <a:pt x="337" y="11"/>
                          </a:lnTo>
                          <a:lnTo>
                            <a:pt x="354" y="8"/>
                          </a:lnTo>
                          <a:lnTo>
                            <a:pt x="370" y="4"/>
                          </a:lnTo>
                          <a:lnTo>
                            <a:pt x="385" y="0"/>
                          </a:lnTo>
                          <a:lnTo>
                            <a:pt x="385" y="24"/>
                          </a:lnTo>
                          <a:lnTo>
                            <a:pt x="404" y="32"/>
                          </a:lnTo>
                          <a:lnTo>
                            <a:pt x="422" y="40"/>
                          </a:lnTo>
                          <a:lnTo>
                            <a:pt x="440" y="50"/>
                          </a:lnTo>
                          <a:lnTo>
                            <a:pt x="457" y="61"/>
                          </a:lnTo>
                          <a:lnTo>
                            <a:pt x="475" y="72"/>
                          </a:lnTo>
                          <a:lnTo>
                            <a:pt x="493" y="81"/>
                          </a:lnTo>
                          <a:lnTo>
                            <a:pt x="511" y="90"/>
                          </a:lnTo>
                          <a:lnTo>
                            <a:pt x="531" y="98"/>
                          </a:lnTo>
                          <a:lnTo>
                            <a:pt x="538" y="101"/>
                          </a:lnTo>
                          <a:lnTo>
                            <a:pt x="552" y="107"/>
                          </a:lnTo>
                          <a:lnTo>
                            <a:pt x="561" y="111"/>
                          </a:lnTo>
                          <a:lnTo>
                            <a:pt x="569" y="114"/>
                          </a:lnTo>
                          <a:lnTo>
                            <a:pt x="578" y="116"/>
                          </a:lnTo>
                          <a:lnTo>
                            <a:pt x="584" y="117"/>
                          </a:lnTo>
                          <a:lnTo>
                            <a:pt x="604" y="118"/>
                          </a:lnTo>
                          <a:lnTo>
                            <a:pt x="623" y="121"/>
                          </a:lnTo>
                          <a:lnTo>
                            <a:pt x="644" y="124"/>
                          </a:lnTo>
                          <a:lnTo>
                            <a:pt x="664" y="129"/>
                          </a:lnTo>
                          <a:lnTo>
                            <a:pt x="658" y="136"/>
                          </a:lnTo>
                          <a:lnTo>
                            <a:pt x="654" y="145"/>
                          </a:lnTo>
                          <a:lnTo>
                            <a:pt x="650" y="155"/>
                          </a:lnTo>
                          <a:lnTo>
                            <a:pt x="645" y="166"/>
                          </a:lnTo>
                          <a:lnTo>
                            <a:pt x="638" y="189"/>
                          </a:lnTo>
                          <a:lnTo>
                            <a:pt x="629" y="212"/>
                          </a:lnTo>
                          <a:lnTo>
                            <a:pt x="620" y="236"/>
                          </a:lnTo>
                          <a:lnTo>
                            <a:pt x="609" y="256"/>
                          </a:lnTo>
                          <a:lnTo>
                            <a:pt x="604" y="265"/>
                          </a:lnTo>
                          <a:lnTo>
                            <a:pt x="598" y="272"/>
                          </a:lnTo>
                          <a:lnTo>
                            <a:pt x="591" y="279"/>
                          </a:lnTo>
                          <a:lnTo>
                            <a:pt x="584" y="283"/>
                          </a:lnTo>
                          <a:lnTo>
                            <a:pt x="585" y="286"/>
                          </a:lnTo>
                          <a:lnTo>
                            <a:pt x="588" y="290"/>
                          </a:lnTo>
                          <a:lnTo>
                            <a:pt x="593" y="294"/>
                          </a:lnTo>
                          <a:lnTo>
                            <a:pt x="599" y="298"/>
                          </a:lnTo>
                          <a:lnTo>
                            <a:pt x="606" y="301"/>
                          </a:lnTo>
                          <a:lnTo>
                            <a:pt x="612" y="304"/>
                          </a:lnTo>
                          <a:lnTo>
                            <a:pt x="618" y="307"/>
                          </a:lnTo>
                          <a:lnTo>
                            <a:pt x="623" y="307"/>
                          </a:lnTo>
                          <a:lnTo>
                            <a:pt x="623" y="326"/>
                          </a:lnTo>
                          <a:lnTo>
                            <a:pt x="623" y="334"/>
                          </a:lnTo>
                          <a:lnTo>
                            <a:pt x="622" y="340"/>
                          </a:lnTo>
                          <a:lnTo>
                            <a:pt x="622" y="344"/>
                          </a:lnTo>
                          <a:lnTo>
                            <a:pt x="620" y="347"/>
                          </a:lnTo>
                          <a:lnTo>
                            <a:pt x="618" y="353"/>
                          </a:lnTo>
                          <a:lnTo>
                            <a:pt x="617" y="363"/>
                          </a:lnTo>
                          <a:lnTo>
                            <a:pt x="618" y="372"/>
                          </a:lnTo>
                          <a:lnTo>
                            <a:pt x="618" y="381"/>
                          </a:lnTo>
                          <a:lnTo>
                            <a:pt x="620" y="391"/>
                          </a:lnTo>
                          <a:lnTo>
                            <a:pt x="622" y="399"/>
                          </a:lnTo>
                          <a:lnTo>
                            <a:pt x="624" y="408"/>
                          </a:lnTo>
                          <a:lnTo>
                            <a:pt x="629" y="416"/>
                          </a:lnTo>
                          <a:lnTo>
                            <a:pt x="632" y="423"/>
                          </a:lnTo>
                          <a:lnTo>
                            <a:pt x="638" y="430"/>
                          </a:lnTo>
                          <a:lnTo>
                            <a:pt x="622" y="444"/>
                          </a:lnTo>
                          <a:lnTo>
                            <a:pt x="608" y="457"/>
                          </a:lnTo>
                          <a:lnTo>
                            <a:pt x="593" y="469"/>
                          </a:lnTo>
                          <a:lnTo>
                            <a:pt x="577" y="480"/>
                          </a:lnTo>
                          <a:lnTo>
                            <a:pt x="569" y="484"/>
                          </a:lnTo>
                          <a:lnTo>
                            <a:pt x="561" y="487"/>
                          </a:lnTo>
                          <a:lnTo>
                            <a:pt x="551" y="489"/>
                          </a:lnTo>
                          <a:lnTo>
                            <a:pt x="542" y="489"/>
                          </a:lnTo>
                          <a:lnTo>
                            <a:pt x="532" y="488"/>
                          </a:lnTo>
                          <a:lnTo>
                            <a:pt x="521" y="485"/>
                          </a:lnTo>
                          <a:lnTo>
                            <a:pt x="509" y="481"/>
                          </a:lnTo>
                          <a:lnTo>
                            <a:pt x="497" y="474"/>
                          </a:lnTo>
                          <a:lnTo>
                            <a:pt x="487" y="466"/>
                          </a:lnTo>
                          <a:lnTo>
                            <a:pt x="477" y="460"/>
                          </a:lnTo>
                          <a:lnTo>
                            <a:pt x="473" y="458"/>
                          </a:lnTo>
                          <a:lnTo>
                            <a:pt x="467" y="457"/>
                          </a:lnTo>
                          <a:lnTo>
                            <a:pt x="463" y="456"/>
                          </a:lnTo>
                          <a:lnTo>
                            <a:pt x="457" y="456"/>
                          </a:lnTo>
                          <a:lnTo>
                            <a:pt x="450" y="456"/>
                          </a:lnTo>
                          <a:lnTo>
                            <a:pt x="443" y="457"/>
                          </a:lnTo>
                          <a:lnTo>
                            <a:pt x="436" y="459"/>
                          </a:lnTo>
                          <a:lnTo>
                            <a:pt x="429" y="462"/>
                          </a:lnTo>
                          <a:lnTo>
                            <a:pt x="423" y="465"/>
                          </a:lnTo>
                          <a:lnTo>
                            <a:pt x="417" y="468"/>
                          </a:lnTo>
                          <a:lnTo>
                            <a:pt x="411" y="472"/>
                          </a:lnTo>
                          <a:lnTo>
                            <a:pt x="406" y="477"/>
                          </a:lnTo>
                          <a:lnTo>
                            <a:pt x="397" y="486"/>
                          </a:lnTo>
                          <a:lnTo>
                            <a:pt x="390" y="496"/>
                          </a:lnTo>
                          <a:lnTo>
                            <a:pt x="388" y="503"/>
                          </a:lnTo>
                          <a:lnTo>
                            <a:pt x="386" y="508"/>
                          </a:lnTo>
                          <a:lnTo>
                            <a:pt x="385" y="512"/>
                          </a:lnTo>
                          <a:lnTo>
                            <a:pt x="385" y="517"/>
                          </a:lnTo>
                          <a:lnTo>
                            <a:pt x="364" y="518"/>
                          </a:lnTo>
                          <a:lnTo>
                            <a:pt x="343" y="517"/>
                          </a:lnTo>
                          <a:lnTo>
                            <a:pt x="333" y="515"/>
                          </a:lnTo>
                          <a:lnTo>
                            <a:pt x="325" y="512"/>
                          </a:lnTo>
                          <a:lnTo>
                            <a:pt x="321" y="510"/>
                          </a:lnTo>
                          <a:lnTo>
                            <a:pt x="317" y="507"/>
                          </a:lnTo>
                          <a:lnTo>
                            <a:pt x="314" y="503"/>
                          </a:lnTo>
                          <a:lnTo>
                            <a:pt x="311" y="499"/>
                          </a:lnTo>
                          <a:lnTo>
                            <a:pt x="307" y="500"/>
                          </a:lnTo>
                          <a:lnTo>
                            <a:pt x="303" y="502"/>
                          </a:lnTo>
                          <a:lnTo>
                            <a:pt x="299" y="505"/>
                          </a:lnTo>
                          <a:lnTo>
                            <a:pt x="296" y="508"/>
                          </a:lnTo>
                          <a:lnTo>
                            <a:pt x="293" y="511"/>
                          </a:lnTo>
                          <a:lnTo>
                            <a:pt x="289" y="514"/>
                          </a:lnTo>
                          <a:lnTo>
                            <a:pt x="287" y="516"/>
                          </a:lnTo>
                          <a:lnTo>
                            <a:pt x="285" y="517"/>
                          </a:lnTo>
                          <a:lnTo>
                            <a:pt x="277" y="517"/>
                          </a:lnTo>
                          <a:lnTo>
                            <a:pt x="268" y="516"/>
                          </a:lnTo>
                          <a:lnTo>
                            <a:pt x="259" y="514"/>
                          </a:lnTo>
                          <a:lnTo>
                            <a:pt x="248" y="512"/>
                          </a:lnTo>
                          <a:lnTo>
                            <a:pt x="227" y="506"/>
                          </a:lnTo>
                          <a:lnTo>
                            <a:pt x="205" y="496"/>
                          </a:lnTo>
                          <a:lnTo>
                            <a:pt x="195" y="492"/>
                          </a:lnTo>
                          <a:lnTo>
                            <a:pt x="185" y="487"/>
                          </a:lnTo>
                          <a:lnTo>
                            <a:pt x="175" y="481"/>
                          </a:lnTo>
                          <a:lnTo>
                            <a:pt x="168" y="475"/>
                          </a:lnTo>
                          <a:lnTo>
                            <a:pt x="160" y="469"/>
                          </a:lnTo>
                          <a:lnTo>
                            <a:pt x="153" y="463"/>
                          </a:lnTo>
                          <a:lnTo>
                            <a:pt x="149" y="456"/>
                          </a:lnTo>
                          <a:lnTo>
                            <a:pt x="146" y="450"/>
                          </a:lnTo>
                        </a:path>
                      </a:pathLst>
                    </a:custGeom>
                    <a:grpFill/>
                    <a:ln w="9525" cap="flat" cmpd="sng">
                      <a:solidFill>
                        <a:schemeClr val="bg1"/>
                      </a:solidFill>
                      <a:prstDash val="solid"/>
                      <a:round/>
                      <a:headEnd type="none" w="med" len="med"/>
                      <a:tailEnd type="none" w="med" len="med"/>
                    </a:ln>
                    <a:effectLst/>
                  </p:spPr>
                  <p:txBody>
                    <a:bodyPr/>
                    <a:lstStyle/>
                    <a:p>
                      <a:endParaRPr lang="en-GB" sz="1637"/>
                    </a:p>
                  </p:txBody>
                </p:sp>
                <p:sp>
                  <p:nvSpPr>
                    <p:cNvPr id="512" name="Freeform 473"/>
                    <p:cNvSpPr>
                      <a:spLocks/>
                    </p:cNvSpPr>
                    <p:nvPr>
                      <p:custDataLst>
                        <p:tags r:id="rId341"/>
                      </p:custDataLst>
                    </p:nvPr>
                  </p:nvSpPr>
                  <p:spPr bwMode="auto">
                    <a:xfrm>
                      <a:off x="4038112" y="2182913"/>
                      <a:ext cx="45719" cy="45719"/>
                    </a:xfrm>
                    <a:custGeom>
                      <a:avLst/>
                      <a:gdLst>
                        <a:gd name="T0" fmla="*/ 0 w 46"/>
                        <a:gd name="T1" fmla="*/ 30163 h 50"/>
                        <a:gd name="T2" fmla="*/ 828 w 46"/>
                        <a:gd name="T3" fmla="*/ 21717 h 50"/>
                        <a:gd name="T4" fmla="*/ 414 w 46"/>
                        <a:gd name="T5" fmla="*/ 16891 h 50"/>
                        <a:gd name="T6" fmla="*/ 828 w 46"/>
                        <a:gd name="T7" fmla="*/ 15685 h 50"/>
                        <a:gd name="T8" fmla="*/ 1242 w 46"/>
                        <a:gd name="T9" fmla="*/ 15685 h 50"/>
                        <a:gd name="T10" fmla="*/ 2485 w 46"/>
                        <a:gd name="T11" fmla="*/ 14478 h 50"/>
                        <a:gd name="T12" fmla="*/ 5384 w 46"/>
                        <a:gd name="T13" fmla="*/ 14478 h 50"/>
                        <a:gd name="T14" fmla="*/ 19050 w 46"/>
                        <a:gd name="T15" fmla="*/ 0 h 50"/>
                        <a:gd name="T16" fmla="*/ 19050 w 46"/>
                        <a:gd name="T17" fmla="*/ 60325 h 50"/>
                        <a:gd name="T18" fmla="*/ 16565 w 46"/>
                        <a:gd name="T19" fmla="*/ 59119 h 50"/>
                        <a:gd name="T20" fmla="*/ 13666 w 46"/>
                        <a:gd name="T21" fmla="*/ 54293 h 50"/>
                        <a:gd name="T22" fmla="*/ 10353 w 46"/>
                        <a:gd name="T23" fmla="*/ 49467 h 50"/>
                        <a:gd name="T24" fmla="*/ 7040 w 46"/>
                        <a:gd name="T25" fmla="*/ 44641 h 50"/>
                        <a:gd name="T26" fmla="*/ 2071 w 46"/>
                        <a:gd name="T27" fmla="*/ 33782 h 50"/>
                        <a:gd name="T28" fmla="*/ 0 w 46"/>
                        <a:gd name="T29" fmla="*/ 30163 h 5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6" h="50">
                          <a:moveTo>
                            <a:pt x="0" y="25"/>
                          </a:moveTo>
                          <a:lnTo>
                            <a:pt x="2" y="18"/>
                          </a:lnTo>
                          <a:lnTo>
                            <a:pt x="1" y="14"/>
                          </a:lnTo>
                          <a:lnTo>
                            <a:pt x="2" y="13"/>
                          </a:lnTo>
                          <a:lnTo>
                            <a:pt x="3" y="13"/>
                          </a:lnTo>
                          <a:lnTo>
                            <a:pt x="6" y="12"/>
                          </a:lnTo>
                          <a:lnTo>
                            <a:pt x="13" y="12"/>
                          </a:lnTo>
                          <a:lnTo>
                            <a:pt x="46" y="0"/>
                          </a:lnTo>
                          <a:lnTo>
                            <a:pt x="46" y="50"/>
                          </a:lnTo>
                          <a:lnTo>
                            <a:pt x="40" y="49"/>
                          </a:lnTo>
                          <a:lnTo>
                            <a:pt x="33" y="45"/>
                          </a:lnTo>
                          <a:lnTo>
                            <a:pt x="25" y="41"/>
                          </a:lnTo>
                          <a:lnTo>
                            <a:pt x="17" y="37"/>
                          </a:lnTo>
                          <a:lnTo>
                            <a:pt x="5" y="28"/>
                          </a:lnTo>
                          <a:lnTo>
                            <a:pt x="0" y="25"/>
                          </a:lnTo>
                        </a:path>
                      </a:pathLst>
                    </a:custGeom>
                    <a:grpFill/>
                    <a:ln w="9525" cap="flat" cmpd="sng">
                      <a:solidFill>
                        <a:schemeClr val="bg1"/>
                      </a:solidFill>
                      <a:prstDash val="solid"/>
                      <a:round/>
                      <a:headEnd type="none" w="med" len="med"/>
                      <a:tailEnd type="none" w="med" len="med"/>
                    </a:ln>
                    <a:effectLst/>
                  </p:spPr>
                  <p:txBody>
                    <a:bodyPr/>
                    <a:lstStyle/>
                    <a:p>
                      <a:endParaRPr lang="en-GB" sz="1637"/>
                    </a:p>
                  </p:txBody>
                </p:sp>
              </p:grpSp>
              <p:sp>
                <p:nvSpPr>
                  <p:cNvPr id="497" name="Freeform 519"/>
                  <p:cNvSpPr>
                    <a:spLocks/>
                  </p:cNvSpPr>
                  <p:nvPr>
                    <p:custDataLst>
                      <p:tags r:id="rId326"/>
                    </p:custDataLst>
                  </p:nvPr>
                </p:nvSpPr>
                <p:spPr bwMode="auto">
                  <a:xfrm>
                    <a:off x="4354506" y="2013655"/>
                    <a:ext cx="51989" cy="66266"/>
                  </a:xfrm>
                  <a:custGeom>
                    <a:avLst/>
                    <a:gdLst>
                      <a:gd name="T0" fmla="*/ 15716 w 100"/>
                      <a:gd name="T1" fmla="*/ 0 h 55"/>
                      <a:gd name="T2" fmla="*/ 47625 w 100"/>
                      <a:gd name="T3" fmla="*/ 12816 h 55"/>
                      <a:gd name="T4" fmla="*/ 47625 w 100"/>
                      <a:gd name="T5" fmla="*/ 58738 h 55"/>
                      <a:gd name="T6" fmla="*/ 6191 w 100"/>
                      <a:gd name="T7" fmla="*/ 58738 h 55"/>
                      <a:gd name="T8" fmla="*/ 0 w 100"/>
                      <a:gd name="T9" fmla="*/ 45922 h 55"/>
                      <a:gd name="T10" fmla="*/ 476 w 100"/>
                      <a:gd name="T11" fmla="*/ 40583 h 55"/>
                      <a:gd name="T12" fmla="*/ 1905 w 100"/>
                      <a:gd name="T13" fmla="*/ 34175 h 55"/>
                      <a:gd name="T14" fmla="*/ 4763 w 100"/>
                      <a:gd name="T15" fmla="*/ 26699 h 55"/>
                      <a:gd name="T16" fmla="*/ 7620 w 100"/>
                      <a:gd name="T17" fmla="*/ 19223 h 55"/>
                      <a:gd name="T18" fmla="*/ 12859 w 100"/>
                      <a:gd name="T19" fmla="*/ 5340 h 55"/>
                      <a:gd name="T20" fmla="*/ 15716 w 100"/>
                      <a:gd name="T21" fmla="*/ 0 h 5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00" h="55">
                        <a:moveTo>
                          <a:pt x="33" y="0"/>
                        </a:moveTo>
                        <a:lnTo>
                          <a:pt x="100" y="12"/>
                        </a:lnTo>
                        <a:lnTo>
                          <a:pt x="100" y="55"/>
                        </a:lnTo>
                        <a:lnTo>
                          <a:pt x="13" y="55"/>
                        </a:lnTo>
                        <a:lnTo>
                          <a:pt x="0" y="43"/>
                        </a:lnTo>
                        <a:lnTo>
                          <a:pt x="1" y="38"/>
                        </a:lnTo>
                        <a:lnTo>
                          <a:pt x="4" y="32"/>
                        </a:lnTo>
                        <a:lnTo>
                          <a:pt x="10" y="25"/>
                        </a:lnTo>
                        <a:lnTo>
                          <a:pt x="16" y="18"/>
                        </a:lnTo>
                        <a:lnTo>
                          <a:pt x="27" y="5"/>
                        </a:lnTo>
                        <a:lnTo>
                          <a:pt x="33" y="0"/>
                        </a:lnTo>
                      </a:path>
                    </a:pathLst>
                  </a:custGeom>
                  <a:grpFill/>
                  <a:ln w="9525" cap="flat" cmpd="sng">
                    <a:solidFill>
                      <a:schemeClr val="bg1"/>
                    </a:solidFill>
                    <a:prstDash val="solid"/>
                    <a:round/>
                    <a:headEnd type="none" w="med" len="med"/>
                    <a:tailEnd type="none" w="med" len="med"/>
                  </a:ln>
                  <a:effectLst/>
                </p:spPr>
                <p:txBody>
                  <a:bodyPr/>
                  <a:lstStyle/>
                  <a:p>
                    <a:endParaRPr lang="en-GB" sz="1637"/>
                  </a:p>
                </p:txBody>
              </p:sp>
              <p:sp>
                <p:nvSpPr>
                  <p:cNvPr id="498" name="Freeform 529"/>
                  <p:cNvSpPr>
                    <a:spLocks/>
                  </p:cNvSpPr>
                  <p:nvPr>
                    <p:custDataLst>
                      <p:tags r:id="rId327"/>
                    </p:custDataLst>
                  </p:nvPr>
                </p:nvSpPr>
                <p:spPr bwMode="auto">
                  <a:xfrm>
                    <a:off x="3964586" y="2549154"/>
                    <a:ext cx="17330" cy="64475"/>
                  </a:xfrm>
                  <a:custGeom>
                    <a:avLst/>
                    <a:gdLst>
                      <a:gd name="T0" fmla="*/ 15875 w 34"/>
                      <a:gd name="T1" fmla="*/ 57150 h 49"/>
                      <a:gd name="T2" fmla="*/ 15875 w 34"/>
                      <a:gd name="T3" fmla="*/ 39655 h 49"/>
                      <a:gd name="T4" fmla="*/ 15875 w 34"/>
                      <a:gd name="T5" fmla="*/ 29158 h 49"/>
                      <a:gd name="T6" fmla="*/ 15408 w 34"/>
                      <a:gd name="T7" fmla="*/ 24493 h 49"/>
                      <a:gd name="T8" fmla="*/ 15408 w 34"/>
                      <a:gd name="T9" fmla="*/ 19828 h 49"/>
                      <a:gd name="T10" fmla="*/ 14474 w 34"/>
                      <a:gd name="T11" fmla="*/ 17495 h 49"/>
                      <a:gd name="T12" fmla="*/ 14007 w 34"/>
                      <a:gd name="T13" fmla="*/ 13996 h 49"/>
                      <a:gd name="T14" fmla="*/ 11673 w 34"/>
                      <a:gd name="T15" fmla="*/ 9331 h 49"/>
                      <a:gd name="T16" fmla="*/ 9805 w 34"/>
                      <a:gd name="T17" fmla="*/ 0 h 49"/>
                      <a:gd name="T18" fmla="*/ 3735 w 34"/>
                      <a:gd name="T19" fmla="*/ 0 h 49"/>
                      <a:gd name="T20" fmla="*/ 0 w 34"/>
                      <a:gd name="T21" fmla="*/ 0 h 49"/>
                      <a:gd name="T22" fmla="*/ 1401 w 34"/>
                      <a:gd name="T23" fmla="*/ 12830 h 49"/>
                      <a:gd name="T24" fmla="*/ 3268 w 34"/>
                      <a:gd name="T25" fmla="*/ 23327 h 49"/>
                      <a:gd name="T26" fmla="*/ 4669 w 34"/>
                      <a:gd name="T27" fmla="*/ 31491 h 49"/>
                      <a:gd name="T28" fmla="*/ 6537 w 34"/>
                      <a:gd name="T29" fmla="*/ 39655 h 49"/>
                      <a:gd name="T30" fmla="*/ 8871 w 34"/>
                      <a:gd name="T31" fmla="*/ 45487 h 49"/>
                      <a:gd name="T32" fmla="*/ 11206 w 34"/>
                      <a:gd name="T33" fmla="*/ 50152 h 49"/>
                      <a:gd name="T34" fmla="*/ 13540 w 34"/>
                      <a:gd name="T35" fmla="*/ 53651 h 49"/>
                      <a:gd name="T36" fmla="*/ 15875 w 34"/>
                      <a:gd name="T37" fmla="*/ 57150 h 4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34" h="49">
                        <a:moveTo>
                          <a:pt x="34" y="49"/>
                        </a:moveTo>
                        <a:lnTo>
                          <a:pt x="34" y="34"/>
                        </a:lnTo>
                        <a:lnTo>
                          <a:pt x="34" y="25"/>
                        </a:lnTo>
                        <a:lnTo>
                          <a:pt x="33" y="21"/>
                        </a:lnTo>
                        <a:lnTo>
                          <a:pt x="33" y="17"/>
                        </a:lnTo>
                        <a:lnTo>
                          <a:pt x="31" y="15"/>
                        </a:lnTo>
                        <a:lnTo>
                          <a:pt x="30" y="12"/>
                        </a:lnTo>
                        <a:lnTo>
                          <a:pt x="25" y="8"/>
                        </a:lnTo>
                        <a:lnTo>
                          <a:pt x="21" y="0"/>
                        </a:lnTo>
                        <a:lnTo>
                          <a:pt x="8" y="0"/>
                        </a:lnTo>
                        <a:lnTo>
                          <a:pt x="0" y="0"/>
                        </a:lnTo>
                        <a:lnTo>
                          <a:pt x="3" y="11"/>
                        </a:lnTo>
                        <a:lnTo>
                          <a:pt x="7" y="20"/>
                        </a:lnTo>
                        <a:lnTo>
                          <a:pt x="10" y="27"/>
                        </a:lnTo>
                        <a:lnTo>
                          <a:pt x="14" y="34"/>
                        </a:lnTo>
                        <a:lnTo>
                          <a:pt x="19" y="39"/>
                        </a:lnTo>
                        <a:lnTo>
                          <a:pt x="24" y="43"/>
                        </a:lnTo>
                        <a:lnTo>
                          <a:pt x="29" y="46"/>
                        </a:lnTo>
                        <a:lnTo>
                          <a:pt x="34" y="49"/>
                        </a:lnTo>
                      </a:path>
                    </a:pathLst>
                  </a:custGeom>
                  <a:grpFill/>
                  <a:ln w="9525" cap="flat" cmpd="sng">
                    <a:solidFill>
                      <a:schemeClr val="bg1"/>
                    </a:solidFill>
                    <a:prstDash val="solid"/>
                    <a:round/>
                    <a:headEnd type="none" w="med" len="med"/>
                    <a:tailEnd type="none" w="med" len="med"/>
                  </a:ln>
                  <a:effectLst/>
                </p:spPr>
                <p:txBody>
                  <a:bodyPr/>
                  <a:lstStyle/>
                  <a:p>
                    <a:endParaRPr lang="en-GB" sz="1637"/>
                  </a:p>
                </p:txBody>
              </p:sp>
            </p:grpSp>
          </p:grpSp>
        </p:grpSp>
        <p:grpSp>
          <p:nvGrpSpPr>
            <p:cNvPr id="15" name="Group 52"/>
            <p:cNvGrpSpPr/>
            <p:nvPr/>
          </p:nvGrpSpPr>
          <p:grpSpPr>
            <a:xfrm>
              <a:off x="852156" y="2828545"/>
              <a:ext cx="2240741" cy="3175380"/>
              <a:chOff x="852156" y="2828545"/>
              <a:chExt cx="2240741" cy="3175380"/>
            </a:xfrm>
            <a:grpFill/>
          </p:grpSpPr>
          <p:sp>
            <p:nvSpPr>
              <p:cNvPr id="410" name="Freeform 4"/>
              <p:cNvSpPr>
                <a:spLocks/>
              </p:cNvSpPr>
              <p:nvPr>
                <p:custDataLst>
                  <p:tags r:id="rId254"/>
                </p:custDataLst>
              </p:nvPr>
            </p:nvSpPr>
            <p:spPr bwMode="auto">
              <a:xfrm>
                <a:off x="2280131" y="5932286"/>
                <a:ext cx="36392" cy="64475"/>
              </a:xfrm>
              <a:custGeom>
                <a:avLst/>
                <a:gdLst>
                  <a:gd name="T0" fmla="*/ 0 w 73"/>
                  <a:gd name="T1" fmla="*/ 0 h 20"/>
                  <a:gd name="T2" fmla="*/ 457 w 73"/>
                  <a:gd name="T3" fmla="*/ 14288 h 20"/>
                  <a:gd name="T4" fmla="*/ 1827 w 73"/>
                  <a:gd name="T5" fmla="*/ 28575 h 20"/>
                  <a:gd name="T6" fmla="*/ 3653 w 73"/>
                  <a:gd name="T7" fmla="*/ 40005 h 20"/>
                  <a:gd name="T8" fmla="*/ 5937 w 73"/>
                  <a:gd name="T9" fmla="*/ 57150 h 20"/>
                  <a:gd name="T10" fmla="*/ 7307 w 73"/>
                  <a:gd name="T11" fmla="*/ 48578 h 20"/>
                  <a:gd name="T12" fmla="*/ 8677 w 73"/>
                  <a:gd name="T13" fmla="*/ 37148 h 20"/>
                  <a:gd name="T14" fmla="*/ 10503 w 73"/>
                  <a:gd name="T15" fmla="*/ 31433 h 20"/>
                  <a:gd name="T16" fmla="*/ 12330 w 73"/>
                  <a:gd name="T17" fmla="*/ 28575 h 20"/>
                  <a:gd name="T18" fmla="*/ 16440 w 73"/>
                  <a:gd name="T19" fmla="*/ 22860 h 20"/>
                  <a:gd name="T20" fmla="*/ 21007 w 73"/>
                  <a:gd name="T21" fmla="*/ 20003 h 20"/>
                  <a:gd name="T22" fmla="*/ 24660 w 73"/>
                  <a:gd name="T23" fmla="*/ 20003 h 20"/>
                  <a:gd name="T24" fmla="*/ 28770 w 73"/>
                  <a:gd name="T25" fmla="*/ 17145 h 20"/>
                  <a:gd name="T26" fmla="*/ 30140 w 73"/>
                  <a:gd name="T27" fmla="*/ 14288 h 20"/>
                  <a:gd name="T28" fmla="*/ 31510 w 73"/>
                  <a:gd name="T29" fmla="*/ 11430 h 20"/>
                  <a:gd name="T30" fmla="*/ 32424 w 73"/>
                  <a:gd name="T31" fmla="*/ 5715 h 20"/>
                  <a:gd name="T32" fmla="*/ 33337 w 73"/>
                  <a:gd name="T33" fmla="*/ 0 h 20"/>
                  <a:gd name="T34" fmla="*/ 0 w 73"/>
                  <a:gd name="T35" fmla="*/ 0 h 2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3" h="20">
                    <a:moveTo>
                      <a:pt x="0" y="0"/>
                    </a:moveTo>
                    <a:lnTo>
                      <a:pt x="1" y="5"/>
                    </a:lnTo>
                    <a:lnTo>
                      <a:pt x="4" y="10"/>
                    </a:lnTo>
                    <a:lnTo>
                      <a:pt x="8" y="14"/>
                    </a:lnTo>
                    <a:lnTo>
                      <a:pt x="13" y="20"/>
                    </a:lnTo>
                    <a:lnTo>
                      <a:pt x="16" y="17"/>
                    </a:lnTo>
                    <a:lnTo>
                      <a:pt x="19" y="13"/>
                    </a:lnTo>
                    <a:lnTo>
                      <a:pt x="23" y="11"/>
                    </a:lnTo>
                    <a:lnTo>
                      <a:pt x="27" y="10"/>
                    </a:lnTo>
                    <a:lnTo>
                      <a:pt x="36" y="8"/>
                    </a:lnTo>
                    <a:lnTo>
                      <a:pt x="46" y="7"/>
                    </a:lnTo>
                    <a:lnTo>
                      <a:pt x="54" y="7"/>
                    </a:lnTo>
                    <a:lnTo>
                      <a:pt x="63" y="6"/>
                    </a:lnTo>
                    <a:lnTo>
                      <a:pt x="66" y="5"/>
                    </a:lnTo>
                    <a:lnTo>
                      <a:pt x="69" y="4"/>
                    </a:lnTo>
                    <a:lnTo>
                      <a:pt x="71" y="2"/>
                    </a:lnTo>
                    <a:lnTo>
                      <a:pt x="73" y="0"/>
                    </a:lnTo>
                    <a:lnTo>
                      <a:pt x="0" y="0"/>
                    </a:lnTo>
                  </a:path>
                </a:pathLst>
              </a:custGeom>
              <a:grpFill/>
              <a:ln w="9525" cmpd="sng">
                <a:solidFill>
                  <a:srgbClr val="FFFFFF"/>
                </a:solidFill>
                <a:prstDash val="solid"/>
                <a:round/>
                <a:headEnd/>
                <a:tailEnd/>
              </a:ln>
            </p:spPr>
            <p:txBody>
              <a:bodyPr/>
              <a:lstStyle/>
              <a:p>
                <a:endParaRPr lang="en-GB" sz="1637"/>
              </a:p>
            </p:txBody>
          </p:sp>
          <p:sp>
            <p:nvSpPr>
              <p:cNvPr id="411" name="Freeform 7"/>
              <p:cNvSpPr>
                <a:spLocks/>
              </p:cNvSpPr>
              <p:nvPr>
                <p:custDataLst>
                  <p:tags r:id="rId255"/>
                </p:custDataLst>
              </p:nvPr>
            </p:nvSpPr>
            <p:spPr bwMode="auto">
              <a:xfrm>
                <a:off x="1682252" y="3978344"/>
                <a:ext cx="370857" cy="666239"/>
              </a:xfrm>
              <a:custGeom>
                <a:avLst/>
                <a:gdLst>
                  <a:gd name="T0" fmla="*/ 252627 w 784"/>
                  <a:gd name="T1" fmla="*/ 145020 h 1128"/>
                  <a:gd name="T2" fmla="*/ 237894 w 784"/>
                  <a:gd name="T3" fmla="*/ 154443 h 1128"/>
                  <a:gd name="T4" fmla="*/ 209728 w 784"/>
                  <a:gd name="T5" fmla="*/ 202609 h 1128"/>
                  <a:gd name="T6" fmla="*/ 201495 w 784"/>
                  <a:gd name="T7" fmla="*/ 239257 h 1128"/>
                  <a:gd name="T8" fmla="*/ 208428 w 784"/>
                  <a:gd name="T9" fmla="*/ 273286 h 1128"/>
                  <a:gd name="T10" fmla="*/ 229661 w 784"/>
                  <a:gd name="T11" fmla="*/ 309411 h 1128"/>
                  <a:gd name="T12" fmla="*/ 250894 w 784"/>
                  <a:gd name="T13" fmla="*/ 322499 h 1128"/>
                  <a:gd name="T14" fmla="*/ 270827 w 784"/>
                  <a:gd name="T15" fmla="*/ 314122 h 1128"/>
                  <a:gd name="T16" fmla="*/ 283393 w 784"/>
                  <a:gd name="T17" fmla="*/ 341870 h 1128"/>
                  <a:gd name="T18" fmla="*/ 291193 w 784"/>
                  <a:gd name="T19" fmla="*/ 357576 h 1128"/>
                  <a:gd name="T20" fmla="*/ 309392 w 784"/>
                  <a:gd name="T21" fmla="*/ 359670 h 1128"/>
                  <a:gd name="T22" fmla="*/ 324559 w 784"/>
                  <a:gd name="T23" fmla="*/ 372759 h 1128"/>
                  <a:gd name="T24" fmla="*/ 333658 w 784"/>
                  <a:gd name="T25" fmla="*/ 395794 h 1128"/>
                  <a:gd name="T26" fmla="*/ 329759 w 784"/>
                  <a:gd name="T27" fmla="*/ 413594 h 1128"/>
                  <a:gd name="T28" fmla="*/ 329325 w 784"/>
                  <a:gd name="T29" fmla="*/ 431918 h 1128"/>
                  <a:gd name="T30" fmla="*/ 334525 w 784"/>
                  <a:gd name="T31" fmla="*/ 461760 h 1128"/>
                  <a:gd name="T32" fmla="*/ 328459 w 784"/>
                  <a:gd name="T33" fmla="*/ 487937 h 1128"/>
                  <a:gd name="T34" fmla="*/ 333658 w 784"/>
                  <a:gd name="T35" fmla="*/ 520396 h 1128"/>
                  <a:gd name="T36" fmla="*/ 330625 w 784"/>
                  <a:gd name="T37" fmla="*/ 551808 h 1128"/>
                  <a:gd name="T38" fmla="*/ 299426 w 784"/>
                  <a:gd name="T39" fmla="*/ 587409 h 1128"/>
                  <a:gd name="T40" fmla="*/ 280793 w 784"/>
                  <a:gd name="T41" fmla="*/ 577462 h 1128"/>
                  <a:gd name="T42" fmla="*/ 260860 w 784"/>
                  <a:gd name="T43" fmla="*/ 552855 h 1128"/>
                  <a:gd name="T44" fmla="*/ 200628 w 784"/>
                  <a:gd name="T45" fmla="*/ 522490 h 1128"/>
                  <a:gd name="T46" fmla="*/ 184162 w 784"/>
                  <a:gd name="T47" fmla="*/ 506261 h 1128"/>
                  <a:gd name="T48" fmla="*/ 143430 w 784"/>
                  <a:gd name="T49" fmla="*/ 468042 h 1128"/>
                  <a:gd name="T50" fmla="*/ 137797 w 784"/>
                  <a:gd name="T51" fmla="*/ 453907 h 1128"/>
                  <a:gd name="T52" fmla="*/ 142130 w 784"/>
                  <a:gd name="T53" fmla="*/ 426683 h 1128"/>
                  <a:gd name="T54" fmla="*/ 125664 w 784"/>
                  <a:gd name="T55" fmla="*/ 407312 h 1128"/>
                  <a:gd name="T56" fmla="*/ 112231 w 784"/>
                  <a:gd name="T57" fmla="*/ 390035 h 1128"/>
                  <a:gd name="T58" fmla="*/ 105297 w 784"/>
                  <a:gd name="T59" fmla="*/ 360717 h 1128"/>
                  <a:gd name="T60" fmla="*/ 66298 w 784"/>
                  <a:gd name="T61" fmla="*/ 277475 h 1128"/>
                  <a:gd name="T62" fmla="*/ 51999 w 784"/>
                  <a:gd name="T63" fmla="*/ 254963 h 1128"/>
                  <a:gd name="T64" fmla="*/ 38999 w 784"/>
                  <a:gd name="T65" fmla="*/ 226168 h 1128"/>
                  <a:gd name="T66" fmla="*/ 9533 w 784"/>
                  <a:gd name="T67" fmla="*/ 207844 h 1128"/>
                  <a:gd name="T68" fmla="*/ 0 w 784"/>
                  <a:gd name="T69" fmla="*/ 190044 h 1128"/>
                  <a:gd name="T70" fmla="*/ 5633 w 784"/>
                  <a:gd name="T71" fmla="*/ 144496 h 1128"/>
                  <a:gd name="T72" fmla="*/ 12133 w 784"/>
                  <a:gd name="T73" fmla="*/ 128790 h 1128"/>
                  <a:gd name="T74" fmla="*/ 31199 w 784"/>
                  <a:gd name="T75" fmla="*/ 116225 h 1128"/>
                  <a:gd name="T76" fmla="*/ 41166 w 784"/>
                  <a:gd name="T77" fmla="*/ 142402 h 1128"/>
                  <a:gd name="T78" fmla="*/ 68465 w 784"/>
                  <a:gd name="T79" fmla="*/ 160726 h 1128"/>
                  <a:gd name="T80" fmla="*/ 79731 w 784"/>
                  <a:gd name="T81" fmla="*/ 141879 h 1128"/>
                  <a:gd name="T82" fmla="*/ 87098 w 784"/>
                  <a:gd name="T83" fmla="*/ 117796 h 1128"/>
                  <a:gd name="T84" fmla="*/ 116997 w 784"/>
                  <a:gd name="T85" fmla="*/ 89001 h 1128"/>
                  <a:gd name="T86" fmla="*/ 149063 w 784"/>
                  <a:gd name="T87" fmla="*/ 62824 h 1128"/>
                  <a:gd name="T88" fmla="*/ 154696 w 784"/>
                  <a:gd name="T89" fmla="*/ 36648 h 1128"/>
                  <a:gd name="T90" fmla="*/ 150363 w 784"/>
                  <a:gd name="T91" fmla="*/ 2618 h 1128"/>
                  <a:gd name="T92" fmla="*/ 182862 w 784"/>
                  <a:gd name="T93" fmla="*/ 27747 h 1128"/>
                  <a:gd name="T94" fmla="*/ 202362 w 784"/>
                  <a:gd name="T95" fmla="*/ 56018 h 1128"/>
                  <a:gd name="T96" fmla="*/ 219261 w 784"/>
                  <a:gd name="T97" fmla="*/ 80625 h 1128"/>
                  <a:gd name="T98" fmla="*/ 243094 w 784"/>
                  <a:gd name="T99" fmla="*/ 82195 h 1128"/>
                  <a:gd name="T100" fmla="*/ 267360 w 784"/>
                  <a:gd name="T101" fmla="*/ 78007 h 1128"/>
                  <a:gd name="T102" fmla="*/ 277327 w 784"/>
                  <a:gd name="T103" fmla="*/ 81672 h 1128"/>
                  <a:gd name="T104" fmla="*/ 283393 w 784"/>
                  <a:gd name="T105" fmla="*/ 101043 h 1128"/>
                  <a:gd name="T106" fmla="*/ 271693 w 784"/>
                  <a:gd name="T107" fmla="*/ 109943 h 1128"/>
                  <a:gd name="T108" fmla="*/ 271693 w 784"/>
                  <a:gd name="T109" fmla="*/ 125649 h 112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84" h="1128">
                    <a:moveTo>
                      <a:pt x="644" y="259"/>
                    </a:moveTo>
                    <a:lnTo>
                      <a:pt x="632" y="265"/>
                    </a:lnTo>
                    <a:lnTo>
                      <a:pt x="621" y="270"/>
                    </a:lnTo>
                    <a:lnTo>
                      <a:pt x="611" y="273"/>
                    </a:lnTo>
                    <a:lnTo>
                      <a:pt x="602" y="275"/>
                    </a:lnTo>
                    <a:lnTo>
                      <a:pt x="583" y="277"/>
                    </a:lnTo>
                    <a:lnTo>
                      <a:pt x="564" y="278"/>
                    </a:lnTo>
                    <a:lnTo>
                      <a:pt x="560" y="278"/>
                    </a:lnTo>
                    <a:lnTo>
                      <a:pt x="557" y="280"/>
                    </a:lnTo>
                    <a:lnTo>
                      <a:pt x="554" y="284"/>
                    </a:lnTo>
                    <a:lnTo>
                      <a:pt x="552" y="287"/>
                    </a:lnTo>
                    <a:lnTo>
                      <a:pt x="549" y="295"/>
                    </a:lnTo>
                    <a:lnTo>
                      <a:pt x="545" y="302"/>
                    </a:lnTo>
                    <a:lnTo>
                      <a:pt x="529" y="318"/>
                    </a:lnTo>
                    <a:lnTo>
                      <a:pt x="515" y="335"/>
                    </a:lnTo>
                    <a:lnTo>
                      <a:pt x="502" y="354"/>
                    </a:lnTo>
                    <a:lnTo>
                      <a:pt x="490" y="376"/>
                    </a:lnTo>
                    <a:lnTo>
                      <a:pt x="484" y="387"/>
                    </a:lnTo>
                    <a:lnTo>
                      <a:pt x="480" y="398"/>
                    </a:lnTo>
                    <a:lnTo>
                      <a:pt x="475" y="410"/>
                    </a:lnTo>
                    <a:lnTo>
                      <a:pt x="471" y="422"/>
                    </a:lnTo>
                    <a:lnTo>
                      <a:pt x="469" y="434"/>
                    </a:lnTo>
                    <a:lnTo>
                      <a:pt x="467" y="445"/>
                    </a:lnTo>
                    <a:lnTo>
                      <a:pt x="465" y="457"/>
                    </a:lnTo>
                    <a:lnTo>
                      <a:pt x="464" y="468"/>
                    </a:lnTo>
                    <a:lnTo>
                      <a:pt x="465" y="478"/>
                    </a:lnTo>
                    <a:lnTo>
                      <a:pt x="468" y="488"/>
                    </a:lnTo>
                    <a:lnTo>
                      <a:pt x="471" y="498"/>
                    </a:lnTo>
                    <a:lnTo>
                      <a:pt x="475" y="510"/>
                    </a:lnTo>
                    <a:lnTo>
                      <a:pt x="481" y="522"/>
                    </a:lnTo>
                    <a:lnTo>
                      <a:pt x="486" y="535"/>
                    </a:lnTo>
                    <a:lnTo>
                      <a:pt x="494" y="547"/>
                    </a:lnTo>
                    <a:lnTo>
                      <a:pt x="502" y="559"/>
                    </a:lnTo>
                    <a:lnTo>
                      <a:pt x="510" y="570"/>
                    </a:lnTo>
                    <a:lnTo>
                      <a:pt x="520" y="581"/>
                    </a:lnTo>
                    <a:lnTo>
                      <a:pt x="530" y="591"/>
                    </a:lnTo>
                    <a:lnTo>
                      <a:pt x="540" y="600"/>
                    </a:lnTo>
                    <a:lnTo>
                      <a:pt x="551" y="607"/>
                    </a:lnTo>
                    <a:lnTo>
                      <a:pt x="562" y="612"/>
                    </a:lnTo>
                    <a:lnTo>
                      <a:pt x="568" y="614"/>
                    </a:lnTo>
                    <a:lnTo>
                      <a:pt x="573" y="615"/>
                    </a:lnTo>
                    <a:lnTo>
                      <a:pt x="579" y="616"/>
                    </a:lnTo>
                    <a:lnTo>
                      <a:pt x="584" y="616"/>
                    </a:lnTo>
                    <a:lnTo>
                      <a:pt x="594" y="615"/>
                    </a:lnTo>
                    <a:lnTo>
                      <a:pt x="602" y="613"/>
                    </a:lnTo>
                    <a:lnTo>
                      <a:pt x="610" y="609"/>
                    </a:lnTo>
                    <a:lnTo>
                      <a:pt x="617" y="604"/>
                    </a:lnTo>
                    <a:lnTo>
                      <a:pt x="625" y="600"/>
                    </a:lnTo>
                    <a:lnTo>
                      <a:pt x="632" y="596"/>
                    </a:lnTo>
                    <a:lnTo>
                      <a:pt x="641" y="593"/>
                    </a:lnTo>
                    <a:lnTo>
                      <a:pt x="651" y="592"/>
                    </a:lnTo>
                    <a:lnTo>
                      <a:pt x="653" y="614"/>
                    </a:lnTo>
                    <a:lnTo>
                      <a:pt x="654" y="645"/>
                    </a:lnTo>
                    <a:lnTo>
                      <a:pt x="654" y="653"/>
                    </a:lnTo>
                    <a:lnTo>
                      <a:pt x="655" y="660"/>
                    </a:lnTo>
                    <a:lnTo>
                      <a:pt x="658" y="667"/>
                    </a:lnTo>
                    <a:lnTo>
                      <a:pt x="660" y="672"/>
                    </a:lnTo>
                    <a:lnTo>
                      <a:pt x="663" y="677"/>
                    </a:lnTo>
                    <a:lnTo>
                      <a:pt x="666" y="681"/>
                    </a:lnTo>
                    <a:lnTo>
                      <a:pt x="672" y="683"/>
                    </a:lnTo>
                    <a:lnTo>
                      <a:pt x="677" y="684"/>
                    </a:lnTo>
                    <a:lnTo>
                      <a:pt x="687" y="684"/>
                    </a:lnTo>
                    <a:lnTo>
                      <a:pt x="697" y="684"/>
                    </a:lnTo>
                    <a:lnTo>
                      <a:pt x="703" y="684"/>
                    </a:lnTo>
                    <a:lnTo>
                      <a:pt x="708" y="685"/>
                    </a:lnTo>
                    <a:lnTo>
                      <a:pt x="714" y="687"/>
                    </a:lnTo>
                    <a:lnTo>
                      <a:pt x="720" y="689"/>
                    </a:lnTo>
                    <a:lnTo>
                      <a:pt x="726" y="692"/>
                    </a:lnTo>
                    <a:lnTo>
                      <a:pt x="732" y="696"/>
                    </a:lnTo>
                    <a:lnTo>
                      <a:pt x="738" y="701"/>
                    </a:lnTo>
                    <a:lnTo>
                      <a:pt x="743" y="706"/>
                    </a:lnTo>
                    <a:lnTo>
                      <a:pt x="749" y="712"/>
                    </a:lnTo>
                    <a:lnTo>
                      <a:pt x="754" y="717"/>
                    </a:lnTo>
                    <a:lnTo>
                      <a:pt x="759" y="724"/>
                    </a:lnTo>
                    <a:lnTo>
                      <a:pt x="763" y="731"/>
                    </a:lnTo>
                    <a:lnTo>
                      <a:pt x="765" y="738"/>
                    </a:lnTo>
                    <a:lnTo>
                      <a:pt x="769" y="746"/>
                    </a:lnTo>
                    <a:lnTo>
                      <a:pt x="770" y="756"/>
                    </a:lnTo>
                    <a:lnTo>
                      <a:pt x="771" y="765"/>
                    </a:lnTo>
                    <a:lnTo>
                      <a:pt x="770" y="773"/>
                    </a:lnTo>
                    <a:lnTo>
                      <a:pt x="769" y="779"/>
                    </a:lnTo>
                    <a:lnTo>
                      <a:pt x="766" y="784"/>
                    </a:lnTo>
                    <a:lnTo>
                      <a:pt x="764" y="787"/>
                    </a:lnTo>
                    <a:lnTo>
                      <a:pt x="761" y="790"/>
                    </a:lnTo>
                    <a:lnTo>
                      <a:pt x="759" y="794"/>
                    </a:lnTo>
                    <a:lnTo>
                      <a:pt x="758" y="797"/>
                    </a:lnTo>
                    <a:lnTo>
                      <a:pt x="758" y="801"/>
                    </a:lnTo>
                    <a:lnTo>
                      <a:pt x="758" y="809"/>
                    </a:lnTo>
                    <a:lnTo>
                      <a:pt x="759" y="818"/>
                    </a:lnTo>
                    <a:lnTo>
                      <a:pt x="760" y="825"/>
                    </a:lnTo>
                    <a:lnTo>
                      <a:pt x="761" y="831"/>
                    </a:lnTo>
                    <a:lnTo>
                      <a:pt x="765" y="844"/>
                    </a:lnTo>
                    <a:lnTo>
                      <a:pt x="771" y="856"/>
                    </a:lnTo>
                    <a:lnTo>
                      <a:pt x="774" y="866"/>
                    </a:lnTo>
                    <a:lnTo>
                      <a:pt x="777" y="875"/>
                    </a:lnTo>
                    <a:lnTo>
                      <a:pt x="772" y="882"/>
                    </a:lnTo>
                    <a:lnTo>
                      <a:pt x="769" y="889"/>
                    </a:lnTo>
                    <a:lnTo>
                      <a:pt x="765" y="897"/>
                    </a:lnTo>
                    <a:lnTo>
                      <a:pt x="762" y="904"/>
                    </a:lnTo>
                    <a:lnTo>
                      <a:pt x="760" y="912"/>
                    </a:lnTo>
                    <a:lnTo>
                      <a:pt x="759" y="922"/>
                    </a:lnTo>
                    <a:lnTo>
                      <a:pt x="758" y="932"/>
                    </a:lnTo>
                    <a:lnTo>
                      <a:pt x="758" y="943"/>
                    </a:lnTo>
                    <a:lnTo>
                      <a:pt x="758" y="956"/>
                    </a:lnTo>
                    <a:lnTo>
                      <a:pt x="760" y="967"/>
                    </a:lnTo>
                    <a:lnTo>
                      <a:pt x="762" y="978"/>
                    </a:lnTo>
                    <a:lnTo>
                      <a:pt x="765" y="986"/>
                    </a:lnTo>
                    <a:lnTo>
                      <a:pt x="770" y="994"/>
                    </a:lnTo>
                    <a:lnTo>
                      <a:pt x="774" y="1000"/>
                    </a:lnTo>
                    <a:lnTo>
                      <a:pt x="778" y="1006"/>
                    </a:lnTo>
                    <a:lnTo>
                      <a:pt x="784" y="1011"/>
                    </a:lnTo>
                    <a:lnTo>
                      <a:pt x="775" y="1026"/>
                    </a:lnTo>
                    <a:lnTo>
                      <a:pt x="769" y="1041"/>
                    </a:lnTo>
                    <a:lnTo>
                      <a:pt x="763" y="1054"/>
                    </a:lnTo>
                    <a:lnTo>
                      <a:pt x="759" y="1067"/>
                    </a:lnTo>
                    <a:lnTo>
                      <a:pt x="753" y="1080"/>
                    </a:lnTo>
                    <a:lnTo>
                      <a:pt x="747" y="1095"/>
                    </a:lnTo>
                    <a:lnTo>
                      <a:pt x="737" y="1110"/>
                    </a:lnTo>
                    <a:lnTo>
                      <a:pt x="723" y="1128"/>
                    </a:lnTo>
                    <a:lnTo>
                      <a:pt x="691" y="1122"/>
                    </a:lnTo>
                    <a:lnTo>
                      <a:pt x="681" y="1121"/>
                    </a:lnTo>
                    <a:lnTo>
                      <a:pt x="673" y="1119"/>
                    </a:lnTo>
                    <a:lnTo>
                      <a:pt x="665" y="1116"/>
                    </a:lnTo>
                    <a:lnTo>
                      <a:pt x="659" y="1113"/>
                    </a:lnTo>
                    <a:lnTo>
                      <a:pt x="653" y="1108"/>
                    </a:lnTo>
                    <a:lnTo>
                      <a:pt x="648" y="1103"/>
                    </a:lnTo>
                    <a:lnTo>
                      <a:pt x="642" y="1098"/>
                    </a:lnTo>
                    <a:lnTo>
                      <a:pt x="638" y="1092"/>
                    </a:lnTo>
                    <a:lnTo>
                      <a:pt x="627" y="1079"/>
                    </a:lnTo>
                    <a:lnTo>
                      <a:pt x="616" y="1067"/>
                    </a:lnTo>
                    <a:lnTo>
                      <a:pt x="609" y="1061"/>
                    </a:lnTo>
                    <a:lnTo>
                      <a:pt x="602" y="1056"/>
                    </a:lnTo>
                    <a:lnTo>
                      <a:pt x="594" y="1052"/>
                    </a:lnTo>
                    <a:lnTo>
                      <a:pt x="584" y="1048"/>
                    </a:lnTo>
                    <a:lnTo>
                      <a:pt x="554" y="1038"/>
                    </a:lnTo>
                    <a:lnTo>
                      <a:pt x="507" y="1018"/>
                    </a:lnTo>
                    <a:lnTo>
                      <a:pt x="483" y="1008"/>
                    </a:lnTo>
                    <a:lnTo>
                      <a:pt x="463" y="998"/>
                    </a:lnTo>
                    <a:lnTo>
                      <a:pt x="456" y="993"/>
                    </a:lnTo>
                    <a:lnTo>
                      <a:pt x="450" y="988"/>
                    </a:lnTo>
                    <a:lnTo>
                      <a:pt x="446" y="984"/>
                    </a:lnTo>
                    <a:lnTo>
                      <a:pt x="445" y="980"/>
                    </a:lnTo>
                    <a:lnTo>
                      <a:pt x="436" y="975"/>
                    </a:lnTo>
                    <a:lnTo>
                      <a:pt x="425" y="967"/>
                    </a:lnTo>
                    <a:lnTo>
                      <a:pt x="413" y="956"/>
                    </a:lnTo>
                    <a:lnTo>
                      <a:pt x="398" y="944"/>
                    </a:lnTo>
                    <a:lnTo>
                      <a:pt x="383" y="931"/>
                    </a:lnTo>
                    <a:lnTo>
                      <a:pt x="367" y="916"/>
                    </a:lnTo>
                    <a:lnTo>
                      <a:pt x="349" y="904"/>
                    </a:lnTo>
                    <a:lnTo>
                      <a:pt x="331" y="894"/>
                    </a:lnTo>
                    <a:lnTo>
                      <a:pt x="326" y="890"/>
                    </a:lnTo>
                    <a:lnTo>
                      <a:pt x="323" y="886"/>
                    </a:lnTo>
                    <a:lnTo>
                      <a:pt x="319" y="882"/>
                    </a:lnTo>
                    <a:lnTo>
                      <a:pt x="318" y="877"/>
                    </a:lnTo>
                    <a:lnTo>
                      <a:pt x="318" y="872"/>
                    </a:lnTo>
                    <a:lnTo>
                      <a:pt x="318" y="867"/>
                    </a:lnTo>
                    <a:lnTo>
                      <a:pt x="319" y="860"/>
                    </a:lnTo>
                    <a:lnTo>
                      <a:pt x="321" y="854"/>
                    </a:lnTo>
                    <a:lnTo>
                      <a:pt x="324" y="842"/>
                    </a:lnTo>
                    <a:lnTo>
                      <a:pt x="327" y="829"/>
                    </a:lnTo>
                    <a:lnTo>
                      <a:pt x="328" y="822"/>
                    </a:lnTo>
                    <a:lnTo>
                      <a:pt x="328" y="815"/>
                    </a:lnTo>
                    <a:lnTo>
                      <a:pt x="327" y="808"/>
                    </a:lnTo>
                    <a:lnTo>
                      <a:pt x="325" y="801"/>
                    </a:lnTo>
                    <a:lnTo>
                      <a:pt x="318" y="795"/>
                    </a:lnTo>
                    <a:lnTo>
                      <a:pt x="310" y="789"/>
                    </a:lnTo>
                    <a:lnTo>
                      <a:pt x="300" y="784"/>
                    </a:lnTo>
                    <a:lnTo>
                      <a:pt x="290" y="778"/>
                    </a:lnTo>
                    <a:lnTo>
                      <a:pt x="279" y="772"/>
                    </a:lnTo>
                    <a:lnTo>
                      <a:pt x="270" y="765"/>
                    </a:lnTo>
                    <a:lnTo>
                      <a:pt x="266" y="761"/>
                    </a:lnTo>
                    <a:lnTo>
                      <a:pt x="263" y="757"/>
                    </a:lnTo>
                    <a:lnTo>
                      <a:pt x="260" y="751"/>
                    </a:lnTo>
                    <a:lnTo>
                      <a:pt x="259" y="745"/>
                    </a:lnTo>
                    <a:lnTo>
                      <a:pt x="255" y="735"/>
                    </a:lnTo>
                    <a:lnTo>
                      <a:pt x="251" y="725"/>
                    </a:lnTo>
                    <a:lnTo>
                      <a:pt x="249" y="716"/>
                    </a:lnTo>
                    <a:lnTo>
                      <a:pt x="248" y="707"/>
                    </a:lnTo>
                    <a:lnTo>
                      <a:pt x="246" y="697"/>
                    </a:lnTo>
                    <a:lnTo>
                      <a:pt x="243" y="689"/>
                    </a:lnTo>
                    <a:lnTo>
                      <a:pt x="238" y="681"/>
                    </a:lnTo>
                    <a:lnTo>
                      <a:pt x="232" y="672"/>
                    </a:lnTo>
                    <a:lnTo>
                      <a:pt x="211" y="635"/>
                    </a:lnTo>
                    <a:lnTo>
                      <a:pt x="192" y="603"/>
                    </a:lnTo>
                    <a:lnTo>
                      <a:pt x="174" y="570"/>
                    </a:lnTo>
                    <a:lnTo>
                      <a:pt x="153" y="530"/>
                    </a:lnTo>
                    <a:lnTo>
                      <a:pt x="146" y="521"/>
                    </a:lnTo>
                    <a:lnTo>
                      <a:pt x="138" y="513"/>
                    </a:lnTo>
                    <a:lnTo>
                      <a:pt x="134" y="508"/>
                    </a:lnTo>
                    <a:lnTo>
                      <a:pt x="129" y="502"/>
                    </a:lnTo>
                    <a:lnTo>
                      <a:pt x="124" y="496"/>
                    </a:lnTo>
                    <a:lnTo>
                      <a:pt x="120" y="487"/>
                    </a:lnTo>
                    <a:lnTo>
                      <a:pt x="116" y="478"/>
                    </a:lnTo>
                    <a:lnTo>
                      <a:pt x="113" y="467"/>
                    </a:lnTo>
                    <a:lnTo>
                      <a:pt x="109" y="458"/>
                    </a:lnTo>
                    <a:lnTo>
                      <a:pt x="103" y="448"/>
                    </a:lnTo>
                    <a:lnTo>
                      <a:pt x="98" y="440"/>
                    </a:lnTo>
                    <a:lnTo>
                      <a:pt x="90" y="432"/>
                    </a:lnTo>
                    <a:lnTo>
                      <a:pt x="82" y="425"/>
                    </a:lnTo>
                    <a:lnTo>
                      <a:pt x="72" y="419"/>
                    </a:lnTo>
                    <a:lnTo>
                      <a:pt x="52" y="411"/>
                    </a:lnTo>
                    <a:lnTo>
                      <a:pt x="31" y="403"/>
                    </a:lnTo>
                    <a:lnTo>
                      <a:pt x="26" y="400"/>
                    </a:lnTo>
                    <a:lnTo>
                      <a:pt x="22" y="397"/>
                    </a:lnTo>
                    <a:lnTo>
                      <a:pt x="17" y="393"/>
                    </a:lnTo>
                    <a:lnTo>
                      <a:pt x="13" y="389"/>
                    </a:lnTo>
                    <a:lnTo>
                      <a:pt x="9" y="384"/>
                    </a:lnTo>
                    <a:lnTo>
                      <a:pt x="5" y="378"/>
                    </a:lnTo>
                    <a:lnTo>
                      <a:pt x="2" y="372"/>
                    </a:lnTo>
                    <a:lnTo>
                      <a:pt x="0" y="363"/>
                    </a:lnTo>
                    <a:lnTo>
                      <a:pt x="20" y="345"/>
                    </a:lnTo>
                    <a:lnTo>
                      <a:pt x="15" y="331"/>
                    </a:lnTo>
                    <a:lnTo>
                      <a:pt x="14" y="317"/>
                    </a:lnTo>
                    <a:lnTo>
                      <a:pt x="13" y="301"/>
                    </a:lnTo>
                    <a:lnTo>
                      <a:pt x="13" y="284"/>
                    </a:lnTo>
                    <a:lnTo>
                      <a:pt x="13" y="276"/>
                    </a:lnTo>
                    <a:lnTo>
                      <a:pt x="14" y="270"/>
                    </a:lnTo>
                    <a:lnTo>
                      <a:pt x="16" y="264"/>
                    </a:lnTo>
                    <a:lnTo>
                      <a:pt x="19" y="259"/>
                    </a:lnTo>
                    <a:lnTo>
                      <a:pt x="21" y="254"/>
                    </a:lnTo>
                    <a:lnTo>
                      <a:pt x="24" y="249"/>
                    </a:lnTo>
                    <a:lnTo>
                      <a:pt x="28" y="246"/>
                    </a:lnTo>
                    <a:lnTo>
                      <a:pt x="32" y="243"/>
                    </a:lnTo>
                    <a:lnTo>
                      <a:pt x="41" y="237"/>
                    </a:lnTo>
                    <a:lnTo>
                      <a:pt x="49" y="231"/>
                    </a:lnTo>
                    <a:lnTo>
                      <a:pt x="58" y="224"/>
                    </a:lnTo>
                    <a:lnTo>
                      <a:pt x="66" y="216"/>
                    </a:lnTo>
                    <a:lnTo>
                      <a:pt x="72" y="222"/>
                    </a:lnTo>
                    <a:lnTo>
                      <a:pt x="79" y="228"/>
                    </a:lnTo>
                    <a:lnTo>
                      <a:pt x="83" y="235"/>
                    </a:lnTo>
                    <a:lnTo>
                      <a:pt x="86" y="240"/>
                    </a:lnTo>
                    <a:lnTo>
                      <a:pt x="86" y="252"/>
                    </a:lnTo>
                    <a:lnTo>
                      <a:pt x="86" y="265"/>
                    </a:lnTo>
                    <a:lnTo>
                      <a:pt x="95" y="272"/>
                    </a:lnTo>
                    <a:lnTo>
                      <a:pt x="116" y="287"/>
                    </a:lnTo>
                    <a:lnTo>
                      <a:pt x="128" y="294"/>
                    </a:lnTo>
                    <a:lnTo>
                      <a:pt x="139" y="301"/>
                    </a:lnTo>
                    <a:lnTo>
                      <a:pt x="148" y="306"/>
                    </a:lnTo>
                    <a:lnTo>
                      <a:pt x="153" y="308"/>
                    </a:lnTo>
                    <a:lnTo>
                      <a:pt x="158" y="307"/>
                    </a:lnTo>
                    <a:lnTo>
                      <a:pt x="164" y="303"/>
                    </a:lnTo>
                    <a:lnTo>
                      <a:pt x="169" y="298"/>
                    </a:lnTo>
                    <a:lnTo>
                      <a:pt x="174" y="291"/>
                    </a:lnTo>
                    <a:lnTo>
                      <a:pt x="179" y="284"/>
                    </a:lnTo>
                    <a:lnTo>
                      <a:pt x="182" y="277"/>
                    </a:lnTo>
                    <a:lnTo>
                      <a:pt x="184" y="271"/>
                    </a:lnTo>
                    <a:lnTo>
                      <a:pt x="185" y="265"/>
                    </a:lnTo>
                    <a:lnTo>
                      <a:pt x="187" y="259"/>
                    </a:lnTo>
                    <a:lnTo>
                      <a:pt x="188" y="251"/>
                    </a:lnTo>
                    <a:lnTo>
                      <a:pt x="190" y="244"/>
                    </a:lnTo>
                    <a:lnTo>
                      <a:pt x="193" y="238"/>
                    </a:lnTo>
                    <a:lnTo>
                      <a:pt x="201" y="225"/>
                    </a:lnTo>
                    <a:lnTo>
                      <a:pt x="212" y="213"/>
                    </a:lnTo>
                    <a:lnTo>
                      <a:pt x="222" y="202"/>
                    </a:lnTo>
                    <a:lnTo>
                      <a:pt x="234" y="192"/>
                    </a:lnTo>
                    <a:lnTo>
                      <a:pt x="244" y="184"/>
                    </a:lnTo>
                    <a:lnTo>
                      <a:pt x="252" y="179"/>
                    </a:lnTo>
                    <a:lnTo>
                      <a:pt x="270" y="170"/>
                    </a:lnTo>
                    <a:lnTo>
                      <a:pt x="289" y="160"/>
                    </a:lnTo>
                    <a:lnTo>
                      <a:pt x="306" y="150"/>
                    </a:lnTo>
                    <a:lnTo>
                      <a:pt x="323" y="138"/>
                    </a:lnTo>
                    <a:lnTo>
                      <a:pt x="330" y="133"/>
                    </a:lnTo>
                    <a:lnTo>
                      <a:pt x="337" y="126"/>
                    </a:lnTo>
                    <a:lnTo>
                      <a:pt x="344" y="120"/>
                    </a:lnTo>
                    <a:lnTo>
                      <a:pt x="348" y="113"/>
                    </a:lnTo>
                    <a:lnTo>
                      <a:pt x="352" y="106"/>
                    </a:lnTo>
                    <a:lnTo>
                      <a:pt x="356" y="98"/>
                    </a:lnTo>
                    <a:lnTo>
                      <a:pt x="358" y="90"/>
                    </a:lnTo>
                    <a:lnTo>
                      <a:pt x="358" y="80"/>
                    </a:lnTo>
                    <a:lnTo>
                      <a:pt x="357" y="70"/>
                    </a:lnTo>
                    <a:lnTo>
                      <a:pt x="355" y="58"/>
                    </a:lnTo>
                    <a:lnTo>
                      <a:pt x="350" y="46"/>
                    </a:lnTo>
                    <a:lnTo>
                      <a:pt x="345" y="34"/>
                    </a:lnTo>
                    <a:lnTo>
                      <a:pt x="336" y="12"/>
                    </a:lnTo>
                    <a:lnTo>
                      <a:pt x="331" y="0"/>
                    </a:lnTo>
                    <a:lnTo>
                      <a:pt x="347" y="5"/>
                    </a:lnTo>
                    <a:lnTo>
                      <a:pt x="360" y="11"/>
                    </a:lnTo>
                    <a:lnTo>
                      <a:pt x="374" y="18"/>
                    </a:lnTo>
                    <a:lnTo>
                      <a:pt x="386" y="26"/>
                    </a:lnTo>
                    <a:lnTo>
                      <a:pt x="398" y="35"/>
                    </a:lnTo>
                    <a:lnTo>
                      <a:pt x="411" y="44"/>
                    </a:lnTo>
                    <a:lnTo>
                      <a:pt x="422" y="53"/>
                    </a:lnTo>
                    <a:lnTo>
                      <a:pt x="431" y="62"/>
                    </a:lnTo>
                    <a:lnTo>
                      <a:pt x="438" y="68"/>
                    </a:lnTo>
                    <a:lnTo>
                      <a:pt x="445" y="75"/>
                    </a:lnTo>
                    <a:lnTo>
                      <a:pt x="451" y="82"/>
                    </a:lnTo>
                    <a:lnTo>
                      <a:pt x="457" y="91"/>
                    </a:lnTo>
                    <a:lnTo>
                      <a:pt x="467" y="107"/>
                    </a:lnTo>
                    <a:lnTo>
                      <a:pt x="476" y="123"/>
                    </a:lnTo>
                    <a:lnTo>
                      <a:pt x="481" y="130"/>
                    </a:lnTo>
                    <a:lnTo>
                      <a:pt x="486" y="137"/>
                    </a:lnTo>
                    <a:lnTo>
                      <a:pt x="493" y="144"/>
                    </a:lnTo>
                    <a:lnTo>
                      <a:pt x="498" y="150"/>
                    </a:lnTo>
                    <a:lnTo>
                      <a:pt x="506" y="154"/>
                    </a:lnTo>
                    <a:lnTo>
                      <a:pt x="513" y="158"/>
                    </a:lnTo>
                    <a:lnTo>
                      <a:pt x="521" y="160"/>
                    </a:lnTo>
                    <a:lnTo>
                      <a:pt x="531" y="161"/>
                    </a:lnTo>
                    <a:lnTo>
                      <a:pt x="541" y="160"/>
                    </a:lnTo>
                    <a:lnTo>
                      <a:pt x="551" y="159"/>
                    </a:lnTo>
                    <a:lnTo>
                      <a:pt x="561" y="157"/>
                    </a:lnTo>
                    <a:lnTo>
                      <a:pt x="571" y="155"/>
                    </a:lnTo>
                    <a:lnTo>
                      <a:pt x="581" y="152"/>
                    </a:lnTo>
                    <a:lnTo>
                      <a:pt x="591" y="150"/>
                    </a:lnTo>
                    <a:lnTo>
                      <a:pt x="601" y="149"/>
                    </a:lnTo>
                    <a:lnTo>
                      <a:pt x="610" y="148"/>
                    </a:lnTo>
                    <a:lnTo>
                      <a:pt x="617" y="149"/>
                    </a:lnTo>
                    <a:lnTo>
                      <a:pt x="624" y="151"/>
                    </a:lnTo>
                    <a:lnTo>
                      <a:pt x="628" y="151"/>
                    </a:lnTo>
                    <a:lnTo>
                      <a:pt x="631" y="151"/>
                    </a:lnTo>
                    <a:lnTo>
                      <a:pt x="635" y="150"/>
                    </a:lnTo>
                    <a:lnTo>
                      <a:pt x="638" y="148"/>
                    </a:lnTo>
                    <a:lnTo>
                      <a:pt x="640" y="156"/>
                    </a:lnTo>
                    <a:lnTo>
                      <a:pt x="648" y="167"/>
                    </a:lnTo>
                    <a:lnTo>
                      <a:pt x="654" y="177"/>
                    </a:lnTo>
                    <a:lnTo>
                      <a:pt x="658" y="185"/>
                    </a:lnTo>
                    <a:lnTo>
                      <a:pt x="657" y="188"/>
                    </a:lnTo>
                    <a:lnTo>
                      <a:pt x="655" y="191"/>
                    </a:lnTo>
                    <a:lnTo>
                      <a:pt x="654" y="193"/>
                    </a:lnTo>
                    <a:lnTo>
                      <a:pt x="652" y="195"/>
                    </a:lnTo>
                    <a:lnTo>
                      <a:pt x="647" y="200"/>
                    </a:lnTo>
                    <a:lnTo>
                      <a:pt x="641" y="203"/>
                    </a:lnTo>
                    <a:lnTo>
                      <a:pt x="635" y="206"/>
                    </a:lnTo>
                    <a:lnTo>
                      <a:pt x="629" y="209"/>
                    </a:lnTo>
                    <a:lnTo>
                      <a:pt x="627" y="210"/>
                    </a:lnTo>
                    <a:lnTo>
                      <a:pt x="626" y="212"/>
                    </a:lnTo>
                    <a:lnTo>
                      <a:pt x="625" y="214"/>
                    </a:lnTo>
                    <a:lnTo>
                      <a:pt x="624" y="216"/>
                    </a:lnTo>
                    <a:lnTo>
                      <a:pt x="625" y="226"/>
                    </a:lnTo>
                    <a:lnTo>
                      <a:pt x="626" y="234"/>
                    </a:lnTo>
                    <a:lnTo>
                      <a:pt x="627" y="240"/>
                    </a:lnTo>
                    <a:lnTo>
                      <a:pt x="629" y="244"/>
                    </a:lnTo>
                    <a:lnTo>
                      <a:pt x="636" y="251"/>
                    </a:lnTo>
                    <a:lnTo>
                      <a:pt x="644" y="259"/>
                    </a:lnTo>
                  </a:path>
                </a:pathLst>
              </a:custGeom>
              <a:grpFill/>
              <a:ln w="9525" cap="flat" cmpd="sng">
                <a:solidFill>
                  <a:srgbClr val="FFFFFF"/>
                </a:solidFill>
                <a:prstDash val="solid"/>
                <a:round/>
                <a:headEnd type="none" w="med" len="med"/>
                <a:tailEnd type="none" w="med" len="med"/>
              </a:ln>
              <a:effectLst/>
            </p:spPr>
            <p:txBody>
              <a:bodyPr/>
              <a:lstStyle/>
              <a:p>
                <a:endParaRPr lang="en-GB" sz="1637"/>
              </a:p>
            </p:txBody>
          </p:sp>
          <p:sp>
            <p:nvSpPr>
              <p:cNvPr id="412" name="Freeform 8"/>
              <p:cNvSpPr>
                <a:spLocks/>
              </p:cNvSpPr>
              <p:nvPr>
                <p:custDataLst>
                  <p:tags r:id="rId256"/>
                </p:custDataLst>
              </p:nvPr>
            </p:nvSpPr>
            <p:spPr bwMode="auto">
              <a:xfrm>
                <a:off x="2009786" y="4614136"/>
                <a:ext cx="285941" cy="1275167"/>
              </a:xfrm>
              <a:custGeom>
                <a:avLst/>
                <a:gdLst>
                  <a:gd name="T0" fmla="*/ 183093 w 598"/>
                  <a:gd name="T1" fmla="*/ 1058543 h 2158"/>
                  <a:gd name="T2" fmla="*/ 149803 w 598"/>
                  <a:gd name="T3" fmla="*/ 1023974 h 2158"/>
                  <a:gd name="T4" fmla="*/ 148489 w 598"/>
                  <a:gd name="T5" fmla="*/ 991500 h 2158"/>
                  <a:gd name="T6" fmla="*/ 151118 w 598"/>
                  <a:gd name="T7" fmla="*/ 965312 h 2158"/>
                  <a:gd name="T8" fmla="*/ 158564 w 598"/>
                  <a:gd name="T9" fmla="*/ 938076 h 2158"/>
                  <a:gd name="T10" fmla="*/ 155060 w 598"/>
                  <a:gd name="T11" fmla="*/ 911363 h 2158"/>
                  <a:gd name="T12" fmla="*/ 145423 w 598"/>
                  <a:gd name="T13" fmla="*/ 881508 h 2158"/>
                  <a:gd name="T14" fmla="*/ 132721 w 598"/>
                  <a:gd name="T15" fmla="*/ 828084 h 2158"/>
                  <a:gd name="T16" fmla="*/ 98993 w 598"/>
                  <a:gd name="T17" fmla="*/ 764707 h 2158"/>
                  <a:gd name="T18" fmla="*/ 90232 w 598"/>
                  <a:gd name="T19" fmla="*/ 723329 h 2158"/>
                  <a:gd name="T20" fmla="*/ 95051 w 598"/>
                  <a:gd name="T21" fmla="*/ 680380 h 2158"/>
                  <a:gd name="T22" fmla="*/ 91109 w 598"/>
                  <a:gd name="T23" fmla="*/ 646858 h 2158"/>
                  <a:gd name="T24" fmla="*/ 81034 w 598"/>
                  <a:gd name="T25" fmla="*/ 610194 h 2158"/>
                  <a:gd name="T26" fmla="*/ 92423 w 598"/>
                  <a:gd name="T27" fmla="*/ 588196 h 2158"/>
                  <a:gd name="T28" fmla="*/ 85414 w 598"/>
                  <a:gd name="T29" fmla="*/ 566721 h 2158"/>
                  <a:gd name="T30" fmla="*/ 92423 w 598"/>
                  <a:gd name="T31" fmla="*/ 536866 h 2158"/>
                  <a:gd name="T32" fmla="*/ 91985 w 598"/>
                  <a:gd name="T33" fmla="*/ 520106 h 2158"/>
                  <a:gd name="T34" fmla="*/ 81910 w 598"/>
                  <a:gd name="T35" fmla="*/ 485537 h 2158"/>
                  <a:gd name="T36" fmla="*/ 59571 w 598"/>
                  <a:gd name="T37" fmla="*/ 446254 h 2158"/>
                  <a:gd name="T38" fmla="*/ 58695 w 598"/>
                  <a:gd name="T39" fmla="*/ 359308 h 2158"/>
                  <a:gd name="T40" fmla="*/ 80158 w 598"/>
                  <a:gd name="T41" fmla="*/ 305883 h 2158"/>
                  <a:gd name="T42" fmla="*/ 82786 w 598"/>
                  <a:gd name="T43" fmla="*/ 273409 h 2158"/>
                  <a:gd name="T44" fmla="*/ 70083 w 598"/>
                  <a:gd name="T45" fmla="*/ 240411 h 2158"/>
                  <a:gd name="T46" fmla="*/ 79720 w 598"/>
                  <a:gd name="T47" fmla="*/ 212651 h 2158"/>
                  <a:gd name="T48" fmla="*/ 100307 w 598"/>
                  <a:gd name="T49" fmla="*/ 181225 h 2158"/>
                  <a:gd name="T50" fmla="*/ 87604 w 598"/>
                  <a:gd name="T51" fmla="*/ 161322 h 2158"/>
                  <a:gd name="T52" fmla="*/ 64827 w 598"/>
                  <a:gd name="T53" fmla="*/ 116277 h 2158"/>
                  <a:gd name="T54" fmla="*/ 56505 w 598"/>
                  <a:gd name="T55" fmla="*/ 65472 h 2158"/>
                  <a:gd name="T56" fmla="*/ 39860 w 598"/>
                  <a:gd name="T57" fmla="*/ 19380 h 2158"/>
                  <a:gd name="T58" fmla="*/ 0 w 598"/>
                  <a:gd name="T59" fmla="*/ 23046 h 2158"/>
                  <a:gd name="T60" fmla="*/ 13579 w 598"/>
                  <a:gd name="T61" fmla="*/ 104754 h 2158"/>
                  <a:gd name="T62" fmla="*/ 18397 w 598"/>
                  <a:gd name="T63" fmla="*/ 159227 h 2158"/>
                  <a:gd name="T64" fmla="*/ 11827 w 598"/>
                  <a:gd name="T65" fmla="*/ 195891 h 2158"/>
                  <a:gd name="T66" fmla="*/ 22777 w 598"/>
                  <a:gd name="T67" fmla="*/ 274457 h 2158"/>
                  <a:gd name="T68" fmla="*/ 20149 w 598"/>
                  <a:gd name="T69" fmla="*/ 339928 h 2158"/>
                  <a:gd name="T70" fmla="*/ 15769 w 598"/>
                  <a:gd name="T71" fmla="*/ 376068 h 2158"/>
                  <a:gd name="T72" fmla="*/ 22777 w 598"/>
                  <a:gd name="T73" fmla="*/ 401733 h 2158"/>
                  <a:gd name="T74" fmla="*/ 28033 w 598"/>
                  <a:gd name="T75" fmla="*/ 456205 h 2158"/>
                  <a:gd name="T76" fmla="*/ 35480 w 598"/>
                  <a:gd name="T77" fmla="*/ 478204 h 2158"/>
                  <a:gd name="T78" fmla="*/ 31976 w 598"/>
                  <a:gd name="T79" fmla="*/ 547342 h 2158"/>
                  <a:gd name="T80" fmla="*/ 27595 w 598"/>
                  <a:gd name="T81" fmla="*/ 603385 h 2158"/>
                  <a:gd name="T82" fmla="*/ 17521 w 598"/>
                  <a:gd name="T83" fmla="*/ 622241 h 2158"/>
                  <a:gd name="T84" fmla="*/ 26281 w 598"/>
                  <a:gd name="T85" fmla="*/ 658905 h 2158"/>
                  <a:gd name="T86" fmla="*/ 46430 w 598"/>
                  <a:gd name="T87" fmla="*/ 703426 h 2158"/>
                  <a:gd name="T88" fmla="*/ 40736 w 598"/>
                  <a:gd name="T89" fmla="*/ 731186 h 2158"/>
                  <a:gd name="T90" fmla="*/ 46430 w 598"/>
                  <a:gd name="T91" fmla="*/ 758946 h 2158"/>
                  <a:gd name="T92" fmla="*/ 71836 w 598"/>
                  <a:gd name="T93" fmla="*/ 768374 h 2158"/>
                  <a:gd name="T94" fmla="*/ 91547 w 598"/>
                  <a:gd name="T95" fmla="*/ 849034 h 2158"/>
                  <a:gd name="T96" fmla="*/ 99431 w 598"/>
                  <a:gd name="T97" fmla="*/ 895126 h 2158"/>
                  <a:gd name="T98" fmla="*/ 66141 w 598"/>
                  <a:gd name="T99" fmla="*/ 916077 h 2158"/>
                  <a:gd name="T100" fmla="*/ 90671 w 598"/>
                  <a:gd name="T101" fmla="*/ 930219 h 2158"/>
                  <a:gd name="T102" fmla="*/ 109505 w 598"/>
                  <a:gd name="T103" fmla="*/ 953265 h 2158"/>
                  <a:gd name="T104" fmla="*/ 120456 w 598"/>
                  <a:gd name="T105" fmla="*/ 979977 h 2158"/>
                  <a:gd name="T106" fmla="*/ 134911 w 598"/>
                  <a:gd name="T107" fmla="*/ 1027117 h 2158"/>
                  <a:gd name="T108" fmla="*/ 157250 w 598"/>
                  <a:gd name="T109" fmla="*/ 1054353 h 2158"/>
                  <a:gd name="T110" fmla="*/ 172143 w 598"/>
                  <a:gd name="T111" fmla="*/ 1072685 h 2158"/>
                  <a:gd name="T112" fmla="*/ 185721 w 598"/>
                  <a:gd name="T113" fmla="*/ 1086303 h 2158"/>
                  <a:gd name="T114" fmla="*/ 203680 w 598"/>
                  <a:gd name="T115" fmla="*/ 1105159 h 2158"/>
                  <a:gd name="T116" fmla="*/ 227333 w 598"/>
                  <a:gd name="T117" fmla="*/ 1120872 h 2158"/>
                  <a:gd name="T118" fmla="*/ 235656 w 598"/>
                  <a:gd name="T119" fmla="*/ 1126634 h 2158"/>
                  <a:gd name="T120" fmla="*/ 256681 w 598"/>
                  <a:gd name="T121" fmla="*/ 1098874 h 2158"/>
                  <a:gd name="T122" fmla="*/ 258871 w 598"/>
                  <a:gd name="T123" fmla="*/ 1084732 h 215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598" h="2158">
                    <a:moveTo>
                      <a:pt x="491" y="2046"/>
                    </a:moveTo>
                    <a:lnTo>
                      <a:pt x="480" y="2045"/>
                    </a:lnTo>
                    <a:lnTo>
                      <a:pt x="469" y="2043"/>
                    </a:lnTo>
                    <a:lnTo>
                      <a:pt x="456" y="2039"/>
                    </a:lnTo>
                    <a:lnTo>
                      <a:pt x="444" y="2034"/>
                    </a:lnTo>
                    <a:lnTo>
                      <a:pt x="431" y="2028"/>
                    </a:lnTo>
                    <a:lnTo>
                      <a:pt x="418" y="2021"/>
                    </a:lnTo>
                    <a:lnTo>
                      <a:pt x="405" y="2013"/>
                    </a:lnTo>
                    <a:lnTo>
                      <a:pt x="392" y="2003"/>
                    </a:lnTo>
                    <a:lnTo>
                      <a:pt x="379" y="1994"/>
                    </a:lnTo>
                    <a:lnTo>
                      <a:pt x="368" y="1985"/>
                    </a:lnTo>
                    <a:lnTo>
                      <a:pt x="357" y="1976"/>
                    </a:lnTo>
                    <a:lnTo>
                      <a:pt x="349" y="1966"/>
                    </a:lnTo>
                    <a:lnTo>
                      <a:pt x="342" y="1955"/>
                    </a:lnTo>
                    <a:lnTo>
                      <a:pt x="337" y="1946"/>
                    </a:lnTo>
                    <a:lnTo>
                      <a:pt x="333" y="1937"/>
                    </a:lnTo>
                    <a:lnTo>
                      <a:pt x="332" y="1929"/>
                    </a:lnTo>
                    <a:lnTo>
                      <a:pt x="332" y="1919"/>
                    </a:lnTo>
                    <a:lnTo>
                      <a:pt x="333" y="1909"/>
                    </a:lnTo>
                    <a:lnTo>
                      <a:pt x="336" y="1900"/>
                    </a:lnTo>
                    <a:lnTo>
                      <a:pt x="339" y="1893"/>
                    </a:lnTo>
                    <a:lnTo>
                      <a:pt x="341" y="1887"/>
                    </a:lnTo>
                    <a:lnTo>
                      <a:pt x="343" y="1880"/>
                    </a:lnTo>
                    <a:lnTo>
                      <a:pt x="344" y="1874"/>
                    </a:lnTo>
                    <a:lnTo>
                      <a:pt x="345" y="1868"/>
                    </a:lnTo>
                    <a:lnTo>
                      <a:pt x="345" y="1863"/>
                    </a:lnTo>
                    <a:lnTo>
                      <a:pt x="345" y="1855"/>
                    </a:lnTo>
                    <a:lnTo>
                      <a:pt x="345" y="1843"/>
                    </a:lnTo>
                    <a:lnTo>
                      <a:pt x="345" y="1824"/>
                    </a:lnTo>
                    <a:lnTo>
                      <a:pt x="345" y="1818"/>
                    </a:lnTo>
                    <a:lnTo>
                      <a:pt x="348" y="1812"/>
                    </a:lnTo>
                    <a:lnTo>
                      <a:pt x="351" y="1807"/>
                    </a:lnTo>
                    <a:lnTo>
                      <a:pt x="355" y="1802"/>
                    </a:lnTo>
                    <a:lnTo>
                      <a:pt x="359" y="1797"/>
                    </a:lnTo>
                    <a:lnTo>
                      <a:pt x="362" y="1791"/>
                    </a:lnTo>
                    <a:lnTo>
                      <a:pt x="364" y="1783"/>
                    </a:lnTo>
                    <a:lnTo>
                      <a:pt x="365" y="1775"/>
                    </a:lnTo>
                    <a:lnTo>
                      <a:pt x="364" y="1768"/>
                    </a:lnTo>
                    <a:lnTo>
                      <a:pt x="363" y="1762"/>
                    </a:lnTo>
                    <a:lnTo>
                      <a:pt x="362" y="1756"/>
                    </a:lnTo>
                    <a:lnTo>
                      <a:pt x="360" y="1750"/>
                    </a:lnTo>
                    <a:lnTo>
                      <a:pt x="354" y="1740"/>
                    </a:lnTo>
                    <a:lnTo>
                      <a:pt x="349" y="1728"/>
                    </a:lnTo>
                    <a:lnTo>
                      <a:pt x="342" y="1718"/>
                    </a:lnTo>
                    <a:lnTo>
                      <a:pt x="337" y="1707"/>
                    </a:lnTo>
                    <a:lnTo>
                      <a:pt x="334" y="1702"/>
                    </a:lnTo>
                    <a:lnTo>
                      <a:pt x="333" y="1696"/>
                    </a:lnTo>
                    <a:lnTo>
                      <a:pt x="332" y="1690"/>
                    </a:lnTo>
                    <a:lnTo>
                      <a:pt x="332" y="1683"/>
                    </a:lnTo>
                    <a:lnTo>
                      <a:pt x="331" y="1670"/>
                    </a:lnTo>
                    <a:lnTo>
                      <a:pt x="330" y="1659"/>
                    </a:lnTo>
                    <a:lnTo>
                      <a:pt x="329" y="1648"/>
                    </a:lnTo>
                    <a:lnTo>
                      <a:pt x="327" y="1638"/>
                    </a:lnTo>
                    <a:lnTo>
                      <a:pt x="320" y="1617"/>
                    </a:lnTo>
                    <a:lnTo>
                      <a:pt x="312" y="1599"/>
                    </a:lnTo>
                    <a:lnTo>
                      <a:pt x="303" y="1581"/>
                    </a:lnTo>
                    <a:lnTo>
                      <a:pt x="292" y="1563"/>
                    </a:lnTo>
                    <a:lnTo>
                      <a:pt x="281" y="1547"/>
                    </a:lnTo>
                    <a:lnTo>
                      <a:pt x="269" y="1530"/>
                    </a:lnTo>
                    <a:lnTo>
                      <a:pt x="256" y="1514"/>
                    </a:lnTo>
                    <a:lnTo>
                      <a:pt x="245" y="1496"/>
                    </a:lnTo>
                    <a:lnTo>
                      <a:pt x="235" y="1478"/>
                    </a:lnTo>
                    <a:lnTo>
                      <a:pt x="226" y="1460"/>
                    </a:lnTo>
                    <a:lnTo>
                      <a:pt x="221" y="1449"/>
                    </a:lnTo>
                    <a:lnTo>
                      <a:pt x="217" y="1439"/>
                    </a:lnTo>
                    <a:lnTo>
                      <a:pt x="214" y="1428"/>
                    </a:lnTo>
                    <a:lnTo>
                      <a:pt x="210" y="1417"/>
                    </a:lnTo>
                    <a:lnTo>
                      <a:pt x="208" y="1406"/>
                    </a:lnTo>
                    <a:lnTo>
                      <a:pt x="207" y="1393"/>
                    </a:lnTo>
                    <a:lnTo>
                      <a:pt x="206" y="1381"/>
                    </a:lnTo>
                    <a:lnTo>
                      <a:pt x="206" y="1368"/>
                    </a:lnTo>
                    <a:lnTo>
                      <a:pt x="206" y="1355"/>
                    </a:lnTo>
                    <a:lnTo>
                      <a:pt x="207" y="1342"/>
                    </a:lnTo>
                    <a:lnTo>
                      <a:pt x="209" y="1331"/>
                    </a:lnTo>
                    <a:lnTo>
                      <a:pt x="213" y="1320"/>
                    </a:lnTo>
                    <a:lnTo>
                      <a:pt x="215" y="1309"/>
                    </a:lnTo>
                    <a:lnTo>
                      <a:pt x="217" y="1299"/>
                    </a:lnTo>
                    <a:lnTo>
                      <a:pt x="218" y="1287"/>
                    </a:lnTo>
                    <a:lnTo>
                      <a:pt x="219" y="1276"/>
                    </a:lnTo>
                    <a:lnTo>
                      <a:pt x="218" y="1268"/>
                    </a:lnTo>
                    <a:lnTo>
                      <a:pt x="217" y="1261"/>
                    </a:lnTo>
                    <a:lnTo>
                      <a:pt x="216" y="1254"/>
                    </a:lnTo>
                    <a:lnTo>
                      <a:pt x="214" y="1248"/>
                    </a:lnTo>
                    <a:lnTo>
                      <a:pt x="208" y="1235"/>
                    </a:lnTo>
                    <a:lnTo>
                      <a:pt x="203" y="1223"/>
                    </a:lnTo>
                    <a:lnTo>
                      <a:pt x="196" y="1210"/>
                    </a:lnTo>
                    <a:lnTo>
                      <a:pt x="191" y="1197"/>
                    </a:lnTo>
                    <a:lnTo>
                      <a:pt x="188" y="1190"/>
                    </a:lnTo>
                    <a:lnTo>
                      <a:pt x="187" y="1183"/>
                    </a:lnTo>
                    <a:lnTo>
                      <a:pt x="186" y="1174"/>
                    </a:lnTo>
                    <a:lnTo>
                      <a:pt x="185" y="1165"/>
                    </a:lnTo>
                    <a:lnTo>
                      <a:pt x="186" y="1158"/>
                    </a:lnTo>
                    <a:lnTo>
                      <a:pt x="189" y="1152"/>
                    </a:lnTo>
                    <a:lnTo>
                      <a:pt x="194" y="1146"/>
                    </a:lnTo>
                    <a:lnTo>
                      <a:pt x="199" y="1141"/>
                    </a:lnTo>
                    <a:lnTo>
                      <a:pt x="204" y="1135"/>
                    </a:lnTo>
                    <a:lnTo>
                      <a:pt x="208" y="1129"/>
                    </a:lnTo>
                    <a:lnTo>
                      <a:pt x="211" y="1123"/>
                    </a:lnTo>
                    <a:lnTo>
                      <a:pt x="213" y="1115"/>
                    </a:lnTo>
                    <a:lnTo>
                      <a:pt x="211" y="1109"/>
                    </a:lnTo>
                    <a:lnTo>
                      <a:pt x="209" y="1103"/>
                    </a:lnTo>
                    <a:lnTo>
                      <a:pt x="206" y="1097"/>
                    </a:lnTo>
                    <a:lnTo>
                      <a:pt x="203" y="1092"/>
                    </a:lnTo>
                    <a:lnTo>
                      <a:pt x="198" y="1087"/>
                    </a:lnTo>
                    <a:lnTo>
                      <a:pt x="195" y="1082"/>
                    </a:lnTo>
                    <a:lnTo>
                      <a:pt x="193" y="1078"/>
                    </a:lnTo>
                    <a:lnTo>
                      <a:pt x="192" y="1073"/>
                    </a:lnTo>
                    <a:lnTo>
                      <a:pt x="195" y="1064"/>
                    </a:lnTo>
                    <a:lnTo>
                      <a:pt x="203" y="1049"/>
                    </a:lnTo>
                    <a:lnTo>
                      <a:pt x="206" y="1041"/>
                    </a:lnTo>
                    <a:lnTo>
                      <a:pt x="209" y="1033"/>
                    </a:lnTo>
                    <a:lnTo>
                      <a:pt x="211" y="1025"/>
                    </a:lnTo>
                    <a:lnTo>
                      <a:pt x="213" y="1018"/>
                    </a:lnTo>
                    <a:lnTo>
                      <a:pt x="203" y="1018"/>
                    </a:lnTo>
                    <a:lnTo>
                      <a:pt x="192" y="1018"/>
                    </a:lnTo>
                    <a:lnTo>
                      <a:pt x="198" y="1012"/>
                    </a:lnTo>
                    <a:lnTo>
                      <a:pt x="205" y="1003"/>
                    </a:lnTo>
                    <a:lnTo>
                      <a:pt x="207" y="998"/>
                    </a:lnTo>
                    <a:lnTo>
                      <a:pt x="210" y="993"/>
                    </a:lnTo>
                    <a:lnTo>
                      <a:pt x="211" y="987"/>
                    </a:lnTo>
                    <a:lnTo>
                      <a:pt x="213" y="980"/>
                    </a:lnTo>
                    <a:lnTo>
                      <a:pt x="211" y="970"/>
                    </a:lnTo>
                    <a:lnTo>
                      <a:pt x="208" y="961"/>
                    </a:lnTo>
                    <a:lnTo>
                      <a:pt x="205" y="951"/>
                    </a:lnTo>
                    <a:lnTo>
                      <a:pt x="199" y="943"/>
                    </a:lnTo>
                    <a:lnTo>
                      <a:pt x="187" y="927"/>
                    </a:lnTo>
                    <a:lnTo>
                      <a:pt x="172" y="910"/>
                    </a:lnTo>
                    <a:lnTo>
                      <a:pt x="165" y="902"/>
                    </a:lnTo>
                    <a:lnTo>
                      <a:pt x="158" y="892"/>
                    </a:lnTo>
                    <a:lnTo>
                      <a:pt x="151" y="883"/>
                    </a:lnTo>
                    <a:lnTo>
                      <a:pt x="144" y="874"/>
                    </a:lnTo>
                    <a:lnTo>
                      <a:pt x="140" y="863"/>
                    </a:lnTo>
                    <a:lnTo>
                      <a:pt x="136" y="852"/>
                    </a:lnTo>
                    <a:lnTo>
                      <a:pt x="134" y="839"/>
                    </a:lnTo>
                    <a:lnTo>
                      <a:pt x="132" y="826"/>
                    </a:lnTo>
                    <a:lnTo>
                      <a:pt x="132" y="794"/>
                    </a:lnTo>
                    <a:lnTo>
                      <a:pt x="132" y="766"/>
                    </a:lnTo>
                    <a:lnTo>
                      <a:pt x="132" y="736"/>
                    </a:lnTo>
                    <a:lnTo>
                      <a:pt x="132" y="697"/>
                    </a:lnTo>
                    <a:lnTo>
                      <a:pt x="134" y="686"/>
                    </a:lnTo>
                    <a:lnTo>
                      <a:pt x="135" y="675"/>
                    </a:lnTo>
                    <a:lnTo>
                      <a:pt x="138" y="665"/>
                    </a:lnTo>
                    <a:lnTo>
                      <a:pt x="141" y="655"/>
                    </a:lnTo>
                    <a:lnTo>
                      <a:pt x="151" y="637"/>
                    </a:lnTo>
                    <a:lnTo>
                      <a:pt x="162" y="619"/>
                    </a:lnTo>
                    <a:lnTo>
                      <a:pt x="173" y="602"/>
                    </a:lnTo>
                    <a:lnTo>
                      <a:pt x="183" y="584"/>
                    </a:lnTo>
                    <a:lnTo>
                      <a:pt x="186" y="575"/>
                    </a:lnTo>
                    <a:lnTo>
                      <a:pt x="189" y="564"/>
                    </a:lnTo>
                    <a:lnTo>
                      <a:pt x="192" y="554"/>
                    </a:lnTo>
                    <a:lnTo>
                      <a:pt x="192" y="543"/>
                    </a:lnTo>
                    <a:lnTo>
                      <a:pt x="192" y="535"/>
                    </a:lnTo>
                    <a:lnTo>
                      <a:pt x="191" y="528"/>
                    </a:lnTo>
                    <a:lnTo>
                      <a:pt x="189" y="522"/>
                    </a:lnTo>
                    <a:lnTo>
                      <a:pt x="187" y="516"/>
                    </a:lnTo>
                    <a:lnTo>
                      <a:pt x="182" y="504"/>
                    </a:lnTo>
                    <a:lnTo>
                      <a:pt x="175" y="493"/>
                    </a:lnTo>
                    <a:lnTo>
                      <a:pt x="170" y="483"/>
                    </a:lnTo>
                    <a:lnTo>
                      <a:pt x="164" y="472"/>
                    </a:lnTo>
                    <a:lnTo>
                      <a:pt x="162" y="466"/>
                    </a:lnTo>
                    <a:lnTo>
                      <a:pt x="160" y="459"/>
                    </a:lnTo>
                    <a:lnTo>
                      <a:pt x="160" y="451"/>
                    </a:lnTo>
                    <a:lnTo>
                      <a:pt x="159" y="444"/>
                    </a:lnTo>
                    <a:lnTo>
                      <a:pt x="160" y="436"/>
                    </a:lnTo>
                    <a:lnTo>
                      <a:pt x="162" y="429"/>
                    </a:lnTo>
                    <a:lnTo>
                      <a:pt x="165" y="423"/>
                    </a:lnTo>
                    <a:lnTo>
                      <a:pt x="171" y="417"/>
                    </a:lnTo>
                    <a:lnTo>
                      <a:pt x="182" y="406"/>
                    </a:lnTo>
                    <a:lnTo>
                      <a:pt x="195" y="394"/>
                    </a:lnTo>
                    <a:lnTo>
                      <a:pt x="203" y="388"/>
                    </a:lnTo>
                    <a:lnTo>
                      <a:pt x="209" y="381"/>
                    </a:lnTo>
                    <a:lnTo>
                      <a:pt x="215" y="374"/>
                    </a:lnTo>
                    <a:lnTo>
                      <a:pt x="220" y="365"/>
                    </a:lnTo>
                    <a:lnTo>
                      <a:pt x="226" y="356"/>
                    </a:lnTo>
                    <a:lnTo>
                      <a:pt x="229" y="346"/>
                    </a:lnTo>
                    <a:lnTo>
                      <a:pt x="231" y="334"/>
                    </a:lnTo>
                    <a:lnTo>
                      <a:pt x="232" y="321"/>
                    </a:lnTo>
                    <a:lnTo>
                      <a:pt x="227" y="320"/>
                    </a:lnTo>
                    <a:lnTo>
                      <a:pt x="221" y="319"/>
                    </a:lnTo>
                    <a:lnTo>
                      <a:pt x="216" y="318"/>
                    </a:lnTo>
                    <a:lnTo>
                      <a:pt x="210" y="315"/>
                    </a:lnTo>
                    <a:lnTo>
                      <a:pt x="200" y="308"/>
                    </a:lnTo>
                    <a:lnTo>
                      <a:pt x="192" y="300"/>
                    </a:lnTo>
                    <a:lnTo>
                      <a:pt x="183" y="289"/>
                    </a:lnTo>
                    <a:lnTo>
                      <a:pt x="174" y="276"/>
                    </a:lnTo>
                    <a:lnTo>
                      <a:pt x="166" y="264"/>
                    </a:lnTo>
                    <a:lnTo>
                      <a:pt x="160" y="250"/>
                    </a:lnTo>
                    <a:lnTo>
                      <a:pt x="153" y="237"/>
                    </a:lnTo>
                    <a:lnTo>
                      <a:pt x="148" y="222"/>
                    </a:lnTo>
                    <a:lnTo>
                      <a:pt x="143" y="209"/>
                    </a:lnTo>
                    <a:lnTo>
                      <a:pt x="140" y="196"/>
                    </a:lnTo>
                    <a:lnTo>
                      <a:pt x="135" y="174"/>
                    </a:lnTo>
                    <a:lnTo>
                      <a:pt x="132" y="160"/>
                    </a:lnTo>
                    <a:lnTo>
                      <a:pt x="132" y="148"/>
                    </a:lnTo>
                    <a:lnTo>
                      <a:pt x="131" y="137"/>
                    </a:lnTo>
                    <a:lnTo>
                      <a:pt x="129" y="125"/>
                    </a:lnTo>
                    <a:lnTo>
                      <a:pt x="128" y="114"/>
                    </a:lnTo>
                    <a:lnTo>
                      <a:pt x="125" y="103"/>
                    </a:lnTo>
                    <a:lnTo>
                      <a:pt x="121" y="93"/>
                    </a:lnTo>
                    <a:lnTo>
                      <a:pt x="118" y="84"/>
                    </a:lnTo>
                    <a:lnTo>
                      <a:pt x="114" y="74"/>
                    </a:lnTo>
                    <a:lnTo>
                      <a:pt x="103" y="55"/>
                    </a:lnTo>
                    <a:lnTo>
                      <a:pt x="91" y="37"/>
                    </a:lnTo>
                    <a:lnTo>
                      <a:pt x="75" y="19"/>
                    </a:lnTo>
                    <a:lnTo>
                      <a:pt x="59" y="0"/>
                    </a:lnTo>
                    <a:lnTo>
                      <a:pt x="54" y="14"/>
                    </a:lnTo>
                    <a:lnTo>
                      <a:pt x="49" y="25"/>
                    </a:lnTo>
                    <a:lnTo>
                      <a:pt x="41" y="37"/>
                    </a:lnTo>
                    <a:lnTo>
                      <a:pt x="32" y="50"/>
                    </a:lnTo>
                    <a:lnTo>
                      <a:pt x="0" y="44"/>
                    </a:lnTo>
                    <a:lnTo>
                      <a:pt x="0" y="62"/>
                    </a:lnTo>
                    <a:lnTo>
                      <a:pt x="2" y="81"/>
                    </a:lnTo>
                    <a:lnTo>
                      <a:pt x="4" y="98"/>
                    </a:lnTo>
                    <a:lnTo>
                      <a:pt x="7" y="114"/>
                    </a:lnTo>
                    <a:lnTo>
                      <a:pt x="14" y="145"/>
                    </a:lnTo>
                    <a:lnTo>
                      <a:pt x="23" y="173"/>
                    </a:lnTo>
                    <a:lnTo>
                      <a:pt x="31" y="200"/>
                    </a:lnTo>
                    <a:lnTo>
                      <a:pt x="39" y="227"/>
                    </a:lnTo>
                    <a:lnTo>
                      <a:pt x="41" y="241"/>
                    </a:lnTo>
                    <a:lnTo>
                      <a:pt x="45" y="255"/>
                    </a:lnTo>
                    <a:lnTo>
                      <a:pt x="46" y="269"/>
                    </a:lnTo>
                    <a:lnTo>
                      <a:pt x="46" y="283"/>
                    </a:lnTo>
                    <a:lnTo>
                      <a:pt x="46" y="295"/>
                    </a:lnTo>
                    <a:lnTo>
                      <a:pt x="42" y="304"/>
                    </a:lnTo>
                    <a:lnTo>
                      <a:pt x="40" y="313"/>
                    </a:lnTo>
                    <a:lnTo>
                      <a:pt x="36" y="320"/>
                    </a:lnTo>
                    <a:lnTo>
                      <a:pt x="32" y="327"/>
                    </a:lnTo>
                    <a:lnTo>
                      <a:pt x="29" y="335"/>
                    </a:lnTo>
                    <a:lnTo>
                      <a:pt x="27" y="342"/>
                    </a:lnTo>
                    <a:lnTo>
                      <a:pt x="26" y="352"/>
                    </a:lnTo>
                    <a:lnTo>
                      <a:pt x="27" y="374"/>
                    </a:lnTo>
                    <a:lnTo>
                      <a:pt x="30" y="395"/>
                    </a:lnTo>
                    <a:lnTo>
                      <a:pt x="35" y="416"/>
                    </a:lnTo>
                    <a:lnTo>
                      <a:pt x="39" y="435"/>
                    </a:lnTo>
                    <a:lnTo>
                      <a:pt x="45" y="457"/>
                    </a:lnTo>
                    <a:lnTo>
                      <a:pt x="49" y="477"/>
                    </a:lnTo>
                    <a:lnTo>
                      <a:pt x="51" y="500"/>
                    </a:lnTo>
                    <a:lnTo>
                      <a:pt x="52" y="524"/>
                    </a:lnTo>
                    <a:lnTo>
                      <a:pt x="51" y="553"/>
                    </a:lnTo>
                    <a:lnTo>
                      <a:pt x="49" y="572"/>
                    </a:lnTo>
                    <a:lnTo>
                      <a:pt x="47" y="588"/>
                    </a:lnTo>
                    <a:lnTo>
                      <a:pt x="46" y="610"/>
                    </a:lnTo>
                    <a:lnTo>
                      <a:pt x="46" y="622"/>
                    </a:lnTo>
                    <a:lnTo>
                      <a:pt x="46" y="635"/>
                    </a:lnTo>
                    <a:lnTo>
                      <a:pt x="46" y="649"/>
                    </a:lnTo>
                    <a:lnTo>
                      <a:pt x="46" y="660"/>
                    </a:lnTo>
                    <a:lnTo>
                      <a:pt x="41" y="666"/>
                    </a:lnTo>
                    <a:lnTo>
                      <a:pt x="37" y="675"/>
                    </a:lnTo>
                    <a:lnTo>
                      <a:pt x="34" y="687"/>
                    </a:lnTo>
                    <a:lnTo>
                      <a:pt x="32" y="697"/>
                    </a:lnTo>
                    <a:lnTo>
                      <a:pt x="34" y="709"/>
                    </a:lnTo>
                    <a:lnTo>
                      <a:pt x="36" y="718"/>
                    </a:lnTo>
                    <a:lnTo>
                      <a:pt x="39" y="725"/>
                    </a:lnTo>
                    <a:lnTo>
                      <a:pt x="42" y="731"/>
                    </a:lnTo>
                    <a:lnTo>
                      <a:pt x="47" y="737"/>
                    </a:lnTo>
                    <a:lnTo>
                      <a:pt x="50" y="741"/>
                    </a:lnTo>
                    <a:lnTo>
                      <a:pt x="52" y="746"/>
                    </a:lnTo>
                    <a:lnTo>
                      <a:pt x="52" y="752"/>
                    </a:lnTo>
                    <a:lnTo>
                      <a:pt x="52" y="767"/>
                    </a:lnTo>
                    <a:lnTo>
                      <a:pt x="52" y="782"/>
                    </a:lnTo>
                    <a:lnTo>
                      <a:pt x="52" y="797"/>
                    </a:lnTo>
                    <a:lnTo>
                      <a:pt x="52" y="808"/>
                    </a:lnTo>
                    <a:lnTo>
                      <a:pt x="53" y="822"/>
                    </a:lnTo>
                    <a:lnTo>
                      <a:pt x="58" y="847"/>
                    </a:lnTo>
                    <a:lnTo>
                      <a:pt x="60" y="860"/>
                    </a:lnTo>
                    <a:lnTo>
                      <a:pt x="64" y="871"/>
                    </a:lnTo>
                    <a:lnTo>
                      <a:pt x="65" y="875"/>
                    </a:lnTo>
                    <a:lnTo>
                      <a:pt x="68" y="879"/>
                    </a:lnTo>
                    <a:lnTo>
                      <a:pt x="70" y="881"/>
                    </a:lnTo>
                    <a:lnTo>
                      <a:pt x="73" y="881"/>
                    </a:lnTo>
                    <a:lnTo>
                      <a:pt x="76" y="894"/>
                    </a:lnTo>
                    <a:lnTo>
                      <a:pt x="80" y="905"/>
                    </a:lnTo>
                    <a:lnTo>
                      <a:pt x="81" y="913"/>
                    </a:lnTo>
                    <a:lnTo>
                      <a:pt x="81" y="921"/>
                    </a:lnTo>
                    <a:lnTo>
                      <a:pt x="80" y="936"/>
                    </a:lnTo>
                    <a:lnTo>
                      <a:pt x="80" y="956"/>
                    </a:lnTo>
                    <a:lnTo>
                      <a:pt x="79" y="980"/>
                    </a:lnTo>
                    <a:lnTo>
                      <a:pt x="78" y="1002"/>
                    </a:lnTo>
                    <a:lnTo>
                      <a:pt x="75" y="1024"/>
                    </a:lnTo>
                    <a:lnTo>
                      <a:pt x="73" y="1045"/>
                    </a:lnTo>
                    <a:lnTo>
                      <a:pt x="70" y="1065"/>
                    </a:lnTo>
                    <a:lnTo>
                      <a:pt x="68" y="1087"/>
                    </a:lnTo>
                    <a:lnTo>
                      <a:pt x="67" y="1110"/>
                    </a:lnTo>
                    <a:lnTo>
                      <a:pt x="67" y="1135"/>
                    </a:lnTo>
                    <a:lnTo>
                      <a:pt x="65" y="1141"/>
                    </a:lnTo>
                    <a:lnTo>
                      <a:pt x="64" y="1147"/>
                    </a:lnTo>
                    <a:lnTo>
                      <a:pt x="63" y="1152"/>
                    </a:lnTo>
                    <a:lnTo>
                      <a:pt x="62" y="1156"/>
                    </a:lnTo>
                    <a:lnTo>
                      <a:pt x="58" y="1163"/>
                    </a:lnTo>
                    <a:lnTo>
                      <a:pt x="52" y="1169"/>
                    </a:lnTo>
                    <a:lnTo>
                      <a:pt x="48" y="1175"/>
                    </a:lnTo>
                    <a:lnTo>
                      <a:pt x="43" y="1181"/>
                    </a:lnTo>
                    <a:lnTo>
                      <a:pt x="41" y="1185"/>
                    </a:lnTo>
                    <a:lnTo>
                      <a:pt x="40" y="1188"/>
                    </a:lnTo>
                    <a:lnTo>
                      <a:pt x="40" y="1192"/>
                    </a:lnTo>
                    <a:lnTo>
                      <a:pt x="39" y="1196"/>
                    </a:lnTo>
                    <a:lnTo>
                      <a:pt x="40" y="1205"/>
                    </a:lnTo>
                    <a:lnTo>
                      <a:pt x="42" y="1215"/>
                    </a:lnTo>
                    <a:lnTo>
                      <a:pt x="46" y="1225"/>
                    </a:lnTo>
                    <a:lnTo>
                      <a:pt x="50" y="1237"/>
                    </a:lnTo>
                    <a:lnTo>
                      <a:pt x="60" y="1258"/>
                    </a:lnTo>
                    <a:lnTo>
                      <a:pt x="73" y="1279"/>
                    </a:lnTo>
                    <a:lnTo>
                      <a:pt x="85" y="1299"/>
                    </a:lnTo>
                    <a:lnTo>
                      <a:pt x="95" y="1317"/>
                    </a:lnTo>
                    <a:lnTo>
                      <a:pt x="99" y="1325"/>
                    </a:lnTo>
                    <a:lnTo>
                      <a:pt x="103" y="1332"/>
                    </a:lnTo>
                    <a:lnTo>
                      <a:pt x="105" y="1338"/>
                    </a:lnTo>
                    <a:lnTo>
                      <a:pt x="106" y="1343"/>
                    </a:lnTo>
                    <a:lnTo>
                      <a:pt x="105" y="1351"/>
                    </a:lnTo>
                    <a:lnTo>
                      <a:pt x="104" y="1358"/>
                    </a:lnTo>
                    <a:lnTo>
                      <a:pt x="102" y="1365"/>
                    </a:lnTo>
                    <a:lnTo>
                      <a:pt x="99" y="1372"/>
                    </a:lnTo>
                    <a:lnTo>
                      <a:pt x="97" y="1380"/>
                    </a:lnTo>
                    <a:lnTo>
                      <a:pt x="95" y="1388"/>
                    </a:lnTo>
                    <a:lnTo>
                      <a:pt x="93" y="1396"/>
                    </a:lnTo>
                    <a:lnTo>
                      <a:pt x="93" y="1406"/>
                    </a:lnTo>
                    <a:lnTo>
                      <a:pt x="93" y="1415"/>
                    </a:lnTo>
                    <a:lnTo>
                      <a:pt x="94" y="1424"/>
                    </a:lnTo>
                    <a:lnTo>
                      <a:pt x="96" y="1432"/>
                    </a:lnTo>
                    <a:lnTo>
                      <a:pt x="98" y="1438"/>
                    </a:lnTo>
                    <a:lnTo>
                      <a:pt x="102" y="1444"/>
                    </a:lnTo>
                    <a:lnTo>
                      <a:pt x="106" y="1449"/>
                    </a:lnTo>
                    <a:lnTo>
                      <a:pt x="112" y="1453"/>
                    </a:lnTo>
                    <a:lnTo>
                      <a:pt x="117" y="1457"/>
                    </a:lnTo>
                    <a:lnTo>
                      <a:pt x="123" y="1460"/>
                    </a:lnTo>
                    <a:lnTo>
                      <a:pt x="130" y="1463"/>
                    </a:lnTo>
                    <a:lnTo>
                      <a:pt x="138" y="1464"/>
                    </a:lnTo>
                    <a:lnTo>
                      <a:pt x="146" y="1465"/>
                    </a:lnTo>
                    <a:lnTo>
                      <a:pt x="164" y="1467"/>
                    </a:lnTo>
                    <a:lnTo>
                      <a:pt x="185" y="1467"/>
                    </a:lnTo>
                    <a:lnTo>
                      <a:pt x="191" y="1501"/>
                    </a:lnTo>
                    <a:lnTo>
                      <a:pt x="195" y="1531"/>
                    </a:lnTo>
                    <a:lnTo>
                      <a:pt x="197" y="1559"/>
                    </a:lnTo>
                    <a:lnTo>
                      <a:pt x="199" y="1590"/>
                    </a:lnTo>
                    <a:lnTo>
                      <a:pt x="202" y="1602"/>
                    </a:lnTo>
                    <a:lnTo>
                      <a:pt x="209" y="1621"/>
                    </a:lnTo>
                    <a:lnTo>
                      <a:pt x="216" y="1643"/>
                    </a:lnTo>
                    <a:lnTo>
                      <a:pt x="219" y="1658"/>
                    </a:lnTo>
                    <a:lnTo>
                      <a:pt x="219" y="1668"/>
                    </a:lnTo>
                    <a:lnTo>
                      <a:pt x="220" y="1679"/>
                    </a:lnTo>
                    <a:lnTo>
                      <a:pt x="221" y="1687"/>
                    </a:lnTo>
                    <a:lnTo>
                      <a:pt x="222" y="1694"/>
                    </a:lnTo>
                    <a:lnTo>
                      <a:pt x="227" y="1709"/>
                    </a:lnTo>
                    <a:lnTo>
                      <a:pt x="232" y="1725"/>
                    </a:lnTo>
                    <a:lnTo>
                      <a:pt x="202" y="1732"/>
                    </a:lnTo>
                    <a:lnTo>
                      <a:pt x="173" y="1739"/>
                    </a:lnTo>
                    <a:lnTo>
                      <a:pt x="166" y="1740"/>
                    </a:lnTo>
                    <a:lnTo>
                      <a:pt x="161" y="1743"/>
                    </a:lnTo>
                    <a:lnTo>
                      <a:pt x="155" y="1745"/>
                    </a:lnTo>
                    <a:lnTo>
                      <a:pt x="151" y="1749"/>
                    </a:lnTo>
                    <a:lnTo>
                      <a:pt x="147" y="1752"/>
                    </a:lnTo>
                    <a:lnTo>
                      <a:pt x="143" y="1757"/>
                    </a:lnTo>
                    <a:lnTo>
                      <a:pt x="141" y="1762"/>
                    </a:lnTo>
                    <a:lnTo>
                      <a:pt x="139" y="1769"/>
                    </a:lnTo>
                    <a:lnTo>
                      <a:pt x="164" y="1770"/>
                    </a:lnTo>
                    <a:lnTo>
                      <a:pt x="193" y="1773"/>
                    </a:lnTo>
                    <a:lnTo>
                      <a:pt x="207" y="1776"/>
                    </a:lnTo>
                    <a:lnTo>
                      <a:pt x="218" y="1779"/>
                    </a:lnTo>
                    <a:lnTo>
                      <a:pt x="224" y="1781"/>
                    </a:lnTo>
                    <a:lnTo>
                      <a:pt x="227" y="1783"/>
                    </a:lnTo>
                    <a:lnTo>
                      <a:pt x="230" y="1785"/>
                    </a:lnTo>
                    <a:lnTo>
                      <a:pt x="232" y="1787"/>
                    </a:lnTo>
                    <a:lnTo>
                      <a:pt x="243" y="1807"/>
                    </a:lnTo>
                    <a:lnTo>
                      <a:pt x="250" y="1820"/>
                    </a:lnTo>
                    <a:lnTo>
                      <a:pt x="253" y="1825"/>
                    </a:lnTo>
                    <a:lnTo>
                      <a:pt x="258" y="1828"/>
                    </a:lnTo>
                    <a:lnTo>
                      <a:pt x="263" y="1830"/>
                    </a:lnTo>
                    <a:lnTo>
                      <a:pt x="272" y="1830"/>
                    </a:lnTo>
                    <a:lnTo>
                      <a:pt x="272" y="1843"/>
                    </a:lnTo>
                    <a:lnTo>
                      <a:pt x="273" y="1857"/>
                    </a:lnTo>
                    <a:lnTo>
                      <a:pt x="275" y="1871"/>
                    </a:lnTo>
                    <a:lnTo>
                      <a:pt x="278" y="1884"/>
                    </a:lnTo>
                    <a:lnTo>
                      <a:pt x="282" y="1898"/>
                    </a:lnTo>
                    <a:lnTo>
                      <a:pt x="285" y="1912"/>
                    </a:lnTo>
                    <a:lnTo>
                      <a:pt x="289" y="1925"/>
                    </a:lnTo>
                    <a:lnTo>
                      <a:pt x="295" y="1937"/>
                    </a:lnTo>
                    <a:lnTo>
                      <a:pt x="301" y="1949"/>
                    </a:lnTo>
                    <a:lnTo>
                      <a:pt x="308" y="1961"/>
                    </a:lnTo>
                    <a:lnTo>
                      <a:pt x="315" y="1971"/>
                    </a:lnTo>
                    <a:lnTo>
                      <a:pt x="322" y="1980"/>
                    </a:lnTo>
                    <a:lnTo>
                      <a:pt x="330" y="1988"/>
                    </a:lnTo>
                    <a:lnTo>
                      <a:pt x="339" y="1995"/>
                    </a:lnTo>
                    <a:lnTo>
                      <a:pt x="349" y="2000"/>
                    </a:lnTo>
                    <a:lnTo>
                      <a:pt x="359" y="2003"/>
                    </a:lnTo>
                    <a:lnTo>
                      <a:pt x="359" y="2013"/>
                    </a:lnTo>
                    <a:lnTo>
                      <a:pt x="361" y="2021"/>
                    </a:lnTo>
                    <a:lnTo>
                      <a:pt x="364" y="2028"/>
                    </a:lnTo>
                    <a:lnTo>
                      <a:pt x="368" y="2034"/>
                    </a:lnTo>
                    <a:lnTo>
                      <a:pt x="374" y="2038"/>
                    </a:lnTo>
                    <a:lnTo>
                      <a:pt x="379" y="2042"/>
                    </a:lnTo>
                    <a:lnTo>
                      <a:pt x="386" y="2046"/>
                    </a:lnTo>
                    <a:lnTo>
                      <a:pt x="393" y="2048"/>
                    </a:lnTo>
                    <a:lnTo>
                      <a:pt x="407" y="2053"/>
                    </a:lnTo>
                    <a:lnTo>
                      <a:pt x="420" y="2057"/>
                    </a:lnTo>
                    <a:lnTo>
                      <a:pt x="426" y="2060"/>
                    </a:lnTo>
                    <a:lnTo>
                      <a:pt x="431" y="2063"/>
                    </a:lnTo>
                    <a:lnTo>
                      <a:pt x="435" y="2066"/>
                    </a:lnTo>
                    <a:lnTo>
                      <a:pt x="438" y="2071"/>
                    </a:lnTo>
                    <a:lnTo>
                      <a:pt x="424" y="2074"/>
                    </a:lnTo>
                    <a:lnTo>
                      <a:pt x="411" y="2077"/>
                    </a:lnTo>
                    <a:lnTo>
                      <a:pt x="415" y="2084"/>
                    </a:lnTo>
                    <a:lnTo>
                      <a:pt x="421" y="2091"/>
                    </a:lnTo>
                    <a:lnTo>
                      <a:pt x="429" y="2097"/>
                    </a:lnTo>
                    <a:lnTo>
                      <a:pt x="440" y="2102"/>
                    </a:lnTo>
                    <a:lnTo>
                      <a:pt x="452" y="2107"/>
                    </a:lnTo>
                    <a:lnTo>
                      <a:pt x="465" y="2110"/>
                    </a:lnTo>
                    <a:lnTo>
                      <a:pt x="480" y="2113"/>
                    </a:lnTo>
                    <a:lnTo>
                      <a:pt x="498" y="2114"/>
                    </a:lnTo>
                    <a:lnTo>
                      <a:pt x="502" y="2117"/>
                    </a:lnTo>
                    <a:lnTo>
                      <a:pt x="507" y="2121"/>
                    </a:lnTo>
                    <a:lnTo>
                      <a:pt x="510" y="2127"/>
                    </a:lnTo>
                    <a:lnTo>
                      <a:pt x="513" y="2131"/>
                    </a:lnTo>
                    <a:lnTo>
                      <a:pt x="519" y="2140"/>
                    </a:lnTo>
                    <a:lnTo>
                      <a:pt x="522" y="2149"/>
                    </a:lnTo>
                    <a:lnTo>
                      <a:pt x="527" y="2155"/>
                    </a:lnTo>
                    <a:lnTo>
                      <a:pt x="530" y="2158"/>
                    </a:lnTo>
                    <a:lnTo>
                      <a:pt x="531" y="2158"/>
                    </a:lnTo>
                    <a:lnTo>
                      <a:pt x="533" y="2157"/>
                    </a:lnTo>
                    <a:lnTo>
                      <a:pt x="535" y="2155"/>
                    </a:lnTo>
                    <a:lnTo>
                      <a:pt x="538" y="2151"/>
                    </a:lnTo>
                    <a:lnTo>
                      <a:pt x="543" y="2137"/>
                    </a:lnTo>
                    <a:lnTo>
                      <a:pt x="547" y="2125"/>
                    </a:lnTo>
                    <a:lnTo>
                      <a:pt x="554" y="2116"/>
                    </a:lnTo>
                    <a:lnTo>
                      <a:pt x="561" y="2109"/>
                    </a:lnTo>
                    <a:lnTo>
                      <a:pt x="567" y="2104"/>
                    </a:lnTo>
                    <a:lnTo>
                      <a:pt x="576" y="2101"/>
                    </a:lnTo>
                    <a:lnTo>
                      <a:pt x="586" y="2098"/>
                    </a:lnTo>
                    <a:lnTo>
                      <a:pt x="598" y="2095"/>
                    </a:lnTo>
                    <a:lnTo>
                      <a:pt x="592" y="2087"/>
                    </a:lnTo>
                    <a:lnTo>
                      <a:pt x="589" y="2081"/>
                    </a:lnTo>
                    <a:lnTo>
                      <a:pt x="588" y="2078"/>
                    </a:lnTo>
                    <a:lnTo>
                      <a:pt x="588" y="2076"/>
                    </a:lnTo>
                    <a:lnTo>
                      <a:pt x="589" y="2074"/>
                    </a:lnTo>
                    <a:lnTo>
                      <a:pt x="591" y="2071"/>
                    </a:lnTo>
                    <a:lnTo>
                      <a:pt x="491" y="2046"/>
                    </a:lnTo>
                  </a:path>
                </a:pathLst>
              </a:custGeom>
              <a:grpFill/>
              <a:ln w="9525" cap="flat" cmpd="sng">
                <a:solidFill>
                  <a:srgbClr val="FFFFFF"/>
                </a:solidFill>
                <a:prstDash val="solid"/>
                <a:round/>
                <a:headEnd type="none" w="med" len="med"/>
                <a:tailEnd type="none" w="med" len="med"/>
              </a:ln>
              <a:effectLst/>
            </p:spPr>
            <p:txBody>
              <a:bodyPr/>
              <a:lstStyle/>
              <a:p>
                <a:endParaRPr lang="en-GB" sz="1637"/>
              </a:p>
            </p:txBody>
          </p:sp>
          <p:sp>
            <p:nvSpPr>
              <p:cNvPr id="413" name="Freeform 9"/>
              <p:cNvSpPr>
                <a:spLocks/>
              </p:cNvSpPr>
              <p:nvPr>
                <p:custDataLst>
                  <p:tags r:id="rId257"/>
                </p:custDataLst>
              </p:nvPr>
            </p:nvSpPr>
            <p:spPr bwMode="auto">
              <a:xfrm>
                <a:off x="1905807" y="3804620"/>
                <a:ext cx="1055384" cy="1357551"/>
              </a:xfrm>
              <a:custGeom>
                <a:avLst/>
                <a:gdLst>
                  <a:gd name="T0" fmla="*/ 191099 w 2226"/>
                  <a:gd name="T1" fmla="*/ 470410 h 2292"/>
                  <a:gd name="T2" fmla="*/ 219329 w 2226"/>
                  <a:gd name="T3" fmla="*/ 517136 h 2292"/>
                  <a:gd name="T4" fmla="*/ 248429 w 2226"/>
                  <a:gd name="T5" fmla="*/ 553361 h 2292"/>
                  <a:gd name="T6" fmla="*/ 310970 w 2226"/>
                  <a:gd name="T7" fmla="*/ 576462 h 2292"/>
                  <a:gd name="T8" fmla="*/ 346584 w 2226"/>
                  <a:gd name="T9" fmla="*/ 632113 h 2292"/>
                  <a:gd name="T10" fmla="*/ 367431 w 2226"/>
                  <a:gd name="T11" fmla="*/ 678314 h 2292"/>
                  <a:gd name="T12" fmla="*/ 407823 w 2226"/>
                  <a:gd name="T13" fmla="*/ 711390 h 2292"/>
                  <a:gd name="T14" fmla="*/ 415640 w 2226"/>
                  <a:gd name="T15" fmla="*/ 769666 h 2292"/>
                  <a:gd name="T16" fmla="*/ 423892 w 2226"/>
                  <a:gd name="T17" fmla="*/ 809042 h 2292"/>
                  <a:gd name="T18" fmla="*/ 430841 w 2226"/>
                  <a:gd name="T19" fmla="*/ 856818 h 2292"/>
                  <a:gd name="T20" fmla="*/ 491211 w 2226"/>
                  <a:gd name="T21" fmla="*/ 891469 h 2292"/>
                  <a:gd name="T22" fmla="*/ 518139 w 2226"/>
                  <a:gd name="T23" fmla="*/ 947645 h 2292"/>
                  <a:gd name="T24" fmla="*/ 539855 w 2226"/>
                  <a:gd name="T25" fmla="*/ 978620 h 2292"/>
                  <a:gd name="T26" fmla="*/ 513796 w 2226"/>
                  <a:gd name="T27" fmla="*/ 1051597 h 2292"/>
                  <a:gd name="T28" fmla="*/ 470798 w 2226"/>
                  <a:gd name="T29" fmla="*/ 1117223 h 2292"/>
                  <a:gd name="T30" fmla="*/ 512493 w 2226"/>
                  <a:gd name="T31" fmla="*/ 1134549 h 2292"/>
                  <a:gd name="T32" fmla="*/ 562873 w 2226"/>
                  <a:gd name="T33" fmla="*/ 1172874 h 2292"/>
                  <a:gd name="T34" fmla="*/ 616294 w 2226"/>
                  <a:gd name="T35" fmla="*/ 1153974 h 2292"/>
                  <a:gd name="T36" fmla="*/ 659291 w 2226"/>
                  <a:gd name="T37" fmla="*/ 1068922 h 2292"/>
                  <a:gd name="T38" fmla="*/ 656686 w 2226"/>
                  <a:gd name="T39" fmla="*/ 1006971 h 2292"/>
                  <a:gd name="T40" fmla="*/ 677967 w 2226"/>
                  <a:gd name="T41" fmla="*/ 941345 h 2292"/>
                  <a:gd name="T42" fmla="*/ 740943 w 2226"/>
                  <a:gd name="T43" fmla="*/ 906694 h 2292"/>
                  <a:gd name="T44" fmla="*/ 780900 w 2226"/>
                  <a:gd name="T45" fmla="*/ 882543 h 2292"/>
                  <a:gd name="T46" fmla="*/ 823897 w 2226"/>
                  <a:gd name="T47" fmla="*/ 861543 h 2292"/>
                  <a:gd name="T48" fmla="*/ 860814 w 2226"/>
                  <a:gd name="T49" fmla="*/ 735015 h 2292"/>
                  <a:gd name="T50" fmla="*/ 874712 w 2226"/>
                  <a:gd name="T51" fmla="*/ 676214 h 2292"/>
                  <a:gd name="T52" fmla="*/ 869500 w 2226"/>
                  <a:gd name="T53" fmla="*/ 572262 h 2292"/>
                  <a:gd name="T54" fmla="*/ 900337 w 2226"/>
                  <a:gd name="T55" fmla="*/ 529736 h 2292"/>
                  <a:gd name="T56" fmla="*/ 951152 w 2226"/>
                  <a:gd name="T57" fmla="*/ 460435 h 2292"/>
                  <a:gd name="T58" fmla="*/ 965050 w 2226"/>
                  <a:gd name="T59" fmla="*/ 384308 h 2292"/>
                  <a:gd name="T60" fmla="*/ 936819 w 2226"/>
                  <a:gd name="T61" fmla="*/ 314482 h 2292"/>
                  <a:gd name="T62" fmla="*/ 894256 w 2226"/>
                  <a:gd name="T63" fmla="*/ 295581 h 2292"/>
                  <a:gd name="T64" fmla="*/ 834321 w 2226"/>
                  <a:gd name="T65" fmla="*/ 242555 h 2292"/>
                  <a:gd name="T66" fmla="*/ 756578 w 2226"/>
                  <a:gd name="T67" fmla="*/ 236255 h 2292"/>
                  <a:gd name="T68" fmla="*/ 725307 w 2226"/>
                  <a:gd name="T69" fmla="*/ 234680 h 2292"/>
                  <a:gd name="T70" fmla="*/ 710541 w 2226"/>
                  <a:gd name="T71" fmla="*/ 206854 h 2292"/>
                  <a:gd name="T72" fmla="*/ 656686 w 2226"/>
                  <a:gd name="T73" fmla="*/ 182704 h 2292"/>
                  <a:gd name="T74" fmla="*/ 612820 w 2226"/>
                  <a:gd name="T75" fmla="*/ 214729 h 2292"/>
                  <a:gd name="T76" fmla="*/ 581115 w 2226"/>
                  <a:gd name="T77" fmla="*/ 212629 h 2292"/>
                  <a:gd name="T78" fmla="*/ 541592 w 2226"/>
                  <a:gd name="T79" fmla="*/ 201604 h 2292"/>
                  <a:gd name="T80" fmla="*/ 571994 w 2226"/>
                  <a:gd name="T81" fmla="*/ 140703 h 2292"/>
                  <a:gd name="T82" fmla="*/ 581115 w 2226"/>
                  <a:gd name="T83" fmla="*/ 96602 h 2292"/>
                  <a:gd name="T84" fmla="*/ 560702 w 2226"/>
                  <a:gd name="T85" fmla="*/ 35701 h 2292"/>
                  <a:gd name="T86" fmla="*/ 488171 w 2226"/>
                  <a:gd name="T87" fmla="*/ 70876 h 2292"/>
                  <a:gd name="T88" fmla="*/ 435619 w 2226"/>
                  <a:gd name="T89" fmla="*/ 89252 h 2292"/>
                  <a:gd name="T90" fmla="*/ 416943 w 2226"/>
                  <a:gd name="T91" fmla="*/ 98177 h 2292"/>
                  <a:gd name="T92" fmla="*/ 352664 w 2226"/>
                  <a:gd name="T93" fmla="*/ 92402 h 2292"/>
                  <a:gd name="T94" fmla="*/ 352230 w 2226"/>
                  <a:gd name="T95" fmla="*/ 35176 h 2292"/>
                  <a:gd name="T96" fmla="*/ 323565 w 2226"/>
                  <a:gd name="T97" fmla="*/ 0 h 2292"/>
                  <a:gd name="T98" fmla="*/ 304021 w 2226"/>
                  <a:gd name="T99" fmla="*/ 16275 h 2292"/>
                  <a:gd name="T100" fmla="*/ 255812 w 2226"/>
                  <a:gd name="T101" fmla="*/ 36751 h 2292"/>
                  <a:gd name="T102" fmla="*/ 243217 w 2226"/>
                  <a:gd name="T103" fmla="*/ 103952 h 2292"/>
                  <a:gd name="T104" fmla="*/ 196745 w 2226"/>
                  <a:gd name="T105" fmla="*/ 135453 h 2292"/>
                  <a:gd name="T106" fmla="*/ 124214 w 2226"/>
                  <a:gd name="T107" fmla="*/ 103427 h 2292"/>
                  <a:gd name="T108" fmla="*/ 109882 w 2226"/>
                  <a:gd name="T109" fmla="*/ 126003 h 2292"/>
                  <a:gd name="T110" fmla="*/ 85995 w 2226"/>
                  <a:gd name="T111" fmla="*/ 163278 h 2292"/>
                  <a:gd name="T112" fmla="*/ 106842 w 2226"/>
                  <a:gd name="T113" fmla="*/ 203704 h 2292"/>
                  <a:gd name="T114" fmla="*/ 84257 w 2226"/>
                  <a:gd name="T115" fmla="*/ 294006 h 2292"/>
                  <a:gd name="T116" fmla="*/ 43432 w 2226"/>
                  <a:gd name="T117" fmla="*/ 297681 h 2292"/>
                  <a:gd name="T118" fmla="*/ 6949 w 2226"/>
                  <a:gd name="T119" fmla="*/ 360682 h 2292"/>
                  <a:gd name="T120" fmla="*/ 9555 w 2226"/>
                  <a:gd name="T121" fmla="*/ 432609 h 2292"/>
                  <a:gd name="T122" fmla="*/ 52118 w 2226"/>
                  <a:gd name="T123" fmla="*/ 475135 h 2292"/>
                  <a:gd name="T124" fmla="*/ 82954 w 2226"/>
                  <a:gd name="T125" fmla="*/ 498235 h 229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2226" h="2292">
                    <a:moveTo>
                      <a:pt x="233" y="973"/>
                    </a:moveTo>
                    <a:lnTo>
                      <a:pt x="313" y="967"/>
                    </a:lnTo>
                    <a:lnTo>
                      <a:pt x="323" y="963"/>
                    </a:lnTo>
                    <a:lnTo>
                      <a:pt x="332" y="959"/>
                    </a:lnTo>
                    <a:lnTo>
                      <a:pt x="342" y="953"/>
                    </a:lnTo>
                    <a:lnTo>
                      <a:pt x="351" y="948"/>
                    </a:lnTo>
                    <a:lnTo>
                      <a:pt x="368" y="936"/>
                    </a:lnTo>
                    <a:lnTo>
                      <a:pt x="386" y="923"/>
                    </a:lnTo>
                    <a:lnTo>
                      <a:pt x="403" y="911"/>
                    </a:lnTo>
                    <a:lnTo>
                      <a:pt x="421" y="902"/>
                    </a:lnTo>
                    <a:lnTo>
                      <a:pt x="431" y="898"/>
                    </a:lnTo>
                    <a:lnTo>
                      <a:pt x="440" y="896"/>
                    </a:lnTo>
                    <a:lnTo>
                      <a:pt x="449" y="894"/>
                    </a:lnTo>
                    <a:lnTo>
                      <a:pt x="459" y="893"/>
                    </a:lnTo>
                    <a:lnTo>
                      <a:pt x="467" y="894"/>
                    </a:lnTo>
                    <a:lnTo>
                      <a:pt x="474" y="896"/>
                    </a:lnTo>
                    <a:lnTo>
                      <a:pt x="480" y="899"/>
                    </a:lnTo>
                    <a:lnTo>
                      <a:pt x="485" y="902"/>
                    </a:lnTo>
                    <a:lnTo>
                      <a:pt x="489" y="907"/>
                    </a:lnTo>
                    <a:lnTo>
                      <a:pt x="492" y="912"/>
                    </a:lnTo>
                    <a:lnTo>
                      <a:pt x="496" y="918"/>
                    </a:lnTo>
                    <a:lnTo>
                      <a:pt x="498" y="925"/>
                    </a:lnTo>
                    <a:lnTo>
                      <a:pt x="502" y="956"/>
                    </a:lnTo>
                    <a:lnTo>
                      <a:pt x="505" y="985"/>
                    </a:lnTo>
                    <a:lnTo>
                      <a:pt x="509" y="994"/>
                    </a:lnTo>
                    <a:lnTo>
                      <a:pt x="512" y="1001"/>
                    </a:lnTo>
                    <a:lnTo>
                      <a:pt x="515" y="1008"/>
                    </a:lnTo>
                    <a:lnTo>
                      <a:pt x="520" y="1015"/>
                    </a:lnTo>
                    <a:lnTo>
                      <a:pt x="525" y="1022"/>
                    </a:lnTo>
                    <a:lnTo>
                      <a:pt x="531" y="1028"/>
                    </a:lnTo>
                    <a:lnTo>
                      <a:pt x="536" y="1033"/>
                    </a:lnTo>
                    <a:lnTo>
                      <a:pt x="543" y="1038"/>
                    </a:lnTo>
                    <a:lnTo>
                      <a:pt x="549" y="1044"/>
                    </a:lnTo>
                    <a:lnTo>
                      <a:pt x="557" y="1048"/>
                    </a:lnTo>
                    <a:lnTo>
                      <a:pt x="564" y="1051"/>
                    </a:lnTo>
                    <a:lnTo>
                      <a:pt x="572" y="1054"/>
                    </a:lnTo>
                    <a:lnTo>
                      <a:pt x="580" y="1057"/>
                    </a:lnTo>
                    <a:lnTo>
                      <a:pt x="588" y="1058"/>
                    </a:lnTo>
                    <a:lnTo>
                      <a:pt x="597" y="1059"/>
                    </a:lnTo>
                    <a:lnTo>
                      <a:pt x="605" y="1060"/>
                    </a:lnTo>
                    <a:lnTo>
                      <a:pt x="614" y="1060"/>
                    </a:lnTo>
                    <a:lnTo>
                      <a:pt x="625" y="1063"/>
                    </a:lnTo>
                    <a:lnTo>
                      <a:pt x="638" y="1066"/>
                    </a:lnTo>
                    <a:lnTo>
                      <a:pt x="653" y="1071"/>
                    </a:lnTo>
                    <a:lnTo>
                      <a:pt x="668" y="1076"/>
                    </a:lnTo>
                    <a:lnTo>
                      <a:pt x="683" y="1083"/>
                    </a:lnTo>
                    <a:lnTo>
                      <a:pt x="700" y="1090"/>
                    </a:lnTo>
                    <a:lnTo>
                      <a:pt x="716" y="1098"/>
                    </a:lnTo>
                    <a:lnTo>
                      <a:pt x="733" y="1108"/>
                    </a:lnTo>
                    <a:lnTo>
                      <a:pt x="747" y="1116"/>
                    </a:lnTo>
                    <a:lnTo>
                      <a:pt x="761" y="1126"/>
                    </a:lnTo>
                    <a:lnTo>
                      <a:pt x="773" y="1135"/>
                    </a:lnTo>
                    <a:lnTo>
                      <a:pt x="783" y="1144"/>
                    </a:lnTo>
                    <a:lnTo>
                      <a:pt x="791" y="1153"/>
                    </a:lnTo>
                    <a:lnTo>
                      <a:pt x="794" y="1158"/>
                    </a:lnTo>
                    <a:lnTo>
                      <a:pt x="796" y="1162"/>
                    </a:lnTo>
                    <a:lnTo>
                      <a:pt x="798" y="1167"/>
                    </a:lnTo>
                    <a:lnTo>
                      <a:pt x="798" y="1171"/>
                    </a:lnTo>
                    <a:lnTo>
                      <a:pt x="798" y="1190"/>
                    </a:lnTo>
                    <a:lnTo>
                      <a:pt x="798" y="1204"/>
                    </a:lnTo>
                    <a:lnTo>
                      <a:pt x="798" y="1214"/>
                    </a:lnTo>
                    <a:lnTo>
                      <a:pt x="798" y="1220"/>
                    </a:lnTo>
                    <a:lnTo>
                      <a:pt x="799" y="1229"/>
                    </a:lnTo>
                    <a:lnTo>
                      <a:pt x="803" y="1242"/>
                    </a:lnTo>
                    <a:lnTo>
                      <a:pt x="806" y="1249"/>
                    </a:lnTo>
                    <a:lnTo>
                      <a:pt x="810" y="1256"/>
                    </a:lnTo>
                    <a:lnTo>
                      <a:pt x="814" y="1263"/>
                    </a:lnTo>
                    <a:lnTo>
                      <a:pt x="818" y="1271"/>
                    </a:lnTo>
                    <a:lnTo>
                      <a:pt x="824" y="1277"/>
                    </a:lnTo>
                    <a:lnTo>
                      <a:pt x="830" y="1283"/>
                    </a:lnTo>
                    <a:lnTo>
                      <a:pt x="838" y="1288"/>
                    </a:lnTo>
                    <a:lnTo>
                      <a:pt x="846" y="1292"/>
                    </a:lnTo>
                    <a:lnTo>
                      <a:pt x="854" y="1295"/>
                    </a:lnTo>
                    <a:lnTo>
                      <a:pt x="863" y="1296"/>
                    </a:lnTo>
                    <a:lnTo>
                      <a:pt x="873" y="1296"/>
                    </a:lnTo>
                    <a:lnTo>
                      <a:pt x="884" y="1294"/>
                    </a:lnTo>
                    <a:lnTo>
                      <a:pt x="917" y="1294"/>
                    </a:lnTo>
                    <a:lnTo>
                      <a:pt x="918" y="1306"/>
                    </a:lnTo>
                    <a:lnTo>
                      <a:pt x="919" y="1317"/>
                    </a:lnTo>
                    <a:lnTo>
                      <a:pt x="923" y="1328"/>
                    </a:lnTo>
                    <a:lnTo>
                      <a:pt x="926" y="1336"/>
                    </a:lnTo>
                    <a:lnTo>
                      <a:pt x="929" y="1343"/>
                    </a:lnTo>
                    <a:lnTo>
                      <a:pt x="935" y="1349"/>
                    </a:lnTo>
                    <a:lnTo>
                      <a:pt x="939" y="1355"/>
                    </a:lnTo>
                    <a:lnTo>
                      <a:pt x="944" y="1360"/>
                    </a:lnTo>
                    <a:lnTo>
                      <a:pt x="953" y="1371"/>
                    </a:lnTo>
                    <a:lnTo>
                      <a:pt x="962" y="1385"/>
                    </a:lnTo>
                    <a:lnTo>
                      <a:pt x="965" y="1392"/>
                    </a:lnTo>
                    <a:lnTo>
                      <a:pt x="969" y="1401"/>
                    </a:lnTo>
                    <a:lnTo>
                      <a:pt x="970" y="1411"/>
                    </a:lnTo>
                    <a:lnTo>
                      <a:pt x="971" y="1423"/>
                    </a:lnTo>
                    <a:lnTo>
                      <a:pt x="970" y="1434"/>
                    </a:lnTo>
                    <a:lnTo>
                      <a:pt x="968" y="1443"/>
                    </a:lnTo>
                    <a:lnTo>
                      <a:pt x="964" y="1452"/>
                    </a:lnTo>
                    <a:lnTo>
                      <a:pt x="961" y="1459"/>
                    </a:lnTo>
                    <a:lnTo>
                      <a:pt x="957" y="1466"/>
                    </a:lnTo>
                    <a:lnTo>
                      <a:pt x="953" y="1474"/>
                    </a:lnTo>
                    <a:lnTo>
                      <a:pt x="951" y="1482"/>
                    </a:lnTo>
                    <a:lnTo>
                      <a:pt x="951" y="1491"/>
                    </a:lnTo>
                    <a:lnTo>
                      <a:pt x="951" y="1498"/>
                    </a:lnTo>
                    <a:lnTo>
                      <a:pt x="952" y="1503"/>
                    </a:lnTo>
                    <a:lnTo>
                      <a:pt x="953" y="1509"/>
                    </a:lnTo>
                    <a:lnTo>
                      <a:pt x="955" y="1513"/>
                    </a:lnTo>
                    <a:lnTo>
                      <a:pt x="959" y="1521"/>
                    </a:lnTo>
                    <a:lnTo>
                      <a:pt x="964" y="1527"/>
                    </a:lnTo>
                    <a:lnTo>
                      <a:pt x="969" y="1533"/>
                    </a:lnTo>
                    <a:lnTo>
                      <a:pt x="973" y="1537"/>
                    </a:lnTo>
                    <a:lnTo>
                      <a:pt x="976" y="1541"/>
                    </a:lnTo>
                    <a:lnTo>
                      <a:pt x="978" y="1547"/>
                    </a:lnTo>
                    <a:lnTo>
                      <a:pt x="979" y="1555"/>
                    </a:lnTo>
                    <a:lnTo>
                      <a:pt x="979" y="1564"/>
                    </a:lnTo>
                    <a:lnTo>
                      <a:pt x="979" y="1572"/>
                    </a:lnTo>
                    <a:lnTo>
                      <a:pt x="978" y="1580"/>
                    </a:lnTo>
                    <a:lnTo>
                      <a:pt x="976" y="1588"/>
                    </a:lnTo>
                    <a:lnTo>
                      <a:pt x="975" y="1596"/>
                    </a:lnTo>
                    <a:lnTo>
                      <a:pt x="975" y="1605"/>
                    </a:lnTo>
                    <a:lnTo>
                      <a:pt x="978" y="1614"/>
                    </a:lnTo>
                    <a:lnTo>
                      <a:pt x="981" y="1621"/>
                    </a:lnTo>
                    <a:lnTo>
                      <a:pt x="985" y="1627"/>
                    </a:lnTo>
                    <a:lnTo>
                      <a:pt x="992" y="1632"/>
                    </a:lnTo>
                    <a:lnTo>
                      <a:pt x="998" y="1637"/>
                    </a:lnTo>
                    <a:lnTo>
                      <a:pt x="1016" y="1645"/>
                    </a:lnTo>
                    <a:lnTo>
                      <a:pt x="1036" y="1653"/>
                    </a:lnTo>
                    <a:lnTo>
                      <a:pt x="1057" y="1661"/>
                    </a:lnTo>
                    <a:lnTo>
                      <a:pt x="1077" y="1669"/>
                    </a:lnTo>
                    <a:lnTo>
                      <a:pt x="1086" y="1673"/>
                    </a:lnTo>
                    <a:lnTo>
                      <a:pt x="1095" y="1678"/>
                    </a:lnTo>
                    <a:lnTo>
                      <a:pt x="1104" y="1682"/>
                    </a:lnTo>
                    <a:lnTo>
                      <a:pt x="1110" y="1688"/>
                    </a:lnTo>
                    <a:lnTo>
                      <a:pt x="1116" y="1692"/>
                    </a:lnTo>
                    <a:lnTo>
                      <a:pt x="1124" y="1695"/>
                    </a:lnTo>
                    <a:lnTo>
                      <a:pt x="1131" y="1698"/>
                    </a:lnTo>
                    <a:lnTo>
                      <a:pt x="1140" y="1700"/>
                    </a:lnTo>
                    <a:lnTo>
                      <a:pt x="1149" y="1702"/>
                    </a:lnTo>
                    <a:lnTo>
                      <a:pt x="1157" y="1705"/>
                    </a:lnTo>
                    <a:lnTo>
                      <a:pt x="1164" y="1708"/>
                    </a:lnTo>
                    <a:lnTo>
                      <a:pt x="1170" y="1713"/>
                    </a:lnTo>
                    <a:lnTo>
                      <a:pt x="1176" y="1721"/>
                    </a:lnTo>
                    <a:lnTo>
                      <a:pt x="1181" y="1729"/>
                    </a:lnTo>
                    <a:lnTo>
                      <a:pt x="1185" y="1739"/>
                    </a:lnTo>
                    <a:lnTo>
                      <a:pt x="1187" y="1749"/>
                    </a:lnTo>
                    <a:lnTo>
                      <a:pt x="1189" y="1772"/>
                    </a:lnTo>
                    <a:lnTo>
                      <a:pt x="1192" y="1794"/>
                    </a:lnTo>
                    <a:lnTo>
                      <a:pt x="1193" y="1805"/>
                    </a:lnTo>
                    <a:lnTo>
                      <a:pt x="1195" y="1815"/>
                    </a:lnTo>
                    <a:lnTo>
                      <a:pt x="1198" y="1825"/>
                    </a:lnTo>
                    <a:lnTo>
                      <a:pt x="1204" y="1832"/>
                    </a:lnTo>
                    <a:lnTo>
                      <a:pt x="1207" y="1836"/>
                    </a:lnTo>
                    <a:lnTo>
                      <a:pt x="1210" y="1839"/>
                    </a:lnTo>
                    <a:lnTo>
                      <a:pt x="1214" y="1842"/>
                    </a:lnTo>
                    <a:lnTo>
                      <a:pt x="1219" y="1844"/>
                    </a:lnTo>
                    <a:lnTo>
                      <a:pt x="1224" y="1846"/>
                    </a:lnTo>
                    <a:lnTo>
                      <a:pt x="1229" y="1847"/>
                    </a:lnTo>
                    <a:lnTo>
                      <a:pt x="1236" y="1848"/>
                    </a:lnTo>
                    <a:lnTo>
                      <a:pt x="1243" y="1848"/>
                    </a:lnTo>
                    <a:lnTo>
                      <a:pt x="1243" y="1864"/>
                    </a:lnTo>
                    <a:lnTo>
                      <a:pt x="1243" y="1879"/>
                    </a:lnTo>
                    <a:lnTo>
                      <a:pt x="1243" y="1891"/>
                    </a:lnTo>
                    <a:lnTo>
                      <a:pt x="1243" y="1904"/>
                    </a:lnTo>
                    <a:lnTo>
                      <a:pt x="1243" y="1921"/>
                    </a:lnTo>
                    <a:lnTo>
                      <a:pt x="1243" y="1942"/>
                    </a:lnTo>
                    <a:lnTo>
                      <a:pt x="1243" y="1961"/>
                    </a:lnTo>
                    <a:lnTo>
                      <a:pt x="1243" y="1971"/>
                    </a:lnTo>
                    <a:lnTo>
                      <a:pt x="1232" y="1974"/>
                    </a:lnTo>
                    <a:lnTo>
                      <a:pt x="1221" y="1979"/>
                    </a:lnTo>
                    <a:lnTo>
                      <a:pt x="1208" y="1985"/>
                    </a:lnTo>
                    <a:lnTo>
                      <a:pt x="1196" y="1994"/>
                    </a:lnTo>
                    <a:lnTo>
                      <a:pt x="1183" y="2003"/>
                    </a:lnTo>
                    <a:lnTo>
                      <a:pt x="1170" y="2013"/>
                    </a:lnTo>
                    <a:lnTo>
                      <a:pt x="1157" y="2023"/>
                    </a:lnTo>
                    <a:lnTo>
                      <a:pt x="1143" y="2034"/>
                    </a:lnTo>
                    <a:lnTo>
                      <a:pt x="1131" y="2047"/>
                    </a:lnTo>
                    <a:lnTo>
                      <a:pt x="1120" y="2059"/>
                    </a:lnTo>
                    <a:lnTo>
                      <a:pt x="1109" y="2070"/>
                    </a:lnTo>
                    <a:lnTo>
                      <a:pt x="1101" y="2082"/>
                    </a:lnTo>
                    <a:lnTo>
                      <a:pt x="1094" y="2094"/>
                    </a:lnTo>
                    <a:lnTo>
                      <a:pt x="1088" y="2106"/>
                    </a:lnTo>
                    <a:lnTo>
                      <a:pt x="1085" y="2116"/>
                    </a:lnTo>
                    <a:lnTo>
                      <a:pt x="1084" y="2125"/>
                    </a:lnTo>
                    <a:lnTo>
                      <a:pt x="1084" y="2128"/>
                    </a:lnTo>
                    <a:lnTo>
                      <a:pt x="1086" y="2130"/>
                    </a:lnTo>
                    <a:lnTo>
                      <a:pt x="1088" y="2132"/>
                    </a:lnTo>
                    <a:lnTo>
                      <a:pt x="1092" y="2133"/>
                    </a:lnTo>
                    <a:lnTo>
                      <a:pt x="1101" y="2137"/>
                    </a:lnTo>
                    <a:lnTo>
                      <a:pt x="1110" y="2139"/>
                    </a:lnTo>
                    <a:lnTo>
                      <a:pt x="1131" y="2142"/>
                    </a:lnTo>
                    <a:lnTo>
                      <a:pt x="1143" y="2144"/>
                    </a:lnTo>
                    <a:lnTo>
                      <a:pt x="1151" y="2145"/>
                    </a:lnTo>
                    <a:lnTo>
                      <a:pt x="1158" y="2147"/>
                    </a:lnTo>
                    <a:lnTo>
                      <a:pt x="1163" y="2150"/>
                    </a:lnTo>
                    <a:lnTo>
                      <a:pt x="1169" y="2153"/>
                    </a:lnTo>
                    <a:lnTo>
                      <a:pt x="1180" y="2161"/>
                    </a:lnTo>
                    <a:lnTo>
                      <a:pt x="1189" y="2170"/>
                    </a:lnTo>
                    <a:lnTo>
                      <a:pt x="1200" y="2178"/>
                    </a:lnTo>
                    <a:lnTo>
                      <a:pt x="1210" y="2186"/>
                    </a:lnTo>
                    <a:lnTo>
                      <a:pt x="1216" y="2190"/>
                    </a:lnTo>
                    <a:lnTo>
                      <a:pt x="1222" y="2193"/>
                    </a:lnTo>
                    <a:lnTo>
                      <a:pt x="1229" y="2197"/>
                    </a:lnTo>
                    <a:lnTo>
                      <a:pt x="1237" y="2199"/>
                    </a:lnTo>
                    <a:lnTo>
                      <a:pt x="1248" y="2203"/>
                    </a:lnTo>
                    <a:lnTo>
                      <a:pt x="1258" y="2208"/>
                    </a:lnTo>
                    <a:lnTo>
                      <a:pt x="1267" y="2214"/>
                    </a:lnTo>
                    <a:lnTo>
                      <a:pt x="1277" y="2220"/>
                    </a:lnTo>
                    <a:lnTo>
                      <a:pt x="1296" y="2234"/>
                    </a:lnTo>
                    <a:lnTo>
                      <a:pt x="1312" y="2248"/>
                    </a:lnTo>
                    <a:lnTo>
                      <a:pt x="1327" y="2262"/>
                    </a:lnTo>
                    <a:lnTo>
                      <a:pt x="1340" y="2275"/>
                    </a:lnTo>
                    <a:lnTo>
                      <a:pt x="1352" y="2285"/>
                    </a:lnTo>
                    <a:lnTo>
                      <a:pt x="1363" y="2292"/>
                    </a:lnTo>
                    <a:lnTo>
                      <a:pt x="1370" y="2276"/>
                    </a:lnTo>
                    <a:lnTo>
                      <a:pt x="1377" y="2261"/>
                    </a:lnTo>
                    <a:lnTo>
                      <a:pt x="1385" y="2248"/>
                    </a:lnTo>
                    <a:lnTo>
                      <a:pt x="1394" y="2235"/>
                    </a:lnTo>
                    <a:lnTo>
                      <a:pt x="1401" y="2223"/>
                    </a:lnTo>
                    <a:lnTo>
                      <a:pt x="1410" y="2210"/>
                    </a:lnTo>
                    <a:lnTo>
                      <a:pt x="1419" y="2198"/>
                    </a:lnTo>
                    <a:lnTo>
                      <a:pt x="1429" y="2187"/>
                    </a:lnTo>
                    <a:lnTo>
                      <a:pt x="1439" y="2160"/>
                    </a:lnTo>
                    <a:lnTo>
                      <a:pt x="1449" y="2138"/>
                    </a:lnTo>
                    <a:lnTo>
                      <a:pt x="1459" y="2116"/>
                    </a:lnTo>
                    <a:lnTo>
                      <a:pt x="1468" y="2088"/>
                    </a:lnTo>
                    <a:lnTo>
                      <a:pt x="1472" y="2082"/>
                    </a:lnTo>
                    <a:lnTo>
                      <a:pt x="1476" y="2076"/>
                    </a:lnTo>
                    <a:lnTo>
                      <a:pt x="1480" y="2070"/>
                    </a:lnTo>
                    <a:lnTo>
                      <a:pt x="1485" y="2065"/>
                    </a:lnTo>
                    <a:lnTo>
                      <a:pt x="1496" y="2055"/>
                    </a:lnTo>
                    <a:lnTo>
                      <a:pt x="1507" y="2046"/>
                    </a:lnTo>
                    <a:lnTo>
                      <a:pt x="1518" y="2036"/>
                    </a:lnTo>
                    <a:lnTo>
                      <a:pt x="1527" y="2026"/>
                    </a:lnTo>
                    <a:lnTo>
                      <a:pt x="1530" y="2021"/>
                    </a:lnTo>
                    <a:lnTo>
                      <a:pt x="1533" y="2015"/>
                    </a:lnTo>
                    <a:lnTo>
                      <a:pt x="1534" y="2009"/>
                    </a:lnTo>
                    <a:lnTo>
                      <a:pt x="1535" y="2002"/>
                    </a:lnTo>
                    <a:lnTo>
                      <a:pt x="1535" y="1993"/>
                    </a:lnTo>
                    <a:lnTo>
                      <a:pt x="1534" y="1984"/>
                    </a:lnTo>
                    <a:lnTo>
                      <a:pt x="1532" y="1975"/>
                    </a:lnTo>
                    <a:lnTo>
                      <a:pt x="1530" y="1966"/>
                    </a:lnTo>
                    <a:lnTo>
                      <a:pt x="1524" y="1950"/>
                    </a:lnTo>
                    <a:lnTo>
                      <a:pt x="1519" y="1934"/>
                    </a:lnTo>
                    <a:lnTo>
                      <a:pt x="1512" y="1918"/>
                    </a:lnTo>
                    <a:lnTo>
                      <a:pt x="1507" y="1904"/>
                    </a:lnTo>
                    <a:lnTo>
                      <a:pt x="1504" y="1891"/>
                    </a:lnTo>
                    <a:lnTo>
                      <a:pt x="1502" y="1879"/>
                    </a:lnTo>
                    <a:lnTo>
                      <a:pt x="1502" y="1873"/>
                    </a:lnTo>
                    <a:lnTo>
                      <a:pt x="1504" y="1867"/>
                    </a:lnTo>
                    <a:lnTo>
                      <a:pt x="1506" y="1861"/>
                    </a:lnTo>
                    <a:lnTo>
                      <a:pt x="1508" y="1855"/>
                    </a:lnTo>
                    <a:lnTo>
                      <a:pt x="1514" y="1843"/>
                    </a:lnTo>
                    <a:lnTo>
                      <a:pt x="1523" y="1830"/>
                    </a:lnTo>
                    <a:lnTo>
                      <a:pt x="1534" y="1817"/>
                    </a:lnTo>
                    <a:lnTo>
                      <a:pt x="1547" y="1805"/>
                    </a:lnTo>
                    <a:lnTo>
                      <a:pt x="1561" y="1793"/>
                    </a:lnTo>
                    <a:lnTo>
                      <a:pt x="1576" y="1782"/>
                    </a:lnTo>
                    <a:lnTo>
                      <a:pt x="1591" y="1772"/>
                    </a:lnTo>
                    <a:lnTo>
                      <a:pt x="1608" y="1761"/>
                    </a:lnTo>
                    <a:lnTo>
                      <a:pt x="1623" y="1753"/>
                    </a:lnTo>
                    <a:lnTo>
                      <a:pt x="1640" y="1745"/>
                    </a:lnTo>
                    <a:lnTo>
                      <a:pt x="1655" y="1739"/>
                    </a:lnTo>
                    <a:lnTo>
                      <a:pt x="1669" y="1735"/>
                    </a:lnTo>
                    <a:lnTo>
                      <a:pt x="1682" y="1732"/>
                    </a:lnTo>
                    <a:lnTo>
                      <a:pt x="1695" y="1731"/>
                    </a:lnTo>
                    <a:lnTo>
                      <a:pt x="1699" y="1731"/>
                    </a:lnTo>
                    <a:lnTo>
                      <a:pt x="1702" y="1729"/>
                    </a:lnTo>
                    <a:lnTo>
                      <a:pt x="1706" y="1727"/>
                    </a:lnTo>
                    <a:lnTo>
                      <a:pt x="1709" y="1725"/>
                    </a:lnTo>
                    <a:lnTo>
                      <a:pt x="1717" y="1718"/>
                    </a:lnTo>
                    <a:lnTo>
                      <a:pt x="1724" y="1709"/>
                    </a:lnTo>
                    <a:lnTo>
                      <a:pt x="1733" y="1701"/>
                    </a:lnTo>
                    <a:lnTo>
                      <a:pt x="1743" y="1694"/>
                    </a:lnTo>
                    <a:lnTo>
                      <a:pt x="1748" y="1692"/>
                    </a:lnTo>
                    <a:lnTo>
                      <a:pt x="1754" y="1690"/>
                    </a:lnTo>
                    <a:lnTo>
                      <a:pt x="1760" y="1688"/>
                    </a:lnTo>
                    <a:lnTo>
                      <a:pt x="1768" y="1688"/>
                    </a:lnTo>
                    <a:lnTo>
                      <a:pt x="1779" y="1684"/>
                    </a:lnTo>
                    <a:lnTo>
                      <a:pt x="1789" y="1682"/>
                    </a:lnTo>
                    <a:lnTo>
                      <a:pt x="1798" y="1681"/>
                    </a:lnTo>
                    <a:lnTo>
                      <a:pt x="1807" y="1680"/>
                    </a:lnTo>
                    <a:lnTo>
                      <a:pt x="1820" y="1681"/>
                    </a:lnTo>
                    <a:lnTo>
                      <a:pt x="1834" y="1682"/>
                    </a:lnTo>
                    <a:lnTo>
                      <a:pt x="1854" y="1681"/>
                    </a:lnTo>
                    <a:lnTo>
                      <a:pt x="1868" y="1679"/>
                    </a:lnTo>
                    <a:lnTo>
                      <a:pt x="1874" y="1678"/>
                    </a:lnTo>
                    <a:lnTo>
                      <a:pt x="1878" y="1676"/>
                    </a:lnTo>
                    <a:lnTo>
                      <a:pt x="1882" y="1673"/>
                    </a:lnTo>
                    <a:lnTo>
                      <a:pt x="1885" y="1670"/>
                    </a:lnTo>
                    <a:lnTo>
                      <a:pt x="1890" y="1663"/>
                    </a:lnTo>
                    <a:lnTo>
                      <a:pt x="1893" y="1653"/>
                    </a:lnTo>
                    <a:lnTo>
                      <a:pt x="1897" y="1641"/>
                    </a:lnTo>
                    <a:lnTo>
                      <a:pt x="1901" y="1626"/>
                    </a:lnTo>
                    <a:lnTo>
                      <a:pt x="1927" y="1571"/>
                    </a:lnTo>
                    <a:lnTo>
                      <a:pt x="1939" y="1553"/>
                    </a:lnTo>
                    <a:lnTo>
                      <a:pt x="1949" y="1535"/>
                    </a:lnTo>
                    <a:lnTo>
                      <a:pt x="1959" y="1518"/>
                    </a:lnTo>
                    <a:lnTo>
                      <a:pt x="1967" y="1500"/>
                    </a:lnTo>
                    <a:lnTo>
                      <a:pt x="1972" y="1480"/>
                    </a:lnTo>
                    <a:lnTo>
                      <a:pt x="1977" y="1460"/>
                    </a:lnTo>
                    <a:lnTo>
                      <a:pt x="1980" y="1437"/>
                    </a:lnTo>
                    <a:lnTo>
                      <a:pt x="1980" y="1411"/>
                    </a:lnTo>
                    <a:lnTo>
                      <a:pt x="1981" y="1405"/>
                    </a:lnTo>
                    <a:lnTo>
                      <a:pt x="1982" y="1400"/>
                    </a:lnTo>
                    <a:lnTo>
                      <a:pt x="1983" y="1395"/>
                    </a:lnTo>
                    <a:lnTo>
                      <a:pt x="1986" y="1391"/>
                    </a:lnTo>
                    <a:lnTo>
                      <a:pt x="1991" y="1382"/>
                    </a:lnTo>
                    <a:lnTo>
                      <a:pt x="1997" y="1372"/>
                    </a:lnTo>
                    <a:lnTo>
                      <a:pt x="2003" y="1364"/>
                    </a:lnTo>
                    <a:lnTo>
                      <a:pt x="2009" y="1354"/>
                    </a:lnTo>
                    <a:lnTo>
                      <a:pt x="2011" y="1349"/>
                    </a:lnTo>
                    <a:lnTo>
                      <a:pt x="2012" y="1343"/>
                    </a:lnTo>
                    <a:lnTo>
                      <a:pt x="2013" y="1337"/>
                    </a:lnTo>
                    <a:lnTo>
                      <a:pt x="2014" y="1331"/>
                    </a:lnTo>
                    <a:lnTo>
                      <a:pt x="2014" y="1307"/>
                    </a:lnTo>
                    <a:lnTo>
                      <a:pt x="2014" y="1288"/>
                    </a:lnTo>
                    <a:lnTo>
                      <a:pt x="2014" y="1271"/>
                    </a:lnTo>
                    <a:lnTo>
                      <a:pt x="2014" y="1250"/>
                    </a:lnTo>
                    <a:lnTo>
                      <a:pt x="2011" y="1223"/>
                    </a:lnTo>
                    <a:lnTo>
                      <a:pt x="2004" y="1185"/>
                    </a:lnTo>
                    <a:lnTo>
                      <a:pt x="2000" y="1165"/>
                    </a:lnTo>
                    <a:lnTo>
                      <a:pt x="1997" y="1145"/>
                    </a:lnTo>
                    <a:lnTo>
                      <a:pt x="1994" y="1129"/>
                    </a:lnTo>
                    <a:lnTo>
                      <a:pt x="1993" y="1115"/>
                    </a:lnTo>
                    <a:lnTo>
                      <a:pt x="1994" y="1108"/>
                    </a:lnTo>
                    <a:lnTo>
                      <a:pt x="1997" y="1102"/>
                    </a:lnTo>
                    <a:lnTo>
                      <a:pt x="1999" y="1096"/>
                    </a:lnTo>
                    <a:lnTo>
                      <a:pt x="2002" y="1090"/>
                    </a:lnTo>
                    <a:lnTo>
                      <a:pt x="2006" y="1085"/>
                    </a:lnTo>
                    <a:lnTo>
                      <a:pt x="2012" y="1081"/>
                    </a:lnTo>
                    <a:lnTo>
                      <a:pt x="2017" y="1077"/>
                    </a:lnTo>
                    <a:lnTo>
                      <a:pt x="2023" y="1073"/>
                    </a:lnTo>
                    <a:lnTo>
                      <a:pt x="2035" y="1067"/>
                    </a:lnTo>
                    <a:lnTo>
                      <a:pt x="2047" y="1063"/>
                    </a:lnTo>
                    <a:lnTo>
                      <a:pt x="2058" y="1060"/>
                    </a:lnTo>
                    <a:lnTo>
                      <a:pt x="2067" y="1060"/>
                    </a:lnTo>
                    <a:lnTo>
                      <a:pt x="2067" y="1046"/>
                    </a:lnTo>
                    <a:lnTo>
                      <a:pt x="2069" y="1032"/>
                    </a:lnTo>
                    <a:lnTo>
                      <a:pt x="2071" y="1020"/>
                    </a:lnTo>
                    <a:lnTo>
                      <a:pt x="2073" y="1009"/>
                    </a:lnTo>
                    <a:lnTo>
                      <a:pt x="2078" y="999"/>
                    </a:lnTo>
                    <a:lnTo>
                      <a:pt x="2081" y="990"/>
                    </a:lnTo>
                    <a:lnTo>
                      <a:pt x="2087" y="980"/>
                    </a:lnTo>
                    <a:lnTo>
                      <a:pt x="2092" y="972"/>
                    </a:lnTo>
                    <a:lnTo>
                      <a:pt x="2104" y="956"/>
                    </a:lnTo>
                    <a:lnTo>
                      <a:pt x="2117" y="943"/>
                    </a:lnTo>
                    <a:lnTo>
                      <a:pt x="2132" y="929"/>
                    </a:lnTo>
                    <a:lnTo>
                      <a:pt x="2147" y="917"/>
                    </a:lnTo>
                    <a:lnTo>
                      <a:pt x="2161" y="904"/>
                    </a:lnTo>
                    <a:lnTo>
                      <a:pt x="2175" y="891"/>
                    </a:lnTo>
                    <a:lnTo>
                      <a:pt x="2183" y="885"/>
                    </a:lnTo>
                    <a:lnTo>
                      <a:pt x="2190" y="877"/>
                    </a:lnTo>
                    <a:lnTo>
                      <a:pt x="2195" y="869"/>
                    </a:lnTo>
                    <a:lnTo>
                      <a:pt x="2202" y="861"/>
                    </a:lnTo>
                    <a:lnTo>
                      <a:pt x="2206" y="852"/>
                    </a:lnTo>
                    <a:lnTo>
                      <a:pt x="2212" y="843"/>
                    </a:lnTo>
                    <a:lnTo>
                      <a:pt x="2216" y="833"/>
                    </a:lnTo>
                    <a:lnTo>
                      <a:pt x="2219" y="822"/>
                    </a:lnTo>
                    <a:lnTo>
                      <a:pt x="2223" y="810"/>
                    </a:lnTo>
                    <a:lnTo>
                      <a:pt x="2225" y="798"/>
                    </a:lnTo>
                    <a:lnTo>
                      <a:pt x="2226" y="784"/>
                    </a:lnTo>
                    <a:lnTo>
                      <a:pt x="2226" y="770"/>
                    </a:lnTo>
                    <a:lnTo>
                      <a:pt x="2225" y="752"/>
                    </a:lnTo>
                    <a:lnTo>
                      <a:pt x="2222" y="732"/>
                    </a:lnTo>
                    <a:lnTo>
                      <a:pt x="2217" y="711"/>
                    </a:lnTo>
                    <a:lnTo>
                      <a:pt x="2212" y="689"/>
                    </a:lnTo>
                    <a:lnTo>
                      <a:pt x="2205" y="668"/>
                    </a:lnTo>
                    <a:lnTo>
                      <a:pt x="2199" y="649"/>
                    </a:lnTo>
                    <a:lnTo>
                      <a:pt x="2192" y="633"/>
                    </a:lnTo>
                    <a:lnTo>
                      <a:pt x="2186" y="622"/>
                    </a:lnTo>
                    <a:lnTo>
                      <a:pt x="2182" y="614"/>
                    </a:lnTo>
                    <a:lnTo>
                      <a:pt x="2178" y="608"/>
                    </a:lnTo>
                    <a:lnTo>
                      <a:pt x="2173" y="604"/>
                    </a:lnTo>
                    <a:lnTo>
                      <a:pt x="2168" y="601"/>
                    </a:lnTo>
                    <a:lnTo>
                      <a:pt x="2163" y="600"/>
                    </a:lnTo>
                    <a:lnTo>
                      <a:pt x="2157" y="599"/>
                    </a:lnTo>
                    <a:lnTo>
                      <a:pt x="2151" y="600"/>
                    </a:lnTo>
                    <a:lnTo>
                      <a:pt x="2146" y="601"/>
                    </a:lnTo>
                    <a:lnTo>
                      <a:pt x="2134" y="603"/>
                    </a:lnTo>
                    <a:lnTo>
                      <a:pt x="2122" y="605"/>
                    </a:lnTo>
                    <a:lnTo>
                      <a:pt x="2116" y="605"/>
                    </a:lnTo>
                    <a:lnTo>
                      <a:pt x="2111" y="604"/>
                    </a:lnTo>
                    <a:lnTo>
                      <a:pt x="2105" y="602"/>
                    </a:lnTo>
                    <a:lnTo>
                      <a:pt x="2100" y="597"/>
                    </a:lnTo>
                    <a:lnTo>
                      <a:pt x="2089" y="590"/>
                    </a:lnTo>
                    <a:lnTo>
                      <a:pt x="2079" y="582"/>
                    </a:lnTo>
                    <a:lnTo>
                      <a:pt x="2069" y="573"/>
                    </a:lnTo>
                    <a:lnTo>
                      <a:pt x="2059" y="563"/>
                    </a:lnTo>
                    <a:lnTo>
                      <a:pt x="2039" y="540"/>
                    </a:lnTo>
                    <a:lnTo>
                      <a:pt x="2021" y="518"/>
                    </a:lnTo>
                    <a:lnTo>
                      <a:pt x="2010" y="507"/>
                    </a:lnTo>
                    <a:lnTo>
                      <a:pt x="2000" y="497"/>
                    </a:lnTo>
                    <a:lnTo>
                      <a:pt x="1989" y="488"/>
                    </a:lnTo>
                    <a:lnTo>
                      <a:pt x="1977" y="478"/>
                    </a:lnTo>
                    <a:lnTo>
                      <a:pt x="1965" y="471"/>
                    </a:lnTo>
                    <a:lnTo>
                      <a:pt x="1950" y="466"/>
                    </a:lnTo>
                    <a:lnTo>
                      <a:pt x="1944" y="464"/>
                    </a:lnTo>
                    <a:lnTo>
                      <a:pt x="1936" y="463"/>
                    </a:lnTo>
                    <a:lnTo>
                      <a:pt x="1928" y="462"/>
                    </a:lnTo>
                    <a:lnTo>
                      <a:pt x="1921" y="462"/>
                    </a:lnTo>
                    <a:lnTo>
                      <a:pt x="1898" y="462"/>
                    </a:lnTo>
                    <a:lnTo>
                      <a:pt x="1878" y="462"/>
                    </a:lnTo>
                    <a:lnTo>
                      <a:pt x="1860" y="462"/>
                    </a:lnTo>
                    <a:lnTo>
                      <a:pt x="1841" y="462"/>
                    </a:lnTo>
                    <a:lnTo>
                      <a:pt x="1826" y="461"/>
                    </a:lnTo>
                    <a:lnTo>
                      <a:pt x="1814" y="460"/>
                    </a:lnTo>
                    <a:lnTo>
                      <a:pt x="1802" y="458"/>
                    </a:lnTo>
                    <a:lnTo>
                      <a:pt x="1791" y="456"/>
                    </a:lnTo>
                    <a:lnTo>
                      <a:pt x="1780" y="453"/>
                    </a:lnTo>
                    <a:lnTo>
                      <a:pt x="1768" y="451"/>
                    </a:lnTo>
                    <a:lnTo>
                      <a:pt x="1755" y="450"/>
                    </a:lnTo>
                    <a:lnTo>
                      <a:pt x="1742" y="450"/>
                    </a:lnTo>
                    <a:lnTo>
                      <a:pt x="1725" y="450"/>
                    </a:lnTo>
                    <a:lnTo>
                      <a:pt x="1713" y="452"/>
                    </a:lnTo>
                    <a:lnTo>
                      <a:pt x="1703" y="454"/>
                    </a:lnTo>
                    <a:lnTo>
                      <a:pt x="1696" y="458"/>
                    </a:lnTo>
                    <a:lnTo>
                      <a:pt x="1689" y="462"/>
                    </a:lnTo>
                    <a:lnTo>
                      <a:pt x="1685" y="467"/>
                    </a:lnTo>
                    <a:lnTo>
                      <a:pt x="1679" y="473"/>
                    </a:lnTo>
                    <a:lnTo>
                      <a:pt x="1675" y="480"/>
                    </a:lnTo>
                    <a:lnTo>
                      <a:pt x="1672" y="471"/>
                    </a:lnTo>
                    <a:lnTo>
                      <a:pt x="1669" y="462"/>
                    </a:lnTo>
                    <a:lnTo>
                      <a:pt x="1669" y="454"/>
                    </a:lnTo>
                    <a:lnTo>
                      <a:pt x="1670" y="447"/>
                    </a:lnTo>
                    <a:lnTo>
                      <a:pt x="1673" y="436"/>
                    </a:lnTo>
                    <a:lnTo>
                      <a:pt x="1675" y="430"/>
                    </a:lnTo>
                    <a:lnTo>
                      <a:pt x="1675" y="426"/>
                    </a:lnTo>
                    <a:lnTo>
                      <a:pt x="1673" y="421"/>
                    </a:lnTo>
                    <a:lnTo>
                      <a:pt x="1670" y="417"/>
                    </a:lnTo>
                    <a:lnTo>
                      <a:pt x="1668" y="413"/>
                    </a:lnTo>
                    <a:lnTo>
                      <a:pt x="1664" y="406"/>
                    </a:lnTo>
                    <a:lnTo>
                      <a:pt x="1662" y="400"/>
                    </a:lnTo>
                    <a:lnTo>
                      <a:pt x="1655" y="400"/>
                    </a:lnTo>
                    <a:lnTo>
                      <a:pt x="1648" y="398"/>
                    </a:lnTo>
                    <a:lnTo>
                      <a:pt x="1643" y="396"/>
                    </a:lnTo>
                    <a:lnTo>
                      <a:pt x="1636" y="394"/>
                    </a:lnTo>
                    <a:lnTo>
                      <a:pt x="1624" y="387"/>
                    </a:lnTo>
                    <a:lnTo>
                      <a:pt x="1612" y="379"/>
                    </a:lnTo>
                    <a:lnTo>
                      <a:pt x="1596" y="363"/>
                    </a:lnTo>
                    <a:lnTo>
                      <a:pt x="1588" y="357"/>
                    </a:lnTo>
                    <a:lnTo>
                      <a:pt x="1581" y="359"/>
                    </a:lnTo>
                    <a:lnTo>
                      <a:pt x="1574" y="360"/>
                    </a:lnTo>
                    <a:lnTo>
                      <a:pt x="1567" y="361"/>
                    </a:lnTo>
                    <a:lnTo>
                      <a:pt x="1560" y="362"/>
                    </a:lnTo>
                    <a:lnTo>
                      <a:pt x="1546" y="361"/>
                    </a:lnTo>
                    <a:lnTo>
                      <a:pt x="1534" y="358"/>
                    </a:lnTo>
                    <a:lnTo>
                      <a:pt x="1523" y="354"/>
                    </a:lnTo>
                    <a:lnTo>
                      <a:pt x="1512" y="348"/>
                    </a:lnTo>
                    <a:lnTo>
                      <a:pt x="1504" y="341"/>
                    </a:lnTo>
                    <a:lnTo>
                      <a:pt x="1496" y="333"/>
                    </a:lnTo>
                    <a:lnTo>
                      <a:pt x="1468" y="333"/>
                    </a:lnTo>
                    <a:lnTo>
                      <a:pt x="1468" y="337"/>
                    </a:lnTo>
                    <a:lnTo>
                      <a:pt x="1466" y="342"/>
                    </a:lnTo>
                    <a:lnTo>
                      <a:pt x="1463" y="349"/>
                    </a:lnTo>
                    <a:lnTo>
                      <a:pt x="1459" y="357"/>
                    </a:lnTo>
                    <a:lnTo>
                      <a:pt x="1446" y="373"/>
                    </a:lnTo>
                    <a:lnTo>
                      <a:pt x="1433" y="390"/>
                    </a:lnTo>
                    <a:lnTo>
                      <a:pt x="1426" y="398"/>
                    </a:lnTo>
                    <a:lnTo>
                      <a:pt x="1419" y="404"/>
                    </a:lnTo>
                    <a:lnTo>
                      <a:pt x="1411" y="409"/>
                    </a:lnTo>
                    <a:lnTo>
                      <a:pt x="1405" y="413"/>
                    </a:lnTo>
                    <a:lnTo>
                      <a:pt x="1401" y="414"/>
                    </a:lnTo>
                    <a:lnTo>
                      <a:pt x="1398" y="415"/>
                    </a:lnTo>
                    <a:lnTo>
                      <a:pt x="1395" y="415"/>
                    </a:lnTo>
                    <a:lnTo>
                      <a:pt x="1392" y="414"/>
                    </a:lnTo>
                    <a:lnTo>
                      <a:pt x="1389" y="413"/>
                    </a:lnTo>
                    <a:lnTo>
                      <a:pt x="1387" y="412"/>
                    </a:lnTo>
                    <a:lnTo>
                      <a:pt x="1385" y="409"/>
                    </a:lnTo>
                    <a:lnTo>
                      <a:pt x="1383" y="406"/>
                    </a:lnTo>
                    <a:lnTo>
                      <a:pt x="1367" y="406"/>
                    </a:lnTo>
                    <a:lnTo>
                      <a:pt x="1352" y="406"/>
                    </a:lnTo>
                    <a:lnTo>
                      <a:pt x="1338" y="405"/>
                    </a:lnTo>
                    <a:lnTo>
                      <a:pt x="1325" y="402"/>
                    </a:lnTo>
                    <a:lnTo>
                      <a:pt x="1318" y="401"/>
                    </a:lnTo>
                    <a:lnTo>
                      <a:pt x="1312" y="399"/>
                    </a:lnTo>
                    <a:lnTo>
                      <a:pt x="1308" y="396"/>
                    </a:lnTo>
                    <a:lnTo>
                      <a:pt x="1304" y="393"/>
                    </a:lnTo>
                    <a:lnTo>
                      <a:pt x="1300" y="390"/>
                    </a:lnTo>
                    <a:lnTo>
                      <a:pt x="1298" y="386"/>
                    </a:lnTo>
                    <a:lnTo>
                      <a:pt x="1297" y="381"/>
                    </a:lnTo>
                    <a:lnTo>
                      <a:pt x="1296" y="375"/>
                    </a:lnTo>
                    <a:lnTo>
                      <a:pt x="1270" y="375"/>
                    </a:lnTo>
                    <a:lnTo>
                      <a:pt x="1259" y="380"/>
                    </a:lnTo>
                    <a:lnTo>
                      <a:pt x="1247" y="384"/>
                    </a:lnTo>
                    <a:lnTo>
                      <a:pt x="1240" y="384"/>
                    </a:lnTo>
                    <a:lnTo>
                      <a:pt x="1235" y="384"/>
                    </a:lnTo>
                    <a:lnTo>
                      <a:pt x="1228" y="384"/>
                    </a:lnTo>
                    <a:lnTo>
                      <a:pt x="1224" y="382"/>
                    </a:lnTo>
                    <a:lnTo>
                      <a:pt x="1283" y="333"/>
                    </a:lnTo>
                    <a:lnTo>
                      <a:pt x="1286" y="321"/>
                    </a:lnTo>
                    <a:lnTo>
                      <a:pt x="1289" y="309"/>
                    </a:lnTo>
                    <a:lnTo>
                      <a:pt x="1294" y="299"/>
                    </a:lnTo>
                    <a:lnTo>
                      <a:pt x="1299" y="290"/>
                    </a:lnTo>
                    <a:lnTo>
                      <a:pt x="1305" y="282"/>
                    </a:lnTo>
                    <a:lnTo>
                      <a:pt x="1310" y="274"/>
                    </a:lnTo>
                    <a:lnTo>
                      <a:pt x="1317" y="268"/>
                    </a:lnTo>
                    <a:lnTo>
                      <a:pt x="1323" y="260"/>
                    </a:lnTo>
                    <a:lnTo>
                      <a:pt x="1349" y="240"/>
                    </a:lnTo>
                    <a:lnTo>
                      <a:pt x="1370" y="222"/>
                    </a:lnTo>
                    <a:lnTo>
                      <a:pt x="1362" y="217"/>
                    </a:lnTo>
                    <a:lnTo>
                      <a:pt x="1356" y="213"/>
                    </a:lnTo>
                    <a:lnTo>
                      <a:pt x="1352" y="210"/>
                    </a:lnTo>
                    <a:lnTo>
                      <a:pt x="1349" y="205"/>
                    </a:lnTo>
                    <a:lnTo>
                      <a:pt x="1345" y="201"/>
                    </a:lnTo>
                    <a:lnTo>
                      <a:pt x="1344" y="196"/>
                    </a:lnTo>
                    <a:lnTo>
                      <a:pt x="1343" y="191"/>
                    </a:lnTo>
                    <a:lnTo>
                      <a:pt x="1343" y="184"/>
                    </a:lnTo>
                    <a:lnTo>
                      <a:pt x="1338" y="184"/>
                    </a:lnTo>
                    <a:lnTo>
                      <a:pt x="1333" y="183"/>
                    </a:lnTo>
                    <a:lnTo>
                      <a:pt x="1330" y="182"/>
                    </a:lnTo>
                    <a:lnTo>
                      <a:pt x="1326" y="179"/>
                    </a:lnTo>
                    <a:lnTo>
                      <a:pt x="1320" y="174"/>
                    </a:lnTo>
                    <a:lnTo>
                      <a:pt x="1315" y="166"/>
                    </a:lnTo>
                    <a:lnTo>
                      <a:pt x="1310" y="157"/>
                    </a:lnTo>
                    <a:lnTo>
                      <a:pt x="1307" y="146"/>
                    </a:lnTo>
                    <a:lnTo>
                      <a:pt x="1305" y="135"/>
                    </a:lnTo>
                    <a:lnTo>
                      <a:pt x="1301" y="124"/>
                    </a:lnTo>
                    <a:lnTo>
                      <a:pt x="1298" y="100"/>
                    </a:lnTo>
                    <a:lnTo>
                      <a:pt x="1293" y="78"/>
                    </a:lnTo>
                    <a:lnTo>
                      <a:pt x="1291" y="68"/>
                    </a:lnTo>
                    <a:lnTo>
                      <a:pt x="1286" y="60"/>
                    </a:lnTo>
                    <a:lnTo>
                      <a:pt x="1282" y="54"/>
                    </a:lnTo>
                    <a:lnTo>
                      <a:pt x="1276" y="49"/>
                    </a:lnTo>
                    <a:lnTo>
                      <a:pt x="1264" y="71"/>
                    </a:lnTo>
                    <a:lnTo>
                      <a:pt x="1240" y="109"/>
                    </a:lnTo>
                    <a:lnTo>
                      <a:pt x="1227" y="128"/>
                    </a:lnTo>
                    <a:lnTo>
                      <a:pt x="1214" y="144"/>
                    </a:lnTo>
                    <a:lnTo>
                      <a:pt x="1207" y="150"/>
                    </a:lnTo>
                    <a:lnTo>
                      <a:pt x="1200" y="156"/>
                    </a:lnTo>
                    <a:lnTo>
                      <a:pt x="1195" y="159"/>
                    </a:lnTo>
                    <a:lnTo>
                      <a:pt x="1189" y="160"/>
                    </a:lnTo>
                    <a:lnTo>
                      <a:pt x="1124" y="135"/>
                    </a:lnTo>
                    <a:lnTo>
                      <a:pt x="1113" y="139"/>
                    </a:lnTo>
                    <a:lnTo>
                      <a:pt x="1102" y="142"/>
                    </a:lnTo>
                    <a:lnTo>
                      <a:pt x="1088" y="144"/>
                    </a:lnTo>
                    <a:lnTo>
                      <a:pt x="1075" y="146"/>
                    </a:lnTo>
                    <a:lnTo>
                      <a:pt x="1047" y="147"/>
                    </a:lnTo>
                    <a:lnTo>
                      <a:pt x="1017" y="147"/>
                    </a:lnTo>
                    <a:lnTo>
                      <a:pt x="1016" y="152"/>
                    </a:lnTo>
                    <a:lnTo>
                      <a:pt x="1015" y="157"/>
                    </a:lnTo>
                    <a:lnTo>
                      <a:pt x="1013" y="161"/>
                    </a:lnTo>
                    <a:lnTo>
                      <a:pt x="1009" y="165"/>
                    </a:lnTo>
                    <a:lnTo>
                      <a:pt x="1006" y="168"/>
                    </a:lnTo>
                    <a:lnTo>
                      <a:pt x="1003" y="170"/>
                    </a:lnTo>
                    <a:lnTo>
                      <a:pt x="1000" y="172"/>
                    </a:lnTo>
                    <a:lnTo>
                      <a:pt x="997" y="172"/>
                    </a:lnTo>
                    <a:lnTo>
                      <a:pt x="992" y="173"/>
                    </a:lnTo>
                    <a:lnTo>
                      <a:pt x="987" y="175"/>
                    </a:lnTo>
                    <a:lnTo>
                      <a:pt x="985" y="175"/>
                    </a:lnTo>
                    <a:lnTo>
                      <a:pt x="982" y="175"/>
                    </a:lnTo>
                    <a:lnTo>
                      <a:pt x="980" y="174"/>
                    </a:lnTo>
                    <a:lnTo>
                      <a:pt x="978" y="172"/>
                    </a:lnTo>
                    <a:lnTo>
                      <a:pt x="976" y="176"/>
                    </a:lnTo>
                    <a:lnTo>
                      <a:pt x="972" y="179"/>
                    </a:lnTo>
                    <a:lnTo>
                      <a:pt x="967" y="183"/>
                    </a:lnTo>
                    <a:lnTo>
                      <a:pt x="960" y="187"/>
                    </a:lnTo>
                    <a:lnTo>
                      <a:pt x="941" y="194"/>
                    </a:lnTo>
                    <a:lnTo>
                      <a:pt x="920" y="200"/>
                    </a:lnTo>
                    <a:lnTo>
                      <a:pt x="879" y="212"/>
                    </a:lnTo>
                    <a:lnTo>
                      <a:pt x="858" y="216"/>
                    </a:lnTo>
                    <a:lnTo>
                      <a:pt x="851" y="215"/>
                    </a:lnTo>
                    <a:lnTo>
                      <a:pt x="846" y="213"/>
                    </a:lnTo>
                    <a:lnTo>
                      <a:pt x="839" y="208"/>
                    </a:lnTo>
                    <a:lnTo>
                      <a:pt x="834" y="203"/>
                    </a:lnTo>
                    <a:lnTo>
                      <a:pt x="827" y="197"/>
                    </a:lnTo>
                    <a:lnTo>
                      <a:pt x="822" y="191"/>
                    </a:lnTo>
                    <a:lnTo>
                      <a:pt x="817" y="184"/>
                    </a:lnTo>
                    <a:lnTo>
                      <a:pt x="812" y="176"/>
                    </a:lnTo>
                    <a:lnTo>
                      <a:pt x="803" y="161"/>
                    </a:lnTo>
                    <a:lnTo>
                      <a:pt x="796" y="145"/>
                    </a:lnTo>
                    <a:lnTo>
                      <a:pt x="793" y="132"/>
                    </a:lnTo>
                    <a:lnTo>
                      <a:pt x="791" y="123"/>
                    </a:lnTo>
                    <a:lnTo>
                      <a:pt x="792" y="116"/>
                    </a:lnTo>
                    <a:lnTo>
                      <a:pt x="794" y="109"/>
                    </a:lnTo>
                    <a:lnTo>
                      <a:pt x="798" y="103"/>
                    </a:lnTo>
                    <a:lnTo>
                      <a:pt x="801" y="95"/>
                    </a:lnTo>
                    <a:lnTo>
                      <a:pt x="805" y="88"/>
                    </a:lnTo>
                    <a:lnTo>
                      <a:pt x="808" y="81"/>
                    </a:lnTo>
                    <a:lnTo>
                      <a:pt x="811" y="74"/>
                    </a:lnTo>
                    <a:lnTo>
                      <a:pt x="811" y="67"/>
                    </a:lnTo>
                    <a:lnTo>
                      <a:pt x="811" y="53"/>
                    </a:lnTo>
                    <a:lnTo>
                      <a:pt x="808" y="39"/>
                    </a:lnTo>
                    <a:lnTo>
                      <a:pt x="806" y="33"/>
                    </a:lnTo>
                    <a:lnTo>
                      <a:pt x="804" y="28"/>
                    </a:lnTo>
                    <a:lnTo>
                      <a:pt x="801" y="24"/>
                    </a:lnTo>
                    <a:lnTo>
                      <a:pt x="798" y="20"/>
                    </a:lnTo>
                    <a:lnTo>
                      <a:pt x="794" y="16"/>
                    </a:lnTo>
                    <a:lnTo>
                      <a:pt x="789" y="12"/>
                    </a:lnTo>
                    <a:lnTo>
                      <a:pt x="783" y="9"/>
                    </a:lnTo>
                    <a:lnTo>
                      <a:pt x="778" y="7"/>
                    </a:lnTo>
                    <a:lnTo>
                      <a:pt x="762" y="3"/>
                    </a:lnTo>
                    <a:lnTo>
                      <a:pt x="745" y="0"/>
                    </a:lnTo>
                    <a:lnTo>
                      <a:pt x="739" y="10"/>
                    </a:lnTo>
                    <a:lnTo>
                      <a:pt x="733" y="21"/>
                    </a:lnTo>
                    <a:lnTo>
                      <a:pt x="729" y="23"/>
                    </a:lnTo>
                    <a:lnTo>
                      <a:pt x="727" y="25"/>
                    </a:lnTo>
                    <a:lnTo>
                      <a:pt x="725" y="26"/>
                    </a:lnTo>
                    <a:lnTo>
                      <a:pt x="722" y="27"/>
                    </a:lnTo>
                    <a:lnTo>
                      <a:pt x="717" y="27"/>
                    </a:lnTo>
                    <a:lnTo>
                      <a:pt x="714" y="27"/>
                    </a:lnTo>
                    <a:lnTo>
                      <a:pt x="710" y="26"/>
                    </a:lnTo>
                    <a:lnTo>
                      <a:pt x="705" y="24"/>
                    </a:lnTo>
                    <a:lnTo>
                      <a:pt x="703" y="28"/>
                    </a:lnTo>
                    <a:lnTo>
                      <a:pt x="700" y="31"/>
                    </a:lnTo>
                    <a:lnTo>
                      <a:pt x="695" y="35"/>
                    </a:lnTo>
                    <a:lnTo>
                      <a:pt x="690" y="39"/>
                    </a:lnTo>
                    <a:lnTo>
                      <a:pt x="677" y="47"/>
                    </a:lnTo>
                    <a:lnTo>
                      <a:pt x="662" y="55"/>
                    </a:lnTo>
                    <a:lnTo>
                      <a:pt x="648" y="63"/>
                    </a:lnTo>
                    <a:lnTo>
                      <a:pt x="637" y="71"/>
                    </a:lnTo>
                    <a:lnTo>
                      <a:pt x="632" y="75"/>
                    </a:lnTo>
                    <a:lnTo>
                      <a:pt x="628" y="79"/>
                    </a:lnTo>
                    <a:lnTo>
                      <a:pt x="626" y="82"/>
                    </a:lnTo>
                    <a:lnTo>
                      <a:pt x="625" y="86"/>
                    </a:lnTo>
                    <a:lnTo>
                      <a:pt x="612" y="79"/>
                    </a:lnTo>
                    <a:lnTo>
                      <a:pt x="589" y="70"/>
                    </a:lnTo>
                    <a:lnTo>
                      <a:pt x="566" y="62"/>
                    </a:lnTo>
                    <a:lnTo>
                      <a:pt x="552" y="55"/>
                    </a:lnTo>
                    <a:lnTo>
                      <a:pt x="525" y="55"/>
                    </a:lnTo>
                    <a:lnTo>
                      <a:pt x="525" y="99"/>
                    </a:lnTo>
                    <a:lnTo>
                      <a:pt x="535" y="114"/>
                    </a:lnTo>
                    <a:lnTo>
                      <a:pt x="552" y="137"/>
                    </a:lnTo>
                    <a:lnTo>
                      <a:pt x="566" y="160"/>
                    </a:lnTo>
                    <a:lnTo>
                      <a:pt x="572" y="172"/>
                    </a:lnTo>
                    <a:lnTo>
                      <a:pt x="571" y="178"/>
                    </a:lnTo>
                    <a:lnTo>
                      <a:pt x="569" y="185"/>
                    </a:lnTo>
                    <a:lnTo>
                      <a:pt x="566" y="191"/>
                    </a:lnTo>
                    <a:lnTo>
                      <a:pt x="560" y="198"/>
                    </a:lnTo>
                    <a:lnTo>
                      <a:pt x="555" y="205"/>
                    </a:lnTo>
                    <a:lnTo>
                      <a:pt x="548" y="213"/>
                    </a:lnTo>
                    <a:lnTo>
                      <a:pt x="541" y="220"/>
                    </a:lnTo>
                    <a:lnTo>
                      <a:pt x="532" y="227"/>
                    </a:lnTo>
                    <a:lnTo>
                      <a:pt x="523" y="233"/>
                    </a:lnTo>
                    <a:lnTo>
                      <a:pt x="513" y="239"/>
                    </a:lnTo>
                    <a:lnTo>
                      <a:pt x="503" y="244"/>
                    </a:lnTo>
                    <a:lnTo>
                      <a:pt x="493" y="249"/>
                    </a:lnTo>
                    <a:lnTo>
                      <a:pt x="483" y="253"/>
                    </a:lnTo>
                    <a:lnTo>
                      <a:pt x="472" y="256"/>
                    </a:lnTo>
                    <a:lnTo>
                      <a:pt x="463" y="257"/>
                    </a:lnTo>
                    <a:lnTo>
                      <a:pt x="453" y="258"/>
                    </a:lnTo>
                    <a:lnTo>
                      <a:pt x="446" y="258"/>
                    </a:lnTo>
                    <a:lnTo>
                      <a:pt x="440" y="256"/>
                    </a:lnTo>
                    <a:lnTo>
                      <a:pt x="433" y="254"/>
                    </a:lnTo>
                    <a:lnTo>
                      <a:pt x="426" y="252"/>
                    </a:lnTo>
                    <a:lnTo>
                      <a:pt x="413" y="245"/>
                    </a:lnTo>
                    <a:lnTo>
                      <a:pt x="401" y="235"/>
                    </a:lnTo>
                    <a:lnTo>
                      <a:pt x="389" y="224"/>
                    </a:lnTo>
                    <a:lnTo>
                      <a:pt x="378" y="212"/>
                    </a:lnTo>
                    <a:lnTo>
                      <a:pt x="368" y="198"/>
                    </a:lnTo>
                    <a:lnTo>
                      <a:pt x="359" y="184"/>
                    </a:lnTo>
                    <a:lnTo>
                      <a:pt x="330" y="190"/>
                    </a:lnTo>
                    <a:lnTo>
                      <a:pt x="286" y="197"/>
                    </a:lnTo>
                    <a:lnTo>
                      <a:pt x="263" y="201"/>
                    </a:lnTo>
                    <a:lnTo>
                      <a:pt x="244" y="206"/>
                    </a:lnTo>
                    <a:lnTo>
                      <a:pt x="238" y="208"/>
                    </a:lnTo>
                    <a:lnTo>
                      <a:pt x="231" y="211"/>
                    </a:lnTo>
                    <a:lnTo>
                      <a:pt x="228" y="213"/>
                    </a:lnTo>
                    <a:lnTo>
                      <a:pt x="227" y="216"/>
                    </a:lnTo>
                    <a:lnTo>
                      <a:pt x="227" y="220"/>
                    </a:lnTo>
                    <a:lnTo>
                      <a:pt x="229" y="224"/>
                    </a:lnTo>
                    <a:lnTo>
                      <a:pt x="231" y="227"/>
                    </a:lnTo>
                    <a:lnTo>
                      <a:pt x="235" y="230"/>
                    </a:lnTo>
                    <a:lnTo>
                      <a:pt x="243" y="235"/>
                    </a:lnTo>
                    <a:lnTo>
                      <a:pt x="253" y="240"/>
                    </a:lnTo>
                    <a:lnTo>
                      <a:pt x="253" y="258"/>
                    </a:lnTo>
                    <a:lnTo>
                      <a:pt x="241" y="262"/>
                    </a:lnTo>
                    <a:lnTo>
                      <a:pt x="221" y="268"/>
                    </a:lnTo>
                    <a:lnTo>
                      <a:pt x="210" y="272"/>
                    </a:lnTo>
                    <a:lnTo>
                      <a:pt x="201" y="278"/>
                    </a:lnTo>
                    <a:lnTo>
                      <a:pt x="198" y="281"/>
                    </a:lnTo>
                    <a:lnTo>
                      <a:pt x="196" y="285"/>
                    </a:lnTo>
                    <a:lnTo>
                      <a:pt x="194" y="290"/>
                    </a:lnTo>
                    <a:lnTo>
                      <a:pt x="194" y="295"/>
                    </a:lnTo>
                    <a:lnTo>
                      <a:pt x="194" y="302"/>
                    </a:lnTo>
                    <a:lnTo>
                      <a:pt x="196" y="307"/>
                    </a:lnTo>
                    <a:lnTo>
                      <a:pt x="198" y="311"/>
                    </a:lnTo>
                    <a:lnTo>
                      <a:pt x="201" y="314"/>
                    </a:lnTo>
                    <a:lnTo>
                      <a:pt x="210" y="321"/>
                    </a:lnTo>
                    <a:lnTo>
                      <a:pt x="220" y="327"/>
                    </a:lnTo>
                    <a:lnTo>
                      <a:pt x="224" y="330"/>
                    </a:lnTo>
                    <a:lnTo>
                      <a:pt x="230" y="333"/>
                    </a:lnTo>
                    <a:lnTo>
                      <a:pt x="234" y="337"/>
                    </a:lnTo>
                    <a:lnTo>
                      <a:pt x="239" y="342"/>
                    </a:lnTo>
                    <a:lnTo>
                      <a:pt x="242" y="348"/>
                    </a:lnTo>
                    <a:lnTo>
                      <a:pt x="244" y="356"/>
                    </a:lnTo>
                    <a:lnTo>
                      <a:pt x="246" y="365"/>
                    </a:lnTo>
                    <a:lnTo>
                      <a:pt x="246" y="375"/>
                    </a:lnTo>
                    <a:lnTo>
                      <a:pt x="246" y="388"/>
                    </a:lnTo>
                    <a:lnTo>
                      <a:pt x="245" y="400"/>
                    </a:lnTo>
                    <a:lnTo>
                      <a:pt x="243" y="412"/>
                    </a:lnTo>
                    <a:lnTo>
                      <a:pt x="241" y="423"/>
                    </a:lnTo>
                    <a:lnTo>
                      <a:pt x="236" y="446"/>
                    </a:lnTo>
                    <a:lnTo>
                      <a:pt x="230" y="468"/>
                    </a:lnTo>
                    <a:lnTo>
                      <a:pt x="223" y="490"/>
                    </a:lnTo>
                    <a:lnTo>
                      <a:pt x="219" y="512"/>
                    </a:lnTo>
                    <a:lnTo>
                      <a:pt x="217" y="524"/>
                    </a:lnTo>
                    <a:lnTo>
                      <a:pt x="214" y="535"/>
                    </a:lnTo>
                    <a:lnTo>
                      <a:pt x="213" y="548"/>
                    </a:lnTo>
                    <a:lnTo>
                      <a:pt x="213" y="560"/>
                    </a:lnTo>
                    <a:lnTo>
                      <a:pt x="194" y="560"/>
                    </a:lnTo>
                    <a:lnTo>
                      <a:pt x="188" y="557"/>
                    </a:lnTo>
                    <a:lnTo>
                      <a:pt x="184" y="554"/>
                    </a:lnTo>
                    <a:lnTo>
                      <a:pt x="183" y="553"/>
                    </a:lnTo>
                    <a:lnTo>
                      <a:pt x="182" y="552"/>
                    </a:lnTo>
                    <a:lnTo>
                      <a:pt x="180" y="550"/>
                    </a:lnTo>
                    <a:lnTo>
                      <a:pt x="180" y="548"/>
                    </a:lnTo>
                    <a:lnTo>
                      <a:pt x="168" y="554"/>
                    </a:lnTo>
                    <a:lnTo>
                      <a:pt x="157" y="559"/>
                    </a:lnTo>
                    <a:lnTo>
                      <a:pt x="147" y="562"/>
                    </a:lnTo>
                    <a:lnTo>
                      <a:pt x="138" y="564"/>
                    </a:lnTo>
                    <a:lnTo>
                      <a:pt x="119" y="566"/>
                    </a:lnTo>
                    <a:lnTo>
                      <a:pt x="100" y="567"/>
                    </a:lnTo>
                    <a:lnTo>
                      <a:pt x="96" y="567"/>
                    </a:lnTo>
                    <a:lnTo>
                      <a:pt x="93" y="569"/>
                    </a:lnTo>
                    <a:lnTo>
                      <a:pt x="90" y="573"/>
                    </a:lnTo>
                    <a:lnTo>
                      <a:pt x="88" y="576"/>
                    </a:lnTo>
                    <a:lnTo>
                      <a:pt x="85" y="584"/>
                    </a:lnTo>
                    <a:lnTo>
                      <a:pt x="81" y="591"/>
                    </a:lnTo>
                    <a:lnTo>
                      <a:pt x="65" y="607"/>
                    </a:lnTo>
                    <a:lnTo>
                      <a:pt x="51" y="624"/>
                    </a:lnTo>
                    <a:lnTo>
                      <a:pt x="38" y="643"/>
                    </a:lnTo>
                    <a:lnTo>
                      <a:pt x="26" y="665"/>
                    </a:lnTo>
                    <a:lnTo>
                      <a:pt x="20" y="676"/>
                    </a:lnTo>
                    <a:lnTo>
                      <a:pt x="16" y="687"/>
                    </a:lnTo>
                    <a:lnTo>
                      <a:pt x="11" y="699"/>
                    </a:lnTo>
                    <a:lnTo>
                      <a:pt x="7" y="711"/>
                    </a:lnTo>
                    <a:lnTo>
                      <a:pt x="5" y="723"/>
                    </a:lnTo>
                    <a:lnTo>
                      <a:pt x="3" y="734"/>
                    </a:lnTo>
                    <a:lnTo>
                      <a:pt x="1" y="746"/>
                    </a:lnTo>
                    <a:lnTo>
                      <a:pt x="0" y="757"/>
                    </a:lnTo>
                    <a:lnTo>
                      <a:pt x="1" y="767"/>
                    </a:lnTo>
                    <a:lnTo>
                      <a:pt x="4" y="777"/>
                    </a:lnTo>
                    <a:lnTo>
                      <a:pt x="7" y="787"/>
                    </a:lnTo>
                    <a:lnTo>
                      <a:pt x="11" y="799"/>
                    </a:lnTo>
                    <a:lnTo>
                      <a:pt x="17" y="811"/>
                    </a:lnTo>
                    <a:lnTo>
                      <a:pt x="22" y="824"/>
                    </a:lnTo>
                    <a:lnTo>
                      <a:pt x="30" y="836"/>
                    </a:lnTo>
                    <a:lnTo>
                      <a:pt x="38" y="848"/>
                    </a:lnTo>
                    <a:lnTo>
                      <a:pt x="46" y="859"/>
                    </a:lnTo>
                    <a:lnTo>
                      <a:pt x="56" y="870"/>
                    </a:lnTo>
                    <a:lnTo>
                      <a:pt x="66" y="880"/>
                    </a:lnTo>
                    <a:lnTo>
                      <a:pt x="76" y="889"/>
                    </a:lnTo>
                    <a:lnTo>
                      <a:pt x="87" y="896"/>
                    </a:lnTo>
                    <a:lnTo>
                      <a:pt x="98" y="901"/>
                    </a:lnTo>
                    <a:lnTo>
                      <a:pt x="104" y="903"/>
                    </a:lnTo>
                    <a:lnTo>
                      <a:pt x="109" y="904"/>
                    </a:lnTo>
                    <a:lnTo>
                      <a:pt x="115" y="905"/>
                    </a:lnTo>
                    <a:lnTo>
                      <a:pt x="120" y="905"/>
                    </a:lnTo>
                    <a:lnTo>
                      <a:pt x="130" y="904"/>
                    </a:lnTo>
                    <a:lnTo>
                      <a:pt x="138" y="902"/>
                    </a:lnTo>
                    <a:lnTo>
                      <a:pt x="146" y="898"/>
                    </a:lnTo>
                    <a:lnTo>
                      <a:pt x="153" y="893"/>
                    </a:lnTo>
                    <a:lnTo>
                      <a:pt x="161" y="889"/>
                    </a:lnTo>
                    <a:lnTo>
                      <a:pt x="168" y="885"/>
                    </a:lnTo>
                    <a:lnTo>
                      <a:pt x="177" y="882"/>
                    </a:lnTo>
                    <a:lnTo>
                      <a:pt x="187" y="881"/>
                    </a:lnTo>
                    <a:lnTo>
                      <a:pt x="189" y="903"/>
                    </a:lnTo>
                    <a:lnTo>
                      <a:pt x="190" y="934"/>
                    </a:lnTo>
                    <a:lnTo>
                      <a:pt x="190" y="942"/>
                    </a:lnTo>
                    <a:lnTo>
                      <a:pt x="191" y="949"/>
                    </a:lnTo>
                    <a:lnTo>
                      <a:pt x="194" y="956"/>
                    </a:lnTo>
                    <a:lnTo>
                      <a:pt x="196" y="961"/>
                    </a:lnTo>
                    <a:lnTo>
                      <a:pt x="199" y="966"/>
                    </a:lnTo>
                    <a:lnTo>
                      <a:pt x="202" y="970"/>
                    </a:lnTo>
                    <a:lnTo>
                      <a:pt x="208" y="972"/>
                    </a:lnTo>
                    <a:lnTo>
                      <a:pt x="213" y="973"/>
                    </a:lnTo>
                    <a:lnTo>
                      <a:pt x="233" y="973"/>
                    </a:lnTo>
                  </a:path>
                </a:pathLst>
              </a:custGeom>
              <a:grpFill/>
              <a:ln w="9525" cap="flat" cmpd="sng">
                <a:solidFill>
                  <a:srgbClr val="FFFFFF"/>
                </a:solidFill>
                <a:prstDash val="solid"/>
                <a:round/>
                <a:headEnd type="none" w="med" len="med"/>
                <a:tailEnd type="none" w="med" len="med"/>
              </a:ln>
              <a:effectLst/>
            </p:spPr>
            <p:txBody>
              <a:bodyPr/>
              <a:lstStyle/>
              <a:p>
                <a:endParaRPr lang="en-GB" sz="1637"/>
              </a:p>
            </p:txBody>
          </p:sp>
          <p:sp>
            <p:nvSpPr>
              <p:cNvPr id="414" name="Freeform 25"/>
              <p:cNvSpPr>
                <a:spLocks/>
              </p:cNvSpPr>
              <p:nvPr>
                <p:custDataLst>
                  <p:tags r:id="rId258"/>
                </p:custDataLst>
              </p:nvPr>
            </p:nvSpPr>
            <p:spPr bwMode="auto">
              <a:xfrm>
                <a:off x="2299193" y="5939450"/>
                <a:ext cx="25995" cy="64475"/>
              </a:xfrm>
              <a:custGeom>
                <a:avLst/>
                <a:gdLst>
                  <a:gd name="T0" fmla="*/ 0 w 53"/>
                  <a:gd name="T1" fmla="*/ 24063 h 19"/>
                  <a:gd name="T2" fmla="*/ 3145 w 53"/>
                  <a:gd name="T3" fmla="*/ 39103 h 19"/>
                  <a:gd name="T4" fmla="*/ 6290 w 53"/>
                  <a:gd name="T5" fmla="*/ 51134 h 19"/>
                  <a:gd name="T6" fmla="*/ 9885 w 53"/>
                  <a:gd name="T7" fmla="*/ 57150 h 19"/>
                  <a:gd name="T8" fmla="*/ 13030 w 53"/>
                  <a:gd name="T9" fmla="*/ 57150 h 19"/>
                  <a:gd name="T10" fmla="*/ 15726 w 53"/>
                  <a:gd name="T11" fmla="*/ 54142 h 19"/>
                  <a:gd name="T12" fmla="*/ 18871 w 53"/>
                  <a:gd name="T13" fmla="*/ 45118 h 19"/>
                  <a:gd name="T14" fmla="*/ 21117 w 53"/>
                  <a:gd name="T15" fmla="*/ 36095 h 19"/>
                  <a:gd name="T16" fmla="*/ 23813 w 53"/>
                  <a:gd name="T17" fmla="*/ 24063 h 19"/>
                  <a:gd name="T18" fmla="*/ 21117 w 53"/>
                  <a:gd name="T19" fmla="*/ 15039 h 19"/>
                  <a:gd name="T20" fmla="*/ 18871 w 53"/>
                  <a:gd name="T21" fmla="*/ 6016 h 19"/>
                  <a:gd name="T22" fmla="*/ 15726 w 53"/>
                  <a:gd name="T23" fmla="*/ 3008 h 19"/>
                  <a:gd name="T24" fmla="*/ 13030 w 53"/>
                  <a:gd name="T25" fmla="*/ 0 h 19"/>
                  <a:gd name="T26" fmla="*/ 9885 w 53"/>
                  <a:gd name="T27" fmla="*/ 0 h 19"/>
                  <a:gd name="T28" fmla="*/ 6290 w 53"/>
                  <a:gd name="T29" fmla="*/ 3008 h 19"/>
                  <a:gd name="T30" fmla="*/ 3145 w 53"/>
                  <a:gd name="T31" fmla="*/ 9024 h 19"/>
                  <a:gd name="T32" fmla="*/ 0 w 53"/>
                  <a:gd name="T33" fmla="*/ 24063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grpFill/>
              <a:ln w="9525" cmpd="sng">
                <a:solidFill>
                  <a:srgbClr val="FFFFFF"/>
                </a:solidFill>
                <a:prstDash val="solid"/>
                <a:round/>
                <a:headEnd/>
                <a:tailEnd/>
              </a:ln>
            </p:spPr>
            <p:txBody>
              <a:bodyPr/>
              <a:lstStyle/>
              <a:p>
                <a:endParaRPr lang="en-GB" sz="1637"/>
              </a:p>
            </p:txBody>
          </p:sp>
          <p:grpSp>
            <p:nvGrpSpPr>
              <p:cNvPr id="415" name="Group 38"/>
              <p:cNvGrpSpPr>
                <a:grpSpLocks/>
              </p:cNvGrpSpPr>
              <p:nvPr>
                <p:custDataLst>
                  <p:tags r:id="rId259"/>
                </p:custDataLst>
              </p:nvPr>
            </p:nvGrpSpPr>
            <p:grpSpPr bwMode="auto">
              <a:xfrm>
                <a:off x="2484622" y="5821247"/>
                <a:ext cx="71052" cy="62684"/>
                <a:chOff x="1654" y="3671"/>
                <a:chExt cx="49" cy="17"/>
              </a:xfrm>
              <a:grpFill/>
            </p:grpSpPr>
            <p:sp>
              <p:nvSpPr>
                <p:cNvPr id="471" name="Freeform 39"/>
                <p:cNvSpPr>
                  <a:spLocks/>
                </p:cNvSpPr>
                <p:nvPr/>
              </p:nvSpPr>
              <p:spPr bwMode="auto">
                <a:xfrm>
                  <a:off x="1654" y="3672"/>
                  <a:ext cx="20" cy="14"/>
                </a:xfrm>
                <a:custGeom>
                  <a:avLst/>
                  <a:gdLst>
                    <a:gd name="T0" fmla="*/ 9 w 59"/>
                    <a:gd name="T1" fmla="*/ 14 h 43"/>
                    <a:gd name="T2" fmla="*/ 20 w 59"/>
                    <a:gd name="T3" fmla="*/ 6 h 43"/>
                    <a:gd name="T4" fmla="*/ 19 w 59"/>
                    <a:gd name="T5" fmla="*/ 5 h 43"/>
                    <a:gd name="T6" fmla="*/ 17 w 59"/>
                    <a:gd name="T7" fmla="*/ 3 h 43"/>
                    <a:gd name="T8" fmla="*/ 16 w 59"/>
                    <a:gd name="T9" fmla="*/ 2 h 43"/>
                    <a:gd name="T10" fmla="*/ 16 w 59"/>
                    <a:gd name="T11" fmla="*/ 0 h 43"/>
                    <a:gd name="T12" fmla="*/ 14 w 59"/>
                    <a:gd name="T13" fmla="*/ 0 h 43"/>
                    <a:gd name="T14" fmla="*/ 12 w 59"/>
                    <a:gd name="T15" fmla="*/ 1 h 43"/>
                    <a:gd name="T16" fmla="*/ 11 w 59"/>
                    <a:gd name="T17" fmla="*/ 2 h 43"/>
                    <a:gd name="T18" fmla="*/ 10 w 59"/>
                    <a:gd name="T19" fmla="*/ 3 h 43"/>
                    <a:gd name="T20" fmla="*/ 9 w 59"/>
                    <a:gd name="T21" fmla="*/ 3 h 43"/>
                    <a:gd name="T22" fmla="*/ 9 w 59"/>
                    <a:gd name="T23" fmla="*/ 4 h 43"/>
                    <a:gd name="T24" fmla="*/ 7 w 59"/>
                    <a:gd name="T25" fmla="*/ 4 h 43"/>
                    <a:gd name="T26" fmla="*/ 4 w 59"/>
                    <a:gd name="T27" fmla="*/ 5 h 43"/>
                    <a:gd name="T28" fmla="*/ 2 w 59"/>
                    <a:gd name="T29" fmla="*/ 7 h 43"/>
                    <a:gd name="T30" fmla="*/ 0 w 59"/>
                    <a:gd name="T31" fmla="*/ 8 h 43"/>
                    <a:gd name="T32" fmla="*/ 2 w 59"/>
                    <a:gd name="T33" fmla="*/ 9 h 43"/>
                    <a:gd name="T34" fmla="*/ 3 w 59"/>
                    <a:gd name="T35" fmla="*/ 11 h 43"/>
                    <a:gd name="T36" fmla="*/ 6 w 59"/>
                    <a:gd name="T37" fmla="*/ 13 h 43"/>
                    <a:gd name="T38" fmla="*/ 9 w 59"/>
                    <a:gd name="T39" fmla="*/ 14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9" h="43">
                      <a:moveTo>
                        <a:pt x="26" y="43"/>
                      </a:moveTo>
                      <a:lnTo>
                        <a:pt x="59" y="18"/>
                      </a:lnTo>
                      <a:lnTo>
                        <a:pt x="55" y="14"/>
                      </a:lnTo>
                      <a:lnTo>
                        <a:pt x="51" y="9"/>
                      </a:lnTo>
                      <a:lnTo>
                        <a:pt x="47" y="5"/>
                      </a:lnTo>
                      <a:lnTo>
                        <a:pt x="46" y="0"/>
                      </a:lnTo>
                      <a:lnTo>
                        <a:pt x="41" y="1"/>
                      </a:lnTo>
                      <a:lnTo>
                        <a:pt x="34" y="4"/>
                      </a:lnTo>
                      <a:lnTo>
                        <a:pt x="31" y="6"/>
                      </a:lnTo>
                      <a:lnTo>
                        <a:pt x="29" y="8"/>
                      </a:lnTo>
                      <a:lnTo>
                        <a:pt x="26" y="10"/>
                      </a:lnTo>
                      <a:lnTo>
                        <a:pt x="26" y="12"/>
                      </a:lnTo>
                      <a:lnTo>
                        <a:pt x="20" y="13"/>
                      </a:lnTo>
                      <a:lnTo>
                        <a:pt x="13" y="16"/>
                      </a:lnTo>
                      <a:lnTo>
                        <a:pt x="6" y="20"/>
                      </a:lnTo>
                      <a:lnTo>
                        <a:pt x="0" y="24"/>
                      </a:lnTo>
                      <a:lnTo>
                        <a:pt x="5" y="29"/>
                      </a:lnTo>
                      <a:lnTo>
                        <a:pt x="10" y="34"/>
                      </a:lnTo>
                      <a:lnTo>
                        <a:pt x="18" y="39"/>
                      </a:lnTo>
                      <a:lnTo>
                        <a:pt x="26" y="43"/>
                      </a:lnTo>
                    </a:path>
                  </a:pathLst>
                </a:custGeom>
                <a:grpFill/>
                <a:ln w="9525" cmpd="sng">
                  <a:solidFill>
                    <a:srgbClr val="FFFFFF"/>
                  </a:solidFill>
                  <a:prstDash val="solid"/>
                  <a:round/>
                  <a:headEnd/>
                  <a:tailEnd/>
                </a:ln>
              </p:spPr>
              <p:txBody>
                <a:bodyPr/>
                <a:lstStyle/>
                <a:p>
                  <a:endParaRPr lang="en-GB" sz="1637"/>
                </a:p>
              </p:txBody>
            </p:sp>
            <p:sp>
              <p:nvSpPr>
                <p:cNvPr id="472" name="Freeform 40"/>
                <p:cNvSpPr>
                  <a:spLocks/>
                </p:cNvSpPr>
                <p:nvPr/>
              </p:nvSpPr>
              <p:spPr bwMode="auto">
                <a:xfrm>
                  <a:off x="1681" y="3671"/>
                  <a:ext cx="22" cy="17"/>
                </a:xfrm>
                <a:custGeom>
                  <a:avLst/>
                  <a:gdLst>
                    <a:gd name="T0" fmla="*/ 0 w 67"/>
                    <a:gd name="T1" fmla="*/ 1 h 51"/>
                    <a:gd name="T2" fmla="*/ 8 w 67"/>
                    <a:gd name="T3" fmla="*/ 0 h 51"/>
                    <a:gd name="T4" fmla="*/ 13 w 67"/>
                    <a:gd name="T5" fmla="*/ 0 h 51"/>
                    <a:gd name="T6" fmla="*/ 15 w 67"/>
                    <a:gd name="T7" fmla="*/ 0 h 51"/>
                    <a:gd name="T8" fmla="*/ 17 w 67"/>
                    <a:gd name="T9" fmla="*/ 1 h 51"/>
                    <a:gd name="T10" fmla="*/ 19 w 67"/>
                    <a:gd name="T11" fmla="*/ 1 h 51"/>
                    <a:gd name="T12" fmla="*/ 22 w 67"/>
                    <a:gd name="T13" fmla="*/ 3 h 51"/>
                    <a:gd name="T14" fmla="*/ 18 w 67"/>
                    <a:gd name="T15" fmla="*/ 4 h 51"/>
                    <a:gd name="T16" fmla="*/ 15 w 67"/>
                    <a:gd name="T17" fmla="*/ 6 h 51"/>
                    <a:gd name="T18" fmla="*/ 14 w 67"/>
                    <a:gd name="T19" fmla="*/ 7 h 51"/>
                    <a:gd name="T20" fmla="*/ 12 w 67"/>
                    <a:gd name="T21" fmla="*/ 8 h 51"/>
                    <a:gd name="T22" fmla="*/ 10 w 67"/>
                    <a:gd name="T23" fmla="*/ 9 h 51"/>
                    <a:gd name="T24" fmla="*/ 7 w 67"/>
                    <a:gd name="T25" fmla="*/ 9 h 51"/>
                    <a:gd name="T26" fmla="*/ 8 w 67"/>
                    <a:gd name="T27" fmla="*/ 9 h 51"/>
                    <a:gd name="T28" fmla="*/ 11 w 67"/>
                    <a:gd name="T29" fmla="*/ 9 h 51"/>
                    <a:gd name="T30" fmla="*/ 10 w 67"/>
                    <a:gd name="T31" fmla="*/ 11 h 51"/>
                    <a:gd name="T32" fmla="*/ 8 w 67"/>
                    <a:gd name="T33" fmla="*/ 13 h 51"/>
                    <a:gd name="T34" fmla="*/ 7 w 67"/>
                    <a:gd name="T35" fmla="*/ 15 h 51"/>
                    <a:gd name="T36" fmla="*/ 7 w 67"/>
                    <a:gd name="T37" fmla="*/ 15 h 51"/>
                    <a:gd name="T38" fmla="*/ 4 w 67"/>
                    <a:gd name="T39" fmla="*/ 16 h 51"/>
                    <a:gd name="T40" fmla="*/ 0 w 67"/>
                    <a:gd name="T41" fmla="*/ 17 h 51"/>
                    <a:gd name="T42" fmla="*/ 0 w 67"/>
                    <a:gd name="T43" fmla="*/ 1 h 5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7" h="51">
                      <a:moveTo>
                        <a:pt x="0" y="2"/>
                      </a:moveTo>
                      <a:lnTo>
                        <a:pt x="24" y="1"/>
                      </a:lnTo>
                      <a:lnTo>
                        <a:pt x="39" y="0"/>
                      </a:lnTo>
                      <a:lnTo>
                        <a:pt x="45" y="1"/>
                      </a:lnTo>
                      <a:lnTo>
                        <a:pt x="51" y="2"/>
                      </a:lnTo>
                      <a:lnTo>
                        <a:pt x="58" y="4"/>
                      </a:lnTo>
                      <a:lnTo>
                        <a:pt x="67" y="8"/>
                      </a:lnTo>
                      <a:lnTo>
                        <a:pt x="55" y="13"/>
                      </a:lnTo>
                      <a:lnTo>
                        <a:pt x="46" y="19"/>
                      </a:lnTo>
                      <a:lnTo>
                        <a:pt x="42" y="22"/>
                      </a:lnTo>
                      <a:lnTo>
                        <a:pt x="36" y="24"/>
                      </a:lnTo>
                      <a:lnTo>
                        <a:pt x="29" y="26"/>
                      </a:lnTo>
                      <a:lnTo>
                        <a:pt x="20" y="26"/>
                      </a:lnTo>
                      <a:lnTo>
                        <a:pt x="24" y="26"/>
                      </a:lnTo>
                      <a:lnTo>
                        <a:pt x="34" y="26"/>
                      </a:lnTo>
                      <a:lnTo>
                        <a:pt x="29" y="34"/>
                      </a:lnTo>
                      <a:lnTo>
                        <a:pt x="25" y="40"/>
                      </a:lnTo>
                      <a:lnTo>
                        <a:pt x="22" y="44"/>
                      </a:lnTo>
                      <a:lnTo>
                        <a:pt x="20" y="46"/>
                      </a:lnTo>
                      <a:lnTo>
                        <a:pt x="12" y="48"/>
                      </a:lnTo>
                      <a:lnTo>
                        <a:pt x="0" y="51"/>
                      </a:lnTo>
                      <a:lnTo>
                        <a:pt x="0" y="2"/>
                      </a:lnTo>
                    </a:path>
                  </a:pathLst>
                </a:custGeom>
                <a:grpFill/>
                <a:ln w="9525" cmpd="sng">
                  <a:solidFill>
                    <a:srgbClr val="FFFFFF"/>
                  </a:solidFill>
                  <a:prstDash val="solid"/>
                  <a:round/>
                  <a:headEnd/>
                  <a:tailEnd/>
                </a:ln>
              </p:spPr>
              <p:txBody>
                <a:bodyPr/>
                <a:lstStyle/>
                <a:p>
                  <a:endParaRPr lang="en-GB" sz="1637"/>
                </a:p>
              </p:txBody>
            </p:sp>
          </p:grpSp>
          <p:sp>
            <p:nvSpPr>
              <p:cNvPr id="416" name="Freeform 105"/>
              <p:cNvSpPr>
                <a:spLocks/>
              </p:cNvSpPr>
              <p:nvPr>
                <p:custDataLst>
                  <p:tags r:id="rId260"/>
                </p:custDataLst>
              </p:nvPr>
            </p:nvSpPr>
            <p:spPr bwMode="auto">
              <a:xfrm>
                <a:off x="3033976" y="5903631"/>
                <a:ext cx="58921" cy="66266"/>
              </a:xfrm>
              <a:custGeom>
                <a:avLst/>
                <a:gdLst>
                  <a:gd name="T0" fmla="*/ 0 w 126"/>
                  <a:gd name="T1" fmla="*/ 18000 h 62"/>
                  <a:gd name="T2" fmla="*/ 4712 w 126"/>
                  <a:gd name="T3" fmla="*/ 18948 h 62"/>
                  <a:gd name="T4" fmla="*/ 8996 w 126"/>
                  <a:gd name="T5" fmla="*/ 19895 h 62"/>
                  <a:gd name="T6" fmla="*/ 12423 w 126"/>
                  <a:gd name="T7" fmla="*/ 21790 h 62"/>
                  <a:gd name="T8" fmla="*/ 15421 w 126"/>
                  <a:gd name="T9" fmla="*/ 24632 h 62"/>
                  <a:gd name="T10" fmla="*/ 21419 w 126"/>
                  <a:gd name="T11" fmla="*/ 31264 h 62"/>
                  <a:gd name="T12" fmla="*/ 26131 w 126"/>
                  <a:gd name="T13" fmla="*/ 37895 h 62"/>
                  <a:gd name="T14" fmla="*/ 29986 w 126"/>
                  <a:gd name="T15" fmla="*/ 45475 h 62"/>
                  <a:gd name="T16" fmla="*/ 33841 w 126"/>
                  <a:gd name="T17" fmla="*/ 52106 h 62"/>
                  <a:gd name="T18" fmla="*/ 35983 w 126"/>
                  <a:gd name="T19" fmla="*/ 54948 h 62"/>
                  <a:gd name="T20" fmla="*/ 38125 w 126"/>
                  <a:gd name="T21" fmla="*/ 56843 h 62"/>
                  <a:gd name="T22" fmla="*/ 40695 w 126"/>
                  <a:gd name="T23" fmla="*/ 57791 h 62"/>
                  <a:gd name="T24" fmla="*/ 42837 w 126"/>
                  <a:gd name="T25" fmla="*/ 58738 h 62"/>
                  <a:gd name="T26" fmla="*/ 44979 w 126"/>
                  <a:gd name="T27" fmla="*/ 57791 h 62"/>
                  <a:gd name="T28" fmla="*/ 46693 w 126"/>
                  <a:gd name="T29" fmla="*/ 56843 h 62"/>
                  <a:gd name="T30" fmla="*/ 48406 w 126"/>
                  <a:gd name="T31" fmla="*/ 54948 h 62"/>
                  <a:gd name="T32" fmla="*/ 50120 w 126"/>
                  <a:gd name="T33" fmla="*/ 53054 h 62"/>
                  <a:gd name="T34" fmla="*/ 52262 w 126"/>
                  <a:gd name="T35" fmla="*/ 48317 h 62"/>
                  <a:gd name="T36" fmla="*/ 53975 w 126"/>
                  <a:gd name="T37" fmla="*/ 46422 h 62"/>
                  <a:gd name="T38" fmla="*/ 47121 w 126"/>
                  <a:gd name="T39" fmla="*/ 31264 h 62"/>
                  <a:gd name="T40" fmla="*/ 41124 w 126"/>
                  <a:gd name="T41" fmla="*/ 19895 h 62"/>
                  <a:gd name="T42" fmla="*/ 38125 w 126"/>
                  <a:gd name="T43" fmla="*/ 14211 h 62"/>
                  <a:gd name="T44" fmla="*/ 34698 w 126"/>
                  <a:gd name="T45" fmla="*/ 8526 h 62"/>
                  <a:gd name="T46" fmla="*/ 30843 w 126"/>
                  <a:gd name="T47" fmla="*/ 4737 h 62"/>
                  <a:gd name="T48" fmla="*/ 26131 w 126"/>
                  <a:gd name="T49" fmla="*/ 0 h 62"/>
                  <a:gd name="T50" fmla="*/ 0 w 126"/>
                  <a:gd name="T51" fmla="*/ 0 h 62"/>
                  <a:gd name="T52" fmla="*/ 0 w 126"/>
                  <a:gd name="T53" fmla="*/ 8526 h 62"/>
                  <a:gd name="T54" fmla="*/ 0 w 126"/>
                  <a:gd name="T55" fmla="*/ 18000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26" h="62">
                    <a:moveTo>
                      <a:pt x="0" y="19"/>
                    </a:moveTo>
                    <a:lnTo>
                      <a:pt x="11" y="20"/>
                    </a:lnTo>
                    <a:lnTo>
                      <a:pt x="21" y="21"/>
                    </a:lnTo>
                    <a:lnTo>
                      <a:pt x="29" y="23"/>
                    </a:lnTo>
                    <a:lnTo>
                      <a:pt x="36" y="26"/>
                    </a:lnTo>
                    <a:lnTo>
                      <a:pt x="50" y="33"/>
                    </a:lnTo>
                    <a:lnTo>
                      <a:pt x="61" y="40"/>
                    </a:lnTo>
                    <a:lnTo>
                      <a:pt x="70" y="48"/>
                    </a:lnTo>
                    <a:lnTo>
                      <a:pt x="79" y="55"/>
                    </a:lnTo>
                    <a:lnTo>
                      <a:pt x="84" y="58"/>
                    </a:lnTo>
                    <a:lnTo>
                      <a:pt x="89" y="60"/>
                    </a:lnTo>
                    <a:lnTo>
                      <a:pt x="95" y="61"/>
                    </a:lnTo>
                    <a:lnTo>
                      <a:pt x="100" y="62"/>
                    </a:lnTo>
                    <a:lnTo>
                      <a:pt x="105" y="61"/>
                    </a:lnTo>
                    <a:lnTo>
                      <a:pt x="109" y="60"/>
                    </a:lnTo>
                    <a:lnTo>
                      <a:pt x="113" y="58"/>
                    </a:lnTo>
                    <a:lnTo>
                      <a:pt x="117" y="56"/>
                    </a:lnTo>
                    <a:lnTo>
                      <a:pt x="122" y="51"/>
                    </a:lnTo>
                    <a:lnTo>
                      <a:pt x="126" y="49"/>
                    </a:lnTo>
                    <a:lnTo>
                      <a:pt x="110" y="33"/>
                    </a:lnTo>
                    <a:lnTo>
                      <a:pt x="96" y="21"/>
                    </a:lnTo>
                    <a:lnTo>
                      <a:pt x="89" y="15"/>
                    </a:lnTo>
                    <a:lnTo>
                      <a:pt x="81" y="9"/>
                    </a:lnTo>
                    <a:lnTo>
                      <a:pt x="72" y="5"/>
                    </a:lnTo>
                    <a:lnTo>
                      <a:pt x="61" y="0"/>
                    </a:lnTo>
                    <a:lnTo>
                      <a:pt x="0" y="0"/>
                    </a:lnTo>
                    <a:lnTo>
                      <a:pt x="0" y="9"/>
                    </a:lnTo>
                    <a:lnTo>
                      <a:pt x="0" y="19"/>
                    </a:lnTo>
                  </a:path>
                </a:pathLst>
              </a:custGeom>
              <a:grpFill/>
              <a:ln w="9525" cmpd="sng">
                <a:solidFill>
                  <a:srgbClr val="FFFFFF"/>
                </a:solidFill>
                <a:prstDash val="solid"/>
                <a:round/>
                <a:headEnd/>
                <a:tailEnd/>
              </a:ln>
            </p:spPr>
            <p:txBody>
              <a:bodyPr/>
              <a:lstStyle/>
              <a:p>
                <a:endParaRPr lang="en-GB" sz="1637"/>
              </a:p>
            </p:txBody>
          </p:sp>
          <p:sp>
            <p:nvSpPr>
              <p:cNvPr id="417" name="Freeform 162"/>
              <p:cNvSpPr>
                <a:spLocks/>
              </p:cNvSpPr>
              <p:nvPr>
                <p:custDataLst>
                  <p:tags r:id="rId261"/>
                </p:custDataLst>
              </p:nvPr>
            </p:nvSpPr>
            <p:spPr bwMode="auto">
              <a:xfrm>
                <a:off x="2002854" y="4338328"/>
                <a:ext cx="358726" cy="469233"/>
              </a:xfrm>
              <a:custGeom>
                <a:avLst/>
                <a:gdLst>
                  <a:gd name="T0" fmla="*/ 11272 w 758"/>
                  <a:gd name="T1" fmla="*/ 41854 h 795"/>
                  <a:gd name="T2" fmla="*/ 21243 w 758"/>
                  <a:gd name="T3" fmla="*/ 46039 h 795"/>
                  <a:gd name="T4" fmla="*/ 31214 w 758"/>
                  <a:gd name="T5" fmla="*/ 56503 h 795"/>
                  <a:gd name="T6" fmla="*/ 38150 w 758"/>
                  <a:gd name="T7" fmla="*/ 70106 h 795"/>
                  <a:gd name="T8" fmla="*/ 40318 w 758"/>
                  <a:gd name="T9" fmla="*/ 88417 h 795"/>
                  <a:gd name="T10" fmla="*/ 36416 w 758"/>
                  <a:gd name="T11" fmla="*/ 97311 h 795"/>
                  <a:gd name="T12" fmla="*/ 35116 w 758"/>
                  <a:gd name="T13" fmla="*/ 107251 h 795"/>
                  <a:gd name="T14" fmla="*/ 38150 w 758"/>
                  <a:gd name="T15" fmla="*/ 125562 h 795"/>
                  <a:gd name="T16" fmla="*/ 41185 w 758"/>
                  <a:gd name="T17" fmla="*/ 145443 h 795"/>
                  <a:gd name="T18" fmla="*/ 35983 w 758"/>
                  <a:gd name="T19" fmla="*/ 161138 h 795"/>
                  <a:gd name="T20" fmla="*/ 35116 w 758"/>
                  <a:gd name="T21" fmla="*/ 184158 h 795"/>
                  <a:gd name="T22" fmla="*/ 40318 w 758"/>
                  <a:gd name="T23" fmla="*/ 204039 h 795"/>
                  <a:gd name="T24" fmla="*/ 42919 w 758"/>
                  <a:gd name="T25" fmla="*/ 217118 h 795"/>
                  <a:gd name="T26" fmla="*/ 33815 w 758"/>
                  <a:gd name="T27" fmla="*/ 239091 h 795"/>
                  <a:gd name="T28" fmla="*/ 48988 w 758"/>
                  <a:gd name="T29" fmla="*/ 276760 h 795"/>
                  <a:gd name="T30" fmla="*/ 59826 w 758"/>
                  <a:gd name="T31" fmla="*/ 301873 h 795"/>
                  <a:gd name="T32" fmla="*/ 63295 w 758"/>
                  <a:gd name="T33" fmla="*/ 325416 h 795"/>
                  <a:gd name="T34" fmla="*/ 65896 w 758"/>
                  <a:gd name="T35" fmla="*/ 344773 h 795"/>
                  <a:gd name="T36" fmla="*/ 81069 w 758"/>
                  <a:gd name="T37" fmla="*/ 386104 h 795"/>
                  <a:gd name="T38" fmla="*/ 92774 w 758"/>
                  <a:gd name="T39" fmla="*/ 409124 h 795"/>
                  <a:gd name="T40" fmla="*/ 99711 w 758"/>
                  <a:gd name="T41" fmla="*/ 415402 h 795"/>
                  <a:gd name="T42" fmla="*/ 108815 w 758"/>
                  <a:gd name="T43" fmla="*/ 413309 h 795"/>
                  <a:gd name="T44" fmla="*/ 125289 w 758"/>
                  <a:gd name="T45" fmla="*/ 398137 h 795"/>
                  <a:gd name="T46" fmla="*/ 140462 w 758"/>
                  <a:gd name="T47" fmla="*/ 390289 h 795"/>
                  <a:gd name="T48" fmla="*/ 153901 w 758"/>
                  <a:gd name="T49" fmla="*/ 391336 h 795"/>
                  <a:gd name="T50" fmla="*/ 168208 w 758"/>
                  <a:gd name="T51" fmla="*/ 402846 h 795"/>
                  <a:gd name="T52" fmla="*/ 181213 w 758"/>
                  <a:gd name="T53" fmla="*/ 408077 h 795"/>
                  <a:gd name="T54" fmla="*/ 189450 w 758"/>
                  <a:gd name="T55" fmla="*/ 396567 h 795"/>
                  <a:gd name="T56" fmla="*/ 207225 w 758"/>
                  <a:gd name="T57" fmla="*/ 389766 h 795"/>
                  <a:gd name="T58" fmla="*/ 227601 w 758"/>
                  <a:gd name="T59" fmla="*/ 325416 h 795"/>
                  <a:gd name="T60" fmla="*/ 233670 w 758"/>
                  <a:gd name="T61" fmla="*/ 313906 h 795"/>
                  <a:gd name="T62" fmla="*/ 249277 w 758"/>
                  <a:gd name="T63" fmla="*/ 305535 h 795"/>
                  <a:gd name="T64" fmla="*/ 288294 w 758"/>
                  <a:gd name="T65" fmla="*/ 299780 h 795"/>
                  <a:gd name="T66" fmla="*/ 297832 w 758"/>
                  <a:gd name="T67" fmla="*/ 302919 h 795"/>
                  <a:gd name="T68" fmla="*/ 305202 w 758"/>
                  <a:gd name="T69" fmla="*/ 306058 h 795"/>
                  <a:gd name="T70" fmla="*/ 322543 w 758"/>
                  <a:gd name="T71" fmla="*/ 299780 h 795"/>
                  <a:gd name="T72" fmla="*/ 328178 w 758"/>
                  <a:gd name="T73" fmla="*/ 283038 h 795"/>
                  <a:gd name="T74" fmla="*/ 326011 w 758"/>
                  <a:gd name="T75" fmla="*/ 261065 h 795"/>
                  <a:gd name="T76" fmla="*/ 314739 w 758"/>
                  <a:gd name="T77" fmla="*/ 241707 h 795"/>
                  <a:gd name="T78" fmla="*/ 307803 w 758"/>
                  <a:gd name="T79" fmla="*/ 227582 h 795"/>
                  <a:gd name="T80" fmla="*/ 290895 w 758"/>
                  <a:gd name="T81" fmla="*/ 209794 h 795"/>
                  <a:gd name="T82" fmla="*/ 274421 w 758"/>
                  <a:gd name="T83" fmla="*/ 208747 h 795"/>
                  <a:gd name="T84" fmla="*/ 262283 w 758"/>
                  <a:gd name="T85" fmla="*/ 197761 h 795"/>
                  <a:gd name="T86" fmla="*/ 255780 w 758"/>
                  <a:gd name="T87" fmla="*/ 182588 h 795"/>
                  <a:gd name="T88" fmla="*/ 253612 w 758"/>
                  <a:gd name="T89" fmla="*/ 162708 h 795"/>
                  <a:gd name="T90" fmla="*/ 252745 w 758"/>
                  <a:gd name="T91" fmla="*/ 140734 h 795"/>
                  <a:gd name="T92" fmla="*/ 242774 w 758"/>
                  <a:gd name="T93" fmla="*/ 126609 h 795"/>
                  <a:gd name="T94" fmla="*/ 218063 w 758"/>
                  <a:gd name="T95" fmla="*/ 107251 h 795"/>
                  <a:gd name="T96" fmla="*/ 190751 w 758"/>
                  <a:gd name="T97" fmla="*/ 93125 h 795"/>
                  <a:gd name="T98" fmla="*/ 169942 w 758"/>
                  <a:gd name="T99" fmla="*/ 87370 h 795"/>
                  <a:gd name="T100" fmla="*/ 155635 w 758"/>
                  <a:gd name="T101" fmla="*/ 84231 h 795"/>
                  <a:gd name="T102" fmla="*/ 143063 w 758"/>
                  <a:gd name="T103" fmla="*/ 75861 h 795"/>
                  <a:gd name="T104" fmla="*/ 133092 w 758"/>
                  <a:gd name="T105" fmla="*/ 63827 h 795"/>
                  <a:gd name="T106" fmla="*/ 126589 w 758"/>
                  <a:gd name="T107" fmla="*/ 48132 h 795"/>
                  <a:gd name="T108" fmla="*/ 120953 w 758"/>
                  <a:gd name="T109" fmla="*/ 9940 h 795"/>
                  <a:gd name="T110" fmla="*/ 113150 w 758"/>
                  <a:gd name="T111" fmla="*/ 1570 h 795"/>
                  <a:gd name="T112" fmla="*/ 98410 w 758"/>
                  <a:gd name="T113" fmla="*/ 1570 h 795"/>
                  <a:gd name="T114" fmla="*/ 75000 w 758"/>
                  <a:gd name="T115" fmla="*/ 15695 h 795"/>
                  <a:gd name="T116" fmla="*/ 51589 w 758"/>
                  <a:gd name="T117" fmla="*/ 34530 h 795"/>
                  <a:gd name="T118" fmla="*/ 0 w 758"/>
                  <a:gd name="T119" fmla="*/ 41854 h 79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58" h="795">
                    <a:moveTo>
                      <a:pt x="0" y="80"/>
                    </a:moveTo>
                    <a:lnTo>
                      <a:pt x="10" y="80"/>
                    </a:lnTo>
                    <a:lnTo>
                      <a:pt x="20" y="80"/>
                    </a:lnTo>
                    <a:lnTo>
                      <a:pt x="26" y="80"/>
                    </a:lnTo>
                    <a:lnTo>
                      <a:pt x="31" y="81"/>
                    </a:lnTo>
                    <a:lnTo>
                      <a:pt x="37" y="83"/>
                    </a:lnTo>
                    <a:lnTo>
                      <a:pt x="43" y="85"/>
                    </a:lnTo>
                    <a:lnTo>
                      <a:pt x="49" y="88"/>
                    </a:lnTo>
                    <a:lnTo>
                      <a:pt x="55" y="92"/>
                    </a:lnTo>
                    <a:lnTo>
                      <a:pt x="61" y="97"/>
                    </a:lnTo>
                    <a:lnTo>
                      <a:pt x="66" y="102"/>
                    </a:lnTo>
                    <a:lnTo>
                      <a:pt x="72" y="108"/>
                    </a:lnTo>
                    <a:lnTo>
                      <a:pt x="77" y="113"/>
                    </a:lnTo>
                    <a:lnTo>
                      <a:pt x="82" y="120"/>
                    </a:lnTo>
                    <a:lnTo>
                      <a:pt x="86" y="127"/>
                    </a:lnTo>
                    <a:lnTo>
                      <a:pt x="88" y="134"/>
                    </a:lnTo>
                    <a:lnTo>
                      <a:pt x="92" y="142"/>
                    </a:lnTo>
                    <a:lnTo>
                      <a:pt x="93" y="152"/>
                    </a:lnTo>
                    <a:lnTo>
                      <a:pt x="94" y="161"/>
                    </a:lnTo>
                    <a:lnTo>
                      <a:pt x="93" y="169"/>
                    </a:lnTo>
                    <a:lnTo>
                      <a:pt x="92" y="175"/>
                    </a:lnTo>
                    <a:lnTo>
                      <a:pt x="89" y="180"/>
                    </a:lnTo>
                    <a:lnTo>
                      <a:pt x="87" y="183"/>
                    </a:lnTo>
                    <a:lnTo>
                      <a:pt x="84" y="186"/>
                    </a:lnTo>
                    <a:lnTo>
                      <a:pt x="82" y="190"/>
                    </a:lnTo>
                    <a:lnTo>
                      <a:pt x="81" y="193"/>
                    </a:lnTo>
                    <a:lnTo>
                      <a:pt x="81" y="197"/>
                    </a:lnTo>
                    <a:lnTo>
                      <a:pt x="81" y="205"/>
                    </a:lnTo>
                    <a:lnTo>
                      <a:pt x="82" y="214"/>
                    </a:lnTo>
                    <a:lnTo>
                      <a:pt x="83" y="221"/>
                    </a:lnTo>
                    <a:lnTo>
                      <a:pt x="84" y="227"/>
                    </a:lnTo>
                    <a:lnTo>
                      <a:pt x="88" y="240"/>
                    </a:lnTo>
                    <a:lnTo>
                      <a:pt x="94" y="252"/>
                    </a:lnTo>
                    <a:lnTo>
                      <a:pt x="97" y="262"/>
                    </a:lnTo>
                    <a:lnTo>
                      <a:pt x="100" y="271"/>
                    </a:lnTo>
                    <a:lnTo>
                      <a:pt x="95" y="278"/>
                    </a:lnTo>
                    <a:lnTo>
                      <a:pt x="92" y="285"/>
                    </a:lnTo>
                    <a:lnTo>
                      <a:pt x="88" y="293"/>
                    </a:lnTo>
                    <a:lnTo>
                      <a:pt x="85" y="300"/>
                    </a:lnTo>
                    <a:lnTo>
                      <a:pt x="83" y="308"/>
                    </a:lnTo>
                    <a:lnTo>
                      <a:pt x="82" y="318"/>
                    </a:lnTo>
                    <a:lnTo>
                      <a:pt x="81" y="328"/>
                    </a:lnTo>
                    <a:lnTo>
                      <a:pt x="81" y="339"/>
                    </a:lnTo>
                    <a:lnTo>
                      <a:pt x="81" y="352"/>
                    </a:lnTo>
                    <a:lnTo>
                      <a:pt x="83" y="363"/>
                    </a:lnTo>
                    <a:lnTo>
                      <a:pt x="85" y="374"/>
                    </a:lnTo>
                    <a:lnTo>
                      <a:pt x="88" y="382"/>
                    </a:lnTo>
                    <a:lnTo>
                      <a:pt x="93" y="390"/>
                    </a:lnTo>
                    <a:lnTo>
                      <a:pt x="97" y="396"/>
                    </a:lnTo>
                    <a:lnTo>
                      <a:pt x="101" y="402"/>
                    </a:lnTo>
                    <a:lnTo>
                      <a:pt x="107" y="407"/>
                    </a:lnTo>
                    <a:lnTo>
                      <a:pt x="99" y="415"/>
                    </a:lnTo>
                    <a:lnTo>
                      <a:pt x="94" y="424"/>
                    </a:lnTo>
                    <a:lnTo>
                      <a:pt x="89" y="433"/>
                    </a:lnTo>
                    <a:lnTo>
                      <a:pt x="85" y="441"/>
                    </a:lnTo>
                    <a:lnTo>
                      <a:pt x="78" y="457"/>
                    </a:lnTo>
                    <a:lnTo>
                      <a:pt x="73" y="474"/>
                    </a:lnTo>
                    <a:lnTo>
                      <a:pt x="88" y="493"/>
                    </a:lnTo>
                    <a:lnTo>
                      <a:pt x="101" y="511"/>
                    </a:lnTo>
                    <a:lnTo>
                      <a:pt x="113" y="529"/>
                    </a:lnTo>
                    <a:lnTo>
                      <a:pt x="124" y="548"/>
                    </a:lnTo>
                    <a:lnTo>
                      <a:pt x="130" y="558"/>
                    </a:lnTo>
                    <a:lnTo>
                      <a:pt x="134" y="567"/>
                    </a:lnTo>
                    <a:lnTo>
                      <a:pt x="138" y="577"/>
                    </a:lnTo>
                    <a:lnTo>
                      <a:pt x="141" y="588"/>
                    </a:lnTo>
                    <a:lnTo>
                      <a:pt x="143" y="599"/>
                    </a:lnTo>
                    <a:lnTo>
                      <a:pt x="145" y="611"/>
                    </a:lnTo>
                    <a:lnTo>
                      <a:pt x="146" y="622"/>
                    </a:lnTo>
                    <a:lnTo>
                      <a:pt x="146" y="634"/>
                    </a:lnTo>
                    <a:lnTo>
                      <a:pt x="148" y="640"/>
                    </a:lnTo>
                    <a:lnTo>
                      <a:pt x="149" y="648"/>
                    </a:lnTo>
                    <a:lnTo>
                      <a:pt x="152" y="659"/>
                    </a:lnTo>
                    <a:lnTo>
                      <a:pt x="156" y="670"/>
                    </a:lnTo>
                    <a:lnTo>
                      <a:pt x="166" y="696"/>
                    </a:lnTo>
                    <a:lnTo>
                      <a:pt x="179" y="724"/>
                    </a:lnTo>
                    <a:lnTo>
                      <a:pt x="187" y="738"/>
                    </a:lnTo>
                    <a:lnTo>
                      <a:pt x="194" y="750"/>
                    </a:lnTo>
                    <a:lnTo>
                      <a:pt x="201" y="763"/>
                    </a:lnTo>
                    <a:lnTo>
                      <a:pt x="208" y="774"/>
                    </a:lnTo>
                    <a:lnTo>
                      <a:pt x="214" y="782"/>
                    </a:lnTo>
                    <a:lnTo>
                      <a:pt x="221" y="789"/>
                    </a:lnTo>
                    <a:lnTo>
                      <a:pt x="224" y="792"/>
                    </a:lnTo>
                    <a:lnTo>
                      <a:pt x="228" y="793"/>
                    </a:lnTo>
                    <a:lnTo>
                      <a:pt x="230" y="794"/>
                    </a:lnTo>
                    <a:lnTo>
                      <a:pt x="233" y="795"/>
                    </a:lnTo>
                    <a:lnTo>
                      <a:pt x="239" y="794"/>
                    </a:lnTo>
                    <a:lnTo>
                      <a:pt x="244" y="793"/>
                    </a:lnTo>
                    <a:lnTo>
                      <a:pt x="251" y="790"/>
                    </a:lnTo>
                    <a:lnTo>
                      <a:pt x="256" y="787"/>
                    </a:lnTo>
                    <a:lnTo>
                      <a:pt x="266" y="780"/>
                    </a:lnTo>
                    <a:lnTo>
                      <a:pt x="278" y="771"/>
                    </a:lnTo>
                    <a:lnTo>
                      <a:pt x="289" y="761"/>
                    </a:lnTo>
                    <a:lnTo>
                      <a:pt x="302" y="753"/>
                    </a:lnTo>
                    <a:lnTo>
                      <a:pt x="309" y="750"/>
                    </a:lnTo>
                    <a:lnTo>
                      <a:pt x="317" y="747"/>
                    </a:lnTo>
                    <a:lnTo>
                      <a:pt x="324" y="746"/>
                    </a:lnTo>
                    <a:lnTo>
                      <a:pt x="332" y="745"/>
                    </a:lnTo>
                    <a:lnTo>
                      <a:pt x="341" y="746"/>
                    </a:lnTo>
                    <a:lnTo>
                      <a:pt x="348" y="747"/>
                    </a:lnTo>
                    <a:lnTo>
                      <a:pt x="355" y="748"/>
                    </a:lnTo>
                    <a:lnTo>
                      <a:pt x="361" y="750"/>
                    </a:lnTo>
                    <a:lnTo>
                      <a:pt x="371" y="756"/>
                    </a:lnTo>
                    <a:lnTo>
                      <a:pt x="380" y="763"/>
                    </a:lnTo>
                    <a:lnTo>
                      <a:pt x="388" y="770"/>
                    </a:lnTo>
                    <a:lnTo>
                      <a:pt x="395" y="777"/>
                    </a:lnTo>
                    <a:lnTo>
                      <a:pt x="403" y="783"/>
                    </a:lnTo>
                    <a:lnTo>
                      <a:pt x="412" y="789"/>
                    </a:lnTo>
                    <a:lnTo>
                      <a:pt x="418" y="780"/>
                    </a:lnTo>
                    <a:lnTo>
                      <a:pt x="422" y="773"/>
                    </a:lnTo>
                    <a:lnTo>
                      <a:pt x="427" y="767"/>
                    </a:lnTo>
                    <a:lnTo>
                      <a:pt x="432" y="761"/>
                    </a:lnTo>
                    <a:lnTo>
                      <a:pt x="437" y="758"/>
                    </a:lnTo>
                    <a:lnTo>
                      <a:pt x="443" y="754"/>
                    </a:lnTo>
                    <a:lnTo>
                      <a:pt x="448" y="752"/>
                    </a:lnTo>
                    <a:lnTo>
                      <a:pt x="454" y="750"/>
                    </a:lnTo>
                    <a:lnTo>
                      <a:pt x="478" y="745"/>
                    </a:lnTo>
                    <a:lnTo>
                      <a:pt x="505" y="739"/>
                    </a:lnTo>
                    <a:lnTo>
                      <a:pt x="525" y="647"/>
                    </a:lnTo>
                    <a:lnTo>
                      <a:pt x="525" y="637"/>
                    </a:lnTo>
                    <a:lnTo>
                      <a:pt x="525" y="622"/>
                    </a:lnTo>
                    <a:lnTo>
                      <a:pt x="526" y="616"/>
                    </a:lnTo>
                    <a:lnTo>
                      <a:pt x="529" y="610"/>
                    </a:lnTo>
                    <a:lnTo>
                      <a:pt x="533" y="604"/>
                    </a:lnTo>
                    <a:lnTo>
                      <a:pt x="539" y="600"/>
                    </a:lnTo>
                    <a:lnTo>
                      <a:pt x="547" y="594"/>
                    </a:lnTo>
                    <a:lnTo>
                      <a:pt x="555" y="590"/>
                    </a:lnTo>
                    <a:lnTo>
                      <a:pt x="565" y="587"/>
                    </a:lnTo>
                    <a:lnTo>
                      <a:pt x="575" y="584"/>
                    </a:lnTo>
                    <a:lnTo>
                      <a:pt x="597" y="579"/>
                    </a:lnTo>
                    <a:lnTo>
                      <a:pt x="621" y="575"/>
                    </a:lnTo>
                    <a:lnTo>
                      <a:pt x="644" y="574"/>
                    </a:lnTo>
                    <a:lnTo>
                      <a:pt x="665" y="573"/>
                    </a:lnTo>
                    <a:lnTo>
                      <a:pt x="671" y="573"/>
                    </a:lnTo>
                    <a:lnTo>
                      <a:pt x="678" y="575"/>
                    </a:lnTo>
                    <a:lnTo>
                      <a:pt x="682" y="577"/>
                    </a:lnTo>
                    <a:lnTo>
                      <a:pt x="687" y="579"/>
                    </a:lnTo>
                    <a:lnTo>
                      <a:pt x="691" y="581"/>
                    </a:lnTo>
                    <a:lnTo>
                      <a:pt x="695" y="583"/>
                    </a:lnTo>
                    <a:lnTo>
                      <a:pt x="700" y="585"/>
                    </a:lnTo>
                    <a:lnTo>
                      <a:pt x="704" y="585"/>
                    </a:lnTo>
                    <a:lnTo>
                      <a:pt x="738" y="598"/>
                    </a:lnTo>
                    <a:lnTo>
                      <a:pt x="738" y="589"/>
                    </a:lnTo>
                    <a:lnTo>
                      <a:pt x="740" y="581"/>
                    </a:lnTo>
                    <a:lnTo>
                      <a:pt x="744" y="573"/>
                    </a:lnTo>
                    <a:lnTo>
                      <a:pt x="748" y="566"/>
                    </a:lnTo>
                    <a:lnTo>
                      <a:pt x="751" y="559"/>
                    </a:lnTo>
                    <a:lnTo>
                      <a:pt x="755" y="550"/>
                    </a:lnTo>
                    <a:lnTo>
                      <a:pt x="757" y="541"/>
                    </a:lnTo>
                    <a:lnTo>
                      <a:pt x="758" y="530"/>
                    </a:lnTo>
                    <a:lnTo>
                      <a:pt x="757" y="518"/>
                    </a:lnTo>
                    <a:lnTo>
                      <a:pt x="756" y="508"/>
                    </a:lnTo>
                    <a:lnTo>
                      <a:pt x="752" y="499"/>
                    </a:lnTo>
                    <a:lnTo>
                      <a:pt x="749" y="492"/>
                    </a:lnTo>
                    <a:lnTo>
                      <a:pt x="740" y="478"/>
                    </a:lnTo>
                    <a:lnTo>
                      <a:pt x="731" y="467"/>
                    </a:lnTo>
                    <a:lnTo>
                      <a:pt x="726" y="462"/>
                    </a:lnTo>
                    <a:lnTo>
                      <a:pt x="722" y="456"/>
                    </a:lnTo>
                    <a:lnTo>
                      <a:pt x="716" y="450"/>
                    </a:lnTo>
                    <a:lnTo>
                      <a:pt x="713" y="443"/>
                    </a:lnTo>
                    <a:lnTo>
                      <a:pt x="710" y="435"/>
                    </a:lnTo>
                    <a:lnTo>
                      <a:pt x="706" y="424"/>
                    </a:lnTo>
                    <a:lnTo>
                      <a:pt x="705" y="413"/>
                    </a:lnTo>
                    <a:lnTo>
                      <a:pt x="704" y="401"/>
                    </a:lnTo>
                    <a:lnTo>
                      <a:pt x="671" y="401"/>
                    </a:lnTo>
                    <a:lnTo>
                      <a:pt x="660" y="403"/>
                    </a:lnTo>
                    <a:lnTo>
                      <a:pt x="650" y="403"/>
                    </a:lnTo>
                    <a:lnTo>
                      <a:pt x="641" y="402"/>
                    </a:lnTo>
                    <a:lnTo>
                      <a:pt x="633" y="399"/>
                    </a:lnTo>
                    <a:lnTo>
                      <a:pt x="625" y="395"/>
                    </a:lnTo>
                    <a:lnTo>
                      <a:pt x="617" y="390"/>
                    </a:lnTo>
                    <a:lnTo>
                      <a:pt x="611" y="384"/>
                    </a:lnTo>
                    <a:lnTo>
                      <a:pt x="605" y="378"/>
                    </a:lnTo>
                    <a:lnTo>
                      <a:pt x="601" y="370"/>
                    </a:lnTo>
                    <a:lnTo>
                      <a:pt x="597" y="363"/>
                    </a:lnTo>
                    <a:lnTo>
                      <a:pt x="593" y="356"/>
                    </a:lnTo>
                    <a:lnTo>
                      <a:pt x="590" y="349"/>
                    </a:lnTo>
                    <a:lnTo>
                      <a:pt x="586" y="336"/>
                    </a:lnTo>
                    <a:lnTo>
                      <a:pt x="585" y="327"/>
                    </a:lnTo>
                    <a:lnTo>
                      <a:pt x="585" y="321"/>
                    </a:lnTo>
                    <a:lnTo>
                      <a:pt x="585" y="311"/>
                    </a:lnTo>
                    <a:lnTo>
                      <a:pt x="585" y="297"/>
                    </a:lnTo>
                    <a:lnTo>
                      <a:pt x="585" y="278"/>
                    </a:lnTo>
                    <a:lnTo>
                      <a:pt x="585" y="274"/>
                    </a:lnTo>
                    <a:lnTo>
                      <a:pt x="583" y="269"/>
                    </a:lnTo>
                    <a:lnTo>
                      <a:pt x="581" y="265"/>
                    </a:lnTo>
                    <a:lnTo>
                      <a:pt x="578" y="260"/>
                    </a:lnTo>
                    <a:lnTo>
                      <a:pt x="570" y="251"/>
                    </a:lnTo>
                    <a:lnTo>
                      <a:pt x="560" y="242"/>
                    </a:lnTo>
                    <a:lnTo>
                      <a:pt x="548" y="233"/>
                    </a:lnTo>
                    <a:lnTo>
                      <a:pt x="534" y="223"/>
                    </a:lnTo>
                    <a:lnTo>
                      <a:pt x="520" y="215"/>
                    </a:lnTo>
                    <a:lnTo>
                      <a:pt x="503" y="205"/>
                    </a:lnTo>
                    <a:lnTo>
                      <a:pt x="487" y="197"/>
                    </a:lnTo>
                    <a:lnTo>
                      <a:pt x="470" y="190"/>
                    </a:lnTo>
                    <a:lnTo>
                      <a:pt x="455" y="183"/>
                    </a:lnTo>
                    <a:lnTo>
                      <a:pt x="440" y="178"/>
                    </a:lnTo>
                    <a:lnTo>
                      <a:pt x="425" y="173"/>
                    </a:lnTo>
                    <a:lnTo>
                      <a:pt x="412" y="170"/>
                    </a:lnTo>
                    <a:lnTo>
                      <a:pt x="401" y="167"/>
                    </a:lnTo>
                    <a:lnTo>
                      <a:pt x="392" y="167"/>
                    </a:lnTo>
                    <a:lnTo>
                      <a:pt x="384" y="166"/>
                    </a:lnTo>
                    <a:lnTo>
                      <a:pt x="375" y="165"/>
                    </a:lnTo>
                    <a:lnTo>
                      <a:pt x="367" y="164"/>
                    </a:lnTo>
                    <a:lnTo>
                      <a:pt x="359" y="161"/>
                    </a:lnTo>
                    <a:lnTo>
                      <a:pt x="351" y="158"/>
                    </a:lnTo>
                    <a:lnTo>
                      <a:pt x="344" y="155"/>
                    </a:lnTo>
                    <a:lnTo>
                      <a:pt x="336" y="151"/>
                    </a:lnTo>
                    <a:lnTo>
                      <a:pt x="330" y="145"/>
                    </a:lnTo>
                    <a:lnTo>
                      <a:pt x="323" y="140"/>
                    </a:lnTo>
                    <a:lnTo>
                      <a:pt x="318" y="135"/>
                    </a:lnTo>
                    <a:lnTo>
                      <a:pt x="312" y="129"/>
                    </a:lnTo>
                    <a:lnTo>
                      <a:pt x="307" y="122"/>
                    </a:lnTo>
                    <a:lnTo>
                      <a:pt x="302" y="115"/>
                    </a:lnTo>
                    <a:lnTo>
                      <a:pt x="299" y="108"/>
                    </a:lnTo>
                    <a:lnTo>
                      <a:pt x="296" y="101"/>
                    </a:lnTo>
                    <a:lnTo>
                      <a:pt x="292" y="92"/>
                    </a:lnTo>
                    <a:lnTo>
                      <a:pt x="289" y="63"/>
                    </a:lnTo>
                    <a:lnTo>
                      <a:pt x="285" y="32"/>
                    </a:lnTo>
                    <a:lnTo>
                      <a:pt x="283" y="25"/>
                    </a:lnTo>
                    <a:lnTo>
                      <a:pt x="279" y="19"/>
                    </a:lnTo>
                    <a:lnTo>
                      <a:pt x="276" y="14"/>
                    </a:lnTo>
                    <a:lnTo>
                      <a:pt x="272" y="9"/>
                    </a:lnTo>
                    <a:lnTo>
                      <a:pt x="267" y="6"/>
                    </a:lnTo>
                    <a:lnTo>
                      <a:pt x="261" y="3"/>
                    </a:lnTo>
                    <a:lnTo>
                      <a:pt x="254" y="1"/>
                    </a:lnTo>
                    <a:lnTo>
                      <a:pt x="246" y="0"/>
                    </a:lnTo>
                    <a:lnTo>
                      <a:pt x="236" y="1"/>
                    </a:lnTo>
                    <a:lnTo>
                      <a:pt x="227" y="3"/>
                    </a:lnTo>
                    <a:lnTo>
                      <a:pt x="218" y="5"/>
                    </a:lnTo>
                    <a:lnTo>
                      <a:pt x="208" y="9"/>
                    </a:lnTo>
                    <a:lnTo>
                      <a:pt x="190" y="18"/>
                    </a:lnTo>
                    <a:lnTo>
                      <a:pt x="173" y="30"/>
                    </a:lnTo>
                    <a:lnTo>
                      <a:pt x="155" y="43"/>
                    </a:lnTo>
                    <a:lnTo>
                      <a:pt x="138" y="55"/>
                    </a:lnTo>
                    <a:lnTo>
                      <a:pt x="129" y="60"/>
                    </a:lnTo>
                    <a:lnTo>
                      <a:pt x="119" y="66"/>
                    </a:lnTo>
                    <a:lnTo>
                      <a:pt x="110" y="70"/>
                    </a:lnTo>
                    <a:lnTo>
                      <a:pt x="100" y="74"/>
                    </a:lnTo>
                    <a:lnTo>
                      <a:pt x="20" y="80"/>
                    </a:lnTo>
                    <a:lnTo>
                      <a:pt x="0" y="80"/>
                    </a:lnTo>
                  </a:path>
                </a:pathLst>
              </a:custGeom>
              <a:grpFill/>
              <a:ln w="9525" cap="flat" cmpd="sng">
                <a:solidFill>
                  <a:srgbClr val="FFFFFF"/>
                </a:solidFill>
                <a:prstDash val="solid"/>
                <a:round/>
                <a:headEnd type="none" w="med" len="med"/>
                <a:tailEnd type="none" w="med" len="med"/>
              </a:ln>
              <a:effectLst/>
            </p:spPr>
            <p:txBody>
              <a:bodyPr/>
              <a:lstStyle/>
              <a:p>
                <a:endParaRPr lang="en-GB" sz="1637"/>
              </a:p>
            </p:txBody>
          </p:sp>
          <p:sp>
            <p:nvSpPr>
              <p:cNvPr id="418" name="Freeform 163"/>
              <p:cNvSpPr>
                <a:spLocks/>
              </p:cNvSpPr>
              <p:nvPr>
                <p:custDataLst>
                  <p:tags r:id="rId262"/>
                </p:custDataLst>
              </p:nvPr>
            </p:nvSpPr>
            <p:spPr bwMode="auto">
              <a:xfrm>
                <a:off x="2236806" y="3695372"/>
                <a:ext cx="129974" cy="243571"/>
              </a:xfrm>
              <a:custGeom>
                <a:avLst/>
                <a:gdLst>
                  <a:gd name="T0" fmla="*/ 98129 w 273"/>
                  <a:gd name="T1" fmla="*/ 73010 h 414"/>
                  <a:gd name="T2" fmla="*/ 92895 w 273"/>
                  <a:gd name="T3" fmla="*/ 69359 h 414"/>
                  <a:gd name="T4" fmla="*/ 87662 w 273"/>
                  <a:gd name="T5" fmla="*/ 63101 h 414"/>
                  <a:gd name="T6" fmla="*/ 82864 w 273"/>
                  <a:gd name="T7" fmla="*/ 54757 h 414"/>
                  <a:gd name="T8" fmla="*/ 79811 w 273"/>
                  <a:gd name="T9" fmla="*/ 50064 h 414"/>
                  <a:gd name="T10" fmla="*/ 76759 w 273"/>
                  <a:gd name="T11" fmla="*/ 48499 h 414"/>
                  <a:gd name="T12" fmla="*/ 72833 w 273"/>
                  <a:gd name="T13" fmla="*/ 49021 h 414"/>
                  <a:gd name="T14" fmla="*/ 70217 w 273"/>
                  <a:gd name="T15" fmla="*/ 52671 h 414"/>
                  <a:gd name="T16" fmla="*/ 66728 w 273"/>
                  <a:gd name="T17" fmla="*/ 44849 h 414"/>
                  <a:gd name="T18" fmla="*/ 61930 w 273"/>
                  <a:gd name="T19" fmla="*/ 28161 h 414"/>
                  <a:gd name="T20" fmla="*/ 57569 w 273"/>
                  <a:gd name="T21" fmla="*/ 18774 h 414"/>
                  <a:gd name="T22" fmla="*/ 53644 w 273"/>
                  <a:gd name="T23" fmla="*/ 13037 h 414"/>
                  <a:gd name="T24" fmla="*/ 48410 w 273"/>
                  <a:gd name="T25" fmla="*/ 7301 h 414"/>
                  <a:gd name="T26" fmla="*/ 41868 w 273"/>
                  <a:gd name="T27" fmla="*/ 2607 h 414"/>
                  <a:gd name="T28" fmla="*/ 34890 w 273"/>
                  <a:gd name="T29" fmla="*/ 3650 h 414"/>
                  <a:gd name="T30" fmla="*/ 30093 w 273"/>
                  <a:gd name="T31" fmla="*/ 9908 h 414"/>
                  <a:gd name="T32" fmla="*/ 27476 w 273"/>
                  <a:gd name="T33" fmla="*/ 13037 h 414"/>
                  <a:gd name="T34" fmla="*/ 24859 w 273"/>
                  <a:gd name="T35" fmla="*/ 16688 h 414"/>
                  <a:gd name="T36" fmla="*/ 24423 w 273"/>
                  <a:gd name="T37" fmla="*/ 21903 h 414"/>
                  <a:gd name="T38" fmla="*/ 25295 w 273"/>
                  <a:gd name="T39" fmla="*/ 30768 h 414"/>
                  <a:gd name="T40" fmla="*/ 22679 w 273"/>
                  <a:gd name="T41" fmla="*/ 40677 h 414"/>
                  <a:gd name="T42" fmla="*/ 14392 w 273"/>
                  <a:gd name="T43" fmla="*/ 46935 h 414"/>
                  <a:gd name="T44" fmla="*/ 7414 w 273"/>
                  <a:gd name="T45" fmla="*/ 54236 h 414"/>
                  <a:gd name="T46" fmla="*/ 1745 w 273"/>
                  <a:gd name="T47" fmla="*/ 61537 h 414"/>
                  <a:gd name="T48" fmla="*/ 17445 w 273"/>
                  <a:gd name="T49" fmla="*/ 103257 h 414"/>
                  <a:gd name="T50" fmla="*/ 31837 w 273"/>
                  <a:gd name="T51" fmla="*/ 106907 h 414"/>
                  <a:gd name="T52" fmla="*/ 36635 w 273"/>
                  <a:gd name="T53" fmla="*/ 109514 h 414"/>
                  <a:gd name="T54" fmla="*/ 40560 w 273"/>
                  <a:gd name="T55" fmla="*/ 113686 h 414"/>
                  <a:gd name="T56" fmla="*/ 43177 w 273"/>
                  <a:gd name="T57" fmla="*/ 117858 h 414"/>
                  <a:gd name="T58" fmla="*/ 44921 w 273"/>
                  <a:gd name="T59" fmla="*/ 123595 h 414"/>
                  <a:gd name="T60" fmla="*/ 46230 w 273"/>
                  <a:gd name="T61" fmla="*/ 138197 h 414"/>
                  <a:gd name="T62" fmla="*/ 44921 w 273"/>
                  <a:gd name="T63" fmla="*/ 145498 h 414"/>
                  <a:gd name="T64" fmla="*/ 41868 w 273"/>
                  <a:gd name="T65" fmla="*/ 152799 h 414"/>
                  <a:gd name="T66" fmla="*/ 38815 w 273"/>
                  <a:gd name="T67" fmla="*/ 160100 h 414"/>
                  <a:gd name="T68" fmla="*/ 37507 w 273"/>
                  <a:gd name="T69" fmla="*/ 167401 h 414"/>
                  <a:gd name="T70" fmla="*/ 39688 w 273"/>
                  <a:gd name="T71" fmla="*/ 178874 h 414"/>
                  <a:gd name="T72" fmla="*/ 46666 w 273"/>
                  <a:gd name="T73" fmla="*/ 195040 h 414"/>
                  <a:gd name="T74" fmla="*/ 51027 w 273"/>
                  <a:gd name="T75" fmla="*/ 202863 h 414"/>
                  <a:gd name="T76" fmla="*/ 56261 w 273"/>
                  <a:gd name="T77" fmla="*/ 209121 h 414"/>
                  <a:gd name="T78" fmla="*/ 61494 w 273"/>
                  <a:gd name="T79" fmla="*/ 214336 h 414"/>
                  <a:gd name="T80" fmla="*/ 66728 w 273"/>
                  <a:gd name="T81" fmla="*/ 215900 h 414"/>
                  <a:gd name="T82" fmla="*/ 93768 w 273"/>
                  <a:gd name="T83" fmla="*/ 207556 h 414"/>
                  <a:gd name="T84" fmla="*/ 111213 w 273"/>
                  <a:gd name="T85" fmla="*/ 200777 h 414"/>
                  <a:gd name="T86" fmla="*/ 116446 w 273"/>
                  <a:gd name="T87" fmla="*/ 196605 h 414"/>
                  <a:gd name="T88" fmla="*/ 119063 w 273"/>
                  <a:gd name="T89" fmla="*/ 192954 h 414"/>
                  <a:gd name="T90" fmla="*/ 117318 w 273"/>
                  <a:gd name="T91" fmla="*/ 183567 h 414"/>
                  <a:gd name="T92" fmla="*/ 114702 w 273"/>
                  <a:gd name="T93" fmla="*/ 174702 h 414"/>
                  <a:gd name="T94" fmla="*/ 105543 w 273"/>
                  <a:gd name="T95" fmla="*/ 161143 h 414"/>
                  <a:gd name="T96" fmla="*/ 96820 w 273"/>
                  <a:gd name="T97" fmla="*/ 147062 h 414"/>
                  <a:gd name="T98" fmla="*/ 93768 w 273"/>
                  <a:gd name="T99" fmla="*/ 138718 h 414"/>
                  <a:gd name="T100" fmla="*/ 92459 w 273"/>
                  <a:gd name="T101" fmla="*/ 128810 h 414"/>
                  <a:gd name="T102" fmla="*/ 93768 w 273"/>
                  <a:gd name="T103" fmla="*/ 112122 h 414"/>
                  <a:gd name="T104" fmla="*/ 96820 w 273"/>
                  <a:gd name="T105" fmla="*/ 99085 h 414"/>
                  <a:gd name="T106" fmla="*/ 100309 w 273"/>
                  <a:gd name="T107" fmla="*/ 87090 h 414"/>
                  <a:gd name="T108" fmla="*/ 101182 w 273"/>
                  <a:gd name="T109" fmla="*/ 74053 h 41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273" h="414">
                    <a:moveTo>
                      <a:pt x="232" y="142"/>
                    </a:moveTo>
                    <a:lnTo>
                      <a:pt x="225" y="140"/>
                    </a:lnTo>
                    <a:lnTo>
                      <a:pt x="219" y="137"/>
                    </a:lnTo>
                    <a:lnTo>
                      <a:pt x="213" y="133"/>
                    </a:lnTo>
                    <a:lnTo>
                      <a:pt x="209" y="130"/>
                    </a:lnTo>
                    <a:lnTo>
                      <a:pt x="201" y="121"/>
                    </a:lnTo>
                    <a:lnTo>
                      <a:pt x="195" y="113"/>
                    </a:lnTo>
                    <a:lnTo>
                      <a:pt x="190" y="105"/>
                    </a:lnTo>
                    <a:lnTo>
                      <a:pt x="185" y="99"/>
                    </a:lnTo>
                    <a:lnTo>
                      <a:pt x="183" y="96"/>
                    </a:lnTo>
                    <a:lnTo>
                      <a:pt x="179" y="95"/>
                    </a:lnTo>
                    <a:lnTo>
                      <a:pt x="176" y="93"/>
                    </a:lnTo>
                    <a:lnTo>
                      <a:pt x="173" y="93"/>
                    </a:lnTo>
                    <a:lnTo>
                      <a:pt x="167" y="94"/>
                    </a:lnTo>
                    <a:lnTo>
                      <a:pt x="164" y="97"/>
                    </a:lnTo>
                    <a:lnTo>
                      <a:pt x="161" y="101"/>
                    </a:lnTo>
                    <a:lnTo>
                      <a:pt x="159" y="105"/>
                    </a:lnTo>
                    <a:lnTo>
                      <a:pt x="153" y="86"/>
                    </a:lnTo>
                    <a:lnTo>
                      <a:pt x="147" y="68"/>
                    </a:lnTo>
                    <a:lnTo>
                      <a:pt x="142" y="54"/>
                    </a:lnTo>
                    <a:lnTo>
                      <a:pt x="135" y="41"/>
                    </a:lnTo>
                    <a:lnTo>
                      <a:pt x="132" y="36"/>
                    </a:lnTo>
                    <a:lnTo>
                      <a:pt x="128" y="30"/>
                    </a:lnTo>
                    <a:lnTo>
                      <a:pt x="123" y="25"/>
                    </a:lnTo>
                    <a:lnTo>
                      <a:pt x="118" y="20"/>
                    </a:lnTo>
                    <a:lnTo>
                      <a:pt x="111" y="14"/>
                    </a:lnTo>
                    <a:lnTo>
                      <a:pt x="103" y="9"/>
                    </a:lnTo>
                    <a:lnTo>
                      <a:pt x="96" y="5"/>
                    </a:lnTo>
                    <a:lnTo>
                      <a:pt x="86" y="0"/>
                    </a:lnTo>
                    <a:lnTo>
                      <a:pt x="80" y="7"/>
                    </a:lnTo>
                    <a:lnTo>
                      <a:pt x="73" y="15"/>
                    </a:lnTo>
                    <a:lnTo>
                      <a:pt x="69" y="19"/>
                    </a:lnTo>
                    <a:lnTo>
                      <a:pt x="66" y="23"/>
                    </a:lnTo>
                    <a:lnTo>
                      <a:pt x="63" y="25"/>
                    </a:lnTo>
                    <a:lnTo>
                      <a:pt x="60" y="25"/>
                    </a:lnTo>
                    <a:lnTo>
                      <a:pt x="57" y="32"/>
                    </a:lnTo>
                    <a:lnTo>
                      <a:pt x="57" y="37"/>
                    </a:lnTo>
                    <a:lnTo>
                      <a:pt x="56" y="42"/>
                    </a:lnTo>
                    <a:lnTo>
                      <a:pt x="57" y="47"/>
                    </a:lnTo>
                    <a:lnTo>
                      <a:pt x="58" y="59"/>
                    </a:lnTo>
                    <a:lnTo>
                      <a:pt x="60" y="75"/>
                    </a:lnTo>
                    <a:lnTo>
                      <a:pt x="52" y="78"/>
                    </a:lnTo>
                    <a:lnTo>
                      <a:pt x="43" y="83"/>
                    </a:lnTo>
                    <a:lnTo>
                      <a:pt x="33" y="90"/>
                    </a:lnTo>
                    <a:lnTo>
                      <a:pt x="24" y="97"/>
                    </a:lnTo>
                    <a:lnTo>
                      <a:pt x="17" y="104"/>
                    </a:lnTo>
                    <a:lnTo>
                      <a:pt x="9" y="111"/>
                    </a:lnTo>
                    <a:lnTo>
                      <a:pt x="4" y="118"/>
                    </a:lnTo>
                    <a:lnTo>
                      <a:pt x="0" y="123"/>
                    </a:lnTo>
                    <a:lnTo>
                      <a:pt x="40" y="198"/>
                    </a:lnTo>
                    <a:lnTo>
                      <a:pt x="57" y="201"/>
                    </a:lnTo>
                    <a:lnTo>
                      <a:pt x="73" y="205"/>
                    </a:lnTo>
                    <a:lnTo>
                      <a:pt x="78" y="207"/>
                    </a:lnTo>
                    <a:lnTo>
                      <a:pt x="84" y="210"/>
                    </a:lnTo>
                    <a:lnTo>
                      <a:pt x="89" y="214"/>
                    </a:lnTo>
                    <a:lnTo>
                      <a:pt x="93" y="218"/>
                    </a:lnTo>
                    <a:lnTo>
                      <a:pt x="96" y="222"/>
                    </a:lnTo>
                    <a:lnTo>
                      <a:pt x="99" y="226"/>
                    </a:lnTo>
                    <a:lnTo>
                      <a:pt x="101" y="231"/>
                    </a:lnTo>
                    <a:lnTo>
                      <a:pt x="103" y="237"/>
                    </a:lnTo>
                    <a:lnTo>
                      <a:pt x="106" y="251"/>
                    </a:lnTo>
                    <a:lnTo>
                      <a:pt x="106" y="265"/>
                    </a:lnTo>
                    <a:lnTo>
                      <a:pt x="106" y="272"/>
                    </a:lnTo>
                    <a:lnTo>
                      <a:pt x="103" y="279"/>
                    </a:lnTo>
                    <a:lnTo>
                      <a:pt x="100" y="286"/>
                    </a:lnTo>
                    <a:lnTo>
                      <a:pt x="96" y="293"/>
                    </a:lnTo>
                    <a:lnTo>
                      <a:pt x="93" y="301"/>
                    </a:lnTo>
                    <a:lnTo>
                      <a:pt x="89" y="307"/>
                    </a:lnTo>
                    <a:lnTo>
                      <a:pt x="87" y="314"/>
                    </a:lnTo>
                    <a:lnTo>
                      <a:pt x="86" y="321"/>
                    </a:lnTo>
                    <a:lnTo>
                      <a:pt x="88" y="330"/>
                    </a:lnTo>
                    <a:lnTo>
                      <a:pt x="91" y="343"/>
                    </a:lnTo>
                    <a:lnTo>
                      <a:pt x="98" y="359"/>
                    </a:lnTo>
                    <a:lnTo>
                      <a:pt x="107" y="374"/>
                    </a:lnTo>
                    <a:lnTo>
                      <a:pt x="112" y="382"/>
                    </a:lnTo>
                    <a:lnTo>
                      <a:pt x="117" y="389"/>
                    </a:lnTo>
                    <a:lnTo>
                      <a:pt x="122" y="395"/>
                    </a:lnTo>
                    <a:lnTo>
                      <a:pt x="129" y="401"/>
                    </a:lnTo>
                    <a:lnTo>
                      <a:pt x="134" y="406"/>
                    </a:lnTo>
                    <a:lnTo>
                      <a:pt x="141" y="411"/>
                    </a:lnTo>
                    <a:lnTo>
                      <a:pt x="146" y="413"/>
                    </a:lnTo>
                    <a:lnTo>
                      <a:pt x="153" y="414"/>
                    </a:lnTo>
                    <a:lnTo>
                      <a:pt x="174" y="410"/>
                    </a:lnTo>
                    <a:lnTo>
                      <a:pt x="215" y="398"/>
                    </a:lnTo>
                    <a:lnTo>
                      <a:pt x="236" y="392"/>
                    </a:lnTo>
                    <a:lnTo>
                      <a:pt x="255" y="385"/>
                    </a:lnTo>
                    <a:lnTo>
                      <a:pt x="262" y="381"/>
                    </a:lnTo>
                    <a:lnTo>
                      <a:pt x="267" y="377"/>
                    </a:lnTo>
                    <a:lnTo>
                      <a:pt x="271" y="374"/>
                    </a:lnTo>
                    <a:lnTo>
                      <a:pt x="273" y="370"/>
                    </a:lnTo>
                    <a:lnTo>
                      <a:pt x="271" y="361"/>
                    </a:lnTo>
                    <a:lnTo>
                      <a:pt x="269" y="352"/>
                    </a:lnTo>
                    <a:lnTo>
                      <a:pt x="267" y="343"/>
                    </a:lnTo>
                    <a:lnTo>
                      <a:pt x="263" y="335"/>
                    </a:lnTo>
                    <a:lnTo>
                      <a:pt x="253" y="321"/>
                    </a:lnTo>
                    <a:lnTo>
                      <a:pt x="242" y="309"/>
                    </a:lnTo>
                    <a:lnTo>
                      <a:pt x="231" y="295"/>
                    </a:lnTo>
                    <a:lnTo>
                      <a:pt x="222" y="282"/>
                    </a:lnTo>
                    <a:lnTo>
                      <a:pt x="218" y="274"/>
                    </a:lnTo>
                    <a:lnTo>
                      <a:pt x="215" y="266"/>
                    </a:lnTo>
                    <a:lnTo>
                      <a:pt x="213" y="257"/>
                    </a:lnTo>
                    <a:lnTo>
                      <a:pt x="212" y="247"/>
                    </a:lnTo>
                    <a:lnTo>
                      <a:pt x="213" y="229"/>
                    </a:lnTo>
                    <a:lnTo>
                      <a:pt x="215" y="215"/>
                    </a:lnTo>
                    <a:lnTo>
                      <a:pt x="219" y="202"/>
                    </a:lnTo>
                    <a:lnTo>
                      <a:pt x="222" y="190"/>
                    </a:lnTo>
                    <a:lnTo>
                      <a:pt x="226" y="178"/>
                    </a:lnTo>
                    <a:lnTo>
                      <a:pt x="230" y="167"/>
                    </a:lnTo>
                    <a:lnTo>
                      <a:pt x="232" y="155"/>
                    </a:lnTo>
                    <a:lnTo>
                      <a:pt x="232" y="142"/>
                    </a:lnTo>
                  </a:path>
                </a:pathLst>
              </a:custGeom>
              <a:grpFill/>
              <a:ln w="9525" cap="flat" cmpd="sng">
                <a:solidFill>
                  <a:srgbClr val="FFFFFF"/>
                </a:solidFill>
                <a:prstDash val="solid"/>
                <a:round/>
                <a:headEnd type="none" w="med" len="med"/>
                <a:tailEnd type="none" w="med" len="med"/>
              </a:ln>
              <a:effectLst/>
            </p:spPr>
            <p:txBody>
              <a:bodyPr/>
              <a:lstStyle/>
              <a:p>
                <a:endParaRPr lang="en-GB" sz="1637"/>
              </a:p>
            </p:txBody>
          </p:sp>
          <p:grpSp>
            <p:nvGrpSpPr>
              <p:cNvPr id="419" name="Group 164"/>
              <p:cNvGrpSpPr>
                <a:grpSpLocks/>
              </p:cNvGrpSpPr>
              <p:nvPr>
                <p:custDataLst>
                  <p:tags r:id="rId263"/>
                </p:custDataLst>
              </p:nvPr>
            </p:nvGrpSpPr>
            <p:grpSpPr bwMode="auto">
              <a:xfrm>
                <a:off x="1924869" y="3509111"/>
                <a:ext cx="353528" cy="453114"/>
                <a:chOff x="1486" y="2412"/>
                <a:chExt cx="244" cy="256"/>
              </a:xfrm>
              <a:grpFill/>
            </p:grpSpPr>
            <p:sp>
              <p:nvSpPr>
                <p:cNvPr id="467" name="Freeform 165"/>
                <p:cNvSpPr>
                  <a:spLocks/>
                </p:cNvSpPr>
                <p:nvPr/>
              </p:nvSpPr>
              <p:spPr bwMode="auto">
                <a:xfrm>
                  <a:off x="1639" y="2457"/>
                  <a:ext cx="18" cy="7"/>
                </a:xfrm>
                <a:custGeom>
                  <a:avLst/>
                  <a:gdLst>
                    <a:gd name="T0" fmla="*/ 0 w 54"/>
                    <a:gd name="T1" fmla="*/ 0 h 22"/>
                    <a:gd name="T2" fmla="*/ 0 w 54"/>
                    <a:gd name="T3" fmla="*/ 6 h 22"/>
                    <a:gd name="T4" fmla="*/ 2 w 54"/>
                    <a:gd name="T5" fmla="*/ 6 h 22"/>
                    <a:gd name="T6" fmla="*/ 3 w 54"/>
                    <a:gd name="T7" fmla="*/ 7 h 22"/>
                    <a:gd name="T8" fmla="*/ 5 w 54"/>
                    <a:gd name="T9" fmla="*/ 7 h 22"/>
                    <a:gd name="T10" fmla="*/ 7 w 54"/>
                    <a:gd name="T11" fmla="*/ 7 h 22"/>
                    <a:gd name="T12" fmla="*/ 8 w 54"/>
                    <a:gd name="T13" fmla="*/ 7 h 22"/>
                    <a:gd name="T14" fmla="*/ 9 w 54"/>
                    <a:gd name="T15" fmla="*/ 7 h 22"/>
                    <a:gd name="T16" fmla="*/ 10 w 54"/>
                    <a:gd name="T17" fmla="*/ 6 h 22"/>
                    <a:gd name="T18" fmla="*/ 11 w 54"/>
                    <a:gd name="T19" fmla="*/ 6 h 22"/>
                    <a:gd name="T20" fmla="*/ 12 w 54"/>
                    <a:gd name="T21" fmla="*/ 5 h 22"/>
                    <a:gd name="T22" fmla="*/ 14 w 54"/>
                    <a:gd name="T23" fmla="*/ 4 h 22"/>
                    <a:gd name="T24" fmla="*/ 16 w 54"/>
                    <a:gd name="T25" fmla="*/ 3 h 22"/>
                    <a:gd name="T26" fmla="*/ 18 w 54"/>
                    <a:gd name="T27" fmla="*/ 2 h 22"/>
                    <a:gd name="T28" fmla="*/ 12 w 54"/>
                    <a:gd name="T29" fmla="*/ 2 h 22"/>
                    <a:gd name="T30" fmla="*/ 7 w 54"/>
                    <a:gd name="T31" fmla="*/ 1 h 22"/>
                    <a:gd name="T32" fmla="*/ 2 w 54"/>
                    <a:gd name="T33" fmla="*/ 0 h 22"/>
                    <a:gd name="T34" fmla="*/ 0 w 54"/>
                    <a:gd name="T35" fmla="*/ 0 h 2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4" h="22">
                      <a:moveTo>
                        <a:pt x="0" y="0"/>
                      </a:moveTo>
                      <a:lnTo>
                        <a:pt x="0" y="18"/>
                      </a:lnTo>
                      <a:lnTo>
                        <a:pt x="6" y="20"/>
                      </a:lnTo>
                      <a:lnTo>
                        <a:pt x="10" y="21"/>
                      </a:lnTo>
                      <a:lnTo>
                        <a:pt x="14" y="22"/>
                      </a:lnTo>
                      <a:lnTo>
                        <a:pt x="20" y="22"/>
                      </a:lnTo>
                      <a:lnTo>
                        <a:pt x="23" y="22"/>
                      </a:lnTo>
                      <a:lnTo>
                        <a:pt x="27" y="21"/>
                      </a:lnTo>
                      <a:lnTo>
                        <a:pt x="31" y="20"/>
                      </a:lnTo>
                      <a:lnTo>
                        <a:pt x="33" y="18"/>
                      </a:lnTo>
                      <a:lnTo>
                        <a:pt x="35" y="16"/>
                      </a:lnTo>
                      <a:lnTo>
                        <a:pt x="41" y="12"/>
                      </a:lnTo>
                      <a:lnTo>
                        <a:pt x="47" y="8"/>
                      </a:lnTo>
                      <a:lnTo>
                        <a:pt x="54" y="6"/>
                      </a:lnTo>
                      <a:lnTo>
                        <a:pt x="36" y="5"/>
                      </a:lnTo>
                      <a:lnTo>
                        <a:pt x="20" y="3"/>
                      </a:lnTo>
                      <a:lnTo>
                        <a:pt x="6" y="1"/>
                      </a:lnTo>
                      <a:lnTo>
                        <a:pt x="0" y="0"/>
                      </a:lnTo>
                    </a:path>
                  </a:pathLst>
                </a:custGeom>
                <a:grpFill/>
                <a:ln w="9525" cap="flat" cmpd="sng">
                  <a:solidFill>
                    <a:srgbClr val="FFFFFF"/>
                  </a:solidFill>
                  <a:prstDash val="solid"/>
                  <a:round/>
                  <a:headEnd type="none" w="med" len="med"/>
                  <a:tailEnd type="none" w="med" len="med"/>
                </a:ln>
                <a:effectLst/>
              </p:spPr>
              <p:txBody>
                <a:bodyPr/>
                <a:lstStyle/>
                <a:p>
                  <a:endParaRPr lang="en-GB" sz="1637"/>
                </a:p>
              </p:txBody>
            </p:sp>
            <p:sp>
              <p:nvSpPr>
                <p:cNvPr id="468" name="Freeform 166"/>
                <p:cNvSpPr>
                  <a:spLocks/>
                </p:cNvSpPr>
                <p:nvPr/>
              </p:nvSpPr>
              <p:spPr bwMode="auto">
                <a:xfrm>
                  <a:off x="1526" y="2412"/>
                  <a:ext cx="2" cy="8"/>
                </a:xfrm>
                <a:custGeom>
                  <a:avLst/>
                  <a:gdLst>
                    <a:gd name="T0" fmla="*/ 2 w 6"/>
                    <a:gd name="T1" fmla="*/ 8 h 24"/>
                    <a:gd name="T2" fmla="*/ 2 w 6"/>
                    <a:gd name="T3" fmla="*/ 0 h 24"/>
                    <a:gd name="T4" fmla="*/ 1 w 6"/>
                    <a:gd name="T5" fmla="*/ 0 h 24"/>
                    <a:gd name="T6" fmla="*/ 0 w 6"/>
                    <a:gd name="T7" fmla="*/ 1 h 24"/>
                    <a:gd name="T8" fmla="*/ 0 w 6"/>
                    <a:gd name="T9" fmla="*/ 2 h 24"/>
                    <a:gd name="T10" fmla="*/ 0 w 6"/>
                    <a:gd name="T11" fmla="*/ 4 h 24"/>
                    <a:gd name="T12" fmla="*/ 0 w 6"/>
                    <a:gd name="T13" fmla="*/ 5 h 24"/>
                    <a:gd name="T14" fmla="*/ 0 w 6"/>
                    <a:gd name="T15" fmla="*/ 7 h 24"/>
                    <a:gd name="T16" fmla="*/ 1 w 6"/>
                    <a:gd name="T17" fmla="*/ 8 h 24"/>
                    <a:gd name="T18" fmla="*/ 2 w 6"/>
                    <a:gd name="T19" fmla="*/ 8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 h="24">
                      <a:moveTo>
                        <a:pt x="6" y="24"/>
                      </a:moveTo>
                      <a:lnTo>
                        <a:pt x="6" y="0"/>
                      </a:lnTo>
                      <a:lnTo>
                        <a:pt x="4" y="1"/>
                      </a:lnTo>
                      <a:lnTo>
                        <a:pt x="1" y="3"/>
                      </a:lnTo>
                      <a:lnTo>
                        <a:pt x="0" y="7"/>
                      </a:lnTo>
                      <a:lnTo>
                        <a:pt x="0" y="12"/>
                      </a:lnTo>
                      <a:lnTo>
                        <a:pt x="0" y="16"/>
                      </a:lnTo>
                      <a:lnTo>
                        <a:pt x="1" y="20"/>
                      </a:lnTo>
                      <a:lnTo>
                        <a:pt x="4" y="23"/>
                      </a:lnTo>
                      <a:lnTo>
                        <a:pt x="6" y="24"/>
                      </a:lnTo>
                    </a:path>
                  </a:pathLst>
                </a:custGeom>
                <a:grpFill/>
                <a:ln w="9525" cap="flat" cmpd="sng">
                  <a:solidFill>
                    <a:srgbClr val="FFFFFF"/>
                  </a:solidFill>
                  <a:prstDash val="solid"/>
                  <a:round/>
                  <a:headEnd type="none" w="med" len="med"/>
                  <a:tailEnd type="none" w="med" len="med"/>
                </a:ln>
                <a:effectLst/>
              </p:spPr>
              <p:txBody>
                <a:bodyPr/>
                <a:lstStyle/>
                <a:p>
                  <a:endParaRPr lang="en-GB" sz="1637"/>
                </a:p>
              </p:txBody>
            </p:sp>
            <p:sp>
              <p:nvSpPr>
                <p:cNvPr id="469" name="Freeform 167"/>
                <p:cNvSpPr>
                  <a:spLocks/>
                </p:cNvSpPr>
                <p:nvPr/>
              </p:nvSpPr>
              <p:spPr bwMode="auto">
                <a:xfrm>
                  <a:off x="1557" y="2438"/>
                  <a:ext cx="8" cy="4"/>
                </a:xfrm>
                <a:custGeom>
                  <a:avLst/>
                  <a:gdLst>
                    <a:gd name="T0" fmla="*/ 0 w 27"/>
                    <a:gd name="T1" fmla="*/ 4 h 12"/>
                    <a:gd name="T2" fmla="*/ 8 w 27"/>
                    <a:gd name="T3" fmla="*/ 4 h 12"/>
                    <a:gd name="T4" fmla="*/ 4 w 27"/>
                    <a:gd name="T5" fmla="*/ 0 h 12"/>
                    <a:gd name="T6" fmla="*/ 0 w 27"/>
                    <a:gd name="T7" fmla="*/ 4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7" h="12">
                      <a:moveTo>
                        <a:pt x="0" y="12"/>
                      </a:moveTo>
                      <a:lnTo>
                        <a:pt x="27" y="12"/>
                      </a:lnTo>
                      <a:lnTo>
                        <a:pt x="14" y="0"/>
                      </a:lnTo>
                      <a:lnTo>
                        <a:pt x="0" y="12"/>
                      </a:lnTo>
                    </a:path>
                  </a:pathLst>
                </a:custGeom>
                <a:grpFill/>
                <a:ln w="9525" cap="flat" cmpd="sng">
                  <a:solidFill>
                    <a:srgbClr val="FFFFFF"/>
                  </a:solidFill>
                  <a:prstDash val="solid"/>
                  <a:round/>
                  <a:headEnd type="none" w="med" len="med"/>
                  <a:tailEnd type="none" w="med" len="med"/>
                </a:ln>
                <a:effectLst/>
              </p:spPr>
              <p:txBody>
                <a:bodyPr/>
                <a:lstStyle/>
                <a:p>
                  <a:endParaRPr lang="en-GB" sz="1637"/>
                </a:p>
              </p:txBody>
            </p:sp>
            <p:sp>
              <p:nvSpPr>
                <p:cNvPr id="470" name="Freeform 168"/>
                <p:cNvSpPr>
                  <a:spLocks/>
                </p:cNvSpPr>
                <p:nvPr/>
              </p:nvSpPr>
              <p:spPr bwMode="auto">
                <a:xfrm>
                  <a:off x="1486" y="2444"/>
                  <a:ext cx="244" cy="224"/>
                </a:xfrm>
                <a:custGeom>
                  <a:avLst/>
                  <a:gdLst>
                    <a:gd name="T0" fmla="*/ 3 w 743"/>
                    <a:gd name="T1" fmla="*/ 69 h 672"/>
                    <a:gd name="T2" fmla="*/ 16 w 743"/>
                    <a:gd name="T3" fmla="*/ 89 h 672"/>
                    <a:gd name="T4" fmla="*/ 40 w 743"/>
                    <a:gd name="T5" fmla="*/ 98 h 672"/>
                    <a:gd name="T6" fmla="*/ 55 w 743"/>
                    <a:gd name="T7" fmla="*/ 105 h 672"/>
                    <a:gd name="T8" fmla="*/ 65 w 743"/>
                    <a:gd name="T9" fmla="*/ 115 h 672"/>
                    <a:gd name="T10" fmla="*/ 97 w 743"/>
                    <a:gd name="T11" fmla="*/ 126 h 672"/>
                    <a:gd name="T12" fmla="*/ 94 w 743"/>
                    <a:gd name="T13" fmla="*/ 140 h 672"/>
                    <a:gd name="T14" fmla="*/ 102 w 743"/>
                    <a:gd name="T15" fmla="*/ 171 h 672"/>
                    <a:gd name="T16" fmla="*/ 100 w 743"/>
                    <a:gd name="T17" fmla="*/ 178 h 672"/>
                    <a:gd name="T18" fmla="*/ 99 w 743"/>
                    <a:gd name="T19" fmla="*/ 189 h 672"/>
                    <a:gd name="T20" fmla="*/ 108 w 743"/>
                    <a:gd name="T21" fmla="*/ 206 h 672"/>
                    <a:gd name="T22" fmla="*/ 122 w 743"/>
                    <a:gd name="T23" fmla="*/ 220 h 672"/>
                    <a:gd name="T24" fmla="*/ 136 w 743"/>
                    <a:gd name="T25" fmla="*/ 224 h 672"/>
                    <a:gd name="T26" fmla="*/ 153 w 743"/>
                    <a:gd name="T27" fmla="*/ 218 h 672"/>
                    <a:gd name="T28" fmla="*/ 166 w 743"/>
                    <a:gd name="T29" fmla="*/ 206 h 672"/>
                    <a:gd name="T30" fmla="*/ 172 w 743"/>
                    <a:gd name="T31" fmla="*/ 195 h 672"/>
                    <a:gd name="T32" fmla="*/ 157 w 743"/>
                    <a:gd name="T33" fmla="*/ 156 h 672"/>
                    <a:gd name="T34" fmla="*/ 189 w 743"/>
                    <a:gd name="T35" fmla="*/ 167 h 672"/>
                    <a:gd name="T36" fmla="*/ 197 w 743"/>
                    <a:gd name="T37" fmla="*/ 159 h 672"/>
                    <a:gd name="T38" fmla="*/ 214 w 743"/>
                    <a:gd name="T39" fmla="*/ 148 h 672"/>
                    <a:gd name="T40" fmla="*/ 220 w 743"/>
                    <a:gd name="T41" fmla="*/ 147 h 672"/>
                    <a:gd name="T42" fmla="*/ 225 w 743"/>
                    <a:gd name="T43" fmla="*/ 145 h 672"/>
                    <a:gd name="T44" fmla="*/ 219 w 743"/>
                    <a:gd name="T45" fmla="*/ 109 h 672"/>
                    <a:gd name="T46" fmla="*/ 233 w 743"/>
                    <a:gd name="T47" fmla="*/ 98 h 672"/>
                    <a:gd name="T48" fmla="*/ 234 w 743"/>
                    <a:gd name="T49" fmla="*/ 84 h 672"/>
                    <a:gd name="T50" fmla="*/ 238 w 743"/>
                    <a:gd name="T51" fmla="*/ 78 h 672"/>
                    <a:gd name="T52" fmla="*/ 239 w 743"/>
                    <a:gd name="T53" fmla="*/ 71 h 672"/>
                    <a:gd name="T54" fmla="*/ 230 w 743"/>
                    <a:gd name="T55" fmla="*/ 65 h 672"/>
                    <a:gd name="T56" fmla="*/ 225 w 743"/>
                    <a:gd name="T57" fmla="*/ 56 h 672"/>
                    <a:gd name="T58" fmla="*/ 220 w 743"/>
                    <a:gd name="T59" fmla="*/ 48 h 672"/>
                    <a:gd name="T60" fmla="*/ 210 w 743"/>
                    <a:gd name="T61" fmla="*/ 51 h 672"/>
                    <a:gd name="T62" fmla="*/ 207 w 743"/>
                    <a:gd name="T63" fmla="*/ 45 h 672"/>
                    <a:gd name="T64" fmla="*/ 198 w 743"/>
                    <a:gd name="T65" fmla="*/ 38 h 672"/>
                    <a:gd name="T66" fmla="*/ 192 w 743"/>
                    <a:gd name="T67" fmla="*/ 32 h 672"/>
                    <a:gd name="T68" fmla="*/ 176 w 743"/>
                    <a:gd name="T69" fmla="*/ 25 h 672"/>
                    <a:gd name="T70" fmla="*/ 161 w 743"/>
                    <a:gd name="T71" fmla="*/ 29 h 672"/>
                    <a:gd name="T72" fmla="*/ 155 w 743"/>
                    <a:gd name="T73" fmla="*/ 34 h 672"/>
                    <a:gd name="T74" fmla="*/ 143 w 743"/>
                    <a:gd name="T75" fmla="*/ 39 h 672"/>
                    <a:gd name="T76" fmla="*/ 137 w 743"/>
                    <a:gd name="T77" fmla="*/ 35 h 672"/>
                    <a:gd name="T78" fmla="*/ 129 w 743"/>
                    <a:gd name="T79" fmla="*/ 34 h 672"/>
                    <a:gd name="T80" fmla="*/ 118 w 743"/>
                    <a:gd name="T81" fmla="*/ 28 h 672"/>
                    <a:gd name="T82" fmla="*/ 104 w 743"/>
                    <a:gd name="T83" fmla="*/ 28 h 672"/>
                    <a:gd name="T84" fmla="*/ 96 w 743"/>
                    <a:gd name="T85" fmla="*/ 31 h 672"/>
                    <a:gd name="T86" fmla="*/ 83 w 743"/>
                    <a:gd name="T87" fmla="*/ 31 h 672"/>
                    <a:gd name="T88" fmla="*/ 77 w 743"/>
                    <a:gd name="T89" fmla="*/ 17 h 672"/>
                    <a:gd name="T90" fmla="*/ 59 w 743"/>
                    <a:gd name="T91" fmla="*/ 7 h 672"/>
                    <a:gd name="T92" fmla="*/ 49 w 743"/>
                    <a:gd name="T93" fmla="*/ 3 h 672"/>
                    <a:gd name="T94" fmla="*/ 45 w 743"/>
                    <a:gd name="T95" fmla="*/ 15 h 672"/>
                    <a:gd name="T96" fmla="*/ 39 w 743"/>
                    <a:gd name="T97" fmla="*/ 23 h 672"/>
                    <a:gd name="T98" fmla="*/ 39 w 743"/>
                    <a:gd name="T99" fmla="*/ 46 h 672"/>
                    <a:gd name="T100" fmla="*/ 34 w 743"/>
                    <a:gd name="T101" fmla="*/ 65 h 672"/>
                    <a:gd name="T102" fmla="*/ 29 w 743"/>
                    <a:gd name="T103" fmla="*/ 63 h 672"/>
                    <a:gd name="T104" fmla="*/ 23 w 743"/>
                    <a:gd name="T105" fmla="*/ 61 h 672"/>
                    <a:gd name="T106" fmla="*/ 19 w 743"/>
                    <a:gd name="T107" fmla="*/ 56 h 672"/>
                    <a:gd name="T108" fmla="*/ 17 w 743"/>
                    <a:gd name="T109" fmla="*/ 40 h 672"/>
                    <a:gd name="T110" fmla="*/ 24 w 743"/>
                    <a:gd name="T111" fmla="*/ 20 h 672"/>
                    <a:gd name="T112" fmla="*/ 32 w 743"/>
                    <a:gd name="T113" fmla="*/ 5 h 672"/>
                    <a:gd name="T114" fmla="*/ 17 w 743"/>
                    <a:gd name="T115" fmla="*/ 10 h 672"/>
                    <a:gd name="T116" fmla="*/ 5 w 743"/>
                    <a:gd name="T117" fmla="*/ 23 h 672"/>
                    <a:gd name="T118" fmla="*/ 0 w 743"/>
                    <a:gd name="T119" fmla="*/ 40 h 67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43" h="672">
                      <a:moveTo>
                        <a:pt x="0" y="143"/>
                      </a:moveTo>
                      <a:lnTo>
                        <a:pt x="0" y="160"/>
                      </a:lnTo>
                      <a:lnTo>
                        <a:pt x="2" y="177"/>
                      </a:lnTo>
                      <a:lnTo>
                        <a:pt x="5" y="194"/>
                      </a:lnTo>
                      <a:lnTo>
                        <a:pt x="9" y="208"/>
                      </a:lnTo>
                      <a:lnTo>
                        <a:pt x="15" y="222"/>
                      </a:lnTo>
                      <a:lnTo>
                        <a:pt x="22" y="235"/>
                      </a:lnTo>
                      <a:lnTo>
                        <a:pt x="29" y="246"/>
                      </a:lnTo>
                      <a:lnTo>
                        <a:pt x="39" y="257"/>
                      </a:lnTo>
                      <a:lnTo>
                        <a:pt x="50" y="266"/>
                      </a:lnTo>
                      <a:lnTo>
                        <a:pt x="61" y="274"/>
                      </a:lnTo>
                      <a:lnTo>
                        <a:pt x="74" y="280"/>
                      </a:lnTo>
                      <a:lnTo>
                        <a:pt x="89" y="286"/>
                      </a:lnTo>
                      <a:lnTo>
                        <a:pt x="104" y="291"/>
                      </a:lnTo>
                      <a:lnTo>
                        <a:pt x="121" y="294"/>
                      </a:lnTo>
                      <a:lnTo>
                        <a:pt x="139" y="296"/>
                      </a:lnTo>
                      <a:lnTo>
                        <a:pt x="159" y="297"/>
                      </a:lnTo>
                      <a:lnTo>
                        <a:pt x="160" y="302"/>
                      </a:lnTo>
                      <a:lnTo>
                        <a:pt x="162" y="309"/>
                      </a:lnTo>
                      <a:lnTo>
                        <a:pt x="166" y="316"/>
                      </a:lnTo>
                      <a:lnTo>
                        <a:pt x="171" y="323"/>
                      </a:lnTo>
                      <a:lnTo>
                        <a:pt x="177" y="331"/>
                      </a:lnTo>
                      <a:lnTo>
                        <a:pt x="184" y="337"/>
                      </a:lnTo>
                      <a:lnTo>
                        <a:pt x="191" y="342"/>
                      </a:lnTo>
                      <a:lnTo>
                        <a:pt x="198" y="346"/>
                      </a:lnTo>
                      <a:lnTo>
                        <a:pt x="311" y="346"/>
                      </a:lnTo>
                      <a:lnTo>
                        <a:pt x="308" y="357"/>
                      </a:lnTo>
                      <a:lnTo>
                        <a:pt x="305" y="365"/>
                      </a:lnTo>
                      <a:lnTo>
                        <a:pt x="300" y="372"/>
                      </a:lnTo>
                      <a:lnTo>
                        <a:pt x="296" y="379"/>
                      </a:lnTo>
                      <a:lnTo>
                        <a:pt x="292" y="385"/>
                      </a:lnTo>
                      <a:lnTo>
                        <a:pt x="288" y="391"/>
                      </a:lnTo>
                      <a:lnTo>
                        <a:pt x="286" y="399"/>
                      </a:lnTo>
                      <a:lnTo>
                        <a:pt x="285" y="408"/>
                      </a:lnTo>
                      <a:lnTo>
                        <a:pt x="286" y="420"/>
                      </a:lnTo>
                      <a:lnTo>
                        <a:pt x="289" y="435"/>
                      </a:lnTo>
                      <a:lnTo>
                        <a:pt x="293" y="451"/>
                      </a:lnTo>
                      <a:lnTo>
                        <a:pt x="298" y="467"/>
                      </a:lnTo>
                      <a:lnTo>
                        <a:pt x="307" y="495"/>
                      </a:lnTo>
                      <a:lnTo>
                        <a:pt x="311" y="513"/>
                      </a:lnTo>
                      <a:lnTo>
                        <a:pt x="310" y="517"/>
                      </a:lnTo>
                      <a:lnTo>
                        <a:pt x="309" y="522"/>
                      </a:lnTo>
                      <a:lnTo>
                        <a:pt x="307" y="526"/>
                      </a:lnTo>
                      <a:lnTo>
                        <a:pt x="305" y="531"/>
                      </a:lnTo>
                      <a:lnTo>
                        <a:pt x="303" y="535"/>
                      </a:lnTo>
                      <a:lnTo>
                        <a:pt x="300" y="540"/>
                      </a:lnTo>
                      <a:lnTo>
                        <a:pt x="298" y="544"/>
                      </a:lnTo>
                      <a:lnTo>
                        <a:pt x="298" y="549"/>
                      </a:lnTo>
                      <a:lnTo>
                        <a:pt x="299" y="557"/>
                      </a:lnTo>
                      <a:lnTo>
                        <a:pt x="302" y="566"/>
                      </a:lnTo>
                      <a:lnTo>
                        <a:pt x="305" y="577"/>
                      </a:lnTo>
                      <a:lnTo>
                        <a:pt x="309" y="587"/>
                      </a:lnTo>
                      <a:lnTo>
                        <a:pt x="315" y="597"/>
                      </a:lnTo>
                      <a:lnTo>
                        <a:pt x="321" y="607"/>
                      </a:lnTo>
                      <a:lnTo>
                        <a:pt x="328" y="617"/>
                      </a:lnTo>
                      <a:lnTo>
                        <a:pt x="337" y="627"/>
                      </a:lnTo>
                      <a:lnTo>
                        <a:pt x="344" y="637"/>
                      </a:lnTo>
                      <a:lnTo>
                        <a:pt x="353" y="645"/>
                      </a:lnTo>
                      <a:lnTo>
                        <a:pt x="362" y="653"/>
                      </a:lnTo>
                      <a:lnTo>
                        <a:pt x="371" y="659"/>
                      </a:lnTo>
                      <a:lnTo>
                        <a:pt x="379" y="664"/>
                      </a:lnTo>
                      <a:lnTo>
                        <a:pt x="388" y="669"/>
                      </a:lnTo>
                      <a:lnTo>
                        <a:pt x="397" y="671"/>
                      </a:lnTo>
                      <a:lnTo>
                        <a:pt x="405" y="672"/>
                      </a:lnTo>
                      <a:lnTo>
                        <a:pt x="415" y="671"/>
                      </a:lnTo>
                      <a:lnTo>
                        <a:pt x="424" y="670"/>
                      </a:lnTo>
                      <a:lnTo>
                        <a:pt x="435" y="667"/>
                      </a:lnTo>
                      <a:lnTo>
                        <a:pt x="445" y="663"/>
                      </a:lnTo>
                      <a:lnTo>
                        <a:pt x="455" y="658"/>
                      </a:lnTo>
                      <a:lnTo>
                        <a:pt x="465" y="653"/>
                      </a:lnTo>
                      <a:lnTo>
                        <a:pt x="475" y="647"/>
                      </a:lnTo>
                      <a:lnTo>
                        <a:pt x="484" y="641"/>
                      </a:lnTo>
                      <a:lnTo>
                        <a:pt x="493" y="634"/>
                      </a:lnTo>
                      <a:lnTo>
                        <a:pt x="500" y="627"/>
                      </a:lnTo>
                      <a:lnTo>
                        <a:pt x="507" y="619"/>
                      </a:lnTo>
                      <a:lnTo>
                        <a:pt x="512" y="612"/>
                      </a:lnTo>
                      <a:lnTo>
                        <a:pt x="518" y="605"/>
                      </a:lnTo>
                      <a:lnTo>
                        <a:pt x="521" y="599"/>
                      </a:lnTo>
                      <a:lnTo>
                        <a:pt x="523" y="592"/>
                      </a:lnTo>
                      <a:lnTo>
                        <a:pt x="524" y="586"/>
                      </a:lnTo>
                      <a:lnTo>
                        <a:pt x="518" y="574"/>
                      </a:lnTo>
                      <a:lnTo>
                        <a:pt x="504" y="551"/>
                      </a:lnTo>
                      <a:lnTo>
                        <a:pt x="487" y="528"/>
                      </a:lnTo>
                      <a:lnTo>
                        <a:pt x="477" y="513"/>
                      </a:lnTo>
                      <a:lnTo>
                        <a:pt x="477" y="469"/>
                      </a:lnTo>
                      <a:lnTo>
                        <a:pt x="504" y="469"/>
                      </a:lnTo>
                      <a:lnTo>
                        <a:pt x="518" y="476"/>
                      </a:lnTo>
                      <a:lnTo>
                        <a:pt x="541" y="484"/>
                      </a:lnTo>
                      <a:lnTo>
                        <a:pt x="564" y="493"/>
                      </a:lnTo>
                      <a:lnTo>
                        <a:pt x="577" y="500"/>
                      </a:lnTo>
                      <a:lnTo>
                        <a:pt x="578" y="496"/>
                      </a:lnTo>
                      <a:lnTo>
                        <a:pt x="580" y="493"/>
                      </a:lnTo>
                      <a:lnTo>
                        <a:pt x="584" y="489"/>
                      </a:lnTo>
                      <a:lnTo>
                        <a:pt x="589" y="485"/>
                      </a:lnTo>
                      <a:lnTo>
                        <a:pt x="600" y="477"/>
                      </a:lnTo>
                      <a:lnTo>
                        <a:pt x="614" y="469"/>
                      </a:lnTo>
                      <a:lnTo>
                        <a:pt x="629" y="461"/>
                      </a:lnTo>
                      <a:lnTo>
                        <a:pt x="642" y="453"/>
                      </a:lnTo>
                      <a:lnTo>
                        <a:pt x="647" y="449"/>
                      </a:lnTo>
                      <a:lnTo>
                        <a:pt x="652" y="445"/>
                      </a:lnTo>
                      <a:lnTo>
                        <a:pt x="655" y="442"/>
                      </a:lnTo>
                      <a:lnTo>
                        <a:pt x="657" y="438"/>
                      </a:lnTo>
                      <a:lnTo>
                        <a:pt x="662" y="440"/>
                      </a:lnTo>
                      <a:lnTo>
                        <a:pt x="666" y="441"/>
                      </a:lnTo>
                      <a:lnTo>
                        <a:pt x="669" y="441"/>
                      </a:lnTo>
                      <a:lnTo>
                        <a:pt x="674" y="441"/>
                      </a:lnTo>
                      <a:lnTo>
                        <a:pt x="677" y="440"/>
                      </a:lnTo>
                      <a:lnTo>
                        <a:pt x="679" y="439"/>
                      </a:lnTo>
                      <a:lnTo>
                        <a:pt x="681" y="437"/>
                      </a:lnTo>
                      <a:lnTo>
                        <a:pt x="685" y="435"/>
                      </a:lnTo>
                      <a:lnTo>
                        <a:pt x="691" y="424"/>
                      </a:lnTo>
                      <a:lnTo>
                        <a:pt x="697" y="414"/>
                      </a:lnTo>
                      <a:lnTo>
                        <a:pt x="657" y="339"/>
                      </a:lnTo>
                      <a:lnTo>
                        <a:pt x="661" y="334"/>
                      </a:lnTo>
                      <a:lnTo>
                        <a:pt x="666" y="327"/>
                      </a:lnTo>
                      <a:lnTo>
                        <a:pt x="674" y="320"/>
                      </a:lnTo>
                      <a:lnTo>
                        <a:pt x="681" y="313"/>
                      </a:lnTo>
                      <a:lnTo>
                        <a:pt x="690" y="306"/>
                      </a:lnTo>
                      <a:lnTo>
                        <a:pt x="700" y="299"/>
                      </a:lnTo>
                      <a:lnTo>
                        <a:pt x="709" y="294"/>
                      </a:lnTo>
                      <a:lnTo>
                        <a:pt x="717" y="291"/>
                      </a:lnTo>
                      <a:lnTo>
                        <a:pt x="715" y="275"/>
                      </a:lnTo>
                      <a:lnTo>
                        <a:pt x="714" y="263"/>
                      </a:lnTo>
                      <a:lnTo>
                        <a:pt x="713" y="258"/>
                      </a:lnTo>
                      <a:lnTo>
                        <a:pt x="714" y="253"/>
                      </a:lnTo>
                      <a:lnTo>
                        <a:pt x="714" y="248"/>
                      </a:lnTo>
                      <a:lnTo>
                        <a:pt x="717" y="241"/>
                      </a:lnTo>
                      <a:lnTo>
                        <a:pt x="720" y="241"/>
                      </a:lnTo>
                      <a:lnTo>
                        <a:pt x="723" y="239"/>
                      </a:lnTo>
                      <a:lnTo>
                        <a:pt x="726" y="235"/>
                      </a:lnTo>
                      <a:lnTo>
                        <a:pt x="730" y="231"/>
                      </a:lnTo>
                      <a:lnTo>
                        <a:pt x="737" y="223"/>
                      </a:lnTo>
                      <a:lnTo>
                        <a:pt x="743" y="216"/>
                      </a:lnTo>
                      <a:lnTo>
                        <a:pt x="735" y="215"/>
                      </a:lnTo>
                      <a:lnTo>
                        <a:pt x="728" y="213"/>
                      </a:lnTo>
                      <a:lnTo>
                        <a:pt x="721" y="210"/>
                      </a:lnTo>
                      <a:lnTo>
                        <a:pt x="714" y="207"/>
                      </a:lnTo>
                      <a:lnTo>
                        <a:pt x="709" y="204"/>
                      </a:lnTo>
                      <a:lnTo>
                        <a:pt x="703" y="200"/>
                      </a:lnTo>
                      <a:lnTo>
                        <a:pt x="700" y="196"/>
                      </a:lnTo>
                      <a:lnTo>
                        <a:pt x="696" y="191"/>
                      </a:lnTo>
                      <a:lnTo>
                        <a:pt x="692" y="186"/>
                      </a:lnTo>
                      <a:lnTo>
                        <a:pt x="690" y="181"/>
                      </a:lnTo>
                      <a:lnTo>
                        <a:pt x="688" y="174"/>
                      </a:lnTo>
                      <a:lnTo>
                        <a:pt x="686" y="168"/>
                      </a:lnTo>
                      <a:lnTo>
                        <a:pt x="684" y="156"/>
                      </a:lnTo>
                      <a:lnTo>
                        <a:pt x="684" y="143"/>
                      </a:lnTo>
                      <a:lnTo>
                        <a:pt x="679" y="143"/>
                      </a:lnTo>
                      <a:lnTo>
                        <a:pt x="675" y="144"/>
                      </a:lnTo>
                      <a:lnTo>
                        <a:pt x="670" y="145"/>
                      </a:lnTo>
                      <a:lnTo>
                        <a:pt x="667" y="146"/>
                      </a:lnTo>
                      <a:lnTo>
                        <a:pt x="662" y="150"/>
                      </a:lnTo>
                      <a:lnTo>
                        <a:pt x="657" y="155"/>
                      </a:lnTo>
                      <a:lnTo>
                        <a:pt x="646" y="154"/>
                      </a:lnTo>
                      <a:lnTo>
                        <a:pt x="639" y="152"/>
                      </a:lnTo>
                      <a:lnTo>
                        <a:pt x="636" y="150"/>
                      </a:lnTo>
                      <a:lnTo>
                        <a:pt x="634" y="148"/>
                      </a:lnTo>
                      <a:lnTo>
                        <a:pt x="632" y="146"/>
                      </a:lnTo>
                      <a:lnTo>
                        <a:pt x="631" y="144"/>
                      </a:lnTo>
                      <a:lnTo>
                        <a:pt x="630" y="134"/>
                      </a:lnTo>
                      <a:lnTo>
                        <a:pt x="630" y="124"/>
                      </a:lnTo>
                      <a:lnTo>
                        <a:pt x="624" y="124"/>
                      </a:lnTo>
                      <a:lnTo>
                        <a:pt x="618" y="121"/>
                      </a:lnTo>
                      <a:lnTo>
                        <a:pt x="610" y="119"/>
                      </a:lnTo>
                      <a:lnTo>
                        <a:pt x="602" y="115"/>
                      </a:lnTo>
                      <a:lnTo>
                        <a:pt x="595" y="111"/>
                      </a:lnTo>
                      <a:lnTo>
                        <a:pt x="589" y="106"/>
                      </a:lnTo>
                      <a:lnTo>
                        <a:pt x="587" y="103"/>
                      </a:lnTo>
                      <a:lnTo>
                        <a:pt x="585" y="100"/>
                      </a:lnTo>
                      <a:lnTo>
                        <a:pt x="584" y="97"/>
                      </a:lnTo>
                      <a:lnTo>
                        <a:pt x="584" y="93"/>
                      </a:lnTo>
                      <a:lnTo>
                        <a:pt x="587" y="83"/>
                      </a:lnTo>
                      <a:lnTo>
                        <a:pt x="590" y="69"/>
                      </a:lnTo>
                      <a:lnTo>
                        <a:pt x="544" y="69"/>
                      </a:lnTo>
                      <a:lnTo>
                        <a:pt x="536" y="75"/>
                      </a:lnTo>
                      <a:lnTo>
                        <a:pt x="530" y="80"/>
                      </a:lnTo>
                      <a:lnTo>
                        <a:pt x="523" y="83"/>
                      </a:lnTo>
                      <a:lnTo>
                        <a:pt x="518" y="85"/>
                      </a:lnTo>
                      <a:lnTo>
                        <a:pt x="505" y="87"/>
                      </a:lnTo>
                      <a:lnTo>
                        <a:pt x="490" y="87"/>
                      </a:lnTo>
                      <a:lnTo>
                        <a:pt x="485" y="88"/>
                      </a:lnTo>
                      <a:lnTo>
                        <a:pt x="478" y="92"/>
                      </a:lnTo>
                      <a:lnTo>
                        <a:pt x="475" y="94"/>
                      </a:lnTo>
                      <a:lnTo>
                        <a:pt x="473" y="97"/>
                      </a:lnTo>
                      <a:lnTo>
                        <a:pt x="472" y="101"/>
                      </a:lnTo>
                      <a:lnTo>
                        <a:pt x="471" y="105"/>
                      </a:lnTo>
                      <a:lnTo>
                        <a:pt x="457" y="111"/>
                      </a:lnTo>
                      <a:lnTo>
                        <a:pt x="444" y="117"/>
                      </a:lnTo>
                      <a:lnTo>
                        <a:pt x="439" y="117"/>
                      </a:lnTo>
                      <a:lnTo>
                        <a:pt x="434" y="116"/>
                      </a:lnTo>
                      <a:lnTo>
                        <a:pt x="430" y="115"/>
                      </a:lnTo>
                      <a:lnTo>
                        <a:pt x="426" y="113"/>
                      </a:lnTo>
                      <a:lnTo>
                        <a:pt x="422" y="110"/>
                      </a:lnTo>
                      <a:lnTo>
                        <a:pt x="420" y="107"/>
                      </a:lnTo>
                      <a:lnTo>
                        <a:pt x="418" y="104"/>
                      </a:lnTo>
                      <a:lnTo>
                        <a:pt x="418" y="99"/>
                      </a:lnTo>
                      <a:lnTo>
                        <a:pt x="410" y="103"/>
                      </a:lnTo>
                      <a:lnTo>
                        <a:pt x="404" y="104"/>
                      </a:lnTo>
                      <a:lnTo>
                        <a:pt x="398" y="104"/>
                      </a:lnTo>
                      <a:lnTo>
                        <a:pt x="393" y="102"/>
                      </a:lnTo>
                      <a:lnTo>
                        <a:pt x="388" y="98"/>
                      </a:lnTo>
                      <a:lnTo>
                        <a:pt x="384" y="93"/>
                      </a:lnTo>
                      <a:lnTo>
                        <a:pt x="381" y="88"/>
                      </a:lnTo>
                      <a:lnTo>
                        <a:pt x="378" y="81"/>
                      </a:lnTo>
                      <a:lnTo>
                        <a:pt x="359" y="83"/>
                      </a:lnTo>
                      <a:lnTo>
                        <a:pt x="340" y="86"/>
                      </a:lnTo>
                      <a:lnTo>
                        <a:pt x="331" y="86"/>
                      </a:lnTo>
                      <a:lnTo>
                        <a:pt x="323" y="86"/>
                      </a:lnTo>
                      <a:lnTo>
                        <a:pt x="320" y="86"/>
                      </a:lnTo>
                      <a:lnTo>
                        <a:pt x="317" y="85"/>
                      </a:lnTo>
                      <a:lnTo>
                        <a:pt x="314" y="83"/>
                      </a:lnTo>
                      <a:lnTo>
                        <a:pt x="311" y="81"/>
                      </a:lnTo>
                      <a:lnTo>
                        <a:pt x="305" y="86"/>
                      </a:lnTo>
                      <a:lnTo>
                        <a:pt x="298" y="89"/>
                      </a:lnTo>
                      <a:lnTo>
                        <a:pt x="291" y="92"/>
                      </a:lnTo>
                      <a:lnTo>
                        <a:pt x="285" y="93"/>
                      </a:lnTo>
                      <a:lnTo>
                        <a:pt x="275" y="93"/>
                      </a:lnTo>
                      <a:lnTo>
                        <a:pt x="265" y="93"/>
                      </a:lnTo>
                      <a:lnTo>
                        <a:pt x="258" y="93"/>
                      </a:lnTo>
                      <a:lnTo>
                        <a:pt x="252" y="93"/>
                      </a:lnTo>
                      <a:lnTo>
                        <a:pt x="251" y="83"/>
                      </a:lnTo>
                      <a:lnTo>
                        <a:pt x="249" y="73"/>
                      </a:lnTo>
                      <a:lnTo>
                        <a:pt x="244" y="65"/>
                      </a:lnTo>
                      <a:lnTo>
                        <a:pt x="240" y="58"/>
                      </a:lnTo>
                      <a:lnTo>
                        <a:pt x="233" y="52"/>
                      </a:lnTo>
                      <a:lnTo>
                        <a:pt x="227" y="47"/>
                      </a:lnTo>
                      <a:lnTo>
                        <a:pt x="219" y="42"/>
                      </a:lnTo>
                      <a:lnTo>
                        <a:pt x="211" y="38"/>
                      </a:lnTo>
                      <a:lnTo>
                        <a:pt x="195" y="30"/>
                      </a:lnTo>
                      <a:lnTo>
                        <a:pt x="179" y="22"/>
                      </a:lnTo>
                      <a:lnTo>
                        <a:pt x="171" y="18"/>
                      </a:lnTo>
                      <a:lnTo>
                        <a:pt x="164" y="13"/>
                      </a:lnTo>
                      <a:lnTo>
                        <a:pt x="158" y="7"/>
                      </a:lnTo>
                      <a:lnTo>
                        <a:pt x="152" y="0"/>
                      </a:lnTo>
                      <a:lnTo>
                        <a:pt x="148" y="10"/>
                      </a:lnTo>
                      <a:lnTo>
                        <a:pt x="146" y="20"/>
                      </a:lnTo>
                      <a:lnTo>
                        <a:pt x="146" y="31"/>
                      </a:lnTo>
                      <a:lnTo>
                        <a:pt x="146" y="44"/>
                      </a:lnTo>
                      <a:lnTo>
                        <a:pt x="140" y="44"/>
                      </a:lnTo>
                      <a:lnTo>
                        <a:pt x="136" y="46"/>
                      </a:lnTo>
                      <a:lnTo>
                        <a:pt x="131" y="49"/>
                      </a:lnTo>
                      <a:lnTo>
                        <a:pt x="127" y="52"/>
                      </a:lnTo>
                      <a:lnTo>
                        <a:pt x="124" y="57"/>
                      </a:lnTo>
                      <a:lnTo>
                        <a:pt x="121" y="62"/>
                      </a:lnTo>
                      <a:lnTo>
                        <a:pt x="119" y="69"/>
                      </a:lnTo>
                      <a:lnTo>
                        <a:pt x="119" y="75"/>
                      </a:lnTo>
                      <a:lnTo>
                        <a:pt x="119" y="96"/>
                      </a:lnTo>
                      <a:lnTo>
                        <a:pt x="119" y="108"/>
                      </a:lnTo>
                      <a:lnTo>
                        <a:pt x="119" y="118"/>
                      </a:lnTo>
                      <a:lnTo>
                        <a:pt x="119" y="137"/>
                      </a:lnTo>
                      <a:lnTo>
                        <a:pt x="116" y="150"/>
                      </a:lnTo>
                      <a:lnTo>
                        <a:pt x="109" y="169"/>
                      </a:lnTo>
                      <a:lnTo>
                        <a:pt x="107" y="180"/>
                      </a:lnTo>
                      <a:lnTo>
                        <a:pt x="105" y="188"/>
                      </a:lnTo>
                      <a:lnTo>
                        <a:pt x="104" y="194"/>
                      </a:lnTo>
                      <a:lnTo>
                        <a:pt x="105" y="198"/>
                      </a:lnTo>
                      <a:lnTo>
                        <a:pt x="99" y="197"/>
                      </a:lnTo>
                      <a:lnTo>
                        <a:pt x="93" y="194"/>
                      </a:lnTo>
                      <a:lnTo>
                        <a:pt x="90" y="193"/>
                      </a:lnTo>
                      <a:lnTo>
                        <a:pt x="87" y="190"/>
                      </a:lnTo>
                      <a:lnTo>
                        <a:pt x="86" y="188"/>
                      </a:lnTo>
                      <a:lnTo>
                        <a:pt x="85" y="186"/>
                      </a:lnTo>
                      <a:lnTo>
                        <a:pt x="80" y="186"/>
                      </a:lnTo>
                      <a:lnTo>
                        <a:pt x="74" y="185"/>
                      </a:lnTo>
                      <a:lnTo>
                        <a:pt x="70" y="184"/>
                      </a:lnTo>
                      <a:lnTo>
                        <a:pt x="67" y="182"/>
                      </a:lnTo>
                      <a:lnTo>
                        <a:pt x="63" y="179"/>
                      </a:lnTo>
                      <a:lnTo>
                        <a:pt x="60" y="176"/>
                      </a:lnTo>
                      <a:lnTo>
                        <a:pt x="58" y="173"/>
                      </a:lnTo>
                      <a:lnTo>
                        <a:pt x="57" y="169"/>
                      </a:lnTo>
                      <a:lnTo>
                        <a:pt x="54" y="161"/>
                      </a:lnTo>
                      <a:lnTo>
                        <a:pt x="52" y="152"/>
                      </a:lnTo>
                      <a:lnTo>
                        <a:pt x="52" y="142"/>
                      </a:lnTo>
                      <a:lnTo>
                        <a:pt x="52" y="131"/>
                      </a:lnTo>
                      <a:lnTo>
                        <a:pt x="52" y="119"/>
                      </a:lnTo>
                      <a:lnTo>
                        <a:pt x="54" y="109"/>
                      </a:lnTo>
                      <a:lnTo>
                        <a:pt x="56" y="100"/>
                      </a:lnTo>
                      <a:lnTo>
                        <a:pt x="59" y="91"/>
                      </a:lnTo>
                      <a:lnTo>
                        <a:pt x="65" y="76"/>
                      </a:lnTo>
                      <a:lnTo>
                        <a:pt x="73" y="61"/>
                      </a:lnTo>
                      <a:lnTo>
                        <a:pt x="81" y="49"/>
                      </a:lnTo>
                      <a:lnTo>
                        <a:pt x="89" y="36"/>
                      </a:lnTo>
                      <a:lnTo>
                        <a:pt x="92" y="29"/>
                      </a:lnTo>
                      <a:lnTo>
                        <a:pt x="95" y="22"/>
                      </a:lnTo>
                      <a:lnTo>
                        <a:pt x="97" y="15"/>
                      </a:lnTo>
                      <a:lnTo>
                        <a:pt x="98" y="7"/>
                      </a:lnTo>
                      <a:lnTo>
                        <a:pt x="85" y="12"/>
                      </a:lnTo>
                      <a:lnTo>
                        <a:pt x="73" y="18"/>
                      </a:lnTo>
                      <a:lnTo>
                        <a:pt x="62" y="24"/>
                      </a:lnTo>
                      <a:lnTo>
                        <a:pt x="52" y="30"/>
                      </a:lnTo>
                      <a:lnTo>
                        <a:pt x="43" y="37"/>
                      </a:lnTo>
                      <a:lnTo>
                        <a:pt x="35" y="44"/>
                      </a:lnTo>
                      <a:lnTo>
                        <a:pt x="28" y="52"/>
                      </a:lnTo>
                      <a:lnTo>
                        <a:pt x="22" y="60"/>
                      </a:lnTo>
                      <a:lnTo>
                        <a:pt x="16" y="70"/>
                      </a:lnTo>
                      <a:lnTo>
                        <a:pt x="12" y="79"/>
                      </a:lnTo>
                      <a:lnTo>
                        <a:pt x="7" y="89"/>
                      </a:lnTo>
                      <a:lnTo>
                        <a:pt x="4" y="99"/>
                      </a:lnTo>
                      <a:lnTo>
                        <a:pt x="2" y="109"/>
                      </a:lnTo>
                      <a:lnTo>
                        <a:pt x="1" y="120"/>
                      </a:lnTo>
                      <a:lnTo>
                        <a:pt x="0" y="131"/>
                      </a:lnTo>
                      <a:lnTo>
                        <a:pt x="0" y="143"/>
                      </a:lnTo>
                    </a:path>
                  </a:pathLst>
                </a:custGeom>
                <a:grpFill/>
                <a:ln w="9525" cap="flat" cmpd="sng">
                  <a:solidFill>
                    <a:srgbClr val="FFFFFF"/>
                  </a:solidFill>
                  <a:prstDash val="solid"/>
                  <a:round/>
                  <a:headEnd type="none" w="med" len="med"/>
                  <a:tailEnd type="none" w="med" len="med"/>
                </a:ln>
                <a:effectLst/>
              </p:spPr>
              <p:txBody>
                <a:bodyPr/>
                <a:lstStyle/>
                <a:p>
                  <a:endParaRPr lang="en-GB" sz="1637"/>
                </a:p>
              </p:txBody>
            </p:sp>
          </p:grpSp>
          <p:sp>
            <p:nvSpPr>
              <p:cNvPr id="420" name="Freeform 193"/>
              <p:cNvSpPr>
                <a:spLocks/>
              </p:cNvSpPr>
              <p:nvPr>
                <p:custDataLst>
                  <p:tags r:id="rId264"/>
                </p:custDataLst>
              </p:nvPr>
            </p:nvSpPr>
            <p:spPr bwMode="auto">
              <a:xfrm>
                <a:off x="852156" y="2828545"/>
                <a:ext cx="729584" cy="655493"/>
              </a:xfrm>
              <a:custGeom>
                <a:avLst/>
                <a:gdLst>
                  <a:gd name="T0" fmla="*/ 541201 w 1535"/>
                  <a:gd name="T1" fmla="*/ 484624 h 1109"/>
                  <a:gd name="T2" fmla="*/ 565583 w 1535"/>
                  <a:gd name="T3" fmla="*/ 514487 h 1109"/>
                  <a:gd name="T4" fmla="*/ 531186 w 1535"/>
                  <a:gd name="T5" fmla="*/ 523394 h 1109"/>
                  <a:gd name="T6" fmla="*/ 512464 w 1535"/>
                  <a:gd name="T7" fmla="*/ 573690 h 1109"/>
                  <a:gd name="T8" fmla="*/ 463700 w 1535"/>
                  <a:gd name="T9" fmla="*/ 527061 h 1109"/>
                  <a:gd name="T10" fmla="*/ 432786 w 1535"/>
                  <a:gd name="T11" fmla="*/ 530205 h 1109"/>
                  <a:gd name="T12" fmla="*/ 397519 w 1535"/>
                  <a:gd name="T13" fmla="*/ 544351 h 1109"/>
                  <a:gd name="T14" fmla="*/ 342223 w 1535"/>
                  <a:gd name="T15" fmla="*/ 508724 h 1109"/>
                  <a:gd name="T16" fmla="*/ 282138 w 1535"/>
                  <a:gd name="T17" fmla="*/ 480433 h 1109"/>
                  <a:gd name="T18" fmla="*/ 256014 w 1535"/>
                  <a:gd name="T19" fmla="*/ 462620 h 1109"/>
                  <a:gd name="T20" fmla="*/ 233809 w 1535"/>
                  <a:gd name="T21" fmla="*/ 437471 h 1109"/>
                  <a:gd name="T22" fmla="*/ 211168 w 1535"/>
                  <a:gd name="T23" fmla="*/ 432756 h 1109"/>
                  <a:gd name="T24" fmla="*/ 191140 w 1535"/>
                  <a:gd name="T25" fmla="*/ 396606 h 1109"/>
                  <a:gd name="T26" fmla="*/ 203331 w 1535"/>
                  <a:gd name="T27" fmla="*/ 369362 h 1109"/>
                  <a:gd name="T28" fmla="*/ 195929 w 1535"/>
                  <a:gd name="T29" fmla="*/ 314875 h 1109"/>
                  <a:gd name="T30" fmla="*/ 153260 w 1535"/>
                  <a:gd name="T31" fmla="*/ 245194 h 1109"/>
                  <a:gd name="T32" fmla="*/ 132361 w 1535"/>
                  <a:gd name="T33" fmla="*/ 223189 h 1109"/>
                  <a:gd name="T34" fmla="*/ 127572 w 1535"/>
                  <a:gd name="T35" fmla="*/ 193326 h 1109"/>
                  <a:gd name="T36" fmla="*/ 94482 w 1535"/>
                  <a:gd name="T37" fmla="*/ 129932 h 1109"/>
                  <a:gd name="T38" fmla="*/ 72712 w 1535"/>
                  <a:gd name="T39" fmla="*/ 38770 h 1109"/>
                  <a:gd name="T40" fmla="*/ 36573 w 1535"/>
                  <a:gd name="T41" fmla="*/ 54487 h 1109"/>
                  <a:gd name="T42" fmla="*/ 49200 w 1535"/>
                  <a:gd name="T43" fmla="*/ 116310 h 1109"/>
                  <a:gd name="T44" fmla="*/ 65310 w 1535"/>
                  <a:gd name="T45" fmla="*/ 170797 h 1109"/>
                  <a:gd name="T46" fmla="*/ 85338 w 1535"/>
                  <a:gd name="T47" fmla="*/ 210615 h 1109"/>
                  <a:gd name="T48" fmla="*/ 87080 w 1535"/>
                  <a:gd name="T49" fmla="*/ 243622 h 1109"/>
                  <a:gd name="T50" fmla="*/ 92740 w 1535"/>
                  <a:gd name="T51" fmla="*/ 274533 h 1109"/>
                  <a:gd name="T52" fmla="*/ 112768 w 1535"/>
                  <a:gd name="T53" fmla="*/ 299157 h 1109"/>
                  <a:gd name="T54" fmla="*/ 93175 w 1535"/>
                  <a:gd name="T55" fmla="*/ 312255 h 1109"/>
                  <a:gd name="T56" fmla="*/ 84032 w 1535"/>
                  <a:gd name="T57" fmla="*/ 283964 h 1109"/>
                  <a:gd name="T58" fmla="*/ 52248 w 1535"/>
                  <a:gd name="T59" fmla="*/ 248337 h 1109"/>
                  <a:gd name="T60" fmla="*/ 63568 w 1535"/>
                  <a:gd name="T61" fmla="*/ 220046 h 1109"/>
                  <a:gd name="T62" fmla="*/ 38750 w 1535"/>
                  <a:gd name="T63" fmla="*/ 191754 h 1109"/>
                  <a:gd name="T64" fmla="*/ 11756 w 1535"/>
                  <a:gd name="T65" fmla="*/ 160843 h 1109"/>
                  <a:gd name="T66" fmla="*/ 28301 w 1535"/>
                  <a:gd name="T67" fmla="*/ 151412 h 1109"/>
                  <a:gd name="T68" fmla="*/ 27866 w 1535"/>
                  <a:gd name="T69" fmla="*/ 117882 h 1109"/>
                  <a:gd name="T70" fmla="*/ 2612 w 1535"/>
                  <a:gd name="T71" fmla="*/ 61298 h 1109"/>
                  <a:gd name="T72" fmla="*/ 16545 w 1535"/>
                  <a:gd name="T73" fmla="*/ 2620 h 1109"/>
                  <a:gd name="T74" fmla="*/ 91869 w 1535"/>
                  <a:gd name="T75" fmla="*/ 9431 h 1109"/>
                  <a:gd name="T76" fmla="*/ 157179 w 1535"/>
                  <a:gd name="T77" fmla="*/ 39818 h 1109"/>
                  <a:gd name="T78" fmla="*/ 216829 w 1535"/>
                  <a:gd name="T79" fmla="*/ 28815 h 1109"/>
                  <a:gd name="T80" fmla="*/ 258191 w 1535"/>
                  <a:gd name="T81" fmla="*/ 28292 h 1109"/>
                  <a:gd name="T82" fmla="*/ 275607 w 1535"/>
                  <a:gd name="T83" fmla="*/ 57631 h 1109"/>
                  <a:gd name="T84" fmla="*/ 304779 w 1535"/>
                  <a:gd name="T85" fmla="*/ 112642 h 1109"/>
                  <a:gd name="T86" fmla="*/ 326549 w 1535"/>
                  <a:gd name="T87" fmla="*/ 100592 h 1109"/>
                  <a:gd name="T88" fmla="*/ 357898 w 1535"/>
                  <a:gd name="T89" fmla="*/ 92210 h 1109"/>
                  <a:gd name="T90" fmla="*/ 382715 w 1535"/>
                  <a:gd name="T91" fmla="*/ 127836 h 1109"/>
                  <a:gd name="T92" fmla="*/ 394036 w 1535"/>
                  <a:gd name="T93" fmla="*/ 189658 h 1109"/>
                  <a:gd name="T94" fmla="*/ 419724 w 1535"/>
                  <a:gd name="T95" fmla="*/ 212187 h 1109"/>
                  <a:gd name="T96" fmla="*/ 425385 w 1535"/>
                  <a:gd name="T97" fmla="*/ 238907 h 1109"/>
                  <a:gd name="T98" fmla="*/ 405356 w 1535"/>
                  <a:gd name="T99" fmla="*/ 257768 h 1109"/>
                  <a:gd name="T100" fmla="*/ 399261 w 1535"/>
                  <a:gd name="T101" fmla="*/ 332164 h 1109"/>
                  <a:gd name="T102" fmla="*/ 416241 w 1535"/>
                  <a:gd name="T103" fmla="*/ 414419 h 1109"/>
                  <a:gd name="T104" fmla="*/ 458910 w 1535"/>
                  <a:gd name="T105" fmla="*/ 459476 h 1109"/>
                  <a:gd name="T106" fmla="*/ 507675 w 1535"/>
                  <a:gd name="T107" fmla="*/ 444806 h 1109"/>
                  <a:gd name="T108" fmla="*/ 543813 w 1535"/>
                  <a:gd name="T109" fmla="*/ 445330 h 1109"/>
                  <a:gd name="T110" fmla="*/ 564277 w 1535"/>
                  <a:gd name="T111" fmla="*/ 388747 h 1109"/>
                  <a:gd name="T112" fmla="*/ 581693 w 1535"/>
                  <a:gd name="T113" fmla="*/ 363075 h 1109"/>
                  <a:gd name="T114" fmla="*/ 655710 w 1535"/>
                  <a:gd name="T115" fmla="*/ 355216 h 1109"/>
                  <a:gd name="T116" fmla="*/ 654404 w 1535"/>
                  <a:gd name="T117" fmla="*/ 381936 h 1109"/>
                  <a:gd name="T118" fmla="*/ 639165 w 1535"/>
                  <a:gd name="T119" fmla="*/ 430137 h 1109"/>
                  <a:gd name="T120" fmla="*/ 596061 w 1535"/>
                  <a:gd name="T121" fmla="*/ 465239 h 110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535" h="1109">
                    <a:moveTo>
                      <a:pt x="1336" y="888"/>
                    </a:moveTo>
                    <a:lnTo>
                      <a:pt x="1319" y="891"/>
                    </a:lnTo>
                    <a:lnTo>
                      <a:pt x="1287" y="901"/>
                    </a:lnTo>
                    <a:lnTo>
                      <a:pt x="1270" y="907"/>
                    </a:lnTo>
                    <a:lnTo>
                      <a:pt x="1256" y="913"/>
                    </a:lnTo>
                    <a:lnTo>
                      <a:pt x="1251" y="916"/>
                    </a:lnTo>
                    <a:lnTo>
                      <a:pt x="1246" y="919"/>
                    </a:lnTo>
                    <a:lnTo>
                      <a:pt x="1244" y="922"/>
                    </a:lnTo>
                    <a:lnTo>
                      <a:pt x="1243" y="925"/>
                    </a:lnTo>
                    <a:lnTo>
                      <a:pt x="1243" y="929"/>
                    </a:lnTo>
                    <a:lnTo>
                      <a:pt x="1244" y="933"/>
                    </a:lnTo>
                    <a:lnTo>
                      <a:pt x="1246" y="937"/>
                    </a:lnTo>
                    <a:lnTo>
                      <a:pt x="1248" y="940"/>
                    </a:lnTo>
                    <a:lnTo>
                      <a:pt x="1255" y="946"/>
                    </a:lnTo>
                    <a:lnTo>
                      <a:pt x="1263" y="951"/>
                    </a:lnTo>
                    <a:lnTo>
                      <a:pt x="1282" y="961"/>
                    </a:lnTo>
                    <a:lnTo>
                      <a:pt x="1302" y="973"/>
                    </a:lnTo>
                    <a:lnTo>
                      <a:pt x="1299" y="982"/>
                    </a:lnTo>
                    <a:lnTo>
                      <a:pt x="1294" y="988"/>
                    </a:lnTo>
                    <a:lnTo>
                      <a:pt x="1289" y="993"/>
                    </a:lnTo>
                    <a:lnTo>
                      <a:pt x="1282" y="996"/>
                    </a:lnTo>
                    <a:lnTo>
                      <a:pt x="1275" y="998"/>
                    </a:lnTo>
                    <a:lnTo>
                      <a:pt x="1267" y="999"/>
                    </a:lnTo>
                    <a:lnTo>
                      <a:pt x="1258" y="999"/>
                    </a:lnTo>
                    <a:lnTo>
                      <a:pt x="1251" y="999"/>
                    </a:lnTo>
                    <a:lnTo>
                      <a:pt x="1234" y="999"/>
                    </a:lnTo>
                    <a:lnTo>
                      <a:pt x="1220" y="999"/>
                    </a:lnTo>
                    <a:lnTo>
                      <a:pt x="1213" y="1000"/>
                    </a:lnTo>
                    <a:lnTo>
                      <a:pt x="1209" y="1002"/>
                    </a:lnTo>
                    <a:lnTo>
                      <a:pt x="1204" y="1006"/>
                    </a:lnTo>
                    <a:lnTo>
                      <a:pt x="1203" y="1011"/>
                    </a:lnTo>
                    <a:lnTo>
                      <a:pt x="1193" y="1036"/>
                    </a:lnTo>
                    <a:lnTo>
                      <a:pt x="1185" y="1058"/>
                    </a:lnTo>
                    <a:lnTo>
                      <a:pt x="1181" y="1069"/>
                    </a:lnTo>
                    <a:lnTo>
                      <a:pt x="1178" y="1080"/>
                    </a:lnTo>
                    <a:lnTo>
                      <a:pt x="1177" y="1095"/>
                    </a:lnTo>
                    <a:lnTo>
                      <a:pt x="1176" y="1109"/>
                    </a:lnTo>
                    <a:lnTo>
                      <a:pt x="1165" y="1100"/>
                    </a:lnTo>
                    <a:lnTo>
                      <a:pt x="1153" y="1091"/>
                    </a:lnTo>
                    <a:lnTo>
                      <a:pt x="1141" y="1081"/>
                    </a:lnTo>
                    <a:lnTo>
                      <a:pt x="1130" y="1072"/>
                    </a:lnTo>
                    <a:lnTo>
                      <a:pt x="1112" y="1051"/>
                    </a:lnTo>
                    <a:lnTo>
                      <a:pt x="1090" y="1026"/>
                    </a:lnTo>
                    <a:lnTo>
                      <a:pt x="1078" y="1015"/>
                    </a:lnTo>
                    <a:lnTo>
                      <a:pt x="1065" y="1006"/>
                    </a:lnTo>
                    <a:lnTo>
                      <a:pt x="1058" y="1003"/>
                    </a:lnTo>
                    <a:lnTo>
                      <a:pt x="1052" y="1001"/>
                    </a:lnTo>
                    <a:lnTo>
                      <a:pt x="1044" y="999"/>
                    </a:lnTo>
                    <a:lnTo>
                      <a:pt x="1036" y="998"/>
                    </a:lnTo>
                    <a:lnTo>
                      <a:pt x="1028" y="999"/>
                    </a:lnTo>
                    <a:lnTo>
                      <a:pt x="1019" y="1000"/>
                    </a:lnTo>
                    <a:lnTo>
                      <a:pt x="1011" y="1002"/>
                    </a:lnTo>
                    <a:lnTo>
                      <a:pt x="1006" y="1005"/>
                    </a:lnTo>
                    <a:lnTo>
                      <a:pt x="994" y="1012"/>
                    </a:lnTo>
                    <a:lnTo>
                      <a:pt x="984" y="1020"/>
                    </a:lnTo>
                    <a:lnTo>
                      <a:pt x="974" y="1027"/>
                    </a:lnTo>
                    <a:lnTo>
                      <a:pt x="962" y="1035"/>
                    </a:lnTo>
                    <a:lnTo>
                      <a:pt x="955" y="1038"/>
                    </a:lnTo>
                    <a:lnTo>
                      <a:pt x="949" y="1040"/>
                    </a:lnTo>
                    <a:lnTo>
                      <a:pt x="940" y="1041"/>
                    </a:lnTo>
                    <a:lnTo>
                      <a:pt x="930" y="1042"/>
                    </a:lnTo>
                    <a:lnTo>
                      <a:pt x="922" y="1041"/>
                    </a:lnTo>
                    <a:lnTo>
                      <a:pt x="913" y="1039"/>
                    </a:lnTo>
                    <a:lnTo>
                      <a:pt x="902" y="1037"/>
                    </a:lnTo>
                    <a:lnTo>
                      <a:pt x="891" y="1032"/>
                    </a:lnTo>
                    <a:lnTo>
                      <a:pt x="868" y="1023"/>
                    </a:lnTo>
                    <a:lnTo>
                      <a:pt x="845" y="1011"/>
                    </a:lnTo>
                    <a:lnTo>
                      <a:pt x="823" y="999"/>
                    </a:lnTo>
                    <a:lnTo>
                      <a:pt x="805" y="987"/>
                    </a:lnTo>
                    <a:lnTo>
                      <a:pt x="797" y="982"/>
                    </a:lnTo>
                    <a:lnTo>
                      <a:pt x="790" y="976"/>
                    </a:lnTo>
                    <a:lnTo>
                      <a:pt x="786" y="971"/>
                    </a:lnTo>
                    <a:lnTo>
                      <a:pt x="784" y="967"/>
                    </a:lnTo>
                    <a:lnTo>
                      <a:pt x="731" y="973"/>
                    </a:lnTo>
                    <a:lnTo>
                      <a:pt x="714" y="962"/>
                    </a:lnTo>
                    <a:lnTo>
                      <a:pt x="697" y="953"/>
                    </a:lnTo>
                    <a:lnTo>
                      <a:pt x="680" y="945"/>
                    </a:lnTo>
                    <a:lnTo>
                      <a:pt x="658" y="937"/>
                    </a:lnTo>
                    <a:lnTo>
                      <a:pt x="653" y="932"/>
                    </a:lnTo>
                    <a:lnTo>
                      <a:pt x="650" y="925"/>
                    </a:lnTo>
                    <a:lnTo>
                      <a:pt x="648" y="917"/>
                    </a:lnTo>
                    <a:lnTo>
                      <a:pt x="644" y="910"/>
                    </a:lnTo>
                    <a:lnTo>
                      <a:pt x="642" y="904"/>
                    </a:lnTo>
                    <a:lnTo>
                      <a:pt x="639" y="898"/>
                    </a:lnTo>
                    <a:lnTo>
                      <a:pt x="638" y="896"/>
                    </a:lnTo>
                    <a:lnTo>
                      <a:pt x="636" y="895"/>
                    </a:lnTo>
                    <a:lnTo>
                      <a:pt x="633" y="894"/>
                    </a:lnTo>
                    <a:lnTo>
                      <a:pt x="631" y="894"/>
                    </a:lnTo>
                    <a:lnTo>
                      <a:pt x="607" y="887"/>
                    </a:lnTo>
                    <a:lnTo>
                      <a:pt x="588" y="883"/>
                    </a:lnTo>
                    <a:lnTo>
                      <a:pt x="575" y="882"/>
                    </a:lnTo>
                    <a:lnTo>
                      <a:pt x="565" y="880"/>
                    </a:lnTo>
                    <a:lnTo>
                      <a:pt x="561" y="879"/>
                    </a:lnTo>
                    <a:lnTo>
                      <a:pt x="558" y="877"/>
                    </a:lnTo>
                    <a:lnTo>
                      <a:pt x="554" y="874"/>
                    </a:lnTo>
                    <a:lnTo>
                      <a:pt x="551" y="870"/>
                    </a:lnTo>
                    <a:lnTo>
                      <a:pt x="546" y="857"/>
                    </a:lnTo>
                    <a:lnTo>
                      <a:pt x="538" y="838"/>
                    </a:lnTo>
                    <a:lnTo>
                      <a:pt x="537" y="835"/>
                    </a:lnTo>
                    <a:lnTo>
                      <a:pt x="535" y="833"/>
                    </a:lnTo>
                    <a:lnTo>
                      <a:pt x="532" y="831"/>
                    </a:lnTo>
                    <a:lnTo>
                      <a:pt x="530" y="829"/>
                    </a:lnTo>
                    <a:lnTo>
                      <a:pt x="524" y="828"/>
                    </a:lnTo>
                    <a:lnTo>
                      <a:pt x="517" y="828"/>
                    </a:lnTo>
                    <a:lnTo>
                      <a:pt x="509" y="828"/>
                    </a:lnTo>
                    <a:lnTo>
                      <a:pt x="501" y="828"/>
                    </a:lnTo>
                    <a:lnTo>
                      <a:pt x="493" y="828"/>
                    </a:lnTo>
                    <a:lnTo>
                      <a:pt x="485" y="826"/>
                    </a:lnTo>
                    <a:lnTo>
                      <a:pt x="480" y="822"/>
                    </a:lnTo>
                    <a:lnTo>
                      <a:pt x="472" y="816"/>
                    </a:lnTo>
                    <a:lnTo>
                      <a:pt x="464" y="806"/>
                    </a:lnTo>
                    <a:lnTo>
                      <a:pt x="457" y="796"/>
                    </a:lnTo>
                    <a:lnTo>
                      <a:pt x="450" y="784"/>
                    </a:lnTo>
                    <a:lnTo>
                      <a:pt x="445" y="773"/>
                    </a:lnTo>
                    <a:lnTo>
                      <a:pt x="442" y="768"/>
                    </a:lnTo>
                    <a:lnTo>
                      <a:pt x="440" y="762"/>
                    </a:lnTo>
                    <a:lnTo>
                      <a:pt x="439" y="757"/>
                    </a:lnTo>
                    <a:lnTo>
                      <a:pt x="439" y="751"/>
                    </a:lnTo>
                    <a:lnTo>
                      <a:pt x="439" y="747"/>
                    </a:lnTo>
                    <a:lnTo>
                      <a:pt x="440" y="743"/>
                    </a:lnTo>
                    <a:lnTo>
                      <a:pt x="441" y="739"/>
                    </a:lnTo>
                    <a:lnTo>
                      <a:pt x="443" y="735"/>
                    </a:lnTo>
                    <a:lnTo>
                      <a:pt x="449" y="728"/>
                    </a:lnTo>
                    <a:lnTo>
                      <a:pt x="456" y="720"/>
                    </a:lnTo>
                    <a:lnTo>
                      <a:pt x="461" y="713"/>
                    </a:lnTo>
                    <a:lnTo>
                      <a:pt x="467" y="705"/>
                    </a:lnTo>
                    <a:lnTo>
                      <a:pt x="469" y="700"/>
                    </a:lnTo>
                    <a:lnTo>
                      <a:pt x="471" y="694"/>
                    </a:lnTo>
                    <a:lnTo>
                      <a:pt x="472" y="689"/>
                    </a:lnTo>
                    <a:lnTo>
                      <a:pt x="472" y="684"/>
                    </a:lnTo>
                    <a:lnTo>
                      <a:pt x="471" y="664"/>
                    </a:lnTo>
                    <a:lnTo>
                      <a:pt x="468" y="647"/>
                    </a:lnTo>
                    <a:lnTo>
                      <a:pt x="463" y="630"/>
                    </a:lnTo>
                    <a:lnTo>
                      <a:pt x="457" y="615"/>
                    </a:lnTo>
                    <a:lnTo>
                      <a:pt x="450" y="601"/>
                    </a:lnTo>
                    <a:lnTo>
                      <a:pt x="441" y="589"/>
                    </a:lnTo>
                    <a:lnTo>
                      <a:pt x="431" y="576"/>
                    </a:lnTo>
                    <a:lnTo>
                      <a:pt x="423" y="565"/>
                    </a:lnTo>
                    <a:lnTo>
                      <a:pt x="402" y="543"/>
                    </a:lnTo>
                    <a:lnTo>
                      <a:pt x="382" y="520"/>
                    </a:lnTo>
                    <a:lnTo>
                      <a:pt x="373" y="509"/>
                    </a:lnTo>
                    <a:lnTo>
                      <a:pt x="366" y="496"/>
                    </a:lnTo>
                    <a:lnTo>
                      <a:pt x="358" y="483"/>
                    </a:lnTo>
                    <a:lnTo>
                      <a:pt x="352" y="468"/>
                    </a:lnTo>
                    <a:lnTo>
                      <a:pt x="350" y="464"/>
                    </a:lnTo>
                    <a:lnTo>
                      <a:pt x="348" y="460"/>
                    </a:lnTo>
                    <a:lnTo>
                      <a:pt x="345" y="456"/>
                    </a:lnTo>
                    <a:lnTo>
                      <a:pt x="341" y="453"/>
                    </a:lnTo>
                    <a:lnTo>
                      <a:pt x="333" y="447"/>
                    </a:lnTo>
                    <a:lnTo>
                      <a:pt x="324" y="441"/>
                    </a:lnTo>
                    <a:lnTo>
                      <a:pt x="314" y="435"/>
                    </a:lnTo>
                    <a:lnTo>
                      <a:pt x="306" y="429"/>
                    </a:lnTo>
                    <a:lnTo>
                      <a:pt x="304" y="426"/>
                    </a:lnTo>
                    <a:lnTo>
                      <a:pt x="301" y="422"/>
                    </a:lnTo>
                    <a:lnTo>
                      <a:pt x="300" y="417"/>
                    </a:lnTo>
                    <a:lnTo>
                      <a:pt x="300" y="413"/>
                    </a:lnTo>
                    <a:lnTo>
                      <a:pt x="306" y="404"/>
                    </a:lnTo>
                    <a:lnTo>
                      <a:pt x="313" y="394"/>
                    </a:lnTo>
                    <a:lnTo>
                      <a:pt x="306" y="391"/>
                    </a:lnTo>
                    <a:lnTo>
                      <a:pt x="300" y="388"/>
                    </a:lnTo>
                    <a:lnTo>
                      <a:pt x="297" y="380"/>
                    </a:lnTo>
                    <a:lnTo>
                      <a:pt x="293" y="369"/>
                    </a:lnTo>
                    <a:lnTo>
                      <a:pt x="286" y="356"/>
                    </a:lnTo>
                    <a:lnTo>
                      <a:pt x="279" y="344"/>
                    </a:lnTo>
                    <a:lnTo>
                      <a:pt x="262" y="321"/>
                    </a:lnTo>
                    <a:lnTo>
                      <a:pt x="252" y="308"/>
                    </a:lnTo>
                    <a:lnTo>
                      <a:pt x="245" y="291"/>
                    </a:lnTo>
                    <a:lnTo>
                      <a:pt x="238" y="278"/>
                    </a:lnTo>
                    <a:lnTo>
                      <a:pt x="230" y="267"/>
                    </a:lnTo>
                    <a:lnTo>
                      <a:pt x="224" y="258"/>
                    </a:lnTo>
                    <a:lnTo>
                      <a:pt x="217" y="248"/>
                    </a:lnTo>
                    <a:lnTo>
                      <a:pt x="211" y="239"/>
                    </a:lnTo>
                    <a:lnTo>
                      <a:pt x="205" y="228"/>
                    </a:lnTo>
                    <a:lnTo>
                      <a:pt x="200" y="216"/>
                    </a:lnTo>
                    <a:lnTo>
                      <a:pt x="193" y="195"/>
                    </a:lnTo>
                    <a:lnTo>
                      <a:pt x="187" y="176"/>
                    </a:lnTo>
                    <a:lnTo>
                      <a:pt x="182" y="158"/>
                    </a:lnTo>
                    <a:lnTo>
                      <a:pt x="178" y="140"/>
                    </a:lnTo>
                    <a:lnTo>
                      <a:pt x="171" y="107"/>
                    </a:lnTo>
                    <a:lnTo>
                      <a:pt x="167" y="74"/>
                    </a:lnTo>
                    <a:lnTo>
                      <a:pt x="155" y="74"/>
                    </a:lnTo>
                    <a:lnTo>
                      <a:pt x="146" y="73"/>
                    </a:lnTo>
                    <a:lnTo>
                      <a:pt x="138" y="71"/>
                    </a:lnTo>
                    <a:lnTo>
                      <a:pt x="132" y="69"/>
                    </a:lnTo>
                    <a:lnTo>
                      <a:pt x="120" y="64"/>
                    </a:lnTo>
                    <a:lnTo>
                      <a:pt x="106" y="56"/>
                    </a:lnTo>
                    <a:lnTo>
                      <a:pt x="97" y="74"/>
                    </a:lnTo>
                    <a:lnTo>
                      <a:pt x="89" y="94"/>
                    </a:lnTo>
                    <a:lnTo>
                      <a:pt x="84" y="104"/>
                    </a:lnTo>
                    <a:lnTo>
                      <a:pt x="82" y="114"/>
                    </a:lnTo>
                    <a:lnTo>
                      <a:pt x="80" y="124"/>
                    </a:lnTo>
                    <a:lnTo>
                      <a:pt x="80" y="135"/>
                    </a:lnTo>
                    <a:lnTo>
                      <a:pt x="81" y="148"/>
                    </a:lnTo>
                    <a:lnTo>
                      <a:pt x="83" y="160"/>
                    </a:lnTo>
                    <a:lnTo>
                      <a:pt x="87" y="171"/>
                    </a:lnTo>
                    <a:lnTo>
                      <a:pt x="90" y="182"/>
                    </a:lnTo>
                    <a:lnTo>
                      <a:pt x="101" y="203"/>
                    </a:lnTo>
                    <a:lnTo>
                      <a:pt x="113" y="222"/>
                    </a:lnTo>
                    <a:lnTo>
                      <a:pt x="125" y="241"/>
                    </a:lnTo>
                    <a:lnTo>
                      <a:pt x="136" y="263"/>
                    </a:lnTo>
                    <a:lnTo>
                      <a:pt x="140" y="273"/>
                    </a:lnTo>
                    <a:lnTo>
                      <a:pt x="144" y="284"/>
                    </a:lnTo>
                    <a:lnTo>
                      <a:pt x="146" y="296"/>
                    </a:lnTo>
                    <a:lnTo>
                      <a:pt x="146" y="308"/>
                    </a:lnTo>
                    <a:lnTo>
                      <a:pt x="147" y="314"/>
                    </a:lnTo>
                    <a:lnTo>
                      <a:pt x="148" y="320"/>
                    </a:lnTo>
                    <a:lnTo>
                      <a:pt x="150" y="326"/>
                    </a:lnTo>
                    <a:lnTo>
                      <a:pt x="154" y="332"/>
                    </a:lnTo>
                    <a:lnTo>
                      <a:pt x="161" y="344"/>
                    </a:lnTo>
                    <a:lnTo>
                      <a:pt x="170" y="355"/>
                    </a:lnTo>
                    <a:lnTo>
                      <a:pt x="178" y="366"/>
                    </a:lnTo>
                    <a:lnTo>
                      <a:pt x="185" y="375"/>
                    </a:lnTo>
                    <a:lnTo>
                      <a:pt x="191" y="383"/>
                    </a:lnTo>
                    <a:lnTo>
                      <a:pt x="193" y="388"/>
                    </a:lnTo>
                    <a:lnTo>
                      <a:pt x="195" y="395"/>
                    </a:lnTo>
                    <a:lnTo>
                      <a:pt x="196" y="402"/>
                    </a:lnTo>
                    <a:lnTo>
                      <a:pt x="196" y="409"/>
                    </a:lnTo>
                    <a:lnTo>
                      <a:pt x="198" y="415"/>
                    </a:lnTo>
                    <a:lnTo>
                      <a:pt x="196" y="429"/>
                    </a:lnTo>
                    <a:lnTo>
                      <a:pt x="195" y="441"/>
                    </a:lnTo>
                    <a:lnTo>
                      <a:pt x="195" y="446"/>
                    </a:lnTo>
                    <a:lnTo>
                      <a:pt x="195" y="452"/>
                    </a:lnTo>
                    <a:lnTo>
                      <a:pt x="196" y="456"/>
                    </a:lnTo>
                    <a:lnTo>
                      <a:pt x="198" y="461"/>
                    </a:lnTo>
                    <a:lnTo>
                      <a:pt x="200" y="465"/>
                    </a:lnTo>
                    <a:lnTo>
                      <a:pt x="203" y="469"/>
                    </a:lnTo>
                    <a:lnTo>
                      <a:pt x="207" y="472"/>
                    </a:lnTo>
                    <a:lnTo>
                      <a:pt x="213" y="474"/>
                    </a:lnTo>
                    <a:lnTo>
                      <a:pt x="211" y="483"/>
                    </a:lnTo>
                    <a:lnTo>
                      <a:pt x="210" y="489"/>
                    </a:lnTo>
                    <a:lnTo>
                      <a:pt x="210" y="495"/>
                    </a:lnTo>
                    <a:lnTo>
                      <a:pt x="211" y="499"/>
                    </a:lnTo>
                    <a:lnTo>
                      <a:pt x="212" y="509"/>
                    </a:lnTo>
                    <a:lnTo>
                      <a:pt x="213" y="524"/>
                    </a:lnTo>
                    <a:lnTo>
                      <a:pt x="221" y="525"/>
                    </a:lnTo>
                    <a:lnTo>
                      <a:pt x="228" y="528"/>
                    </a:lnTo>
                    <a:lnTo>
                      <a:pt x="236" y="533"/>
                    </a:lnTo>
                    <a:lnTo>
                      <a:pt x="244" y="539"/>
                    </a:lnTo>
                    <a:lnTo>
                      <a:pt x="250" y="546"/>
                    </a:lnTo>
                    <a:lnTo>
                      <a:pt x="255" y="553"/>
                    </a:lnTo>
                    <a:lnTo>
                      <a:pt x="258" y="560"/>
                    </a:lnTo>
                    <a:lnTo>
                      <a:pt x="259" y="567"/>
                    </a:lnTo>
                    <a:lnTo>
                      <a:pt x="259" y="571"/>
                    </a:lnTo>
                    <a:lnTo>
                      <a:pt x="258" y="575"/>
                    </a:lnTo>
                    <a:lnTo>
                      <a:pt x="257" y="579"/>
                    </a:lnTo>
                    <a:lnTo>
                      <a:pt x="255" y="583"/>
                    </a:lnTo>
                    <a:lnTo>
                      <a:pt x="250" y="590"/>
                    </a:lnTo>
                    <a:lnTo>
                      <a:pt x="245" y="596"/>
                    </a:lnTo>
                    <a:lnTo>
                      <a:pt x="232" y="604"/>
                    </a:lnTo>
                    <a:lnTo>
                      <a:pt x="219" y="610"/>
                    </a:lnTo>
                    <a:lnTo>
                      <a:pt x="216" y="603"/>
                    </a:lnTo>
                    <a:lnTo>
                      <a:pt x="214" y="596"/>
                    </a:lnTo>
                    <a:lnTo>
                      <a:pt x="213" y="587"/>
                    </a:lnTo>
                    <a:lnTo>
                      <a:pt x="213" y="580"/>
                    </a:lnTo>
                    <a:lnTo>
                      <a:pt x="213" y="573"/>
                    </a:lnTo>
                    <a:lnTo>
                      <a:pt x="212" y="566"/>
                    </a:lnTo>
                    <a:lnTo>
                      <a:pt x="210" y="560"/>
                    </a:lnTo>
                    <a:lnTo>
                      <a:pt x="206" y="555"/>
                    </a:lnTo>
                    <a:lnTo>
                      <a:pt x="203" y="550"/>
                    </a:lnTo>
                    <a:lnTo>
                      <a:pt x="199" y="546"/>
                    </a:lnTo>
                    <a:lnTo>
                      <a:pt x="193" y="542"/>
                    </a:lnTo>
                    <a:lnTo>
                      <a:pt x="188" y="537"/>
                    </a:lnTo>
                    <a:lnTo>
                      <a:pt x="173" y="528"/>
                    </a:lnTo>
                    <a:lnTo>
                      <a:pt x="158" y="519"/>
                    </a:lnTo>
                    <a:lnTo>
                      <a:pt x="144" y="510"/>
                    </a:lnTo>
                    <a:lnTo>
                      <a:pt x="132" y="499"/>
                    </a:lnTo>
                    <a:lnTo>
                      <a:pt x="126" y="494"/>
                    </a:lnTo>
                    <a:lnTo>
                      <a:pt x="123" y="488"/>
                    </a:lnTo>
                    <a:lnTo>
                      <a:pt x="121" y="482"/>
                    </a:lnTo>
                    <a:lnTo>
                      <a:pt x="120" y="474"/>
                    </a:lnTo>
                    <a:lnTo>
                      <a:pt x="121" y="468"/>
                    </a:lnTo>
                    <a:lnTo>
                      <a:pt x="124" y="461"/>
                    </a:lnTo>
                    <a:lnTo>
                      <a:pt x="128" y="456"/>
                    </a:lnTo>
                    <a:lnTo>
                      <a:pt x="133" y="450"/>
                    </a:lnTo>
                    <a:lnTo>
                      <a:pt x="138" y="444"/>
                    </a:lnTo>
                    <a:lnTo>
                      <a:pt x="143" y="438"/>
                    </a:lnTo>
                    <a:lnTo>
                      <a:pt x="145" y="432"/>
                    </a:lnTo>
                    <a:lnTo>
                      <a:pt x="146" y="426"/>
                    </a:lnTo>
                    <a:lnTo>
                      <a:pt x="146" y="420"/>
                    </a:lnTo>
                    <a:lnTo>
                      <a:pt x="145" y="415"/>
                    </a:lnTo>
                    <a:lnTo>
                      <a:pt x="144" y="411"/>
                    </a:lnTo>
                    <a:lnTo>
                      <a:pt x="142" y="406"/>
                    </a:lnTo>
                    <a:lnTo>
                      <a:pt x="136" y="399"/>
                    </a:lnTo>
                    <a:lnTo>
                      <a:pt x="128" y="391"/>
                    </a:lnTo>
                    <a:lnTo>
                      <a:pt x="120" y="385"/>
                    </a:lnTo>
                    <a:lnTo>
                      <a:pt x="111" y="378"/>
                    </a:lnTo>
                    <a:lnTo>
                      <a:pt x="100" y="372"/>
                    </a:lnTo>
                    <a:lnTo>
                      <a:pt x="89" y="366"/>
                    </a:lnTo>
                    <a:lnTo>
                      <a:pt x="78" y="359"/>
                    </a:lnTo>
                    <a:lnTo>
                      <a:pt x="68" y="353"/>
                    </a:lnTo>
                    <a:lnTo>
                      <a:pt x="57" y="347"/>
                    </a:lnTo>
                    <a:lnTo>
                      <a:pt x="48" y="339"/>
                    </a:lnTo>
                    <a:lnTo>
                      <a:pt x="41" y="332"/>
                    </a:lnTo>
                    <a:lnTo>
                      <a:pt x="34" y="323"/>
                    </a:lnTo>
                    <a:lnTo>
                      <a:pt x="32" y="318"/>
                    </a:lnTo>
                    <a:lnTo>
                      <a:pt x="30" y="313"/>
                    </a:lnTo>
                    <a:lnTo>
                      <a:pt x="27" y="307"/>
                    </a:lnTo>
                    <a:lnTo>
                      <a:pt x="27" y="302"/>
                    </a:lnTo>
                    <a:lnTo>
                      <a:pt x="34" y="302"/>
                    </a:lnTo>
                    <a:lnTo>
                      <a:pt x="41" y="301"/>
                    </a:lnTo>
                    <a:lnTo>
                      <a:pt x="46" y="300"/>
                    </a:lnTo>
                    <a:lnTo>
                      <a:pt x="50" y="298"/>
                    </a:lnTo>
                    <a:lnTo>
                      <a:pt x="55" y="297"/>
                    </a:lnTo>
                    <a:lnTo>
                      <a:pt x="59" y="294"/>
                    </a:lnTo>
                    <a:lnTo>
                      <a:pt x="62" y="292"/>
                    </a:lnTo>
                    <a:lnTo>
                      <a:pt x="65" y="289"/>
                    </a:lnTo>
                    <a:lnTo>
                      <a:pt x="69" y="282"/>
                    </a:lnTo>
                    <a:lnTo>
                      <a:pt x="71" y="274"/>
                    </a:lnTo>
                    <a:lnTo>
                      <a:pt x="73" y="264"/>
                    </a:lnTo>
                    <a:lnTo>
                      <a:pt x="73" y="252"/>
                    </a:lnTo>
                    <a:lnTo>
                      <a:pt x="73" y="247"/>
                    </a:lnTo>
                    <a:lnTo>
                      <a:pt x="72" y="242"/>
                    </a:lnTo>
                    <a:lnTo>
                      <a:pt x="71" y="237"/>
                    </a:lnTo>
                    <a:lnTo>
                      <a:pt x="69" y="233"/>
                    </a:lnTo>
                    <a:lnTo>
                      <a:pt x="64" y="225"/>
                    </a:lnTo>
                    <a:lnTo>
                      <a:pt x="58" y="217"/>
                    </a:lnTo>
                    <a:lnTo>
                      <a:pt x="43" y="205"/>
                    </a:lnTo>
                    <a:lnTo>
                      <a:pt x="27" y="191"/>
                    </a:lnTo>
                    <a:lnTo>
                      <a:pt x="19" y="176"/>
                    </a:lnTo>
                    <a:lnTo>
                      <a:pt x="13" y="163"/>
                    </a:lnTo>
                    <a:lnTo>
                      <a:pt x="10" y="151"/>
                    </a:lnTo>
                    <a:lnTo>
                      <a:pt x="9" y="139"/>
                    </a:lnTo>
                    <a:lnTo>
                      <a:pt x="8" y="128"/>
                    </a:lnTo>
                    <a:lnTo>
                      <a:pt x="6" y="117"/>
                    </a:lnTo>
                    <a:lnTo>
                      <a:pt x="4" y="106"/>
                    </a:lnTo>
                    <a:lnTo>
                      <a:pt x="0" y="93"/>
                    </a:lnTo>
                    <a:lnTo>
                      <a:pt x="0" y="50"/>
                    </a:lnTo>
                    <a:lnTo>
                      <a:pt x="1" y="36"/>
                    </a:lnTo>
                    <a:lnTo>
                      <a:pt x="3" y="22"/>
                    </a:lnTo>
                    <a:lnTo>
                      <a:pt x="5" y="10"/>
                    </a:lnTo>
                    <a:lnTo>
                      <a:pt x="6" y="0"/>
                    </a:lnTo>
                    <a:lnTo>
                      <a:pt x="23" y="4"/>
                    </a:lnTo>
                    <a:lnTo>
                      <a:pt x="38" y="5"/>
                    </a:lnTo>
                    <a:lnTo>
                      <a:pt x="53" y="6"/>
                    </a:lnTo>
                    <a:lnTo>
                      <a:pt x="66" y="5"/>
                    </a:lnTo>
                    <a:lnTo>
                      <a:pt x="92" y="2"/>
                    </a:lnTo>
                    <a:lnTo>
                      <a:pt x="120" y="0"/>
                    </a:lnTo>
                    <a:lnTo>
                      <a:pt x="140" y="1"/>
                    </a:lnTo>
                    <a:lnTo>
                      <a:pt x="159" y="4"/>
                    </a:lnTo>
                    <a:lnTo>
                      <a:pt x="178" y="7"/>
                    </a:lnTo>
                    <a:lnTo>
                      <a:pt x="194" y="13"/>
                    </a:lnTo>
                    <a:lnTo>
                      <a:pt x="211" y="18"/>
                    </a:lnTo>
                    <a:lnTo>
                      <a:pt x="226" y="25"/>
                    </a:lnTo>
                    <a:lnTo>
                      <a:pt x="243" y="33"/>
                    </a:lnTo>
                    <a:lnTo>
                      <a:pt x="258" y="41"/>
                    </a:lnTo>
                    <a:lnTo>
                      <a:pt x="273" y="48"/>
                    </a:lnTo>
                    <a:lnTo>
                      <a:pt x="290" y="55"/>
                    </a:lnTo>
                    <a:lnTo>
                      <a:pt x="306" y="62"/>
                    </a:lnTo>
                    <a:lnTo>
                      <a:pt x="324" y="68"/>
                    </a:lnTo>
                    <a:lnTo>
                      <a:pt x="342" y="73"/>
                    </a:lnTo>
                    <a:lnTo>
                      <a:pt x="361" y="76"/>
                    </a:lnTo>
                    <a:lnTo>
                      <a:pt x="383" y="79"/>
                    </a:lnTo>
                    <a:lnTo>
                      <a:pt x="405" y="80"/>
                    </a:lnTo>
                    <a:lnTo>
                      <a:pt x="419" y="79"/>
                    </a:lnTo>
                    <a:lnTo>
                      <a:pt x="432" y="78"/>
                    </a:lnTo>
                    <a:lnTo>
                      <a:pt x="443" y="77"/>
                    </a:lnTo>
                    <a:lnTo>
                      <a:pt x="452" y="74"/>
                    </a:lnTo>
                    <a:lnTo>
                      <a:pt x="470" y="68"/>
                    </a:lnTo>
                    <a:lnTo>
                      <a:pt x="484" y="62"/>
                    </a:lnTo>
                    <a:lnTo>
                      <a:pt x="498" y="55"/>
                    </a:lnTo>
                    <a:lnTo>
                      <a:pt x="515" y="49"/>
                    </a:lnTo>
                    <a:lnTo>
                      <a:pt x="524" y="47"/>
                    </a:lnTo>
                    <a:lnTo>
                      <a:pt x="534" y="45"/>
                    </a:lnTo>
                    <a:lnTo>
                      <a:pt x="546" y="44"/>
                    </a:lnTo>
                    <a:lnTo>
                      <a:pt x="559" y="44"/>
                    </a:lnTo>
                    <a:lnTo>
                      <a:pt x="569" y="44"/>
                    </a:lnTo>
                    <a:lnTo>
                      <a:pt x="577" y="46"/>
                    </a:lnTo>
                    <a:lnTo>
                      <a:pt x="585" y="50"/>
                    </a:lnTo>
                    <a:lnTo>
                      <a:pt x="593" y="54"/>
                    </a:lnTo>
                    <a:lnTo>
                      <a:pt x="598" y="59"/>
                    </a:lnTo>
                    <a:lnTo>
                      <a:pt x="603" y="65"/>
                    </a:lnTo>
                    <a:lnTo>
                      <a:pt x="607" y="71"/>
                    </a:lnTo>
                    <a:lnTo>
                      <a:pt x="610" y="77"/>
                    </a:lnTo>
                    <a:lnTo>
                      <a:pt x="617" y="90"/>
                    </a:lnTo>
                    <a:lnTo>
                      <a:pt x="622" y="101"/>
                    </a:lnTo>
                    <a:lnTo>
                      <a:pt x="626" y="105"/>
                    </a:lnTo>
                    <a:lnTo>
                      <a:pt x="629" y="108"/>
                    </a:lnTo>
                    <a:lnTo>
                      <a:pt x="633" y="110"/>
                    </a:lnTo>
                    <a:lnTo>
                      <a:pt x="638" y="111"/>
                    </a:lnTo>
                    <a:lnTo>
                      <a:pt x="642" y="121"/>
                    </a:lnTo>
                    <a:lnTo>
                      <a:pt x="649" y="134"/>
                    </a:lnTo>
                    <a:lnTo>
                      <a:pt x="658" y="151"/>
                    </a:lnTo>
                    <a:lnTo>
                      <a:pt x="667" y="169"/>
                    </a:lnTo>
                    <a:lnTo>
                      <a:pt x="678" y="186"/>
                    </a:lnTo>
                    <a:lnTo>
                      <a:pt x="689" y="202"/>
                    </a:lnTo>
                    <a:lnTo>
                      <a:pt x="695" y="209"/>
                    </a:lnTo>
                    <a:lnTo>
                      <a:pt x="700" y="215"/>
                    </a:lnTo>
                    <a:lnTo>
                      <a:pt x="706" y="219"/>
                    </a:lnTo>
                    <a:lnTo>
                      <a:pt x="711" y="222"/>
                    </a:lnTo>
                    <a:lnTo>
                      <a:pt x="738" y="222"/>
                    </a:lnTo>
                    <a:lnTo>
                      <a:pt x="738" y="217"/>
                    </a:lnTo>
                    <a:lnTo>
                      <a:pt x="739" y="211"/>
                    </a:lnTo>
                    <a:lnTo>
                      <a:pt x="741" y="206"/>
                    </a:lnTo>
                    <a:lnTo>
                      <a:pt x="743" y="202"/>
                    </a:lnTo>
                    <a:lnTo>
                      <a:pt x="747" y="196"/>
                    </a:lnTo>
                    <a:lnTo>
                      <a:pt x="750" y="192"/>
                    </a:lnTo>
                    <a:lnTo>
                      <a:pt x="754" y="189"/>
                    </a:lnTo>
                    <a:lnTo>
                      <a:pt x="759" y="185"/>
                    </a:lnTo>
                    <a:lnTo>
                      <a:pt x="768" y="180"/>
                    </a:lnTo>
                    <a:lnTo>
                      <a:pt x="779" y="176"/>
                    </a:lnTo>
                    <a:lnTo>
                      <a:pt x="792" y="173"/>
                    </a:lnTo>
                    <a:lnTo>
                      <a:pt x="805" y="173"/>
                    </a:lnTo>
                    <a:lnTo>
                      <a:pt x="810" y="173"/>
                    </a:lnTo>
                    <a:lnTo>
                      <a:pt x="816" y="174"/>
                    </a:lnTo>
                    <a:lnTo>
                      <a:pt x="822" y="176"/>
                    </a:lnTo>
                    <a:lnTo>
                      <a:pt x="828" y="178"/>
                    </a:lnTo>
                    <a:lnTo>
                      <a:pt x="833" y="181"/>
                    </a:lnTo>
                    <a:lnTo>
                      <a:pt x="838" y="185"/>
                    </a:lnTo>
                    <a:lnTo>
                      <a:pt x="843" y="189"/>
                    </a:lnTo>
                    <a:lnTo>
                      <a:pt x="848" y="193"/>
                    </a:lnTo>
                    <a:lnTo>
                      <a:pt x="856" y="205"/>
                    </a:lnTo>
                    <a:lnTo>
                      <a:pt x="865" y="217"/>
                    </a:lnTo>
                    <a:lnTo>
                      <a:pt x="872" y="230"/>
                    </a:lnTo>
                    <a:lnTo>
                      <a:pt x="879" y="244"/>
                    </a:lnTo>
                    <a:lnTo>
                      <a:pt x="885" y="260"/>
                    </a:lnTo>
                    <a:lnTo>
                      <a:pt x="889" y="275"/>
                    </a:lnTo>
                    <a:lnTo>
                      <a:pt x="894" y="290"/>
                    </a:lnTo>
                    <a:lnTo>
                      <a:pt x="898" y="305"/>
                    </a:lnTo>
                    <a:lnTo>
                      <a:pt x="900" y="320"/>
                    </a:lnTo>
                    <a:lnTo>
                      <a:pt x="902" y="334"/>
                    </a:lnTo>
                    <a:lnTo>
                      <a:pt x="904" y="346"/>
                    </a:lnTo>
                    <a:lnTo>
                      <a:pt x="904" y="357"/>
                    </a:lnTo>
                    <a:lnTo>
                      <a:pt x="905" y="362"/>
                    </a:lnTo>
                    <a:lnTo>
                      <a:pt x="906" y="367"/>
                    </a:lnTo>
                    <a:lnTo>
                      <a:pt x="908" y="372"/>
                    </a:lnTo>
                    <a:lnTo>
                      <a:pt x="910" y="376"/>
                    </a:lnTo>
                    <a:lnTo>
                      <a:pt x="918" y="384"/>
                    </a:lnTo>
                    <a:lnTo>
                      <a:pt x="928" y="391"/>
                    </a:lnTo>
                    <a:lnTo>
                      <a:pt x="939" y="398"/>
                    </a:lnTo>
                    <a:lnTo>
                      <a:pt x="952" y="402"/>
                    </a:lnTo>
                    <a:lnTo>
                      <a:pt x="957" y="404"/>
                    </a:lnTo>
                    <a:lnTo>
                      <a:pt x="964" y="405"/>
                    </a:lnTo>
                    <a:lnTo>
                      <a:pt x="971" y="406"/>
                    </a:lnTo>
                    <a:lnTo>
                      <a:pt x="977" y="407"/>
                    </a:lnTo>
                    <a:lnTo>
                      <a:pt x="977" y="394"/>
                    </a:lnTo>
                    <a:lnTo>
                      <a:pt x="976" y="414"/>
                    </a:lnTo>
                    <a:lnTo>
                      <a:pt x="975" y="430"/>
                    </a:lnTo>
                    <a:lnTo>
                      <a:pt x="974" y="437"/>
                    </a:lnTo>
                    <a:lnTo>
                      <a:pt x="974" y="443"/>
                    </a:lnTo>
                    <a:lnTo>
                      <a:pt x="975" y="449"/>
                    </a:lnTo>
                    <a:lnTo>
                      <a:pt x="977" y="456"/>
                    </a:lnTo>
                    <a:lnTo>
                      <a:pt x="971" y="457"/>
                    </a:lnTo>
                    <a:lnTo>
                      <a:pt x="964" y="458"/>
                    </a:lnTo>
                    <a:lnTo>
                      <a:pt x="958" y="461"/>
                    </a:lnTo>
                    <a:lnTo>
                      <a:pt x="953" y="464"/>
                    </a:lnTo>
                    <a:lnTo>
                      <a:pt x="949" y="467"/>
                    </a:lnTo>
                    <a:lnTo>
                      <a:pt x="944" y="471"/>
                    </a:lnTo>
                    <a:lnTo>
                      <a:pt x="940" y="475"/>
                    </a:lnTo>
                    <a:lnTo>
                      <a:pt x="936" y="481"/>
                    </a:lnTo>
                    <a:lnTo>
                      <a:pt x="931" y="492"/>
                    </a:lnTo>
                    <a:lnTo>
                      <a:pt x="926" y="504"/>
                    </a:lnTo>
                    <a:lnTo>
                      <a:pt x="922" y="517"/>
                    </a:lnTo>
                    <a:lnTo>
                      <a:pt x="920" y="531"/>
                    </a:lnTo>
                    <a:lnTo>
                      <a:pt x="918" y="546"/>
                    </a:lnTo>
                    <a:lnTo>
                      <a:pt x="917" y="561"/>
                    </a:lnTo>
                    <a:lnTo>
                      <a:pt x="917" y="575"/>
                    </a:lnTo>
                    <a:lnTo>
                      <a:pt x="917" y="590"/>
                    </a:lnTo>
                    <a:lnTo>
                      <a:pt x="917" y="615"/>
                    </a:lnTo>
                    <a:lnTo>
                      <a:pt x="917" y="634"/>
                    </a:lnTo>
                    <a:lnTo>
                      <a:pt x="917" y="654"/>
                    </a:lnTo>
                    <a:lnTo>
                      <a:pt x="918" y="685"/>
                    </a:lnTo>
                    <a:lnTo>
                      <a:pt x="919" y="702"/>
                    </a:lnTo>
                    <a:lnTo>
                      <a:pt x="920" y="717"/>
                    </a:lnTo>
                    <a:lnTo>
                      <a:pt x="921" y="730"/>
                    </a:lnTo>
                    <a:lnTo>
                      <a:pt x="923" y="739"/>
                    </a:lnTo>
                    <a:lnTo>
                      <a:pt x="933" y="758"/>
                    </a:lnTo>
                    <a:lnTo>
                      <a:pt x="947" y="780"/>
                    </a:lnTo>
                    <a:lnTo>
                      <a:pt x="956" y="791"/>
                    </a:lnTo>
                    <a:lnTo>
                      <a:pt x="965" y="803"/>
                    </a:lnTo>
                    <a:lnTo>
                      <a:pt x="975" y="816"/>
                    </a:lnTo>
                    <a:lnTo>
                      <a:pt x="985" y="827"/>
                    </a:lnTo>
                    <a:lnTo>
                      <a:pt x="996" y="838"/>
                    </a:lnTo>
                    <a:lnTo>
                      <a:pt x="1007" y="848"/>
                    </a:lnTo>
                    <a:lnTo>
                      <a:pt x="1019" y="857"/>
                    </a:lnTo>
                    <a:lnTo>
                      <a:pt x="1030" y="865"/>
                    </a:lnTo>
                    <a:lnTo>
                      <a:pt x="1042" y="872"/>
                    </a:lnTo>
                    <a:lnTo>
                      <a:pt x="1054" y="877"/>
                    </a:lnTo>
                    <a:lnTo>
                      <a:pt x="1065" y="880"/>
                    </a:lnTo>
                    <a:lnTo>
                      <a:pt x="1077" y="881"/>
                    </a:lnTo>
                    <a:lnTo>
                      <a:pt x="1090" y="877"/>
                    </a:lnTo>
                    <a:lnTo>
                      <a:pt x="1114" y="865"/>
                    </a:lnTo>
                    <a:lnTo>
                      <a:pt x="1126" y="860"/>
                    </a:lnTo>
                    <a:lnTo>
                      <a:pt x="1140" y="855"/>
                    </a:lnTo>
                    <a:lnTo>
                      <a:pt x="1149" y="852"/>
                    </a:lnTo>
                    <a:lnTo>
                      <a:pt x="1156" y="850"/>
                    </a:lnTo>
                    <a:lnTo>
                      <a:pt x="1166" y="849"/>
                    </a:lnTo>
                    <a:lnTo>
                      <a:pt x="1178" y="849"/>
                    </a:lnTo>
                    <a:lnTo>
                      <a:pt x="1192" y="851"/>
                    </a:lnTo>
                    <a:lnTo>
                      <a:pt x="1208" y="852"/>
                    </a:lnTo>
                    <a:lnTo>
                      <a:pt x="1222" y="854"/>
                    </a:lnTo>
                    <a:lnTo>
                      <a:pt x="1235" y="854"/>
                    </a:lnTo>
                    <a:lnTo>
                      <a:pt x="1240" y="854"/>
                    </a:lnTo>
                    <a:lnTo>
                      <a:pt x="1244" y="853"/>
                    </a:lnTo>
                    <a:lnTo>
                      <a:pt x="1247" y="852"/>
                    </a:lnTo>
                    <a:lnTo>
                      <a:pt x="1249" y="850"/>
                    </a:lnTo>
                    <a:lnTo>
                      <a:pt x="1257" y="842"/>
                    </a:lnTo>
                    <a:lnTo>
                      <a:pt x="1264" y="834"/>
                    </a:lnTo>
                    <a:lnTo>
                      <a:pt x="1269" y="826"/>
                    </a:lnTo>
                    <a:lnTo>
                      <a:pt x="1274" y="818"/>
                    </a:lnTo>
                    <a:lnTo>
                      <a:pt x="1280" y="801"/>
                    </a:lnTo>
                    <a:lnTo>
                      <a:pt x="1285" y="785"/>
                    </a:lnTo>
                    <a:lnTo>
                      <a:pt x="1288" y="768"/>
                    </a:lnTo>
                    <a:lnTo>
                      <a:pt x="1292" y="750"/>
                    </a:lnTo>
                    <a:lnTo>
                      <a:pt x="1296" y="742"/>
                    </a:lnTo>
                    <a:lnTo>
                      <a:pt x="1299" y="733"/>
                    </a:lnTo>
                    <a:lnTo>
                      <a:pt x="1303" y="724"/>
                    </a:lnTo>
                    <a:lnTo>
                      <a:pt x="1309" y="715"/>
                    </a:lnTo>
                    <a:lnTo>
                      <a:pt x="1311" y="712"/>
                    </a:lnTo>
                    <a:lnTo>
                      <a:pt x="1313" y="709"/>
                    </a:lnTo>
                    <a:lnTo>
                      <a:pt x="1315" y="706"/>
                    </a:lnTo>
                    <a:lnTo>
                      <a:pt x="1319" y="703"/>
                    </a:lnTo>
                    <a:lnTo>
                      <a:pt x="1326" y="697"/>
                    </a:lnTo>
                    <a:lnTo>
                      <a:pt x="1336" y="693"/>
                    </a:lnTo>
                    <a:lnTo>
                      <a:pt x="1347" y="690"/>
                    </a:lnTo>
                    <a:lnTo>
                      <a:pt x="1359" y="687"/>
                    </a:lnTo>
                    <a:lnTo>
                      <a:pt x="1373" y="684"/>
                    </a:lnTo>
                    <a:lnTo>
                      <a:pt x="1387" y="682"/>
                    </a:lnTo>
                    <a:lnTo>
                      <a:pt x="1416" y="680"/>
                    </a:lnTo>
                    <a:lnTo>
                      <a:pt x="1446" y="678"/>
                    </a:lnTo>
                    <a:lnTo>
                      <a:pt x="1472" y="678"/>
                    </a:lnTo>
                    <a:lnTo>
                      <a:pt x="1495" y="678"/>
                    </a:lnTo>
                    <a:lnTo>
                      <a:pt x="1506" y="678"/>
                    </a:lnTo>
                    <a:lnTo>
                      <a:pt x="1522" y="678"/>
                    </a:lnTo>
                    <a:lnTo>
                      <a:pt x="1524" y="684"/>
                    </a:lnTo>
                    <a:lnTo>
                      <a:pt x="1528" y="693"/>
                    </a:lnTo>
                    <a:lnTo>
                      <a:pt x="1533" y="703"/>
                    </a:lnTo>
                    <a:lnTo>
                      <a:pt x="1535" y="709"/>
                    </a:lnTo>
                    <a:lnTo>
                      <a:pt x="1526" y="714"/>
                    </a:lnTo>
                    <a:lnTo>
                      <a:pt x="1515" y="720"/>
                    </a:lnTo>
                    <a:lnTo>
                      <a:pt x="1510" y="724"/>
                    </a:lnTo>
                    <a:lnTo>
                      <a:pt x="1503" y="729"/>
                    </a:lnTo>
                    <a:lnTo>
                      <a:pt x="1498" y="735"/>
                    </a:lnTo>
                    <a:lnTo>
                      <a:pt x="1492" y="741"/>
                    </a:lnTo>
                    <a:lnTo>
                      <a:pt x="1487" y="748"/>
                    </a:lnTo>
                    <a:lnTo>
                      <a:pt x="1481" y="758"/>
                    </a:lnTo>
                    <a:lnTo>
                      <a:pt x="1477" y="767"/>
                    </a:lnTo>
                    <a:lnTo>
                      <a:pt x="1473" y="778"/>
                    </a:lnTo>
                    <a:lnTo>
                      <a:pt x="1470" y="791"/>
                    </a:lnTo>
                    <a:lnTo>
                      <a:pt x="1469" y="804"/>
                    </a:lnTo>
                    <a:lnTo>
                      <a:pt x="1468" y="821"/>
                    </a:lnTo>
                    <a:lnTo>
                      <a:pt x="1469" y="838"/>
                    </a:lnTo>
                    <a:lnTo>
                      <a:pt x="1455" y="854"/>
                    </a:lnTo>
                    <a:lnTo>
                      <a:pt x="1444" y="868"/>
                    </a:lnTo>
                    <a:lnTo>
                      <a:pt x="1435" y="878"/>
                    </a:lnTo>
                    <a:lnTo>
                      <a:pt x="1428" y="888"/>
                    </a:lnTo>
                    <a:lnTo>
                      <a:pt x="1414" y="888"/>
                    </a:lnTo>
                    <a:lnTo>
                      <a:pt x="1401" y="888"/>
                    </a:lnTo>
                    <a:lnTo>
                      <a:pt x="1387" y="888"/>
                    </a:lnTo>
                    <a:lnTo>
                      <a:pt x="1369" y="888"/>
                    </a:lnTo>
                    <a:lnTo>
                      <a:pt x="1367" y="888"/>
                    </a:lnTo>
                    <a:lnTo>
                      <a:pt x="1359" y="888"/>
                    </a:lnTo>
                    <a:lnTo>
                      <a:pt x="1349" y="888"/>
                    </a:lnTo>
                    <a:lnTo>
                      <a:pt x="1336" y="888"/>
                    </a:lnTo>
                  </a:path>
                </a:pathLst>
              </a:custGeom>
              <a:grpFill/>
              <a:ln w="9525" cap="flat" cmpd="sng">
                <a:solidFill>
                  <a:srgbClr val="FFFFFF"/>
                </a:solidFill>
                <a:prstDash val="solid"/>
                <a:round/>
                <a:headEnd type="none" w="med" len="med"/>
                <a:tailEnd type="none" w="med" len="med"/>
              </a:ln>
              <a:effectLst/>
            </p:spPr>
            <p:txBody>
              <a:bodyPr/>
              <a:lstStyle/>
              <a:p>
                <a:endParaRPr lang="en-GB" sz="1637"/>
              </a:p>
            </p:txBody>
          </p:sp>
          <p:sp>
            <p:nvSpPr>
              <p:cNvPr id="421" name="Freeform 194"/>
              <p:cNvSpPr>
                <a:spLocks/>
              </p:cNvSpPr>
              <p:nvPr>
                <p:custDataLst>
                  <p:tags r:id="rId265"/>
                </p:custDataLst>
              </p:nvPr>
            </p:nvSpPr>
            <p:spPr bwMode="auto">
              <a:xfrm>
                <a:off x="2243737" y="4678611"/>
                <a:ext cx="230487" cy="299092"/>
              </a:xfrm>
              <a:custGeom>
                <a:avLst/>
                <a:gdLst>
                  <a:gd name="T0" fmla="*/ 6082 w 486"/>
                  <a:gd name="T1" fmla="*/ 92396 h 505"/>
                  <a:gd name="T2" fmla="*/ 13468 w 486"/>
                  <a:gd name="T3" fmla="*/ 103945 h 505"/>
                  <a:gd name="T4" fmla="*/ 22156 w 486"/>
                  <a:gd name="T5" fmla="*/ 121794 h 505"/>
                  <a:gd name="T6" fmla="*/ 35624 w 486"/>
                  <a:gd name="T7" fmla="*/ 139644 h 505"/>
                  <a:gd name="T8" fmla="*/ 54739 w 486"/>
                  <a:gd name="T9" fmla="*/ 153818 h 505"/>
                  <a:gd name="T10" fmla="*/ 73855 w 486"/>
                  <a:gd name="T11" fmla="*/ 162743 h 505"/>
                  <a:gd name="T12" fmla="*/ 106872 w 486"/>
                  <a:gd name="T13" fmla="*/ 172192 h 505"/>
                  <a:gd name="T14" fmla="*/ 128160 w 486"/>
                  <a:gd name="T15" fmla="*/ 180592 h 505"/>
                  <a:gd name="T16" fmla="*/ 129898 w 486"/>
                  <a:gd name="T17" fmla="*/ 200016 h 505"/>
                  <a:gd name="T18" fmla="*/ 120340 w 486"/>
                  <a:gd name="T19" fmla="*/ 219440 h 505"/>
                  <a:gd name="T20" fmla="*/ 115996 w 486"/>
                  <a:gd name="T21" fmla="*/ 232564 h 505"/>
                  <a:gd name="T22" fmla="*/ 115561 w 486"/>
                  <a:gd name="T23" fmla="*/ 243064 h 505"/>
                  <a:gd name="T24" fmla="*/ 120774 w 486"/>
                  <a:gd name="T25" fmla="*/ 253039 h 505"/>
                  <a:gd name="T26" fmla="*/ 129898 w 486"/>
                  <a:gd name="T27" fmla="*/ 259338 h 505"/>
                  <a:gd name="T28" fmla="*/ 149447 w 486"/>
                  <a:gd name="T29" fmla="*/ 264588 h 505"/>
                  <a:gd name="T30" fmla="*/ 168128 w 486"/>
                  <a:gd name="T31" fmla="*/ 264588 h 505"/>
                  <a:gd name="T32" fmla="*/ 180293 w 486"/>
                  <a:gd name="T33" fmla="*/ 259338 h 505"/>
                  <a:gd name="T34" fmla="*/ 193760 w 486"/>
                  <a:gd name="T35" fmla="*/ 248839 h 505"/>
                  <a:gd name="T36" fmla="*/ 205490 w 486"/>
                  <a:gd name="T37" fmla="*/ 234664 h 505"/>
                  <a:gd name="T38" fmla="*/ 210704 w 486"/>
                  <a:gd name="T39" fmla="*/ 219440 h 505"/>
                  <a:gd name="T40" fmla="*/ 210269 w 486"/>
                  <a:gd name="T41" fmla="*/ 208416 h 505"/>
                  <a:gd name="T42" fmla="*/ 207662 w 486"/>
                  <a:gd name="T43" fmla="*/ 187941 h 505"/>
                  <a:gd name="T44" fmla="*/ 204621 w 486"/>
                  <a:gd name="T45" fmla="*/ 165892 h 505"/>
                  <a:gd name="T46" fmla="*/ 202015 w 486"/>
                  <a:gd name="T47" fmla="*/ 141744 h 505"/>
                  <a:gd name="T48" fmla="*/ 198105 w 486"/>
                  <a:gd name="T49" fmla="*/ 132294 h 505"/>
                  <a:gd name="T50" fmla="*/ 190719 w 486"/>
                  <a:gd name="T51" fmla="*/ 125469 h 505"/>
                  <a:gd name="T52" fmla="*/ 179424 w 486"/>
                  <a:gd name="T53" fmla="*/ 121794 h 505"/>
                  <a:gd name="T54" fmla="*/ 170301 w 486"/>
                  <a:gd name="T55" fmla="*/ 116545 h 505"/>
                  <a:gd name="T56" fmla="*/ 160743 w 486"/>
                  <a:gd name="T57" fmla="*/ 108670 h 505"/>
                  <a:gd name="T58" fmla="*/ 143365 w 486"/>
                  <a:gd name="T59" fmla="*/ 98696 h 505"/>
                  <a:gd name="T60" fmla="*/ 125988 w 486"/>
                  <a:gd name="T61" fmla="*/ 90296 h 505"/>
                  <a:gd name="T62" fmla="*/ 118602 w 486"/>
                  <a:gd name="T63" fmla="*/ 83996 h 505"/>
                  <a:gd name="T64" fmla="*/ 114692 w 486"/>
                  <a:gd name="T65" fmla="*/ 79271 h 505"/>
                  <a:gd name="T66" fmla="*/ 113389 w 486"/>
                  <a:gd name="T67" fmla="*/ 65622 h 505"/>
                  <a:gd name="T68" fmla="*/ 113389 w 486"/>
                  <a:gd name="T69" fmla="*/ 47248 h 505"/>
                  <a:gd name="T70" fmla="*/ 110782 w 486"/>
                  <a:gd name="T71" fmla="*/ 37273 h 505"/>
                  <a:gd name="T72" fmla="*/ 104700 w 486"/>
                  <a:gd name="T73" fmla="*/ 28874 h 505"/>
                  <a:gd name="T74" fmla="*/ 101659 w 486"/>
                  <a:gd name="T75" fmla="*/ 19424 h 505"/>
                  <a:gd name="T76" fmla="*/ 86454 w 486"/>
                  <a:gd name="T77" fmla="*/ 6300 h 505"/>
                  <a:gd name="T78" fmla="*/ 80806 w 486"/>
                  <a:gd name="T79" fmla="*/ 4200 h 505"/>
                  <a:gd name="T80" fmla="*/ 75158 w 486"/>
                  <a:gd name="T81" fmla="*/ 1050 h 505"/>
                  <a:gd name="T82" fmla="*/ 60387 w 486"/>
                  <a:gd name="T83" fmla="*/ 525 h 505"/>
                  <a:gd name="T84" fmla="*/ 30411 w 486"/>
                  <a:gd name="T85" fmla="*/ 5775 h 505"/>
                  <a:gd name="T86" fmla="*/ 18246 w 486"/>
                  <a:gd name="T87" fmla="*/ 11025 h 505"/>
                  <a:gd name="T88" fmla="*/ 10427 w 486"/>
                  <a:gd name="T89" fmla="*/ 19424 h 505"/>
                  <a:gd name="T90" fmla="*/ 8689 w 486"/>
                  <a:gd name="T91" fmla="*/ 33598 h 50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86" h="505">
                    <a:moveTo>
                      <a:pt x="0" y="166"/>
                    </a:moveTo>
                    <a:lnTo>
                      <a:pt x="7" y="171"/>
                    </a:lnTo>
                    <a:lnTo>
                      <a:pt x="14" y="176"/>
                    </a:lnTo>
                    <a:lnTo>
                      <a:pt x="19" y="181"/>
                    </a:lnTo>
                    <a:lnTo>
                      <a:pt x="24" y="186"/>
                    </a:lnTo>
                    <a:lnTo>
                      <a:pt x="31" y="198"/>
                    </a:lnTo>
                    <a:lnTo>
                      <a:pt x="39" y="210"/>
                    </a:lnTo>
                    <a:lnTo>
                      <a:pt x="44" y="221"/>
                    </a:lnTo>
                    <a:lnTo>
                      <a:pt x="51" y="232"/>
                    </a:lnTo>
                    <a:lnTo>
                      <a:pt x="58" y="242"/>
                    </a:lnTo>
                    <a:lnTo>
                      <a:pt x="66" y="253"/>
                    </a:lnTo>
                    <a:lnTo>
                      <a:pt x="82" y="266"/>
                    </a:lnTo>
                    <a:lnTo>
                      <a:pt x="96" y="276"/>
                    </a:lnTo>
                    <a:lnTo>
                      <a:pt x="111" y="285"/>
                    </a:lnTo>
                    <a:lnTo>
                      <a:pt x="126" y="293"/>
                    </a:lnTo>
                    <a:lnTo>
                      <a:pt x="140" y="299"/>
                    </a:lnTo>
                    <a:lnTo>
                      <a:pt x="155" y="305"/>
                    </a:lnTo>
                    <a:lnTo>
                      <a:pt x="170" y="310"/>
                    </a:lnTo>
                    <a:lnTo>
                      <a:pt x="185" y="314"/>
                    </a:lnTo>
                    <a:lnTo>
                      <a:pt x="215" y="321"/>
                    </a:lnTo>
                    <a:lnTo>
                      <a:pt x="246" y="328"/>
                    </a:lnTo>
                    <a:lnTo>
                      <a:pt x="262" y="332"/>
                    </a:lnTo>
                    <a:lnTo>
                      <a:pt x="278" y="338"/>
                    </a:lnTo>
                    <a:lnTo>
                      <a:pt x="295" y="344"/>
                    </a:lnTo>
                    <a:lnTo>
                      <a:pt x="312" y="351"/>
                    </a:lnTo>
                    <a:lnTo>
                      <a:pt x="307" y="367"/>
                    </a:lnTo>
                    <a:lnTo>
                      <a:pt x="299" y="381"/>
                    </a:lnTo>
                    <a:lnTo>
                      <a:pt x="291" y="394"/>
                    </a:lnTo>
                    <a:lnTo>
                      <a:pt x="284" y="406"/>
                    </a:lnTo>
                    <a:lnTo>
                      <a:pt x="277" y="418"/>
                    </a:lnTo>
                    <a:lnTo>
                      <a:pt x="272" y="430"/>
                    </a:lnTo>
                    <a:lnTo>
                      <a:pt x="269" y="436"/>
                    </a:lnTo>
                    <a:lnTo>
                      <a:pt x="267" y="443"/>
                    </a:lnTo>
                    <a:lnTo>
                      <a:pt x="266" y="449"/>
                    </a:lnTo>
                    <a:lnTo>
                      <a:pt x="266" y="456"/>
                    </a:lnTo>
                    <a:lnTo>
                      <a:pt x="266" y="463"/>
                    </a:lnTo>
                    <a:lnTo>
                      <a:pt x="269" y="471"/>
                    </a:lnTo>
                    <a:lnTo>
                      <a:pt x="273" y="477"/>
                    </a:lnTo>
                    <a:lnTo>
                      <a:pt x="278" y="482"/>
                    </a:lnTo>
                    <a:lnTo>
                      <a:pt x="284" y="487"/>
                    </a:lnTo>
                    <a:lnTo>
                      <a:pt x="291" y="491"/>
                    </a:lnTo>
                    <a:lnTo>
                      <a:pt x="299" y="494"/>
                    </a:lnTo>
                    <a:lnTo>
                      <a:pt x="308" y="497"/>
                    </a:lnTo>
                    <a:lnTo>
                      <a:pt x="325" y="501"/>
                    </a:lnTo>
                    <a:lnTo>
                      <a:pt x="344" y="504"/>
                    </a:lnTo>
                    <a:lnTo>
                      <a:pt x="363" y="505"/>
                    </a:lnTo>
                    <a:lnTo>
                      <a:pt x="379" y="505"/>
                    </a:lnTo>
                    <a:lnTo>
                      <a:pt x="387" y="504"/>
                    </a:lnTo>
                    <a:lnTo>
                      <a:pt x="396" y="502"/>
                    </a:lnTo>
                    <a:lnTo>
                      <a:pt x="406" y="499"/>
                    </a:lnTo>
                    <a:lnTo>
                      <a:pt x="415" y="494"/>
                    </a:lnTo>
                    <a:lnTo>
                      <a:pt x="426" y="488"/>
                    </a:lnTo>
                    <a:lnTo>
                      <a:pt x="436" y="482"/>
                    </a:lnTo>
                    <a:lnTo>
                      <a:pt x="446" y="474"/>
                    </a:lnTo>
                    <a:lnTo>
                      <a:pt x="456" y="465"/>
                    </a:lnTo>
                    <a:lnTo>
                      <a:pt x="465" y="456"/>
                    </a:lnTo>
                    <a:lnTo>
                      <a:pt x="473" y="447"/>
                    </a:lnTo>
                    <a:lnTo>
                      <a:pt x="478" y="437"/>
                    </a:lnTo>
                    <a:lnTo>
                      <a:pt x="482" y="428"/>
                    </a:lnTo>
                    <a:lnTo>
                      <a:pt x="485" y="418"/>
                    </a:lnTo>
                    <a:lnTo>
                      <a:pt x="486" y="407"/>
                    </a:lnTo>
                    <a:lnTo>
                      <a:pt x="485" y="402"/>
                    </a:lnTo>
                    <a:lnTo>
                      <a:pt x="484" y="397"/>
                    </a:lnTo>
                    <a:lnTo>
                      <a:pt x="481" y="393"/>
                    </a:lnTo>
                    <a:lnTo>
                      <a:pt x="478" y="388"/>
                    </a:lnTo>
                    <a:lnTo>
                      <a:pt x="478" y="358"/>
                    </a:lnTo>
                    <a:lnTo>
                      <a:pt x="475" y="345"/>
                    </a:lnTo>
                    <a:lnTo>
                      <a:pt x="473" y="331"/>
                    </a:lnTo>
                    <a:lnTo>
                      <a:pt x="471" y="316"/>
                    </a:lnTo>
                    <a:lnTo>
                      <a:pt x="470" y="299"/>
                    </a:lnTo>
                    <a:lnTo>
                      <a:pt x="468" y="284"/>
                    </a:lnTo>
                    <a:lnTo>
                      <a:pt x="465" y="270"/>
                    </a:lnTo>
                    <a:lnTo>
                      <a:pt x="463" y="263"/>
                    </a:lnTo>
                    <a:lnTo>
                      <a:pt x="461" y="257"/>
                    </a:lnTo>
                    <a:lnTo>
                      <a:pt x="456" y="252"/>
                    </a:lnTo>
                    <a:lnTo>
                      <a:pt x="452" y="247"/>
                    </a:lnTo>
                    <a:lnTo>
                      <a:pt x="446" y="242"/>
                    </a:lnTo>
                    <a:lnTo>
                      <a:pt x="439" y="239"/>
                    </a:lnTo>
                    <a:lnTo>
                      <a:pt x="431" y="236"/>
                    </a:lnTo>
                    <a:lnTo>
                      <a:pt x="422" y="234"/>
                    </a:lnTo>
                    <a:lnTo>
                      <a:pt x="413" y="232"/>
                    </a:lnTo>
                    <a:lnTo>
                      <a:pt x="406" y="229"/>
                    </a:lnTo>
                    <a:lnTo>
                      <a:pt x="398" y="226"/>
                    </a:lnTo>
                    <a:lnTo>
                      <a:pt x="392" y="222"/>
                    </a:lnTo>
                    <a:lnTo>
                      <a:pt x="386" y="216"/>
                    </a:lnTo>
                    <a:lnTo>
                      <a:pt x="378" y="212"/>
                    </a:lnTo>
                    <a:lnTo>
                      <a:pt x="370" y="207"/>
                    </a:lnTo>
                    <a:lnTo>
                      <a:pt x="363" y="203"/>
                    </a:lnTo>
                    <a:lnTo>
                      <a:pt x="346" y="196"/>
                    </a:lnTo>
                    <a:lnTo>
                      <a:pt x="330" y="188"/>
                    </a:lnTo>
                    <a:lnTo>
                      <a:pt x="313" y="182"/>
                    </a:lnTo>
                    <a:lnTo>
                      <a:pt x="298" y="176"/>
                    </a:lnTo>
                    <a:lnTo>
                      <a:pt x="290" y="172"/>
                    </a:lnTo>
                    <a:lnTo>
                      <a:pt x="284" y="169"/>
                    </a:lnTo>
                    <a:lnTo>
                      <a:pt x="278" y="165"/>
                    </a:lnTo>
                    <a:lnTo>
                      <a:pt x="273" y="160"/>
                    </a:lnTo>
                    <a:lnTo>
                      <a:pt x="269" y="158"/>
                    </a:lnTo>
                    <a:lnTo>
                      <a:pt x="266" y="154"/>
                    </a:lnTo>
                    <a:lnTo>
                      <a:pt x="264" y="151"/>
                    </a:lnTo>
                    <a:lnTo>
                      <a:pt x="263" y="146"/>
                    </a:lnTo>
                    <a:lnTo>
                      <a:pt x="262" y="136"/>
                    </a:lnTo>
                    <a:lnTo>
                      <a:pt x="261" y="125"/>
                    </a:lnTo>
                    <a:lnTo>
                      <a:pt x="261" y="113"/>
                    </a:lnTo>
                    <a:lnTo>
                      <a:pt x="262" y="101"/>
                    </a:lnTo>
                    <a:lnTo>
                      <a:pt x="261" y="90"/>
                    </a:lnTo>
                    <a:lnTo>
                      <a:pt x="260" y="81"/>
                    </a:lnTo>
                    <a:lnTo>
                      <a:pt x="258" y="75"/>
                    </a:lnTo>
                    <a:lnTo>
                      <a:pt x="255" y="71"/>
                    </a:lnTo>
                    <a:lnTo>
                      <a:pt x="251" y="67"/>
                    </a:lnTo>
                    <a:lnTo>
                      <a:pt x="246" y="61"/>
                    </a:lnTo>
                    <a:lnTo>
                      <a:pt x="241" y="55"/>
                    </a:lnTo>
                    <a:lnTo>
                      <a:pt x="237" y="47"/>
                    </a:lnTo>
                    <a:lnTo>
                      <a:pt x="235" y="43"/>
                    </a:lnTo>
                    <a:lnTo>
                      <a:pt x="234" y="37"/>
                    </a:lnTo>
                    <a:lnTo>
                      <a:pt x="233" y="32"/>
                    </a:lnTo>
                    <a:lnTo>
                      <a:pt x="233" y="25"/>
                    </a:lnTo>
                    <a:lnTo>
                      <a:pt x="199" y="12"/>
                    </a:lnTo>
                    <a:lnTo>
                      <a:pt x="195" y="12"/>
                    </a:lnTo>
                    <a:lnTo>
                      <a:pt x="190" y="10"/>
                    </a:lnTo>
                    <a:lnTo>
                      <a:pt x="186" y="8"/>
                    </a:lnTo>
                    <a:lnTo>
                      <a:pt x="182" y="6"/>
                    </a:lnTo>
                    <a:lnTo>
                      <a:pt x="177" y="4"/>
                    </a:lnTo>
                    <a:lnTo>
                      <a:pt x="173" y="2"/>
                    </a:lnTo>
                    <a:lnTo>
                      <a:pt x="166" y="0"/>
                    </a:lnTo>
                    <a:lnTo>
                      <a:pt x="160" y="0"/>
                    </a:lnTo>
                    <a:lnTo>
                      <a:pt x="139" y="1"/>
                    </a:lnTo>
                    <a:lnTo>
                      <a:pt x="116" y="2"/>
                    </a:lnTo>
                    <a:lnTo>
                      <a:pt x="92" y="6"/>
                    </a:lnTo>
                    <a:lnTo>
                      <a:pt x="70" y="11"/>
                    </a:lnTo>
                    <a:lnTo>
                      <a:pt x="60" y="14"/>
                    </a:lnTo>
                    <a:lnTo>
                      <a:pt x="50" y="17"/>
                    </a:lnTo>
                    <a:lnTo>
                      <a:pt x="42" y="21"/>
                    </a:lnTo>
                    <a:lnTo>
                      <a:pt x="34" y="27"/>
                    </a:lnTo>
                    <a:lnTo>
                      <a:pt x="28" y="31"/>
                    </a:lnTo>
                    <a:lnTo>
                      <a:pt x="24" y="37"/>
                    </a:lnTo>
                    <a:lnTo>
                      <a:pt x="21" y="43"/>
                    </a:lnTo>
                    <a:lnTo>
                      <a:pt x="20" y="49"/>
                    </a:lnTo>
                    <a:lnTo>
                      <a:pt x="20" y="64"/>
                    </a:lnTo>
                    <a:lnTo>
                      <a:pt x="20" y="74"/>
                    </a:lnTo>
                    <a:lnTo>
                      <a:pt x="0" y="166"/>
                    </a:lnTo>
                  </a:path>
                </a:pathLst>
              </a:custGeom>
              <a:grpFill/>
              <a:ln w="9525" cap="flat" cmpd="sng">
                <a:solidFill>
                  <a:srgbClr val="FFFFFF"/>
                </a:solidFill>
                <a:prstDash val="solid"/>
                <a:round/>
                <a:headEnd type="none" w="med" len="med"/>
                <a:tailEnd type="none" w="med" len="med"/>
              </a:ln>
              <a:effectLst/>
            </p:spPr>
            <p:txBody>
              <a:bodyPr/>
              <a:lstStyle/>
              <a:p>
                <a:endParaRPr lang="en-GB" sz="1637"/>
              </a:p>
            </p:txBody>
          </p:sp>
          <p:sp>
            <p:nvSpPr>
              <p:cNvPr id="422" name="Freeform 195"/>
              <p:cNvSpPr>
                <a:spLocks/>
              </p:cNvSpPr>
              <p:nvPr>
                <p:custDataLst>
                  <p:tags r:id="rId266"/>
                </p:custDataLst>
              </p:nvPr>
            </p:nvSpPr>
            <p:spPr bwMode="auto">
              <a:xfrm>
                <a:off x="2429167" y="3781338"/>
                <a:ext cx="79717" cy="123576"/>
              </a:xfrm>
              <a:custGeom>
                <a:avLst/>
                <a:gdLst>
                  <a:gd name="T0" fmla="*/ 3079 w 166"/>
                  <a:gd name="T1" fmla="*/ 96371 h 208"/>
                  <a:gd name="T2" fmla="*/ 34753 w 166"/>
                  <a:gd name="T3" fmla="*/ 109537 h 208"/>
                  <a:gd name="T4" fmla="*/ 37392 w 166"/>
                  <a:gd name="T5" fmla="*/ 109010 h 208"/>
                  <a:gd name="T6" fmla="*/ 39592 w 166"/>
                  <a:gd name="T7" fmla="*/ 107431 h 208"/>
                  <a:gd name="T8" fmla="*/ 42671 w 166"/>
                  <a:gd name="T9" fmla="*/ 104271 h 208"/>
                  <a:gd name="T10" fmla="*/ 45751 w 166"/>
                  <a:gd name="T11" fmla="*/ 101111 h 208"/>
                  <a:gd name="T12" fmla="*/ 51469 w 166"/>
                  <a:gd name="T13" fmla="*/ 92685 h 208"/>
                  <a:gd name="T14" fmla="*/ 57188 w 166"/>
                  <a:gd name="T15" fmla="*/ 83206 h 208"/>
                  <a:gd name="T16" fmla="*/ 67746 w 166"/>
                  <a:gd name="T17" fmla="*/ 64248 h 208"/>
                  <a:gd name="T18" fmla="*/ 73025 w 166"/>
                  <a:gd name="T19" fmla="*/ 54242 h 208"/>
                  <a:gd name="T20" fmla="*/ 63347 w 166"/>
                  <a:gd name="T21" fmla="*/ 49502 h 208"/>
                  <a:gd name="T22" fmla="*/ 55429 w 166"/>
                  <a:gd name="T23" fmla="*/ 44236 h 208"/>
                  <a:gd name="T24" fmla="*/ 47510 w 166"/>
                  <a:gd name="T25" fmla="*/ 38970 h 208"/>
                  <a:gd name="T26" fmla="*/ 40912 w 166"/>
                  <a:gd name="T27" fmla="*/ 33704 h 208"/>
                  <a:gd name="T28" fmla="*/ 37832 w 166"/>
                  <a:gd name="T29" fmla="*/ 30544 h 208"/>
                  <a:gd name="T30" fmla="*/ 35633 w 166"/>
                  <a:gd name="T31" fmla="*/ 27911 h 208"/>
                  <a:gd name="T32" fmla="*/ 32993 w 166"/>
                  <a:gd name="T33" fmla="*/ 24751 h 208"/>
                  <a:gd name="T34" fmla="*/ 31234 w 166"/>
                  <a:gd name="T35" fmla="*/ 21065 h 208"/>
                  <a:gd name="T36" fmla="*/ 29474 w 166"/>
                  <a:gd name="T37" fmla="*/ 17378 h 208"/>
                  <a:gd name="T38" fmla="*/ 28154 w 166"/>
                  <a:gd name="T39" fmla="*/ 13692 h 208"/>
                  <a:gd name="T40" fmla="*/ 27274 w 166"/>
                  <a:gd name="T41" fmla="*/ 9479 h 208"/>
                  <a:gd name="T42" fmla="*/ 26395 w 166"/>
                  <a:gd name="T43" fmla="*/ 5793 h 208"/>
                  <a:gd name="T44" fmla="*/ 21995 w 166"/>
                  <a:gd name="T45" fmla="*/ 5266 h 208"/>
                  <a:gd name="T46" fmla="*/ 18916 w 166"/>
                  <a:gd name="T47" fmla="*/ 4213 h 208"/>
                  <a:gd name="T48" fmla="*/ 17596 w 166"/>
                  <a:gd name="T49" fmla="*/ 2633 h 208"/>
                  <a:gd name="T50" fmla="*/ 17156 w 166"/>
                  <a:gd name="T51" fmla="*/ 1580 h 208"/>
                  <a:gd name="T52" fmla="*/ 16717 w 166"/>
                  <a:gd name="T53" fmla="*/ 527 h 208"/>
                  <a:gd name="T54" fmla="*/ 15837 w 166"/>
                  <a:gd name="T55" fmla="*/ 0 h 208"/>
                  <a:gd name="T56" fmla="*/ 14077 w 166"/>
                  <a:gd name="T57" fmla="*/ 527 h 208"/>
                  <a:gd name="T58" fmla="*/ 11878 w 166"/>
                  <a:gd name="T59" fmla="*/ 2633 h 208"/>
                  <a:gd name="T60" fmla="*/ 8798 w 166"/>
                  <a:gd name="T61" fmla="*/ 5793 h 208"/>
                  <a:gd name="T62" fmla="*/ 4839 w 166"/>
                  <a:gd name="T63" fmla="*/ 11586 h 208"/>
                  <a:gd name="T64" fmla="*/ 3079 w 166"/>
                  <a:gd name="T65" fmla="*/ 15272 h 208"/>
                  <a:gd name="T66" fmla="*/ 1760 w 166"/>
                  <a:gd name="T67" fmla="*/ 19485 h 208"/>
                  <a:gd name="T68" fmla="*/ 880 w 166"/>
                  <a:gd name="T69" fmla="*/ 23698 h 208"/>
                  <a:gd name="T70" fmla="*/ 0 w 166"/>
                  <a:gd name="T71" fmla="*/ 28437 h 208"/>
                  <a:gd name="T72" fmla="*/ 0 w 166"/>
                  <a:gd name="T73" fmla="*/ 31597 h 208"/>
                  <a:gd name="T74" fmla="*/ 880 w 166"/>
                  <a:gd name="T75" fmla="*/ 34230 h 208"/>
                  <a:gd name="T76" fmla="*/ 1320 w 166"/>
                  <a:gd name="T77" fmla="*/ 36863 h 208"/>
                  <a:gd name="T78" fmla="*/ 2200 w 166"/>
                  <a:gd name="T79" fmla="*/ 40023 h 208"/>
                  <a:gd name="T80" fmla="*/ 4399 w 166"/>
                  <a:gd name="T81" fmla="*/ 45289 h 208"/>
                  <a:gd name="T82" fmla="*/ 7478 w 166"/>
                  <a:gd name="T83" fmla="*/ 51609 h 208"/>
                  <a:gd name="T84" fmla="*/ 9678 w 166"/>
                  <a:gd name="T85" fmla="*/ 57402 h 208"/>
                  <a:gd name="T86" fmla="*/ 12317 w 166"/>
                  <a:gd name="T87" fmla="*/ 63194 h 208"/>
                  <a:gd name="T88" fmla="*/ 13197 w 166"/>
                  <a:gd name="T89" fmla="*/ 66354 h 208"/>
                  <a:gd name="T90" fmla="*/ 14077 w 166"/>
                  <a:gd name="T91" fmla="*/ 70040 h 208"/>
                  <a:gd name="T92" fmla="*/ 14517 w 166"/>
                  <a:gd name="T93" fmla="*/ 73200 h 208"/>
                  <a:gd name="T94" fmla="*/ 14517 w 166"/>
                  <a:gd name="T95" fmla="*/ 77413 h 208"/>
                  <a:gd name="T96" fmla="*/ 14077 w 166"/>
                  <a:gd name="T97" fmla="*/ 80573 h 208"/>
                  <a:gd name="T98" fmla="*/ 13637 w 166"/>
                  <a:gd name="T99" fmla="*/ 83733 h 208"/>
                  <a:gd name="T100" fmla="*/ 12317 w 166"/>
                  <a:gd name="T101" fmla="*/ 86892 h 208"/>
                  <a:gd name="T102" fmla="*/ 10998 w 166"/>
                  <a:gd name="T103" fmla="*/ 88999 h 208"/>
                  <a:gd name="T104" fmla="*/ 9238 w 166"/>
                  <a:gd name="T105" fmla="*/ 91632 h 208"/>
                  <a:gd name="T106" fmla="*/ 7478 w 166"/>
                  <a:gd name="T107" fmla="*/ 93212 h 208"/>
                  <a:gd name="T108" fmla="*/ 4839 w 166"/>
                  <a:gd name="T109" fmla="*/ 94792 h 208"/>
                  <a:gd name="T110" fmla="*/ 3079 w 166"/>
                  <a:gd name="T111" fmla="*/ 96371 h 20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66" h="208">
                    <a:moveTo>
                      <a:pt x="7" y="183"/>
                    </a:moveTo>
                    <a:lnTo>
                      <a:pt x="79" y="208"/>
                    </a:lnTo>
                    <a:lnTo>
                      <a:pt x="85" y="207"/>
                    </a:lnTo>
                    <a:lnTo>
                      <a:pt x="90" y="204"/>
                    </a:lnTo>
                    <a:lnTo>
                      <a:pt x="97" y="198"/>
                    </a:lnTo>
                    <a:lnTo>
                      <a:pt x="104" y="192"/>
                    </a:lnTo>
                    <a:lnTo>
                      <a:pt x="117" y="176"/>
                    </a:lnTo>
                    <a:lnTo>
                      <a:pt x="130" y="158"/>
                    </a:lnTo>
                    <a:lnTo>
                      <a:pt x="154" y="122"/>
                    </a:lnTo>
                    <a:lnTo>
                      <a:pt x="166" y="103"/>
                    </a:lnTo>
                    <a:lnTo>
                      <a:pt x="144" y="94"/>
                    </a:lnTo>
                    <a:lnTo>
                      <a:pt x="126" y="84"/>
                    </a:lnTo>
                    <a:lnTo>
                      <a:pt x="108" y="74"/>
                    </a:lnTo>
                    <a:lnTo>
                      <a:pt x="93" y="64"/>
                    </a:lnTo>
                    <a:lnTo>
                      <a:pt x="86" y="58"/>
                    </a:lnTo>
                    <a:lnTo>
                      <a:pt x="81" y="53"/>
                    </a:lnTo>
                    <a:lnTo>
                      <a:pt x="75" y="47"/>
                    </a:lnTo>
                    <a:lnTo>
                      <a:pt x="71" y="40"/>
                    </a:lnTo>
                    <a:lnTo>
                      <a:pt x="67" y="33"/>
                    </a:lnTo>
                    <a:lnTo>
                      <a:pt x="64" y="26"/>
                    </a:lnTo>
                    <a:lnTo>
                      <a:pt x="62" y="18"/>
                    </a:lnTo>
                    <a:lnTo>
                      <a:pt x="60" y="11"/>
                    </a:lnTo>
                    <a:lnTo>
                      <a:pt x="50" y="10"/>
                    </a:lnTo>
                    <a:lnTo>
                      <a:pt x="43" y="8"/>
                    </a:lnTo>
                    <a:lnTo>
                      <a:pt x="40" y="5"/>
                    </a:lnTo>
                    <a:lnTo>
                      <a:pt x="39" y="3"/>
                    </a:lnTo>
                    <a:lnTo>
                      <a:pt x="38" y="1"/>
                    </a:lnTo>
                    <a:lnTo>
                      <a:pt x="36" y="0"/>
                    </a:lnTo>
                    <a:lnTo>
                      <a:pt x="32" y="1"/>
                    </a:lnTo>
                    <a:lnTo>
                      <a:pt x="27" y="5"/>
                    </a:lnTo>
                    <a:lnTo>
                      <a:pt x="20" y="11"/>
                    </a:lnTo>
                    <a:lnTo>
                      <a:pt x="11" y="22"/>
                    </a:lnTo>
                    <a:lnTo>
                      <a:pt x="7" y="29"/>
                    </a:lnTo>
                    <a:lnTo>
                      <a:pt x="4" y="37"/>
                    </a:lnTo>
                    <a:lnTo>
                      <a:pt x="2" y="45"/>
                    </a:lnTo>
                    <a:lnTo>
                      <a:pt x="0" y="54"/>
                    </a:lnTo>
                    <a:lnTo>
                      <a:pt x="0" y="60"/>
                    </a:lnTo>
                    <a:lnTo>
                      <a:pt x="2" y="65"/>
                    </a:lnTo>
                    <a:lnTo>
                      <a:pt x="3" y="70"/>
                    </a:lnTo>
                    <a:lnTo>
                      <a:pt x="5" y="76"/>
                    </a:lnTo>
                    <a:lnTo>
                      <a:pt x="10" y="86"/>
                    </a:lnTo>
                    <a:lnTo>
                      <a:pt x="17" y="98"/>
                    </a:lnTo>
                    <a:lnTo>
                      <a:pt x="22" y="109"/>
                    </a:lnTo>
                    <a:lnTo>
                      <a:pt x="28" y="120"/>
                    </a:lnTo>
                    <a:lnTo>
                      <a:pt x="30" y="126"/>
                    </a:lnTo>
                    <a:lnTo>
                      <a:pt x="32" y="133"/>
                    </a:lnTo>
                    <a:lnTo>
                      <a:pt x="33" y="139"/>
                    </a:lnTo>
                    <a:lnTo>
                      <a:pt x="33" y="147"/>
                    </a:lnTo>
                    <a:lnTo>
                      <a:pt x="32" y="153"/>
                    </a:lnTo>
                    <a:lnTo>
                      <a:pt x="31" y="159"/>
                    </a:lnTo>
                    <a:lnTo>
                      <a:pt x="28" y="165"/>
                    </a:lnTo>
                    <a:lnTo>
                      <a:pt x="25" y="169"/>
                    </a:lnTo>
                    <a:lnTo>
                      <a:pt x="21" y="174"/>
                    </a:lnTo>
                    <a:lnTo>
                      <a:pt x="17" y="177"/>
                    </a:lnTo>
                    <a:lnTo>
                      <a:pt x="11" y="180"/>
                    </a:lnTo>
                    <a:lnTo>
                      <a:pt x="7" y="183"/>
                    </a:lnTo>
                  </a:path>
                </a:pathLst>
              </a:custGeom>
              <a:grpFill/>
              <a:ln w="9525" cap="flat" cmpd="sng">
                <a:solidFill>
                  <a:srgbClr val="FFFFFF"/>
                </a:solidFill>
                <a:prstDash val="solid"/>
                <a:round/>
                <a:headEnd type="none" w="med" len="med"/>
                <a:tailEnd type="none" w="med" len="med"/>
              </a:ln>
              <a:effectLst/>
            </p:spPr>
            <p:txBody>
              <a:bodyPr/>
              <a:lstStyle/>
              <a:p>
                <a:endParaRPr lang="en-GB" sz="1637"/>
              </a:p>
            </p:txBody>
          </p:sp>
          <p:sp>
            <p:nvSpPr>
              <p:cNvPr id="423" name="Freeform 196"/>
              <p:cNvSpPr>
                <a:spLocks/>
              </p:cNvSpPr>
              <p:nvPr>
                <p:custDataLst>
                  <p:tags r:id="rId267"/>
                </p:custDataLst>
              </p:nvPr>
            </p:nvSpPr>
            <p:spPr bwMode="auto">
              <a:xfrm>
                <a:off x="1898875" y="3283450"/>
                <a:ext cx="76251" cy="66265"/>
              </a:xfrm>
              <a:custGeom>
                <a:avLst/>
                <a:gdLst>
                  <a:gd name="T0" fmla="*/ 65165 w 164"/>
                  <a:gd name="T1" fmla="*/ 58737 h 104"/>
                  <a:gd name="T2" fmla="*/ 57073 w 164"/>
                  <a:gd name="T3" fmla="*/ 57607 h 104"/>
                  <a:gd name="T4" fmla="*/ 46851 w 164"/>
                  <a:gd name="T5" fmla="*/ 54784 h 104"/>
                  <a:gd name="T6" fmla="*/ 40888 w 164"/>
                  <a:gd name="T7" fmla="*/ 53089 h 104"/>
                  <a:gd name="T8" fmla="*/ 34073 w 164"/>
                  <a:gd name="T9" fmla="*/ 52524 h 104"/>
                  <a:gd name="T10" fmla="*/ 31092 w 164"/>
                  <a:gd name="T11" fmla="*/ 52524 h 104"/>
                  <a:gd name="T12" fmla="*/ 27259 w 164"/>
                  <a:gd name="T13" fmla="*/ 53089 h 104"/>
                  <a:gd name="T14" fmla="*/ 23425 w 164"/>
                  <a:gd name="T15" fmla="*/ 54219 h 104"/>
                  <a:gd name="T16" fmla="*/ 20018 w 164"/>
                  <a:gd name="T17" fmla="*/ 55348 h 104"/>
                  <a:gd name="T18" fmla="*/ 17463 w 164"/>
                  <a:gd name="T19" fmla="*/ 56478 h 104"/>
                  <a:gd name="T20" fmla="*/ 14481 w 164"/>
                  <a:gd name="T21" fmla="*/ 56478 h 104"/>
                  <a:gd name="T22" fmla="*/ 11500 w 164"/>
                  <a:gd name="T23" fmla="*/ 55913 h 104"/>
                  <a:gd name="T24" fmla="*/ 8092 w 164"/>
                  <a:gd name="T25" fmla="*/ 54219 h 104"/>
                  <a:gd name="T26" fmla="*/ 4685 w 164"/>
                  <a:gd name="T27" fmla="*/ 51960 h 104"/>
                  <a:gd name="T28" fmla="*/ 2555 w 164"/>
                  <a:gd name="T29" fmla="*/ 49701 h 104"/>
                  <a:gd name="T30" fmla="*/ 1278 w 164"/>
                  <a:gd name="T31" fmla="*/ 48571 h 104"/>
                  <a:gd name="T32" fmla="*/ 426 w 164"/>
                  <a:gd name="T33" fmla="*/ 47441 h 104"/>
                  <a:gd name="T34" fmla="*/ 0 w 164"/>
                  <a:gd name="T35" fmla="*/ 45747 h 104"/>
                  <a:gd name="T36" fmla="*/ 0 w 164"/>
                  <a:gd name="T37" fmla="*/ 44618 h 104"/>
                  <a:gd name="T38" fmla="*/ 0 w 164"/>
                  <a:gd name="T39" fmla="*/ 42923 h 104"/>
                  <a:gd name="T40" fmla="*/ 426 w 164"/>
                  <a:gd name="T41" fmla="*/ 41794 h 104"/>
                  <a:gd name="T42" fmla="*/ 1278 w 164"/>
                  <a:gd name="T43" fmla="*/ 40099 h 104"/>
                  <a:gd name="T44" fmla="*/ 2555 w 164"/>
                  <a:gd name="T45" fmla="*/ 39535 h 104"/>
                  <a:gd name="T46" fmla="*/ 5111 w 164"/>
                  <a:gd name="T47" fmla="*/ 37840 h 104"/>
                  <a:gd name="T48" fmla="*/ 8518 w 164"/>
                  <a:gd name="T49" fmla="*/ 37275 h 104"/>
                  <a:gd name="T50" fmla="*/ 17037 w 164"/>
                  <a:gd name="T51" fmla="*/ 37275 h 104"/>
                  <a:gd name="T52" fmla="*/ 25981 w 164"/>
                  <a:gd name="T53" fmla="*/ 37840 h 104"/>
                  <a:gd name="T54" fmla="*/ 29814 w 164"/>
                  <a:gd name="T55" fmla="*/ 37840 h 104"/>
                  <a:gd name="T56" fmla="*/ 33647 w 164"/>
                  <a:gd name="T57" fmla="*/ 37840 h 104"/>
                  <a:gd name="T58" fmla="*/ 37055 w 164"/>
                  <a:gd name="T59" fmla="*/ 37840 h 104"/>
                  <a:gd name="T60" fmla="*/ 40036 w 164"/>
                  <a:gd name="T61" fmla="*/ 37840 h 104"/>
                  <a:gd name="T62" fmla="*/ 40036 w 164"/>
                  <a:gd name="T63" fmla="*/ 31628 h 104"/>
                  <a:gd name="T64" fmla="*/ 40036 w 164"/>
                  <a:gd name="T65" fmla="*/ 24285 h 104"/>
                  <a:gd name="T66" fmla="*/ 40036 w 164"/>
                  <a:gd name="T67" fmla="*/ 16379 h 104"/>
                  <a:gd name="T68" fmla="*/ 40036 w 164"/>
                  <a:gd name="T69" fmla="*/ 10166 h 104"/>
                  <a:gd name="T70" fmla="*/ 33647 w 164"/>
                  <a:gd name="T71" fmla="*/ 9601 h 104"/>
                  <a:gd name="T72" fmla="*/ 28536 w 164"/>
                  <a:gd name="T73" fmla="*/ 8472 h 104"/>
                  <a:gd name="T74" fmla="*/ 26407 w 164"/>
                  <a:gd name="T75" fmla="*/ 7342 h 104"/>
                  <a:gd name="T76" fmla="*/ 24277 w 164"/>
                  <a:gd name="T77" fmla="*/ 5648 h 104"/>
                  <a:gd name="T78" fmla="*/ 22148 w 164"/>
                  <a:gd name="T79" fmla="*/ 3389 h 104"/>
                  <a:gd name="T80" fmla="*/ 20018 w 164"/>
                  <a:gd name="T81" fmla="*/ 0 h 104"/>
                  <a:gd name="T82" fmla="*/ 62184 w 164"/>
                  <a:gd name="T83" fmla="*/ 0 h 104"/>
                  <a:gd name="T84" fmla="*/ 62609 w 164"/>
                  <a:gd name="T85" fmla="*/ 3389 h 104"/>
                  <a:gd name="T86" fmla="*/ 63035 w 164"/>
                  <a:gd name="T87" fmla="*/ 7342 h 104"/>
                  <a:gd name="T88" fmla="*/ 63887 w 164"/>
                  <a:gd name="T89" fmla="*/ 10731 h 104"/>
                  <a:gd name="T90" fmla="*/ 64739 w 164"/>
                  <a:gd name="T91" fmla="*/ 14119 h 104"/>
                  <a:gd name="T92" fmla="*/ 66443 w 164"/>
                  <a:gd name="T93" fmla="*/ 19767 h 104"/>
                  <a:gd name="T94" fmla="*/ 67720 w 164"/>
                  <a:gd name="T95" fmla="*/ 25980 h 104"/>
                  <a:gd name="T96" fmla="*/ 69424 w 164"/>
                  <a:gd name="T97" fmla="*/ 30498 h 104"/>
                  <a:gd name="T98" fmla="*/ 69850 w 164"/>
                  <a:gd name="T99" fmla="*/ 35016 h 104"/>
                  <a:gd name="T100" fmla="*/ 69424 w 164"/>
                  <a:gd name="T101" fmla="*/ 36711 h 104"/>
                  <a:gd name="T102" fmla="*/ 68146 w 164"/>
                  <a:gd name="T103" fmla="*/ 38405 h 104"/>
                  <a:gd name="T104" fmla="*/ 66869 w 164"/>
                  <a:gd name="T105" fmla="*/ 40099 h 104"/>
                  <a:gd name="T106" fmla="*/ 65165 w 164"/>
                  <a:gd name="T107" fmla="*/ 41229 h 104"/>
                  <a:gd name="T108" fmla="*/ 65165 w 164"/>
                  <a:gd name="T109" fmla="*/ 58737 h 10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64" h="104">
                    <a:moveTo>
                      <a:pt x="153" y="104"/>
                    </a:moveTo>
                    <a:lnTo>
                      <a:pt x="134" y="102"/>
                    </a:lnTo>
                    <a:lnTo>
                      <a:pt x="110" y="97"/>
                    </a:lnTo>
                    <a:lnTo>
                      <a:pt x="96" y="94"/>
                    </a:lnTo>
                    <a:lnTo>
                      <a:pt x="80" y="93"/>
                    </a:lnTo>
                    <a:lnTo>
                      <a:pt x="73" y="93"/>
                    </a:lnTo>
                    <a:lnTo>
                      <a:pt x="64" y="94"/>
                    </a:lnTo>
                    <a:lnTo>
                      <a:pt x="55" y="96"/>
                    </a:lnTo>
                    <a:lnTo>
                      <a:pt x="47" y="98"/>
                    </a:lnTo>
                    <a:lnTo>
                      <a:pt x="41" y="100"/>
                    </a:lnTo>
                    <a:lnTo>
                      <a:pt x="34" y="100"/>
                    </a:lnTo>
                    <a:lnTo>
                      <a:pt x="27" y="99"/>
                    </a:lnTo>
                    <a:lnTo>
                      <a:pt x="19" y="96"/>
                    </a:lnTo>
                    <a:lnTo>
                      <a:pt x="11" y="92"/>
                    </a:lnTo>
                    <a:lnTo>
                      <a:pt x="6" y="88"/>
                    </a:lnTo>
                    <a:lnTo>
                      <a:pt x="3" y="86"/>
                    </a:lnTo>
                    <a:lnTo>
                      <a:pt x="1" y="84"/>
                    </a:lnTo>
                    <a:lnTo>
                      <a:pt x="0" y="81"/>
                    </a:lnTo>
                    <a:lnTo>
                      <a:pt x="0" y="79"/>
                    </a:lnTo>
                    <a:lnTo>
                      <a:pt x="0" y="76"/>
                    </a:lnTo>
                    <a:lnTo>
                      <a:pt x="1" y="74"/>
                    </a:lnTo>
                    <a:lnTo>
                      <a:pt x="3" y="71"/>
                    </a:lnTo>
                    <a:lnTo>
                      <a:pt x="6" y="70"/>
                    </a:lnTo>
                    <a:lnTo>
                      <a:pt x="12" y="67"/>
                    </a:lnTo>
                    <a:lnTo>
                      <a:pt x="20" y="66"/>
                    </a:lnTo>
                    <a:lnTo>
                      <a:pt x="40" y="66"/>
                    </a:lnTo>
                    <a:lnTo>
                      <a:pt x="61" y="67"/>
                    </a:lnTo>
                    <a:lnTo>
                      <a:pt x="70" y="67"/>
                    </a:lnTo>
                    <a:lnTo>
                      <a:pt x="79" y="67"/>
                    </a:lnTo>
                    <a:lnTo>
                      <a:pt x="87" y="67"/>
                    </a:lnTo>
                    <a:lnTo>
                      <a:pt x="94" y="67"/>
                    </a:lnTo>
                    <a:lnTo>
                      <a:pt x="94" y="56"/>
                    </a:lnTo>
                    <a:lnTo>
                      <a:pt x="94" y="43"/>
                    </a:lnTo>
                    <a:lnTo>
                      <a:pt x="94" y="29"/>
                    </a:lnTo>
                    <a:lnTo>
                      <a:pt x="94" y="18"/>
                    </a:lnTo>
                    <a:lnTo>
                      <a:pt x="79" y="17"/>
                    </a:lnTo>
                    <a:lnTo>
                      <a:pt x="67" y="15"/>
                    </a:lnTo>
                    <a:lnTo>
                      <a:pt x="62" y="13"/>
                    </a:lnTo>
                    <a:lnTo>
                      <a:pt x="57" y="10"/>
                    </a:lnTo>
                    <a:lnTo>
                      <a:pt x="52" y="6"/>
                    </a:lnTo>
                    <a:lnTo>
                      <a:pt x="47" y="0"/>
                    </a:lnTo>
                    <a:lnTo>
                      <a:pt x="146" y="0"/>
                    </a:lnTo>
                    <a:lnTo>
                      <a:pt x="147" y="6"/>
                    </a:lnTo>
                    <a:lnTo>
                      <a:pt x="148" y="13"/>
                    </a:lnTo>
                    <a:lnTo>
                      <a:pt x="150" y="19"/>
                    </a:lnTo>
                    <a:lnTo>
                      <a:pt x="152" y="25"/>
                    </a:lnTo>
                    <a:lnTo>
                      <a:pt x="156" y="35"/>
                    </a:lnTo>
                    <a:lnTo>
                      <a:pt x="159" y="46"/>
                    </a:lnTo>
                    <a:lnTo>
                      <a:pt x="163" y="54"/>
                    </a:lnTo>
                    <a:lnTo>
                      <a:pt x="164" y="62"/>
                    </a:lnTo>
                    <a:lnTo>
                      <a:pt x="163" y="65"/>
                    </a:lnTo>
                    <a:lnTo>
                      <a:pt x="160" y="68"/>
                    </a:lnTo>
                    <a:lnTo>
                      <a:pt x="157" y="71"/>
                    </a:lnTo>
                    <a:lnTo>
                      <a:pt x="153" y="73"/>
                    </a:lnTo>
                    <a:lnTo>
                      <a:pt x="153" y="104"/>
                    </a:lnTo>
                  </a:path>
                </a:pathLst>
              </a:custGeom>
              <a:grpFill/>
              <a:ln w="9525" cmpd="sng">
                <a:solidFill>
                  <a:srgbClr val="FFFFFF"/>
                </a:solidFill>
                <a:prstDash val="solid"/>
                <a:round/>
                <a:headEnd/>
                <a:tailEnd/>
              </a:ln>
            </p:spPr>
            <p:txBody>
              <a:bodyPr/>
              <a:lstStyle/>
              <a:p>
                <a:endParaRPr lang="en-GB" sz="1637"/>
              </a:p>
            </p:txBody>
          </p:sp>
          <p:sp>
            <p:nvSpPr>
              <p:cNvPr id="424" name="Freeform 197"/>
              <p:cNvSpPr>
                <a:spLocks/>
              </p:cNvSpPr>
              <p:nvPr>
                <p:custDataLst>
                  <p:tags r:id="rId268"/>
                </p:custDataLst>
              </p:nvPr>
            </p:nvSpPr>
            <p:spPr bwMode="auto">
              <a:xfrm>
                <a:off x="2299193" y="5939450"/>
                <a:ext cx="25995" cy="64475"/>
              </a:xfrm>
              <a:custGeom>
                <a:avLst/>
                <a:gdLst>
                  <a:gd name="T0" fmla="*/ 0 w 53"/>
                  <a:gd name="T1" fmla="*/ 24063 h 19"/>
                  <a:gd name="T2" fmla="*/ 3145 w 53"/>
                  <a:gd name="T3" fmla="*/ 39103 h 19"/>
                  <a:gd name="T4" fmla="*/ 6290 w 53"/>
                  <a:gd name="T5" fmla="*/ 51134 h 19"/>
                  <a:gd name="T6" fmla="*/ 9885 w 53"/>
                  <a:gd name="T7" fmla="*/ 57150 h 19"/>
                  <a:gd name="T8" fmla="*/ 13030 w 53"/>
                  <a:gd name="T9" fmla="*/ 57150 h 19"/>
                  <a:gd name="T10" fmla="*/ 15726 w 53"/>
                  <a:gd name="T11" fmla="*/ 54142 h 19"/>
                  <a:gd name="T12" fmla="*/ 18871 w 53"/>
                  <a:gd name="T13" fmla="*/ 45118 h 19"/>
                  <a:gd name="T14" fmla="*/ 21117 w 53"/>
                  <a:gd name="T15" fmla="*/ 36095 h 19"/>
                  <a:gd name="T16" fmla="*/ 23813 w 53"/>
                  <a:gd name="T17" fmla="*/ 24063 h 19"/>
                  <a:gd name="T18" fmla="*/ 21117 w 53"/>
                  <a:gd name="T19" fmla="*/ 15039 h 19"/>
                  <a:gd name="T20" fmla="*/ 18871 w 53"/>
                  <a:gd name="T21" fmla="*/ 6016 h 19"/>
                  <a:gd name="T22" fmla="*/ 15726 w 53"/>
                  <a:gd name="T23" fmla="*/ 3008 h 19"/>
                  <a:gd name="T24" fmla="*/ 13030 w 53"/>
                  <a:gd name="T25" fmla="*/ 0 h 19"/>
                  <a:gd name="T26" fmla="*/ 9885 w 53"/>
                  <a:gd name="T27" fmla="*/ 0 h 19"/>
                  <a:gd name="T28" fmla="*/ 6290 w 53"/>
                  <a:gd name="T29" fmla="*/ 3008 h 19"/>
                  <a:gd name="T30" fmla="*/ 3145 w 53"/>
                  <a:gd name="T31" fmla="*/ 9024 h 19"/>
                  <a:gd name="T32" fmla="*/ 0 w 53"/>
                  <a:gd name="T33" fmla="*/ 24063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grpFill/>
              <a:ln w="9525" cmpd="sng">
                <a:solidFill>
                  <a:srgbClr val="FFFFFF"/>
                </a:solidFill>
                <a:prstDash val="solid"/>
                <a:round/>
                <a:headEnd/>
                <a:tailEnd/>
              </a:ln>
            </p:spPr>
            <p:txBody>
              <a:bodyPr/>
              <a:lstStyle/>
              <a:p>
                <a:endParaRPr lang="en-GB" sz="1637"/>
              </a:p>
            </p:txBody>
          </p:sp>
          <p:sp>
            <p:nvSpPr>
              <p:cNvPr id="425" name="Freeform 198"/>
              <p:cNvSpPr>
                <a:spLocks/>
              </p:cNvSpPr>
              <p:nvPr>
                <p:custDataLst>
                  <p:tags r:id="rId269"/>
                </p:custDataLst>
              </p:nvPr>
            </p:nvSpPr>
            <p:spPr bwMode="auto">
              <a:xfrm>
                <a:off x="2261067" y="5916168"/>
                <a:ext cx="38126" cy="66265"/>
              </a:xfrm>
              <a:custGeom>
                <a:avLst/>
                <a:gdLst>
                  <a:gd name="T0" fmla="*/ 0 w 80"/>
                  <a:gd name="T1" fmla="*/ 0 h 18"/>
                  <a:gd name="T2" fmla="*/ 437 w 80"/>
                  <a:gd name="T3" fmla="*/ 19579 h 18"/>
                  <a:gd name="T4" fmla="*/ 2183 w 80"/>
                  <a:gd name="T5" fmla="*/ 39158 h 18"/>
                  <a:gd name="T6" fmla="*/ 3493 w 80"/>
                  <a:gd name="T7" fmla="*/ 45684 h 18"/>
                  <a:gd name="T8" fmla="*/ 4802 w 80"/>
                  <a:gd name="T9" fmla="*/ 52211 h 18"/>
                  <a:gd name="T10" fmla="*/ 6548 w 80"/>
                  <a:gd name="T11" fmla="*/ 58737 h 18"/>
                  <a:gd name="T12" fmla="*/ 8731 w 80"/>
                  <a:gd name="T13" fmla="*/ 58737 h 18"/>
                  <a:gd name="T14" fmla="*/ 9604 w 80"/>
                  <a:gd name="T15" fmla="*/ 48948 h 18"/>
                  <a:gd name="T16" fmla="*/ 10478 w 80"/>
                  <a:gd name="T17" fmla="*/ 42421 h 18"/>
                  <a:gd name="T18" fmla="*/ 11351 w 80"/>
                  <a:gd name="T19" fmla="*/ 35895 h 18"/>
                  <a:gd name="T20" fmla="*/ 13533 w 80"/>
                  <a:gd name="T21" fmla="*/ 32632 h 18"/>
                  <a:gd name="T22" fmla="*/ 16589 w 80"/>
                  <a:gd name="T23" fmla="*/ 26105 h 18"/>
                  <a:gd name="T24" fmla="*/ 20518 w 80"/>
                  <a:gd name="T25" fmla="*/ 22842 h 18"/>
                  <a:gd name="T26" fmla="*/ 24884 w 80"/>
                  <a:gd name="T27" fmla="*/ 22842 h 18"/>
                  <a:gd name="T28" fmla="*/ 28813 w 80"/>
                  <a:gd name="T29" fmla="*/ 19579 h 18"/>
                  <a:gd name="T30" fmla="*/ 30559 w 80"/>
                  <a:gd name="T31" fmla="*/ 16316 h 18"/>
                  <a:gd name="T32" fmla="*/ 32306 w 80"/>
                  <a:gd name="T33" fmla="*/ 13053 h 18"/>
                  <a:gd name="T34" fmla="*/ 33615 w 80"/>
                  <a:gd name="T35" fmla="*/ 6526 h 18"/>
                  <a:gd name="T36" fmla="*/ 34925 w 80"/>
                  <a:gd name="T37" fmla="*/ 0 h 18"/>
                  <a:gd name="T38" fmla="*/ 0 w 80"/>
                  <a:gd name="T39" fmla="*/ 0 h 1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80" h="18">
                    <a:moveTo>
                      <a:pt x="0" y="0"/>
                    </a:moveTo>
                    <a:lnTo>
                      <a:pt x="1" y="6"/>
                    </a:lnTo>
                    <a:lnTo>
                      <a:pt x="5" y="12"/>
                    </a:lnTo>
                    <a:lnTo>
                      <a:pt x="8" y="14"/>
                    </a:lnTo>
                    <a:lnTo>
                      <a:pt x="11" y="16"/>
                    </a:lnTo>
                    <a:lnTo>
                      <a:pt x="15" y="18"/>
                    </a:lnTo>
                    <a:lnTo>
                      <a:pt x="20" y="18"/>
                    </a:lnTo>
                    <a:lnTo>
                      <a:pt x="22" y="15"/>
                    </a:lnTo>
                    <a:lnTo>
                      <a:pt x="24" y="13"/>
                    </a:lnTo>
                    <a:lnTo>
                      <a:pt x="26" y="11"/>
                    </a:lnTo>
                    <a:lnTo>
                      <a:pt x="31" y="10"/>
                    </a:lnTo>
                    <a:lnTo>
                      <a:pt x="38" y="8"/>
                    </a:lnTo>
                    <a:lnTo>
                      <a:pt x="47" y="7"/>
                    </a:lnTo>
                    <a:lnTo>
                      <a:pt x="57" y="7"/>
                    </a:lnTo>
                    <a:lnTo>
                      <a:pt x="66" y="6"/>
                    </a:lnTo>
                    <a:lnTo>
                      <a:pt x="70" y="5"/>
                    </a:lnTo>
                    <a:lnTo>
                      <a:pt x="74" y="4"/>
                    </a:lnTo>
                    <a:lnTo>
                      <a:pt x="77" y="2"/>
                    </a:lnTo>
                    <a:lnTo>
                      <a:pt x="80" y="0"/>
                    </a:lnTo>
                    <a:lnTo>
                      <a:pt x="0" y="0"/>
                    </a:lnTo>
                  </a:path>
                </a:pathLst>
              </a:custGeom>
              <a:grpFill/>
              <a:ln w="9525" cmpd="sng">
                <a:solidFill>
                  <a:srgbClr val="FFFFFF"/>
                </a:solidFill>
                <a:prstDash val="solid"/>
                <a:round/>
                <a:headEnd/>
                <a:tailEnd/>
              </a:ln>
            </p:spPr>
            <p:txBody>
              <a:bodyPr/>
              <a:lstStyle/>
              <a:p>
                <a:endParaRPr lang="en-GB" sz="1637"/>
              </a:p>
            </p:txBody>
          </p:sp>
          <p:sp>
            <p:nvSpPr>
              <p:cNvPr id="426" name="Freeform 199"/>
              <p:cNvSpPr>
                <a:spLocks/>
              </p:cNvSpPr>
              <p:nvPr>
                <p:custDataLst>
                  <p:tags r:id="rId270"/>
                </p:custDataLst>
              </p:nvPr>
            </p:nvSpPr>
            <p:spPr bwMode="auto">
              <a:xfrm>
                <a:off x="2261067" y="5892885"/>
                <a:ext cx="24262" cy="68057"/>
              </a:xfrm>
              <a:custGeom>
                <a:avLst/>
                <a:gdLst>
                  <a:gd name="T0" fmla="*/ 9663 w 46"/>
                  <a:gd name="T1" fmla="*/ 0 h 27"/>
                  <a:gd name="T2" fmla="*/ 0 w 46"/>
                  <a:gd name="T3" fmla="*/ 40217 h 27"/>
                  <a:gd name="T4" fmla="*/ 4348 w 46"/>
                  <a:gd name="T5" fmla="*/ 49154 h 27"/>
                  <a:gd name="T6" fmla="*/ 7730 w 46"/>
                  <a:gd name="T7" fmla="*/ 55856 h 27"/>
                  <a:gd name="T8" fmla="*/ 11113 w 46"/>
                  <a:gd name="T9" fmla="*/ 60325 h 27"/>
                  <a:gd name="T10" fmla="*/ 14011 w 46"/>
                  <a:gd name="T11" fmla="*/ 60325 h 27"/>
                  <a:gd name="T12" fmla="*/ 15944 w 46"/>
                  <a:gd name="T13" fmla="*/ 60325 h 27"/>
                  <a:gd name="T14" fmla="*/ 17877 w 46"/>
                  <a:gd name="T15" fmla="*/ 55856 h 27"/>
                  <a:gd name="T16" fmla="*/ 20292 w 46"/>
                  <a:gd name="T17" fmla="*/ 49154 h 27"/>
                  <a:gd name="T18" fmla="*/ 22225 w 46"/>
                  <a:gd name="T19" fmla="*/ 40217 h 27"/>
                  <a:gd name="T20" fmla="*/ 19809 w 46"/>
                  <a:gd name="T21" fmla="*/ 35748 h 27"/>
                  <a:gd name="T22" fmla="*/ 15944 w 46"/>
                  <a:gd name="T23" fmla="*/ 24577 h 27"/>
                  <a:gd name="T24" fmla="*/ 12562 w 46"/>
                  <a:gd name="T25" fmla="*/ 11171 h 27"/>
                  <a:gd name="T26" fmla="*/ 9663 w 46"/>
                  <a:gd name="T27" fmla="*/ 0 h 2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46" h="27">
                    <a:moveTo>
                      <a:pt x="20" y="0"/>
                    </a:moveTo>
                    <a:lnTo>
                      <a:pt x="0" y="18"/>
                    </a:lnTo>
                    <a:lnTo>
                      <a:pt x="9" y="22"/>
                    </a:lnTo>
                    <a:lnTo>
                      <a:pt x="16" y="25"/>
                    </a:lnTo>
                    <a:lnTo>
                      <a:pt x="23" y="27"/>
                    </a:lnTo>
                    <a:lnTo>
                      <a:pt x="29" y="27"/>
                    </a:lnTo>
                    <a:lnTo>
                      <a:pt x="33" y="27"/>
                    </a:lnTo>
                    <a:lnTo>
                      <a:pt x="37" y="25"/>
                    </a:lnTo>
                    <a:lnTo>
                      <a:pt x="42" y="22"/>
                    </a:lnTo>
                    <a:lnTo>
                      <a:pt x="46" y="18"/>
                    </a:lnTo>
                    <a:lnTo>
                      <a:pt x="41" y="16"/>
                    </a:lnTo>
                    <a:lnTo>
                      <a:pt x="33" y="11"/>
                    </a:lnTo>
                    <a:lnTo>
                      <a:pt x="26" y="5"/>
                    </a:lnTo>
                    <a:lnTo>
                      <a:pt x="20" y="0"/>
                    </a:lnTo>
                  </a:path>
                </a:pathLst>
              </a:custGeom>
              <a:grpFill/>
              <a:ln w="9525" cmpd="sng">
                <a:solidFill>
                  <a:srgbClr val="FFFFFF"/>
                </a:solidFill>
                <a:prstDash val="solid"/>
                <a:round/>
                <a:headEnd/>
                <a:tailEnd/>
              </a:ln>
            </p:spPr>
            <p:txBody>
              <a:bodyPr/>
              <a:lstStyle/>
              <a:p>
                <a:endParaRPr lang="en-GB" sz="1637"/>
              </a:p>
            </p:txBody>
          </p:sp>
          <p:sp>
            <p:nvSpPr>
              <p:cNvPr id="427" name="Freeform 200"/>
              <p:cNvSpPr>
                <a:spLocks/>
              </p:cNvSpPr>
              <p:nvPr>
                <p:custDataLst>
                  <p:tags r:id="rId271"/>
                </p:custDataLst>
              </p:nvPr>
            </p:nvSpPr>
            <p:spPr bwMode="auto">
              <a:xfrm>
                <a:off x="2228141" y="5885721"/>
                <a:ext cx="27728" cy="68057"/>
              </a:xfrm>
              <a:custGeom>
                <a:avLst/>
                <a:gdLst>
                  <a:gd name="T0" fmla="*/ 15993 w 54"/>
                  <a:gd name="T1" fmla="*/ 0 h 39"/>
                  <a:gd name="T2" fmla="*/ 9407 w 54"/>
                  <a:gd name="T3" fmla="*/ 6187 h 39"/>
                  <a:gd name="T4" fmla="*/ 4704 w 54"/>
                  <a:gd name="T5" fmla="*/ 15468 h 39"/>
                  <a:gd name="T6" fmla="*/ 2822 w 54"/>
                  <a:gd name="T7" fmla="*/ 20108 h 39"/>
                  <a:gd name="T8" fmla="*/ 1881 w 54"/>
                  <a:gd name="T9" fmla="*/ 24749 h 39"/>
                  <a:gd name="T10" fmla="*/ 941 w 54"/>
                  <a:gd name="T11" fmla="*/ 30936 h 39"/>
                  <a:gd name="T12" fmla="*/ 0 w 54"/>
                  <a:gd name="T13" fmla="*/ 37123 h 39"/>
                  <a:gd name="T14" fmla="*/ 941 w 54"/>
                  <a:gd name="T15" fmla="*/ 43310 h 39"/>
                  <a:gd name="T16" fmla="*/ 1411 w 54"/>
                  <a:gd name="T17" fmla="*/ 49497 h 39"/>
                  <a:gd name="T18" fmla="*/ 2352 w 54"/>
                  <a:gd name="T19" fmla="*/ 54138 h 39"/>
                  <a:gd name="T20" fmla="*/ 3763 w 54"/>
                  <a:gd name="T21" fmla="*/ 57231 h 39"/>
                  <a:gd name="T22" fmla="*/ 5174 w 54"/>
                  <a:gd name="T23" fmla="*/ 58778 h 39"/>
                  <a:gd name="T24" fmla="*/ 7526 w 54"/>
                  <a:gd name="T25" fmla="*/ 60325 h 39"/>
                  <a:gd name="T26" fmla="*/ 9407 w 54"/>
                  <a:gd name="T27" fmla="*/ 60325 h 39"/>
                  <a:gd name="T28" fmla="*/ 11759 w 54"/>
                  <a:gd name="T29" fmla="*/ 60325 h 39"/>
                  <a:gd name="T30" fmla="*/ 14111 w 54"/>
                  <a:gd name="T31" fmla="*/ 58778 h 39"/>
                  <a:gd name="T32" fmla="*/ 15993 w 54"/>
                  <a:gd name="T33" fmla="*/ 57231 h 39"/>
                  <a:gd name="T34" fmla="*/ 18344 w 54"/>
                  <a:gd name="T35" fmla="*/ 54138 h 39"/>
                  <a:gd name="T36" fmla="*/ 20226 w 54"/>
                  <a:gd name="T37" fmla="*/ 51044 h 39"/>
                  <a:gd name="T38" fmla="*/ 22107 w 54"/>
                  <a:gd name="T39" fmla="*/ 46404 h 39"/>
                  <a:gd name="T40" fmla="*/ 23519 w 54"/>
                  <a:gd name="T41" fmla="*/ 40217 h 39"/>
                  <a:gd name="T42" fmla="*/ 24459 w 54"/>
                  <a:gd name="T43" fmla="*/ 34029 h 39"/>
                  <a:gd name="T44" fmla="*/ 25400 w 54"/>
                  <a:gd name="T45" fmla="*/ 27842 h 39"/>
                  <a:gd name="T46" fmla="*/ 23989 w 54"/>
                  <a:gd name="T47" fmla="*/ 26296 h 39"/>
                  <a:gd name="T48" fmla="*/ 22578 w 54"/>
                  <a:gd name="T49" fmla="*/ 24749 h 39"/>
                  <a:gd name="T50" fmla="*/ 20696 w 54"/>
                  <a:gd name="T51" fmla="*/ 21655 h 39"/>
                  <a:gd name="T52" fmla="*/ 19756 w 54"/>
                  <a:gd name="T53" fmla="*/ 17015 h 39"/>
                  <a:gd name="T54" fmla="*/ 18344 w 54"/>
                  <a:gd name="T55" fmla="*/ 12374 h 39"/>
                  <a:gd name="T56" fmla="*/ 17404 w 54"/>
                  <a:gd name="T57" fmla="*/ 7734 h 39"/>
                  <a:gd name="T58" fmla="*/ 15993 w 54"/>
                  <a:gd name="T59" fmla="*/ 3094 h 39"/>
                  <a:gd name="T60" fmla="*/ 15993 w 54"/>
                  <a:gd name="T61" fmla="*/ 0 h 3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54" h="39">
                    <a:moveTo>
                      <a:pt x="34" y="0"/>
                    </a:moveTo>
                    <a:lnTo>
                      <a:pt x="20" y="4"/>
                    </a:lnTo>
                    <a:lnTo>
                      <a:pt x="10" y="10"/>
                    </a:lnTo>
                    <a:lnTo>
                      <a:pt x="6" y="13"/>
                    </a:lnTo>
                    <a:lnTo>
                      <a:pt x="4" y="16"/>
                    </a:lnTo>
                    <a:lnTo>
                      <a:pt x="2" y="20"/>
                    </a:lnTo>
                    <a:lnTo>
                      <a:pt x="0" y="24"/>
                    </a:lnTo>
                    <a:lnTo>
                      <a:pt x="2" y="28"/>
                    </a:lnTo>
                    <a:lnTo>
                      <a:pt x="3" y="32"/>
                    </a:lnTo>
                    <a:lnTo>
                      <a:pt x="5" y="35"/>
                    </a:lnTo>
                    <a:lnTo>
                      <a:pt x="8" y="37"/>
                    </a:lnTo>
                    <a:lnTo>
                      <a:pt x="11" y="38"/>
                    </a:lnTo>
                    <a:lnTo>
                      <a:pt x="16" y="39"/>
                    </a:lnTo>
                    <a:lnTo>
                      <a:pt x="20" y="39"/>
                    </a:lnTo>
                    <a:lnTo>
                      <a:pt x="25" y="39"/>
                    </a:lnTo>
                    <a:lnTo>
                      <a:pt x="30" y="38"/>
                    </a:lnTo>
                    <a:lnTo>
                      <a:pt x="34" y="37"/>
                    </a:lnTo>
                    <a:lnTo>
                      <a:pt x="39" y="35"/>
                    </a:lnTo>
                    <a:lnTo>
                      <a:pt x="43" y="33"/>
                    </a:lnTo>
                    <a:lnTo>
                      <a:pt x="47" y="30"/>
                    </a:lnTo>
                    <a:lnTo>
                      <a:pt x="50" y="26"/>
                    </a:lnTo>
                    <a:lnTo>
                      <a:pt x="52" y="22"/>
                    </a:lnTo>
                    <a:lnTo>
                      <a:pt x="54" y="18"/>
                    </a:lnTo>
                    <a:lnTo>
                      <a:pt x="51" y="17"/>
                    </a:lnTo>
                    <a:lnTo>
                      <a:pt x="48" y="16"/>
                    </a:lnTo>
                    <a:lnTo>
                      <a:pt x="44" y="14"/>
                    </a:lnTo>
                    <a:lnTo>
                      <a:pt x="42" y="11"/>
                    </a:lnTo>
                    <a:lnTo>
                      <a:pt x="39" y="8"/>
                    </a:lnTo>
                    <a:lnTo>
                      <a:pt x="37" y="5"/>
                    </a:lnTo>
                    <a:lnTo>
                      <a:pt x="34" y="2"/>
                    </a:lnTo>
                    <a:lnTo>
                      <a:pt x="34" y="0"/>
                    </a:lnTo>
                  </a:path>
                </a:pathLst>
              </a:custGeom>
              <a:grpFill/>
              <a:ln w="9525" cmpd="sng">
                <a:solidFill>
                  <a:srgbClr val="FFFFFF"/>
                </a:solidFill>
                <a:prstDash val="solid"/>
                <a:round/>
                <a:headEnd/>
                <a:tailEnd/>
              </a:ln>
            </p:spPr>
            <p:txBody>
              <a:bodyPr/>
              <a:lstStyle/>
              <a:p>
                <a:endParaRPr lang="en-GB" sz="1637"/>
              </a:p>
            </p:txBody>
          </p:sp>
          <p:sp>
            <p:nvSpPr>
              <p:cNvPr id="428" name="Freeform 201"/>
              <p:cNvSpPr>
                <a:spLocks/>
              </p:cNvSpPr>
              <p:nvPr>
                <p:custDataLst>
                  <p:tags r:id="rId272"/>
                </p:custDataLst>
              </p:nvPr>
            </p:nvSpPr>
            <p:spPr bwMode="auto">
              <a:xfrm>
                <a:off x="2200414" y="5874976"/>
                <a:ext cx="31194" cy="66266"/>
              </a:xfrm>
              <a:custGeom>
                <a:avLst/>
                <a:gdLst>
                  <a:gd name="T0" fmla="*/ 0 w 60"/>
                  <a:gd name="T1" fmla="*/ 43075 h 15"/>
                  <a:gd name="T2" fmla="*/ 4763 w 60"/>
                  <a:gd name="T3" fmla="*/ 50906 h 15"/>
                  <a:gd name="T4" fmla="*/ 8573 w 60"/>
                  <a:gd name="T5" fmla="*/ 54822 h 15"/>
                  <a:gd name="T6" fmla="*/ 12859 w 60"/>
                  <a:gd name="T7" fmla="*/ 58738 h 15"/>
                  <a:gd name="T8" fmla="*/ 16669 w 60"/>
                  <a:gd name="T9" fmla="*/ 58738 h 15"/>
                  <a:gd name="T10" fmla="*/ 19526 w 60"/>
                  <a:gd name="T11" fmla="*/ 54822 h 15"/>
                  <a:gd name="T12" fmla="*/ 22860 w 60"/>
                  <a:gd name="T13" fmla="*/ 46990 h 15"/>
                  <a:gd name="T14" fmla="*/ 26194 w 60"/>
                  <a:gd name="T15" fmla="*/ 35243 h 15"/>
                  <a:gd name="T16" fmla="*/ 28575 w 60"/>
                  <a:gd name="T17" fmla="*/ 19579 h 15"/>
                  <a:gd name="T18" fmla="*/ 27146 w 60"/>
                  <a:gd name="T19" fmla="*/ 11748 h 15"/>
                  <a:gd name="T20" fmla="*/ 25718 w 60"/>
                  <a:gd name="T21" fmla="*/ 0 h 15"/>
                  <a:gd name="T22" fmla="*/ 24289 w 60"/>
                  <a:gd name="T23" fmla="*/ 0 h 15"/>
                  <a:gd name="T24" fmla="*/ 22384 w 60"/>
                  <a:gd name="T25" fmla="*/ 0 h 15"/>
                  <a:gd name="T26" fmla="*/ 19050 w 60"/>
                  <a:gd name="T27" fmla="*/ 0 h 15"/>
                  <a:gd name="T28" fmla="*/ 15716 w 60"/>
                  <a:gd name="T29" fmla="*/ 11748 h 15"/>
                  <a:gd name="T30" fmla="*/ 11430 w 60"/>
                  <a:gd name="T31" fmla="*/ 23495 h 15"/>
                  <a:gd name="T32" fmla="*/ 7620 w 60"/>
                  <a:gd name="T33" fmla="*/ 31327 h 15"/>
                  <a:gd name="T34" fmla="*/ 3334 w 60"/>
                  <a:gd name="T35" fmla="*/ 39159 h 15"/>
                  <a:gd name="T36" fmla="*/ 0 w 60"/>
                  <a:gd name="T37" fmla="*/ 43075 h 1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0" h="15">
                    <a:moveTo>
                      <a:pt x="0" y="11"/>
                    </a:moveTo>
                    <a:lnTo>
                      <a:pt x="10" y="13"/>
                    </a:lnTo>
                    <a:lnTo>
                      <a:pt x="18" y="14"/>
                    </a:lnTo>
                    <a:lnTo>
                      <a:pt x="27" y="15"/>
                    </a:lnTo>
                    <a:lnTo>
                      <a:pt x="35" y="15"/>
                    </a:lnTo>
                    <a:lnTo>
                      <a:pt x="41" y="14"/>
                    </a:lnTo>
                    <a:lnTo>
                      <a:pt x="48" y="12"/>
                    </a:lnTo>
                    <a:lnTo>
                      <a:pt x="55" y="9"/>
                    </a:lnTo>
                    <a:lnTo>
                      <a:pt x="60" y="5"/>
                    </a:lnTo>
                    <a:lnTo>
                      <a:pt x="57" y="3"/>
                    </a:lnTo>
                    <a:lnTo>
                      <a:pt x="54" y="0"/>
                    </a:lnTo>
                    <a:lnTo>
                      <a:pt x="51" y="0"/>
                    </a:lnTo>
                    <a:lnTo>
                      <a:pt x="47" y="0"/>
                    </a:lnTo>
                    <a:lnTo>
                      <a:pt x="40" y="0"/>
                    </a:lnTo>
                    <a:lnTo>
                      <a:pt x="33" y="3"/>
                    </a:lnTo>
                    <a:lnTo>
                      <a:pt x="24" y="6"/>
                    </a:lnTo>
                    <a:lnTo>
                      <a:pt x="16" y="8"/>
                    </a:lnTo>
                    <a:lnTo>
                      <a:pt x="7" y="10"/>
                    </a:lnTo>
                    <a:lnTo>
                      <a:pt x="0" y="11"/>
                    </a:lnTo>
                  </a:path>
                </a:pathLst>
              </a:custGeom>
              <a:grpFill/>
              <a:ln w="9525" cmpd="sng">
                <a:solidFill>
                  <a:srgbClr val="FFFFFF"/>
                </a:solidFill>
                <a:prstDash val="solid"/>
                <a:round/>
                <a:headEnd/>
                <a:tailEnd/>
              </a:ln>
            </p:spPr>
            <p:txBody>
              <a:bodyPr/>
              <a:lstStyle/>
              <a:p>
                <a:endParaRPr lang="en-GB" sz="1637"/>
              </a:p>
            </p:txBody>
          </p:sp>
          <p:sp>
            <p:nvSpPr>
              <p:cNvPr id="429" name="Freeform 202"/>
              <p:cNvSpPr>
                <a:spLocks/>
              </p:cNvSpPr>
              <p:nvPr>
                <p:custDataLst>
                  <p:tags r:id="rId273"/>
                </p:custDataLst>
              </p:nvPr>
            </p:nvSpPr>
            <p:spPr bwMode="auto">
              <a:xfrm>
                <a:off x="2174418" y="5860648"/>
                <a:ext cx="36393" cy="64475"/>
              </a:xfrm>
              <a:custGeom>
                <a:avLst/>
                <a:gdLst>
                  <a:gd name="T0" fmla="*/ 16880 w 79"/>
                  <a:gd name="T1" fmla="*/ 0 h 32"/>
                  <a:gd name="T2" fmla="*/ 14348 w 79"/>
                  <a:gd name="T3" fmla="*/ 1786 h 32"/>
                  <a:gd name="T4" fmla="*/ 12660 w 79"/>
                  <a:gd name="T5" fmla="*/ 3572 h 32"/>
                  <a:gd name="T6" fmla="*/ 10550 w 79"/>
                  <a:gd name="T7" fmla="*/ 7144 h 32"/>
                  <a:gd name="T8" fmla="*/ 8440 w 79"/>
                  <a:gd name="T9" fmla="*/ 10716 h 32"/>
                  <a:gd name="T10" fmla="*/ 6330 w 79"/>
                  <a:gd name="T11" fmla="*/ 16073 h 32"/>
                  <a:gd name="T12" fmla="*/ 4220 w 79"/>
                  <a:gd name="T13" fmla="*/ 19645 h 32"/>
                  <a:gd name="T14" fmla="*/ 2110 w 79"/>
                  <a:gd name="T15" fmla="*/ 21431 h 32"/>
                  <a:gd name="T16" fmla="*/ 0 w 79"/>
                  <a:gd name="T17" fmla="*/ 23217 h 32"/>
                  <a:gd name="T18" fmla="*/ 2110 w 79"/>
                  <a:gd name="T19" fmla="*/ 37505 h 32"/>
                  <a:gd name="T20" fmla="*/ 4220 w 79"/>
                  <a:gd name="T21" fmla="*/ 46434 h 32"/>
                  <a:gd name="T22" fmla="*/ 5064 w 79"/>
                  <a:gd name="T23" fmla="*/ 51792 h 32"/>
                  <a:gd name="T24" fmla="*/ 6330 w 79"/>
                  <a:gd name="T25" fmla="*/ 55364 h 32"/>
                  <a:gd name="T26" fmla="*/ 7596 w 79"/>
                  <a:gd name="T27" fmla="*/ 55364 h 32"/>
                  <a:gd name="T28" fmla="*/ 8440 w 79"/>
                  <a:gd name="T29" fmla="*/ 57150 h 32"/>
                  <a:gd name="T30" fmla="*/ 11394 w 79"/>
                  <a:gd name="T31" fmla="*/ 55364 h 32"/>
                  <a:gd name="T32" fmla="*/ 14348 w 79"/>
                  <a:gd name="T33" fmla="*/ 53578 h 32"/>
                  <a:gd name="T34" fmla="*/ 17302 w 79"/>
                  <a:gd name="T35" fmla="*/ 48220 h 32"/>
                  <a:gd name="T36" fmla="*/ 20256 w 79"/>
                  <a:gd name="T37" fmla="*/ 42863 h 32"/>
                  <a:gd name="T38" fmla="*/ 26164 w 79"/>
                  <a:gd name="T39" fmla="*/ 32147 h 32"/>
                  <a:gd name="T40" fmla="*/ 33338 w 79"/>
                  <a:gd name="T41" fmla="*/ 23217 h 32"/>
                  <a:gd name="T42" fmla="*/ 28274 w 79"/>
                  <a:gd name="T43" fmla="*/ 10716 h 32"/>
                  <a:gd name="T44" fmla="*/ 24476 w 79"/>
                  <a:gd name="T45" fmla="*/ 3572 h 32"/>
                  <a:gd name="T46" fmla="*/ 20678 w 79"/>
                  <a:gd name="T47" fmla="*/ 1786 h 32"/>
                  <a:gd name="T48" fmla="*/ 16880 w 79"/>
                  <a:gd name="T49" fmla="*/ 0 h 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32">
                    <a:moveTo>
                      <a:pt x="40" y="0"/>
                    </a:moveTo>
                    <a:lnTo>
                      <a:pt x="34" y="1"/>
                    </a:lnTo>
                    <a:lnTo>
                      <a:pt x="30" y="2"/>
                    </a:lnTo>
                    <a:lnTo>
                      <a:pt x="25" y="4"/>
                    </a:lnTo>
                    <a:lnTo>
                      <a:pt x="20" y="6"/>
                    </a:lnTo>
                    <a:lnTo>
                      <a:pt x="15" y="9"/>
                    </a:lnTo>
                    <a:lnTo>
                      <a:pt x="10" y="11"/>
                    </a:lnTo>
                    <a:lnTo>
                      <a:pt x="5" y="12"/>
                    </a:lnTo>
                    <a:lnTo>
                      <a:pt x="0" y="13"/>
                    </a:lnTo>
                    <a:lnTo>
                      <a:pt x="5" y="21"/>
                    </a:lnTo>
                    <a:lnTo>
                      <a:pt x="10" y="26"/>
                    </a:lnTo>
                    <a:lnTo>
                      <a:pt x="12" y="29"/>
                    </a:lnTo>
                    <a:lnTo>
                      <a:pt x="15" y="31"/>
                    </a:lnTo>
                    <a:lnTo>
                      <a:pt x="18" y="31"/>
                    </a:lnTo>
                    <a:lnTo>
                      <a:pt x="20" y="32"/>
                    </a:lnTo>
                    <a:lnTo>
                      <a:pt x="27" y="31"/>
                    </a:lnTo>
                    <a:lnTo>
                      <a:pt x="34" y="30"/>
                    </a:lnTo>
                    <a:lnTo>
                      <a:pt x="41" y="27"/>
                    </a:lnTo>
                    <a:lnTo>
                      <a:pt x="48" y="24"/>
                    </a:lnTo>
                    <a:lnTo>
                      <a:pt x="62" y="18"/>
                    </a:lnTo>
                    <a:lnTo>
                      <a:pt x="79" y="13"/>
                    </a:lnTo>
                    <a:lnTo>
                      <a:pt x="67" y="6"/>
                    </a:lnTo>
                    <a:lnTo>
                      <a:pt x="58" y="2"/>
                    </a:lnTo>
                    <a:lnTo>
                      <a:pt x="49" y="1"/>
                    </a:lnTo>
                    <a:lnTo>
                      <a:pt x="40" y="0"/>
                    </a:lnTo>
                  </a:path>
                </a:pathLst>
              </a:custGeom>
              <a:grpFill/>
              <a:ln w="9525" cmpd="sng">
                <a:solidFill>
                  <a:srgbClr val="FFFFFF"/>
                </a:solidFill>
                <a:prstDash val="solid"/>
                <a:round/>
                <a:headEnd/>
                <a:tailEnd/>
              </a:ln>
            </p:spPr>
            <p:txBody>
              <a:bodyPr/>
              <a:lstStyle/>
              <a:p>
                <a:endParaRPr lang="en-GB" sz="1637"/>
              </a:p>
            </p:txBody>
          </p:sp>
          <p:sp>
            <p:nvSpPr>
              <p:cNvPr id="430" name="Freeform 203"/>
              <p:cNvSpPr>
                <a:spLocks/>
              </p:cNvSpPr>
              <p:nvPr>
                <p:custDataLst>
                  <p:tags r:id="rId274"/>
                </p:custDataLst>
              </p:nvPr>
            </p:nvSpPr>
            <p:spPr bwMode="auto">
              <a:xfrm>
                <a:off x="2167486" y="5839156"/>
                <a:ext cx="32927" cy="64475"/>
              </a:xfrm>
              <a:custGeom>
                <a:avLst/>
                <a:gdLst>
                  <a:gd name="T0" fmla="*/ 15082 w 66"/>
                  <a:gd name="T1" fmla="*/ 0 h 19"/>
                  <a:gd name="T2" fmla="*/ 11425 w 66"/>
                  <a:gd name="T3" fmla="*/ 3008 h 19"/>
                  <a:gd name="T4" fmla="*/ 8683 w 66"/>
                  <a:gd name="T5" fmla="*/ 6016 h 19"/>
                  <a:gd name="T6" fmla="*/ 5941 w 66"/>
                  <a:gd name="T7" fmla="*/ 12032 h 19"/>
                  <a:gd name="T8" fmla="*/ 4113 w 66"/>
                  <a:gd name="T9" fmla="*/ 21055 h 19"/>
                  <a:gd name="T10" fmla="*/ 2285 w 66"/>
                  <a:gd name="T11" fmla="*/ 33087 h 19"/>
                  <a:gd name="T12" fmla="*/ 914 w 66"/>
                  <a:gd name="T13" fmla="*/ 42111 h 19"/>
                  <a:gd name="T14" fmla="*/ 0 w 66"/>
                  <a:gd name="T15" fmla="*/ 51134 h 19"/>
                  <a:gd name="T16" fmla="*/ 0 w 66"/>
                  <a:gd name="T17" fmla="*/ 57150 h 19"/>
                  <a:gd name="T18" fmla="*/ 8683 w 66"/>
                  <a:gd name="T19" fmla="*/ 57150 h 19"/>
                  <a:gd name="T20" fmla="*/ 17367 w 66"/>
                  <a:gd name="T21" fmla="*/ 57150 h 19"/>
                  <a:gd name="T22" fmla="*/ 21023 w 66"/>
                  <a:gd name="T23" fmla="*/ 54142 h 19"/>
                  <a:gd name="T24" fmla="*/ 24679 w 66"/>
                  <a:gd name="T25" fmla="*/ 51134 h 19"/>
                  <a:gd name="T26" fmla="*/ 27878 w 66"/>
                  <a:gd name="T27" fmla="*/ 45118 h 19"/>
                  <a:gd name="T28" fmla="*/ 30163 w 66"/>
                  <a:gd name="T29" fmla="*/ 39103 h 19"/>
                  <a:gd name="T30" fmla="*/ 26050 w 66"/>
                  <a:gd name="T31" fmla="*/ 24063 h 19"/>
                  <a:gd name="T32" fmla="*/ 22851 w 66"/>
                  <a:gd name="T33" fmla="*/ 12032 h 19"/>
                  <a:gd name="T34" fmla="*/ 19195 w 66"/>
                  <a:gd name="T35" fmla="*/ 3008 h 19"/>
                  <a:gd name="T36" fmla="*/ 15082 w 66"/>
                  <a:gd name="T37" fmla="*/ 0 h 1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6" h="19">
                    <a:moveTo>
                      <a:pt x="33" y="0"/>
                    </a:moveTo>
                    <a:lnTo>
                      <a:pt x="25" y="1"/>
                    </a:lnTo>
                    <a:lnTo>
                      <a:pt x="19" y="2"/>
                    </a:lnTo>
                    <a:lnTo>
                      <a:pt x="13" y="4"/>
                    </a:lnTo>
                    <a:lnTo>
                      <a:pt x="9" y="7"/>
                    </a:lnTo>
                    <a:lnTo>
                      <a:pt x="5" y="11"/>
                    </a:lnTo>
                    <a:lnTo>
                      <a:pt x="2" y="14"/>
                    </a:lnTo>
                    <a:lnTo>
                      <a:pt x="0" y="17"/>
                    </a:lnTo>
                    <a:lnTo>
                      <a:pt x="0" y="19"/>
                    </a:lnTo>
                    <a:lnTo>
                      <a:pt x="19" y="19"/>
                    </a:lnTo>
                    <a:lnTo>
                      <a:pt x="38" y="19"/>
                    </a:lnTo>
                    <a:lnTo>
                      <a:pt x="46" y="18"/>
                    </a:lnTo>
                    <a:lnTo>
                      <a:pt x="54" y="17"/>
                    </a:lnTo>
                    <a:lnTo>
                      <a:pt x="61" y="15"/>
                    </a:lnTo>
                    <a:lnTo>
                      <a:pt x="66" y="13"/>
                    </a:lnTo>
                    <a:lnTo>
                      <a:pt x="57" y="8"/>
                    </a:lnTo>
                    <a:lnTo>
                      <a:pt x="50" y="4"/>
                    </a:lnTo>
                    <a:lnTo>
                      <a:pt x="42" y="1"/>
                    </a:lnTo>
                    <a:lnTo>
                      <a:pt x="33" y="0"/>
                    </a:lnTo>
                  </a:path>
                </a:pathLst>
              </a:custGeom>
              <a:grpFill/>
              <a:ln w="9525" cmpd="sng">
                <a:solidFill>
                  <a:srgbClr val="FFFFFF"/>
                </a:solidFill>
                <a:prstDash val="solid"/>
                <a:round/>
                <a:headEnd/>
                <a:tailEnd/>
              </a:ln>
            </p:spPr>
            <p:txBody>
              <a:bodyPr/>
              <a:lstStyle/>
              <a:p>
                <a:endParaRPr lang="en-GB" sz="1637"/>
              </a:p>
            </p:txBody>
          </p:sp>
          <p:sp>
            <p:nvSpPr>
              <p:cNvPr id="431" name="Freeform 204"/>
              <p:cNvSpPr>
                <a:spLocks/>
              </p:cNvSpPr>
              <p:nvPr>
                <p:custDataLst>
                  <p:tags r:id="rId275"/>
                </p:custDataLst>
              </p:nvPr>
            </p:nvSpPr>
            <p:spPr bwMode="auto">
              <a:xfrm>
                <a:off x="2058309" y="5489919"/>
                <a:ext cx="27728" cy="68057"/>
              </a:xfrm>
              <a:custGeom>
                <a:avLst/>
                <a:gdLst>
                  <a:gd name="T0" fmla="*/ 6230 w 53"/>
                  <a:gd name="T1" fmla="*/ 0 h 80"/>
                  <a:gd name="T2" fmla="*/ 3834 w 53"/>
                  <a:gd name="T3" fmla="*/ 3770 h 80"/>
                  <a:gd name="T4" fmla="*/ 1917 w 53"/>
                  <a:gd name="T5" fmla="*/ 7541 h 80"/>
                  <a:gd name="T6" fmla="*/ 958 w 53"/>
                  <a:gd name="T7" fmla="*/ 9803 h 80"/>
                  <a:gd name="T8" fmla="*/ 479 w 53"/>
                  <a:gd name="T9" fmla="*/ 12065 h 80"/>
                  <a:gd name="T10" fmla="*/ 0 w 53"/>
                  <a:gd name="T11" fmla="*/ 15081 h 80"/>
                  <a:gd name="T12" fmla="*/ 0 w 53"/>
                  <a:gd name="T13" fmla="*/ 18852 h 80"/>
                  <a:gd name="T14" fmla="*/ 0 w 53"/>
                  <a:gd name="T15" fmla="*/ 22622 h 80"/>
                  <a:gd name="T16" fmla="*/ 958 w 53"/>
                  <a:gd name="T17" fmla="*/ 29408 h 80"/>
                  <a:gd name="T18" fmla="*/ 2875 w 53"/>
                  <a:gd name="T19" fmla="*/ 36195 h 80"/>
                  <a:gd name="T20" fmla="*/ 4313 w 53"/>
                  <a:gd name="T21" fmla="*/ 42982 h 80"/>
                  <a:gd name="T22" fmla="*/ 6230 w 53"/>
                  <a:gd name="T23" fmla="*/ 49768 h 80"/>
                  <a:gd name="T24" fmla="*/ 9585 w 53"/>
                  <a:gd name="T25" fmla="*/ 55047 h 80"/>
                  <a:gd name="T26" fmla="*/ 10543 w 53"/>
                  <a:gd name="T27" fmla="*/ 57309 h 80"/>
                  <a:gd name="T28" fmla="*/ 12460 w 53"/>
                  <a:gd name="T29" fmla="*/ 58817 h 80"/>
                  <a:gd name="T30" fmla="*/ 14377 w 53"/>
                  <a:gd name="T31" fmla="*/ 60325 h 80"/>
                  <a:gd name="T32" fmla="*/ 15815 w 53"/>
                  <a:gd name="T33" fmla="*/ 60325 h 80"/>
                  <a:gd name="T34" fmla="*/ 17253 w 53"/>
                  <a:gd name="T35" fmla="*/ 59571 h 80"/>
                  <a:gd name="T36" fmla="*/ 18211 w 53"/>
                  <a:gd name="T37" fmla="*/ 58817 h 80"/>
                  <a:gd name="T38" fmla="*/ 20128 w 53"/>
                  <a:gd name="T39" fmla="*/ 57309 h 80"/>
                  <a:gd name="T40" fmla="*/ 21566 w 53"/>
                  <a:gd name="T41" fmla="*/ 55047 h 80"/>
                  <a:gd name="T42" fmla="*/ 23004 w 53"/>
                  <a:gd name="T43" fmla="*/ 52784 h 80"/>
                  <a:gd name="T44" fmla="*/ 24442 w 53"/>
                  <a:gd name="T45" fmla="*/ 50522 h 80"/>
                  <a:gd name="T46" fmla="*/ 25400 w 53"/>
                  <a:gd name="T47" fmla="*/ 48260 h 80"/>
                  <a:gd name="T48" fmla="*/ 25400 w 53"/>
                  <a:gd name="T49" fmla="*/ 46752 h 80"/>
                  <a:gd name="T50" fmla="*/ 24921 w 53"/>
                  <a:gd name="T51" fmla="*/ 40719 h 80"/>
                  <a:gd name="T52" fmla="*/ 23483 w 53"/>
                  <a:gd name="T53" fmla="*/ 35441 h 80"/>
                  <a:gd name="T54" fmla="*/ 22045 w 53"/>
                  <a:gd name="T55" fmla="*/ 31671 h 80"/>
                  <a:gd name="T56" fmla="*/ 20608 w 53"/>
                  <a:gd name="T57" fmla="*/ 27900 h 80"/>
                  <a:gd name="T58" fmla="*/ 19170 w 53"/>
                  <a:gd name="T59" fmla="*/ 24130 h 80"/>
                  <a:gd name="T60" fmla="*/ 17253 w 53"/>
                  <a:gd name="T61" fmla="*/ 20360 h 80"/>
                  <a:gd name="T62" fmla="*/ 16294 w 53"/>
                  <a:gd name="T63" fmla="*/ 15081 h 80"/>
                  <a:gd name="T64" fmla="*/ 15815 w 53"/>
                  <a:gd name="T65" fmla="*/ 9049 h 80"/>
                  <a:gd name="T66" fmla="*/ 15815 w 53"/>
                  <a:gd name="T67" fmla="*/ 7541 h 80"/>
                  <a:gd name="T68" fmla="*/ 14857 w 53"/>
                  <a:gd name="T69" fmla="*/ 6033 h 80"/>
                  <a:gd name="T70" fmla="*/ 13898 w 53"/>
                  <a:gd name="T71" fmla="*/ 4524 h 80"/>
                  <a:gd name="T72" fmla="*/ 11981 w 53"/>
                  <a:gd name="T73" fmla="*/ 3016 h 80"/>
                  <a:gd name="T74" fmla="*/ 9106 w 53"/>
                  <a:gd name="T75" fmla="*/ 754 h 80"/>
                  <a:gd name="T76" fmla="*/ 6230 w 53"/>
                  <a:gd name="T77" fmla="*/ 0 h 8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53" h="80">
                    <a:moveTo>
                      <a:pt x="13" y="0"/>
                    </a:moveTo>
                    <a:lnTo>
                      <a:pt x="8" y="5"/>
                    </a:lnTo>
                    <a:lnTo>
                      <a:pt x="4" y="10"/>
                    </a:lnTo>
                    <a:lnTo>
                      <a:pt x="2" y="13"/>
                    </a:lnTo>
                    <a:lnTo>
                      <a:pt x="1" y="16"/>
                    </a:lnTo>
                    <a:lnTo>
                      <a:pt x="0" y="20"/>
                    </a:lnTo>
                    <a:lnTo>
                      <a:pt x="0" y="25"/>
                    </a:lnTo>
                    <a:lnTo>
                      <a:pt x="0" y="30"/>
                    </a:lnTo>
                    <a:lnTo>
                      <a:pt x="2" y="39"/>
                    </a:lnTo>
                    <a:lnTo>
                      <a:pt x="6" y="48"/>
                    </a:lnTo>
                    <a:lnTo>
                      <a:pt x="9" y="57"/>
                    </a:lnTo>
                    <a:lnTo>
                      <a:pt x="13" y="66"/>
                    </a:lnTo>
                    <a:lnTo>
                      <a:pt x="20" y="73"/>
                    </a:lnTo>
                    <a:lnTo>
                      <a:pt x="22" y="76"/>
                    </a:lnTo>
                    <a:lnTo>
                      <a:pt x="26" y="78"/>
                    </a:lnTo>
                    <a:lnTo>
                      <a:pt x="30" y="80"/>
                    </a:lnTo>
                    <a:lnTo>
                      <a:pt x="33" y="80"/>
                    </a:lnTo>
                    <a:lnTo>
                      <a:pt x="36" y="79"/>
                    </a:lnTo>
                    <a:lnTo>
                      <a:pt x="38" y="78"/>
                    </a:lnTo>
                    <a:lnTo>
                      <a:pt x="42" y="76"/>
                    </a:lnTo>
                    <a:lnTo>
                      <a:pt x="45" y="73"/>
                    </a:lnTo>
                    <a:lnTo>
                      <a:pt x="48" y="70"/>
                    </a:lnTo>
                    <a:lnTo>
                      <a:pt x="51" y="67"/>
                    </a:lnTo>
                    <a:lnTo>
                      <a:pt x="53" y="64"/>
                    </a:lnTo>
                    <a:lnTo>
                      <a:pt x="53" y="62"/>
                    </a:lnTo>
                    <a:lnTo>
                      <a:pt x="52" y="54"/>
                    </a:lnTo>
                    <a:lnTo>
                      <a:pt x="49" y="47"/>
                    </a:lnTo>
                    <a:lnTo>
                      <a:pt x="46" y="42"/>
                    </a:lnTo>
                    <a:lnTo>
                      <a:pt x="43" y="37"/>
                    </a:lnTo>
                    <a:lnTo>
                      <a:pt x="40" y="32"/>
                    </a:lnTo>
                    <a:lnTo>
                      <a:pt x="36" y="27"/>
                    </a:lnTo>
                    <a:lnTo>
                      <a:pt x="34" y="20"/>
                    </a:lnTo>
                    <a:lnTo>
                      <a:pt x="33" y="12"/>
                    </a:lnTo>
                    <a:lnTo>
                      <a:pt x="33" y="10"/>
                    </a:lnTo>
                    <a:lnTo>
                      <a:pt x="31" y="8"/>
                    </a:lnTo>
                    <a:lnTo>
                      <a:pt x="29" y="6"/>
                    </a:lnTo>
                    <a:lnTo>
                      <a:pt x="25" y="4"/>
                    </a:lnTo>
                    <a:lnTo>
                      <a:pt x="19" y="1"/>
                    </a:lnTo>
                    <a:lnTo>
                      <a:pt x="13" y="0"/>
                    </a:lnTo>
                  </a:path>
                </a:pathLst>
              </a:custGeom>
              <a:grpFill/>
              <a:ln w="9525" cmpd="sng">
                <a:solidFill>
                  <a:srgbClr val="FFFFFF"/>
                </a:solidFill>
                <a:prstDash val="solid"/>
                <a:round/>
                <a:headEnd/>
                <a:tailEnd/>
              </a:ln>
            </p:spPr>
            <p:txBody>
              <a:bodyPr/>
              <a:lstStyle/>
              <a:p>
                <a:endParaRPr lang="en-GB" sz="1637"/>
              </a:p>
            </p:txBody>
          </p:sp>
          <p:sp>
            <p:nvSpPr>
              <p:cNvPr id="432" name="Freeform 205"/>
              <p:cNvSpPr>
                <a:spLocks/>
              </p:cNvSpPr>
              <p:nvPr>
                <p:custDataLst>
                  <p:tags r:id="rId276"/>
                </p:custDataLst>
              </p:nvPr>
            </p:nvSpPr>
            <p:spPr bwMode="auto">
              <a:xfrm>
                <a:off x="2091235" y="5597377"/>
                <a:ext cx="19063" cy="60893"/>
              </a:xfrm>
              <a:custGeom>
                <a:avLst/>
                <a:gdLst>
                  <a:gd name="T0" fmla="*/ 0 w 41"/>
                  <a:gd name="T1" fmla="*/ 53975 h 43"/>
                  <a:gd name="T2" fmla="*/ 11500 w 41"/>
                  <a:gd name="T3" fmla="*/ 53975 h 43"/>
                  <a:gd name="T4" fmla="*/ 17463 w 41"/>
                  <a:gd name="T5" fmla="*/ 30126 h 43"/>
                  <a:gd name="T6" fmla="*/ 16185 w 41"/>
                  <a:gd name="T7" fmla="*/ 15063 h 43"/>
                  <a:gd name="T8" fmla="*/ 14482 w 41"/>
                  <a:gd name="T9" fmla="*/ 0 h 43"/>
                  <a:gd name="T10" fmla="*/ 11500 w 41"/>
                  <a:gd name="T11" fmla="*/ 5021 h 43"/>
                  <a:gd name="T12" fmla="*/ 8519 w 41"/>
                  <a:gd name="T13" fmla="*/ 11297 h 43"/>
                  <a:gd name="T14" fmla="*/ 6389 w 41"/>
                  <a:gd name="T15" fmla="*/ 17573 h 43"/>
                  <a:gd name="T16" fmla="*/ 4259 w 41"/>
                  <a:gd name="T17" fmla="*/ 23849 h 43"/>
                  <a:gd name="T18" fmla="*/ 2556 w 41"/>
                  <a:gd name="T19" fmla="*/ 30126 h 43"/>
                  <a:gd name="T20" fmla="*/ 1278 w 41"/>
                  <a:gd name="T21" fmla="*/ 37657 h 43"/>
                  <a:gd name="T22" fmla="*/ 426 w 41"/>
                  <a:gd name="T23" fmla="*/ 46444 h 43"/>
                  <a:gd name="T24" fmla="*/ 0 w 41"/>
                  <a:gd name="T25" fmla="*/ 53975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1" h="43">
                    <a:moveTo>
                      <a:pt x="0" y="43"/>
                    </a:moveTo>
                    <a:lnTo>
                      <a:pt x="27" y="43"/>
                    </a:lnTo>
                    <a:lnTo>
                      <a:pt x="41" y="24"/>
                    </a:lnTo>
                    <a:lnTo>
                      <a:pt x="38" y="12"/>
                    </a:lnTo>
                    <a:lnTo>
                      <a:pt x="34" y="0"/>
                    </a:lnTo>
                    <a:lnTo>
                      <a:pt x="27" y="4"/>
                    </a:lnTo>
                    <a:lnTo>
                      <a:pt x="20" y="9"/>
                    </a:lnTo>
                    <a:lnTo>
                      <a:pt x="15" y="14"/>
                    </a:lnTo>
                    <a:lnTo>
                      <a:pt x="10" y="19"/>
                    </a:lnTo>
                    <a:lnTo>
                      <a:pt x="6" y="24"/>
                    </a:lnTo>
                    <a:lnTo>
                      <a:pt x="3" y="30"/>
                    </a:lnTo>
                    <a:lnTo>
                      <a:pt x="1" y="37"/>
                    </a:lnTo>
                    <a:lnTo>
                      <a:pt x="0" y="43"/>
                    </a:lnTo>
                  </a:path>
                </a:pathLst>
              </a:custGeom>
              <a:grpFill/>
              <a:ln w="9525" cmpd="sng">
                <a:solidFill>
                  <a:srgbClr val="FFFFFF"/>
                </a:solidFill>
                <a:prstDash val="solid"/>
                <a:round/>
                <a:headEnd/>
                <a:tailEnd/>
              </a:ln>
            </p:spPr>
            <p:txBody>
              <a:bodyPr/>
              <a:lstStyle/>
              <a:p>
                <a:endParaRPr lang="en-GB" sz="1637"/>
              </a:p>
            </p:txBody>
          </p:sp>
          <p:sp>
            <p:nvSpPr>
              <p:cNvPr id="433" name="Freeform 206"/>
              <p:cNvSpPr>
                <a:spLocks/>
              </p:cNvSpPr>
              <p:nvPr>
                <p:custDataLst>
                  <p:tags r:id="rId277"/>
                </p:custDataLst>
              </p:nvPr>
            </p:nvSpPr>
            <p:spPr bwMode="auto">
              <a:xfrm>
                <a:off x="2096435" y="5622450"/>
                <a:ext cx="8664" cy="66265"/>
              </a:xfrm>
              <a:custGeom>
                <a:avLst/>
                <a:gdLst>
                  <a:gd name="T0" fmla="*/ 7937 w 20"/>
                  <a:gd name="T1" fmla="*/ 0 h 24"/>
                  <a:gd name="T2" fmla="*/ 0 w 20"/>
                  <a:gd name="T3" fmla="*/ 0 h 24"/>
                  <a:gd name="T4" fmla="*/ 397 w 20"/>
                  <a:gd name="T5" fmla="*/ 12237 h 24"/>
                  <a:gd name="T6" fmla="*/ 794 w 20"/>
                  <a:gd name="T7" fmla="*/ 22026 h 24"/>
                  <a:gd name="T8" fmla="*/ 1587 w 20"/>
                  <a:gd name="T9" fmla="*/ 31816 h 24"/>
                  <a:gd name="T10" fmla="*/ 2778 w 20"/>
                  <a:gd name="T11" fmla="*/ 41605 h 24"/>
                  <a:gd name="T12" fmla="*/ 3969 w 20"/>
                  <a:gd name="T13" fmla="*/ 48948 h 24"/>
                  <a:gd name="T14" fmla="*/ 5556 w 20"/>
                  <a:gd name="T15" fmla="*/ 53842 h 24"/>
                  <a:gd name="T16" fmla="*/ 6746 w 20"/>
                  <a:gd name="T17" fmla="*/ 58737 h 24"/>
                  <a:gd name="T18" fmla="*/ 7937 w 20"/>
                  <a:gd name="T19" fmla="*/ 58737 h 24"/>
                  <a:gd name="T20" fmla="*/ 7937 w 20"/>
                  <a:gd name="T21" fmla="*/ 0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0" h="24">
                    <a:moveTo>
                      <a:pt x="20" y="0"/>
                    </a:moveTo>
                    <a:lnTo>
                      <a:pt x="0" y="0"/>
                    </a:lnTo>
                    <a:lnTo>
                      <a:pt x="1" y="5"/>
                    </a:lnTo>
                    <a:lnTo>
                      <a:pt x="2" y="9"/>
                    </a:lnTo>
                    <a:lnTo>
                      <a:pt x="4" y="13"/>
                    </a:lnTo>
                    <a:lnTo>
                      <a:pt x="7" y="17"/>
                    </a:lnTo>
                    <a:lnTo>
                      <a:pt x="10" y="20"/>
                    </a:lnTo>
                    <a:lnTo>
                      <a:pt x="14" y="22"/>
                    </a:lnTo>
                    <a:lnTo>
                      <a:pt x="17" y="24"/>
                    </a:lnTo>
                    <a:lnTo>
                      <a:pt x="20" y="24"/>
                    </a:lnTo>
                    <a:lnTo>
                      <a:pt x="20" y="0"/>
                    </a:lnTo>
                  </a:path>
                </a:pathLst>
              </a:custGeom>
              <a:grpFill/>
              <a:ln w="9525" cmpd="sng">
                <a:solidFill>
                  <a:srgbClr val="FFFFFF"/>
                </a:solidFill>
                <a:prstDash val="solid"/>
                <a:round/>
                <a:headEnd/>
                <a:tailEnd/>
              </a:ln>
            </p:spPr>
            <p:txBody>
              <a:bodyPr/>
              <a:lstStyle/>
              <a:p>
                <a:endParaRPr lang="en-GB" sz="1637"/>
              </a:p>
            </p:txBody>
          </p:sp>
          <p:sp>
            <p:nvSpPr>
              <p:cNvPr id="434" name="Freeform 207"/>
              <p:cNvSpPr>
                <a:spLocks/>
              </p:cNvSpPr>
              <p:nvPr>
                <p:custDataLst>
                  <p:tags r:id="rId278"/>
                </p:custDataLst>
              </p:nvPr>
            </p:nvSpPr>
            <p:spPr bwMode="auto">
              <a:xfrm>
                <a:off x="2112031" y="5692297"/>
                <a:ext cx="19063" cy="68057"/>
              </a:xfrm>
              <a:custGeom>
                <a:avLst/>
                <a:gdLst>
                  <a:gd name="T0" fmla="*/ 0 w 39"/>
                  <a:gd name="T1" fmla="*/ 16835 h 43"/>
                  <a:gd name="T2" fmla="*/ 896 w 39"/>
                  <a:gd name="T3" fmla="*/ 23849 h 43"/>
                  <a:gd name="T4" fmla="*/ 2687 w 39"/>
                  <a:gd name="T5" fmla="*/ 30864 h 43"/>
                  <a:gd name="T6" fmla="*/ 5373 w 39"/>
                  <a:gd name="T7" fmla="*/ 37878 h 43"/>
                  <a:gd name="T8" fmla="*/ 7164 w 39"/>
                  <a:gd name="T9" fmla="*/ 44893 h 43"/>
                  <a:gd name="T10" fmla="*/ 10299 w 39"/>
                  <a:gd name="T11" fmla="*/ 51908 h 43"/>
                  <a:gd name="T12" fmla="*/ 12538 w 39"/>
                  <a:gd name="T13" fmla="*/ 56116 h 43"/>
                  <a:gd name="T14" fmla="*/ 15224 w 39"/>
                  <a:gd name="T15" fmla="*/ 60325 h 43"/>
                  <a:gd name="T16" fmla="*/ 17463 w 39"/>
                  <a:gd name="T17" fmla="*/ 60325 h 43"/>
                  <a:gd name="T18" fmla="*/ 17015 w 39"/>
                  <a:gd name="T19" fmla="*/ 44893 h 43"/>
                  <a:gd name="T20" fmla="*/ 16120 w 39"/>
                  <a:gd name="T21" fmla="*/ 26655 h 43"/>
                  <a:gd name="T22" fmla="*/ 15224 w 39"/>
                  <a:gd name="T23" fmla="*/ 11223 h 43"/>
                  <a:gd name="T24" fmla="*/ 14329 w 39"/>
                  <a:gd name="T25" fmla="*/ 0 h 43"/>
                  <a:gd name="T26" fmla="*/ 8508 w 39"/>
                  <a:gd name="T27" fmla="*/ 4209 h 43"/>
                  <a:gd name="T28" fmla="*/ 2687 w 39"/>
                  <a:gd name="T29" fmla="*/ 8417 h 43"/>
                  <a:gd name="T30" fmla="*/ 0 w 39"/>
                  <a:gd name="T31" fmla="*/ 16835 h 4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9" h="43">
                    <a:moveTo>
                      <a:pt x="0" y="12"/>
                    </a:moveTo>
                    <a:lnTo>
                      <a:pt x="2" y="17"/>
                    </a:lnTo>
                    <a:lnTo>
                      <a:pt x="6" y="22"/>
                    </a:lnTo>
                    <a:lnTo>
                      <a:pt x="12" y="27"/>
                    </a:lnTo>
                    <a:lnTo>
                      <a:pt x="16" y="32"/>
                    </a:lnTo>
                    <a:lnTo>
                      <a:pt x="23" y="37"/>
                    </a:lnTo>
                    <a:lnTo>
                      <a:pt x="28" y="40"/>
                    </a:lnTo>
                    <a:lnTo>
                      <a:pt x="34" y="43"/>
                    </a:lnTo>
                    <a:lnTo>
                      <a:pt x="39" y="43"/>
                    </a:lnTo>
                    <a:lnTo>
                      <a:pt x="38" y="32"/>
                    </a:lnTo>
                    <a:lnTo>
                      <a:pt x="36" y="19"/>
                    </a:lnTo>
                    <a:lnTo>
                      <a:pt x="34" y="8"/>
                    </a:lnTo>
                    <a:lnTo>
                      <a:pt x="32" y="0"/>
                    </a:lnTo>
                    <a:lnTo>
                      <a:pt x="19" y="3"/>
                    </a:lnTo>
                    <a:lnTo>
                      <a:pt x="6" y="6"/>
                    </a:lnTo>
                    <a:lnTo>
                      <a:pt x="0" y="12"/>
                    </a:lnTo>
                  </a:path>
                </a:pathLst>
              </a:custGeom>
              <a:grpFill/>
              <a:ln w="9525" cmpd="sng">
                <a:solidFill>
                  <a:srgbClr val="FFFFFF"/>
                </a:solidFill>
                <a:prstDash val="solid"/>
                <a:round/>
                <a:headEnd/>
                <a:tailEnd/>
              </a:ln>
            </p:spPr>
            <p:txBody>
              <a:bodyPr/>
              <a:lstStyle/>
              <a:p>
                <a:endParaRPr lang="en-GB" sz="1637"/>
              </a:p>
            </p:txBody>
          </p:sp>
          <p:sp>
            <p:nvSpPr>
              <p:cNvPr id="435" name="Freeform 208"/>
              <p:cNvSpPr>
                <a:spLocks/>
              </p:cNvSpPr>
              <p:nvPr>
                <p:custDataLst>
                  <p:tags r:id="rId279"/>
                </p:custDataLst>
              </p:nvPr>
            </p:nvSpPr>
            <p:spPr bwMode="auto">
              <a:xfrm>
                <a:off x="2098167" y="5706625"/>
                <a:ext cx="29461" cy="66266"/>
              </a:xfrm>
              <a:custGeom>
                <a:avLst/>
                <a:gdLst>
                  <a:gd name="T0" fmla="*/ 14230 w 55"/>
                  <a:gd name="T1" fmla="*/ 24632 h 62"/>
                  <a:gd name="T2" fmla="*/ 3926 w 55"/>
                  <a:gd name="T3" fmla="*/ 0 h 62"/>
                  <a:gd name="T4" fmla="*/ 1963 w 55"/>
                  <a:gd name="T5" fmla="*/ 4737 h 62"/>
                  <a:gd name="T6" fmla="*/ 491 w 55"/>
                  <a:gd name="T7" fmla="*/ 10421 h 62"/>
                  <a:gd name="T8" fmla="*/ 0 w 55"/>
                  <a:gd name="T9" fmla="*/ 15158 h 62"/>
                  <a:gd name="T10" fmla="*/ 0 w 55"/>
                  <a:gd name="T11" fmla="*/ 19895 h 62"/>
                  <a:gd name="T12" fmla="*/ 981 w 55"/>
                  <a:gd name="T13" fmla="*/ 24632 h 62"/>
                  <a:gd name="T14" fmla="*/ 1963 w 55"/>
                  <a:gd name="T15" fmla="*/ 29369 h 62"/>
                  <a:gd name="T16" fmla="*/ 3926 w 55"/>
                  <a:gd name="T17" fmla="*/ 34106 h 62"/>
                  <a:gd name="T18" fmla="*/ 5398 w 55"/>
                  <a:gd name="T19" fmla="*/ 38843 h 62"/>
                  <a:gd name="T20" fmla="*/ 7851 w 55"/>
                  <a:gd name="T21" fmla="*/ 42632 h 62"/>
                  <a:gd name="T22" fmla="*/ 10305 w 55"/>
                  <a:gd name="T23" fmla="*/ 46422 h 62"/>
                  <a:gd name="T24" fmla="*/ 12758 w 55"/>
                  <a:gd name="T25" fmla="*/ 50212 h 62"/>
                  <a:gd name="T26" fmla="*/ 16193 w 55"/>
                  <a:gd name="T27" fmla="*/ 53054 h 62"/>
                  <a:gd name="T28" fmla="*/ 18646 w 55"/>
                  <a:gd name="T29" fmla="*/ 54948 h 62"/>
                  <a:gd name="T30" fmla="*/ 21590 w 55"/>
                  <a:gd name="T31" fmla="*/ 56843 h 62"/>
                  <a:gd name="T32" fmla="*/ 24044 w 55"/>
                  <a:gd name="T33" fmla="*/ 57791 h 62"/>
                  <a:gd name="T34" fmla="*/ 26988 w 55"/>
                  <a:gd name="T35" fmla="*/ 58738 h 62"/>
                  <a:gd name="T36" fmla="*/ 26497 w 55"/>
                  <a:gd name="T37" fmla="*/ 50212 h 62"/>
                  <a:gd name="T38" fmla="*/ 26007 w 55"/>
                  <a:gd name="T39" fmla="*/ 43580 h 62"/>
                  <a:gd name="T40" fmla="*/ 24044 w 55"/>
                  <a:gd name="T41" fmla="*/ 37895 h 62"/>
                  <a:gd name="T42" fmla="*/ 22572 w 55"/>
                  <a:gd name="T43" fmla="*/ 33159 h 62"/>
                  <a:gd name="T44" fmla="*/ 21100 w 55"/>
                  <a:gd name="T45" fmla="*/ 29369 h 62"/>
                  <a:gd name="T46" fmla="*/ 18646 w 55"/>
                  <a:gd name="T47" fmla="*/ 26527 h 62"/>
                  <a:gd name="T48" fmla="*/ 16193 w 55"/>
                  <a:gd name="T49" fmla="*/ 24632 h 62"/>
                  <a:gd name="T50" fmla="*/ 14230 w 55"/>
                  <a:gd name="T51" fmla="*/ 24632 h 6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55" h="62">
                    <a:moveTo>
                      <a:pt x="29" y="26"/>
                    </a:moveTo>
                    <a:lnTo>
                      <a:pt x="8" y="0"/>
                    </a:lnTo>
                    <a:lnTo>
                      <a:pt x="4" y="5"/>
                    </a:lnTo>
                    <a:lnTo>
                      <a:pt x="1" y="11"/>
                    </a:lnTo>
                    <a:lnTo>
                      <a:pt x="0" y="16"/>
                    </a:lnTo>
                    <a:lnTo>
                      <a:pt x="0" y="21"/>
                    </a:lnTo>
                    <a:lnTo>
                      <a:pt x="2" y="26"/>
                    </a:lnTo>
                    <a:lnTo>
                      <a:pt x="4" y="31"/>
                    </a:lnTo>
                    <a:lnTo>
                      <a:pt x="8" y="36"/>
                    </a:lnTo>
                    <a:lnTo>
                      <a:pt x="11" y="41"/>
                    </a:lnTo>
                    <a:lnTo>
                      <a:pt x="16" y="45"/>
                    </a:lnTo>
                    <a:lnTo>
                      <a:pt x="21" y="49"/>
                    </a:lnTo>
                    <a:lnTo>
                      <a:pt x="26" y="53"/>
                    </a:lnTo>
                    <a:lnTo>
                      <a:pt x="33" y="56"/>
                    </a:lnTo>
                    <a:lnTo>
                      <a:pt x="38" y="58"/>
                    </a:lnTo>
                    <a:lnTo>
                      <a:pt x="44" y="60"/>
                    </a:lnTo>
                    <a:lnTo>
                      <a:pt x="49" y="61"/>
                    </a:lnTo>
                    <a:lnTo>
                      <a:pt x="55" y="62"/>
                    </a:lnTo>
                    <a:lnTo>
                      <a:pt x="54" y="53"/>
                    </a:lnTo>
                    <a:lnTo>
                      <a:pt x="53" y="46"/>
                    </a:lnTo>
                    <a:lnTo>
                      <a:pt x="49" y="40"/>
                    </a:lnTo>
                    <a:lnTo>
                      <a:pt x="46" y="35"/>
                    </a:lnTo>
                    <a:lnTo>
                      <a:pt x="43" y="31"/>
                    </a:lnTo>
                    <a:lnTo>
                      <a:pt x="38" y="28"/>
                    </a:lnTo>
                    <a:lnTo>
                      <a:pt x="33" y="26"/>
                    </a:lnTo>
                    <a:lnTo>
                      <a:pt x="29" y="26"/>
                    </a:lnTo>
                  </a:path>
                </a:pathLst>
              </a:custGeom>
              <a:grpFill/>
              <a:ln w="9525" cmpd="sng">
                <a:solidFill>
                  <a:srgbClr val="FFFFFF"/>
                </a:solidFill>
                <a:prstDash val="solid"/>
                <a:round/>
                <a:headEnd/>
                <a:tailEnd/>
              </a:ln>
            </p:spPr>
            <p:txBody>
              <a:bodyPr/>
              <a:lstStyle/>
              <a:p>
                <a:endParaRPr lang="en-GB" sz="1637"/>
              </a:p>
            </p:txBody>
          </p:sp>
          <p:sp>
            <p:nvSpPr>
              <p:cNvPr id="436" name="Freeform 209"/>
              <p:cNvSpPr>
                <a:spLocks/>
              </p:cNvSpPr>
              <p:nvPr>
                <p:custDataLst>
                  <p:tags r:id="rId280"/>
                </p:custDataLst>
              </p:nvPr>
            </p:nvSpPr>
            <p:spPr bwMode="auto">
              <a:xfrm>
                <a:off x="2131094" y="5744236"/>
                <a:ext cx="12130" cy="66265"/>
              </a:xfrm>
              <a:custGeom>
                <a:avLst/>
                <a:gdLst>
                  <a:gd name="T0" fmla="*/ 10477 w 35"/>
                  <a:gd name="T1" fmla="*/ 17758 h 43"/>
                  <a:gd name="T2" fmla="*/ 2222 w 35"/>
                  <a:gd name="T3" fmla="*/ 0 h 43"/>
                  <a:gd name="T4" fmla="*/ 1270 w 35"/>
                  <a:gd name="T5" fmla="*/ 10928 h 43"/>
                  <a:gd name="T6" fmla="*/ 0 w 35"/>
                  <a:gd name="T7" fmla="*/ 25954 h 43"/>
                  <a:gd name="T8" fmla="*/ 635 w 35"/>
                  <a:gd name="T9" fmla="*/ 38247 h 43"/>
                  <a:gd name="T10" fmla="*/ 1587 w 35"/>
                  <a:gd name="T11" fmla="*/ 49175 h 43"/>
                  <a:gd name="T12" fmla="*/ 1905 w 35"/>
                  <a:gd name="T13" fmla="*/ 53273 h 43"/>
                  <a:gd name="T14" fmla="*/ 2540 w 35"/>
                  <a:gd name="T15" fmla="*/ 56005 h 43"/>
                  <a:gd name="T16" fmla="*/ 3492 w 35"/>
                  <a:gd name="T17" fmla="*/ 58737 h 43"/>
                  <a:gd name="T18" fmla="*/ 4445 w 35"/>
                  <a:gd name="T19" fmla="*/ 58737 h 43"/>
                  <a:gd name="T20" fmla="*/ 5715 w 35"/>
                  <a:gd name="T21" fmla="*/ 58737 h 43"/>
                  <a:gd name="T22" fmla="*/ 6985 w 35"/>
                  <a:gd name="T23" fmla="*/ 57371 h 43"/>
                  <a:gd name="T24" fmla="*/ 8255 w 35"/>
                  <a:gd name="T25" fmla="*/ 56005 h 43"/>
                  <a:gd name="T26" fmla="*/ 8890 w 35"/>
                  <a:gd name="T27" fmla="*/ 53273 h 43"/>
                  <a:gd name="T28" fmla="*/ 9842 w 35"/>
                  <a:gd name="T29" fmla="*/ 47809 h 43"/>
                  <a:gd name="T30" fmla="*/ 10477 w 35"/>
                  <a:gd name="T31" fmla="*/ 40979 h 43"/>
                  <a:gd name="T32" fmla="*/ 11112 w 35"/>
                  <a:gd name="T33" fmla="*/ 27320 h 43"/>
                  <a:gd name="T34" fmla="*/ 10477 w 35"/>
                  <a:gd name="T35" fmla="*/ 17758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5" h="43">
                    <a:moveTo>
                      <a:pt x="33" y="13"/>
                    </a:moveTo>
                    <a:lnTo>
                      <a:pt x="7" y="0"/>
                    </a:lnTo>
                    <a:lnTo>
                      <a:pt x="4" y="8"/>
                    </a:lnTo>
                    <a:lnTo>
                      <a:pt x="0" y="19"/>
                    </a:lnTo>
                    <a:lnTo>
                      <a:pt x="2" y="28"/>
                    </a:lnTo>
                    <a:lnTo>
                      <a:pt x="5" y="36"/>
                    </a:lnTo>
                    <a:lnTo>
                      <a:pt x="6" y="39"/>
                    </a:lnTo>
                    <a:lnTo>
                      <a:pt x="8" y="41"/>
                    </a:lnTo>
                    <a:lnTo>
                      <a:pt x="11" y="43"/>
                    </a:lnTo>
                    <a:lnTo>
                      <a:pt x="14" y="43"/>
                    </a:lnTo>
                    <a:lnTo>
                      <a:pt x="18" y="43"/>
                    </a:lnTo>
                    <a:lnTo>
                      <a:pt x="22" y="42"/>
                    </a:lnTo>
                    <a:lnTo>
                      <a:pt x="26" y="41"/>
                    </a:lnTo>
                    <a:lnTo>
                      <a:pt x="28" y="39"/>
                    </a:lnTo>
                    <a:lnTo>
                      <a:pt x="31" y="35"/>
                    </a:lnTo>
                    <a:lnTo>
                      <a:pt x="33" y="30"/>
                    </a:lnTo>
                    <a:lnTo>
                      <a:pt x="35" y="20"/>
                    </a:lnTo>
                    <a:lnTo>
                      <a:pt x="33" y="13"/>
                    </a:lnTo>
                  </a:path>
                </a:pathLst>
              </a:custGeom>
              <a:grpFill/>
              <a:ln w="9525" cmpd="sng">
                <a:solidFill>
                  <a:srgbClr val="FFFFFF"/>
                </a:solidFill>
                <a:prstDash val="solid"/>
                <a:round/>
                <a:headEnd/>
                <a:tailEnd/>
              </a:ln>
            </p:spPr>
            <p:txBody>
              <a:bodyPr/>
              <a:lstStyle/>
              <a:p>
                <a:endParaRPr lang="en-GB" sz="1637"/>
              </a:p>
            </p:txBody>
          </p:sp>
          <p:sp>
            <p:nvSpPr>
              <p:cNvPr id="437" name="Freeform 210"/>
              <p:cNvSpPr>
                <a:spLocks/>
              </p:cNvSpPr>
              <p:nvPr>
                <p:custDataLst>
                  <p:tags r:id="rId281"/>
                </p:custDataLst>
              </p:nvPr>
            </p:nvSpPr>
            <p:spPr bwMode="auto">
              <a:xfrm>
                <a:off x="2127628" y="5781845"/>
                <a:ext cx="22528" cy="62684"/>
              </a:xfrm>
              <a:custGeom>
                <a:avLst/>
                <a:gdLst>
                  <a:gd name="T0" fmla="*/ 20637 w 53"/>
                  <a:gd name="T1" fmla="*/ 0 h 21"/>
                  <a:gd name="T2" fmla="*/ 15964 w 53"/>
                  <a:gd name="T3" fmla="*/ 2646 h 21"/>
                  <a:gd name="T4" fmla="*/ 12460 w 53"/>
                  <a:gd name="T5" fmla="*/ 5292 h 21"/>
                  <a:gd name="T6" fmla="*/ 9734 w 53"/>
                  <a:gd name="T7" fmla="*/ 13229 h 21"/>
                  <a:gd name="T8" fmla="*/ 8177 w 53"/>
                  <a:gd name="T9" fmla="*/ 18521 h 21"/>
                  <a:gd name="T10" fmla="*/ 6619 w 53"/>
                  <a:gd name="T11" fmla="*/ 26459 h 21"/>
                  <a:gd name="T12" fmla="*/ 5062 w 53"/>
                  <a:gd name="T13" fmla="*/ 34396 h 21"/>
                  <a:gd name="T14" fmla="*/ 3115 w 53"/>
                  <a:gd name="T15" fmla="*/ 42334 h 21"/>
                  <a:gd name="T16" fmla="*/ 0 w 53"/>
                  <a:gd name="T17" fmla="*/ 47625 h 21"/>
                  <a:gd name="T18" fmla="*/ 1947 w 53"/>
                  <a:gd name="T19" fmla="*/ 52917 h 21"/>
                  <a:gd name="T20" fmla="*/ 4283 w 53"/>
                  <a:gd name="T21" fmla="*/ 55563 h 21"/>
                  <a:gd name="T22" fmla="*/ 6619 w 53"/>
                  <a:gd name="T23" fmla="*/ 55563 h 21"/>
                  <a:gd name="T24" fmla="*/ 9345 w 53"/>
                  <a:gd name="T25" fmla="*/ 55563 h 21"/>
                  <a:gd name="T26" fmla="*/ 14796 w 53"/>
                  <a:gd name="T27" fmla="*/ 50271 h 21"/>
                  <a:gd name="T28" fmla="*/ 20637 w 53"/>
                  <a:gd name="T29" fmla="*/ 47625 h 21"/>
                  <a:gd name="T30" fmla="*/ 20637 w 53"/>
                  <a:gd name="T31" fmla="*/ 0 h 2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21">
                    <a:moveTo>
                      <a:pt x="53" y="0"/>
                    </a:moveTo>
                    <a:lnTo>
                      <a:pt x="41" y="1"/>
                    </a:lnTo>
                    <a:lnTo>
                      <a:pt x="32" y="2"/>
                    </a:lnTo>
                    <a:lnTo>
                      <a:pt x="25" y="5"/>
                    </a:lnTo>
                    <a:lnTo>
                      <a:pt x="21" y="7"/>
                    </a:lnTo>
                    <a:lnTo>
                      <a:pt x="17" y="10"/>
                    </a:lnTo>
                    <a:lnTo>
                      <a:pt x="13" y="13"/>
                    </a:lnTo>
                    <a:lnTo>
                      <a:pt x="8" y="16"/>
                    </a:lnTo>
                    <a:lnTo>
                      <a:pt x="0" y="18"/>
                    </a:lnTo>
                    <a:lnTo>
                      <a:pt x="5" y="20"/>
                    </a:lnTo>
                    <a:lnTo>
                      <a:pt x="11" y="21"/>
                    </a:lnTo>
                    <a:lnTo>
                      <a:pt x="17" y="21"/>
                    </a:lnTo>
                    <a:lnTo>
                      <a:pt x="24" y="21"/>
                    </a:lnTo>
                    <a:lnTo>
                      <a:pt x="38" y="19"/>
                    </a:lnTo>
                    <a:lnTo>
                      <a:pt x="53" y="18"/>
                    </a:lnTo>
                    <a:lnTo>
                      <a:pt x="53" y="0"/>
                    </a:lnTo>
                  </a:path>
                </a:pathLst>
              </a:custGeom>
              <a:grpFill/>
              <a:ln w="9525" cmpd="sng">
                <a:solidFill>
                  <a:srgbClr val="FFFFFF"/>
                </a:solidFill>
                <a:prstDash val="solid"/>
                <a:round/>
                <a:headEnd/>
                <a:tailEnd/>
              </a:ln>
            </p:spPr>
            <p:txBody>
              <a:bodyPr/>
              <a:lstStyle/>
              <a:p>
                <a:endParaRPr lang="en-GB" sz="1637"/>
              </a:p>
            </p:txBody>
          </p:sp>
          <p:sp>
            <p:nvSpPr>
              <p:cNvPr id="438" name="Freeform 211"/>
              <p:cNvSpPr>
                <a:spLocks/>
              </p:cNvSpPr>
              <p:nvPr>
                <p:custDataLst>
                  <p:tags r:id="rId282"/>
                </p:custDataLst>
              </p:nvPr>
            </p:nvSpPr>
            <p:spPr bwMode="auto">
              <a:xfrm>
                <a:off x="2153623" y="5797965"/>
                <a:ext cx="19063" cy="64475"/>
              </a:xfrm>
              <a:custGeom>
                <a:avLst/>
                <a:gdLst>
                  <a:gd name="T0" fmla="*/ 8935 w 43"/>
                  <a:gd name="T1" fmla="*/ 0 h 38"/>
                  <a:gd name="T2" fmla="*/ 4873 w 43"/>
                  <a:gd name="T3" fmla="*/ 0 h 38"/>
                  <a:gd name="T4" fmla="*/ 812 w 43"/>
                  <a:gd name="T5" fmla="*/ 0 h 38"/>
                  <a:gd name="T6" fmla="*/ 406 w 43"/>
                  <a:gd name="T7" fmla="*/ 0 h 38"/>
                  <a:gd name="T8" fmla="*/ 0 w 43"/>
                  <a:gd name="T9" fmla="*/ 1504 h 38"/>
                  <a:gd name="T10" fmla="*/ 0 w 43"/>
                  <a:gd name="T11" fmla="*/ 4512 h 38"/>
                  <a:gd name="T12" fmla="*/ 0 w 43"/>
                  <a:gd name="T13" fmla="*/ 9024 h 38"/>
                  <a:gd name="T14" fmla="*/ 406 w 43"/>
                  <a:gd name="T15" fmla="*/ 15039 h 38"/>
                  <a:gd name="T16" fmla="*/ 812 w 43"/>
                  <a:gd name="T17" fmla="*/ 18047 h 38"/>
                  <a:gd name="T18" fmla="*/ 1218 w 43"/>
                  <a:gd name="T19" fmla="*/ 27071 h 38"/>
                  <a:gd name="T20" fmla="*/ 2031 w 43"/>
                  <a:gd name="T21" fmla="*/ 37599 h 38"/>
                  <a:gd name="T22" fmla="*/ 4061 w 43"/>
                  <a:gd name="T23" fmla="*/ 45118 h 38"/>
                  <a:gd name="T24" fmla="*/ 6092 w 43"/>
                  <a:gd name="T25" fmla="*/ 51134 h 38"/>
                  <a:gd name="T26" fmla="*/ 8528 w 43"/>
                  <a:gd name="T27" fmla="*/ 55646 h 38"/>
                  <a:gd name="T28" fmla="*/ 10965 w 43"/>
                  <a:gd name="T29" fmla="*/ 57150 h 38"/>
                  <a:gd name="T30" fmla="*/ 14214 w 43"/>
                  <a:gd name="T31" fmla="*/ 57150 h 38"/>
                  <a:gd name="T32" fmla="*/ 17463 w 43"/>
                  <a:gd name="T33" fmla="*/ 55646 h 38"/>
                  <a:gd name="T34" fmla="*/ 16245 w 43"/>
                  <a:gd name="T35" fmla="*/ 43614 h 38"/>
                  <a:gd name="T36" fmla="*/ 14620 w 43"/>
                  <a:gd name="T37" fmla="*/ 34591 h 38"/>
                  <a:gd name="T38" fmla="*/ 13402 w 43"/>
                  <a:gd name="T39" fmla="*/ 25567 h 38"/>
                  <a:gd name="T40" fmla="*/ 12183 w 43"/>
                  <a:gd name="T41" fmla="*/ 19551 h 38"/>
                  <a:gd name="T42" fmla="*/ 10965 w 43"/>
                  <a:gd name="T43" fmla="*/ 15039 h 38"/>
                  <a:gd name="T44" fmla="*/ 9747 w 43"/>
                  <a:gd name="T45" fmla="*/ 10528 h 38"/>
                  <a:gd name="T46" fmla="*/ 9341 w 43"/>
                  <a:gd name="T47" fmla="*/ 6016 h 38"/>
                  <a:gd name="T48" fmla="*/ 8935 w 43"/>
                  <a:gd name="T49" fmla="*/ 0 h 3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3" h="38">
                    <a:moveTo>
                      <a:pt x="22" y="0"/>
                    </a:moveTo>
                    <a:lnTo>
                      <a:pt x="12" y="0"/>
                    </a:lnTo>
                    <a:lnTo>
                      <a:pt x="2" y="0"/>
                    </a:lnTo>
                    <a:lnTo>
                      <a:pt x="1" y="0"/>
                    </a:lnTo>
                    <a:lnTo>
                      <a:pt x="0" y="1"/>
                    </a:lnTo>
                    <a:lnTo>
                      <a:pt x="0" y="3"/>
                    </a:lnTo>
                    <a:lnTo>
                      <a:pt x="0" y="6"/>
                    </a:lnTo>
                    <a:lnTo>
                      <a:pt x="1" y="10"/>
                    </a:lnTo>
                    <a:lnTo>
                      <a:pt x="2" y="12"/>
                    </a:lnTo>
                    <a:lnTo>
                      <a:pt x="3" y="18"/>
                    </a:lnTo>
                    <a:lnTo>
                      <a:pt x="5" y="25"/>
                    </a:lnTo>
                    <a:lnTo>
                      <a:pt x="10" y="30"/>
                    </a:lnTo>
                    <a:lnTo>
                      <a:pt x="15" y="34"/>
                    </a:lnTo>
                    <a:lnTo>
                      <a:pt x="21" y="37"/>
                    </a:lnTo>
                    <a:lnTo>
                      <a:pt x="27" y="38"/>
                    </a:lnTo>
                    <a:lnTo>
                      <a:pt x="35" y="38"/>
                    </a:lnTo>
                    <a:lnTo>
                      <a:pt x="43" y="37"/>
                    </a:lnTo>
                    <a:lnTo>
                      <a:pt x="40" y="29"/>
                    </a:lnTo>
                    <a:lnTo>
                      <a:pt x="36" y="23"/>
                    </a:lnTo>
                    <a:lnTo>
                      <a:pt x="33" y="17"/>
                    </a:lnTo>
                    <a:lnTo>
                      <a:pt x="30" y="13"/>
                    </a:lnTo>
                    <a:lnTo>
                      <a:pt x="27" y="10"/>
                    </a:lnTo>
                    <a:lnTo>
                      <a:pt x="24" y="7"/>
                    </a:lnTo>
                    <a:lnTo>
                      <a:pt x="23" y="4"/>
                    </a:lnTo>
                    <a:lnTo>
                      <a:pt x="22" y="0"/>
                    </a:lnTo>
                  </a:path>
                </a:pathLst>
              </a:custGeom>
              <a:grpFill/>
              <a:ln w="9525" cmpd="sng">
                <a:solidFill>
                  <a:srgbClr val="FFFFFF"/>
                </a:solidFill>
                <a:prstDash val="solid"/>
                <a:round/>
                <a:headEnd/>
                <a:tailEnd/>
              </a:ln>
            </p:spPr>
            <p:txBody>
              <a:bodyPr/>
              <a:lstStyle/>
              <a:p>
                <a:endParaRPr lang="en-GB" sz="1637"/>
              </a:p>
            </p:txBody>
          </p:sp>
          <p:sp>
            <p:nvSpPr>
              <p:cNvPr id="439" name="Freeform 212"/>
              <p:cNvSpPr>
                <a:spLocks/>
              </p:cNvSpPr>
              <p:nvPr>
                <p:custDataLst>
                  <p:tags r:id="rId283"/>
                </p:custDataLst>
              </p:nvPr>
            </p:nvSpPr>
            <p:spPr bwMode="auto">
              <a:xfrm>
                <a:off x="2155356" y="5830202"/>
                <a:ext cx="6932" cy="64475"/>
              </a:xfrm>
              <a:custGeom>
                <a:avLst/>
                <a:gdLst>
                  <a:gd name="T0" fmla="*/ 0 w 20"/>
                  <a:gd name="T1" fmla="*/ 0 h 5"/>
                  <a:gd name="T2" fmla="*/ 318 w 20"/>
                  <a:gd name="T3" fmla="*/ 22860 h 5"/>
                  <a:gd name="T4" fmla="*/ 635 w 20"/>
                  <a:gd name="T5" fmla="*/ 34290 h 5"/>
                  <a:gd name="T6" fmla="*/ 1270 w 20"/>
                  <a:gd name="T7" fmla="*/ 45720 h 5"/>
                  <a:gd name="T8" fmla="*/ 2223 w 20"/>
                  <a:gd name="T9" fmla="*/ 57150 h 5"/>
                  <a:gd name="T10" fmla="*/ 3493 w 20"/>
                  <a:gd name="T11" fmla="*/ 45720 h 5"/>
                  <a:gd name="T12" fmla="*/ 4445 w 20"/>
                  <a:gd name="T13" fmla="*/ 34290 h 5"/>
                  <a:gd name="T14" fmla="*/ 5398 w 20"/>
                  <a:gd name="T15" fmla="*/ 22860 h 5"/>
                  <a:gd name="T16" fmla="*/ 6350 w 20"/>
                  <a:gd name="T17" fmla="*/ 0 h 5"/>
                  <a:gd name="T18" fmla="*/ 0 w 20"/>
                  <a:gd name="T19" fmla="*/ 0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0" h="5">
                    <a:moveTo>
                      <a:pt x="0" y="0"/>
                    </a:moveTo>
                    <a:lnTo>
                      <a:pt x="1" y="2"/>
                    </a:lnTo>
                    <a:lnTo>
                      <a:pt x="2" y="3"/>
                    </a:lnTo>
                    <a:lnTo>
                      <a:pt x="4" y="4"/>
                    </a:lnTo>
                    <a:lnTo>
                      <a:pt x="7" y="5"/>
                    </a:lnTo>
                    <a:lnTo>
                      <a:pt x="11" y="4"/>
                    </a:lnTo>
                    <a:lnTo>
                      <a:pt x="14" y="3"/>
                    </a:lnTo>
                    <a:lnTo>
                      <a:pt x="17" y="2"/>
                    </a:lnTo>
                    <a:lnTo>
                      <a:pt x="20" y="0"/>
                    </a:lnTo>
                    <a:lnTo>
                      <a:pt x="0" y="0"/>
                    </a:lnTo>
                  </a:path>
                </a:pathLst>
              </a:custGeom>
              <a:grpFill/>
              <a:ln w="9525" cmpd="sng">
                <a:solidFill>
                  <a:srgbClr val="FFFFFF"/>
                </a:solidFill>
                <a:prstDash val="solid"/>
                <a:round/>
                <a:headEnd/>
                <a:tailEnd/>
              </a:ln>
            </p:spPr>
            <p:txBody>
              <a:bodyPr/>
              <a:lstStyle/>
              <a:p>
                <a:endParaRPr lang="en-GB" sz="1637"/>
              </a:p>
            </p:txBody>
          </p:sp>
          <p:sp>
            <p:nvSpPr>
              <p:cNvPr id="440" name="Freeform 213"/>
              <p:cNvSpPr>
                <a:spLocks/>
              </p:cNvSpPr>
              <p:nvPr>
                <p:custDataLst>
                  <p:tags r:id="rId284"/>
                </p:custDataLst>
              </p:nvPr>
            </p:nvSpPr>
            <p:spPr bwMode="auto">
              <a:xfrm>
                <a:off x="2236806" y="5909004"/>
                <a:ext cx="38126" cy="64475"/>
              </a:xfrm>
              <a:custGeom>
                <a:avLst/>
                <a:gdLst>
                  <a:gd name="T0" fmla="*/ 19137 w 73"/>
                  <a:gd name="T1" fmla="*/ 0 h 22"/>
                  <a:gd name="T2" fmla="*/ 15310 w 73"/>
                  <a:gd name="T3" fmla="*/ 2598 h 22"/>
                  <a:gd name="T4" fmla="*/ 12439 w 73"/>
                  <a:gd name="T5" fmla="*/ 5195 h 22"/>
                  <a:gd name="T6" fmla="*/ 9568 w 73"/>
                  <a:gd name="T7" fmla="*/ 12989 h 22"/>
                  <a:gd name="T8" fmla="*/ 7176 w 73"/>
                  <a:gd name="T9" fmla="*/ 20782 h 22"/>
                  <a:gd name="T10" fmla="*/ 2871 w 73"/>
                  <a:gd name="T11" fmla="*/ 36368 h 22"/>
                  <a:gd name="T12" fmla="*/ 0 w 73"/>
                  <a:gd name="T13" fmla="*/ 49357 h 22"/>
                  <a:gd name="T14" fmla="*/ 9568 w 73"/>
                  <a:gd name="T15" fmla="*/ 51955 h 22"/>
                  <a:gd name="T16" fmla="*/ 18659 w 73"/>
                  <a:gd name="T17" fmla="*/ 57150 h 22"/>
                  <a:gd name="T18" fmla="*/ 23443 w 73"/>
                  <a:gd name="T19" fmla="*/ 57150 h 22"/>
                  <a:gd name="T20" fmla="*/ 27270 w 73"/>
                  <a:gd name="T21" fmla="*/ 57150 h 22"/>
                  <a:gd name="T22" fmla="*/ 31098 w 73"/>
                  <a:gd name="T23" fmla="*/ 54552 h 22"/>
                  <a:gd name="T24" fmla="*/ 34925 w 73"/>
                  <a:gd name="T25" fmla="*/ 49357 h 22"/>
                  <a:gd name="T26" fmla="*/ 30619 w 73"/>
                  <a:gd name="T27" fmla="*/ 36368 h 22"/>
                  <a:gd name="T28" fmla="*/ 26792 w 73"/>
                  <a:gd name="T29" fmla="*/ 20782 h 22"/>
                  <a:gd name="T30" fmla="*/ 25357 w 73"/>
                  <a:gd name="T31" fmla="*/ 12989 h 22"/>
                  <a:gd name="T32" fmla="*/ 23443 w 73"/>
                  <a:gd name="T33" fmla="*/ 5195 h 22"/>
                  <a:gd name="T34" fmla="*/ 21051 w 73"/>
                  <a:gd name="T35" fmla="*/ 2598 h 22"/>
                  <a:gd name="T36" fmla="*/ 19137 w 73"/>
                  <a:gd name="T37" fmla="*/ 0 h 2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73" h="22">
                    <a:moveTo>
                      <a:pt x="40" y="0"/>
                    </a:moveTo>
                    <a:lnTo>
                      <a:pt x="32" y="1"/>
                    </a:lnTo>
                    <a:lnTo>
                      <a:pt x="26" y="2"/>
                    </a:lnTo>
                    <a:lnTo>
                      <a:pt x="20" y="5"/>
                    </a:lnTo>
                    <a:lnTo>
                      <a:pt x="15" y="8"/>
                    </a:lnTo>
                    <a:lnTo>
                      <a:pt x="6" y="14"/>
                    </a:lnTo>
                    <a:lnTo>
                      <a:pt x="0" y="19"/>
                    </a:lnTo>
                    <a:lnTo>
                      <a:pt x="20" y="20"/>
                    </a:lnTo>
                    <a:lnTo>
                      <a:pt x="39" y="22"/>
                    </a:lnTo>
                    <a:lnTo>
                      <a:pt x="49" y="22"/>
                    </a:lnTo>
                    <a:lnTo>
                      <a:pt x="57" y="22"/>
                    </a:lnTo>
                    <a:lnTo>
                      <a:pt x="65" y="21"/>
                    </a:lnTo>
                    <a:lnTo>
                      <a:pt x="73" y="19"/>
                    </a:lnTo>
                    <a:lnTo>
                      <a:pt x="64" y="14"/>
                    </a:lnTo>
                    <a:lnTo>
                      <a:pt x="56" y="8"/>
                    </a:lnTo>
                    <a:lnTo>
                      <a:pt x="53" y="5"/>
                    </a:lnTo>
                    <a:lnTo>
                      <a:pt x="49" y="2"/>
                    </a:lnTo>
                    <a:lnTo>
                      <a:pt x="44" y="1"/>
                    </a:lnTo>
                    <a:lnTo>
                      <a:pt x="40" y="0"/>
                    </a:lnTo>
                  </a:path>
                </a:pathLst>
              </a:custGeom>
              <a:grpFill/>
              <a:ln w="9525" cmpd="sng">
                <a:solidFill>
                  <a:srgbClr val="FFFFFF"/>
                </a:solidFill>
                <a:prstDash val="solid"/>
                <a:round/>
                <a:headEnd/>
                <a:tailEnd/>
              </a:ln>
            </p:spPr>
            <p:txBody>
              <a:bodyPr/>
              <a:lstStyle/>
              <a:p>
                <a:endParaRPr lang="en-GB" sz="1637"/>
              </a:p>
            </p:txBody>
          </p:sp>
          <p:sp>
            <p:nvSpPr>
              <p:cNvPr id="441" name="Freeform 214"/>
              <p:cNvSpPr>
                <a:spLocks/>
              </p:cNvSpPr>
              <p:nvPr>
                <p:custDataLst>
                  <p:tags r:id="rId285"/>
                </p:custDataLst>
              </p:nvPr>
            </p:nvSpPr>
            <p:spPr bwMode="auto">
              <a:xfrm>
                <a:off x="2278397" y="5842738"/>
                <a:ext cx="135172" cy="112831"/>
              </a:xfrm>
              <a:custGeom>
                <a:avLst/>
                <a:gdLst>
                  <a:gd name="T0" fmla="*/ 103555 w 281"/>
                  <a:gd name="T1" fmla="*/ 87058 h 193"/>
                  <a:gd name="T2" fmla="*/ 82844 w 281"/>
                  <a:gd name="T3" fmla="*/ 88613 h 193"/>
                  <a:gd name="T4" fmla="*/ 74031 w 281"/>
                  <a:gd name="T5" fmla="*/ 87058 h 193"/>
                  <a:gd name="T6" fmla="*/ 68302 w 281"/>
                  <a:gd name="T7" fmla="*/ 84985 h 193"/>
                  <a:gd name="T8" fmla="*/ 57286 w 281"/>
                  <a:gd name="T9" fmla="*/ 69957 h 193"/>
                  <a:gd name="T10" fmla="*/ 45828 w 281"/>
                  <a:gd name="T11" fmla="*/ 48711 h 193"/>
                  <a:gd name="T12" fmla="*/ 41422 w 281"/>
                  <a:gd name="T13" fmla="*/ 38347 h 193"/>
                  <a:gd name="T14" fmla="*/ 38337 w 281"/>
                  <a:gd name="T15" fmla="*/ 26428 h 193"/>
                  <a:gd name="T16" fmla="*/ 36575 w 281"/>
                  <a:gd name="T17" fmla="*/ 13991 h 193"/>
                  <a:gd name="T18" fmla="*/ 18948 w 281"/>
                  <a:gd name="T19" fmla="*/ 0 h 193"/>
                  <a:gd name="T20" fmla="*/ 12338 w 281"/>
                  <a:gd name="T21" fmla="*/ 26947 h 193"/>
                  <a:gd name="T22" fmla="*/ 7932 w 281"/>
                  <a:gd name="T23" fmla="*/ 31610 h 193"/>
                  <a:gd name="T24" fmla="*/ 2644 w 281"/>
                  <a:gd name="T25" fmla="*/ 35756 h 193"/>
                  <a:gd name="T26" fmla="*/ 0 w 281"/>
                  <a:gd name="T27" fmla="*/ 37829 h 193"/>
                  <a:gd name="T28" fmla="*/ 441 w 281"/>
                  <a:gd name="T29" fmla="*/ 38865 h 193"/>
                  <a:gd name="T30" fmla="*/ 3966 w 281"/>
                  <a:gd name="T31" fmla="*/ 41974 h 193"/>
                  <a:gd name="T32" fmla="*/ 16304 w 281"/>
                  <a:gd name="T33" fmla="*/ 57520 h 193"/>
                  <a:gd name="T34" fmla="*/ 19830 w 281"/>
                  <a:gd name="T35" fmla="*/ 63221 h 193"/>
                  <a:gd name="T36" fmla="*/ 23355 w 281"/>
                  <a:gd name="T37" fmla="*/ 66848 h 193"/>
                  <a:gd name="T38" fmla="*/ 27321 w 281"/>
                  <a:gd name="T39" fmla="*/ 69439 h 193"/>
                  <a:gd name="T40" fmla="*/ 31287 w 281"/>
                  <a:gd name="T41" fmla="*/ 70475 h 193"/>
                  <a:gd name="T42" fmla="*/ 33490 w 281"/>
                  <a:gd name="T43" fmla="*/ 73066 h 193"/>
                  <a:gd name="T44" fmla="*/ 34812 w 281"/>
                  <a:gd name="T45" fmla="*/ 76694 h 193"/>
                  <a:gd name="T46" fmla="*/ 37897 w 281"/>
                  <a:gd name="T47" fmla="*/ 79285 h 193"/>
                  <a:gd name="T48" fmla="*/ 43625 w 281"/>
                  <a:gd name="T49" fmla="*/ 79803 h 193"/>
                  <a:gd name="T50" fmla="*/ 46710 w 281"/>
                  <a:gd name="T51" fmla="*/ 81358 h 193"/>
                  <a:gd name="T52" fmla="*/ 48032 w 281"/>
                  <a:gd name="T53" fmla="*/ 84467 h 193"/>
                  <a:gd name="T54" fmla="*/ 48032 w 281"/>
                  <a:gd name="T55" fmla="*/ 92758 h 193"/>
                  <a:gd name="T56" fmla="*/ 48913 w 281"/>
                  <a:gd name="T57" fmla="*/ 97940 h 193"/>
                  <a:gd name="T58" fmla="*/ 50676 w 281"/>
                  <a:gd name="T59" fmla="*/ 100013 h 193"/>
                  <a:gd name="T60" fmla="*/ 56845 w 281"/>
                  <a:gd name="T61" fmla="*/ 100013 h 193"/>
                  <a:gd name="T62" fmla="*/ 72268 w 281"/>
                  <a:gd name="T63" fmla="*/ 98977 h 193"/>
                  <a:gd name="T64" fmla="*/ 79319 w 281"/>
                  <a:gd name="T65" fmla="*/ 97940 h 193"/>
                  <a:gd name="T66" fmla="*/ 84606 w 281"/>
                  <a:gd name="T67" fmla="*/ 96386 h 193"/>
                  <a:gd name="T68" fmla="*/ 93420 w 281"/>
                  <a:gd name="T69" fmla="*/ 97422 h 193"/>
                  <a:gd name="T70" fmla="*/ 123825 w 281"/>
                  <a:gd name="T71" fmla="*/ 86540 h 19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81" h="193">
                    <a:moveTo>
                      <a:pt x="275" y="167"/>
                    </a:moveTo>
                    <a:lnTo>
                      <a:pt x="235" y="168"/>
                    </a:lnTo>
                    <a:lnTo>
                      <a:pt x="202" y="171"/>
                    </a:lnTo>
                    <a:lnTo>
                      <a:pt x="188" y="171"/>
                    </a:lnTo>
                    <a:lnTo>
                      <a:pt x="175" y="169"/>
                    </a:lnTo>
                    <a:lnTo>
                      <a:pt x="168" y="168"/>
                    </a:lnTo>
                    <a:lnTo>
                      <a:pt x="162" y="166"/>
                    </a:lnTo>
                    <a:lnTo>
                      <a:pt x="155" y="164"/>
                    </a:lnTo>
                    <a:lnTo>
                      <a:pt x="149" y="161"/>
                    </a:lnTo>
                    <a:lnTo>
                      <a:pt x="130" y="135"/>
                    </a:lnTo>
                    <a:lnTo>
                      <a:pt x="108" y="103"/>
                    </a:lnTo>
                    <a:lnTo>
                      <a:pt x="104" y="94"/>
                    </a:lnTo>
                    <a:lnTo>
                      <a:pt x="98" y="84"/>
                    </a:lnTo>
                    <a:lnTo>
                      <a:pt x="94" y="74"/>
                    </a:lnTo>
                    <a:lnTo>
                      <a:pt x="90" y="63"/>
                    </a:lnTo>
                    <a:lnTo>
                      <a:pt x="87" y="51"/>
                    </a:lnTo>
                    <a:lnTo>
                      <a:pt x="85" y="39"/>
                    </a:lnTo>
                    <a:lnTo>
                      <a:pt x="83" y="27"/>
                    </a:lnTo>
                    <a:lnTo>
                      <a:pt x="83" y="13"/>
                    </a:lnTo>
                    <a:lnTo>
                      <a:pt x="43" y="0"/>
                    </a:lnTo>
                    <a:lnTo>
                      <a:pt x="30" y="50"/>
                    </a:lnTo>
                    <a:lnTo>
                      <a:pt x="28" y="52"/>
                    </a:lnTo>
                    <a:lnTo>
                      <a:pt x="23" y="56"/>
                    </a:lnTo>
                    <a:lnTo>
                      <a:pt x="18" y="61"/>
                    </a:lnTo>
                    <a:lnTo>
                      <a:pt x="11" y="65"/>
                    </a:lnTo>
                    <a:lnTo>
                      <a:pt x="6" y="69"/>
                    </a:lnTo>
                    <a:lnTo>
                      <a:pt x="1" y="72"/>
                    </a:lnTo>
                    <a:lnTo>
                      <a:pt x="0" y="73"/>
                    </a:lnTo>
                    <a:lnTo>
                      <a:pt x="0" y="74"/>
                    </a:lnTo>
                    <a:lnTo>
                      <a:pt x="1" y="75"/>
                    </a:lnTo>
                    <a:lnTo>
                      <a:pt x="3" y="75"/>
                    </a:lnTo>
                    <a:lnTo>
                      <a:pt x="9" y="81"/>
                    </a:lnTo>
                    <a:lnTo>
                      <a:pt x="23" y="96"/>
                    </a:lnTo>
                    <a:lnTo>
                      <a:pt x="37" y="111"/>
                    </a:lnTo>
                    <a:lnTo>
                      <a:pt x="43" y="118"/>
                    </a:lnTo>
                    <a:lnTo>
                      <a:pt x="45" y="122"/>
                    </a:lnTo>
                    <a:lnTo>
                      <a:pt x="49" y="126"/>
                    </a:lnTo>
                    <a:lnTo>
                      <a:pt x="53" y="129"/>
                    </a:lnTo>
                    <a:lnTo>
                      <a:pt x="57" y="132"/>
                    </a:lnTo>
                    <a:lnTo>
                      <a:pt x="62" y="134"/>
                    </a:lnTo>
                    <a:lnTo>
                      <a:pt x="66" y="135"/>
                    </a:lnTo>
                    <a:lnTo>
                      <a:pt x="71" y="136"/>
                    </a:lnTo>
                    <a:lnTo>
                      <a:pt x="76" y="136"/>
                    </a:lnTo>
                    <a:lnTo>
                      <a:pt x="76" y="141"/>
                    </a:lnTo>
                    <a:lnTo>
                      <a:pt x="77" y="145"/>
                    </a:lnTo>
                    <a:lnTo>
                      <a:pt x="79" y="148"/>
                    </a:lnTo>
                    <a:lnTo>
                      <a:pt x="82" y="150"/>
                    </a:lnTo>
                    <a:lnTo>
                      <a:pt x="86" y="153"/>
                    </a:lnTo>
                    <a:lnTo>
                      <a:pt x="93" y="154"/>
                    </a:lnTo>
                    <a:lnTo>
                      <a:pt x="99" y="154"/>
                    </a:lnTo>
                    <a:lnTo>
                      <a:pt x="104" y="156"/>
                    </a:lnTo>
                    <a:lnTo>
                      <a:pt x="106" y="157"/>
                    </a:lnTo>
                    <a:lnTo>
                      <a:pt x="108" y="160"/>
                    </a:lnTo>
                    <a:lnTo>
                      <a:pt x="109" y="163"/>
                    </a:lnTo>
                    <a:lnTo>
                      <a:pt x="109" y="167"/>
                    </a:lnTo>
                    <a:lnTo>
                      <a:pt x="109" y="179"/>
                    </a:lnTo>
                    <a:lnTo>
                      <a:pt x="111" y="187"/>
                    </a:lnTo>
                    <a:lnTo>
                      <a:pt x="111" y="189"/>
                    </a:lnTo>
                    <a:lnTo>
                      <a:pt x="113" y="191"/>
                    </a:lnTo>
                    <a:lnTo>
                      <a:pt x="115" y="193"/>
                    </a:lnTo>
                    <a:lnTo>
                      <a:pt x="117" y="193"/>
                    </a:lnTo>
                    <a:lnTo>
                      <a:pt x="129" y="193"/>
                    </a:lnTo>
                    <a:lnTo>
                      <a:pt x="149" y="192"/>
                    </a:lnTo>
                    <a:lnTo>
                      <a:pt x="164" y="191"/>
                    </a:lnTo>
                    <a:lnTo>
                      <a:pt x="174" y="190"/>
                    </a:lnTo>
                    <a:lnTo>
                      <a:pt x="180" y="189"/>
                    </a:lnTo>
                    <a:lnTo>
                      <a:pt x="186" y="187"/>
                    </a:lnTo>
                    <a:lnTo>
                      <a:pt x="192" y="186"/>
                    </a:lnTo>
                    <a:lnTo>
                      <a:pt x="200" y="187"/>
                    </a:lnTo>
                    <a:lnTo>
                      <a:pt x="212" y="188"/>
                    </a:lnTo>
                    <a:lnTo>
                      <a:pt x="229" y="192"/>
                    </a:lnTo>
                    <a:lnTo>
                      <a:pt x="281" y="167"/>
                    </a:lnTo>
                    <a:lnTo>
                      <a:pt x="275" y="167"/>
                    </a:lnTo>
                  </a:path>
                </a:pathLst>
              </a:custGeom>
              <a:grpFill/>
              <a:ln w="9525" cmpd="sng">
                <a:solidFill>
                  <a:srgbClr val="FFFFFF"/>
                </a:solidFill>
                <a:prstDash val="solid"/>
                <a:round/>
                <a:headEnd/>
                <a:tailEnd/>
              </a:ln>
            </p:spPr>
            <p:txBody>
              <a:bodyPr/>
              <a:lstStyle/>
              <a:p>
                <a:endParaRPr lang="en-GB" sz="1637"/>
              </a:p>
            </p:txBody>
          </p:sp>
          <p:sp>
            <p:nvSpPr>
              <p:cNvPr id="442" name="Freeform 215"/>
              <p:cNvSpPr>
                <a:spLocks/>
              </p:cNvSpPr>
              <p:nvPr>
                <p:custDataLst>
                  <p:tags r:id="rId286"/>
                </p:custDataLst>
              </p:nvPr>
            </p:nvSpPr>
            <p:spPr bwMode="auto">
              <a:xfrm>
                <a:off x="1789697" y="3322851"/>
                <a:ext cx="57189" cy="66265"/>
              </a:xfrm>
              <a:custGeom>
                <a:avLst/>
                <a:gdLst>
                  <a:gd name="T0" fmla="*/ 0 w 120"/>
                  <a:gd name="T1" fmla="*/ 18880 h 56"/>
                  <a:gd name="T2" fmla="*/ 1746 w 120"/>
                  <a:gd name="T3" fmla="*/ 27271 h 56"/>
                  <a:gd name="T4" fmla="*/ 4366 w 120"/>
                  <a:gd name="T5" fmla="*/ 34613 h 56"/>
                  <a:gd name="T6" fmla="*/ 6549 w 120"/>
                  <a:gd name="T7" fmla="*/ 38808 h 56"/>
                  <a:gd name="T8" fmla="*/ 9168 w 120"/>
                  <a:gd name="T9" fmla="*/ 43004 h 56"/>
                  <a:gd name="T10" fmla="*/ 11787 w 120"/>
                  <a:gd name="T11" fmla="*/ 46151 h 56"/>
                  <a:gd name="T12" fmla="*/ 15280 w 120"/>
                  <a:gd name="T13" fmla="*/ 48248 h 56"/>
                  <a:gd name="T14" fmla="*/ 18772 w 120"/>
                  <a:gd name="T15" fmla="*/ 50346 h 56"/>
                  <a:gd name="T16" fmla="*/ 22265 w 120"/>
                  <a:gd name="T17" fmla="*/ 51395 h 56"/>
                  <a:gd name="T18" fmla="*/ 29250 w 120"/>
                  <a:gd name="T19" fmla="*/ 52444 h 56"/>
                  <a:gd name="T20" fmla="*/ 37108 w 120"/>
                  <a:gd name="T21" fmla="*/ 53493 h 56"/>
                  <a:gd name="T22" fmla="*/ 44530 w 120"/>
                  <a:gd name="T23" fmla="*/ 54542 h 56"/>
                  <a:gd name="T24" fmla="*/ 52388 w 120"/>
                  <a:gd name="T25" fmla="*/ 58737 h 56"/>
                  <a:gd name="T26" fmla="*/ 52388 w 120"/>
                  <a:gd name="T27" fmla="*/ 38808 h 56"/>
                  <a:gd name="T28" fmla="*/ 48459 w 120"/>
                  <a:gd name="T29" fmla="*/ 35662 h 56"/>
                  <a:gd name="T30" fmla="*/ 44530 w 120"/>
                  <a:gd name="T31" fmla="*/ 31466 h 56"/>
                  <a:gd name="T32" fmla="*/ 41037 w 120"/>
                  <a:gd name="T33" fmla="*/ 25173 h 56"/>
                  <a:gd name="T34" fmla="*/ 38418 w 120"/>
                  <a:gd name="T35" fmla="*/ 18880 h 56"/>
                  <a:gd name="T36" fmla="*/ 35362 w 120"/>
                  <a:gd name="T37" fmla="*/ 13635 h 56"/>
                  <a:gd name="T38" fmla="*/ 32743 w 120"/>
                  <a:gd name="T39" fmla="*/ 7342 h 56"/>
                  <a:gd name="T40" fmla="*/ 29250 w 120"/>
                  <a:gd name="T41" fmla="*/ 3147 h 56"/>
                  <a:gd name="T42" fmla="*/ 26194 w 120"/>
                  <a:gd name="T43" fmla="*/ 0 h 56"/>
                  <a:gd name="T44" fmla="*/ 24011 w 120"/>
                  <a:gd name="T45" fmla="*/ 1049 h 56"/>
                  <a:gd name="T46" fmla="*/ 20955 w 120"/>
                  <a:gd name="T47" fmla="*/ 3147 h 56"/>
                  <a:gd name="T48" fmla="*/ 17899 w 120"/>
                  <a:gd name="T49" fmla="*/ 6293 h 56"/>
                  <a:gd name="T50" fmla="*/ 14407 w 120"/>
                  <a:gd name="T51" fmla="*/ 9440 h 56"/>
                  <a:gd name="T52" fmla="*/ 10478 w 120"/>
                  <a:gd name="T53" fmla="*/ 13635 h 56"/>
                  <a:gd name="T54" fmla="*/ 6985 w 120"/>
                  <a:gd name="T55" fmla="*/ 15733 h 56"/>
                  <a:gd name="T56" fmla="*/ 3493 w 120"/>
                  <a:gd name="T57" fmla="*/ 18880 h 56"/>
                  <a:gd name="T58" fmla="*/ 0 w 120"/>
                  <a:gd name="T59" fmla="*/ 18880 h 5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20" h="56">
                    <a:moveTo>
                      <a:pt x="0" y="18"/>
                    </a:moveTo>
                    <a:lnTo>
                      <a:pt x="4" y="26"/>
                    </a:lnTo>
                    <a:lnTo>
                      <a:pt x="10" y="33"/>
                    </a:lnTo>
                    <a:lnTo>
                      <a:pt x="15" y="37"/>
                    </a:lnTo>
                    <a:lnTo>
                      <a:pt x="21" y="41"/>
                    </a:lnTo>
                    <a:lnTo>
                      <a:pt x="27" y="44"/>
                    </a:lnTo>
                    <a:lnTo>
                      <a:pt x="35" y="46"/>
                    </a:lnTo>
                    <a:lnTo>
                      <a:pt x="43" y="48"/>
                    </a:lnTo>
                    <a:lnTo>
                      <a:pt x="51" y="49"/>
                    </a:lnTo>
                    <a:lnTo>
                      <a:pt x="67" y="50"/>
                    </a:lnTo>
                    <a:lnTo>
                      <a:pt x="85" y="51"/>
                    </a:lnTo>
                    <a:lnTo>
                      <a:pt x="102" y="52"/>
                    </a:lnTo>
                    <a:lnTo>
                      <a:pt x="120" y="56"/>
                    </a:lnTo>
                    <a:lnTo>
                      <a:pt x="120" y="37"/>
                    </a:lnTo>
                    <a:lnTo>
                      <a:pt x="111" y="34"/>
                    </a:lnTo>
                    <a:lnTo>
                      <a:pt x="102" y="30"/>
                    </a:lnTo>
                    <a:lnTo>
                      <a:pt x="94" y="24"/>
                    </a:lnTo>
                    <a:lnTo>
                      <a:pt x="88" y="18"/>
                    </a:lnTo>
                    <a:lnTo>
                      <a:pt x="81" y="13"/>
                    </a:lnTo>
                    <a:lnTo>
                      <a:pt x="75" y="7"/>
                    </a:lnTo>
                    <a:lnTo>
                      <a:pt x="67" y="3"/>
                    </a:lnTo>
                    <a:lnTo>
                      <a:pt x="60" y="0"/>
                    </a:lnTo>
                    <a:lnTo>
                      <a:pt x="55" y="1"/>
                    </a:lnTo>
                    <a:lnTo>
                      <a:pt x="48" y="3"/>
                    </a:lnTo>
                    <a:lnTo>
                      <a:pt x="41" y="6"/>
                    </a:lnTo>
                    <a:lnTo>
                      <a:pt x="33" y="9"/>
                    </a:lnTo>
                    <a:lnTo>
                      <a:pt x="24" y="13"/>
                    </a:lnTo>
                    <a:lnTo>
                      <a:pt x="16" y="15"/>
                    </a:lnTo>
                    <a:lnTo>
                      <a:pt x="8" y="18"/>
                    </a:lnTo>
                    <a:lnTo>
                      <a:pt x="0" y="18"/>
                    </a:lnTo>
                  </a:path>
                </a:pathLst>
              </a:custGeom>
              <a:grpFill/>
              <a:ln w="9525" cmpd="sng">
                <a:solidFill>
                  <a:srgbClr val="FFFFFF"/>
                </a:solidFill>
                <a:prstDash val="solid"/>
                <a:round/>
                <a:headEnd/>
                <a:tailEnd/>
              </a:ln>
            </p:spPr>
            <p:txBody>
              <a:bodyPr/>
              <a:lstStyle/>
              <a:p>
                <a:endParaRPr lang="en-GB" sz="1637"/>
              </a:p>
            </p:txBody>
          </p:sp>
          <p:sp>
            <p:nvSpPr>
              <p:cNvPr id="443" name="Freeform 216"/>
              <p:cNvSpPr>
                <a:spLocks/>
              </p:cNvSpPr>
              <p:nvPr>
                <p:custDataLst>
                  <p:tags r:id="rId287"/>
                </p:custDataLst>
              </p:nvPr>
            </p:nvSpPr>
            <p:spPr bwMode="auto">
              <a:xfrm>
                <a:off x="1633729" y="3167036"/>
                <a:ext cx="273811" cy="123577"/>
              </a:xfrm>
              <a:custGeom>
                <a:avLst/>
                <a:gdLst>
                  <a:gd name="T0" fmla="*/ 55496 w 574"/>
                  <a:gd name="T1" fmla="*/ 537 h 204"/>
                  <a:gd name="T2" fmla="*/ 41513 w 574"/>
                  <a:gd name="T3" fmla="*/ 3222 h 204"/>
                  <a:gd name="T4" fmla="*/ 28841 w 574"/>
                  <a:gd name="T5" fmla="*/ 8591 h 204"/>
                  <a:gd name="T6" fmla="*/ 18790 w 574"/>
                  <a:gd name="T7" fmla="*/ 13961 h 204"/>
                  <a:gd name="T8" fmla="*/ 13109 w 574"/>
                  <a:gd name="T9" fmla="*/ 18793 h 204"/>
                  <a:gd name="T10" fmla="*/ 6992 w 574"/>
                  <a:gd name="T11" fmla="*/ 27385 h 204"/>
                  <a:gd name="T12" fmla="*/ 1748 w 574"/>
                  <a:gd name="T13" fmla="*/ 38124 h 204"/>
                  <a:gd name="T14" fmla="*/ 0 w 574"/>
                  <a:gd name="T15" fmla="*/ 44030 h 204"/>
                  <a:gd name="T16" fmla="*/ 437 w 574"/>
                  <a:gd name="T17" fmla="*/ 46178 h 204"/>
                  <a:gd name="T18" fmla="*/ 5681 w 574"/>
                  <a:gd name="T19" fmla="*/ 46178 h 204"/>
                  <a:gd name="T20" fmla="*/ 12672 w 574"/>
                  <a:gd name="T21" fmla="*/ 44567 h 204"/>
                  <a:gd name="T22" fmla="*/ 22723 w 574"/>
                  <a:gd name="T23" fmla="*/ 40271 h 204"/>
                  <a:gd name="T24" fmla="*/ 34958 w 574"/>
                  <a:gd name="T25" fmla="*/ 31143 h 204"/>
                  <a:gd name="T26" fmla="*/ 44572 w 574"/>
                  <a:gd name="T27" fmla="*/ 24700 h 204"/>
                  <a:gd name="T28" fmla="*/ 52000 w 574"/>
                  <a:gd name="T29" fmla="*/ 21478 h 204"/>
                  <a:gd name="T30" fmla="*/ 76471 w 574"/>
                  <a:gd name="T31" fmla="*/ 19867 h 204"/>
                  <a:gd name="T32" fmla="*/ 76908 w 574"/>
                  <a:gd name="T33" fmla="*/ 25774 h 204"/>
                  <a:gd name="T34" fmla="*/ 78656 w 574"/>
                  <a:gd name="T35" fmla="*/ 29532 h 204"/>
                  <a:gd name="T36" fmla="*/ 80404 w 574"/>
                  <a:gd name="T37" fmla="*/ 31680 h 204"/>
                  <a:gd name="T38" fmla="*/ 83026 w 574"/>
                  <a:gd name="T39" fmla="*/ 32754 h 204"/>
                  <a:gd name="T40" fmla="*/ 100068 w 574"/>
                  <a:gd name="T41" fmla="*/ 32754 h 204"/>
                  <a:gd name="T42" fmla="*/ 117547 w 574"/>
                  <a:gd name="T43" fmla="*/ 41882 h 204"/>
                  <a:gd name="T44" fmla="*/ 131967 w 574"/>
                  <a:gd name="T45" fmla="*/ 51010 h 204"/>
                  <a:gd name="T46" fmla="*/ 146824 w 574"/>
                  <a:gd name="T47" fmla="*/ 59602 h 204"/>
                  <a:gd name="T48" fmla="*/ 163867 w 574"/>
                  <a:gd name="T49" fmla="*/ 66045 h 204"/>
                  <a:gd name="T50" fmla="*/ 164303 w 574"/>
                  <a:gd name="T51" fmla="*/ 71951 h 204"/>
                  <a:gd name="T52" fmla="*/ 166925 w 574"/>
                  <a:gd name="T53" fmla="*/ 76247 h 204"/>
                  <a:gd name="T54" fmla="*/ 173043 w 574"/>
                  <a:gd name="T55" fmla="*/ 81617 h 204"/>
                  <a:gd name="T56" fmla="*/ 187026 w 574"/>
                  <a:gd name="T57" fmla="*/ 89134 h 204"/>
                  <a:gd name="T58" fmla="*/ 175665 w 574"/>
                  <a:gd name="T59" fmla="*/ 102558 h 204"/>
                  <a:gd name="T60" fmla="*/ 177850 w 574"/>
                  <a:gd name="T61" fmla="*/ 105779 h 204"/>
                  <a:gd name="T62" fmla="*/ 180909 w 574"/>
                  <a:gd name="T63" fmla="*/ 107927 h 204"/>
                  <a:gd name="T64" fmla="*/ 187463 w 574"/>
                  <a:gd name="T65" fmla="*/ 109538 h 204"/>
                  <a:gd name="T66" fmla="*/ 201447 w 574"/>
                  <a:gd name="T67" fmla="*/ 109538 h 204"/>
                  <a:gd name="T68" fmla="*/ 242522 w 574"/>
                  <a:gd name="T69" fmla="*/ 101484 h 204"/>
                  <a:gd name="T70" fmla="*/ 244270 w 574"/>
                  <a:gd name="T71" fmla="*/ 98262 h 204"/>
                  <a:gd name="T72" fmla="*/ 246892 w 574"/>
                  <a:gd name="T73" fmla="*/ 95040 h 204"/>
                  <a:gd name="T74" fmla="*/ 249951 w 574"/>
                  <a:gd name="T75" fmla="*/ 92893 h 204"/>
                  <a:gd name="T76" fmla="*/ 250825 w 574"/>
                  <a:gd name="T77" fmla="*/ 86449 h 204"/>
                  <a:gd name="T78" fmla="*/ 245144 w 574"/>
                  <a:gd name="T79" fmla="*/ 82154 h 204"/>
                  <a:gd name="T80" fmla="*/ 232472 w 574"/>
                  <a:gd name="T81" fmla="*/ 79469 h 204"/>
                  <a:gd name="T82" fmla="*/ 220237 w 574"/>
                  <a:gd name="T83" fmla="*/ 74099 h 204"/>
                  <a:gd name="T84" fmla="*/ 207564 w 574"/>
                  <a:gd name="T85" fmla="*/ 66582 h 204"/>
                  <a:gd name="T86" fmla="*/ 189211 w 574"/>
                  <a:gd name="T87" fmla="*/ 53695 h 204"/>
                  <a:gd name="T88" fmla="*/ 167362 w 574"/>
                  <a:gd name="T89" fmla="*/ 36513 h 204"/>
                  <a:gd name="T90" fmla="*/ 156438 w 574"/>
                  <a:gd name="T91" fmla="*/ 28995 h 204"/>
                  <a:gd name="T92" fmla="*/ 152068 w 574"/>
                  <a:gd name="T93" fmla="*/ 27921 h 204"/>
                  <a:gd name="T94" fmla="*/ 144203 w 574"/>
                  <a:gd name="T95" fmla="*/ 27921 h 204"/>
                  <a:gd name="T96" fmla="*/ 136337 w 574"/>
                  <a:gd name="T97" fmla="*/ 27385 h 204"/>
                  <a:gd name="T98" fmla="*/ 131967 w 574"/>
                  <a:gd name="T99" fmla="*/ 26311 h 204"/>
                  <a:gd name="T100" fmla="*/ 128471 w 574"/>
                  <a:gd name="T101" fmla="*/ 23089 h 204"/>
                  <a:gd name="T102" fmla="*/ 126723 w 574"/>
                  <a:gd name="T103" fmla="*/ 17182 h 204"/>
                  <a:gd name="T104" fmla="*/ 62051 w 574"/>
                  <a:gd name="T105" fmla="*/ 0 h 20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74" h="204">
                    <a:moveTo>
                      <a:pt x="142" y="0"/>
                    </a:moveTo>
                    <a:lnTo>
                      <a:pt x="127" y="1"/>
                    </a:lnTo>
                    <a:lnTo>
                      <a:pt x="111" y="3"/>
                    </a:lnTo>
                    <a:lnTo>
                      <a:pt x="95" y="6"/>
                    </a:lnTo>
                    <a:lnTo>
                      <a:pt x="80" y="11"/>
                    </a:lnTo>
                    <a:lnTo>
                      <a:pt x="66" y="16"/>
                    </a:lnTo>
                    <a:lnTo>
                      <a:pt x="52" y="21"/>
                    </a:lnTo>
                    <a:lnTo>
                      <a:pt x="43" y="26"/>
                    </a:lnTo>
                    <a:lnTo>
                      <a:pt x="36" y="31"/>
                    </a:lnTo>
                    <a:lnTo>
                      <a:pt x="30" y="35"/>
                    </a:lnTo>
                    <a:lnTo>
                      <a:pt x="24" y="42"/>
                    </a:lnTo>
                    <a:lnTo>
                      <a:pt x="16" y="51"/>
                    </a:lnTo>
                    <a:lnTo>
                      <a:pt x="10" y="61"/>
                    </a:lnTo>
                    <a:lnTo>
                      <a:pt x="4" y="71"/>
                    </a:lnTo>
                    <a:lnTo>
                      <a:pt x="1" y="79"/>
                    </a:lnTo>
                    <a:lnTo>
                      <a:pt x="0" y="82"/>
                    </a:lnTo>
                    <a:lnTo>
                      <a:pt x="0" y="85"/>
                    </a:lnTo>
                    <a:lnTo>
                      <a:pt x="1" y="86"/>
                    </a:lnTo>
                    <a:lnTo>
                      <a:pt x="3" y="87"/>
                    </a:lnTo>
                    <a:lnTo>
                      <a:pt x="13" y="86"/>
                    </a:lnTo>
                    <a:lnTo>
                      <a:pt x="22" y="85"/>
                    </a:lnTo>
                    <a:lnTo>
                      <a:pt x="29" y="83"/>
                    </a:lnTo>
                    <a:lnTo>
                      <a:pt x="38" y="81"/>
                    </a:lnTo>
                    <a:lnTo>
                      <a:pt x="52" y="75"/>
                    </a:lnTo>
                    <a:lnTo>
                      <a:pt x="66" y="66"/>
                    </a:lnTo>
                    <a:lnTo>
                      <a:pt x="80" y="58"/>
                    </a:lnTo>
                    <a:lnTo>
                      <a:pt x="94" y="50"/>
                    </a:lnTo>
                    <a:lnTo>
                      <a:pt x="102" y="46"/>
                    </a:lnTo>
                    <a:lnTo>
                      <a:pt x="111" y="43"/>
                    </a:lnTo>
                    <a:lnTo>
                      <a:pt x="119" y="40"/>
                    </a:lnTo>
                    <a:lnTo>
                      <a:pt x="129" y="37"/>
                    </a:lnTo>
                    <a:lnTo>
                      <a:pt x="175" y="37"/>
                    </a:lnTo>
                    <a:lnTo>
                      <a:pt x="175" y="43"/>
                    </a:lnTo>
                    <a:lnTo>
                      <a:pt x="176" y="48"/>
                    </a:lnTo>
                    <a:lnTo>
                      <a:pt x="178" y="52"/>
                    </a:lnTo>
                    <a:lnTo>
                      <a:pt x="180" y="55"/>
                    </a:lnTo>
                    <a:lnTo>
                      <a:pt x="181" y="58"/>
                    </a:lnTo>
                    <a:lnTo>
                      <a:pt x="184" y="59"/>
                    </a:lnTo>
                    <a:lnTo>
                      <a:pt x="186" y="60"/>
                    </a:lnTo>
                    <a:lnTo>
                      <a:pt x="190" y="61"/>
                    </a:lnTo>
                    <a:lnTo>
                      <a:pt x="206" y="60"/>
                    </a:lnTo>
                    <a:lnTo>
                      <a:pt x="229" y="61"/>
                    </a:lnTo>
                    <a:lnTo>
                      <a:pt x="250" y="69"/>
                    </a:lnTo>
                    <a:lnTo>
                      <a:pt x="269" y="78"/>
                    </a:lnTo>
                    <a:lnTo>
                      <a:pt x="285" y="86"/>
                    </a:lnTo>
                    <a:lnTo>
                      <a:pt x="302" y="95"/>
                    </a:lnTo>
                    <a:lnTo>
                      <a:pt x="318" y="103"/>
                    </a:lnTo>
                    <a:lnTo>
                      <a:pt x="336" y="111"/>
                    </a:lnTo>
                    <a:lnTo>
                      <a:pt x="354" y="118"/>
                    </a:lnTo>
                    <a:lnTo>
                      <a:pt x="375" y="123"/>
                    </a:lnTo>
                    <a:lnTo>
                      <a:pt x="375" y="129"/>
                    </a:lnTo>
                    <a:lnTo>
                      <a:pt x="376" y="134"/>
                    </a:lnTo>
                    <a:lnTo>
                      <a:pt x="379" y="138"/>
                    </a:lnTo>
                    <a:lnTo>
                      <a:pt x="382" y="142"/>
                    </a:lnTo>
                    <a:lnTo>
                      <a:pt x="388" y="147"/>
                    </a:lnTo>
                    <a:lnTo>
                      <a:pt x="396" y="152"/>
                    </a:lnTo>
                    <a:lnTo>
                      <a:pt x="415" y="159"/>
                    </a:lnTo>
                    <a:lnTo>
                      <a:pt x="428" y="166"/>
                    </a:lnTo>
                    <a:lnTo>
                      <a:pt x="417" y="176"/>
                    </a:lnTo>
                    <a:lnTo>
                      <a:pt x="402" y="191"/>
                    </a:lnTo>
                    <a:lnTo>
                      <a:pt x="404" y="195"/>
                    </a:lnTo>
                    <a:lnTo>
                      <a:pt x="407" y="197"/>
                    </a:lnTo>
                    <a:lnTo>
                      <a:pt x="410" y="199"/>
                    </a:lnTo>
                    <a:lnTo>
                      <a:pt x="414" y="201"/>
                    </a:lnTo>
                    <a:lnTo>
                      <a:pt x="421" y="203"/>
                    </a:lnTo>
                    <a:lnTo>
                      <a:pt x="429" y="204"/>
                    </a:lnTo>
                    <a:lnTo>
                      <a:pt x="445" y="204"/>
                    </a:lnTo>
                    <a:lnTo>
                      <a:pt x="461" y="204"/>
                    </a:lnTo>
                    <a:lnTo>
                      <a:pt x="554" y="191"/>
                    </a:lnTo>
                    <a:lnTo>
                      <a:pt x="555" y="189"/>
                    </a:lnTo>
                    <a:lnTo>
                      <a:pt x="556" y="186"/>
                    </a:lnTo>
                    <a:lnTo>
                      <a:pt x="559" y="183"/>
                    </a:lnTo>
                    <a:lnTo>
                      <a:pt x="562" y="179"/>
                    </a:lnTo>
                    <a:lnTo>
                      <a:pt x="565" y="177"/>
                    </a:lnTo>
                    <a:lnTo>
                      <a:pt x="568" y="174"/>
                    </a:lnTo>
                    <a:lnTo>
                      <a:pt x="572" y="173"/>
                    </a:lnTo>
                    <a:lnTo>
                      <a:pt x="574" y="172"/>
                    </a:lnTo>
                    <a:lnTo>
                      <a:pt x="574" y="161"/>
                    </a:lnTo>
                    <a:lnTo>
                      <a:pt x="574" y="154"/>
                    </a:lnTo>
                    <a:lnTo>
                      <a:pt x="561" y="153"/>
                    </a:lnTo>
                    <a:lnTo>
                      <a:pt x="546" y="151"/>
                    </a:lnTo>
                    <a:lnTo>
                      <a:pt x="532" y="148"/>
                    </a:lnTo>
                    <a:lnTo>
                      <a:pt x="518" y="143"/>
                    </a:lnTo>
                    <a:lnTo>
                      <a:pt x="504" y="138"/>
                    </a:lnTo>
                    <a:lnTo>
                      <a:pt x="489" y="132"/>
                    </a:lnTo>
                    <a:lnTo>
                      <a:pt x="475" y="124"/>
                    </a:lnTo>
                    <a:lnTo>
                      <a:pt x="461" y="116"/>
                    </a:lnTo>
                    <a:lnTo>
                      <a:pt x="433" y="100"/>
                    </a:lnTo>
                    <a:lnTo>
                      <a:pt x="407" y="84"/>
                    </a:lnTo>
                    <a:lnTo>
                      <a:pt x="383" y="68"/>
                    </a:lnTo>
                    <a:lnTo>
                      <a:pt x="362" y="55"/>
                    </a:lnTo>
                    <a:lnTo>
                      <a:pt x="358" y="54"/>
                    </a:lnTo>
                    <a:lnTo>
                      <a:pt x="353" y="52"/>
                    </a:lnTo>
                    <a:lnTo>
                      <a:pt x="348" y="52"/>
                    </a:lnTo>
                    <a:lnTo>
                      <a:pt x="342" y="52"/>
                    </a:lnTo>
                    <a:lnTo>
                      <a:pt x="330" y="52"/>
                    </a:lnTo>
                    <a:lnTo>
                      <a:pt x="318" y="52"/>
                    </a:lnTo>
                    <a:lnTo>
                      <a:pt x="312" y="51"/>
                    </a:lnTo>
                    <a:lnTo>
                      <a:pt x="306" y="50"/>
                    </a:lnTo>
                    <a:lnTo>
                      <a:pt x="302" y="49"/>
                    </a:lnTo>
                    <a:lnTo>
                      <a:pt x="297" y="46"/>
                    </a:lnTo>
                    <a:lnTo>
                      <a:pt x="294" y="43"/>
                    </a:lnTo>
                    <a:lnTo>
                      <a:pt x="291" y="38"/>
                    </a:lnTo>
                    <a:lnTo>
                      <a:pt x="290" y="32"/>
                    </a:lnTo>
                    <a:lnTo>
                      <a:pt x="288" y="25"/>
                    </a:lnTo>
                    <a:lnTo>
                      <a:pt x="142" y="0"/>
                    </a:lnTo>
                  </a:path>
                </a:pathLst>
              </a:custGeom>
              <a:grpFill/>
              <a:ln w="9525" cmpd="sng">
                <a:solidFill>
                  <a:srgbClr val="FFFFFF"/>
                </a:solidFill>
                <a:prstDash val="solid"/>
                <a:round/>
                <a:headEnd/>
                <a:tailEnd/>
              </a:ln>
            </p:spPr>
            <p:txBody>
              <a:bodyPr/>
              <a:lstStyle/>
              <a:p>
                <a:endParaRPr lang="en-GB" sz="1637"/>
              </a:p>
            </p:txBody>
          </p:sp>
          <p:sp>
            <p:nvSpPr>
              <p:cNvPr id="444" name="Freeform 217"/>
              <p:cNvSpPr>
                <a:spLocks/>
              </p:cNvSpPr>
              <p:nvPr>
                <p:custDataLst>
                  <p:tags r:id="rId288"/>
                </p:custDataLst>
              </p:nvPr>
            </p:nvSpPr>
            <p:spPr bwMode="auto">
              <a:xfrm>
                <a:off x="1966461" y="3283450"/>
                <a:ext cx="97047" cy="78802"/>
              </a:xfrm>
              <a:custGeom>
                <a:avLst/>
                <a:gdLst>
                  <a:gd name="T0" fmla="*/ 17608 w 207"/>
                  <a:gd name="T1" fmla="*/ 69850 h 129"/>
                  <a:gd name="T2" fmla="*/ 21473 w 207"/>
                  <a:gd name="T3" fmla="*/ 65518 h 129"/>
                  <a:gd name="T4" fmla="*/ 25768 w 207"/>
                  <a:gd name="T5" fmla="*/ 62269 h 129"/>
                  <a:gd name="T6" fmla="*/ 30063 w 207"/>
                  <a:gd name="T7" fmla="*/ 59562 h 129"/>
                  <a:gd name="T8" fmla="*/ 34787 w 207"/>
                  <a:gd name="T9" fmla="*/ 56855 h 129"/>
                  <a:gd name="T10" fmla="*/ 45094 w 207"/>
                  <a:gd name="T11" fmla="*/ 53606 h 129"/>
                  <a:gd name="T12" fmla="*/ 55401 w 207"/>
                  <a:gd name="T13" fmla="*/ 49816 h 129"/>
                  <a:gd name="T14" fmla="*/ 65279 w 207"/>
                  <a:gd name="T15" fmla="*/ 47108 h 129"/>
                  <a:gd name="T16" fmla="*/ 74298 w 207"/>
                  <a:gd name="T17" fmla="*/ 43859 h 129"/>
                  <a:gd name="T18" fmla="*/ 78163 w 207"/>
                  <a:gd name="T19" fmla="*/ 41693 h 129"/>
                  <a:gd name="T20" fmla="*/ 82029 w 207"/>
                  <a:gd name="T21" fmla="*/ 39528 h 129"/>
                  <a:gd name="T22" fmla="*/ 85894 w 207"/>
                  <a:gd name="T23" fmla="*/ 36279 h 129"/>
                  <a:gd name="T24" fmla="*/ 88900 w 207"/>
                  <a:gd name="T25" fmla="*/ 33030 h 129"/>
                  <a:gd name="T26" fmla="*/ 85035 w 207"/>
                  <a:gd name="T27" fmla="*/ 29240 h 129"/>
                  <a:gd name="T28" fmla="*/ 80740 w 207"/>
                  <a:gd name="T29" fmla="*/ 25449 h 129"/>
                  <a:gd name="T30" fmla="*/ 76875 w 207"/>
                  <a:gd name="T31" fmla="*/ 22742 h 129"/>
                  <a:gd name="T32" fmla="*/ 72580 w 207"/>
                  <a:gd name="T33" fmla="*/ 19493 h 129"/>
                  <a:gd name="T34" fmla="*/ 64420 w 207"/>
                  <a:gd name="T35" fmla="*/ 15703 h 129"/>
                  <a:gd name="T36" fmla="*/ 55401 w 207"/>
                  <a:gd name="T37" fmla="*/ 12454 h 129"/>
                  <a:gd name="T38" fmla="*/ 45953 w 207"/>
                  <a:gd name="T39" fmla="*/ 9747 h 129"/>
                  <a:gd name="T40" fmla="*/ 36505 w 207"/>
                  <a:gd name="T41" fmla="*/ 7039 h 129"/>
                  <a:gd name="T42" fmla="*/ 27057 w 207"/>
                  <a:gd name="T43" fmla="*/ 3790 h 129"/>
                  <a:gd name="T44" fmla="*/ 17608 w 207"/>
                  <a:gd name="T45" fmla="*/ 0 h 129"/>
                  <a:gd name="T46" fmla="*/ 0 w 207"/>
                  <a:gd name="T47" fmla="*/ 0 h 129"/>
                  <a:gd name="T48" fmla="*/ 429 w 207"/>
                  <a:gd name="T49" fmla="*/ 3249 h 129"/>
                  <a:gd name="T50" fmla="*/ 859 w 207"/>
                  <a:gd name="T51" fmla="*/ 7039 h 129"/>
                  <a:gd name="T52" fmla="*/ 1718 w 207"/>
                  <a:gd name="T53" fmla="*/ 10288 h 129"/>
                  <a:gd name="T54" fmla="*/ 2577 w 207"/>
                  <a:gd name="T55" fmla="*/ 13537 h 129"/>
                  <a:gd name="T56" fmla="*/ 4295 w 207"/>
                  <a:gd name="T57" fmla="*/ 18952 h 129"/>
                  <a:gd name="T58" fmla="*/ 5583 w 207"/>
                  <a:gd name="T59" fmla="*/ 24908 h 129"/>
                  <a:gd name="T60" fmla="*/ 7301 w 207"/>
                  <a:gd name="T61" fmla="*/ 29240 h 129"/>
                  <a:gd name="T62" fmla="*/ 7730 w 207"/>
                  <a:gd name="T63" fmla="*/ 33571 h 129"/>
                  <a:gd name="T64" fmla="*/ 7301 w 207"/>
                  <a:gd name="T65" fmla="*/ 35196 h 129"/>
                  <a:gd name="T66" fmla="*/ 6013 w 207"/>
                  <a:gd name="T67" fmla="*/ 36820 h 129"/>
                  <a:gd name="T68" fmla="*/ 4724 w 207"/>
                  <a:gd name="T69" fmla="*/ 38445 h 129"/>
                  <a:gd name="T70" fmla="*/ 3006 w 207"/>
                  <a:gd name="T71" fmla="*/ 39528 h 129"/>
                  <a:gd name="T72" fmla="*/ 0 w 207"/>
                  <a:gd name="T73" fmla="*/ 56313 h 129"/>
                  <a:gd name="T74" fmla="*/ 1718 w 207"/>
                  <a:gd name="T75" fmla="*/ 57396 h 129"/>
                  <a:gd name="T76" fmla="*/ 5583 w 207"/>
                  <a:gd name="T77" fmla="*/ 59562 h 129"/>
                  <a:gd name="T78" fmla="*/ 8160 w 207"/>
                  <a:gd name="T79" fmla="*/ 61186 h 129"/>
                  <a:gd name="T80" fmla="*/ 10737 w 207"/>
                  <a:gd name="T81" fmla="*/ 63352 h 129"/>
                  <a:gd name="T82" fmla="*/ 14172 w 207"/>
                  <a:gd name="T83" fmla="*/ 66060 h 129"/>
                  <a:gd name="T84" fmla="*/ 17608 w 207"/>
                  <a:gd name="T85" fmla="*/ 69850 h 12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07" h="129">
                    <a:moveTo>
                      <a:pt x="41" y="129"/>
                    </a:moveTo>
                    <a:lnTo>
                      <a:pt x="50" y="121"/>
                    </a:lnTo>
                    <a:lnTo>
                      <a:pt x="60" y="115"/>
                    </a:lnTo>
                    <a:lnTo>
                      <a:pt x="70" y="110"/>
                    </a:lnTo>
                    <a:lnTo>
                      <a:pt x="81" y="105"/>
                    </a:lnTo>
                    <a:lnTo>
                      <a:pt x="105" y="99"/>
                    </a:lnTo>
                    <a:lnTo>
                      <a:pt x="129" y="92"/>
                    </a:lnTo>
                    <a:lnTo>
                      <a:pt x="152" y="87"/>
                    </a:lnTo>
                    <a:lnTo>
                      <a:pt x="173" y="81"/>
                    </a:lnTo>
                    <a:lnTo>
                      <a:pt x="182" y="77"/>
                    </a:lnTo>
                    <a:lnTo>
                      <a:pt x="191" y="73"/>
                    </a:lnTo>
                    <a:lnTo>
                      <a:pt x="200" y="67"/>
                    </a:lnTo>
                    <a:lnTo>
                      <a:pt x="207" y="61"/>
                    </a:lnTo>
                    <a:lnTo>
                      <a:pt x="198" y="54"/>
                    </a:lnTo>
                    <a:lnTo>
                      <a:pt x="188" y="47"/>
                    </a:lnTo>
                    <a:lnTo>
                      <a:pt x="179" y="42"/>
                    </a:lnTo>
                    <a:lnTo>
                      <a:pt x="169" y="36"/>
                    </a:lnTo>
                    <a:lnTo>
                      <a:pt x="150" y="29"/>
                    </a:lnTo>
                    <a:lnTo>
                      <a:pt x="129" y="23"/>
                    </a:lnTo>
                    <a:lnTo>
                      <a:pt x="107" y="18"/>
                    </a:lnTo>
                    <a:lnTo>
                      <a:pt x="85" y="13"/>
                    </a:lnTo>
                    <a:lnTo>
                      <a:pt x="63" y="7"/>
                    </a:lnTo>
                    <a:lnTo>
                      <a:pt x="41" y="0"/>
                    </a:lnTo>
                    <a:lnTo>
                      <a:pt x="0" y="0"/>
                    </a:lnTo>
                    <a:lnTo>
                      <a:pt x="1" y="6"/>
                    </a:lnTo>
                    <a:lnTo>
                      <a:pt x="2" y="13"/>
                    </a:lnTo>
                    <a:lnTo>
                      <a:pt x="4" y="19"/>
                    </a:lnTo>
                    <a:lnTo>
                      <a:pt x="6" y="25"/>
                    </a:lnTo>
                    <a:lnTo>
                      <a:pt x="10" y="35"/>
                    </a:lnTo>
                    <a:lnTo>
                      <a:pt x="13" y="46"/>
                    </a:lnTo>
                    <a:lnTo>
                      <a:pt x="17" y="54"/>
                    </a:lnTo>
                    <a:lnTo>
                      <a:pt x="18" y="62"/>
                    </a:lnTo>
                    <a:lnTo>
                      <a:pt x="17" y="65"/>
                    </a:lnTo>
                    <a:lnTo>
                      <a:pt x="14" y="68"/>
                    </a:lnTo>
                    <a:lnTo>
                      <a:pt x="11" y="71"/>
                    </a:lnTo>
                    <a:lnTo>
                      <a:pt x="7" y="73"/>
                    </a:lnTo>
                    <a:lnTo>
                      <a:pt x="0" y="104"/>
                    </a:lnTo>
                    <a:lnTo>
                      <a:pt x="4" y="106"/>
                    </a:lnTo>
                    <a:lnTo>
                      <a:pt x="13" y="110"/>
                    </a:lnTo>
                    <a:lnTo>
                      <a:pt x="19" y="113"/>
                    </a:lnTo>
                    <a:lnTo>
                      <a:pt x="25" y="117"/>
                    </a:lnTo>
                    <a:lnTo>
                      <a:pt x="33" y="122"/>
                    </a:lnTo>
                    <a:lnTo>
                      <a:pt x="41" y="129"/>
                    </a:lnTo>
                  </a:path>
                </a:pathLst>
              </a:custGeom>
              <a:grpFill/>
              <a:ln w="9525" cmpd="sng">
                <a:solidFill>
                  <a:srgbClr val="FFFFFF"/>
                </a:solidFill>
                <a:prstDash val="solid"/>
                <a:round/>
                <a:headEnd/>
                <a:tailEnd/>
              </a:ln>
            </p:spPr>
            <p:txBody>
              <a:bodyPr/>
              <a:lstStyle/>
              <a:p>
                <a:endParaRPr lang="en-GB" sz="1637"/>
              </a:p>
            </p:txBody>
          </p:sp>
          <p:sp>
            <p:nvSpPr>
              <p:cNvPr id="445" name="Freeform 218"/>
              <p:cNvSpPr>
                <a:spLocks/>
              </p:cNvSpPr>
              <p:nvPr>
                <p:custDataLst>
                  <p:tags r:id="rId289"/>
                </p:custDataLst>
              </p:nvPr>
            </p:nvSpPr>
            <p:spPr bwMode="auto">
              <a:xfrm>
                <a:off x="1495091" y="3351506"/>
                <a:ext cx="36393" cy="94921"/>
              </a:xfrm>
              <a:custGeom>
                <a:avLst/>
                <a:gdLst>
                  <a:gd name="T0" fmla="*/ 33338 w 72"/>
                  <a:gd name="T1" fmla="*/ 0 h 154"/>
                  <a:gd name="T2" fmla="*/ 31949 w 72"/>
                  <a:gd name="T3" fmla="*/ 2185 h 154"/>
                  <a:gd name="T4" fmla="*/ 31023 w 72"/>
                  <a:gd name="T5" fmla="*/ 4917 h 154"/>
                  <a:gd name="T6" fmla="*/ 30560 w 72"/>
                  <a:gd name="T7" fmla="*/ 7102 h 154"/>
                  <a:gd name="T8" fmla="*/ 30560 w 72"/>
                  <a:gd name="T9" fmla="*/ 9834 h 154"/>
                  <a:gd name="T10" fmla="*/ 30560 w 72"/>
                  <a:gd name="T11" fmla="*/ 14751 h 154"/>
                  <a:gd name="T12" fmla="*/ 30560 w 72"/>
                  <a:gd name="T13" fmla="*/ 20215 h 154"/>
                  <a:gd name="T14" fmla="*/ 31949 w 72"/>
                  <a:gd name="T15" fmla="*/ 23493 h 154"/>
                  <a:gd name="T16" fmla="*/ 32875 w 72"/>
                  <a:gd name="T17" fmla="*/ 27317 h 154"/>
                  <a:gd name="T18" fmla="*/ 32875 w 72"/>
                  <a:gd name="T19" fmla="*/ 31142 h 154"/>
                  <a:gd name="T20" fmla="*/ 32875 w 72"/>
                  <a:gd name="T21" fmla="*/ 35512 h 154"/>
                  <a:gd name="T22" fmla="*/ 31949 w 72"/>
                  <a:gd name="T23" fmla="*/ 39883 h 154"/>
                  <a:gd name="T24" fmla="*/ 31023 w 72"/>
                  <a:gd name="T25" fmla="*/ 44800 h 154"/>
                  <a:gd name="T26" fmla="*/ 30097 w 72"/>
                  <a:gd name="T27" fmla="*/ 49717 h 154"/>
                  <a:gd name="T28" fmla="*/ 28245 w 72"/>
                  <a:gd name="T29" fmla="*/ 54634 h 154"/>
                  <a:gd name="T30" fmla="*/ 24540 w 72"/>
                  <a:gd name="T31" fmla="*/ 63376 h 154"/>
                  <a:gd name="T32" fmla="*/ 20373 w 72"/>
                  <a:gd name="T33" fmla="*/ 71571 h 154"/>
                  <a:gd name="T34" fmla="*/ 15743 w 72"/>
                  <a:gd name="T35" fmla="*/ 78674 h 154"/>
                  <a:gd name="T36" fmla="*/ 12039 w 72"/>
                  <a:gd name="T37" fmla="*/ 84137 h 154"/>
                  <a:gd name="T38" fmla="*/ 12039 w 72"/>
                  <a:gd name="T39" fmla="*/ 77035 h 154"/>
                  <a:gd name="T40" fmla="*/ 6945 w 72"/>
                  <a:gd name="T41" fmla="*/ 78674 h 154"/>
                  <a:gd name="T42" fmla="*/ 0 w 72"/>
                  <a:gd name="T43" fmla="*/ 80859 h 154"/>
                  <a:gd name="T44" fmla="*/ 1389 w 72"/>
                  <a:gd name="T45" fmla="*/ 70478 h 154"/>
                  <a:gd name="T46" fmla="*/ 3704 w 72"/>
                  <a:gd name="T47" fmla="*/ 57366 h 154"/>
                  <a:gd name="T48" fmla="*/ 4167 w 72"/>
                  <a:gd name="T49" fmla="*/ 50264 h 154"/>
                  <a:gd name="T50" fmla="*/ 5556 w 72"/>
                  <a:gd name="T51" fmla="*/ 42069 h 154"/>
                  <a:gd name="T52" fmla="*/ 6945 w 72"/>
                  <a:gd name="T53" fmla="*/ 34420 h 154"/>
                  <a:gd name="T54" fmla="*/ 9261 w 72"/>
                  <a:gd name="T55" fmla="*/ 26771 h 154"/>
                  <a:gd name="T56" fmla="*/ 9261 w 72"/>
                  <a:gd name="T57" fmla="*/ 0 h 154"/>
                  <a:gd name="T58" fmla="*/ 11576 w 72"/>
                  <a:gd name="T59" fmla="*/ 0 h 154"/>
                  <a:gd name="T60" fmla="*/ 17595 w 72"/>
                  <a:gd name="T61" fmla="*/ 0 h 154"/>
                  <a:gd name="T62" fmla="*/ 25930 w 72"/>
                  <a:gd name="T63" fmla="*/ 0 h 154"/>
                  <a:gd name="T64" fmla="*/ 33338 w 72"/>
                  <a:gd name="T65" fmla="*/ 0 h 15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72" h="154">
                    <a:moveTo>
                      <a:pt x="72" y="0"/>
                    </a:moveTo>
                    <a:lnTo>
                      <a:pt x="69" y="4"/>
                    </a:lnTo>
                    <a:lnTo>
                      <a:pt x="67" y="9"/>
                    </a:lnTo>
                    <a:lnTo>
                      <a:pt x="66" y="13"/>
                    </a:lnTo>
                    <a:lnTo>
                      <a:pt x="66" y="18"/>
                    </a:lnTo>
                    <a:lnTo>
                      <a:pt x="66" y="27"/>
                    </a:lnTo>
                    <a:lnTo>
                      <a:pt x="66" y="37"/>
                    </a:lnTo>
                    <a:lnTo>
                      <a:pt x="69" y="43"/>
                    </a:lnTo>
                    <a:lnTo>
                      <a:pt x="71" y="50"/>
                    </a:lnTo>
                    <a:lnTo>
                      <a:pt x="71" y="57"/>
                    </a:lnTo>
                    <a:lnTo>
                      <a:pt x="71" y="65"/>
                    </a:lnTo>
                    <a:lnTo>
                      <a:pt x="69" y="73"/>
                    </a:lnTo>
                    <a:lnTo>
                      <a:pt x="67" y="82"/>
                    </a:lnTo>
                    <a:lnTo>
                      <a:pt x="65" y="91"/>
                    </a:lnTo>
                    <a:lnTo>
                      <a:pt x="61" y="100"/>
                    </a:lnTo>
                    <a:lnTo>
                      <a:pt x="53" y="116"/>
                    </a:lnTo>
                    <a:lnTo>
                      <a:pt x="44" y="131"/>
                    </a:lnTo>
                    <a:lnTo>
                      <a:pt x="34" y="144"/>
                    </a:lnTo>
                    <a:lnTo>
                      <a:pt x="26" y="154"/>
                    </a:lnTo>
                    <a:lnTo>
                      <a:pt x="26" y="141"/>
                    </a:lnTo>
                    <a:lnTo>
                      <a:pt x="15" y="144"/>
                    </a:lnTo>
                    <a:lnTo>
                      <a:pt x="0" y="148"/>
                    </a:lnTo>
                    <a:lnTo>
                      <a:pt x="3" y="129"/>
                    </a:lnTo>
                    <a:lnTo>
                      <a:pt x="8" y="105"/>
                    </a:lnTo>
                    <a:lnTo>
                      <a:pt x="9" y="92"/>
                    </a:lnTo>
                    <a:lnTo>
                      <a:pt x="12" y="77"/>
                    </a:lnTo>
                    <a:lnTo>
                      <a:pt x="15" y="63"/>
                    </a:lnTo>
                    <a:lnTo>
                      <a:pt x="20" y="49"/>
                    </a:lnTo>
                    <a:lnTo>
                      <a:pt x="20" y="0"/>
                    </a:lnTo>
                    <a:lnTo>
                      <a:pt x="25" y="0"/>
                    </a:lnTo>
                    <a:lnTo>
                      <a:pt x="38" y="0"/>
                    </a:lnTo>
                    <a:lnTo>
                      <a:pt x="56" y="0"/>
                    </a:lnTo>
                    <a:lnTo>
                      <a:pt x="72" y="0"/>
                    </a:lnTo>
                  </a:path>
                </a:pathLst>
              </a:custGeom>
              <a:grpFill/>
              <a:ln w="9525" cap="flat" cmpd="sng">
                <a:solidFill>
                  <a:srgbClr val="FFFFFF"/>
                </a:solidFill>
                <a:prstDash val="solid"/>
                <a:round/>
                <a:headEnd type="none" w="med" len="med"/>
                <a:tailEnd type="none" w="med" len="med"/>
              </a:ln>
              <a:effectLst/>
            </p:spPr>
            <p:txBody>
              <a:bodyPr/>
              <a:lstStyle/>
              <a:p>
                <a:endParaRPr lang="en-GB" sz="1637"/>
              </a:p>
            </p:txBody>
          </p:sp>
          <p:sp>
            <p:nvSpPr>
              <p:cNvPr id="446" name="Freeform 219"/>
              <p:cNvSpPr>
                <a:spLocks/>
              </p:cNvSpPr>
              <p:nvPr>
                <p:custDataLst>
                  <p:tags r:id="rId290"/>
                </p:custDataLst>
              </p:nvPr>
            </p:nvSpPr>
            <p:spPr bwMode="auto">
              <a:xfrm>
                <a:off x="1408442" y="3351506"/>
                <a:ext cx="102246" cy="164769"/>
              </a:xfrm>
              <a:custGeom>
                <a:avLst/>
                <a:gdLst>
                  <a:gd name="T0" fmla="*/ 3501 w 214"/>
                  <a:gd name="T1" fmla="*/ 111558 h 271"/>
                  <a:gd name="T2" fmla="*/ 5252 w 214"/>
                  <a:gd name="T3" fmla="*/ 97546 h 271"/>
                  <a:gd name="T4" fmla="*/ 10504 w 214"/>
                  <a:gd name="T5" fmla="*/ 79762 h 271"/>
                  <a:gd name="T6" fmla="*/ 15319 w 214"/>
                  <a:gd name="T7" fmla="*/ 63594 h 271"/>
                  <a:gd name="T8" fmla="*/ 19258 w 214"/>
                  <a:gd name="T9" fmla="*/ 60360 h 271"/>
                  <a:gd name="T10" fmla="*/ 28449 w 214"/>
                  <a:gd name="T11" fmla="*/ 59821 h 271"/>
                  <a:gd name="T12" fmla="*/ 38953 w 214"/>
                  <a:gd name="T13" fmla="*/ 59821 h 271"/>
                  <a:gd name="T14" fmla="*/ 46394 w 214"/>
                  <a:gd name="T15" fmla="*/ 59282 h 271"/>
                  <a:gd name="T16" fmla="*/ 52521 w 214"/>
                  <a:gd name="T17" fmla="*/ 56588 h 271"/>
                  <a:gd name="T18" fmla="*/ 56898 w 214"/>
                  <a:gd name="T19" fmla="*/ 50659 h 271"/>
                  <a:gd name="T20" fmla="*/ 49458 w 214"/>
                  <a:gd name="T21" fmla="*/ 39342 h 271"/>
                  <a:gd name="T22" fmla="*/ 37640 w 214"/>
                  <a:gd name="T23" fmla="*/ 31258 h 271"/>
                  <a:gd name="T24" fmla="*/ 33701 w 214"/>
                  <a:gd name="T25" fmla="*/ 26408 h 271"/>
                  <a:gd name="T26" fmla="*/ 32388 w 214"/>
                  <a:gd name="T27" fmla="*/ 22096 h 271"/>
                  <a:gd name="T28" fmla="*/ 32826 w 214"/>
                  <a:gd name="T29" fmla="*/ 18324 h 271"/>
                  <a:gd name="T30" fmla="*/ 35890 w 214"/>
                  <a:gd name="T31" fmla="*/ 15090 h 271"/>
                  <a:gd name="T32" fmla="*/ 44205 w 214"/>
                  <a:gd name="T33" fmla="*/ 10240 h 271"/>
                  <a:gd name="T34" fmla="*/ 65652 w 214"/>
                  <a:gd name="T35" fmla="*/ 1617 h 271"/>
                  <a:gd name="T36" fmla="*/ 78782 w 214"/>
                  <a:gd name="T37" fmla="*/ 0 h 271"/>
                  <a:gd name="T38" fmla="*/ 86660 w 214"/>
                  <a:gd name="T39" fmla="*/ 0 h 271"/>
                  <a:gd name="T40" fmla="*/ 90599 w 214"/>
                  <a:gd name="T41" fmla="*/ 26408 h 271"/>
                  <a:gd name="T42" fmla="*/ 87098 w 214"/>
                  <a:gd name="T43" fmla="*/ 41498 h 271"/>
                  <a:gd name="T44" fmla="*/ 85347 w 214"/>
                  <a:gd name="T45" fmla="*/ 56588 h 271"/>
                  <a:gd name="T46" fmla="*/ 81846 w 214"/>
                  <a:gd name="T47" fmla="*/ 79762 h 271"/>
                  <a:gd name="T48" fmla="*/ 93225 w 214"/>
                  <a:gd name="T49" fmla="*/ 82995 h 271"/>
                  <a:gd name="T50" fmla="*/ 93663 w 214"/>
                  <a:gd name="T51" fmla="*/ 89462 h 271"/>
                  <a:gd name="T52" fmla="*/ 91912 w 214"/>
                  <a:gd name="T53" fmla="*/ 93774 h 271"/>
                  <a:gd name="T54" fmla="*/ 90599 w 214"/>
                  <a:gd name="T55" fmla="*/ 95391 h 271"/>
                  <a:gd name="T56" fmla="*/ 87536 w 214"/>
                  <a:gd name="T57" fmla="*/ 95930 h 271"/>
                  <a:gd name="T58" fmla="*/ 84034 w 214"/>
                  <a:gd name="T59" fmla="*/ 105630 h 271"/>
                  <a:gd name="T60" fmla="*/ 79220 w 214"/>
                  <a:gd name="T61" fmla="*/ 115331 h 271"/>
                  <a:gd name="T62" fmla="*/ 67840 w 214"/>
                  <a:gd name="T63" fmla="*/ 130960 h 271"/>
                  <a:gd name="T64" fmla="*/ 52521 w 214"/>
                  <a:gd name="T65" fmla="*/ 146050 h 271"/>
                  <a:gd name="T66" fmla="*/ 38078 w 214"/>
                  <a:gd name="T67" fmla="*/ 140661 h 271"/>
                  <a:gd name="T68" fmla="*/ 24072 w 214"/>
                  <a:gd name="T69" fmla="*/ 133655 h 271"/>
                  <a:gd name="T70" fmla="*/ 0 w 214"/>
                  <a:gd name="T71" fmla="*/ 119104 h 27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14" h="271">
                    <a:moveTo>
                      <a:pt x="7" y="221"/>
                    </a:moveTo>
                    <a:lnTo>
                      <a:pt x="8" y="207"/>
                    </a:lnTo>
                    <a:lnTo>
                      <a:pt x="9" y="192"/>
                    </a:lnTo>
                    <a:lnTo>
                      <a:pt x="12" y="181"/>
                    </a:lnTo>
                    <a:lnTo>
                      <a:pt x="16" y="170"/>
                    </a:lnTo>
                    <a:lnTo>
                      <a:pt x="24" y="148"/>
                    </a:lnTo>
                    <a:lnTo>
                      <a:pt x="34" y="123"/>
                    </a:lnTo>
                    <a:lnTo>
                      <a:pt x="35" y="118"/>
                    </a:lnTo>
                    <a:lnTo>
                      <a:pt x="40" y="114"/>
                    </a:lnTo>
                    <a:lnTo>
                      <a:pt x="44" y="112"/>
                    </a:lnTo>
                    <a:lnTo>
                      <a:pt x="51" y="111"/>
                    </a:lnTo>
                    <a:lnTo>
                      <a:pt x="65" y="111"/>
                    </a:lnTo>
                    <a:lnTo>
                      <a:pt x="82" y="111"/>
                    </a:lnTo>
                    <a:lnTo>
                      <a:pt x="89" y="111"/>
                    </a:lnTo>
                    <a:lnTo>
                      <a:pt x="98" y="111"/>
                    </a:lnTo>
                    <a:lnTo>
                      <a:pt x="106" y="110"/>
                    </a:lnTo>
                    <a:lnTo>
                      <a:pt x="113" y="108"/>
                    </a:lnTo>
                    <a:lnTo>
                      <a:pt x="120" y="105"/>
                    </a:lnTo>
                    <a:lnTo>
                      <a:pt x="125" y="100"/>
                    </a:lnTo>
                    <a:lnTo>
                      <a:pt x="130" y="94"/>
                    </a:lnTo>
                    <a:lnTo>
                      <a:pt x="133" y="85"/>
                    </a:lnTo>
                    <a:lnTo>
                      <a:pt x="113" y="73"/>
                    </a:lnTo>
                    <a:lnTo>
                      <a:pt x="94" y="63"/>
                    </a:lnTo>
                    <a:lnTo>
                      <a:pt x="86" y="58"/>
                    </a:lnTo>
                    <a:lnTo>
                      <a:pt x="79" y="52"/>
                    </a:lnTo>
                    <a:lnTo>
                      <a:pt x="77" y="49"/>
                    </a:lnTo>
                    <a:lnTo>
                      <a:pt x="75" y="45"/>
                    </a:lnTo>
                    <a:lnTo>
                      <a:pt x="74" y="41"/>
                    </a:lnTo>
                    <a:lnTo>
                      <a:pt x="74" y="37"/>
                    </a:lnTo>
                    <a:lnTo>
                      <a:pt x="75" y="34"/>
                    </a:lnTo>
                    <a:lnTo>
                      <a:pt x="77" y="31"/>
                    </a:lnTo>
                    <a:lnTo>
                      <a:pt x="82" y="28"/>
                    </a:lnTo>
                    <a:lnTo>
                      <a:pt x="87" y="25"/>
                    </a:lnTo>
                    <a:lnTo>
                      <a:pt x="101" y="19"/>
                    </a:lnTo>
                    <a:lnTo>
                      <a:pt x="118" y="13"/>
                    </a:lnTo>
                    <a:lnTo>
                      <a:pt x="150" y="3"/>
                    </a:lnTo>
                    <a:lnTo>
                      <a:pt x="167" y="0"/>
                    </a:lnTo>
                    <a:lnTo>
                      <a:pt x="180" y="0"/>
                    </a:lnTo>
                    <a:lnTo>
                      <a:pt x="190" y="0"/>
                    </a:lnTo>
                    <a:lnTo>
                      <a:pt x="198" y="0"/>
                    </a:lnTo>
                    <a:lnTo>
                      <a:pt x="200" y="0"/>
                    </a:lnTo>
                    <a:lnTo>
                      <a:pt x="207" y="49"/>
                    </a:lnTo>
                    <a:lnTo>
                      <a:pt x="202" y="63"/>
                    </a:lnTo>
                    <a:lnTo>
                      <a:pt x="199" y="77"/>
                    </a:lnTo>
                    <a:lnTo>
                      <a:pt x="196" y="92"/>
                    </a:lnTo>
                    <a:lnTo>
                      <a:pt x="195" y="105"/>
                    </a:lnTo>
                    <a:lnTo>
                      <a:pt x="190" y="129"/>
                    </a:lnTo>
                    <a:lnTo>
                      <a:pt x="187" y="148"/>
                    </a:lnTo>
                    <a:lnTo>
                      <a:pt x="202" y="151"/>
                    </a:lnTo>
                    <a:lnTo>
                      <a:pt x="213" y="154"/>
                    </a:lnTo>
                    <a:lnTo>
                      <a:pt x="214" y="158"/>
                    </a:lnTo>
                    <a:lnTo>
                      <a:pt x="214" y="166"/>
                    </a:lnTo>
                    <a:lnTo>
                      <a:pt x="213" y="170"/>
                    </a:lnTo>
                    <a:lnTo>
                      <a:pt x="210" y="174"/>
                    </a:lnTo>
                    <a:lnTo>
                      <a:pt x="209" y="176"/>
                    </a:lnTo>
                    <a:lnTo>
                      <a:pt x="207" y="177"/>
                    </a:lnTo>
                    <a:lnTo>
                      <a:pt x="203" y="178"/>
                    </a:lnTo>
                    <a:lnTo>
                      <a:pt x="200" y="178"/>
                    </a:lnTo>
                    <a:lnTo>
                      <a:pt x="197" y="187"/>
                    </a:lnTo>
                    <a:lnTo>
                      <a:pt x="192" y="196"/>
                    </a:lnTo>
                    <a:lnTo>
                      <a:pt x="188" y="205"/>
                    </a:lnTo>
                    <a:lnTo>
                      <a:pt x="181" y="214"/>
                    </a:lnTo>
                    <a:lnTo>
                      <a:pt x="169" y="229"/>
                    </a:lnTo>
                    <a:lnTo>
                      <a:pt x="155" y="243"/>
                    </a:lnTo>
                    <a:lnTo>
                      <a:pt x="131" y="263"/>
                    </a:lnTo>
                    <a:lnTo>
                      <a:pt x="120" y="271"/>
                    </a:lnTo>
                    <a:lnTo>
                      <a:pt x="103" y="266"/>
                    </a:lnTo>
                    <a:lnTo>
                      <a:pt x="87" y="261"/>
                    </a:lnTo>
                    <a:lnTo>
                      <a:pt x="71" y="254"/>
                    </a:lnTo>
                    <a:lnTo>
                      <a:pt x="55" y="248"/>
                    </a:lnTo>
                    <a:lnTo>
                      <a:pt x="27" y="235"/>
                    </a:lnTo>
                    <a:lnTo>
                      <a:pt x="0" y="221"/>
                    </a:lnTo>
                    <a:lnTo>
                      <a:pt x="7" y="221"/>
                    </a:lnTo>
                  </a:path>
                </a:pathLst>
              </a:custGeom>
              <a:grpFill/>
              <a:ln w="9525" cap="flat" cmpd="sng">
                <a:solidFill>
                  <a:srgbClr val="FFFFFF"/>
                </a:solidFill>
                <a:prstDash val="solid"/>
                <a:round/>
                <a:headEnd type="none" w="med" len="med"/>
                <a:tailEnd type="none" w="med" len="med"/>
              </a:ln>
              <a:effectLst/>
            </p:spPr>
            <p:txBody>
              <a:bodyPr/>
              <a:lstStyle/>
              <a:p>
                <a:endParaRPr lang="en-GB" sz="1637"/>
              </a:p>
            </p:txBody>
          </p:sp>
          <p:sp>
            <p:nvSpPr>
              <p:cNvPr id="447" name="Freeform 220"/>
              <p:cNvSpPr>
                <a:spLocks/>
              </p:cNvSpPr>
              <p:nvPr>
                <p:custDataLst>
                  <p:tags r:id="rId291"/>
                </p:custDataLst>
              </p:nvPr>
            </p:nvSpPr>
            <p:spPr bwMode="auto">
              <a:xfrm>
                <a:off x="1460431" y="3476874"/>
                <a:ext cx="77985" cy="64475"/>
              </a:xfrm>
              <a:custGeom>
                <a:avLst/>
                <a:gdLst>
                  <a:gd name="T0" fmla="*/ 28015 w 153"/>
                  <a:gd name="T1" fmla="*/ 0 h 80"/>
                  <a:gd name="T2" fmla="*/ 38754 w 153"/>
                  <a:gd name="T3" fmla="*/ 10001 h 80"/>
                  <a:gd name="T4" fmla="*/ 48559 w 153"/>
                  <a:gd name="T5" fmla="*/ 17145 h 80"/>
                  <a:gd name="T6" fmla="*/ 53695 w 153"/>
                  <a:gd name="T7" fmla="*/ 20003 h 80"/>
                  <a:gd name="T8" fmla="*/ 58831 w 153"/>
                  <a:gd name="T9" fmla="*/ 22146 h 80"/>
                  <a:gd name="T10" fmla="*/ 62100 w 153"/>
                  <a:gd name="T11" fmla="*/ 22860 h 80"/>
                  <a:gd name="T12" fmla="*/ 64901 w 153"/>
                  <a:gd name="T13" fmla="*/ 22860 h 80"/>
                  <a:gd name="T14" fmla="*/ 68170 w 153"/>
                  <a:gd name="T15" fmla="*/ 22146 h 80"/>
                  <a:gd name="T16" fmla="*/ 71438 w 153"/>
                  <a:gd name="T17" fmla="*/ 21431 h 80"/>
                  <a:gd name="T18" fmla="*/ 71438 w 153"/>
                  <a:gd name="T19" fmla="*/ 40005 h 80"/>
                  <a:gd name="T20" fmla="*/ 69570 w 153"/>
                  <a:gd name="T21" fmla="*/ 42863 h 80"/>
                  <a:gd name="T22" fmla="*/ 67703 w 153"/>
                  <a:gd name="T23" fmla="*/ 46434 h 80"/>
                  <a:gd name="T24" fmla="*/ 64434 w 153"/>
                  <a:gd name="T25" fmla="*/ 49292 h 80"/>
                  <a:gd name="T26" fmla="*/ 61633 w 153"/>
                  <a:gd name="T27" fmla="*/ 51435 h 80"/>
                  <a:gd name="T28" fmla="*/ 58364 w 153"/>
                  <a:gd name="T29" fmla="*/ 53578 h 80"/>
                  <a:gd name="T30" fmla="*/ 55563 w 153"/>
                  <a:gd name="T31" fmla="*/ 55721 h 80"/>
                  <a:gd name="T32" fmla="*/ 52294 w 153"/>
                  <a:gd name="T33" fmla="*/ 56436 h 80"/>
                  <a:gd name="T34" fmla="*/ 49493 w 153"/>
                  <a:gd name="T35" fmla="*/ 57150 h 80"/>
                  <a:gd name="T36" fmla="*/ 42022 w 153"/>
                  <a:gd name="T37" fmla="*/ 52864 h 80"/>
                  <a:gd name="T38" fmla="*/ 35486 w 153"/>
                  <a:gd name="T39" fmla="*/ 50721 h 80"/>
                  <a:gd name="T40" fmla="*/ 29416 w 153"/>
                  <a:gd name="T41" fmla="*/ 49292 h 80"/>
                  <a:gd name="T42" fmla="*/ 23346 w 153"/>
                  <a:gd name="T43" fmla="*/ 49292 h 80"/>
                  <a:gd name="T44" fmla="*/ 18210 w 153"/>
                  <a:gd name="T45" fmla="*/ 48578 h 80"/>
                  <a:gd name="T46" fmla="*/ 12607 w 153"/>
                  <a:gd name="T47" fmla="*/ 47863 h 80"/>
                  <a:gd name="T48" fmla="*/ 6537 w 153"/>
                  <a:gd name="T49" fmla="*/ 46434 h 80"/>
                  <a:gd name="T50" fmla="*/ 0 w 153"/>
                  <a:gd name="T51" fmla="*/ 44291 h 80"/>
                  <a:gd name="T52" fmla="*/ 3268 w 153"/>
                  <a:gd name="T53" fmla="*/ 41434 h 80"/>
                  <a:gd name="T54" fmla="*/ 10739 w 153"/>
                  <a:gd name="T55" fmla="*/ 32147 h 80"/>
                  <a:gd name="T56" fmla="*/ 15875 w 153"/>
                  <a:gd name="T57" fmla="*/ 26432 h 80"/>
                  <a:gd name="T58" fmla="*/ 21011 w 153"/>
                  <a:gd name="T59" fmla="*/ 20003 h 80"/>
                  <a:gd name="T60" fmla="*/ 26147 w 153"/>
                  <a:gd name="T61" fmla="*/ 12144 h 80"/>
                  <a:gd name="T62" fmla="*/ 31283 w 153"/>
                  <a:gd name="T63" fmla="*/ 4286 h 80"/>
                  <a:gd name="T64" fmla="*/ 28015 w 153"/>
                  <a:gd name="T65" fmla="*/ 0 h 8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53" h="80">
                    <a:moveTo>
                      <a:pt x="60" y="0"/>
                    </a:moveTo>
                    <a:lnTo>
                      <a:pt x="83" y="14"/>
                    </a:lnTo>
                    <a:lnTo>
                      <a:pt x="104" y="24"/>
                    </a:lnTo>
                    <a:lnTo>
                      <a:pt x="115" y="28"/>
                    </a:lnTo>
                    <a:lnTo>
                      <a:pt x="126" y="31"/>
                    </a:lnTo>
                    <a:lnTo>
                      <a:pt x="133" y="32"/>
                    </a:lnTo>
                    <a:lnTo>
                      <a:pt x="139" y="32"/>
                    </a:lnTo>
                    <a:lnTo>
                      <a:pt x="146" y="31"/>
                    </a:lnTo>
                    <a:lnTo>
                      <a:pt x="153" y="30"/>
                    </a:lnTo>
                    <a:lnTo>
                      <a:pt x="153" y="56"/>
                    </a:lnTo>
                    <a:lnTo>
                      <a:pt x="149" y="60"/>
                    </a:lnTo>
                    <a:lnTo>
                      <a:pt x="145" y="65"/>
                    </a:lnTo>
                    <a:lnTo>
                      <a:pt x="138" y="69"/>
                    </a:lnTo>
                    <a:lnTo>
                      <a:pt x="132" y="72"/>
                    </a:lnTo>
                    <a:lnTo>
                      <a:pt x="125" y="75"/>
                    </a:lnTo>
                    <a:lnTo>
                      <a:pt x="119" y="78"/>
                    </a:lnTo>
                    <a:lnTo>
                      <a:pt x="112" y="79"/>
                    </a:lnTo>
                    <a:lnTo>
                      <a:pt x="106" y="80"/>
                    </a:lnTo>
                    <a:lnTo>
                      <a:pt x="90" y="74"/>
                    </a:lnTo>
                    <a:lnTo>
                      <a:pt x="76" y="71"/>
                    </a:lnTo>
                    <a:lnTo>
                      <a:pt x="63" y="69"/>
                    </a:lnTo>
                    <a:lnTo>
                      <a:pt x="50" y="69"/>
                    </a:lnTo>
                    <a:lnTo>
                      <a:pt x="39" y="68"/>
                    </a:lnTo>
                    <a:lnTo>
                      <a:pt x="27" y="67"/>
                    </a:lnTo>
                    <a:lnTo>
                      <a:pt x="14" y="65"/>
                    </a:lnTo>
                    <a:lnTo>
                      <a:pt x="0" y="62"/>
                    </a:lnTo>
                    <a:lnTo>
                      <a:pt x="7" y="58"/>
                    </a:lnTo>
                    <a:lnTo>
                      <a:pt x="23" y="45"/>
                    </a:lnTo>
                    <a:lnTo>
                      <a:pt x="34" y="37"/>
                    </a:lnTo>
                    <a:lnTo>
                      <a:pt x="45" y="28"/>
                    </a:lnTo>
                    <a:lnTo>
                      <a:pt x="56" y="17"/>
                    </a:lnTo>
                    <a:lnTo>
                      <a:pt x="67" y="6"/>
                    </a:lnTo>
                    <a:lnTo>
                      <a:pt x="60" y="0"/>
                    </a:lnTo>
                  </a:path>
                </a:pathLst>
              </a:custGeom>
              <a:grpFill/>
              <a:ln w="9525" cap="flat" cmpd="sng">
                <a:solidFill>
                  <a:srgbClr val="FFFFFF"/>
                </a:solidFill>
                <a:prstDash val="solid"/>
                <a:round/>
                <a:headEnd type="none" w="med" len="med"/>
                <a:tailEnd type="none" w="med" len="med"/>
              </a:ln>
              <a:effectLst/>
            </p:spPr>
            <p:txBody>
              <a:bodyPr/>
              <a:lstStyle/>
              <a:p>
                <a:endParaRPr lang="en-GB" sz="1637"/>
              </a:p>
            </p:txBody>
          </p:sp>
          <p:sp>
            <p:nvSpPr>
              <p:cNvPr id="448" name="Freeform 221"/>
              <p:cNvSpPr>
                <a:spLocks/>
              </p:cNvSpPr>
              <p:nvPr>
                <p:custDataLst>
                  <p:tags r:id="rId292"/>
                </p:custDataLst>
              </p:nvPr>
            </p:nvSpPr>
            <p:spPr bwMode="auto">
              <a:xfrm>
                <a:off x="1495091" y="3433891"/>
                <a:ext cx="155968" cy="98503"/>
              </a:xfrm>
              <a:custGeom>
                <a:avLst/>
                <a:gdLst>
                  <a:gd name="T0" fmla="*/ 0 w 332"/>
                  <a:gd name="T1" fmla="*/ 39781 h 169"/>
                  <a:gd name="T2" fmla="*/ 18935 w 332"/>
                  <a:gd name="T3" fmla="*/ 52181 h 169"/>
                  <a:gd name="T4" fmla="*/ 28403 w 332"/>
                  <a:gd name="T5" fmla="*/ 55797 h 169"/>
                  <a:gd name="T6" fmla="*/ 33997 w 332"/>
                  <a:gd name="T7" fmla="*/ 56314 h 169"/>
                  <a:gd name="T8" fmla="*/ 40022 w 332"/>
                  <a:gd name="T9" fmla="*/ 55280 h 169"/>
                  <a:gd name="T10" fmla="*/ 38731 w 332"/>
                  <a:gd name="T11" fmla="*/ 74396 h 169"/>
                  <a:gd name="T12" fmla="*/ 40883 w 332"/>
                  <a:gd name="T13" fmla="*/ 79562 h 169"/>
                  <a:gd name="T14" fmla="*/ 42604 w 332"/>
                  <a:gd name="T15" fmla="*/ 84212 h 169"/>
                  <a:gd name="T16" fmla="*/ 46047 w 332"/>
                  <a:gd name="T17" fmla="*/ 86795 h 169"/>
                  <a:gd name="T18" fmla="*/ 50351 w 332"/>
                  <a:gd name="T19" fmla="*/ 87312 h 169"/>
                  <a:gd name="T20" fmla="*/ 52933 w 332"/>
                  <a:gd name="T21" fmla="*/ 85762 h 169"/>
                  <a:gd name="T22" fmla="*/ 56806 w 332"/>
                  <a:gd name="T23" fmla="*/ 81112 h 169"/>
                  <a:gd name="T24" fmla="*/ 62831 w 332"/>
                  <a:gd name="T25" fmla="*/ 70263 h 169"/>
                  <a:gd name="T26" fmla="*/ 74880 w 332"/>
                  <a:gd name="T27" fmla="*/ 59413 h 169"/>
                  <a:gd name="T28" fmla="*/ 92094 w 332"/>
                  <a:gd name="T29" fmla="*/ 49597 h 169"/>
                  <a:gd name="T30" fmla="*/ 110169 w 332"/>
                  <a:gd name="T31" fmla="*/ 41331 h 169"/>
                  <a:gd name="T32" fmla="*/ 130825 w 332"/>
                  <a:gd name="T33" fmla="*/ 33582 h 169"/>
                  <a:gd name="T34" fmla="*/ 142875 w 332"/>
                  <a:gd name="T35" fmla="*/ 23765 h 169"/>
                  <a:gd name="T36" fmla="*/ 142875 w 332"/>
                  <a:gd name="T37" fmla="*/ 11366 h 169"/>
                  <a:gd name="T38" fmla="*/ 137711 w 332"/>
                  <a:gd name="T39" fmla="*/ 1033 h 169"/>
                  <a:gd name="T40" fmla="*/ 121788 w 332"/>
                  <a:gd name="T41" fmla="*/ 517 h 169"/>
                  <a:gd name="T42" fmla="*/ 100701 w 332"/>
                  <a:gd name="T43" fmla="*/ 0 h 169"/>
                  <a:gd name="T44" fmla="*/ 77462 w 332"/>
                  <a:gd name="T45" fmla="*/ 517 h 169"/>
                  <a:gd name="T46" fmla="*/ 56375 w 332"/>
                  <a:gd name="T47" fmla="*/ 2067 h 169"/>
                  <a:gd name="T48" fmla="*/ 38731 w 332"/>
                  <a:gd name="T49" fmla="*/ 5166 h 169"/>
                  <a:gd name="T50" fmla="*/ 25390 w 332"/>
                  <a:gd name="T51" fmla="*/ 9816 h 169"/>
                  <a:gd name="T52" fmla="*/ 18075 w 332"/>
                  <a:gd name="T53" fmla="*/ 11366 h 169"/>
                  <a:gd name="T54" fmla="*/ 15062 w 332"/>
                  <a:gd name="T55" fmla="*/ 11883 h 169"/>
                  <a:gd name="T56" fmla="*/ 14632 w 332"/>
                  <a:gd name="T57" fmla="*/ 13433 h 169"/>
                  <a:gd name="T58" fmla="*/ 14201 w 332"/>
                  <a:gd name="T59" fmla="*/ 19632 h 169"/>
                  <a:gd name="T60" fmla="*/ 12480 w 332"/>
                  <a:gd name="T61" fmla="*/ 22732 h 169"/>
                  <a:gd name="T62" fmla="*/ 9898 w 332"/>
                  <a:gd name="T63" fmla="*/ 23765 h 169"/>
                  <a:gd name="T64" fmla="*/ 8177 w 332"/>
                  <a:gd name="T65" fmla="*/ 28415 h 169"/>
                  <a:gd name="T66" fmla="*/ 4734 w 332"/>
                  <a:gd name="T67" fmla="*/ 37198 h 169"/>
                  <a:gd name="T68" fmla="*/ 3012 w 332"/>
                  <a:gd name="T69" fmla="*/ 42881 h 16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332" h="169">
                    <a:moveTo>
                      <a:pt x="7" y="83"/>
                    </a:moveTo>
                    <a:lnTo>
                      <a:pt x="0" y="77"/>
                    </a:lnTo>
                    <a:lnTo>
                      <a:pt x="23" y="91"/>
                    </a:lnTo>
                    <a:lnTo>
                      <a:pt x="44" y="101"/>
                    </a:lnTo>
                    <a:lnTo>
                      <a:pt x="55" y="105"/>
                    </a:lnTo>
                    <a:lnTo>
                      <a:pt x="66" y="108"/>
                    </a:lnTo>
                    <a:lnTo>
                      <a:pt x="73" y="109"/>
                    </a:lnTo>
                    <a:lnTo>
                      <a:pt x="79" y="109"/>
                    </a:lnTo>
                    <a:lnTo>
                      <a:pt x="86" y="108"/>
                    </a:lnTo>
                    <a:lnTo>
                      <a:pt x="93" y="107"/>
                    </a:lnTo>
                    <a:lnTo>
                      <a:pt x="86" y="139"/>
                    </a:lnTo>
                    <a:lnTo>
                      <a:pt x="90" y="144"/>
                    </a:lnTo>
                    <a:lnTo>
                      <a:pt x="94" y="149"/>
                    </a:lnTo>
                    <a:lnTo>
                      <a:pt x="95" y="154"/>
                    </a:lnTo>
                    <a:lnTo>
                      <a:pt x="97" y="158"/>
                    </a:lnTo>
                    <a:lnTo>
                      <a:pt x="99" y="163"/>
                    </a:lnTo>
                    <a:lnTo>
                      <a:pt x="102" y="166"/>
                    </a:lnTo>
                    <a:lnTo>
                      <a:pt x="107" y="168"/>
                    </a:lnTo>
                    <a:lnTo>
                      <a:pt x="113" y="169"/>
                    </a:lnTo>
                    <a:lnTo>
                      <a:pt x="117" y="169"/>
                    </a:lnTo>
                    <a:lnTo>
                      <a:pt x="120" y="167"/>
                    </a:lnTo>
                    <a:lnTo>
                      <a:pt x="123" y="166"/>
                    </a:lnTo>
                    <a:lnTo>
                      <a:pt x="127" y="163"/>
                    </a:lnTo>
                    <a:lnTo>
                      <a:pt x="132" y="157"/>
                    </a:lnTo>
                    <a:lnTo>
                      <a:pt x="138" y="150"/>
                    </a:lnTo>
                    <a:lnTo>
                      <a:pt x="146" y="136"/>
                    </a:lnTo>
                    <a:lnTo>
                      <a:pt x="153" y="127"/>
                    </a:lnTo>
                    <a:lnTo>
                      <a:pt x="174" y="115"/>
                    </a:lnTo>
                    <a:lnTo>
                      <a:pt x="195" y="105"/>
                    </a:lnTo>
                    <a:lnTo>
                      <a:pt x="214" y="96"/>
                    </a:lnTo>
                    <a:lnTo>
                      <a:pt x="235" y="88"/>
                    </a:lnTo>
                    <a:lnTo>
                      <a:pt x="256" y="80"/>
                    </a:lnTo>
                    <a:lnTo>
                      <a:pt x="279" y="73"/>
                    </a:lnTo>
                    <a:lnTo>
                      <a:pt x="304" y="65"/>
                    </a:lnTo>
                    <a:lnTo>
                      <a:pt x="332" y="58"/>
                    </a:lnTo>
                    <a:lnTo>
                      <a:pt x="332" y="46"/>
                    </a:lnTo>
                    <a:lnTo>
                      <a:pt x="332" y="35"/>
                    </a:lnTo>
                    <a:lnTo>
                      <a:pt x="332" y="22"/>
                    </a:lnTo>
                    <a:lnTo>
                      <a:pt x="332" y="3"/>
                    </a:lnTo>
                    <a:lnTo>
                      <a:pt x="320" y="2"/>
                    </a:lnTo>
                    <a:lnTo>
                      <a:pt x="303" y="2"/>
                    </a:lnTo>
                    <a:lnTo>
                      <a:pt x="283" y="1"/>
                    </a:lnTo>
                    <a:lnTo>
                      <a:pt x="259" y="0"/>
                    </a:lnTo>
                    <a:lnTo>
                      <a:pt x="234" y="0"/>
                    </a:lnTo>
                    <a:lnTo>
                      <a:pt x="208" y="0"/>
                    </a:lnTo>
                    <a:lnTo>
                      <a:pt x="180" y="1"/>
                    </a:lnTo>
                    <a:lnTo>
                      <a:pt x="153" y="3"/>
                    </a:lnTo>
                    <a:lnTo>
                      <a:pt x="131" y="4"/>
                    </a:lnTo>
                    <a:lnTo>
                      <a:pt x="110" y="6"/>
                    </a:lnTo>
                    <a:lnTo>
                      <a:pt x="90" y="10"/>
                    </a:lnTo>
                    <a:lnTo>
                      <a:pt x="73" y="15"/>
                    </a:lnTo>
                    <a:lnTo>
                      <a:pt x="59" y="19"/>
                    </a:lnTo>
                    <a:lnTo>
                      <a:pt x="46" y="22"/>
                    </a:lnTo>
                    <a:lnTo>
                      <a:pt x="42" y="22"/>
                    </a:lnTo>
                    <a:lnTo>
                      <a:pt x="38" y="23"/>
                    </a:lnTo>
                    <a:lnTo>
                      <a:pt x="35" y="23"/>
                    </a:lnTo>
                    <a:lnTo>
                      <a:pt x="33" y="22"/>
                    </a:lnTo>
                    <a:lnTo>
                      <a:pt x="34" y="26"/>
                    </a:lnTo>
                    <a:lnTo>
                      <a:pt x="34" y="34"/>
                    </a:lnTo>
                    <a:lnTo>
                      <a:pt x="33" y="38"/>
                    </a:lnTo>
                    <a:lnTo>
                      <a:pt x="30" y="42"/>
                    </a:lnTo>
                    <a:lnTo>
                      <a:pt x="29" y="44"/>
                    </a:lnTo>
                    <a:lnTo>
                      <a:pt x="27" y="45"/>
                    </a:lnTo>
                    <a:lnTo>
                      <a:pt x="23" y="46"/>
                    </a:lnTo>
                    <a:lnTo>
                      <a:pt x="20" y="46"/>
                    </a:lnTo>
                    <a:lnTo>
                      <a:pt x="19" y="55"/>
                    </a:lnTo>
                    <a:lnTo>
                      <a:pt x="16" y="63"/>
                    </a:lnTo>
                    <a:lnTo>
                      <a:pt x="11" y="72"/>
                    </a:lnTo>
                    <a:lnTo>
                      <a:pt x="7" y="77"/>
                    </a:lnTo>
                    <a:lnTo>
                      <a:pt x="7" y="83"/>
                    </a:lnTo>
                  </a:path>
                </a:pathLst>
              </a:custGeom>
              <a:grpFill/>
              <a:ln w="9525" cap="flat" cmpd="sng">
                <a:solidFill>
                  <a:srgbClr val="FFFFFF"/>
                </a:solidFill>
                <a:prstDash val="solid"/>
                <a:round/>
                <a:headEnd type="none" w="med" len="med"/>
                <a:tailEnd type="none" w="med" len="med"/>
              </a:ln>
              <a:effectLst/>
            </p:spPr>
            <p:txBody>
              <a:bodyPr/>
              <a:lstStyle/>
              <a:p>
                <a:endParaRPr lang="en-GB" sz="1637"/>
              </a:p>
            </p:txBody>
          </p:sp>
          <p:sp>
            <p:nvSpPr>
              <p:cNvPr id="449" name="Freeform 222"/>
              <p:cNvSpPr>
                <a:spLocks/>
              </p:cNvSpPr>
              <p:nvPr>
                <p:custDataLst>
                  <p:tags r:id="rId293"/>
                </p:custDataLst>
              </p:nvPr>
            </p:nvSpPr>
            <p:spPr bwMode="auto">
              <a:xfrm>
                <a:off x="1514154" y="3467919"/>
                <a:ext cx="136905" cy="137905"/>
              </a:xfrm>
              <a:custGeom>
                <a:avLst/>
                <a:gdLst>
                  <a:gd name="T0" fmla="*/ 19294 w 286"/>
                  <a:gd name="T1" fmla="*/ 44734 h 235"/>
                  <a:gd name="T2" fmla="*/ 21487 w 286"/>
                  <a:gd name="T3" fmla="*/ 49936 h 235"/>
                  <a:gd name="T4" fmla="*/ 23241 w 286"/>
                  <a:gd name="T5" fmla="*/ 54617 h 235"/>
                  <a:gd name="T6" fmla="*/ 26749 w 286"/>
                  <a:gd name="T7" fmla="*/ 57218 h 235"/>
                  <a:gd name="T8" fmla="*/ 31134 w 286"/>
                  <a:gd name="T9" fmla="*/ 57738 h 235"/>
                  <a:gd name="T10" fmla="*/ 33765 w 286"/>
                  <a:gd name="T11" fmla="*/ 56177 h 235"/>
                  <a:gd name="T12" fmla="*/ 37711 w 286"/>
                  <a:gd name="T13" fmla="*/ 51496 h 235"/>
                  <a:gd name="T14" fmla="*/ 43850 w 286"/>
                  <a:gd name="T15" fmla="*/ 40573 h 235"/>
                  <a:gd name="T16" fmla="*/ 56128 w 286"/>
                  <a:gd name="T17" fmla="*/ 29649 h 235"/>
                  <a:gd name="T18" fmla="*/ 73669 w 286"/>
                  <a:gd name="T19" fmla="*/ 19766 h 235"/>
                  <a:gd name="T20" fmla="*/ 92086 w 286"/>
                  <a:gd name="T21" fmla="*/ 11444 h 235"/>
                  <a:gd name="T22" fmla="*/ 113134 w 286"/>
                  <a:gd name="T23" fmla="*/ 3641 h 235"/>
                  <a:gd name="T24" fmla="*/ 125412 w 286"/>
                  <a:gd name="T25" fmla="*/ 5722 h 235"/>
                  <a:gd name="T26" fmla="*/ 123658 w 286"/>
                  <a:gd name="T27" fmla="*/ 16645 h 235"/>
                  <a:gd name="T28" fmla="*/ 119273 w 286"/>
                  <a:gd name="T29" fmla="*/ 36411 h 235"/>
                  <a:gd name="T30" fmla="*/ 111380 w 286"/>
                  <a:gd name="T31" fmla="*/ 66581 h 235"/>
                  <a:gd name="T32" fmla="*/ 106995 w 286"/>
                  <a:gd name="T33" fmla="*/ 90508 h 235"/>
                  <a:gd name="T34" fmla="*/ 105241 w 286"/>
                  <a:gd name="T35" fmla="*/ 107153 h 235"/>
                  <a:gd name="T36" fmla="*/ 64022 w 286"/>
                  <a:gd name="T37" fmla="*/ 112355 h 235"/>
                  <a:gd name="T38" fmla="*/ 60513 w 286"/>
                  <a:gd name="T39" fmla="*/ 113395 h 235"/>
                  <a:gd name="T40" fmla="*/ 57882 w 286"/>
                  <a:gd name="T41" fmla="*/ 115996 h 235"/>
                  <a:gd name="T42" fmla="*/ 55690 w 286"/>
                  <a:gd name="T43" fmla="*/ 122238 h 235"/>
                  <a:gd name="T44" fmla="*/ 47797 w 286"/>
                  <a:gd name="T45" fmla="*/ 112875 h 235"/>
                  <a:gd name="T46" fmla="*/ 41219 w 286"/>
                  <a:gd name="T47" fmla="*/ 103512 h 235"/>
                  <a:gd name="T48" fmla="*/ 30257 w 286"/>
                  <a:gd name="T49" fmla="*/ 83226 h 235"/>
                  <a:gd name="T50" fmla="*/ 24118 w 286"/>
                  <a:gd name="T51" fmla="*/ 73863 h 235"/>
                  <a:gd name="T52" fmla="*/ 17979 w 286"/>
                  <a:gd name="T53" fmla="*/ 65020 h 235"/>
                  <a:gd name="T54" fmla="*/ 9647 w 286"/>
                  <a:gd name="T55" fmla="*/ 57218 h 235"/>
                  <a:gd name="T56" fmla="*/ 0 w 286"/>
                  <a:gd name="T57" fmla="*/ 51496 h 235"/>
                  <a:gd name="T58" fmla="*/ 5701 w 286"/>
                  <a:gd name="T59" fmla="*/ 50456 h 235"/>
                  <a:gd name="T60" fmla="*/ 11401 w 286"/>
                  <a:gd name="T61" fmla="*/ 47335 h 235"/>
                  <a:gd name="T62" fmla="*/ 17102 w 286"/>
                  <a:gd name="T63" fmla="*/ 43694 h 235"/>
                  <a:gd name="T64" fmla="*/ 20610 w 286"/>
                  <a:gd name="T65" fmla="*/ 39012 h 23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86" h="235">
                    <a:moveTo>
                      <a:pt x="40" y="81"/>
                    </a:moveTo>
                    <a:lnTo>
                      <a:pt x="44" y="86"/>
                    </a:lnTo>
                    <a:lnTo>
                      <a:pt x="48" y="91"/>
                    </a:lnTo>
                    <a:lnTo>
                      <a:pt x="49" y="96"/>
                    </a:lnTo>
                    <a:lnTo>
                      <a:pt x="51" y="100"/>
                    </a:lnTo>
                    <a:lnTo>
                      <a:pt x="53" y="105"/>
                    </a:lnTo>
                    <a:lnTo>
                      <a:pt x="56" y="108"/>
                    </a:lnTo>
                    <a:lnTo>
                      <a:pt x="61" y="110"/>
                    </a:lnTo>
                    <a:lnTo>
                      <a:pt x="67" y="111"/>
                    </a:lnTo>
                    <a:lnTo>
                      <a:pt x="71" y="111"/>
                    </a:lnTo>
                    <a:lnTo>
                      <a:pt x="74" y="109"/>
                    </a:lnTo>
                    <a:lnTo>
                      <a:pt x="77" y="108"/>
                    </a:lnTo>
                    <a:lnTo>
                      <a:pt x="81" y="105"/>
                    </a:lnTo>
                    <a:lnTo>
                      <a:pt x="86" y="99"/>
                    </a:lnTo>
                    <a:lnTo>
                      <a:pt x="92" y="92"/>
                    </a:lnTo>
                    <a:lnTo>
                      <a:pt x="100" y="78"/>
                    </a:lnTo>
                    <a:lnTo>
                      <a:pt x="107" y="69"/>
                    </a:lnTo>
                    <a:lnTo>
                      <a:pt x="128" y="57"/>
                    </a:lnTo>
                    <a:lnTo>
                      <a:pt x="149" y="47"/>
                    </a:lnTo>
                    <a:lnTo>
                      <a:pt x="168" y="38"/>
                    </a:lnTo>
                    <a:lnTo>
                      <a:pt x="189" y="30"/>
                    </a:lnTo>
                    <a:lnTo>
                      <a:pt x="210" y="22"/>
                    </a:lnTo>
                    <a:lnTo>
                      <a:pt x="233" y="15"/>
                    </a:lnTo>
                    <a:lnTo>
                      <a:pt x="258" y="7"/>
                    </a:lnTo>
                    <a:lnTo>
                      <a:pt x="286" y="0"/>
                    </a:lnTo>
                    <a:lnTo>
                      <a:pt x="286" y="11"/>
                    </a:lnTo>
                    <a:lnTo>
                      <a:pt x="284" y="21"/>
                    </a:lnTo>
                    <a:lnTo>
                      <a:pt x="282" y="32"/>
                    </a:lnTo>
                    <a:lnTo>
                      <a:pt x="279" y="44"/>
                    </a:lnTo>
                    <a:lnTo>
                      <a:pt x="272" y="70"/>
                    </a:lnTo>
                    <a:lnTo>
                      <a:pt x="263" y="97"/>
                    </a:lnTo>
                    <a:lnTo>
                      <a:pt x="254" y="128"/>
                    </a:lnTo>
                    <a:lnTo>
                      <a:pt x="246" y="158"/>
                    </a:lnTo>
                    <a:lnTo>
                      <a:pt x="244" y="174"/>
                    </a:lnTo>
                    <a:lnTo>
                      <a:pt x="242" y="190"/>
                    </a:lnTo>
                    <a:lnTo>
                      <a:pt x="240" y="206"/>
                    </a:lnTo>
                    <a:lnTo>
                      <a:pt x="240" y="222"/>
                    </a:lnTo>
                    <a:lnTo>
                      <a:pt x="146" y="216"/>
                    </a:lnTo>
                    <a:lnTo>
                      <a:pt x="142" y="216"/>
                    </a:lnTo>
                    <a:lnTo>
                      <a:pt x="138" y="218"/>
                    </a:lnTo>
                    <a:lnTo>
                      <a:pt x="134" y="220"/>
                    </a:lnTo>
                    <a:lnTo>
                      <a:pt x="132" y="223"/>
                    </a:lnTo>
                    <a:lnTo>
                      <a:pt x="128" y="229"/>
                    </a:lnTo>
                    <a:lnTo>
                      <a:pt x="127" y="235"/>
                    </a:lnTo>
                    <a:lnTo>
                      <a:pt x="117" y="226"/>
                    </a:lnTo>
                    <a:lnTo>
                      <a:pt x="109" y="217"/>
                    </a:lnTo>
                    <a:lnTo>
                      <a:pt x="101" y="208"/>
                    </a:lnTo>
                    <a:lnTo>
                      <a:pt x="94" y="199"/>
                    </a:lnTo>
                    <a:lnTo>
                      <a:pt x="81" y="180"/>
                    </a:lnTo>
                    <a:lnTo>
                      <a:pt x="69" y="160"/>
                    </a:lnTo>
                    <a:lnTo>
                      <a:pt x="62" y="150"/>
                    </a:lnTo>
                    <a:lnTo>
                      <a:pt x="55" y="142"/>
                    </a:lnTo>
                    <a:lnTo>
                      <a:pt x="49" y="133"/>
                    </a:lnTo>
                    <a:lnTo>
                      <a:pt x="41" y="125"/>
                    </a:lnTo>
                    <a:lnTo>
                      <a:pt x="32" y="117"/>
                    </a:lnTo>
                    <a:lnTo>
                      <a:pt x="22" y="110"/>
                    </a:lnTo>
                    <a:lnTo>
                      <a:pt x="13" y="104"/>
                    </a:lnTo>
                    <a:lnTo>
                      <a:pt x="0" y="99"/>
                    </a:lnTo>
                    <a:lnTo>
                      <a:pt x="6" y="98"/>
                    </a:lnTo>
                    <a:lnTo>
                      <a:pt x="13" y="97"/>
                    </a:lnTo>
                    <a:lnTo>
                      <a:pt x="19" y="94"/>
                    </a:lnTo>
                    <a:lnTo>
                      <a:pt x="26" y="91"/>
                    </a:lnTo>
                    <a:lnTo>
                      <a:pt x="32" y="88"/>
                    </a:lnTo>
                    <a:lnTo>
                      <a:pt x="39" y="84"/>
                    </a:lnTo>
                    <a:lnTo>
                      <a:pt x="43" y="79"/>
                    </a:lnTo>
                    <a:lnTo>
                      <a:pt x="47" y="75"/>
                    </a:lnTo>
                    <a:lnTo>
                      <a:pt x="40" y="81"/>
                    </a:lnTo>
                  </a:path>
                </a:pathLst>
              </a:custGeom>
              <a:grpFill/>
              <a:ln w="9525" cap="flat" cmpd="sng">
                <a:solidFill>
                  <a:srgbClr val="FFFFFF"/>
                </a:solidFill>
                <a:prstDash val="solid"/>
                <a:round/>
                <a:headEnd type="none" w="med" len="med"/>
                <a:tailEnd type="none" w="med" len="med"/>
              </a:ln>
              <a:effectLst/>
            </p:spPr>
            <p:txBody>
              <a:bodyPr/>
              <a:lstStyle/>
              <a:p>
                <a:endParaRPr lang="en-GB" sz="1637"/>
              </a:p>
            </p:txBody>
          </p:sp>
          <p:sp>
            <p:nvSpPr>
              <p:cNvPr id="450" name="Freeform 223"/>
              <p:cNvSpPr>
                <a:spLocks/>
              </p:cNvSpPr>
              <p:nvPr>
                <p:custDataLst>
                  <p:tags r:id="rId294"/>
                </p:custDataLst>
              </p:nvPr>
            </p:nvSpPr>
            <p:spPr bwMode="auto">
              <a:xfrm>
                <a:off x="1569609" y="3595078"/>
                <a:ext cx="91847" cy="112830"/>
              </a:xfrm>
              <a:custGeom>
                <a:avLst/>
                <a:gdLst>
                  <a:gd name="T0" fmla="*/ 77160 w 205"/>
                  <a:gd name="T1" fmla="*/ 96870 h 191"/>
                  <a:gd name="T2" fmla="*/ 71824 w 205"/>
                  <a:gd name="T3" fmla="*/ 96870 h 191"/>
                  <a:gd name="T4" fmla="*/ 64847 w 205"/>
                  <a:gd name="T5" fmla="*/ 96870 h 191"/>
                  <a:gd name="T6" fmla="*/ 59101 w 205"/>
                  <a:gd name="T7" fmla="*/ 94252 h 191"/>
                  <a:gd name="T8" fmla="*/ 55818 w 205"/>
                  <a:gd name="T9" fmla="*/ 90587 h 191"/>
                  <a:gd name="T10" fmla="*/ 52945 w 205"/>
                  <a:gd name="T11" fmla="*/ 85351 h 191"/>
                  <a:gd name="T12" fmla="*/ 49251 w 205"/>
                  <a:gd name="T13" fmla="*/ 76973 h 191"/>
                  <a:gd name="T14" fmla="*/ 45147 w 205"/>
                  <a:gd name="T15" fmla="*/ 68595 h 191"/>
                  <a:gd name="T16" fmla="*/ 40632 w 205"/>
                  <a:gd name="T17" fmla="*/ 63358 h 191"/>
                  <a:gd name="T18" fmla="*/ 38169 w 205"/>
                  <a:gd name="T19" fmla="*/ 65977 h 191"/>
                  <a:gd name="T20" fmla="*/ 36938 w 205"/>
                  <a:gd name="T21" fmla="*/ 70689 h 191"/>
                  <a:gd name="T22" fmla="*/ 34476 w 205"/>
                  <a:gd name="T23" fmla="*/ 68071 h 191"/>
                  <a:gd name="T24" fmla="*/ 29551 w 205"/>
                  <a:gd name="T25" fmla="*/ 59169 h 191"/>
                  <a:gd name="T26" fmla="*/ 22984 w 205"/>
                  <a:gd name="T27" fmla="*/ 45555 h 191"/>
                  <a:gd name="T28" fmla="*/ 16827 w 205"/>
                  <a:gd name="T29" fmla="*/ 35083 h 191"/>
                  <a:gd name="T30" fmla="*/ 12723 w 205"/>
                  <a:gd name="T31" fmla="*/ 30370 h 191"/>
                  <a:gd name="T32" fmla="*/ 10671 w 205"/>
                  <a:gd name="T33" fmla="*/ 31417 h 191"/>
                  <a:gd name="T34" fmla="*/ 11902 w 205"/>
                  <a:gd name="T35" fmla="*/ 36130 h 191"/>
                  <a:gd name="T36" fmla="*/ 13954 w 205"/>
                  <a:gd name="T37" fmla="*/ 40843 h 191"/>
                  <a:gd name="T38" fmla="*/ 16827 w 205"/>
                  <a:gd name="T39" fmla="*/ 43984 h 191"/>
                  <a:gd name="T40" fmla="*/ 18880 w 205"/>
                  <a:gd name="T41" fmla="*/ 54980 h 191"/>
                  <a:gd name="T42" fmla="*/ 5336 w 205"/>
                  <a:gd name="T43" fmla="*/ 51315 h 191"/>
                  <a:gd name="T44" fmla="*/ 1642 w 205"/>
                  <a:gd name="T45" fmla="*/ 43984 h 191"/>
                  <a:gd name="T46" fmla="*/ 0 w 205"/>
                  <a:gd name="T47" fmla="*/ 31417 h 191"/>
                  <a:gd name="T48" fmla="*/ 0 w 205"/>
                  <a:gd name="T49" fmla="*/ 19898 h 191"/>
                  <a:gd name="T50" fmla="*/ 1231 w 205"/>
                  <a:gd name="T51" fmla="*/ 14661 h 191"/>
                  <a:gd name="T52" fmla="*/ 3283 w 205"/>
                  <a:gd name="T53" fmla="*/ 11520 h 191"/>
                  <a:gd name="T54" fmla="*/ 5746 w 205"/>
                  <a:gd name="T55" fmla="*/ 6807 h 191"/>
                  <a:gd name="T56" fmla="*/ 8208 w 205"/>
                  <a:gd name="T57" fmla="*/ 2094 h 191"/>
                  <a:gd name="T58" fmla="*/ 11492 w 205"/>
                  <a:gd name="T59" fmla="*/ 0 h 191"/>
                  <a:gd name="T60" fmla="*/ 51713 w 205"/>
                  <a:gd name="T61" fmla="*/ 3142 h 191"/>
                  <a:gd name="T62" fmla="*/ 52124 w 205"/>
                  <a:gd name="T63" fmla="*/ 10996 h 191"/>
                  <a:gd name="T64" fmla="*/ 53355 w 205"/>
                  <a:gd name="T65" fmla="*/ 19374 h 191"/>
                  <a:gd name="T66" fmla="*/ 58691 w 205"/>
                  <a:gd name="T67" fmla="*/ 36654 h 191"/>
                  <a:gd name="T68" fmla="*/ 67720 w 205"/>
                  <a:gd name="T69" fmla="*/ 53410 h 191"/>
                  <a:gd name="T70" fmla="*/ 72645 w 205"/>
                  <a:gd name="T71" fmla="*/ 61264 h 191"/>
                  <a:gd name="T72" fmla="*/ 78801 w 205"/>
                  <a:gd name="T73" fmla="*/ 68071 h 191"/>
                  <a:gd name="T74" fmla="*/ 77570 w 205"/>
                  <a:gd name="T75" fmla="*/ 74878 h 191"/>
                  <a:gd name="T76" fmla="*/ 77570 w 205"/>
                  <a:gd name="T77" fmla="*/ 81685 h 191"/>
                  <a:gd name="T78" fmla="*/ 78801 w 205"/>
                  <a:gd name="T79" fmla="*/ 100012 h 191"/>
                  <a:gd name="T80" fmla="*/ 84137 w 205"/>
                  <a:gd name="T81" fmla="*/ 96870 h 19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05" h="191">
                    <a:moveTo>
                      <a:pt x="205" y="185"/>
                    </a:moveTo>
                    <a:lnTo>
                      <a:pt x="188" y="185"/>
                    </a:lnTo>
                    <a:lnTo>
                      <a:pt x="181" y="185"/>
                    </a:lnTo>
                    <a:lnTo>
                      <a:pt x="175" y="185"/>
                    </a:lnTo>
                    <a:lnTo>
                      <a:pt x="165" y="185"/>
                    </a:lnTo>
                    <a:lnTo>
                      <a:pt x="158" y="185"/>
                    </a:lnTo>
                    <a:lnTo>
                      <a:pt x="151" y="182"/>
                    </a:lnTo>
                    <a:lnTo>
                      <a:pt x="144" y="180"/>
                    </a:lnTo>
                    <a:lnTo>
                      <a:pt x="140" y="177"/>
                    </a:lnTo>
                    <a:lnTo>
                      <a:pt x="136" y="173"/>
                    </a:lnTo>
                    <a:lnTo>
                      <a:pt x="132" y="168"/>
                    </a:lnTo>
                    <a:lnTo>
                      <a:pt x="129" y="163"/>
                    </a:lnTo>
                    <a:lnTo>
                      <a:pt x="127" y="158"/>
                    </a:lnTo>
                    <a:lnTo>
                      <a:pt x="120" y="147"/>
                    </a:lnTo>
                    <a:lnTo>
                      <a:pt x="114" y="136"/>
                    </a:lnTo>
                    <a:lnTo>
                      <a:pt x="110" y="131"/>
                    </a:lnTo>
                    <a:lnTo>
                      <a:pt x="105" y="125"/>
                    </a:lnTo>
                    <a:lnTo>
                      <a:pt x="99" y="121"/>
                    </a:lnTo>
                    <a:lnTo>
                      <a:pt x="93" y="117"/>
                    </a:lnTo>
                    <a:lnTo>
                      <a:pt x="93" y="126"/>
                    </a:lnTo>
                    <a:lnTo>
                      <a:pt x="93" y="136"/>
                    </a:lnTo>
                    <a:lnTo>
                      <a:pt x="90" y="135"/>
                    </a:lnTo>
                    <a:lnTo>
                      <a:pt x="86" y="133"/>
                    </a:lnTo>
                    <a:lnTo>
                      <a:pt x="84" y="130"/>
                    </a:lnTo>
                    <a:lnTo>
                      <a:pt x="80" y="124"/>
                    </a:lnTo>
                    <a:lnTo>
                      <a:pt x="72" y="113"/>
                    </a:lnTo>
                    <a:lnTo>
                      <a:pt x="64" y="100"/>
                    </a:lnTo>
                    <a:lnTo>
                      <a:pt x="56" y="87"/>
                    </a:lnTo>
                    <a:lnTo>
                      <a:pt x="46" y="74"/>
                    </a:lnTo>
                    <a:lnTo>
                      <a:pt x="41" y="67"/>
                    </a:lnTo>
                    <a:lnTo>
                      <a:pt x="36" y="62"/>
                    </a:lnTo>
                    <a:lnTo>
                      <a:pt x="31" y="58"/>
                    </a:lnTo>
                    <a:lnTo>
                      <a:pt x="26" y="55"/>
                    </a:lnTo>
                    <a:lnTo>
                      <a:pt x="26" y="60"/>
                    </a:lnTo>
                    <a:lnTo>
                      <a:pt x="27" y="64"/>
                    </a:lnTo>
                    <a:lnTo>
                      <a:pt x="29" y="69"/>
                    </a:lnTo>
                    <a:lnTo>
                      <a:pt x="31" y="74"/>
                    </a:lnTo>
                    <a:lnTo>
                      <a:pt x="34" y="78"/>
                    </a:lnTo>
                    <a:lnTo>
                      <a:pt x="37" y="81"/>
                    </a:lnTo>
                    <a:lnTo>
                      <a:pt x="41" y="84"/>
                    </a:lnTo>
                    <a:lnTo>
                      <a:pt x="46" y="87"/>
                    </a:lnTo>
                    <a:lnTo>
                      <a:pt x="46" y="105"/>
                    </a:lnTo>
                    <a:lnTo>
                      <a:pt x="19" y="105"/>
                    </a:lnTo>
                    <a:lnTo>
                      <a:pt x="13" y="98"/>
                    </a:lnTo>
                    <a:lnTo>
                      <a:pt x="8" y="91"/>
                    </a:lnTo>
                    <a:lnTo>
                      <a:pt x="4" y="84"/>
                    </a:lnTo>
                    <a:lnTo>
                      <a:pt x="2" y="77"/>
                    </a:lnTo>
                    <a:lnTo>
                      <a:pt x="0" y="60"/>
                    </a:lnTo>
                    <a:lnTo>
                      <a:pt x="0" y="43"/>
                    </a:lnTo>
                    <a:lnTo>
                      <a:pt x="0" y="38"/>
                    </a:lnTo>
                    <a:lnTo>
                      <a:pt x="1" y="31"/>
                    </a:lnTo>
                    <a:lnTo>
                      <a:pt x="3" y="28"/>
                    </a:lnTo>
                    <a:lnTo>
                      <a:pt x="5" y="25"/>
                    </a:lnTo>
                    <a:lnTo>
                      <a:pt x="8" y="22"/>
                    </a:lnTo>
                    <a:lnTo>
                      <a:pt x="13" y="19"/>
                    </a:lnTo>
                    <a:lnTo>
                      <a:pt x="14" y="13"/>
                    </a:lnTo>
                    <a:lnTo>
                      <a:pt x="18" y="7"/>
                    </a:lnTo>
                    <a:lnTo>
                      <a:pt x="20" y="4"/>
                    </a:lnTo>
                    <a:lnTo>
                      <a:pt x="24" y="2"/>
                    </a:lnTo>
                    <a:lnTo>
                      <a:pt x="28" y="0"/>
                    </a:lnTo>
                    <a:lnTo>
                      <a:pt x="32" y="0"/>
                    </a:lnTo>
                    <a:lnTo>
                      <a:pt x="126" y="6"/>
                    </a:lnTo>
                    <a:lnTo>
                      <a:pt x="126" y="13"/>
                    </a:lnTo>
                    <a:lnTo>
                      <a:pt x="127" y="21"/>
                    </a:lnTo>
                    <a:lnTo>
                      <a:pt x="128" y="29"/>
                    </a:lnTo>
                    <a:lnTo>
                      <a:pt x="130" y="37"/>
                    </a:lnTo>
                    <a:lnTo>
                      <a:pt x="136" y="53"/>
                    </a:lnTo>
                    <a:lnTo>
                      <a:pt x="143" y="70"/>
                    </a:lnTo>
                    <a:lnTo>
                      <a:pt x="153" y="87"/>
                    </a:lnTo>
                    <a:lnTo>
                      <a:pt x="165" y="102"/>
                    </a:lnTo>
                    <a:lnTo>
                      <a:pt x="171" y="110"/>
                    </a:lnTo>
                    <a:lnTo>
                      <a:pt x="177" y="117"/>
                    </a:lnTo>
                    <a:lnTo>
                      <a:pt x="185" y="123"/>
                    </a:lnTo>
                    <a:lnTo>
                      <a:pt x="192" y="130"/>
                    </a:lnTo>
                    <a:lnTo>
                      <a:pt x="191" y="137"/>
                    </a:lnTo>
                    <a:lnTo>
                      <a:pt x="189" y="143"/>
                    </a:lnTo>
                    <a:lnTo>
                      <a:pt x="189" y="149"/>
                    </a:lnTo>
                    <a:lnTo>
                      <a:pt x="189" y="156"/>
                    </a:lnTo>
                    <a:lnTo>
                      <a:pt x="192" y="171"/>
                    </a:lnTo>
                    <a:lnTo>
                      <a:pt x="192" y="191"/>
                    </a:lnTo>
                    <a:lnTo>
                      <a:pt x="192" y="185"/>
                    </a:lnTo>
                    <a:lnTo>
                      <a:pt x="205" y="185"/>
                    </a:lnTo>
                  </a:path>
                </a:pathLst>
              </a:custGeom>
              <a:grpFill/>
              <a:ln w="9525" cap="flat" cmpd="sng">
                <a:solidFill>
                  <a:srgbClr val="FFFFFF"/>
                </a:solidFill>
                <a:prstDash val="solid"/>
                <a:round/>
                <a:headEnd type="none" w="med" len="med"/>
                <a:tailEnd type="none" w="med" len="med"/>
              </a:ln>
              <a:effectLst/>
            </p:spPr>
            <p:txBody>
              <a:bodyPr/>
              <a:lstStyle/>
              <a:p>
                <a:endParaRPr lang="en-GB" sz="1637"/>
              </a:p>
            </p:txBody>
          </p:sp>
          <p:sp>
            <p:nvSpPr>
              <p:cNvPr id="451" name="Freeform 224"/>
              <p:cNvSpPr>
                <a:spLocks/>
              </p:cNvSpPr>
              <p:nvPr>
                <p:custDataLst>
                  <p:tags r:id="rId295"/>
                </p:custDataLst>
              </p:nvPr>
            </p:nvSpPr>
            <p:spPr bwMode="auto">
              <a:xfrm>
                <a:off x="1657991" y="3655970"/>
                <a:ext cx="155968" cy="89548"/>
              </a:xfrm>
              <a:custGeom>
                <a:avLst/>
                <a:gdLst>
                  <a:gd name="T0" fmla="*/ 1303 w 329"/>
                  <a:gd name="T1" fmla="*/ 29894 h 154"/>
                  <a:gd name="T2" fmla="*/ 0 w 329"/>
                  <a:gd name="T3" fmla="*/ 21648 h 154"/>
                  <a:gd name="T4" fmla="*/ 869 w 329"/>
                  <a:gd name="T5" fmla="*/ 15978 h 154"/>
                  <a:gd name="T6" fmla="*/ 7383 w 329"/>
                  <a:gd name="T7" fmla="*/ 17009 h 154"/>
                  <a:gd name="T8" fmla="*/ 15634 w 329"/>
                  <a:gd name="T9" fmla="*/ 21132 h 154"/>
                  <a:gd name="T10" fmla="*/ 21279 w 329"/>
                  <a:gd name="T11" fmla="*/ 22163 h 154"/>
                  <a:gd name="T12" fmla="*/ 29096 w 329"/>
                  <a:gd name="T13" fmla="*/ 22163 h 154"/>
                  <a:gd name="T14" fmla="*/ 37347 w 329"/>
                  <a:gd name="T15" fmla="*/ 20101 h 154"/>
                  <a:gd name="T16" fmla="*/ 47770 w 329"/>
                  <a:gd name="T17" fmla="*/ 15463 h 154"/>
                  <a:gd name="T18" fmla="*/ 60798 w 329"/>
                  <a:gd name="T19" fmla="*/ 6700 h 154"/>
                  <a:gd name="T20" fmla="*/ 70352 w 329"/>
                  <a:gd name="T21" fmla="*/ 2062 h 154"/>
                  <a:gd name="T22" fmla="*/ 77734 w 329"/>
                  <a:gd name="T23" fmla="*/ 0 h 154"/>
                  <a:gd name="T24" fmla="*/ 88157 w 329"/>
                  <a:gd name="T25" fmla="*/ 0 h 154"/>
                  <a:gd name="T26" fmla="*/ 97277 w 329"/>
                  <a:gd name="T27" fmla="*/ 3093 h 154"/>
                  <a:gd name="T28" fmla="*/ 105528 w 329"/>
                  <a:gd name="T29" fmla="*/ 7731 h 154"/>
                  <a:gd name="T30" fmla="*/ 112476 w 329"/>
                  <a:gd name="T31" fmla="*/ 14432 h 154"/>
                  <a:gd name="T32" fmla="*/ 121596 w 329"/>
                  <a:gd name="T33" fmla="*/ 23709 h 154"/>
                  <a:gd name="T34" fmla="*/ 131150 w 329"/>
                  <a:gd name="T35" fmla="*/ 31441 h 154"/>
                  <a:gd name="T36" fmla="*/ 138532 w 329"/>
                  <a:gd name="T37" fmla="*/ 34533 h 154"/>
                  <a:gd name="T38" fmla="*/ 135927 w 329"/>
                  <a:gd name="T39" fmla="*/ 42265 h 154"/>
                  <a:gd name="T40" fmla="*/ 127241 w 329"/>
                  <a:gd name="T41" fmla="*/ 54635 h 154"/>
                  <a:gd name="T42" fmla="*/ 120293 w 329"/>
                  <a:gd name="T43" fmla="*/ 71128 h 154"/>
                  <a:gd name="T44" fmla="*/ 115082 w 329"/>
                  <a:gd name="T45" fmla="*/ 78860 h 154"/>
                  <a:gd name="T46" fmla="*/ 109870 w 329"/>
                  <a:gd name="T47" fmla="*/ 75252 h 154"/>
                  <a:gd name="T48" fmla="*/ 104225 w 329"/>
                  <a:gd name="T49" fmla="*/ 70097 h 154"/>
                  <a:gd name="T50" fmla="*/ 99882 w 329"/>
                  <a:gd name="T51" fmla="*/ 64943 h 154"/>
                  <a:gd name="T52" fmla="*/ 99882 w 329"/>
                  <a:gd name="T53" fmla="*/ 58758 h 154"/>
                  <a:gd name="T54" fmla="*/ 102054 w 329"/>
                  <a:gd name="T55" fmla="*/ 51542 h 154"/>
                  <a:gd name="T56" fmla="*/ 108133 w 329"/>
                  <a:gd name="T57" fmla="*/ 44326 h 154"/>
                  <a:gd name="T58" fmla="*/ 101185 w 329"/>
                  <a:gd name="T59" fmla="*/ 35049 h 154"/>
                  <a:gd name="T60" fmla="*/ 89894 w 329"/>
                  <a:gd name="T61" fmla="*/ 28348 h 154"/>
                  <a:gd name="T62" fmla="*/ 84683 w 329"/>
                  <a:gd name="T63" fmla="*/ 21132 h 154"/>
                  <a:gd name="T64" fmla="*/ 77734 w 329"/>
                  <a:gd name="T65" fmla="*/ 17524 h 154"/>
                  <a:gd name="T66" fmla="*/ 70786 w 329"/>
                  <a:gd name="T67" fmla="*/ 21132 h 154"/>
                  <a:gd name="T68" fmla="*/ 65141 w 329"/>
                  <a:gd name="T69" fmla="*/ 25771 h 154"/>
                  <a:gd name="T70" fmla="*/ 60798 w 329"/>
                  <a:gd name="T71" fmla="*/ 31441 h 154"/>
                  <a:gd name="T72" fmla="*/ 57324 w 329"/>
                  <a:gd name="T73" fmla="*/ 38141 h 154"/>
                  <a:gd name="T74" fmla="*/ 55587 w 329"/>
                  <a:gd name="T75" fmla="*/ 45357 h 154"/>
                  <a:gd name="T76" fmla="*/ 53415 w 329"/>
                  <a:gd name="T77" fmla="*/ 56181 h 154"/>
                  <a:gd name="T78" fmla="*/ 52981 w 329"/>
                  <a:gd name="T79" fmla="*/ 64428 h 154"/>
                  <a:gd name="T80" fmla="*/ 51244 w 329"/>
                  <a:gd name="T81" fmla="*/ 66489 h 154"/>
                  <a:gd name="T82" fmla="*/ 46901 w 329"/>
                  <a:gd name="T83" fmla="*/ 69582 h 154"/>
                  <a:gd name="T84" fmla="*/ 41690 w 329"/>
                  <a:gd name="T85" fmla="*/ 69582 h 154"/>
                  <a:gd name="T86" fmla="*/ 36044 w 329"/>
                  <a:gd name="T87" fmla="*/ 66489 h 154"/>
                  <a:gd name="T88" fmla="*/ 28662 w 329"/>
                  <a:gd name="T89" fmla="*/ 59789 h 154"/>
                  <a:gd name="T90" fmla="*/ 20845 w 329"/>
                  <a:gd name="T91" fmla="*/ 48450 h 154"/>
                  <a:gd name="T92" fmla="*/ 14331 w 329"/>
                  <a:gd name="T93" fmla="*/ 41234 h 154"/>
                  <a:gd name="T94" fmla="*/ 9554 w 329"/>
                  <a:gd name="T95" fmla="*/ 38141 h 154"/>
                  <a:gd name="T96" fmla="*/ 1303 w 329"/>
                  <a:gd name="T97" fmla="*/ 37626 h 15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329" h="154">
                    <a:moveTo>
                      <a:pt x="3" y="73"/>
                    </a:moveTo>
                    <a:lnTo>
                      <a:pt x="3" y="58"/>
                    </a:lnTo>
                    <a:lnTo>
                      <a:pt x="0" y="47"/>
                    </a:lnTo>
                    <a:lnTo>
                      <a:pt x="0" y="42"/>
                    </a:lnTo>
                    <a:lnTo>
                      <a:pt x="0" y="37"/>
                    </a:lnTo>
                    <a:lnTo>
                      <a:pt x="2" y="31"/>
                    </a:lnTo>
                    <a:lnTo>
                      <a:pt x="3" y="25"/>
                    </a:lnTo>
                    <a:lnTo>
                      <a:pt x="17" y="33"/>
                    </a:lnTo>
                    <a:lnTo>
                      <a:pt x="30" y="39"/>
                    </a:lnTo>
                    <a:lnTo>
                      <a:pt x="36" y="41"/>
                    </a:lnTo>
                    <a:lnTo>
                      <a:pt x="42" y="42"/>
                    </a:lnTo>
                    <a:lnTo>
                      <a:pt x="49" y="43"/>
                    </a:lnTo>
                    <a:lnTo>
                      <a:pt x="56" y="43"/>
                    </a:lnTo>
                    <a:lnTo>
                      <a:pt x="67" y="43"/>
                    </a:lnTo>
                    <a:lnTo>
                      <a:pt x="77" y="41"/>
                    </a:lnTo>
                    <a:lnTo>
                      <a:pt x="86" y="39"/>
                    </a:lnTo>
                    <a:lnTo>
                      <a:pt x="95" y="36"/>
                    </a:lnTo>
                    <a:lnTo>
                      <a:pt x="110" y="30"/>
                    </a:lnTo>
                    <a:lnTo>
                      <a:pt x="126" y="21"/>
                    </a:lnTo>
                    <a:lnTo>
                      <a:pt x="140" y="13"/>
                    </a:lnTo>
                    <a:lnTo>
                      <a:pt x="154" y="6"/>
                    </a:lnTo>
                    <a:lnTo>
                      <a:pt x="162" y="4"/>
                    </a:lnTo>
                    <a:lnTo>
                      <a:pt x="171" y="2"/>
                    </a:lnTo>
                    <a:lnTo>
                      <a:pt x="179" y="0"/>
                    </a:lnTo>
                    <a:lnTo>
                      <a:pt x="189" y="0"/>
                    </a:lnTo>
                    <a:lnTo>
                      <a:pt x="203" y="0"/>
                    </a:lnTo>
                    <a:lnTo>
                      <a:pt x="214" y="3"/>
                    </a:lnTo>
                    <a:lnTo>
                      <a:pt x="224" y="6"/>
                    </a:lnTo>
                    <a:lnTo>
                      <a:pt x="234" y="10"/>
                    </a:lnTo>
                    <a:lnTo>
                      <a:pt x="243" y="15"/>
                    </a:lnTo>
                    <a:lnTo>
                      <a:pt x="251" y="21"/>
                    </a:lnTo>
                    <a:lnTo>
                      <a:pt x="259" y="28"/>
                    </a:lnTo>
                    <a:lnTo>
                      <a:pt x="266" y="34"/>
                    </a:lnTo>
                    <a:lnTo>
                      <a:pt x="280" y="46"/>
                    </a:lnTo>
                    <a:lnTo>
                      <a:pt x="295" y="57"/>
                    </a:lnTo>
                    <a:lnTo>
                      <a:pt x="302" y="61"/>
                    </a:lnTo>
                    <a:lnTo>
                      <a:pt x="310" y="64"/>
                    </a:lnTo>
                    <a:lnTo>
                      <a:pt x="319" y="67"/>
                    </a:lnTo>
                    <a:lnTo>
                      <a:pt x="329" y="67"/>
                    </a:lnTo>
                    <a:lnTo>
                      <a:pt x="313" y="82"/>
                    </a:lnTo>
                    <a:lnTo>
                      <a:pt x="301" y="94"/>
                    </a:lnTo>
                    <a:lnTo>
                      <a:pt x="293" y="106"/>
                    </a:lnTo>
                    <a:lnTo>
                      <a:pt x="286" y="117"/>
                    </a:lnTo>
                    <a:lnTo>
                      <a:pt x="277" y="138"/>
                    </a:lnTo>
                    <a:lnTo>
                      <a:pt x="268" y="154"/>
                    </a:lnTo>
                    <a:lnTo>
                      <a:pt x="265" y="153"/>
                    </a:lnTo>
                    <a:lnTo>
                      <a:pt x="260" y="150"/>
                    </a:lnTo>
                    <a:lnTo>
                      <a:pt x="253" y="146"/>
                    </a:lnTo>
                    <a:lnTo>
                      <a:pt x="246" y="141"/>
                    </a:lnTo>
                    <a:lnTo>
                      <a:pt x="240" y="136"/>
                    </a:lnTo>
                    <a:lnTo>
                      <a:pt x="234" y="130"/>
                    </a:lnTo>
                    <a:lnTo>
                      <a:pt x="230" y="126"/>
                    </a:lnTo>
                    <a:lnTo>
                      <a:pt x="229" y="123"/>
                    </a:lnTo>
                    <a:lnTo>
                      <a:pt x="230" y="114"/>
                    </a:lnTo>
                    <a:lnTo>
                      <a:pt x="232" y="107"/>
                    </a:lnTo>
                    <a:lnTo>
                      <a:pt x="235" y="100"/>
                    </a:lnTo>
                    <a:lnTo>
                      <a:pt x="240" y="95"/>
                    </a:lnTo>
                    <a:lnTo>
                      <a:pt x="249" y="86"/>
                    </a:lnTo>
                    <a:lnTo>
                      <a:pt x="255" y="80"/>
                    </a:lnTo>
                    <a:lnTo>
                      <a:pt x="233" y="68"/>
                    </a:lnTo>
                    <a:lnTo>
                      <a:pt x="215" y="60"/>
                    </a:lnTo>
                    <a:lnTo>
                      <a:pt x="207" y="55"/>
                    </a:lnTo>
                    <a:lnTo>
                      <a:pt x="200" y="49"/>
                    </a:lnTo>
                    <a:lnTo>
                      <a:pt x="195" y="41"/>
                    </a:lnTo>
                    <a:lnTo>
                      <a:pt x="189" y="31"/>
                    </a:lnTo>
                    <a:lnTo>
                      <a:pt x="179" y="34"/>
                    </a:lnTo>
                    <a:lnTo>
                      <a:pt x="171" y="37"/>
                    </a:lnTo>
                    <a:lnTo>
                      <a:pt x="163" y="41"/>
                    </a:lnTo>
                    <a:lnTo>
                      <a:pt x="156" y="45"/>
                    </a:lnTo>
                    <a:lnTo>
                      <a:pt x="150" y="50"/>
                    </a:lnTo>
                    <a:lnTo>
                      <a:pt x="144" y="55"/>
                    </a:lnTo>
                    <a:lnTo>
                      <a:pt x="140" y="61"/>
                    </a:lnTo>
                    <a:lnTo>
                      <a:pt x="136" y="67"/>
                    </a:lnTo>
                    <a:lnTo>
                      <a:pt x="132" y="74"/>
                    </a:lnTo>
                    <a:lnTo>
                      <a:pt x="130" y="81"/>
                    </a:lnTo>
                    <a:lnTo>
                      <a:pt x="128" y="88"/>
                    </a:lnTo>
                    <a:lnTo>
                      <a:pt x="126" y="95"/>
                    </a:lnTo>
                    <a:lnTo>
                      <a:pt x="123" y="109"/>
                    </a:lnTo>
                    <a:lnTo>
                      <a:pt x="122" y="123"/>
                    </a:lnTo>
                    <a:lnTo>
                      <a:pt x="122" y="125"/>
                    </a:lnTo>
                    <a:lnTo>
                      <a:pt x="120" y="127"/>
                    </a:lnTo>
                    <a:lnTo>
                      <a:pt x="118" y="129"/>
                    </a:lnTo>
                    <a:lnTo>
                      <a:pt x="115" y="131"/>
                    </a:lnTo>
                    <a:lnTo>
                      <a:pt x="108" y="135"/>
                    </a:lnTo>
                    <a:lnTo>
                      <a:pt x="103" y="136"/>
                    </a:lnTo>
                    <a:lnTo>
                      <a:pt x="96" y="135"/>
                    </a:lnTo>
                    <a:lnTo>
                      <a:pt x="89" y="132"/>
                    </a:lnTo>
                    <a:lnTo>
                      <a:pt x="83" y="129"/>
                    </a:lnTo>
                    <a:lnTo>
                      <a:pt x="77" y="125"/>
                    </a:lnTo>
                    <a:lnTo>
                      <a:pt x="66" y="116"/>
                    </a:lnTo>
                    <a:lnTo>
                      <a:pt x="58" y="105"/>
                    </a:lnTo>
                    <a:lnTo>
                      <a:pt x="48" y="94"/>
                    </a:lnTo>
                    <a:lnTo>
                      <a:pt x="38" y="84"/>
                    </a:lnTo>
                    <a:lnTo>
                      <a:pt x="33" y="80"/>
                    </a:lnTo>
                    <a:lnTo>
                      <a:pt x="28" y="76"/>
                    </a:lnTo>
                    <a:lnTo>
                      <a:pt x="22" y="74"/>
                    </a:lnTo>
                    <a:lnTo>
                      <a:pt x="16" y="73"/>
                    </a:lnTo>
                    <a:lnTo>
                      <a:pt x="3" y="73"/>
                    </a:lnTo>
                  </a:path>
                </a:pathLst>
              </a:custGeom>
              <a:grpFill/>
              <a:ln w="9525" cap="flat" cmpd="sng">
                <a:solidFill>
                  <a:srgbClr val="FFFFFF"/>
                </a:solidFill>
                <a:prstDash val="solid"/>
                <a:round/>
                <a:headEnd type="none" w="med" len="med"/>
                <a:tailEnd type="none" w="med" len="med"/>
              </a:ln>
              <a:effectLst/>
            </p:spPr>
            <p:txBody>
              <a:bodyPr/>
              <a:lstStyle/>
              <a:p>
                <a:endParaRPr lang="en-GB" sz="1637"/>
              </a:p>
            </p:txBody>
          </p:sp>
          <p:sp>
            <p:nvSpPr>
              <p:cNvPr id="452" name="Freeform 225"/>
              <p:cNvSpPr>
                <a:spLocks/>
              </p:cNvSpPr>
              <p:nvPr>
                <p:custDataLst>
                  <p:tags r:id="rId296"/>
                </p:custDataLst>
              </p:nvPr>
            </p:nvSpPr>
            <p:spPr bwMode="auto">
              <a:xfrm>
                <a:off x="2401439" y="5070833"/>
                <a:ext cx="145570" cy="175515"/>
              </a:xfrm>
              <a:custGeom>
                <a:avLst/>
                <a:gdLst>
                  <a:gd name="T0" fmla="*/ 129428 w 306"/>
                  <a:gd name="T1" fmla="*/ 96106 h 293"/>
                  <a:gd name="T2" fmla="*/ 128992 w 306"/>
                  <a:gd name="T3" fmla="*/ 98230 h 293"/>
                  <a:gd name="T4" fmla="*/ 126813 w 306"/>
                  <a:gd name="T5" fmla="*/ 103009 h 293"/>
                  <a:gd name="T6" fmla="*/ 122891 w 306"/>
                  <a:gd name="T7" fmla="*/ 105664 h 293"/>
                  <a:gd name="T8" fmla="*/ 118533 w 306"/>
                  <a:gd name="T9" fmla="*/ 106726 h 293"/>
                  <a:gd name="T10" fmla="*/ 114611 w 306"/>
                  <a:gd name="T11" fmla="*/ 109911 h 293"/>
                  <a:gd name="T12" fmla="*/ 110253 w 306"/>
                  <a:gd name="T13" fmla="*/ 121593 h 293"/>
                  <a:gd name="T14" fmla="*/ 105460 w 306"/>
                  <a:gd name="T15" fmla="*/ 134867 h 293"/>
                  <a:gd name="T16" fmla="*/ 100666 w 306"/>
                  <a:gd name="T17" fmla="*/ 141770 h 293"/>
                  <a:gd name="T18" fmla="*/ 96308 w 306"/>
                  <a:gd name="T19" fmla="*/ 144956 h 293"/>
                  <a:gd name="T20" fmla="*/ 87157 w 306"/>
                  <a:gd name="T21" fmla="*/ 149203 h 293"/>
                  <a:gd name="T22" fmla="*/ 71469 w 306"/>
                  <a:gd name="T23" fmla="*/ 153982 h 293"/>
                  <a:gd name="T24" fmla="*/ 60574 w 306"/>
                  <a:gd name="T25" fmla="*/ 155575 h 293"/>
                  <a:gd name="T26" fmla="*/ 53601 w 306"/>
                  <a:gd name="T27" fmla="*/ 155575 h 293"/>
                  <a:gd name="T28" fmla="*/ 46193 w 306"/>
                  <a:gd name="T29" fmla="*/ 153982 h 293"/>
                  <a:gd name="T30" fmla="*/ 40092 w 306"/>
                  <a:gd name="T31" fmla="*/ 151858 h 293"/>
                  <a:gd name="T32" fmla="*/ 34863 w 306"/>
                  <a:gd name="T33" fmla="*/ 147610 h 293"/>
                  <a:gd name="T34" fmla="*/ 30941 w 306"/>
                  <a:gd name="T35" fmla="*/ 142301 h 293"/>
                  <a:gd name="T36" fmla="*/ 436 w 306"/>
                  <a:gd name="T37" fmla="*/ 125310 h 293"/>
                  <a:gd name="T38" fmla="*/ 0 w 306"/>
                  <a:gd name="T39" fmla="*/ 46726 h 293"/>
                  <a:gd name="T40" fmla="*/ 436 w 306"/>
                  <a:gd name="T41" fmla="*/ 26018 h 293"/>
                  <a:gd name="T42" fmla="*/ 1743 w 306"/>
                  <a:gd name="T43" fmla="*/ 18584 h 293"/>
                  <a:gd name="T44" fmla="*/ 4794 w 306"/>
                  <a:gd name="T45" fmla="*/ 11150 h 293"/>
                  <a:gd name="T46" fmla="*/ 8716 w 306"/>
                  <a:gd name="T47" fmla="*/ 4248 h 293"/>
                  <a:gd name="T48" fmla="*/ 17867 w 306"/>
                  <a:gd name="T49" fmla="*/ 1062 h 293"/>
                  <a:gd name="T50" fmla="*/ 23097 w 306"/>
                  <a:gd name="T51" fmla="*/ 0 h 293"/>
                  <a:gd name="T52" fmla="*/ 31376 w 306"/>
                  <a:gd name="T53" fmla="*/ 3186 h 293"/>
                  <a:gd name="T54" fmla="*/ 34863 w 306"/>
                  <a:gd name="T55" fmla="*/ 3717 h 293"/>
                  <a:gd name="T56" fmla="*/ 36606 w 306"/>
                  <a:gd name="T57" fmla="*/ 2124 h 293"/>
                  <a:gd name="T58" fmla="*/ 37913 w 306"/>
                  <a:gd name="T59" fmla="*/ 2655 h 293"/>
                  <a:gd name="T60" fmla="*/ 39221 w 306"/>
                  <a:gd name="T61" fmla="*/ 5841 h 293"/>
                  <a:gd name="T62" fmla="*/ 43143 w 306"/>
                  <a:gd name="T63" fmla="*/ 10088 h 293"/>
                  <a:gd name="T64" fmla="*/ 52730 w 306"/>
                  <a:gd name="T65" fmla="*/ 16460 h 293"/>
                  <a:gd name="T66" fmla="*/ 64496 w 306"/>
                  <a:gd name="T67" fmla="*/ 21770 h 293"/>
                  <a:gd name="T68" fmla="*/ 79313 w 306"/>
                  <a:gd name="T69" fmla="*/ 31327 h 293"/>
                  <a:gd name="T70" fmla="*/ 91515 w 306"/>
                  <a:gd name="T71" fmla="*/ 41947 h 293"/>
                  <a:gd name="T72" fmla="*/ 105024 w 306"/>
                  <a:gd name="T73" fmla="*/ 54159 h 293"/>
                  <a:gd name="T74" fmla="*/ 113740 w 306"/>
                  <a:gd name="T75" fmla="*/ 62124 h 293"/>
                  <a:gd name="T76" fmla="*/ 115919 w 306"/>
                  <a:gd name="T77" fmla="*/ 65841 h 293"/>
                  <a:gd name="T78" fmla="*/ 122020 w 306"/>
                  <a:gd name="T79" fmla="*/ 71681 h 293"/>
                  <a:gd name="T80" fmla="*/ 130300 w 306"/>
                  <a:gd name="T81" fmla="*/ 80177 h 293"/>
                  <a:gd name="T82" fmla="*/ 133350 w 306"/>
                  <a:gd name="T83" fmla="*/ 85487 h 293"/>
                  <a:gd name="T84" fmla="*/ 132478 w 306"/>
                  <a:gd name="T85" fmla="*/ 88141 h 29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306" h="293">
                    <a:moveTo>
                      <a:pt x="300" y="169"/>
                    </a:moveTo>
                    <a:lnTo>
                      <a:pt x="297" y="181"/>
                    </a:lnTo>
                    <a:lnTo>
                      <a:pt x="297" y="185"/>
                    </a:lnTo>
                    <a:lnTo>
                      <a:pt x="296" y="185"/>
                    </a:lnTo>
                    <a:lnTo>
                      <a:pt x="294" y="187"/>
                    </a:lnTo>
                    <a:lnTo>
                      <a:pt x="291" y="194"/>
                    </a:lnTo>
                    <a:lnTo>
                      <a:pt x="286" y="197"/>
                    </a:lnTo>
                    <a:lnTo>
                      <a:pt x="282" y="199"/>
                    </a:lnTo>
                    <a:lnTo>
                      <a:pt x="276" y="200"/>
                    </a:lnTo>
                    <a:lnTo>
                      <a:pt x="272" y="201"/>
                    </a:lnTo>
                    <a:lnTo>
                      <a:pt x="267" y="203"/>
                    </a:lnTo>
                    <a:lnTo>
                      <a:pt x="263" y="207"/>
                    </a:lnTo>
                    <a:lnTo>
                      <a:pt x="260" y="212"/>
                    </a:lnTo>
                    <a:lnTo>
                      <a:pt x="253" y="229"/>
                    </a:lnTo>
                    <a:lnTo>
                      <a:pt x="248" y="242"/>
                    </a:lnTo>
                    <a:lnTo>
                      <a:pt x="242" y="254"/>
                    </a:lnTo>
                    <a:lnTo>
                      <a:pt x="236" y="263"/>
                    </a:lnTo>
                    <a:lnTo>
                      <a:pt x="231" y="267"/>
                    </a:lnTo>
                    <a:lnTo>
                      <a:pt x="227" y="270"/>
                    </a:lnTo>
                    <a:lnTo>
                      <a:pt x="221" y="273"/>
                    </a:lnTo>
                    <a:lnTo>
                      <a:pt x="215" y="276"/>
                    </a:lnTo>
                    <a:lnTo>
                      <a:pt x="200" y="281"/>
                    </a:lnTo>
                    <a:lnTo>
                      <a:pt x="181" y="286"/>
                    </a:lnTo>
                    <a:lnTo>
                      <a:pt x="164" y="290"/>
                    </a:lnTo>
                    <a:lnTo>
                      <a:pt x="148" y="292"/>
                    </a:lnTo>
                    <a:lnTo>
                      <a:pt x="139" y="293"/>
                    </a:lnTo>
                    <a:lnTo>
                      <a:pt x="130" y="293"/>
                    </a:lnTo>
                    <a:lnTo>
                      <a:pt x="123" y="293"/>
                    </a:lnTo>
                    <a:lnTo>
                      <a:pt x="114" y="292"/>
                    </a:lnTo>
                    <a:lnTo>
                      <a:pt x="106" y="290"/>
                    </a:lnTo>
                    <a:lnTo>
                      <a:pt x="98" y="288"/>
                    </a:lnTo>
                    <a:lnTo>
                      <a:pt x="92" y="286"/>
                    </a:lnTo>
                    <a:lnTo>
                      <a:pt x="85" y="282"/>
                    </a:lnTo>
                    <a:lnTo>
                      <a:pt x="80" y="278"/>
                    </a:lnTo>
                    <a:lnTo>
                      <a:pt x="74" y="274"/>
                    </a:lnTo>
                    <a:lnTo>
                      <a:pt x="71" y="268"/>
                    </a:lnTo>
                    <a:lnTo>
                      <a:pt x="68" y="262"/>
                    </a:lnTo>
                    <a:lnTo>
                      <a:pt x="1" y="236"/>
                    </a:lnTo>
                    <a:lnTo>
                      <a:pt x="1" y="119"/>
                    </a:lnTo>
                    <a:lnTo>
                      <a:pt x="0" y="88"/>
                    </a:lnTo>
                    <a:lnTo>
                      <a:pt x="0" y="56"/>
                    </a:lnTo>
                    <a:lnTo>
                      <a:pt x="1" y="49"/>
                    </a:lnTo>
                    <a:lnTo>
                      <a:pt x="2" y="42"/>
                    </a:lnTo>
                    <a:lnTo>
                      <a:pt x="4" y="35"/>
                    </a:lnTo>
                    <a:lnTo>
                      <a:pt x="6" y="28"/>
                    </a:lnTo>
                    <a:lnTo>
                      <a:pt x="11" y="21"/>
                    </a:lnTo>
                    <a:lnTo>
                      <a:pt x="15" y="14"/>
                    </a:lnTo>
                    <a:lnTo>
                      <a:pt x="20" y="8"/>
                    </a:lnTo>
                    <a:lnTo>
                      <a:pt x="28" y="2"/>
                    </a:lnTo>
                    <a:lnTo>
                      <a:pt x="41" y="2"/>
                    </a:lnTo>
                    <a:lnTo>
                      <a:pt x="48" y="0"/>
                    </a:lnTo>
                    <a:lnTo>
                      <a:pt x="53" y="0"/>
                    </a:lnTo>
                    <a:lnTo>
                      <a:pt x="68" y="2"/>
                    </a:lnTo>
                    <a:lnTo>
                      <a:pt x="72" y="6"/>
                    </a:lnTo>
                    <a:lnTo>
                      <a:pt x="76" y="7"/>
                    </a:lnTo>
                    <a:lnTo>
                      <a:pt x="80" y="7"/>
                    </a:lnTo>
                    <a:lnTo>
                      <a:pt x="82" y="6"/>
                    </a:lnTo>
                    <a:lnTo>
                      <a:pt x="84" y="4"/>
                    </a:lnTo>
                    <a:lnTo>
                      <a:pt x="86" y="4"/>
                    </a:lnTo>
                    <a:lnTo>
                      <a:pt x="87" y="5"/>
                    </a:lnTo>
                    <a:lnTo>
                      <a:pt x="87" y="9"/>
                    </a:lnTo>
                    <a:lnTo>
                      <a:pt x="90" y="11"/>
                    </a:lnTo>
                    <a:lnTo>
                      <a:pt x="94" y="15"/>
                    </a:lnTo>
                    <a:lnTo>
                      <a:pt x="99" y="19"/>
                    </a:lnTo>
                    <a:lnTo>
                      <a:pt x="107" y="23"/>
                    </a:lnTo>
                    <a:lnTo>
                      <a:pt x="121" y="31"/>
                    </a:lnTo>
                    <a:lnTo>
                      <a:pt x="127" y="34"/>
                    </a:lnTo>
                    <a:lnTo>
                      <a:pt x="148" y="41"/>
                    </a:lnTo>
                    <a:lnTo>
                      <a:pt x="165" y="49"/>
                    </a:lnTo>
                    <a:lnTo>
                      <a:pt x="182" y="59"/>
                    </a:lnTo>
                    <a:lnTo>
                      <a:pt x="196" y="69"/>
                    </a:lnTo>
                    <a:lnTo>
                      <a:pt x="210" y="79"/>
                    </a:lnTo>
                    <a:lnTo>
                      <a:pt x="226" y="91"/>
                    </a:lnTo>
                    <a:lnTo>
                      <a:pt x="241" y="102"/>
                    </a:lnTo>
                    <a:lnTo>
                      <a:pt x="260" y="113"/>
                    </a:lnTo>
                    <a:lnTo>
                      <a:pt x="261" y="117"/>
                    </a:lnTo>
                    <a:lnTo>
                      <a:pt x="263" y="120"/>
                    </a:lnTo>
                    <a:lnTo>
                      <a:pt x="266" y="124"/>
                    </a:lnTo>
                    <a:lnTo>
                      <a:pt x="270" y="128"/>
                    </a:lnTo>
                    <a:lnTo>
                      <a:pt x="280" y="135"/>
                    </a:lnTo>
                    <a:lnTo>
                      <a:pt x="291" y="144"/>
                    </a:lnTo>
                    <a:lnTo>
                      <a:pt x="299" y="151"/>
                    </a:lnTo>
                    <a:lnTo>
                      <a:pt x="305" y="158"/>
                    </a:lnTo>
                    <a:lnTo>
                      <a:pt x="306" y="161"/>
                    </a:lnTo>
                    <a:lnTo>
                      <a:pt x="306" y="164"/>
                    </a:lnTo>
                    <a:lnTo>
                      <a:pt x="304" y="166"/>
                    </a:lnTo>
                    <a:lnTo>
                      <a:pt x="300" y="169"/>
                    </a:lnTo>
                  </a:path>
                </a:pathLst>
              </a:custGeom>
              <a:grpFill/>
              <a:ln w="9525" cap="flat" cmpd="sng">
                <a:solidFill>
                  <a:srgbClr val="FFFFFF"/>
                </a:solidFill>
                <a:prstDash val="solid"/>
                <a:round/>
                <a:headEnd type="none" w="med" len="med"/>
                <a:tailEnd type="none" w="med" len="med"/>
              </a:ln>
              <a:effectLst/>
            </p:spPr>
            <p:txBody>
              <a:bodyPr/>
              <a:lstStyle/>
              <a:p>
                <a:endParaRPr lang="en-GB" sz="1637"/>
              </a:p>
            </p:txBody>
          </p:sp>
          <p:sp>
            <p:nvSpPr>
              <p:cNvPr id="453" name="Line 359"/>
              <p:cNvSpPr>
                <a:spLocks noChangeShapeType="1"/>
              </p:cNvSpPr>
              <p:nvPr>
                <p:custDataLst>
                  <p:tags r:id="rId297"/>
                </p:custDataLst>
              </p:nvPr>
            </p:nvSpPr>
            <p:spPr bwMode="auto">
              <a:xfrm flipH="1">
                <a:off x="1394578" y="4012372"/>
                <a:ext cx="5199" cy="8955"/>
              </a:xfrm>
              <a:prstGeom prst="line">
                <a:avLst/>
              </a:prstGeom>
              <a:grpFill/>
              <a:ln w="9525">
                <a:solidFill>
                  <a:srgbClr val="FFFFFF"/>
                </a:solidFill>
                <a:round/>
                <a:headEnd/>
                <a:tailEnd/>
              </a:ln>
            </p:spPr>
            <p:txBody>
              <a:bodyPr/>
              <a:lstStyle/>
              <a:p>
                <a:endParaRPr lang="en-GB" sz="1637"/>
              </a:p>
            </p:txBody>
          </p:sp>
          <p:sp>
            <p:nvSpPr>
              <p:cNvPr id="454" name="Freeform 360"/>
              <p:cNvSpPr>
                <a:spLocks/>
              </p:cNvSpPr>
              <p:nvPr>
                <p:custDataLst>
                  <p:tags r:id="rId298"/>
                </p:custDataLst>
              </p:nvPr>
            </p:nvSpPr>
            <p:spPr bwMode="auto">
              <a:xfrm>
                <a:off x="1394578" y="4021327"/>
                <a:ext cx="13864" cy="66265"/>
              </a:xfrm>
              <a:custGeom>
                <a:avLst/>
                <a:gdLst>
                  <a:gd name="T0" fmla="*/ 0 w 33"/>
                  <a:gd name="T1" fmla="*/ 0 h 6"/>
                  <a:gd name="T2" fmla="*/ 2694 w 33"/>
                  <a:gd name="T3" fmla="*/ 9790 h 6"/>
                  <a:gd name="T4" fmla="*/ 5773 w 33"/>
                  <a:gd name="T5" fmla="*/ 29369 h 6"/>
                  <a:gd name="T6" fmla="*/ 8852 w 33"/>
                  <a:gd name="T7" fmla="*/ 48948 h 6"/>
                  <a:gd name="T8" fmla="*/ 12700 w 33"/>
                  <a:gd name="T9" fmla="*/ 58737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3" h="6">
                    <a:moveTo>
                      <a:pt x="0" y="0"/>
                    </a:moveTo>
                    <a:lnTo>
                      <a:pt x="7" y="1"/>
                    </a:lnTo>
                    <a:lnTo>
                      <a:pt x="15" y="3"/>
                    </a:lnTo>
                    <a:lnTo>
                      <a:pt x="23" y="5"/>
                    </a:lnTo>
                    <a:lnTo>
                      <a:pt x="33" y="6"/>
                    </a:lnTo>
                  </a:path>
                </a:pathLst>
              </a:custGeom>
              <a:grpFill/>
              <a:ln w="9525" cmpd="sng">
                <a:solidFill>
                  <a:srgbClr val="FFFFFF"/>
                </a:solidFill>
                <a:prstDash val="solid"/>
                <a:round/>
                <a:headEnd/>
                <a:tailEnd/>
              </a:ln>
            </p:spPr>
            <p:txBody>
              <a:bodyPr/>
              <a:lstStyle/>
              <a:p>
                <a:endParaRPr lang="en-GB" sz="1637"/>
              </a:p>
            </p:txBody>
          </p:sp>
          <p:sp>
            <p:nvSpPr>
              <p:cNvPr id="455" name="Freeform 361"/>
              <p:cNvSpPr>
                <a:spLocks/>
              </p:cNvSpPr>
              <p:nvPr>
                <p:custDataLst>
                  <p:tags r:id="rId299"/>
                </p:custDataLst>
              </p:nvPr>
            </p:nvSpPr>
            <p:spPr bwMode="auto">
              <a:xfrm>
                <a:off x="1403243" y="4007000"/>
                <a:ext cx="5198" cy="64475"/>
              </a:xfrm>
              <a:custGeom>
                <a:avLst/>
                <a:gdLst>
                  <a:gd name="T0" fmla="*/ 4762 w 13"/>
                  <a:gd name="T1" fmla="*/ 57150 h 30"/>
                  <a:gd name="T2" fmla="*/ 4762 w 13"/>
                  <a:gd name="T3" fmla="*/ 0 h 30"/>
                  <a:gd name="T4" fmla="*/ 0 w 13"/>
                  <a:gd name="T5" fmla="*/ 0 h 30"/>
                  <a:gd name="T6" fmla="*/ 0 60000 65536"/>
                  <a:gd name="T7" fmla="*/ 0 60000 65536"/>
                  <a:gd name="T8" fmla="*/ 0 60000 65536"/>
                </a:gdLst>
                <a:ahLst/>
                <a:cxnLst>
                  <a:cxn ang="T6">
                    <a:pos x="T0" y="T1"/>
                  </a:cxn>
                  <a:cxn ang="T7">
                    <a:pos x="T2" y="T3"/>
                  </a:cxn>
                  <a:cxn ang="T8">
                    <a:pos x="T4" y="T5"/>
                  </a:cxn>
                </a:cxnLst>
                <a:rect l="0" t="0" r="r" b="b"/>
                <a:pathLst>
                  <a:path w="13" h="30">
                    <a:moveTo>
                      <a:pt x="13" y="30"/>
                    </a:moveTo>
                    <a:lnTo>
                      <a:pt x="13" y="0"/>
                    </a:lnTo>
                    <a:lnTo>
                      <a:pt x="0" y="0"/>
                    </a:lnTo>
                  </a:path>
                </a:pathLst>
              </a:custGeom>
              <a:grpFill/>
              <a:ln w="9525" cmpd="sng">
                <a:solidFill>
                  <a:srgbClr val="FFFFFF"/>
                </a:solidFill>
                <a:prstDash val="solid"/>
                <a:round/>
                <a:headEnd/>
                <a:tailEnd/>
              </a:ln>
            </p:spPr>
            <p:txBody>
              <a:bodyPr/>
              <a:lstStyle/>
              <a:p>
                <a:endParaRPr lang="en-GB" sz="1637"/>
              </a:p>
            </p:txBody>
          </p:sp>
          <p:grpSp>
            <p:nvGrpSpPr>
              <p:cNvPr id="456" name="Group 362"/>
              <p:cNvGrpSpPr>
                <a:grpSpLocks/>
              </p:cNvGrpSpPr>
              <p:nvPr>
                <p:custDataLst>
                  <p:tags r:id="rId300"/>
                </p:custDataLst>
              </p:nvPr>
            </p:nvGrpSpPr>
            <p:grpSpPr bwMode="auto">
              <a:xfrm>
                <a:off x="1394578" y="3933569"/>
                <a:ext cx="455774" cy="227453"/>
                <a:chOff x="912" y="2626"/>
                <a:chExt cx="311" cy="127"/>
              </a:xfrm>
              <a:grpFill/>
            </p:grpSpPr>
            <p:sp>
              <p:nvSpPr>
                <p:cNvPr id="464" name="Freeform 363"/>
                <p:cNvSpPr>
                  <a:spLocks/>
                </p:cNvSpPr>
                <p:nvPr/>
              </p:nvSpPr>
              <p:spPr bwMode="auto">
                <a:xfrm>
                  <a:off x="1110" y="2626"/>
                  <a:ext cx="113" cy="127"/>
                </a:xfrm>
                <a:custGeom>
                  <a:avLst/>
                  <a:gdLst>
                    <a:gd name="T0" fmla="*/ 100 w 352"/>
                    <a:gd name="T1" fmla="*/ 26 h 387"/>
                    <a:gd name="T2" fmla="*/ 92 w 352"/>
                    <a:gd name="T3" fmla="*/ 26 h 387"/>
                    <a:gd name="T4" fmla="*/ 85 w 352"/>
                    <a:gd name="T5" fmla="*/ 26 h 387"/>
                    <a:gd name="T6" fmla="*/ 80 w 352"/>
                    <a:gd name="T7" fmla="*/ 24 h 387"/>
                    <a:gd name="T8" fmla="*/ 71 w 352"/>
                    <a:gd name="T9" fmla="*/ 19 h 387"/>
                    <a:gd name="T10" fmla="*/ 54 w 352"/>
                    <a:gd name="T11" fmla="*/ 7 h 387"/>
                    <a:gd name="T12" fmla="*/ 44 w 352"/>
                    <a:gd name="T13" fmla="*/ 2 h 387"/>
                    <a:gd name="T14" fmla="*/ 41 w 352"/>
                    <a:gd name="T15" fmla="*/ 6 h 387"/>
                    <a:gd name="T16" fmla="*/ 38 w 352"/>
                    <a:gd name="T17" fmla="*/ 10 h 387"/>
                    <a:gd name="T18" fmla="*/ 34 w 352"/>
                    <a:gd name="T19" fmla="*/ 11 h 387"/>
                    <a:gd name="T20" fmla="*/ 28 w 352"/>
                    <a:gd name="T21" fmla="*/ 18 h 387"/>
                    <a:gd name="T22" fmla="*/ 17 w 352"/>
                    <a:gd name="T23" fmla="*/ 32 h 387"/>
                    <a:gd name="T24" fmla="*/ 10 w 352"/>
                    <a:gd name="T25" fmla="*/ 43 h 387"/>
                    <a:gd name="T26" fmla="*/ 5 w 352"/>
                    <a:gd name="T27" fmla="*/ 51 h 387"/>
                    <a:gd name="T28" fmla="*/ 2 w 352"/>
                    <a:gd name="T29" fmla="*/ 58 h 387"/>
                    <a:gd name="T30" fmla="*/ 0 w 352"/>
                    <a:gd name="T31" fmla="*/ 65 h 387"/>
                    <a:gd name="T32" fmla="*/ 0 w 352"/>
                    <a:gd name="T33" fmla="*/ 70 h 387"/>
                    <a:gd name="T34" fmla="*/ 1 w 352"/>
                    <a:gd name="T35" fmla="*/ 73 h 387"/>
                    <a:gd name="T36" fmla="*/ 3 w 352"/>
                    <a:gd name="T37" fmla="*/ 76 h 387"/>
                    <a:gd name="T38" fmla="*/ 8 w 352"/>
                    <a:gd name="T39" fmla="*/ 79 h 387"/>
                    <a:gd name="T40" fmla="*/ 13 w 352"/>
                    <a:gd name="T41" fmla="*/ 80 h 387"/>
                    <a:gd name="T42" fmla="*/ 17 w 352"/>
                    <a:gd name="T43" fmla="*/ 80 h 387"/>
                    <a:gd name="T44" fmla="*/ 20 w 352"/>
                    <a:gd name="T45" fmla="*/ 79 h 387"/>
                    <a:gd name="T46" fmla="*/ 23 w 352"/>
                    <a:gd name="T47" fmla="*/ 77 h 387"/>
                    <a:gd name="T48" fmla="*/ 25 w 352"/>
                    <a:gd name="T49" fmla="*/ 77 h 387"/>
                    <a:gd name="T50" fmla="*/ 26 w 352"/>
                    <a:gd name="T51" fmla="*/ 78 h 387"/>
                    <a:gd name="T52" fmla="*/ 26 w 352"/>
                    <a:gd name="T53" fmla="*/ 84 h 387"/>
                    <a:gd name="T54" fmla="*/ 24 w 352"/>
                    <a:gd name="T55" fmla="*/ 92 h 387"/>
                    <a:gd name="T56" fmla="*/ 23 w 352"/>
                    <a:gd name="T57" fmla="*/ 95 h 387"/>
                    <a:gd name="T58" fmla="*/ 23 w 352"/>
                    <a:gd name="T59" fmla="*/ 101 h 387"/>
                    <a:gd name="T60" fmla="*/ 26 w 352"/>
                    <a:gd name="T61" fmla="*/ 109 h 387"/>
                    <a:gd name="T62" fmla="*/ 29 w 352"/>
                    <a:gd name="T63" fmla="*/ 115 h 387"/>
                    <a:gd name="T64" fmla="*/ 39 w 352"/>
                    <a:gd name="T65" fmla="*/ 122 h 387"/>
                    <a:gd name="T66" fmla="*/ 46 w 352"/>
                    <a:gd name="T67" fmla="*/ 126 h 387"/>
                    <a:gd name="T68" fmla="*/ 49 w 352"/>
                    <a:gd name="T69" fmla="*/ 127 h 387"/>
                    <a:gd name="T70" fmla="*/ 52 w 352"/>
                    <a:gd name="T71" fmla="*/ 124 h 387"/>
                    <a:gd name="T72" fmla="*/ 56 w 352"/>
                    <a:gd name="T73" fmla="*/ 119 h 387"/>
                    <a:gd name="T74" fmla="*/ 57 w 352"/>
                    <a:gd name="T75" fmla="*/ 115 h 387"/>
                    <a:gd name="T76" fmla="*/ 58 w 352"/>
                    <a:gd name="T77" fmla="*/ 111 h 387"/>
                    <a:gd name="T78" fmla="*/ 59 w 352"/>
                    <a:gd name="T79" fmla="*/ 106 h 387"/>
                    <a:gd name="T80" fmla="*/ 63 w 352"/>
                    <a:gd name="T81" fmla="*/ 100 h 387"/>
                    <a:gd name="T82" fmla="*/ 69 w 352"/>
                    <a:gd name="T83" fmla="*/ 92 h 387"/>
                    <a:gd name="T84" fmla="*/ 76 w 352"/>
                    <a:gd name="T85" fmla="*/ 86 h 387"/>
                    <a:gd name="T86" fmla="*/ 85 w 352"/>
                    <a:gd name="T87" fmla="*/ 82 h 387"/>
                    <a:gd name="T88" fmla="*/ 96 w 352"/>
                    <a:gd name="T89" fmla="*/ 75 h 387"/>
                    <a:gd name="T90" fmla="*/ 104 w 352"/>
                    <a:gd name="T91" fmla="*/ 70 h 387"/>
                    <a:gd name="T92" fmla="*/ 109 w 352"/>
                    <a:gd name="T93" fmla="*/ 65 h 387"/>
                    <a:gd name="T94" fmla="*/ 111 w 352"/>
                    <a:gd name="T95" fmla="*/ 61 h 387"/>
                    <a:gd name="T96" fmla="*/ 113 w 352"/>
                    <a:gd name="T97" fmla="*/ 55 h 387"/>
                    <a:gd name="T98" fmla="*/ 113 w 352"/>
                    <a:gd name="T99" fmla="*/ 49 h 387"/>
                    <a:gd name="T100" fmla="*/ 110 w 352"/>
                    <a:gd name="T101" fmla="*/ 41 h 387"/>
                    <a:gd name="T102" fmla="*/ 106 w 352"/>
                    <a:gd name="T103" fmla="*/ 30 h 38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352" h="387">
                      <a:moveTo>
                        <a:pt x="325" y="79"/>
                      </a:moveTo>
                      <a:lnTo>
                        <a:pt x="312" y="79"/>
                      </a:lnTo>
                      <a:lnTo>
                        <a:pt x="299" y="79"/>
                      </a:lnTo>
                      <a:lnTo>
                        <a:pt x="286" y="79"/>
                      </a:lnTo>
                      <a:lnTo>
                        <a:pt x="273" y="79"/>
                      </a:lnTo>
                      <a:lnTo>
                        <a:pt x="265" y="79"/>
                      </a:lnTo>
                      <a:lnTo>
                        <a:pt x="256" y="77"/>
                      </a:lnTo>
                      <a:lnTo>
                        <a:pt x="249" y="74"/>
                      </a:lnTo>
                      <a:lnTo>
                        <a:pt x="240" y="70"/>
                      </a:lnTo>
                      <a:lnTo>
                        <a:pt x="222" y="59"/>
                      </a:lnTo>
                      <a:lnTo>
                        <a:pt x="204" y="46"/>
                      </a:lnTo>
                      <a:lnTo>
                        <a:pt x="168" y="20"/>
                      </a:lnTo>
                      <a:lnTo>
                        <a:pt x="140" y="0"/>
                      </a:lnTo>
                      <a:lnTo>
                        <a:pt x="137" y="6"/>
                      </a:lnTo>
                      <a:lnTo>
                        <a:pt x="133" y="13"/>
                      </a:lnTo>
                      <a:lnTo>
                        <a:pt x="129" y="19"/>
                      </a:lnTo>
                      <a:lnTo>
                        <a:pt x="125" y="25"/>
                      </a:lnTo>
                      <a:lnTo>
                        <a:pt x="119" y="29"/>
                      </a:lnTo>
                      <a:lnTo>
                        <a:pt x="114" y="33"/>
                      </a:lnTo>
                      <a:lnTo>
                        <a:pt x="107" y="35"/>
                      </a:lnTo>
                      <a:lnTo>
                        <a:pt x="100" y="36"/>
                      </a:lnTo>
                      <a:lnTo>
                        <a:pt x="86" y="56"/>
                      </a:lnTo>
                      <a:lnTo>
                        <a:pt x="71" y="76"/>
                      </a:lnTo>
                      <a:lnTo>
                        <a:pt x="53" y="97"/>
                      </a:lnTo>
                      <a:lnTo>
                        <a:pt x="38" y="120"/>
                      </a:lnTo>
                      <a:lnTo>
                        <a:pt x="30" y="131"/>
                      </a:lnTo>
                      <a:lnTo>
                        <a:pt x="22" y="143"/>
                      </a:lnTo>
                      <a:lnTo>
                        <a:pt x="17" y="154"/>
                      </a:lnTo>
                      <a:lnTo>
                        <a:pt x="11" y="165"/>
                      </a:lnTo>
                      <a:lnTo>
                        <a:pt x="7" y="177"/>
                      </a:lnTo>
                      <a:lnTo>
                        <a:pt x="3" y="187"/>
                      </a:lnTo>
                      <a:lnTo>
                        <a:pt x="0" y="198"/>
                      </a:lnTo>
                      <a:lnTo>
                        <a:pt x="0" y="208"/>
                      </a:lnTo>
                      <a:lnTo>
                        <a:pt x="0" y="213"/>
                      </a:lnTo>
                      <a:lnTo>
                        <a:pt x="2" y="217"/>
                      </a:lnTo>
                      <a:lnTo>
                        <a:pt x="3" y="222"/>
                      </a:lnTo>
                      <a:lnTo>
                        <a:pt x="5" y="225"/>
                      </a:lnTo>
                      <a:lnTo>
                        <a:pt x="9" y="231"/>
                      </a:lnTo>
                      <a:lnTo>
                        <a:pt x="16" y="237"/>
                      </a:lnTo>
                      <a:lnTo>
                        <a:pt x="24" y="241"/>
                      </a:lnTo>
                      <a:lnTo>
                        <a:pt x="31" y="243"/>
                      </a:lnTo>
                      <a:lnTo>
                        <a:pt x="39" y="245"/>
                      </a:lnTo>
                      <a:lnTo>
                        <a:pt x="47" y="246"/>
                      </a:lnTo>
                      <a:lnTo>
                        <a:pt x="52" y="245"/>
                      </a:lnTo>
                      <a:lnTo>
                        <a:pt x="58" y="243"/>
                      </a:lnTo>
                      <a:lnTo>
                        <a:pt x="63" y="241"/>
                      </a:lnTo>
                      <a:lnTo>
                        <a:pt x="69" y="238"/>
                      </a:lnTo>
                      <a:lnTo>
                        <a:pt x="73" y="236"/>
                      </a:lnTo>
                      <a:lnTo>
                        <a:pt x="76" y="235"/>
                      </a:lnTo>
                      <a:lnTo>
                        <a:pt x="78" y="236"/>
                      </a:lnTo>
                      <a:lnTo>
                        <a:pt x="80" y="236"/>
                      </a:lnTo>
                      <a:lnTo>
                        <a:pt x="80" y="238"/>
                      </a:lnTo>
                      <a:lnTo>
                        <a:pt x="80" y="240"/>
                      </a:lnTo>
                      <a:lnTo>
                        <a:pt x="80" y="257"/>
                      </a:lnTo>
                      <a:lnTo>
                        <a:pt x="78" y="271"/>
                      </a:lnTo>
                      <a:lnTo>
                        <a:pt x="76" y="279"/>
                      </a:lnTo>
                      <a:lnTo>
                        <a:pt x="74" y="285"/>
                      </a:lnTo>
                      <a:lnTo>
                        <a:pt x="71" y="290"/>
                      </a:lnTo>
                      <a:lnTo>
                        <a:pt x="66" y="295"/>
                      </a:lnTo>
                      <a:lnTo>
                        <a:pt x="73" y="307"/>
                      </a:lnTo>
                      <a:lnTo>
                        <a:pt x="80" y="319"/>
                      </a:lnTo>
                      <a:lnTo>
                        <a:pt x="80" y="331"/>
                      </a:lnTo>
                      <a:lnTo>
                        <a:pt x="80" y="344"/>
                      </a:lnTo>
                      <a:lnTo>
                        <a:pt x="89" y="351"/>
                      </a:lnTo>
                      <a:lnTo>
                        <a:pt x="110" y="366"/>
                      </a:lnTo>
                      <a:lnTo>
                        <a:pt x="122" y="373"/>
                      </a:lnTo>
                      <a:lnTo>
                        <a:pt x="133" y="380"/>
                      </a:lnTo>
                      <a:lnTo>
                        <a:pt x="142" y="385"/>
                      </a:lnTo>
                      <a:lnTo>
                        <a:pt x="147" y="387"/>
                      </a:lnTo>
                      <a:lnTo>
                        <a:pt x="152" y="386"/>
                      </a:lnTo>
                      <a:lnTo>
                        <a:pt x="158" y="382"/>
                      </a:lnTo>
                      <a:lnTo>
                        <a:pt x="163" y="377"/>
                      </a:lnTo>
                      <a:lnTo>
                        <a:pt x="168" y="370"/>
                      </a:lnTo>
                      <a:lnTo>
                        <a:pt x="173" y="363"/>
                      </a:lnTo>
                      <a:lnTo>
                        <a:pt x="176" y="356"/>
                      </a:lnTo>
                      <a:lnTo>
                        <a:pt x="178" y="350"/>
                      </a:lnTo>
                      <a:lnTo>
                        <a:pt x="179" y="344"/>
                      </a:lnTo>
                      <a:lnTo>
                        <a:pt x="181" y="338"/>
                      </a:lnTo>
                      <a:lnTo>
                        <a:pt x="182" y="330"/>
                      </a:lnTo>
                      <a:lnTo>
                        <a:pt x="184" y="323"/>
                      </a:lnTo>
                      <a:lnTo>
                        <a:pt x="187" y="317"/>
                      </a:lnTo>
                      <a:lnTo>
                        <a:pt x="195" y="304"/>
                      </a:lnTo>
                      <a:lnTo>
                        <a:pt x="206" y="292"/>
                      </a:lnTo>
                      <a:lnTo>
                        <a:pt x="216" y="281"/>
                      </a:lnTo>
                      <a:lnTo>
                        <a:pt x="228" y="271"/>
                      </a:lnTo>
                      <a:lnTo>
                        <a:pt x="238" y="263"/>
                      </a:lnTo>
                      <a:lnTo>
                        <a:pt x="246" y="258"/>
                      </a:lnTo>
                      <a:lnTo>
                        <a:pt x="264" y="249"/>
                      </a:lnTo>
                      <a:lnTo>
                        <a:pt x="283" y="239"/>
                      </a:lnTo>
                      <a:lnTo>
                        <a:pt x="300" y="229"/>
                      </a:lnTo>
                      <a:lnTo>
                        <a:pt x="317" y="217"/>
                      </a:lnTo>
                      <a:lnTo>
                        <a:pt x="324" y="212"/>
                      </a:lnTo>
                      <a:lnTo>
                        <a:pt x="331" y="205"/>
                      </a:lnTo>
                      <a:lnTo>
                        <a:pt x="338" y="199"/>
                      </a:lnTo>
                      <a:lnTo>
                        <a:pt x="342" y="192"/>
                      </a:lnTo>
                      <a:lnTo>
                        <a:pt x="346" y="185"/>
                      </a:lnTo>
                      <a:lnTo>
                        <a:pt x="350" y="177"/>
                      </a:lnTo>
                      <a:lnTo>
                        <a:pt x="352" y="169"/>
                      </a:lnTo>
                      <a:lnTo>
                        <a:pt x="352" y="159"/>
                      </a:lnTo>
                      <a:lnTo>
                        <a:pt x="351" y="149"/>
                      </a:lnTo>
                      <a:lnTo>
                        <a:pt x="349" y="137"/>
                      </a:lnTo>
                      <a:lnTo>
                        <a:pt x="344" y="125"/>
                      </a:lnTo>
                      <a:lnTo>
                        <a:pt x="339" y="113"/>
                      </a:lnTo>
                      <a:lnTo>
                        <a:pt x="330" y="91"/>
                      </a:lnTo>
                      <a:lnTo>
                        <a:pt x="325" y="79"/>
                      </a:lnTo>
                    </a:path>
                  </a:pathLst>
                </a:custGeom>
                <a:grpFill/>
                <a:ln w="9525" cap="flat" cmpd="sng">
                  <a:solidFill>
                    <a:srgbClr val="FFFFFF"/>
                  </a:solidFill>
                  <a:prstDash val="solid"/>
                  <a:round/>
                  <a:headEnd type="none" w="med" len="med"/>
                  <a:tailEnd type="none" w="med" len="med"/>
                </a:ln>
                <a:effectLst/>
              </p:spPr>
              <p:txBody>
                <a:bodyPr/>
                <a:lstStyle/>
                <a:p>
                  <a:endParaRPr lang="en-GB" sz="1637"/>
                </a:p>
              </p:txBody>
            </p:sp>
            <p:sp>
              <p:nvSpPr>
                <p:cNvPr id="465" name="Freeform 364"/>
                <p:cNvSpPr>
                  <a:spLocks/>
                </p:cNvSpPr>
                <p:nvPr/>
              </p:nvSpPr>
              <p:spPr bwMode="auto">
                <a:xfrm>
                  <a:off x="923" y="2662"/>
                  <a:ext cx="17" cy="26"/>
                </a:xfrm>
                <a:custGeom>
                  <a:avLst/>
                  <a:gdLst>
                    <a:gd name="T0" fmla="*/ 5 w 52"/>
                    <a:gd name="T1" fmla="*/ 0 h 78"/>
                    <a:gd name="T2" fmla="*/ 7 w 52"/>
                    <a:gd name="T3" fmla="*/ 0 h 78"/>
                    <a:gd name="T4" fmla="*/ 8 w 52"/>
                    <a:gd name="T5" fmla="*/ 1 h 78"/>
                    <a:gd name="T6" fmla="*/ 10 w 52"/>
                    <a:gd name="T7" fmla="*/ 2 h 78"/>
                    <a:gd name="T8" fmla="*/ 12 w 52"/>
                    <a:gd name="T9" fmla="*/ 3 h 78"/>
                    <a:gd name="T10" fmla="*/ 13 w 52"/>
                    <a:gd name="T11" fmla="*/ 4 h 78"/>
                    <a:gd name="T12" fmla="*/ 15 w 52"/>
                    <a:gd name="T13" fmla="*/ 6 h 78"/>
                    <a:gd name="T14" fmla="*/ 15 w 52"/>
                    <a:gd name="T15" fmla="*/ 7 h 78"/>
                    <a:gd name="T16" fmla="*/ 16 w 52"/>
                    <a:gd name="T17" fmla="*/ 8 h 78"/>
                    <a:gd name="T18" fmla="*/ 17 w 52"/>
                    <a:gd name="T19" fmla="*/ 11 h 78"/>
                    <a:gd name="T20" fmla="*/ 17 w 52"/>
                    <a:gd name="T21" fmla="*/ 14 h 78"/>
                    <a:gd name="T22" fmla="*/ 17 w 52"/>
                    <a:gd name="T23" fmla="*/ 15 h 78"/>
                    <a:gd name="T24" fmla="*/ 16 w 52"/>
                    <a:gd name="T25" fmla="*/ 17 h 78"/>
                    <a:gd name="T26" fmla="*/ 15 w 52"/>
                    <a:gd name="T27" fmla="*/ 18 h 78"/>
                    <a:gd name="T28" fmla="*/ 14 w 52"/>
                    <a:gd name="T29" fmla="*/ 20 h 78"/>
                    <a:gd name="T30" fmla="*/ 13 w 52"/>
                    <a:gd name="T31" fmla="*/ 22 h 78"/>
                    <a:gd name="T32" fmla="*/ 13 w 52"/>
                    <a:gd name="T33" fmla="*/ 24 h 78"/>
                    <a:gd name="T34" fmla="*/ 9 w 52"/>
                    <a:gd name="T35" fmla="*/ 25 h 78"/>
                    <a:gd name="T36" fmla="*/ 5 w 52"/>
                    <a:gd name="T37" fmla="*/ 26 h 78"/>
                    <a:gd name="T38" fmla="*/ 4 w 52"/>
                    <a:gd name="T39" fmla="*/ 26 h 78"/>
                    <a:gd name="T40" fmla="*/ 2 w 52"/>
                    <a:gd name="T41" fmla="*/ 26 h 78"/>
                    <a:gd name="T42" fmla="*/ 1 w 52"/>
                    <a:gd name="T43" fmla="*/ 26 h 78"/>
                    <a:gd name="T44" fmla="*/ 1 w 52"/>
                    <a:gd name="T45" fmla="*/ 26 h 78"/>
                    <a:gd name="T46" fmla="*/ 1 w 52"/>
                    <a:gd name="T47" fmla="*/ 25 h 78"/>
                    <a:gd name="T48" fmla="*/ 0 w 52"/>
                    <a:gd name="T49" fmla="*/ 24 h 78"/>
                    <a:gd name="T50" fmla="*/ 0 w 52"/>
                    <a:gd name="T51" fmla="*/ 23 h 78"/>
                    <a:gd name="T52" fmla="*/ 0 w 52"/>
                    <a:gd name="T53" fmla="*/ 21 h 78"/>
                    <a:gd name="T54" fmla="*/ 1 w 52"/>
                    <a:gd name="T55" fmla="*/ 20 h 78"/>
                    <a:gd name="T56" fmla="*/ 2 w 52"/>
                    <a:gd name="T57" fmla="*/ 19 h 78"/>
                    <a:gd name="T58" fmla="*/ 6 w 52"/>
                    <a:gd name="T59" fmla="*/ 16 h 78"/>
                    <a:gd name="T60" fmla="*/ 9 w 52"/>
                    <a:gd name="T61" fmla="*/ 14 h 78"/>
                    <a:gd name="T62" fmla="*/ 8 w 52"/>
                    <a:gd name="T63" fmla="*/ 11 h 78"/>
                    <a:gd name="T64" fmla="*/ 7 w 52"/>
                    <a:gd name="T65" fmla="*/ 7 h 78"/>
                    <a:gd name="T66" fmla="*/ 6 w 52"/>
                    <a:gd name="T67" fmla="*/ 3 h 78"/>
                    <a:gd name="T68" fmla="*/ 5 w 52"/>
                    <a:gd name="T69" fmla="*/ 0 h 7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52" h="78">
                      <a:moveTo>
                        <a:pt x="14" y="0"/>
                      </a:moveTo>
                      <a:lnTo>
                        <a:pt x="20" y="0"/>
                      </a:lnTo>
                      <a:lnTo>
                        <a:pt x="25" y="2"/>
                      </a:lnTo>
                      <a:lnTo>
                        <a:pt x="30" y="6"/>
                      </a:lnTo>
                      <a:lnTo>
                        <a:pt x="36" y="9"/>
                      </a:lnTo>
                      <a:lnTo>
                        <a:pt x="40" y="13"/>
                      </a:lnTo>
                      <a:lnTo>
                        <a:pt x="45" y="17"/>
                      </a:lnTo>
                      <a:lnTo>
                        <a:pt x="47" y="21"/>
                      </a:lnTo>
                      <a:lnTo>
                        <a:pt x="48" y="24"/>
                      </a:lnTo>
                      <a:lnTo>
                        <a:pt x="51" y="34"/>
                      </a:lnTo>
                      <a:lnTo>
                        <a:pt x="52" y="41"/>
                      </a:lnTo>
                      <a:lnTo>
                        <a:pt x="51" y="46"/>
                      </a:lnTo>
                      <a:lnTo>
                        <a:pt x="49" y="50"/>
                      </a:lnTo>
                      <a:lnTo>
                        <a:pt x="47" y="54"/>
                      </a:lnTo>
                      <a:lnTo>
                        <a:pt x="44" y="60"/>
                      </a:lnTo>
                      <a:lnTo>
                        <a:pt x="41" y="65"/>
                      </a:lnTo>
                      <a:lnTo>
                        <a:pt x="41" y="73"/>
                      </a:lnTo>
                      <a:lnTo>
                        <a:pt x="29" y="75"/>
                      </a:lnTo>
                      <a:lnTo>
                        <a:pt x="16" y="78"/>
                      </a:lnTo>
                      <a:lnTo>
                        <a:pt x="11" y="78"/>
                      </a:lnTo>
                      <a:lnTo>
                        <a:pt x="5" y="78"/>
                      </a:lnTo>
                      <a:lnTo>
                        <a:pt x="4" y="78"/>
                      </a:lnTo>
                      <a:lnTo>
                        <a:pt x="2" y="77"/>
                      </a:lnTo>
                      <a:lnTo>
                        <a:pt x="2" y="75"/>
                      </a:lnTo>
                      <a:lnTo>
                        <a:pt x="1" y="73"/>
                      </a:lnTo>
                      <a:lnTo>
                        <a:pt x="0" y="69"/>
                      </a:lnTo>
                      <a:lnTo>
                        <a:pt x="1" y="64"/>
                      </a:lnTo>
                      <a:lnTo>
                        <a:pt x="3" y="60"/>
                      </a:lnTo>
                      <a:lnTo>
                        <a:pt x="7" y="56"/>
                      </a:lnTo>
                      <a:lnTo>
                        <a:pt x="17" y="47"/>
                      </a:lnTo>
                      <a:lnTo>
                        <a:pt x="28" y="42"/>
                      </a:lnTo>
                      <a:lnTo>
                        <a:pt x="24" y="32"/>
                      </a:lnTo>
                      <a:lnTo>
                        <a:pt x="21" y="21"/>
                      </a:lnTo>
                      <a:lnTo>
                        <a:pt x="18" y="10"/>
                      </a:lnTo>
                      <a:lnTo>
                        <a:pt x="14" y="0"/>
                      </a:lnTo>
                    </a:path>
                  </a:pathLst>
                </a:custGeom>
                <a:grpFill/>
                <a:ln w="9525" cap="flat" cmpd="sng">
                  <a:solidFill>
                    <a:srgbClr val="FFFFFF"/>
                  </a:solidFill>
                  <a:prstDash val="solid"/>
                  <a:round/>
                  <a:headEnd type="none" w="med" len="med"/>
                  <a:tailEnd type="none" w="med" len="med"/>
                </a:ln>
                <a:effectLst/>
              </p:spPr>
              <p:txBody>
                <a:bodyPr/>
                <a:lstStyle/>
                <a:p>
                  <a:endParaRPr lang="en-GB" sz="1637"/>
                </a:p>
              </p:txBody>
            </p:sp>
            <p:sp>
              <p:nvSpPr>
                <p:cNvPr id="466" name="Freeform 365"/>
                <p:cNvSpPr>
                  <a:spLocks/>
                </p:cNvSpPr>
                <p:nvPr/>
              </p:nvSpPr>
              <p:spPr bwMode="auto">
                <a:xfrm>
                  <a:off x="912" y="2666"/>
                  <a:ext cx="9" cy="10"/>
                </a:xfrm>
                <a:custGeom>
                  <a:avLst/>
                  <a:gdLst>
                    <a:gd name="T0" fmla="*/ 4 w 33"/>
                    <a:gd name="T1" fmla="*/ 2 h 30"/>
                    <a:gd name="T2" fmla="*/ 0 w 33"/>
                    <a:gd name="T3" fmla="*/ 8 h 30"/>
                    <a:gd name="T4" fmla="*/ 2 w 33"/>
                    <a:gd name="T5" fmla="*/ 8 h 30"/>
                    <a:gd name="T6" fmla="*/ 4 w 33"/>
                    <a:gd name="T7" fmla="*/ 9 h 30"/>
                    <a:gd name="T8" fmla="*/ 6 w 33"/>
                    <a:gd name="T9" fmla="*/ 10 h 30"/>
                    <a:gd name="T10" fmla="*/ 9 w 33"/>
                    <a:gd name="T11" fmla="*/ 10 h 30"/>
                    <a:gd name="T12" fmla="*/ 9 w 33"/>
                    <a:gd name="T13" fmla="*/ 0 h 30"/>
                    <a:gd name="T14" fmla="*/ 5 w 33"/>
                    <a:gd name="T15" fmla="*/ 0 h 30"/>
                    <a:gd name="T16" fmla="*/ 4 w 33"/>
                    <a:gd name="T17" fmla="*/ 2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30">
                      <a:moveTo>
                        <a:pt x="13" y="6"/>
                      </a:moveTo>
                      <a:lnTo>
                        <a:pt x="0" y="24"/>
                      </a:lnTo>
                      <a:lnTo>
                        <a:pt x="7" y="25"/>
                      </a:lnTo>
                      <a:lnTo>
                        <a:pt x="15" y="27"/>
                      </a:lnTo>
                      <a:lnTo>
                        <a:pt x="23" y="29"/>
                      </a:lnTo>
                      <a:lnTo>
                        <a:pt x="33" y="30"/>
                      </a:lnTo>
                      <a:lnTo>
                        <a:pt x="33" y="0"/>
                      </a:lnTo>
                      <a:lnTo>
                        <a:pt x="20" y="0"/>
                      </a:lnTo>
                      <a:lnTo>
                        <a:pt x="13" y="6"/>
                      </a:lnTo>
                    </a:path>
                  </a:pathLst>
                </a:custGeom>
                <a:grpFill/>
                <a:ln w="9525" cap="flat" cmpd="sng">
                  <a:solidFill>
                    <a:srgbClr val="FFFFFF"/>
                  </a:solidFill>
                  <a:prstDash val="solid"/>
                  <a:round/>
                  <a:headEnd type="none" w="med" len="med"/>
                  <a:tailEnd type="none" w="med" len="med"/>
                </a:ln>
                <a:effectLst/>
              </p:spPr>
              <p:txBody>
                <a:bodyPr/>
                <a:lstStyle/>
                <a:p>
                  <a:endParaRPr lang="en-GB" sz="1637"/>
                </a:p>
              </p:txBody>
            </p:sp>
          </p:grpSp>
          <p:grpSp>
            <p:nvGrpSpPr>
              <p:cNvPr id="457" name="Group 438"/>
              <p:cNvGrpSpPr>
                <a:grpSpLocks/>
              </p:cNvGrpSpPr>
              <p:nvPr>
                <p:custDataLst>
                  <p:tags r:id="rId301"/>
                </p:custDataLst>
              </p:nvPr>
            </p:nvGrpSpPr>
            <p:grpSpPr bwMode="auto">
              <a:xfrm>
                <a:off x="2073906" y="4778905"/>
                <a:ext cx="419381" cy="1164127"/>
                <a:chOff x="1589" y="3126"/>
                <a:chExt cx="290" cy="657"/>
              </a:xfrm>
              <a:grpFill/>
            </p:grpSpPr>
            <p:sp>
              <p:nvSpPr>
                <p:cNvPr id="461" name="Freeform 439"/>
                <p:cNvSpPr>
                  <a:spLocks/>
                </p:cNvSpPr>
                <p:nvPr/>
              </p:nvSpPr>
              <p:spPr bwMode="auto">
                <a:xfrm>
                  <a:off x="1748" y="3531"/>
                  <a:ext cx="15" cy="17"/>
                </a:xfrm>
                <a:custGeom>
                  <a:avLst/>
                  <a:gdLst>
                    <a:gd name="T0" fmla="*/ 15 w 46"/>
                    <a:gd name="T1" fmla="*/ 4 h 51"/>
                    <a:gd name="T2" fmla="*/ 6 w 46"/>
                    <a:gd name="T3" fmla="*/ 0 h 51"/>
                    <a:gd name="T4" fmla="*/ 4 w 46"/>
                    <a:gd name="T5" fmla="*/ 2 h 51"/>
                    <a:gd name="T6" fmla="*/ 2 w 46"/>
                    <a:gd name="T7" fmla="*/ 3 h 51"/>
                    <a:gd name="T8" fmla="*/ 1 w 46"/>
                    <a:gd name="T9" fmla="*/ 4 h 51"/>
                    <a:gd name="T10" fmla="*/ 1 w 46"/>
                    <a:gd name="T11" fmla="*/ 5 h 51"/>
                    <a:gd name="T12" fmla="*/ 0 w 46"/>
                    <a:gd name="T13" fmla="*/ 5 h 51"/>
                    <a:gd name="T14" fmla="*/ 0 w 46"/>
                    <a:gd name="T15" fmla="*/ 6 h 51"/>
                    <a:gd name="T16" fmla="*/ 0 w 46"/>
                    <a:gd name="T17" fmla="*/ 8 h 51"/>
                    <a:gd name="T18" fmla="*/ 1 w 46"/>
                    <a:gd name="T19" fmla="*/ 10 h 51"/>
                    <a:gd name="T20" fmla="*/ 1 w 46"/>
                    <a:gd name="T21" fmla="*/ 12 h 51"/>
                    <a:gd name="T22" fmla="*/ 2 w 46"/>
                    <a:gd name="T23" fmla="*/ 14 h 51"/>
                    <a:gd name="T24" fmla="*/ 3 w 46"/>
                    <a:gd name="T25" fmla="*/ 15 h 51"/>
                    <a:gd name="T26" fmla="*/ 4 w 46"/>
                    <a:gd name="T27" fmla="*/ 16 h 51"/>
                    <a:gd name="T28" fmla="*/ 5 w 46"/>
                    <a:gd name="T29" fmla="*/ 17 h 51"/>
                    <a:gd name="T30" fmla="*/ 5 w 46"/>
                    <a:gd name="T31" fmla="*/ 17 h 51"/>
                    <a:gd name="T32" fmla="*/ 6 w 46"/>
                    <a:gd name="T33" fmla="*/ 17 h 51"/>
                    <a:gd name="T34" fmla="*/ 6 w 46"/>
                    <a:gd name="T35" fmla="*/ 17 h 51"/>
                    <a:gd name="T36" fmla="*/ 11 w 46"/>
                    <a:gd name="T37" fmla="*/ 17 h 51"/>
                    <a:gd name="T38" fmla="*/ 15 w 46"/>
                    <a:gd name="T39" fmla="*/ 17 h 51"/>
                    <a:gd name="T40" fmla="*/ 15 w 46"/>
                    <a:gd name="T41" fmla="*/ 12 h 51"/>
                    <a:gd name="T42" fmla="*/ 15 w 46"/>
                    <a:gd name="T43" fmla="*/ 9 h 51"/>
                    <a:gd name="T44" fmla="*/ 15 w 46"/>
                    <a:gd name="T45" fmla="*/ 6 h 51"/>
                    <a:gd name="T46" fmla="*/ 15 w 46"/>
                    <a:gd name="T47" fmla="*/ 4 h 5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46" h="51">
                      <a:moveTo>
                        <a:pt x="46" y="12"/>
                      </a:moveTo>
                      <a:lnTo>
                        <a:pt x="19" y="0"/>
                      </a:lnTo>
                      <a:lnTo>
                        <a:pt x="13" y="5"/>
                      </a:lnTo>
                      <a:lnTo>
                        <a:pt x="7" y="9"/>
                      </a:lnTo>
                      <a:lnTo>
                        <a:pt x="4" y="12"/>
                      </a:lnTo>
                      <a:lnTo>
                        <a:pt x="2" y="14"/>
                      </a:lnTo>
                      <a:lnTo>
                        <a:pt x="0" y="16"/>
                      </a:lnTo>
                      <a:lnTo>
                        <a:pt x="0" y="19"/>
                      </a:lnTo>
                      <a:lnTo>
                        <a:pt x="0" y="24"/>
                      </a:lnTo>
                      <a:lnTo>
                        <a:pt x="2" y="29"/>
                      </a:lnTo>
                      <a:lnTo>
                        <a:pt x="4" y="36"/>
                      </a:lnTo>
                      <a:lnTo>
                        <a:pt x="7" y="41"/>
                      </a:lnTo>
                      <a:lnTo>
                        <a:pt x="10" y="46"/>
                      </a:lnTo>
                      <a:lnTo>
                        <a:pt x="13" y="49"/>
                      </a:lnTo>
                      <a:lnTo>
                        <a:pt x="15" y="50"/>
                      </a:lnTo>
                      <a:lnTo>
                        <a:pt x="16" y="51"/>
                      </a:lnTo>
                      <a:lnTo>
                        <a:pt x="18" y="51"/>
                      </a:lnTo>
                      <a:lnTo>
                        <a:pt x="19" y="50"/>
                      </a:lnTo>
                      <a:lnTo>
                        <a:pt x="35" y="50"/>
                      </a:lnTo>
                      <a:lnTo>
                        <a:pt x="46" y="50"/>
                      </a:lnTo>
                      <a:lnTo>
                        <a:pt x="46" y="37"/>
                      </a:lnTo>
                      <a:lnTo>
                        <a:pt x="46" y="26"/>
                      </a:lnTo>
                      <a:lnTo>
                        <a:pt x="46" y="18"/>
                      </a:lnTo>
                      <a:lnTo>
                        <a:pt x="46" y="12"/>
                      </a:lnTo>
                    </a:path>
                  </a:pathLst>
                </a:custGeom>
                <a:grpFill/>
                <a:ln w="9525" cap="flat" cmpd="sng">
                  <a:solidFill>
                    <a:srgbClr val="FFFFFF"/>
                  </a:solidFill>
                  <a:prstDash val="solid"/>
                  <a:round/>
                  <a:headEnd type="none" w="med" len="med"/>
                  <a:tailEnd type="none" w="med" len="med"/>
                </a:ln>
                <a:effectLst/>
              </p:spPr>
              <p:txBody>
                <a:bodyPr/>
                <a:lstStyle/>
                <a:p>
                  <a:endParaRPr lang="en-GB" sz="1637"/>
                </a:p>
              </p:txBody>
            </p:sp>
            <p:sp>
              <p:nvSpPr>
                <p:cNvPr id="462" name="Freeform 440"/>
                <p:cNvSpPr>
                  <a:spLocks/>
                </p:cNvSpPr>
                <p:nvPr/>
              </p:nvSpPr>
              <p:spPr bwMode="auto">
                <a:xfrm>
                  <a:off x="1759" y="3730"/>
                  <a:ext cx="63" cy="53"/>
                </a:xfrm>
                <a:custGeom>
                  <a:avLst/>
                  <a:gdLst>
                    <a:gd name="T0" fmla="*/ 0 w 192"/>
                    <a:gd name="T1" fmla="*/ 0 h 158"/>
                    <a:gd name="T2" fmla="*/ 0 w 192"/>
                    <a:gd name="T3" fmla="*/ 5 h 158"/>
                    <a:gd name="T4" fmla="*/ 1 w 192"/>
                    <a:gd name="T5" fmla="*/ 9 h 158"/>
                    <a:gd name="T6" fmla="*/ 1 w 192"/>
                    <a:gd name="T7" fmla="*/ 13 h 158"/>
                    <a:gd name="T8" fmla="*/ 2 w 192"/>
                    <a:gd name="T9" fmla="*/ 17 h 158"/>
                    <a:gd name="T10" fmla="*/ 4 w 192"/>
                    <a:gd name="T11" fmla="*/ 20 h 158"/>
                    <a:gd name="T12" fmla="*/ 5 w 192"/>
                    <a:gd name="T13" fmla="*/ 24 h 158"/>
                    <a:gd name="T14" fmla="*/ 7 w 192"/>
                    <a:gd name="T15" fmla="*/ 27 h 158"/>
                    <a:gd name="T16" fmla="*/ 8 w 192"/>
                    <a:gd name="T17" fmla="*/ 30 h 158"/>
                    <a:gd name="T18" fmla="*/ 15 w 192"/>
                    <a:gd name="T19" fmla="*/ 41 h 158"/>
                    <a:gd name="T20" fmla="*/ 22 w 192"/>
                    <a:gd name="T21" fmla="*/ 50 h 158"/>
                    <a:gd name="T22" fmla="*/ 24 w 192"/>
                    <a:gd name="T23" fmla="*/ 51 h 158"/>
                    <a:gd name="T24" fmla="*/ 26 w 192"/>
                    <a:gd name="T25" fmla="*/ 51 h 158"/>
                    <a:gd name="T26" fmla="*/ 28 w 192"/>
                    <a:gd name="T27" fmla="*/ 52 h 158"/>
                    <a:gd name="T28" fmla="*/ 30 w 192"/>
                    <a:gd name="T29" fmla="*/ 52 h 158"/>
                    <a:gd name="T30" fmla="*/ 34 w 192"/>
                    <a:gd name="T31" fmla="*/ 53 h 158"/>
                    <a:gd name="T32" fmla="*/ 39 w 192"/>
                    <a:gd name="T33" fmla="*/ 53 h 158"/>
                    <a:gd name="T34" fmla="*/ 50 w 192"/>
                    <a:gd name="T35" fmla="*/ 52 h 158"/>
                    <a:gd name="T36" fmla="*/ 63 w 192"/>
                    <a:gd name="T37" fmla="*/ 52 h 158"/>
                    <a:gd name="T38" fmla="*/ 60 w 192"/>
                    <a:gd name="T39" fmla="*/ 51 h 158"/>
                    <a:gd name="T40" fmla="*/ 58 w 192"/>
                    <a:gd name="T41" fmla="*/ 51 h 158"/>
                    <a:gd name="T42" fmla="*/ 55 w 192"/>
                    <a:gd name="T43" fmla="*/ 51 h 158"/>
                    <a:gd name="T44" fmla="*/ 53 w 192"/>
                    <a:gd name="T45" fmla="*/ 50 h 158"/>
                    <a:gd name="T46" fmla="*/ 48 w 192"/>
                    <a:gd name="T47" fmla="*/ 48 h 158"/>
                    <a:gd name="T48" fmla="*/ 42 w 192"/>
                    <a:gd name="T49" fmla="*/ 46 h 158"/>
                    <a:gd name="T50" fmla="*/ 38 w 192"/>
                    <a:gd name="T51" fmla="*/ 44 h 158"/>
                    <a:gd name="T52" fmla="*/ 33 w 192"/>
                    <a:gd name="T53" fmla="*/ 40 h 158"/>
                    <a:gd name="T54" fmla="*/ 29 w 192"/>
                    <a:gd name="T55" fmla="*/ 37 h 158"/>
                    <a:gd name="T56" fmla="*/ 25 w 192"/>
                    <a:gd name="T57" fmla="*/ 33 h 158"/>
                    <a:gd name="T58" fmla="*/ 21 w 192"/>
                    <a:gd name="T59" fmla="*/ 29 h 158"/>
                    <a:gd name="T60" fmla="*/ 17 w 192"/>
                    <a:gd name="T61" fmla="*/ 25 h 158"/>
                    <a:gd name="T62" fmla="*/ 14 w 192"/>
                    <a:gd name="T63" fmla="*/ 21 h 158"/>
                    <a:gd name="T64" fmla="*/ 11 w 192"/>
                    <a:gd name="T65" fmla="*/ 17 h 158"/>
                    <a:gd name="T66" fmla="*/ 9 w 192"/>
                    <a:gd name="T67" fmla="*/ 13 h 158"/>
                    <a:gd name="T68" fmla="*/ 7 w 192"/>
                    <a:gd name="T69" fmla="*/ 9 h 158"/>
                    <a:gd name="T70" fmla="*/ 5 w 192"/>
                    <a:gd name="T71" fmla="*/ 5 h 158"/>
                    <a:gd name="T72" fmla="*/ 4 w 192"/>
                    <a:gd name="T73" fmla="*/ 2 h 158"/>
                    <a:gd name="T74" fmla="*/ 0 w 192"/>
                    <a:gd name="T75" fmla="*/ 0 h 15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92" h="158">
                      <a:moveTo>
                        <a:pt x="0" y="0"/>
                      </a:moveTo>
                      <a:lnTo>
                        <a:pt x="0" y="14"/>
                      </a:lnTo>
                      <a:lnTo>
                        <a:pt x="2" y="26"/>
                      </a:lnTo>
                      <a:lnTo>
                        <a:pt x="4" y="38"/>
                      </a:lnTo>
                      <a:lnTo>
                        <a:pt x="7" y="50"/>
                      </a:lnTo>
                      <a:lnTo>
                        <a:pt x="11" y="61"/>
                      </a:lnTo>
                      <a:lnTo>
                        <a:pt x="15" y="71"/>
                      </a:lnTo>
                      <a:lnTo>
                        <a:pt x="21" y="81"/>
                      </a:lnTo>
                      <a:lnTo>
                        <a:pt x="25" y="90"/>
                      </a:lnTo>
                      <a:lnTo>
                        <a:pt x="47" y="122"/>
                      </a:lnTo>
                      <a:lnTo>
                        <a:pt x="66" y="148"/>
                      </a:lnTo>
                      <a:lnTo>
                        <a:pt x="72" y="151"/>
                      </a:lnTo>
                      <a:lnTo>
                        <a:pt x="79" y="153"/>
                      </a:lnTo>
                      <a:lnTo>
                        <a:pt x="85" y="155"/>
                      </a:lnTo>
                      <a:lnTo>
                        <a:pt x="92" y="156"/>
                      </a:lnTo>
                      <a:lnTo>
                        <a:pt x="105" y="158"/>
                      </a:lnTo>
                      <a:lnTo>
                        <a:pt x="119" y="158"/>
                      </a:lnTo>
                      <a:lnTo>
                        <a:pt x="152" y="155"/>
                      </a:lnTo>
                      <a:lnTo>
                        <a:pt x="192" y="154"/>
                      </a:lnTo>
                      <a:lnTo>
                        <a:pt x="184" y="153"/>
                      </a:lnTo>
                      <a:lnTo>
                        <a:pt x="176" y="152"/>
                      </a:lnTo>
                      <a:lnTo>
                        <a:pt x="168" y="151"/>
                      </a:lnTo>
                      <a:lnTo>
                        <a:pt x="160" y="149"/>
                      </a:lnTo>
                      <a:lnTo>
                        <a:pt x="145" y="144"/>
                      </a:lnTo>
                      <a:lnTo>
                        <a:pt x="129" y="138"/>
                      </a:lnTo>
                      <a:lnTo>
                        <a:pt x="115" y="130"/>
                      </a:lnTo>
                      <a:lnTo>
                        <a:pt x="101" y="120"/>
                      </a:lnTo>
                      <a:lnTo>
                        <a:pt x="87" y="110"/>
                      </a:lnTo>
                      <a:lnTo>
                        <a:pt x="75" y="98"/>
                      </a:lnTo>
                      <a:lnTo>
                        <a:pt x="63" y="87"/>
                      </a:lnTo>
                      <a:lnTo>
                        <a:pt x="52" y="75"/>
                      </a:lnTo>
                      <a:lnTo>
                        <a:pt x="42" y="63"/>
                      </a:lnTo>
                      <a:lnTo>
                        <a:pt x="35" y="50"/>
                      </a:lnTo>
                      <a:lnTo>
                        <a:pt x="27" y="38"/>
                      </a:lnTo>
                      <a:lnTo>
                        <a:pt x="21" y="26"/>
                      </a:lnTo>
                      <a:lnTo>
                        <a:pt x="16" y="16"/>
                      </a:lnTo>
                      <a:lnTo>
                        <a:pt x="13" y="6"/>
                      </a:lnTo>
                      <a:lnTo>
                        <a:pt x="0" y="0"/>
                      </a:lnTo>
                    </a:path>
                  </a:pathLst>
                </a:custGeom>
                <a:grpFill/>
                <a:ln w="9525" cap="flat" cmpd="sng">
                  <a:solidFill>
                    <a:srgbClr val="FFFFFF"/>
                  </a:solidFill>
                  <a:prstDash val="solid"/>
                  <a:round/>
                  <a:headEnd type="none" w="med" len="med"/>
                  <a:tailEnd type="none" w="med" len="med"/>
                </a:ln>
                <a:effectLst/>
              </p:spPr>
              <p:txBody>
                <a:bodyPr/>
                <a:lstStyle/>
                <a:p>
                  <a:endParaRPr lang="en-GB" sz="1637"/>
                </a:p>
              </p:txBody>
            </p:sp>
            <p:sp>
              <p:nvSpPr>
                <p:cNvPr id="463" name="Freeform 441"/>
                <p:cNvSpPr>
                  <a:spLocks/>
                </p:cNvSpPr>
                <p:nvPr/>
              </p:nvSpPr>
              <p:spPr bwMode="auto">
                <a:xfrm>
                  <a:off x="1589" y="3126"/>
                  <a:ext cx="290" cy="606"/>
                </a:xfrm>
                <a:custGeom>
                  <a:avLst/>
                  <a:gdLst>
                    <a:gd name="T0" fmla="*/ 253 w 884"/>
                    <a:gd name="T1" fmla="*/ 138 h 1818"/>
                    <a:gd name="T2" fmla="*/ 286 w 884"/>
                    <a:gd name="T3" fmla="*/ 114 h 1818"/>
                    <a:gd name="T4" fmla="*/ 290 w 884"/>
                    <a:gd name="T5" fmla="*/ 77 h 1818"/>
                    <a:gd name="T6" fmla="*/ 276 w 884"/>
                    <a:gd name="T7" fmla="*/ 64 h 1818"/>
                    <a:gd name="T8" fmla="*/ 276 w 884"/>
                    <a:gd name="T9" fmla="*/ 87 h 1818"/>
                    <a:gd name="T10" fmla="*/ 254 w 884"/>
                    <a:gd name="T11" fmla="*/ 109 h 1818"/>
                    <a:gd name="T12" fmla="*/ 219 w 884"/>
                    <a:gd name="T13" fmla="*/ 110 h 1818"/>
                    <a:gd name="T14" fmla="*/ 205 w 884"/>
                    <a:gd name="T15" fmla="*/ 97 h 1818"/>
                    <a:gd name="T16" fmla="*/ 216 w 884"/>
                    <a:gd name="T17" fmla="*/ 72 h 1818"/>
                    <a:gd name="T18" fmla="*/ 178 w 884"/>
                    <a:gd name="T19" fmla="*/ 49 h 1818"/>
                    <a:gd name="T20" fmla="*/ 139 w 884"/>
                    <a:gd name="T21" fmla="*/ 29 h 1818"/>
                    <a:gd name="T22" fmla="*/ 122 w 884"/>
                    <a:gd name="T23" fmla="*/ 3 h 1818"/>
                    <a:gd name="T24" fmla="*/ 94 w 884"/>
                    <a:gd name="T25" fmla="*/ 7 h 1818"/>
                    <a:gd name="T26" fmla="*/ 77 w 884"/>
                    <a:gd name="T27" fmla="*/ 8 h 1818"/>
                    <a:gd name="T28" fmla="*/ 56 w 884"/>
                    <a:gd name="T29" fmla="*/ 3 h 1818"/>
                    <a:gd name="T30" fmla="*/ 32 w 884"/>
                    <a:gd name="T31" fmla="*/ 18 h 1818"/>
                    <a:gd name="T32" fmla="*/ 22 w 884"/>
                    <a:gd name="T33" fmla="*/ 39 h 1818"/>
                    <a:gd name="T34" fmla="*/ 9 w 884"/>
                    <a:gd name="T35" fmla="*/ 60 h 1818"/>
                    <a:gd name="T36" fmla="*/ 18 w 884"/>
                    <a:gd name="T37" fmla="*/ 84 h 1818"/>
                    <a:gd name="T38" fmla="*/ 17 w 884"/>
                    <a:gd name="T39" fmla="*/ 106 h 1818"/>
                    <a:gd name="T40" fmla="*/ 0 w 884"/>
                    <a:gd name="T41" fmla="*/ 144 h 1818"/>
                    <a:gd name="T42" fmla="*/ 4 w 884"/>
                    <a:gd name="T43" fmla="*/ 203 h 1818"/>
                    <a:gd name="T44" fmla="*/ 25 w 884"/>
                    <a:gd name="T45" fmla="*/ 232 h 1818"/>
                    <a:gd name="T46" fmla="*/ 20 w 884"/>
                    <a:gd name="T47" fmla="*/ 251 h 1818"/>
                    <a:gd name="T48" fmla="*/ 20 w 884"/>
                    <a:gd name="T49" fmla="*/ 269 h 1818"/>
                    <a:gd name="T50" fmla="*/ 27 w 884"/>
                    <a:gd name="T51" fmla="*/ 283 h 1818"/>
                    <a:gd name="T52" fmla="*/ 17 w 884"/>
                    <a:gd name="T53" fmla="*/ 300 h 1818"/>
                    <a:gd name="T54" fmla="*/ 27 w 884"/>
                    <a:gd name="T55" fmla="*/ 328 h 1818"/>
                    <a:gd name="T56" fmla="*/ 27 w 884"/>
                    <a:gd name="T57" fmla="*/ 352 h 1818"/>
                    <a:gd name="T58" fmla="*/ 26 w 884"/>
                    <a:gd name="T59" fmla="*/ 384 h 1818"/>
                    <a:gd name="T60" fmla="*/ 45 w 884"/>
                    <a:gd name="T61" fmla="*/ 422 h 1818"/>
                    <a:gd name="T62" fmla="*/ 65 w 884"/>
                    <a:gd name="T63" fmla="*/ 465 h 1818"/>
                    <a:gd name="T64" fmla="*/ 71 w 884"/>
                    <a:gd name="T65" fmla="*/ 488 h 1818"/>
                    <a:gd name="T66" fmla="*/ 75 w 884"/>
                    <a:gd name="T67" fmla="*/ 509 h 1818"/>
                    <a:gd name="T68" fmla="*/ 70 w 884"/>
                    <a:gd name="T69" fmla="*/ 530 h 1818"/>
                    <a:gd name="T70" fmla="*/ 66 w 884"/>
                    <a:gd name="T71" fmla="*/ 548 h 1818"/>
                    <a:gd name="T72" fmla="*/ 75 w 884"/>
                    <a:gd name="T73" fmla="*/ 573 h 1818"/>
                    <a:gd name="T74" fmla="*/ 102 w 884"/>
                    <a:gd name="T75" fmla="*/ 591 h 1818"/>
                    <a:gd name="T76" fmla="*/ 129 w 884"/>
                    <a:gd name="T77" fmla="*/ 599 h 1818"/>
                    <a:gd name="T78" fmla="*/ 148 w 884"/>
                    <a:gd name="T79" fmla="*/ 595 h 1818"/>
                    <a:gd name="T80" fmla="*/ 149 w 884"/>
                    <a:gd name="T81" fmla="*/ 568 h 1818"/>
                    <a:gd name="T82" fmla="*/ 154 w 884"/>
                    <a:gd name="T83" fmla="*/ 537 h 1818"/>
                    <a:gd name="T84" fmla="*/ 162 w 884"/>
                    <a:gd name="T85" fmla="*/ 503 h 1818"/>
                    <a:gd name="T86" fmla="*/ 138 w 884"/>
                    <a:gd name="T87" fmla="*/ 495 h 1818"/>
                    <a:gd name="T88" fmla="*/ 132 w 884"/>
                    <a:gd name="T89" fmla="*/ 477 h 1818"/>
                    <a:gd name="T90" fmla="*/ 149 w 884"/>
                    <a:gd name="T91" fmla="*/ 465 h 1818"/>
                    <a:gd name="T92" fmla="*/ 159 w 884"/>
                    <a:gd name="T93" fmla="*/ 444 h 1818"/>
                    <a:gd name="T94" fmla="*/ 149 w 884"/>
                    <a:gd name="T95" fmla="*/ 408 h 1818"/>
                    <a:gd name="T96" fmla="*/ 139 w 884"/>
                    <a:gd name="T97" fmla="*/ 380 h 1818"/>
                    <a:gd name="T98" fmla="*/ 170 w 884"/>
                    <a:gd name="T99" fmla="*/ 389 h 1818"/>
                    <a:gd name="T100" fmla="*/ 186 w 884"/>
                    <a:gd name="T101" fmla="*/ 384 h 1818"/>
                    <a:gd name="T102" fmla="*/ 183 w 884"/>
                    <a:gd name="T103" fmla="*/ 359 h 1818"/>
                    <a:gd name="T104" fmla="*/ 185 w 884"/>
                    <a:gd name="T105" fmla="*/ 343 h 1818"/>
                    <a:gd name="T106" fmla="*/ 222 w 884"/>
                    <a:gd name="T107" fmla="*/ 341 h 1818"/>
                    <a:gd name="T108" fmla="*/ 261 w 884"/>
                    <a:gd name="T109" fmla="*/ 324 h 1818"/>
                    <a:gd name="T110" fmla="*/ 268 w 884"/>
                    <a:gd name="T111" fmla="*/ 294 h 1818"/>
                    <a:gd name="T112" fmla="*/ 256 w 884"/>
                    <a:gd name="T113" fmla="*/ 284 h 1818"/>
                    <a:gd name="T114" fmla="*/ 249 w 884"/>
                    <a:gd name="T115" fmla="*/ 270 h 1818"/>
                    <a:gd name="T116" fmla="*/ 227 w 884"/>
                    <a:gd name="T117" fmla="*/ 251 h 1818"/>
                    <a:gd name="T118" fmla="*/ 230 w 884"/>
                    <a:gd name="T119" fmla="*/ 177 h 18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884" h="1818">
                      <a:moveTo>
                        <a:pt x="725" y="493"/>
                      </a:moveTo>
                      <a:lnTo>
                        <a:pt x="726" y="484"/>
                      </a:lnTo>
                      <a:lnTo>
                        <a:pt x="729" y="474"/>
                      </a:lnTo>
                      <a:lnTo>
                        <a:pt x="735" y="462"/>
                      </a:lnTo>
                      <a:lnTo>
                        <a:pt x="742" y="450"/>
                      </a:lnTo>
                      <a:lnTo>
                        <a:pt x="750" y="438"/>
                      </a:lnTo>
                      <a:lnTo>
                        <a:pt x="761" y="427"/>
                      </a:lnTo>
                      <a:lnTo>
                        <a:pt x="772" y="415"/>
                      </a:lnTo>
                      <a:lnTo>
                        <a:pt x="784" y="402"/>
                      </a:lnTo>
                      <a:lnTo>
                        <a:pt x="798" y="391"/>
                      </a:lnTo>
                      <a:lnTo>
                        <a:pt x="811" y="381"/>
                      </a:lnTo>
                      <a:lnTo>
                        <a:pt x="824" y="371"/>
                      </a:lnTo>
                      <a:lnTo>
                        <a:pt x="837" y="362"/>
                      </a:lnTo>
                      <a:lnTo>
                        <a:pt x="849" y="353"/>
                      </a:lnTo>
                      <a:lnTo>
                        <a:pt x="862" y="347"/>
                      </a:lnTo>
                      <a:lnTo>
                        <a:pt x="873" y="342"/>
                      </a:lnTo>
                      <a:lnTo>
                        <a:pt x="884" y="339"/>
                      </a:lnTo>
                      <a:lnTo>
                        <a:pt x="884" y="329"/>
                      </a:lnTo>
                      <a:lnTo>
                        <a:pt x="884" y="310"/>
                      </a:lnTo>
                      <a:lnTo>
                        <a:pt x="884" y="289"/>
                      </a:lnTo>
                      <a:lnTo>
                        <a:pt x="884" y="272"/>
                      </a:lnTo>
                      <a:lnTo>
                        <a:pt x="884" y="259"/>
                      </a:lnTo>
                      <a:lnTo>
                        <a:pt x="884" y="247"/>
                      </a:lnTo>
                      <a:lnTo>
                        <a:pt x="884" y="232"/>
                      </a:lnTo>
                      <a:lnTo>
                        <a:pt x="884" y="216"/>
                      </a:lnTo>
                      <a:lnTo>
                        <a:pt x="874" y="216"/>
                      </a:lnTo>
                      <a:lnTo>
                        <a:pt x="867" y="214"/>
                      </a:lnTo>
                      <a:lnTo>
                        <a:pt x="859" y="211"/>
                      </a:lnTo>
                      <a:lnTo>
                        <a:pt x="854" y="208"/>
                      </a:lnTo>
                      <a:lnTo>
                        <a:pt x="848" y="203"/>
                      </a:lnTo>
                      <a:lnTo>
                        <a:pt x="844" y="198"/>
                      </a:lnTo>
                      <a:lnTo>
                        <a:pt x="840" y="192"/>
                      </a:lnTo>
                      <a:lnTo>
                        <a:pt x="837" y="185"/>
                      </a:lnTo>
                      <a:lnTo>
                        <a:pt x="837" y="222"/>
                      </a:lnTo>
                      <a:lnTo>
                        <a:pt x="840" y="227"/>
                      </a:lnTo>
                      <a:lnTo>
                        <a:pt x="843" y="231"/>
                      </a:lnTo>
                      <a:lnTo>
                        <a:pt x="844" y="236"/>
                      </a:lnTo>
                      <a:lnTo>
                        <a:pt x="845" y="241"/>
                      </a:lnTo>
                      <a:lnTo>
                        <a:pt x="844" y="252"/>
                      </a:lnTo>
                      <a:lnTo>
                        <a:pt x="841" y="262"/>
                      </a:lnTo>
                      <a:lnTo>
                        <a:pt x="837" y="271"/>
                      </a:lnTo>
                      <a:lnTo>
                        <a:pt x="832" y="281"/>
                      </a:lnTo>
                      <a:lnTo>
                        <a:pt x="824" y="290"/>
                      </a:lnTo>
                      <a:lnTo>
                        <a:pt x="815" y="299"/>
                      </a:lnTo>
                      <a:lnTo>
                        <a:pt x="805" y="308"/>
                      </a:lnTo>
                      <a:lnTo>
                        <a:pt x="795" y="316"/>
                      </a:lnTo>
                      <a:lnTo>
                        <a:pt x="785" y="322"/>
                      </a:lnTo>
                      <a:lnTo>
                        <a:pt x="774" y="328"/>
                      </a:lnTo>
                      <a:lnTo>
                        <a:pt x="765" y="333"/>
                      </a:lnTo>
                      <a:lnTo>
                        <a:pt x="755" y="336"/>
                      </a:lnTo>
                      <a:lnTo>
                        <a:pt x="746" y="338"/>
                      </a:lnTo>
                      <a:lnTo>
                        <a:pt x="738" y="339"/>
                      </a:lnTo>
                      <a:lnTo>
                        <a:pt x="722" y="339"/>
                      </a:lnTo>
                      <a:lnTo>
                        <a:pt x="703" y="338"/>
                      </a:lnTo>
                      <a:lnTo>
                        <a:pt x="684" y="335"/>
                      </a:lnTo>
                      <a:lnTo>
                        <a:pt x="667" y="331"/>
                      </a:lnTo>
                      <a:lnTo>
                        <a:pt x="658" y="328"/>
                      </a:lnTo>
                      <a:lnTo>
                        <a:pt x="650" y="325"/>
                      </a:lnTo>
                      <a:lnTo>
                        <a:pt x="643" y="321"/>
                      </a:lnTo>
                      <a:lnTo>
                        <a:pt x="637" y="316"/>
                      </a:lnTo>
                      <a:lnTo>
                        <a:pt x="632" y="311"/>
                      </a:lnTo>
                      <a:lnTo>
                        <a:pt x="628" y="305"/>
                      </a:lnTo>
                      <a:lnTo>
                        <a:pt x="625" y="297"/>
                      </a:lnTo>
                      <a:lnTo>
                        <a:pt x="625" y="290"/>
                      </a:lnTo>
                      <a:lnTo>
                        <a:pt x="625" y="283"/>
                      </a:lnTo>
                      <a:lnTo>
                        <a:pt x="626" y="277"/>
                      </a:lnTo>
                      <a:lnTo>
                        <a:pt x="628" y="270"/>
                      </a:lnTo>
                      <a:lnTo>
                        <a:pt x="631" y="264"/>
                      </a:lnTo>
                      <a:lnTo>
                        <a:pt x="636" y="252"/>
                      </a:lnTo>
                      <a:lnTo>
                        <a:pt x="643" y="240"/>
                      </a:lnTo>
                      <a:lnTo>
                        <a:pt x="650" y="228"/>
                      </a:lnTo>
                      <a:lnTo>
                        <a:pt x="658" y="215"/>
                      </a:lnTo>
                      <a:lnTo>
                        <a:pt x="666" y="201"/>
                      </a:lnTo>
                      <a:lnTo>
                        <a:pt x="671" y="185"/>
                      </a:lnTo>
                      <a:lnTo>
                        <a:pt x="654" y="178"/>
                      </a:lnTo>
                      <a:lnTo>
                        <a:pt x="637" y="172"/>
                      </a:lnTo>
                      <a:lnTo>
                        <a:pt x="621" y="166"/>
                      </a:lnTo>
                      <a:lnTo>
                        <a:pt x="605" y="162"/>
                      </a:lnTo>
                      <a:lnTo>
                        <a:pt x="574" y="155"/>
                      </a:lnTo>
                      <a:lnTo>
                        <a:pt x="544" y="148"/>
                      </a:lnTo>
                      <a:lnTo>
                        <a:pt x="529" y="144"/>
                      </a:lnTo>
                      <a:lnTo>
                        <a:pt x="514" y="139"/>
                      </a:lnTo>
                      <a:lnTo>
                        <a:pt x="499" y="133"/>
                      </a:lnTo>
                      <a:lnTo>
                        <a:pt x="485" y="127"/>
                      </a:lnTo>
                      <a:lnTo>
                        <a:pt x="470" y="119"/>
                      </a:lnTo>
                      <a:lnTo>
                        <a:pt x="455" y="110"/>
                      </a:lnTo>
                      <a:lnTo>
                        <a:pt x="441" y="100"/>
                      </a:lnTo>
                      <a:lnTo>
                        <a:pt x="425" y="87"/>
                      </a:lnTo>
                      <a:lnTo>
                        <a:pt x="417" y="76"/>
                      </a:lnTo>
                      <a:lnTo>
                        <a:pt x="410" y="66"/>
                      </a:lnTo>
                      <a:lnTo>
                        <a:pt x="403" y="55"/>
                      </a:lnTo>
                      <a:lnTo>
                        <a:pt x="398" y="44"/>
                      </a:lnTo>
                      <a:lnTo>
                        <a:pt x="390" y="32"/>
                      </a:lnTo>
                      <a:lnTo>
                        <a:pt x="383" y="20"/>
                      </a:lnTo>
                      <a:lnTo>
                        <a:pt x="378" y="15"/>
                      </a:lnTo>
                      <a:lnTo>
                        <a:pt x="373" y="10"/>
                      </a:lnTo>
                      <a:lnTo>
                        <a:pt x="366" y="5"/>
                      </a:lnTo>
                      <a:lnTo>
                        <a:pt x="359" y="0"/>
                      </a:lnTo>
                      <a:lnTo>
                        <a:pt x="332" y="6"/>
                      </a:lnTo>
                      <a:lnTo>
                        <a:pt x="308" y="11"/>
                      </a:lnTo>
                      <a:lnTo>
                        <a:pt x="302" y="13"/>
                      </a:lnTo>
                      <a:lnTo>
                        <a:pt x="297" y="15"/>
                      </a:lnTo>
                      <a:lnTo>
                        <a:pt x="291" y="19"/>
                      </a:lnTo>
                      <a:lnTo>
                        <a:pt x="286" y="22"/>
                      </a:lnTo>
                      <a:lnTo>
                        <a:pt x="281" y="28"/>
                      </a:lnTo>
                      <a:lnTo>
                        <a:pt x="276" y="34"/>
                      </a:lnTo>
                      <a:lnTo>
                        <a:pt x="272" y="41"/>
                      </a:lnTo>
                      <a:lnTo>
                        <a:pt x="266" y="50"/>
                      </a:lnTo>
                      <a:lnTo>
                        <a:pt x="257" y="44"/>
                      </a:lnTo>
                      <a:lnTo>
                        <a:pt x="249" y="38"/>
                      </a:lnTo>
                      <a:lnTo>
                        <a:pt x="242" y="31"/>
                      </a:lnTo>
                      <a:lnTo>
                        <a:pt x="234" y="24"/>
                      </a:lnTo>
                      <a:lnTo>
                        <a:pt x="225" y="17"/>
                      </a:lnTo>
                      <a:lnTo>
                        <a:pt x="215" y="11"/>
                      </a:lnTo>
                      <a:lnTo>
                        <a:pt x="209" y="9"/>
                      </a:lnTo>
                      <a:lnTo>
                        <a:pt x="202" y="8"/>
                      </a:lnTo>
                      <a:lnTo>
                        <a:pt x="195" y="7"/>
                      </a:lnTo>
                      <a:lnTo>
                        <a:pt x="186" y="6"/>
                      </a:lnTo>
                      <a:lnTo>
                        <a:pt x="178" y="7"/>
                      </a:lnTo>
                      <a:lnTo>
                        <a:pt x="171" y="8"/>
                      </a:lnTo>
                      <a:lnTo>
                        <a:pt x="163" y="11"/>
                      </a:lnTo>
                      <a:lnTo>
                        <a:pt x="156" y="14"/>
                      </a:lnTo>
                      <a:lnTo>
                        <a:pt x="143" y="22"/>
                      </a:lnTo>
                      <a:lnTo>
                        <a:pt x="132" y="32"/>
                      </a:lnTo>
                      <a:lnTo>
                        <a:pt x="120" y="41"/>
                      </a:lnTo>
                      <a:lnTo>
                        <a:pt x="110" y="48"/>
                      </a:lnTo>
                      <a:lnTo>
                        <a:pt x="105" y="51"/>
                      </a:lnTo>
                      <a:lnTo>
                        <a:pt x="98" y="54"/>
                      </a:lnTo>
                      <a:lnTo>
                        <a:pt x="93" y="55"/>
                      </a:lnTo>
                      <a:lnTo>
                        <a:pt x="87" y="56"/>
                      </a:lnTo>
                      <a:lnTo>
                        <a:pt x="86" y="69"/>
                      </a:lnTo>
                      <a:lnTo>
                        <a:pt x="84" y="81"/>
                      </a:lnTo>
                      <a:lnTo>
                        <a:pt x="82" y="91"/>
                      </a:lnTo>
                      <a:lnTo>
                        <a:pt x="77" y="100"/>
                      </a:lnTo>
                      <a:lnTo>
                        <a:pt x="73" y="109"/>
                      </a:lnTo>
                      <a:lnTo>
                        <a:pt x="67" y="116"/>
                      </a:lnTo>
                      <a:lnTo>
                        <a:pt x="62" y="123"/>
                      </a:lnTo>
                      <a:lnTo>
                        <a:pt x="56" y="129"/>
                      </a:lnTo>
                      <a:lnTo>
                        <a:pt x="45" y="141"/>
                      </a:lnTo>
                      <a:lnTo>
                        <a:pt x="37" y="152"/>
                      </a:lnTo>
                      <a:lnTo>
                        <a:pt x="32" y="158"/>
                      </a:lnTo>
                      <a:lnTo>
                        <a:pt x="30" y="164"/>
                      </a:lnTo>
                      <a:lnTo>
                        <a:pt x="28" y="171"/>
                      </a:lnTo>
                      <a:lnTo>
                        <a:pt x="27" y="179"/>
                      </a:lnTo>
                      <a:lnTo>
                        <a:pt x="28" y="186"/>
                      </a:lnTo>
                      <a:lnTo>
                        <a:pt x="28" y="194"/>
                      </a:lnTo>
                      <a:lnTo>
                        <a:pt x="30" y="201"/>
                      </a:lnTo>
                      <a:lnTo>
                        <a:pt x="32" y="207"/>
                      </a:lnTo>
                      <a:lnTo>
                        <a:pt x="38" y="218"/>
                      </a:lnTo>
                      <a:lnTo>
                        <a:pt x="43" y="228"/>
                      </a:lnTo>
                      <a:lnTo>
                        <a:pt x="50" y="239"/>
                      </a:lnTo>
                      <a:lnTo>
                        <a:pt x="55" y="251"/>
                      </a:lnTo>
                      <a:lnTo>
                        <a:pt x="57" y="257"/>
                      </a:lnTo>
                      <a:lnTo>
                        <a:pt x="59" y="263"/>
                      </a:lnTo>
                      <a:lnTo>
                        <a:pt x="60" y="270"/>
                      </a:lnTo>
                      <a:lnTo>
                        <a:pt x="60" y="278"/>
                      </a:lnTo>
                      <a:lnTo>
                        <a:pt x="60" y="289"/>
                      </a:lnTo>
                      <a:lnTo>
                        <a:pt x="57" y="299"/>
                      </a:lnTo>
                      <a:lnTo>
                        <a:pt x="54" y="310"/>
                      </a:lnTo>
                      <a:lnTo>
                        <a:pt x="51" y="319"/>
                      </a:lnTo>
                      <a:lnTo>
                        <a:pt x="41" y="337"/>
                      </a:lnTo>
                      <a:lnTo>
                        <a:pt x="30" y="354"/>
                      </a:lnTo>
                      <a:lnTo>
                        <a:pt x="19" y="372"/>
                      </a:lnTo>
                      <a:lnTo>
                        <a:pt x="9" y="390"/>
                      </a:lnTo>
                      <a:lnTo>
                        <a:pt x="6" y="400"/>
                      </a:lnTo>
                      <a:lnTo>
                        <a:pt x="3" y="410"/>
                      </a:lnTo>
                      <a:lnTo>
                        <a:pt x="2" y="421"/>
                      </a:lnTo>
                      <a:lnTo>
                        <a:pt x="0" y="432"/>
                      </a:lnTo>
                      <a:lnTo>
                        <a:pt x="0" y="471"/>
                      </a:lnTo>
                      <a:lnTo>
                        <a:pt x="0" y="501"/>
                      </a:lnTo>
                      <a:lnTo>
                        <a:pt x="0" y="529"/>
                      </a:lnTo>
                      <a:lnTo>
                        <a:pt x="0" y="561"/>
                      </a:lnTo>
                      <a:lnTo>
                        <a:pt x="2" y="574"/>
                      </a:lnTo>
                      <a:lnTo>
                        <a:pt x="4" y="587"/>
                      </a:lnTo>
                      <a:lnTo>
                        <a:pt x="8" y="598"/>
                      </a:lnTo>
                      <a:lnTo>
                        <a:pt x="12" y="609"/>
                      </a:lnTo>
                      <a:lnTo>
                        <a:pt x="19" y="618"/>
                      </a:lnTo>
                      <a:lnTo>
                        <a:pt x="26" y="627"/>
                      </a:lnTo>
                      <a:lnTo>
                        <a:pt x="33" y="637"/>
                      </a:lnTo>
                      <a:lnTo>
                        <a:pt x="40" y="645"/>
                      </a:lnTo>
                      <a:lnTo>
                        <a:pt x="55" y="662"/>
                      </a:lnTo>
                      <a:lnTo>
                        <a:pt x="67" y="678"/>
                      </a:lnTo>
                      <a:lnTo>
                        <a:pt x="73" y="686"/>
                      </a:lnTo>
                      <a:lnTo>
                        <a:pt x="76" y="696"/>
                      </a:lnTo>
                      <a:lnTo>
                        <a:pt x="79" y="705"/>
                      </a:lnTo>
                      <a:lnTo>
                        <a:pt x="81" y="715"/>
                      </a:lnTo>
                      <a:lnTo>
                        <a:pt x="79" y="722"/>
                      </a:lnTo>
                      <a:lnTo>
                        <a:pt x="78" y="728"/>
                      </a:lnTo>
                      <a:lnTo>
                        <a:pt x="75" y="733"/>
                      </a:lnTo>
                      <a:lnTo>
                        <a:pt x="73" y="738"/>
                      </a:lnTo>
                      <a:lnTo>
                        <a:pt x="66" y="747"/>
                      </a:lnTo>
                      <a:lnTo>
                        <a:pt x="60" y="753"/>
                      </a:lnTo>
                      <a:lnTo>
                        <a:pt x="71" y="753"/>
                      </a:lnTo>
                      <a:lnTo>
                        <a:pt x="81" y="753"/>
                      </a:lnTo>
                      <a:lnTo>
                        <a:pt x="79" y="760"/>
                      </a:lnTo>
                      <a:lnTo>
                        <a:pt x="77" y="768"/>
                      </a:lnTo>
                      <a:lnTo>
                        <a:pt x="74" y="776"/>
                      </a:lnTo>
                      <a:lnTo>
                        <a:pt x="71" y="784"/>
                      </a:lnTo>
                      <a:lnTo>
                        <a:pt x="63" y="799"/>
                      </a:lnTo>
                      <a:lnTo>
                        <a:pt x="60" y="808"/>
                      </a:lnTo>
                      <a:lnTo>
                        <a:pt x="61" y="813"/>
                      </a:lnTo>
                      <a:lnTo>
                        <a:pt x="63" y="817"/>
                      </a:lnTo>
                      <a:lnTo>
                        <a:pt x="66" y="822"/>
                      </a:lnTo>
                      <a:lnTo>
                        <a:pt x="71" y="827"/>
                      </a:lnTo>
                      <a:lnTo>
                        <a:pt x="74" y="832"/>
                      </a:lnTo>
                      <a:lnTo>
                        <a:pt x="77" y="838"/>
                      </a:lnTo>
                      <a:lnTo>
                        <a:pt x="79" y="844"/>
                      </a:lnTo>
                      <a:lnTo>
                        <a:pt x="81" y="850"/>
                      </a:lnTo>
                      <a:lnTo>
                        <a:pt x="79" y="858"/>
                      </a:lnTo>
                      <a:lnTo>
                        <a:pt x="76" y="864"/>
                      </a:lnTo>
                      <a:lnTo>
                        <a:pt x="72" y="870"/>
                      </a:lnTo>
                      <a:lnTo>
                        <a:pt x="67" y="876"/>
                      </a:lnTo>
                      <a:lnTo>
                        <a:pt x="62" y="881"/>
                      </a:lnTo>
                      <a:lnTo>
                        <a:pt x="57" y="887"/>
                      </a:lnTo>
                      <a:lnTo>
                        <a:pt x="54" y="893"/>
                      </a:lnTo>
                      <a:lnTo>
                        <a:pt x="53" y="900"/>
                      </a:lnTo>
                      <a:lnTo>
                        <a:pt x="54" y="909"/>
                      </a:lnTo>
                      <a:lnTo>
                        <a:pt x="55" y="918"/>
                      </a:lnTo>
                      <a:lnTo>
                        <a:pt x="56" y="925"/>
                      </a:lnTo>
                      <a:lnTo>
                        <a:pt x="59" y="932"/>
                      </a:lnTo>
                      <a:lnTo>
                        <a:pt x="64" y="945"/>
                      </a:lnTo>
                      <a:lnTo>
                        <a:pt x="71" y="958"/>
                      </a:lnTo>
                      <a:lnTo>
                        <a:pt x="76" y="970"/>
                      </a:lnTo>
                      <a:lnTo>
                        <a:pt x="82" y="983"/>
                      </a:lnTo>
                      <a:lnTo>
                        <a:pt x="84" y="989"/>
                      </a:lnTo>
                      <a:lnTo>
                        <a:pt x="85" y="996"/>
                      </a:lnTo>
                      <a:lnTo>
                        <a:pt x="86" y="1003"/>
                      </a:lnTo>
                      <a:lnTo>
                        <a:pt x="87" y="1011"/>
                      </a:lnTo>
                      <a:lnTo>
                        <a:pt x="86" y="1022"/>
                      </a:lnTo>
                      <a:lnTo>
                        <a:pt x="85" y="1034"/>
                      </a:lnTo>
                      <a:lnTo>
                        <a:pt x="83" y="1044"/>
                      </a:lnTo>
                      <a:lnTo>
                        <a:pt x="81" y="1055"/>
                      </a:lnTo>
                      <a:lnTo>
                        <a:pt x="77" y="1066"/>
                      </a:lnTo>
                      <a:lnTo>
                        <a:pt x="75" y="1077"/>
                      </a:lnTo>
                      <a:lnTo>
                        <a:pt x="74" y="1090"/>
                      </a:lnTo>
                      <a:lnTo>
                        <a:pt x="74" y="1103"/>
                      </a:lnTo>
                      <a:lnTo>
                        <a:pt x="74" y="1116"/>
                      </a:lnTo>
                      <a:lnTo>
                        <a:pt x="75" y="1128"/>
                      </a:lnTo>
                      <a:lnTo>
                        <a:pt x="76" y="1141"/>
                      </a:lnTo>
                      <a:lnTo>
                        <a:pt x="78" y="1152"/>
                      </a:lnTo>
                      <a:lnTo>
                        <a:pt x="82" y="1163"/>
                      </a:lnTo>
                      <a:lnTo>
                        <a:pt x="85" y="1174"/>
                      </a:lnTo>
                      <a:lnTo>
                        <a:pt x="89" y="1184"/>
                      </a:lnTo>
                      <a:lnTo>
                        <a:pt x="94" y="1195"/>
                      </a:lnTo>
                      <a:lnTo>
                        <a:pt x="103" y="1213"/>
                      </a:lnTo>
                      <a:lnTo>
                        <a:pt x="113" y="1231"/>
                      </a:lnTo>
                      <a:lnTo>
                        <a:pt x="124" y="1249"/>
                      </a:lnTo>
                      <a:lnTo>
                        <a:pt x="137" y="1265"/>
                      </a:lnTo>
                      <a:lnTo>
                        <a:pt x="149" y="1282"/>
                      </a:lnTo>
                      <a:lnTo>
                        <a:pt x="160" y="1298"/>
                      </a:lnTo>
                      <a:lnTo>
                        <a:pt x="171" y="1316"/>
                      </a:lnTo>
                      <a:lnTo>
                        <a:pt x="180" y="1334"/>
                      </a:lnTo>
                      <a:lnTo>
                        <a:pt x="188" y="1352"/>
                      </a:lnTo>
                      <a:lnTo>
                        <a:pt x="195" y="1373"/>
                      </a:lnTo>
                      <a:lnTo>
                        <a:pt x="197" y="1383"/>
                      </a:lnTo>
                      <a:lnTo>
                        <a:pt x="198" y="1394"/>
                      </a:lnTo>
                      <a:lnTo>
                        <a:pt x="199" y="1405"/>
                      </a:lnTo>
                      <a:lnTo>
                        <a:pt x="200" y="1418"/>
                      </a:lnTo>
                      <a:lnTo>
                        <a:pt x="200" y="1425"/>
                      </a:lnTo>
                      <a:lnTo>
                        <a:pt x="201" y="1431"/>
                      </a:lnTo>
                      <a:lnTo>
                        <a:pt x="202" y="1437"/>
                      </a:lnTo>
                      <a:lnTo>
                        <a:pt x="205" y="1442"/>
                      </a:lnTo>
                      <a:lnTo>
                        <a:pt x="210" y="1453"/>
                      </a:lnTo>
                      <a:lnTo>
                        <a:pt x="217" y="1463"/>
                      </a:lnTo>
                      <a:lnTo>
                        <a:pt x="222" y="1475"/>
                      </a:lnTo>
                      <a:lnTo>
                        <a:pt x="228" y="1485"/>
                      </a:lnTo>
                      <a:lnTo>
                        <a:pt x="230" y="1491"/>
                      </a:lnTo>
                      <a:lnTo>
                        <a:pt x="231" y="1497"/>
                      </a:lnTo>
                      <a:lnTo>
                        <a:pt x="232" y="1503"/>
                      </a:lnTo>
                      <a:lnTo>
                        <a:pt x="233" y="1510"/>
                      </a:lnTo>
                      <a:lnTo>
                        <a:pt x="232" y="1518"/>
                      </a:lnTo>
                      <a:lnTo>
                        <a:pt x="230" y="1526"/>
                      </a:lnTo>
                      <a:lnTo>
                        <a:pt x="227" y="1532"/>
                      </a:lnTo>
                      <a:lnTo>
                        <a:pt x="223" y="1537"/>
                      </a:lnTo>
                      <a:lnTo>
                        <a:pt x="219" y="1542"/>
                      </a:lnTo>
                      <a:lnTo>
                        <a:pt x="216" y="1547"/>
                      </a:lnTo>
                      <a:lnTo>
                        <a:pt x="213" y="1553"/>
                      </a:lnTo>
                      <a:lnTo>
                        <a:pt x="213" y="1559"/>
                      </a:lnTo>
                      <a:lnTo>
                        <a:pt x="213" y="1578"/>
                      </a:lnTo>
                      <a:lnTo>
                        <a:pt x="213" y="1590"/>
                      </a:lnTo>
                      <a:lnTo>
                        <a:pt x="213" y="1598"/>
                      </a:lnTo>
                      <a:lnTo>
                        <a:pt x="213" y="1603"/>
                      </a:lnTo>
                      <a:lnTo>
                        <a:pt x="212" y="1609"/>
                      </a:lnTo>
                      <a:lnTo>
                        <a:pt x="211" y="1615"/>
                      </a:lnTo>
                      <a:lnTo>
                        <a:pt x="209" y="1622"/>
                      </a:lnTo>
                      <a:lnTo>
                        <a:pt x="207" y="1628"/>
                      </a:lnTo>
                      <a:lnTo>
                        <a:pt x="204" y="1635"/>
                      </a:lnTo>
                      <a:lnTo>
                        <a:pt x="201" y="1644"/>
                      </a:lnTo>
                      <a:lnTo>
                        <a:pt x="200" y="1654"/>
                      </a:lnTo>
                      <a:lnTo>
                        <a:pt x="200" y="1664"/>
                      </a:lnTo>
                      <a:lnTo>
                        <a:pt x="200" y="1672"/>
                      </a:lnTo>
                      <a:lnTo>
                        <a:pt x="204" y="1681"/>
                      </a:lnTo>
                      <a:lnTo>
                        <a:pt x="207" y="1690"/>
                      </a:lnTo>
                      <a:lnTo>
                        <a:pt x="213" y="1700"/>
                      </a:lnTo>
                      <a:lnTo>
                        <a:pt x="220" y="1709"/>
                      </a:lnTo>
                      <a:lnTo>
                        <a:pt x="228" y="1718"/>
                      </a:lnTo>
                      <a:lnTo>
                        <a:pt x="236" y="1727"/>
                      </a:lnTo>
                      <a:lnTo>
                        <a:pt x="246" y="1735"/>
                      </a:lnTo>
                      <a:lnTo>
                        <a:pt x="256" y="1743"/>
                      </a:lnTo>
                      <a:lnTo>
                        <a:pt x="267" y="1752"/>
                      </a:lnTo>
                      <a:lnTo>
                        <a:pt x="278" y="1758"/>
                      </a:lnTo>
                      <a:lnTo>
                        <a:pt x="289" y="1764"/>
                      </a:lnTo>
                      <a:lnTo>
                        <a:pt x="300" y="1769"/>
                      </a:lnTo>
                      <a:lnTo>
                        <a:pt x="311" y="1772"/>
                      </a:lnTo>
                      <a:lnTo>
                        <a:pt x="322" y="1774"/>
                      </a:lnTo>
                      <a:lnTo>
                        <a:pt x="333" y="1775"/>
                      </a:lnTo>
                      <a:lnTo>
                        <a:pt x="342" y="1776"/>
                      </a:lnTo>
                      <a:lnTo>
                        <a:pt x="351" y="1779"/>
                      </a:lnTo>
                      <a:lnTo>
                        <a:pt x="358" y="1781"/>
                      </a:lnTo>
                      <a:lnTo>
                        <a:pt x="366" y="1784"/>
                      </a:lnTo>
                      <a:lnTo>
                        <a:pt x="380" y="1791"/>
                      </a:lnTo>
                      <a:lnTo>
                        <a:pt x="392" y="1798"/>
                      </a:lnTo>
                      <a:lnTo>
                        <a:pt x="404" y="1807"/>
                      </a:lnTo>
                      <a:lnTo>
                        <a:pt x="419" y="1813"/>
                      </a:lnTo>
                      <a:lnTo>
                        <a:pt x="426" y="1815"/>
                      </a:lnTo>
                      <a:lnTo>
                        <a:pt x="434" y="1817"/>
                      </a:lnTo>
                      <a:lnTo>
                        <a:pt x="443" y="1818"/>
                      </a:lnTo>
                      <a:lnTo>
                        <a:pt x="452" y="1818"/>
                      </a:lnTo>
                      <a:lnTo>
                        <a:pt x="452" y="1803"/>
                      </a:lnTo>
                      <a:lnTo>
                        <a:pt x="451" y="1786"/>
                      </a:lnTo>
                      <a:lnTo>
                        <a:pt x="448" y="1772"/>
                      </a:lnTo>
                      <a:lnTo>
                        <a:pt x="445" y="1758"/>
                      </a:lnTo>
                      <a:lnTo>
                        <a:pt x="441" y="1736"/>
                      </a:lnTo>
                      <a:lnTo>
                        <a:pt x="439" y="1726"/>
                      </a:lnTo>
                      <a:lnTo>
                        <a:pt x="440" y="1721"/>
                      </a:lnTo>
                      <a:lnTo>
                        <a:pt x="443" y="1715"/>
                      </a:lnTo>
                      <a:lnTo>
                        <a:pt x="448" y="1709"/>
                      </a:lnTo>
                      <a:lnTo>
                        <a:pt x="454" y="1703"/>
                      </a:lnTo>
                      <a:lnTo>
                        <a:pt x="460" y="1698"/>
                      </a:lnTo>
                      <a:lnTo>
                        <a:pt x="467" y="1693"/>
                      </a:lnTo>
                      <a:lnTo>
                        <a:pt x="474" y="1689"/>
                      </a:lnTo>
                      <a:lnTo>
                        <a:pt x="479" y="1688"/>
                      </a:lnTo>
                      <a:lnTo>
                        <a:pt x="466" y="1633"/>
                      </a:lnTo>
                      <a:lnTo>
                        <a:pt x="459" y="1633"/>
                      </a:lnTo>
                      <a:lnTo>
                        <a:pt x="459" y="1615"/>
                      </a:lnTo>
                      <a:lnTo>
                        <a:pt x="470" y="1612"/>
                      </a:lnTo>
                      <a:lnTo>
                        <a:pt x="479" y="1610"/>
                      </a:lnTo>
                      <a:lnTo>
                        <a:pt x="487" y="1608"/>
                      </a:lnTo>
                      <a:lnTo>
                        <a:pt x="493" y="1605"/>
                      </a:lnTo>
                      <a:lnTo>
                        <a:pt x="505" y="1599"/>
                      </a:lnTo>
                      <a:lnTo>
                        <a:pt x="519" y="1590"/>
                      </a:lnTo>
                      <a:lnTo>
                        <a:pt x="519" y="1510"/>
                      </a:lnTo>
                      <a:lnTo>
                        <a:pt x="507" y="1510"/>
                      </a:lnTo>
                      <a:lnTo>
                        <a:pt x="495" y="1509"/>
                      </a:lnTo>
                      <a:lnTo>
                        <a:pt x="482" y="1508"/>
                      </a:lnTo>
                      <a:lnTo>
                        <a:pt x="471" y="1506"/>
                      </a:lnTo>
                      <a:lnTo>
                        <a:pt x="462" y="1504"/>
                      </a:lnTo>
                      <a:lnTo>
                        <a:pt x="452" y="1502"/>
                      </a:lnTo>
                      <a:lnTo>
                        <a:pt x="443" y="1498"/>
                      </a:lnTo>
                      <a:lnTo>
                        <a:pt x="434" y="1495"/>
                      </a:lnTo>
                      <a:lnTo>
                        <a:pt x="426" y="1490"/>
                      </a:lnTo>
                      <a:lnTo>
                        <a:pt x="420" y="1486"/>
                      </a:lnTo>
                      <a:lnTo>
                        <a:pt x="413" y="1480"/>
                      </a:lnTo>
                      <a:lnTo>
                        <a:pt x="409" y="1474"/>
                      </a:lnTo>
                      <a:lnTo>
                        <a:pt x="404" y="1466"/>
                      </a:lnTo>
                      <a:lnTo>
                        <a:pt x="401" y="1459"/>
                      </a:lnTo>
                      <a:lnTo>
                        <a:pt x="400" y="1451"/>
                      </a:lnTo>
                      <a:lnTo>
                        <a:pt x="399" y="1442"/>
                      </a:lnTo>
                      <a:lnTo>
                        <a:pt x="400" y="1436"/>
                      </a:lnTo>
                      <a:lnTo>
                        <a:pt x="401" y="1430"/>
                      </a:lnTo>
                      <a:lnTo>
                        <a:pt x="404" y="1424"/>
                      </a:lnTo>
                      <a:lnTo>
                        <a:pt x="408" y="1419"/>
                      </a:lnTo>
                      <a:lnTo>
                        <a:pt x="412" y="1415"/>
                      </a:lnTo>
                      <a:lnTo>
                        <a:pt x="417" y="1410"/>
                      </a:lnTo>
                      <a:lnTo>
                        <a:pt x="422" y="1407"/>
                      </a:lnTo>
                      <a:lnTo>
                        <a:pt x="429" y="1403"/>
                      </a:lnTo>
                      <a:lnTo>
                        <a:pt x="441" y="1399"/>
                      </a:lnTo>
                      <a:lnTo>
                        <a:pt x="453" y="1395"/>
                      </a:lnTo>
                      <a:lnTo>
                        <a:pt x="464" y="1393"/>
                      </a:lnTo>
                      <a:lnTo>
                        <a:pt x="473" y="1393"/>
                      </a:lnTo>
                      <a:lnTo>
                        <a:pt x="473" y="1384"/>
                      </a:lnTo>
                      <a:lnTo>
                        <a:pt x="474" y="1374"/>
                      </a:lnTo>
                      <a:lnTo>
                        <a:pt x="476" y="1364"/>
                      </a:lnTo>
                      <a:lnTo>
                        <a:pt x="479" y="1353"/>
                      </a:lnTo>
                      <a:lnTo>
                        <a:pt x="481" y="1342"/>
                      </a:lnTo>
                      <a:lnTo>
                        <a:pt x="484" y="1332"/>
                      </a:lnTo>
                      <a:lnTo>
                        <a:pt x="485" y="1323"/>
                      </a:lnTo>
                      <a:lnTo>
                        <a:pt x="486" y="1313"/>
                      </a:lnTo>
                      <a:lnTo>
                        <a:pt x="485" y="1301"/>
                      </a:lnTo>
                      <a:lnTo>
                        <a:pt x="482" y="1290"/>
                      </a:lnTo>
                      <a:lnTo>
                        <a:pt x="480" y="1278"/>
                      </a:lnTo>
                      <a:lnTo>
                        <a:pt x="476" y="1267"/>
                      </a:lnTo>
                      <a:lnTo>
                        <a:pt x="466" y="1245"/>
                      </a:lnTo>
                      <a:lnTo>
                        <a:pt x="455" y="1224"/>
                      </a:lnTo>
                      <a:lnTo>
                        <a:pt x="444" y="1205"/>
                      </a:lnTo>
                      <a:lnTo>
                        <a:pt x="435" y="1187"/>
                      </a:lnTo>
                      <a:lnTo>
                        <a:pt x="431" y="1179"/>
                      </a:lnTo>
                      <a:lnTo>
                        <a:pt x="429" y="1172"/>
                      </a:lnTo>
                      <a:lnTo>
                        <a:pt x="426" y="1165"/>
                      </a:lnTo>
                      <a:lnTo>
                        <a:pt x="425" y="1159"/>
                      </a:lnTo>
                      <a:lnTo>
                        <a:pt x="425" y="1148"/>
                      </a:lnTo>
                      <a:lnTo>
                        <a:pt x="425" y="1141"/>
                      </a:lnTo>
                      <a:lnTo>
                        <a:pt x="433" y="1141"/>
                      </a:lnTo>
                      <a:lnTo>
                        <a:pt x="441" y="1142"/>
                      </a:lnTo>
                      <a:lnTo>
                        <a:pt x="448" y="1144"/>
                      </a:lnTo>
                      <a:lnTo>
                        <a:pt x="456" y="1145"/>
                      </a:lnTo>
                      <a:lnTo>
                        <a:pt x="473" y="1150"/>
                      </a:lnTo>
                      <a:lnTo>
                        <a:pt x="488" y="1156"/>
                      </a:lnTo>
                      <a:lnTo>
                        <a:pt x="503" y="1161"/>
                      </a:lnTo>
                      <a:lnTo>
                        <a:pt x="518" y="1166"/>
                      </a:lnTo>
                      <a:lnTo>
                        <a:pt x="532" y="1170"/>
                      </a:lnTo>
                      <a:lnTo>
                        <a:pt x="545" y="1171"/>
                      </a:lnTo>
                      <a:lnTo>
                        <a:pt x="549" y="1171"/>
                      </a:lnTo>
                      <a:lnTo>
                        <a:pt x="554" y="1169"/>
                      </a:lnTo>
                      <a:lnTo>
                        <a:pt x="557" y="1168"/>
                      </a:lnTo>
                      <a:lnTo>
                        <a:pt x="560" y="1165"/>
                      </a:lnTo>
                      <a:lnTo>
                        <a:pt x="565" y="1159"/>
                      </a:lnTo>
                      <a:lnTo>
                        <a:pt x="568" y="1151"/>
                      </a:lnTo>
                      <a:lnTo>
                        <a:pt x="570" y="1142"/>
                      </a:lnTo>
                      <a:lnTo>
                        <a:pt x="571" y="1132"/>
                      </a:lnTo>
                      <a:lnTo>
                        <a:pt x="571" y="1123"/>
                      </a:lnTo>
                      <a:lnTo>
                        <a:pt x="571" y="1116"/>
                      </a:lnTo>
                      <a:lnTo>
                        <a:pt x="569" y="1112"/>
                      </a:lnTo>
                      <a:lnTo>
                        <a:pt x="565" y="1102"/>
                      </a:lnTo>
                      <a:lnTo>
                        <a:pt x="560" y="1090"/>
                      </a:lnTo>
                      <a:lnTo>
                        <a:pt x="558" y="1078"/>
                      </a:lnTo>
                      <a:lnTo>
                        <a:pt x="552" y="1066"/>
                      </a:lnTo>
                      <a:lnTo>
                        <a:pt x="545" y="1054"/>
                      </a:lnTo>
                      <a:lnTo>
                        <a:pt x="546" y="1049"/>
                      </a:lnTo>
                      <a:lnTo>
                        <a:pt x="548" y="1044"/>
                      </a:lnTo>
                      <a:lnTo>
                        <a:pt x="551" y="1040"/>
                      </a:lnTo>
                      <a:lnTo>
                        <a:pt x="555" y="1036"/>
                      </a:lnTo>
                      <a:lnTo>
                        <a:pt x="559" y="1032"/>
                      </a:lnTo>
                      <a:lnTo>
                        <a:pt x="565" y="1030"/>
                      </a:lnTo>
                      <a:lnTo>
                        <a:pt x="571" y="1027"/>
                      </a:lnTo>
                      <a:lnTo>
                        <a:pt x="578" y="1025"/>
                      </a:lnTo>
                      <a:lnTo>
                        <a:pt x="591" y="1022"/>
                      </a:lnTo>
                      <a:lnTo>
                        <a:pt x="604" y="1021"/>
                      </a:lnTo>
                      <a:lnTo>
                        <a:pt x="615" y="1021"/>
                      </a:lnTo>
                      <a:lnTo>
                        <a:pt x="625" y="1023"/>
                      </a:lnTo>
                      <a:lnTo>
                        <a:pt x="652" y="1023"/>
                      </a:lnTo>
                      <a:lnTo>
                        <a:pt x="676" y="1023"/>
                      </a:lnTo>
                      <a:lnTo>
                        <a:pt x="697" y="1021"/>
                      </a:lnTo>
                      <a:lnTo>
                        <a:pt x="716" y="1017"/>
                      </a:lnTo>
                      <a:lnTo>
                        <a:pt x="734" y="1013"/>
                      </a:lnTo>
                      <a:lnTo>
                        <a:pt x="750" y="1007"/>
                      </a:lnTo>
                      <a:lnTo>
                        <a:pt x="764" y="1001"/>
                      </a:lnTo>
                      <a:lnTo>
                        <a:pt x="776" y="993"/>
                      </a:lnTo>
                      <a:lnTo>
                        <a:pt x="787" y="984"/>
                      </a:lnTo>
                      <a:lnTo>
                        <a:pt x="795" y="973"/>
                      </a:lnTo>
                      <a:lnTo>
                        <a:pt x="802" y="961"/>
                      </a:lnTo>
                      <a:lnTo>
                        <a:pt x="809" y="949"/>
                      </a:lnTo>
                      <a:lnTo>
                        <a:pt x="812" y="935"/>
                      </a:lnTo>
                      <a:lnTo>
                        <a:pt x="815" y="921"/>
                      </a:lnTo>
                      <a:lnTo>
                        <a:pt x="817" y="904"/>
                      </a:lnTo>
                      <a:lnTo>
                        <a:pt x="817" y="888"/>
                      </a:lnTo>
                      <a:lnTo>
                        <a:pt x="817" y="884"/>
                      </a:lnTo>
                      <a:lnTo>
                        <a:pt x="816" y="882"/>
                      </a:lnTo>
                      <a:lnTo>
                        <a:pt x="815" y="879"/>
                      </a:lnTo>
                      <a:lnTo>
                        <a:pt x="813" y="877"/>
                      </a:lnTo>
                      <a:lnTo>
                        <a:pt x="809" y="874"/>
                      </a:lnTo>
                      <a:lnTo>
                        <a:pt x="803" y="871"/>
                      </a:lnTo>
                      <a:lnTo>
                        <a:pt x="792" y="867"/>
                      </a:lnTo>
                      <a:lnTo>
                        <a:pt x="784" y="863"/>
                      </a:lnTo>
                      <a:lnTo>
                        <a:pt x="782" y="859"/>
                      </a:lnTo>
                      <a:lnTo>
                        <a:pt x="781" y="852"/>
                      </a:lnTo>
                      <a:lnTo>
                        <a:pt x="780" y="847"/>
                      </a:lnTo>
                      <a:lnTo>
                        <a:pt x="779" y="841"/>
                      </a:lnTo>
                      <a:lnTo>
                        <a:pt x="780" y="836"/>
                      </a:lnTo>
                      <a:lnTo>
                        <a:pt x="781" y="830"/>
                      </a:lnTo>
                      <a:lnTo>
                        <a:pt x="782" y="825"/>
                      </a:lnTo>
                      <a:lnTo>
                        <a:pt x="784" y="820"/>
                      </a:lnTo>
                      <a:lnTo>
                        <a:pt x="772" y="816"/>
                      </a:lnTo>
                      <a:lnTo>
                        <a:pt x="758" y="810"/>
                      </a:lnTo>
                      <a:lnTo>
                        <a:pt x="742" y="800"/>
                      </a:lnTo>
                      <a:lnTo>
                        <a:pt x="725" y="789"/>
                      </a:lnTo>
                      <a:lnTo>
                        <a:pt x="717" y="783"/>
                      </a:lnTo>
                      <a:lnTo>
                        <a:pt x="711" y="777"/>
                      </a:lnTo>
                      <a:lnTo>
                        <a:pt x="704" y="771"/>
                      </a:lnTo>
                      <a:lnTo>
                        <a:pt x="700" y="765"/>
                      </a:lnTo>
                      <a:lnTo>
                        <a:pt x="695" y="758"/>
                      </a:lnTo>
                      <a:lnTo>
                        <a:pt x="692" y="752"/>
                      </a:lnTo>
                      <a:lnTo>
                        <a:pt x="691" y="745"/>
                      </a:lnTo>
                      <a:lnTo>
                        <a:pt x="691" y="739"/>
                      </a:lnTo>
                      <a:lnTo>
                        <a:pt x="698" y="616"/>
                      </a:lnTo>
                      <a:lnTo>
                        <a:pt x="697" y="585"/>
                      </a:lnTo>
                      <a:lnTo>
                        <a:pt x="697" y="553"/>
                      </a:lnTo>
                      <a:lnTo>
                        <a:pt x="698" y="546"/>
                      </a:lnTo>
                      <a:lnTo>
                        <a:pt x="699" y="539"/>
                      </a:lnTo>
                      <a:lnTo>
                        <a:pt x="701" y="532"/>
                      </a:lnTo>
                      <a:lnTo>
                        <a:pt x="703" y="525"/>
                      </a:lnTo>
                      <a:lnTo>
                        <a:pt x="708" y="518"/>
                      </a:lnTo>
                      <a:lnTo>
                        <a:pt x="712" y="511"/>
                      </a:lnTo>
                      <a:lnTo>
                        <a:pt x="717" y="505"/>
                      </a:lnTo>
                      <a:lnTo>
                        <a:pt x="725" y="499"/>
                      </a:lnTo>
                      <a:lnTo>
                        <a:pt x="725" y="493"/>
                      </a:lnTo>
                    </a:path>
                  </a:pathLst>
                </a:custGeom>
                <a:grpFill/>
                <a:ln w="9525" cap="flat" cmpd="sng">
                  <a:solidFill>
                    <a:srgbClr val="FFFFFF"/>
                  </a:solidFill>
                  <a:prstDash val="solid"/>
                  <a:round/>
                  <a:headEnd type="none" w="med" len="med"/>
                  <a:tailEnd type="none" w="med" len="med"/>
                </a:ln>
                <a:effectLst/>
              </p:spPr>
              <p:txBody>
                <a:bodyPr/>
                <a:lstStyle/>
                <a:p>
                  <a:endParaRPr lang="en-GB" sz="1637"/>
                </a:p>
              </p:txBody>
            </p:sp>
          </p:grpSp>
          <p:sp>
            <p:nvSpPr>
              <p:cNvPr id="458" name="Freeform 445"/>
              <p:cNvSpPr>
                <a:spLocks/>
              </p:cNvSpPr>
              <p:nvPr>
                <p:custDataLst>
                  <p:tags r:id="rId302"/>
                </p:custDataLst>
              </p:nvPr>
            </p:nvSpPr>
            <p:spPr bwMode="auto">
              <a:xfrm>
                <a:off x="2508884" y="3981926"/>
                <a:ext cx="90115" cy="64475"/>
              </a:xfrm>
              <a:custGeom>
                <a:avLst/>
                <a:gdLst>
                  <a:gd name="T0" fmla="*/ 67904 w 186"/>
                  <a:gd name="T1" fmla="*/ 11540 h 104"/>
                  <a:gd name="T2" fmla="*/ 64797 w 186"/>
                  <a:gd name="T3" fmla="*/ 11540 h 104"/>
                  <a:gd name="T4" fmla="*/ 62578 w 186"/>
                  <a:gd name="T5" fmla="*/ 10990 h 104"/>
                  <a:gd name="T6" fmla="*/ 60359 w 186"/>
                  <a:gd name="T7" fmla="*/ 9891 h 104"/>
                  <a:gd name="T8" fmla="*/ 59028 w 186"/>
                  <a:gd name="T9" fmla="*/ 8243 h 104"/>
                  <a:gd name="T10" fmla="*/ 57696 w 186"/>
                  <a:gd name="T11" fmla="*/ 7144 h 104"/>
                  <a:gd name="T12" fmla="*/ 55477 w 186"/>
                  <a:gd name="T13" fmla="*/ 6045 h 104"/>
                  <a:gd name="T14" fmla="*/ 53258 w 186"/>
                  <a:gd name="T15" fmla="*/ 5495 h 104"/>
                  <a:gd name="T16" fmla="*/ 50151 w 186"/>
                  <a:gd name="T17" fmla="*/ 4946 h 104"/>
                  <a:gd name="T18" fmla="*/ 44382 w 186"/>
                  <a:gd name="T19" fmla="*/ 4396 h 104"/>
                  <a:gd name="T20" fmla="*/ 39056 w 186"/>
                  <a:gd name="T21" fmla="*/ 3297 h 104"/>
                  <a:gd name="T22" fmla="*/ 33286 w 186"/>
                  <a:gd name="T23" fmla="*/ 1649 h 104"/>
                  <a:gd name="T24" fmla="*/ 28404 w 186"/>
                  <a:gd name="T25" fmla="*/ 550 h 104"/>
                  <a:gd name="T26" fmla="*/ 26629 w 186"/>
                  <a:gd name="T27" fmla="*/ 0 h 104"/>
                  <a:gd name="T28" fmla="*/ 23966 w 186"/>
                  <a:gd name="T29" fmla="*/ 0 h 104"/>
                  <a:gd name="T30" fmla="*/ 22635 w 186"/>
                  <a:gd name="T31" fmla="*/ 550 h 104"/>
                  <a:gd name="T32" fmla="*/ 20416 w 186"/>
                  <a:gd name="T33" fmla="*/ 1099 h 104"/>
                  <a:gd name="T34" fmla="*/ 19528 w 186"/>
                  <a:gd name="T35" fmla="*/ 2198 h 104"/>
                  <a:gd name="T36" fmla="*/ 18640 w 186"/>
                  <a:gd name="T37" fmla="*/ 3297 h 104"/>
                  <a:gd name="T38" fmla="*/ 18197 w 186"/>
                  <a:gd name="T39" fmla="*/ 5495 h 104"/>
                  <a:gd name="T40" fmla="*/ 17753 w 186"/>
                  <a:gd name="T41" fmla="*/ 8243 h 104"/>
                  <a:gd name="T42" fmla="*/ 15090 w 186"/>
                  <a:gd name="T43" fmla="*/ 14837 h 104"/>
                  <a:gd name="T44" fmla="*/ 8876 w 186"/>
                  <a:gd name="T45" fmla="*/ 25827 h 104"/>
                  <a:gd name="T46" fmla="*/ 3107 w 186"/>
                  <a:gd name="T47" fmla="*/ 36268 h 104"/>
                  <a:gd name="T48" fmla="*/ 0 w 186"/>
                  <a:gd name="T49" fmla="*/ 42313 h 104"/>
                  <a:gd name="T50" fmla="*/ 3551 w 186"/>
                  <a:gd name="T51" fmla="*/ 42313 h 104"/>
                  <a:gd name="T52" fmla="*/ 7101 w 186"/>
                  <a:gd name="T53" fmla="*/ 42862 h 104"/>
                  <a:gd name="T54" fmla="*/ 9320 w 186"/>
                  <a:gd name="T55" fmla="*/ 43412 h 104"/>
                  <a:gd name="T56" fmla="*/ 11095 w 186"/>
                  <a:gd name="T57" fmla="*/ 44511 h 104"/>
                  <a:gd name="T58" fmla="*/ 14646 w 186"/>
                  <a:gd name="T59" fmla="*/ 46709 h 104"/>
                  <a:gd name="T60" fmla="*/ 17753 w 186"/>
                  <a:gd name="T61" fmla="*/ 48907 h 104"/>
                  <a:gd name="T62" fmla="*/ 19972 w 186"/>
                  <a:gd name="T63" fmla="*/ 51655 h 104"/>
                  <a:gd name="T64" fmla="*/ 23078 w 186"/>
                  <a:gd name="T65" fmla="*/ 53853 h 104"/>
                  <a:gd name="T66" fmla="*/ 24854 w 186"/>
                  <a:gd name="T67" fmla="*/ 54952 h 104"/>
                  <a:gd name="T68" fmla="*/ 27073 w 186"/>
                  <a:gd name="T69" fmla="*/ 55501 h 104"/>
                  <a:gd name="T70" fmla="*/ 29292 w 186"/>
                  <a:gd name="T71" fmla="*/ 56051 h 104"/>
                  <a:gd name="T72" fmla="*/ 32842 w 186"/>
                  <a:gd name="T73" fmla="*/ 56051 h 104"/>
                  <a:gd name="T74" fmla="*/ 47488 w 186"/>
                  <a:gd name="T75" fmla="*/ 56600 h 104"/>
                  <a:gd name="T76" fmla="*/ 58140 w 186"/>
                  <a:gd name="T77" fmla="*/ 57150 h 104"/>
                  <a:gd name="T78" fmla="*/ 59915 w 186"/>
                  <a:gd name="T79" fmla="*/ 56600 h 104"/>
                  <a:gd name="T80" fmla="*/ 61691 w 186"/>
                  <a:gd name="T81" fmla="*/ 56051 h 104"/>
                  <a:gd name="T82" fmla="*/ 63022 w 186"/>
                  <a:gd name="T83" fmla="*/ 54952 h 104"/>
                  <a:gd name="T84" fmla="*/ 64353 w 186"/>
                  <a:gd name="T85" fmla="*/ 53303 h 104"/>
                  <a:gd name="T86" fmla="*/ 65241 w 186"/>
                  <a:gd name="T87" fmla="*/ 51655 h 104"/>
                  <a:gd name="T88" fmla="*/ 66573 w 186"/>
                  <a:gd name="T89" fmla="*/ 48358 h 104"/>
                  <a:gd name="T90" fmla="*/ 67460 w 186"/>
                  <a:gd name="T91" fmla="*/ 45610 h 104"/>
                  <a:gd name="T92" fmla="*/ 67904 w 186"/>
                  <a:gd name="T93" fmla="*/ 42313 h 104"/>
                  <a:gd name="T94" fmla="*/ 82550 w 186"/>
                  <a:gd name="T95" fmla="*/ 14837 h 104"/>
                  <a:gd name="T96" fmla="*/ 67904 w 186"/>
                  <a:gd name="T97" fmla="*/ 11540 h 10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186" h="104">
                    <a:moveTo>
                      <a:pt x="153" y="21"/>
                    </a:moveTo>
                    <a:lnTo>
                      <a:pt x="146" y="21"/>
                    </a:lnTo>
                    <a:lnTo>
                      <a:pt x="141" y="20"/>
                    </a:lnTo>
                    <a:lnTo>
                      <a:pt x="136" y="18"/>
                    </a:lnTo>
                    <a:lnTo>
                      <a:pt x="133" y="15"/>
                    </a:lnTo>
                    <a:lnTo>
                      <a:pt x="130" y="13"/>
                    </a:lnTo>
                    <a:lnTo>
                      <a:pt x="125" y="11"/>
                    </a:lnTo>
                    <a:lnTo>
                      <a:pt x="120" y="10"/>
                    </a:lnTo>
                    <a:lnTo>
                      <a:pt x="113" y="9"/>
                    </a:lnTo>
                    <a:lnTo>
                      <a:pt x="100" y="8"/>
                    </a:lnTo>
                    <a:lnTo>
                      <a:pt x="88" y="6"/>
                    </a:lnTo>
                    <a:lnTo>
                      <a:pt x="75" y="3"/>
                    </a:lnTo>
                    <a:lnTo>
                      <a:pt x="64" y="1"/>
                    </a:lnTo>
                    <a:lnTo>
                      <a:pt x="60" y="0"/>
                    </a:lnTo>
                    <a:lnTo>
                      <a:pt x="54" y="0"/>
                    </a:lnTo>
                    <a:lnTo>
                      <a:pt x="51" y="1"/>
                    </a:lnTo>
                    <a:lnTo>
                      <a:pt x="46" y="2"/>
                    </a:lnTo>
                    <a:lnTo>
                      <a:pt x="44" y="4"/>
                    </a:lnTo>
                    <a:lnTo>
                      <a:pt x="42" y="6"/>
                    </a:lnTo>
                    <a:lnTo>
                      <a:pt x="41" y="10"/>
                    </a:lnTo>
                    <a:lnTo>
                      <a:pt x="40" y="15"/>
                    </a:lnTo>
                    <a:lnTo>
                      <a:pt x="34" y="27"/>
                    </a:lnTo>
                    <a:lnTo>
                      <a:pt x="20" y="47"/>
                    </a:lnTo>
                    <a:lnTo>
                      <a:pt x="7" y="66"/>
                    </a:lnTo>
                    <a:lnTo>
                      <a:pt x="0" y="77"/>
                    </a:lnTo>
                    <a:lnTo>
                      <a:pt x="8" y="77"/>
                    </a:lnTo>
                    <a:lnTo>
                      <a:pt x="16" y="78"/>
                    </a:lnTo>
                    <a:lnTo>
                      <a:pt x="21" y="79"/>
                    </a:lnTo>
                    <a:lnTo>
                      <a:pt x="25" y="81"/>
                    </a:lnTo>
                    <a:lnTo>
                      <a:pt x="33" y="85"/>
                    </a:lnTo>
                    <a:lnTo>
                      <a:pt x="40" y="89"/>
                    </a:lnTo>
                    <a:lnTo>
                      <a:pt x="45" y="94"/>
                    </a:lnTo>
                    <a:lnTo>
                      <a:pt x="52" y="98"/>
                    </a:lnTo>
                    <a:lnTo>
                      <a:pt x="56" y="100"/>
                    </a:lnTo>
                    <a:lnTo>
                      <a:pt x="61" y="101"/>
                    </a:lnTo>
                    <a:lnTo>
                      <a:pt x="66" y="102"/>
                    </a:lnTo>
                    <a:lnTo>
                      <a:pt x="74" y="102"/>
                    </a:lnTo>
                    <a:lnTo>
                      <a:pt x="107" y="103"/>
                    </a:lnTo>
                    <a:lnTo>
                      <a:pt x="131" y="104"/>
                    </a:lnTo>
                    <a:lnTo>
                      <a:pt x="135" y="103"/>
                    </a:lnTo>
                    <a:lnTo>
                      <a:pt x="139" y="102"/>
                    </a:lnTo>
                    <a:lnTo>
                      <a:pt x="142" y="100"/>
                    </a:lnTo>
                    <a:lnTo>
                      <a:pt x="145" y="97"/>
                    </a:lnTo>
                    <a:lnTo>
                      <a:pt x="147" y="94"/>
                    </a:lnTo>
                    <a:lnTo>
                      <a:pt x="150" y="88"/>
                    </a:lnTo>
                    <a:lnTo>
                      <a:pt x="152" y="83"/>
                    </a:lnTo>
                    <a:lnTo>
                      <a:pt x="153" y="77"/>
                    </a:lnTo>
                    <a:lnTo>
                      <a:pt x="186" y="27"/>
                    </a:lnTo>
                    <a:lnTo>
                      <a:pt x="153" y="21"/>
                    </a:lnTo>
                  </a:path>
                </a:pathLst>
              </a:custGeom>
              <a:grpFill/>
              <a:ln w="9525" cap="flat" cmpd="sng">
                <a:solidFill>
                  <a:srgbClr val="FFFFFF"/>
                </a:solidFill>
                <a:prstDash val="solid"/>
                <a:round/>
                <a:headEnd type="none" w="med" len="med"/>
                <a:tailEnd type="none" w="med" len="med"/>
              </a:ln>
              <a:effectLst/>
            </p:spPr>
            <p:txBody>
              <a:bodyPr/>
              <a:lstStyle/>
              <a:p>
                <a:endParaRPr lang="en-GB" sz="1637"/>
              </a:p>
            </p:txBody>
          </p:sp>
          <p:sp>
            <p:nvSpPr>
              <p:cNvPr id="459" name="Freeform 450"/>
              <p:cNvSpPr>
                <a:spLocks/>
              </p:cNvSpPr>
              <p:nvPr>
                <p:custDataLst>
                  <p:tags r:id="rId303"/>
                </p:custDataLst>
              </p:nvPr>
            </p:nvSpPr>
            <p:spPr bwMode="auto">
              <a:xfrm>
                <a:off x="1748105" y="3548513"/>
                <a:ext cx="325800" cy="591018"/>
              </a:xfrm>
              <a:custGeom>
                <a:avLst/>
                <a:gdLst>
                  <a:gd name="T0" fmla="*/ 292778 w 684"/>
                  <a:gd name="T1" fmla="*/ 300782 h 998"/>
                  <a:gd name="T2" fmla="*/ 296705 w 684"/>
                  <a:gd name="T3" fmla="*/ 288709 h 998"/>
                  <a:gd name="T4" fmla="*/ 292778 w 684"/>
                  <a:gd name="T5" fmla="*/ 257738 h 998"/>
                  <a:gd name="T6" fmla="*/ 287542 w 684"/>
                  <a:gd name="T7" fmla="*/ 222043 h 998"/>
                  <a:gd name="T8" fmla="*/ 295832 w 684"/>
                  <a:gd name="T9" fmla="*/ 204196 h 998"/>
                  <a:gd name="T10" fmla="*/ 243036 w 684"/>
                  <a:gd name="T11" fmla="*/ 189498 h 998"/>
                  <a:gd name="T12" fmla="*/ 232564 w 684"/>
                  <a:gd name="T13" fmla="*/ 171126 h 998"/>
                  <a:gd name="T14" fmla="*/ 201585 w 684"/>
                  <a:gd name="T15" fmla="*/ 162727 h 998"/>
                  <a:gd name="T16" fmla="*/ 175405 w 684"/>
                  <a:gd name="T17" fmla="*/ 141730 h 998"/>
                  <a:gd name="T18" fmla="*/ 163624 w 684"/>
                  <a:gd name="T19" fmla="*/ 105510 h 998"/>
                  <a:gd name="T20" fmla="*/ 163624 w 684"/>
                  <a:gd name="T21" fmla="*/ 69815 h 998"/>
                  <a:gd name="T22" fmla="*/ 172351 w 684"/>
                  <a:gd name="T23" fmla="*/ 44094 h 998"/>
                  <a:gd name="T24" fmla="*/ 189804 w 684"/>
                  <a:gd name="T25" fmla="*/ 25196 h 998"/>
                  <a:gd name="T26" fmla="*/ 202021 w 684"/>
                  <a:gd name="T27" fmla="*/ 5774 h 998"/>
                  <a:gd name="T28" fmla="*/ 169733 w 684"/>
                  <a:gd name="T29" fmla="*/ 20472 h 998"/>
                  <a:gd name="T30" fmla="*/ 146171 w 684"/>
                  <a:gd name="T31" fmla="*/ 35695 h 998"/>
                  <a:gd name="T32" fmla="*/ 132644 w 684"/>
                  <a:gd name="T33" fmla="*/ 40944 h 998"/>
                  <a:gd name="T34" fmla="*/ 121300 w 684"/>
                  <a:gd name="T35" fmla="*/ 44094 h 998"/>
                  <a:gd name="T36" fmla="*/ 105156 w 684"/>
                  <a:gd name="T37" fmla="*/ 42519 h 998"/>
                  <a:gd name="T38" fmla="*/ 94684 w 684"/>
                  <a:gd name="T39" fmla="*/ 56692 h 998"/>
                  <a:gd name="T40" fmla="*/ 85521 w 684"/>
                  <a:gd name="T41" fmla="*/ 91862 h 998"/>
                  <a:gd name="T42" fmla="*/ 68504 w 684"/>
                  <a:gd name="T43" fmla="*/ 119158 h 998"/>
                  <a:gd name="T44" fmla="*/ 46687 w 684"/>
                  <a:gd name="T45" fmla="*/ 149079 h 998"/>
                  <a:gd name="T46" fmla="*/ 39270 w 684"/>
                  <a:gd name="T47" fmla="*/ 166401 h 998"/>
                  <a:gd name="T48" fmla="*/ 37524 w 684"/>
                  <a:gd name="T49" fmla="*/ 186873 h 998"/>
                  <a:gd name="T50" fmla="*/ 42324 w 684"/>
                  <a:gd name="T51" fmla="*/ 200521 h 998"/>
                  <a:gd name="T52" fmla="*/ 42324 w 684"/>
                  <a:gd name="T53" fmla="*/ 236741 h 998"/>
                  <a:gd name="T54" fmla="*/ 41451 w 684"/>
                  <a:gd name="T55" fmla="*/ 275586 h 998"/>
                  <a:gd name="T56" fmla="*/ 31416 w 684"/>
                  <a:gd name="T57" fmla="*/ 295533 h 998"/>
                  <a:gd name="T58" fmla="*/ 16144 w 684"/>
                  <a:gd name="T59" fmla="*/ 310756 h 998"/>
                  <a:gd name="T60" fmla="*/ 4800 w 684"/>
                  <a:gd name="T61" fmla="*/ 321254 h 998"/>
                  <a:gd name="T62" fmla="*/ 13090 w 684"/>
                  <a:gd name="T63" fmla="*/ 350650 h 998"/>
                  <a:gd name="T64" fmla="*/ 53669 w 684"/>
                  <a:gd name="T65" fmla="*/ 380571 h 998"/>
                  <a:gd name="T66" fmla="*/ 76358 w 684"/>
                  <a:gd name="T67" fmla="*/ 382145 h 998"/>
                  <a:gd name="T68" fmla="*/ 102101 w 684"/>
                  <a:gd name="T69" fmla="*/ 391594 h 998"/>
                  <a:gd name="T70" fmla="*/ 130463 w 684"/>
                  <a:gd name="T71" fmla="*/ 417315 h 998"/>
                  <a:gd name="T72" fmla="*/ 147043 w 684"/>
                  <a:gd name="T73" fmla="*/ 446186 h 998"/>
                  <a:gd name="T74" fmla="*/ 160133 w 684"/>
                  <a:gd name="T75" fmla="*/ 462459 h 998"/>
                  <a:gd name="T76" fmla="*/ 179768 w 684"/>
                  <a:gd name="T77" fmla="*/ 465083 h 998"/>
                  <a:gd name="T78" fmla="*/ 201585 w 684"/>
                  <a:gd name="T79" fmla="*/ 459834 h 998"/>
                  <a:gd name="T80" fmla="*/ 214675 w 684"/>
                  <a:gd name="T81" fmla="*/ 460884 h 998"/>
                  <a:gd name="T82" fmla="*/ 224710 w 684"/>
                  <a:gd name="T83" fmla="*/ 474532 h 998"/>
                  <a:gd name="T84" fmla="*/ 223838 w 684"/>
                  <a:gd name="T85" fmla="*/ 483981 h 998"/>
                  <a:gd name="T86" fmla="*/ 212929 w 684"/>
                  <a:gd name="T87" fmla="*/ 491855 h 998"/>
                  <a:gd name="T88" fmla="*/ 212929 w 684"/>
                  <a:gd name="T89" fmla="*/ 505503 h 998"/>
                  <a:gd name="T90" fmla="*/ 222965 w 684"/>
                  <a:gd name="T91" fmla="*/ 521775 h 998"/>
                  <a:gd name="T92" fmla="*/ 236491 w 684"/>
                  <a:gd name="T93" fmla="*/ 504978 h 998"/>
                  <a:gd name="T94" fmla="*/ 246963 w 684"/>
                  <a:gd name="T95" fmla="*/ 451960 h 998"/>
                  <a:gd name="T96" fmla="*/ 249145 w 684"/>
                  <a:gd name="T97" fmla="*/ 421515 h 998"/>
                  <a:gd name="T98" fmla="*/ 242163 w 684"/>
                  <a:gd name="T99" fmla="*/ 404717 h 998"/>
                  <a:gd name="T100" fmla="*/ 228201 w 684"/>
                  <a:gd name="T101" fmla="*/ 393169 h 998"/>
                  <a:gd name="T102" fmla="*/ 227328 w 684"/>
                  <a:gd name="T103" fmla="*/ 379521 h 998"/>
                  <a:gd name="T104" fmla="*/ 246963 w 684"/>
                  <a:gd name="T105" fmla="*/ 367447 h 998"/>
                  <a:gd name="T106" fmla="*/ 242600 w 684"/>
                  <a:gd name="T107" fmla="*/ 349075 h 998"/>
                  <a:gd name="T108" fmla="*/ 242600 w 684"/>
                  <a:gd name="T109" fmla="*/ 340676 h 998"/>
                  <a:gd name="T110" fmla="*/ 285796 w 684"/>
                  <a:gd name="T111" fmla="*/ 329653 h 99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684" h="998">
                    <a:moveTo>
                      <a:pt x="684" y="622"/>
                    </a:moveTo>
                    <a:lnTo>
                      <a:pt x="680" y="609"/>
                    </a:lnTo>
                    <a:lnTo>
                      <a:pt x="676" y="596"/>
                    </a:lnTo>
                    <a:lnTo>
                      <a:pt x="672" y="583"/>
                    </a:lnTo>
                    <a:lnTo>
                      <a:pt x="671" y="573"/>
                    </a:lnTo>
                    <a:lnTo>
                      <a:pt x="671" y="568"/>
                    </a:lnTo>
                    <a:lnTo>
                      <a:pt x="673" y="564"/>
                    </a:lnTo>
                    <a:lnTo>
                      <a:pt x="676" y="559"/>
                    </a:lnTo>
                    <a:lnTo>
                      <a:pt x="678" y="555"/>
                    </a:lnTo>
                    <a:lnTo>
                      <a:pt x="680" y="550"/>
                    </a:lnTo>
                    <a:lnTo>
                      <a:pt x="682" y="546"/>
                    </a:lnTo>
                    <a:lnTo>
                      <a:pt x="683" y="541"/>
                    </a:lnTo>
                    <a:lnTo>
                      <a:pt x="684" y="537"/>
                    </a:lnTo>
                    <a:lnTo>
                      <a:pt x="680" y="519"/>
                    </a:lnTo>
                    <a:lnTo>
                      <a:pt x="671" y="491"/>
                    </a:lnTo>
                    <a:lnTo>
                      <a:pt x="666" y="475"/>
                    </a:lnTo>
                    <a:lnTo>
                      <a:pt x="662" y="459"/>
                    </a:lnTo>
                    <a:lnTo>
                      <a:pt x="659" y="444"/>
                    </a:lnTo>
                    <a:lnTo>
                      <a:pt x="658" y="432"/>
                    </a:lnTo>
                    <a:lnTo>
                      <a:pt x="659" y="423"/>
                    </a:lnTo>
                    <a:lnTo>
                      <a:pt x="661" y="415"/>
                    </a:lnTo>
                    <a:lnTo>
                      <a:pt x="665" y="409"/>
                    </a:lnTo>
                    <a:lnTo>
                      <a:pt x="669" y="403"/>
                    </a:lnTo>
                    <a:lnTo>
                      <a:pt x="673" y="396"/>
                    </a:lnTo>
                    <a:lnTo>
                      <a:pt x="678" y="389"/>
                    </a:lnTo>
                    <a:lnTo>
                      <a:pt x="681" y="381"/>
                    </a:lnTo>
                    <a:lnTo>
                      <a:pt x="684" y="370"/>
                    </a:lnTo>
                    <a:lnTo>
                      <a:pt x="571" y="370"/>
                    </a:lnTo>
                    <a:lnTo>
                      <a:pt x="564" y="366"/>
                    </a:lnTo>
                    <a:lnTo>
                      <a:pt x="557" y="361"/>
                    </a:lnTo>
                    <a:lnTo>
                      <a:pt x="550" y="355"/>
                    </a:lnTo>
                    <a:lnTo>
                      <a:pt x="544" y="347"/>
                    </a:lnTo>
                    <a:lnTo>
                      <a:pt x="539" y="340"/>
                    </a:lnTo>
                    <a:lnTo>
                      <a:pt x="535" y="333"/>
                    </a:lnTo>
                    <a:lnTo>
                      <a:pt x="533" y="326"/>
                    </a:lnTo>
                    <a:lnTo>
                      <a:pt x="532" y="321"/>
                    </a:lnTo>
                    <a:lnTo>
                      <a:pt x="512" y="320"/>
                    </a:lnTo>
                    <a:lnTo>
                      <a:pt x="494" y="318"/>
                    </a:lnTo>
                    <a:lnTo>
                      <a:pt x="477" y="315"/>
                    </a:lnTo>
                    <a:lnTo>
                      <a:pt x="462" y="310"/>
                    </a:lnTo>
                    <a:lnTo>
                      <a:pt x="447" y="304"/>
                    </a:lnTo>
                    <a:lnTo>
                      <a:pt x="434" y="298"/>
                    </a:lnTo>
                    <a:lnTo>
                      <a:pt x="423" y="290"/>
                    </a:lnTo>
                    <a:lnTo>
                      <a:pt x="412" y="281"/>
                    </a:lnTo>
                    <a:lnTo>
                      <a:pt x="402" y="270"/>
                    </a:lnTo>
                    <a:lnTo>
                      <a:pt x="395" y="259"/>
                    </a:lnTo>
                    <a:lnTo>
                      <a:pt x="388" y="246"/>
                    </a:lnTo>
                    <a:lnTo>
                      <a:pt x="382" y="232"/>
                    </a:lnTo>
                    <a:lnTo>
                      <a:pt x="378" y="218"/>
                    </a:lnTo>
                    <a:lnTo>
                      <a:pt x="375" y="201"/>
                    </a:lnTo>
                    <a:lnTo>
                      <a:pt x="373" y="184"/>
                    </a:lnTo>
                    <a:lnTo>
                      <a:pt x="373" y="167"/>
                    </a:lnTo>
                    <a:lnTo>
                      <a:pt x="373" y="155"/>
                    </a:lnTo>
                    <a:lnTo>
                      <a:pt x="374" y="144"/>
                    </a:lnTo>
                    <a:lnTo>
                      <a:pt x="375" y="133"/>
                    </a:lnTo>
                    <a:lnTo>
                      <a:pt x="377" y="123"/>
                    </a:lnTo>
                    <a:lnTo>
                      <a:pt x="380" y="113"/>
                    </a:lnTo>
                    <a:lnTo>
                      <a:pt x="385" y="103"/>
                    </a:lnTo>
                    <a:lnTo>
                      <a:pt x="389" y="94"/>
                    </a:lnTo>
                    <a:lnTo>
                      <a:pt x="395" y="84"/>
                    </a:lnTo>
                    <a:lnTo>
                      <a:pt x="401" y="76"/>
                    </a:lnTo>
                    <a:lnTo>
                      <a:pt x="408" y="68"/>
                    </a:lnTo>
                    <a:lnTo>
                      <a:pt x="416" y="61"/>
                    </a:lnTo>
                    <a:lnTo>
                      <a:pt x="425" y="54"/>
                    </a:lnTo>
                    <a:lnTo>
                      <a:pt x="435" y="48"/>
                    </a:lnTo>
                    <a:lnTo>
                      <a:pt x="446" y="42"/>
                    </a:lnTo>
                    <a:lnTo>
                      <a:pt x="458" y="36"/>
                    </a:lnTo>
                    <a:lnTo>
                      <a:pt x="471" y="31"/>
                    </a:lnTo>
                    <a:lnTo>
                      <a:pt x="471" y="18"/>
                    </a:lnTo>
                    <a:lnTo>
                      <a:pt x="463" y="11"/>
                    </a:lnTo>
                    <a:lnTo>
                      <a:pt x="455" y="7"/>
                    </a:lnTo>
                    <a:lnTo>
                      <a:pt x="447" y="4"/>
                    </a:lnTo>
                    <a:lnTo>
                      <a:pt x="438" y="0"/>
                    </a:lnTo>
                    <a:lnTo>
                      <a:pt x="414" y="19"/>
                    </a:lnTo>
                    <a:lnTo>
                      <a:pt x="389" y="39"/>
                    </a:lnTo>
                    <a:lnTo>
                      <a:pt x="378" y="48"/>
                    </a:lnTo>
                    <a:lnTo>
                      <a:pt x="367" y="56"/>
                    </a:lnTo>
                    <a:lnTo>
                      <a:pt x="356" y="63"/>
                    </a:lnTo>
                    <a:lnTo>
                      <a:pt x="345" y="68"/>
                    </a:lnTo>
                    <a:lnTo>
                      <a:pt x="335" y="68"/>
                    </a:lnTo>
                    <a:lnTo>
                      <a:pt x="326" y="68"/>
                    </a:lnTo>
                    <a:lnTo>
                      <a:pt x="319" y="68"/>
                    </a:lnTo>
                    <a:lnTo>
                      <a:pt x="312" y="68"/>
                    </a:lnTo>
                    <a:lnTo>
                      <a:pt x="309" y="74"/>
                    </a:lnTo>
                    <a:lnTo>
                      <a:pt x="304" y="78"/>
                    </a:lnTo>
                    <a:lnTo>
                      <a:pt x="299" y="81"/>
                    </a:lnTo>
                    <a:lnTo>
                      <a:pt x="295" y="83"/>
                    </a:lnTo>
                    <a:lnTo>
                      <a:pt x="289" y="85"/>
                    </a:lnTo>
                    <a:lnTo>
                      <a:pt x="284" y="85"/>
                    </a:lnTo>
                    <a:lnTo>
                      <a:pt x="278" y="84"/>
                    </a:lnTo>
                    <a:lnTo>
                      <a:pt x="273" y="84"/>
                    </a:lnTo>
                    <a:lnTo>
                      <a:pt x="262" y="82"/>
                    </a:lnTo>
                    <a:lnTo>
                      <a:pt x="251" y="81"/>
                    </a:lnTo>
                    <a:lnTo>
                      <a:pt x="245" y="81"/>
                    </a:lnTo>
                    <a:lnTo>
                      <a:pt x="241" y="81"/>
                    </a:lnTo>
                    <a:lnTo>
                      <a:pt x="236" y="83"/>
                    </a:lnTo>
                    <a:lnTo>
                      <a:pt x="233" y="86"/>
                    </a:lnTo>
                    <a:lnTo>
                      <a:pt x="225" y="94"/>
                    </a:lnTo>
                    <a:lnTo>
                      <a:pt x="221" y="101"/>
                    </a:lnTo>
                    <a:lnTo>
                      <a:pt x="217" y="108"/>
                    </a:lnTo>
                    <a:lnTo>
                      <a:pt x="213" y="114"/>
                    </a:lnTo>
                    <a:lnTo>
                      <a:pt x="209" y="128"/>
                    </a:lnTo>
                    <a:lnTo>
                      <a:pt x="206" y="143"/>
                    </a:lnTo>
                    <a:lnTo>
                      <a:pt x="201" y="159"/>
                    </a:lnTo>
                    <a:lnTo>
                      <a:pt x="196" y="175"/>
                    </a:lnTo>
                    <a:lnTo>
                      <a:pt x="192" y="183"/>
                    </a:lnTo>
                    <a:lnTo>
                      <a:pt x="187" y="191"/>
                    </a:lnTo>
                    <a:lnTo>
                      <a:pt x="180" y="200"/>
                    </a:lnTo>
                    <a:lnTo>
                      <a:pt x="173" y="210"/>
                    </a:lnTo>
                    <a:lnTo>
                      <a:pt x="157" y="227"/>
                    </a:lnTo>
                    <a:lnTo>
                      <a:pt x="140" y="244"/>
                    </a:lnTo>
                    <a:lnTo>
                      <a:pt x="131" y="253"/>
                    </a:lnTo>
                    <a:lnTo>
                      <a:pt x="122" y="263"/>
                    </a:lnTo>
                    <a:lnTo>
                      <a:pt x="115" y="273"/>
                    </a:lnTo>
                    <a:lnTo>
                      <a:pt x="107" y="284"/>
                    </a:lnTo>
                    <a:lnTo>
                      <a:pt x="102" y="288"/>
                    </a:lnTo>
                    <a:lnTo>
                      <a:pt x="98" y="294"/>
                    </a:lnTo>
                    <a:lnTo>
                      <a:pt x="96" y="299"/>
                    </a:lnTo>
                    <a:lnTo>
                      <a:pt x="94" y="305"/>
                    </a:lnTo>
                    <a:lnTo>
                      <a:pt x="90" y="317"/>
                    </a:lnTo>
                    <a:lnTo>
                      <a:pt x="86" y="327"/>
                    </a:lnTo>
                    <a:lnTo>
                      <a:pt x="85" y="331"/>
                    </a:lnTo>
                    <a:lnTo>
                      <a:pt x="84" y="338"/>
                    </a:lnTo>
                    <a:lnTo>
                      <a:pt x="84" y="347"/>
                    </a:lnTo>
                    <a:lnTo>
                      <a:pt x="86" y="356"/>
                    </a:lnTo>
                    <a:lnTo>
                      <a:pt x="88" y="366"/>
                    </a:lnTo>
                    <a:lnTo>
                      <a:pt x="91" y="375"/>
                    </a:lnTo>
                    <a:lnTo>
                      <a:pt x="93" y="378"/>
                    </a:lnTo>
                    <a:lnTo>
                      <a:pt x="95" y="380"/>
                    </a:lnTo>
                    <a:lnTo>
                      <a:pt x="97" y="382"/>
                    </a:lnTo>
                    <a:lnTo>
                      <a:pt x="100" y="382"/>
                    </a:lnTo>
                    <a:lnTo>
                      <a:pt x="98" y="397"/>
                    </a:lnTo>
                    <a:lnTo>
                      <a:pt x="97" y="414"/>
                    </a:lnTo>
                    <a:lnTo>
                      <a:pt x="97" y="433"/>
                    </a:lnTo>
                    <a:lnTo>
                      <a:pt x="97" y="451"/>
                    </a:lnTo>
                    <a:lnTo>
                      <a:pt x="99" y="484"/>
                    </a:lnTo>
                    <a:lnTo>
                      <a:pt x="100" y="505"/>
                    </a:lnTo>
                    <a:lnTo>
                      <a:pt x="99" y="511"/>
                    </a:lnTo>
                    <a:lnTo>
                      <a:pt x="98" y="518"/>
                    </a:lnTo>
                    <a:lnTo>
                      <a:pt x="95" y="525"/>
                    </a:lnTo>
                    <a:lnTo>
                      <a:pt x="91" y="532"/>
                    </a:lnTo>
                    <a:lnTo>
                      <a:pt x="88" y="541"/>
                    </a:lnTo>
                    <a:lnTo>
                      <a:pt x="83" y="548"/>
                    </a:lnTo>
                    <a:lnTo>
                      <a:pt x="77" y="556"/>
                    </a:lnTo>
                    <a:lnTo>
                      <a:pt x="72" y="563"/>
                    </a:lnTo>
                    <a:lnTo>
                      <a:pt x="65" y="570"/>
                    </a:lnTo>
                    <a:lnTo>
                      <a:pt x="59" y="576"/>
                    </a:lnTo>
                    <a:lnTo>
                      <a:pt x="51" y="582"/>
                    </a:lnTo>
                    <a:lnTo>
                      <a:pt x="43" y="587"/>
                    </a:lnTo>
                    <a:lnTo>
                      <a:pt x="37" y="592"/>
                    </a:lnTo>
                    <a:lnTo>
                      <a:pt x="29" y="596"/>
                    </a:lnTo>
                    <a:lnTo>
                      <a:pt x="21" y="598"/>
                    </a:lnTo>
                    <a:lnTo>
                      <a:pt x="14" y="598"/>
                    </a:lnTo>
                    <a:lnTo>
                      <a:pt x="12" y="605"/>
                    </a:lnTo>
                    <a:lnTo>
                      <a:pt x="11" y="612"/>
                    </a:lnTo>
                    <a:lnTo>
                      <a:pt x="9" y="618"/>
                    </a:lnTo>
                    <a:lnTo>
                      <a:pt x="7" y="625"/>
                    </a:lnTo>
                    <a:lnTo>
                      <a:pt x="3" y="637"/>
                    </a:lnTo>
                    <a:lnTo>
                      <a:pt x="0" y="648"/>
                    </a:lnTo>
                    <a:lnTo>
                      <a:pt x="30" y="668"/>
                    </a:lnTo>
                    <a:lnTo>
                      <a:pt x="67" y="694"/>
                    </a:lnTo>
                    <a:lnTo>
                      <a:pt x="87" y="707"/>
                    </a:lnTo>
                    <a:lnTo>
                      <a:pt x="106" y="718"/>
                    </a:lnTo>
                    <a:lnTo>
                      <a:pt x="115" y="722"/>
                    </a:lnTo>
                    <a:lnTo>
                      <a:pt x="123" y="725"/>
                    </a:lnTo>
                    <a:lnTo>
                      <a:pt x="132" y="727"/>
                    </a:lnTo>
                    <a:lnTo>
                      <a:pt x="140" y="727"/>
                    </a:lnTo>
                    <a:lnTo>
                      <a:pt x="153" y="727"/>
                    </a:lnTo>
                    <a:lnTo>
                      <a:pt x="166" y="727"/>
                    </a:lnTo>
                    <a:lnTo>
                      <a:pt x="175" y="728"/>
                    </a:lnTo>
                    <a:lnTo>
                      <a:pt x="184" y="729"/>
                    </a:lnTo>
                    <a:lnTo>
                      <a:pt x="192" y="730"/>
                    </a:lnTo>
                    <a:lnTo>
                      <a:pt x="201" y="732"/>
                    </a:lnTo>
                    <a:lnTo>
                      <a:pt x="218" y="738"/>
                    </a:lnTo>
                    <a:lnTo>
                      <a:pt x="234" y="746"/>
                    </a:lnTo>
                    <a:lnTo>
                      <a:pt x="250" y="755"/>
                    </a:lnTo>
                    <a:lnTo>
                      <a:pt x="265" y="767"/>
                    </a:lnTo>
                    <a:lnTo>
                      <a:pt x="279" y="778"/>
                    </a:lnTo>
                    <a:lnTo>
                      <a:pt x="292" y="789"/>
                    </a:lnTo>
                    <a:lnTo>
                      <a:pt x="299" y="795"/>
                    </a:lnTo>
                    <a:lnTo>
                      <a:pt x="306" y="802"/>
                    </a:lnTo>
                    <a:lnTo>
                      <a:pt x="312" y="809"/>
                    </a:lnTo>
                    <a:lnTo>
                      <a:pt x="318" y="818"/>
                    </a:lnTo>
                    <a:lnTo>
                      <a:pt x="328" y="834"/>
                    </a:lnTo>
                    <a:lnTo>
                      <a:pt x="337" y="850"/>
                    </a:lnTo>
                    <a:lnTo>
                      <a:pt x="342" y="857"/>
                    </a:lnTo>
                    <a:lnTo>
                      <a:pt x="347" y="864"/>
                    </a:lnTo>
                    <a:lnTo>
                      <a:pt x="354" y="871"/>
                    </a:lnTo>
                    <a:lnTo>
                      <a:pt x="359" y="877"/>
                    </a:lnTo>
                    <a:lnTo>
                      <a:pt x="367" y="881"/>
                    </a:lnTo>
                    <a:lnTo>
                      <a:pt x="374" y="885"/>
                    </a:lnTo>
                    <a:lnTo>
                      <a:pt x="382" y="887"/>
                    </a:lnTo>
                    <a:lnTo>
                      <a:pt x="392" y="888"/>
                    </a:lnTo>
                    <a:lnTo>
                      <a:pt x="402" y="887"/>
                    </a:lnTo>
                    <a:lnTo>
                      <a:pt x="412" y="886"/>
                    </a:lnTo>
                    <a:lnTo>
                      <a:pt x="422" y="884"/>
                    </a:lnTo>
                    <a:lnTo>
                      <a:pt x="432" y="882"/>
                    </a:lnTo>
                    <a:lnTo>
                      <a:pt x="442" y="879"/>
                    </a:lnTo>
                    <a:lnTo>
                      <a:pt x="452" y="877"/>
                    </a:lnTo>
                    <a:lnTo>
                      <a:pt x="462" y="876"/>
                    </a:lnTo>
                    <a:lnTo>
                      <a:pt x="471" y="875"/>
                    </a:lnTo>
                    <a:lnTo>
                      <a:pt x="478" y="876"/>
                    </a:lnTo>
                    <a:lnTo>
                      <a:pt x="485" y="878"/>
                    </a:lnTo>
                    <a:lnTo>
                      <a:pt x="489" y="878"/>
                    </a:lnTo>
                    <a:lnTo>
                      <a:pt x="492" y="878"/>
                    </a:lnTo>
                    <a:lnTo>
                      <a:pt x="496" y="877"/>
                    </a:lnTo>
                    <a:lnTo>
                      <a:pt x="499" y="875"/>
                    </a:lnTo>
                    <a:lnTo>
                      <a:pt x="501" y="883"/>
                    </a:lnTo>
                    <a:lnTo>
                      <a:pt x="509" y="894"/>
                    </a:lnTo>
                    <a:lnTo>
                      <a:pt x="515" y="904"/>
                    </a:lnTo>
                    <a:lnTo>
                      <a:pt x="519" y="912"/>
                    </a:lnTo>
                    <a:lnTo>
                      <a:pt x="518" y="915"/>
                    </a:lnTo>
                    <a:lnTo>
                      <a:pt x="516" y="918"/>
                    </a:lnTo>
                    <a:lnTo>
                      <a:pt x="515" y="920"/>
                    </a:lnTo>
                    <a:lnTo>
                      <a:pt x="513" y="922"/>
                    </a:lnTo>
                    <a:lnTo>
                      <a:pt x="508" y="927"/>
                    </a:lnTo>
                    <a:lnTo>
                      <a:pt x="502" y="930"/>
                    </a:lnTo>
                    <a:lnTo>
                      <a:pt x="496" y="933"/>
                    </a:lnTo>
                    <a:lnTo>
                      <a:pt x="490" y="936"/>
                    </a:lnTo>
                    <a:lnTo>
                      <a:pt x="488" y="937"/>
                    </a:lnTo>
                    <a:lnTo>
                      <a:pt x="487" y="939"/>
                    </a:lnTo>
                    <a:lnTo>
                      <a:pt x="486" y="941"/>
                    </a:lnTo>
                    <a:lnTo>
                      <a:pt x="485" y="943"/>
                    </a:lnTo>
                    <a:lnTo>
                      <a:pt x="486" y="954"/>
                    </a:lnTo>
                    <a:lnTo>
                      <a:pt x="488" y="963"/>
                    </a:lnTo>
                    <a:lnTo>
                      <a:pt x="490" y="970"/>
                    </a:lnTo>
                    <a:lnTo>
                      <a:pt x="494" y="977"/>
                    </a:lnTo>
                    <a:lnTo>
                      <a:pt x="499" y="984"/>
                    </a:lnTo>
                    <a:lnTo>
                      <a:pt x="504" y="989"/>
                    </a:lnTo>
                    <a:lnTo>
                      <a:pt x="511" y="994"/>
                    </a:lnTo>
                    <a:lnTo>
                      <a:pt x="519" y="998"/>
                    </a:lnTo>
                    <a:lnTo>
                      <a:pt x="538" y="998"/>
                    </a:lnTo>
                    <a:lnTo>
                      <a:pt x="538" y="986"/>
                    </a:lnTo>
                    <a:lnTo>
                      <a:pt x="539" y="973"/>
                    </a:lnTo>
                    <a:lnTo>
                      <a:pt x="542" y="962"/>
                    </a:lnTo>
                    <a:lnTo>
                      <a:pt x="544" y="950"/>
                    </a:lnTo>
                    <a:lnTo>
                      <a:pt x="548" y="928"/>
                    </a:lnTo>
                    <a:lnTo>
                      <a:pt x="555" y="906"/>
                    </a:lnTo>
                    <a:lnTo>
                      <a:pt x="561" y="884"/>
                    </a:lnTo>
                    <a:lnTo>
                      <a:pt x="566" y="861"/>
                    </a:lnTo>
                    <a:lnTo>
                      <a:pt x="568" y="850"/>
                    </a:lnTo>
                    <a:lnTo>
                      <a:pt x="570" y="838"/>
                    </a:lnTo>
                    <a:lnTo>
                      <a:pt x="571" y="826"/>
                    </a:lnTo>
                    <a:lnTo>
                      <a:pt x="571" y="813"/>
                    </a:lnTo>
                    <a:lnTo>
                      <a:pt x="571" y="803"/>
                    </a:lnTo>
                    <a:lnTo>
                      <a:pt x="569" y="794"/>
                    </a:lnTo>
                    <a:lnTo>
                      <a:pt x="567" y="786"/>
                    </a:lnTo>
                    <a:lnTo>
                      <a:pt x="564" y="780"/>
                    </a:lnTo>
                    <a:lnTo>
                      <a:pt x="559" y="775"/>
                    </a:lnTo>
                    <a:lnTo>
                      <a:pt x="555" y="771"/>
                    </a:lnTo>
                    <a:lnTo>
                      <a:pt x="549" y="768"/>
                    </a:lnTo>
                    <a:lnTo>
                      <a:pt x="545" y="765"/>
                    </a:lnTo>
                    <a:lnTo>
                      <a:pt x="535" y="759"/>
                    </a:lnTo>
                    <a:lnTo>
                      <a:pt x="526" y="752"/>
                    </a:lnTo>
                    <a:lnTo>
                      <a:pt x="523" y="749"/>
                    </a:lnTo>
                    <a:lnTo>
                      <a:pt x="521" y="745"/>
                    </a:lnTo>
                    <a:lnTo>
                      <a:pt x="519" y="740"/>
                    </a:lnTo>
                    <a:lnTo>
                      <a:pt x="519" y="733"/>
                    </a:lnTo>
                    <a:lnTo>
                      <a:pt x="519" y="728"/>
                    </a:lnTo>
                    <a:lnTo>
                      <a:pt x="521" y="723"/>
                    </a:lnTo>
                    <a:lnTo>
                      <a:pt x="523" y="719"/>
                    </a:lnTo>
                    <a:lnTo>
                      <a:pt x="526" y="716"/>
                    </a:lnTo>
                    <a:lnTo>
                      <a:pt x="535" y="710"/>
                    </a:lnTo>
                    <a:lnTo>
                      <a:pt x="546" y="706"/>
                    </a:lnTo>
                    <a:lnTo>
                      <a:pt x="566" y="700"/>
                    </a:lnTo>
                    <a:lnTo>
                      <a:pt x="578" y="696"/>
                    </a:lnTo>
                    <a:lnTo>
                      <a:pt x="578" y="678"/>
                    </a:lnTo>
                    <a:lnTo>
                      <a:pt x="568" y="673"/>
                    </a:lnTo>
                    <a:lnTo>
                      <a:pt x="560" y="668"/>
                    </a:lnTo>
                    <a:lnTo>
                      <a:pt x="556" y="665"/>
                    </a:lnTo>
                    <a:lnTo>
                      <a:pt x="554" y="662"/>
                    </a:lnTo>
                    <a:lnTo>
                      <a:pt x="552" y="658"/>
                    </a:lnTo>
                    <a:lnTo>
                      <a:pt x="552" y="654"/>
                    </a:lnTo>
                    <a:lnTo>
                      <a:pt x="553" y="651"/>
                    </a:lnTo>
                    <a:lnTo>
                      <a:pt x="556" y="649"/>
                    </a:lnTo>
                    <a:lnTo>
                      <a:pt x="563" y="646"/>
                    </a:lnTo>
                    <a:lnTo>
                      <a:pt x="569" y="644"/>
                    </a:lnTo>
                    <a:lnTo>
                      <a:pt x="588" y="639"/>
                    </a:lnTo>
                    <a:lnTo>
                      <a:pt x="611" y="635"/>
                    </a:lnTo>
                    <a:lnTo>
                      <a:pt x="655" y="628"/>
                    </a:lnTo>
                    <a:lnTo>
                      <a:pt x="684" y="622"/>
                    </a:lnTo>
                  </a:path>
                </a:pathLst>
              </a:custGeom>
              <a:grpFill/>
              <a:ln w="9525" cap="flat" cmpd="sng">
                <a:solidFill>
                  <a:srgbClr val="FFFFFF"/>
                </a:solidFill>
                <a:prstDash val="solid"/>
                <a:round/>
                <a:headEnd type="none" w="med" len="med"/>
                <a:tailEnd type="none" w="med" len="med"/>
              </a:ln>
              <a:effectLst/>
            </p:spPr>
            <p:txBody>
              <a:bodyPr/>
              <a:lstStyle/>
              <a:p>
                <a:endParaRPr lang="en-GB" sz="1637"/>
              </a:p>
            </p:txBody>
          </p:sp>
          <p:sp>
            <p:nvSpPr>
              <p:cNvPr id="460" name="Freeform 541"/>
              <p:cNvSpPr>
                <a:spLocks/>
              </p:cNvSpPr>
              <p:nvPr>
                <p:custDataLst>
                  <p:tags r:id="rId304"/>
                </p:custDataLst>
              </p:nvPr>
            </p:nvSpPr>
            <p:spPr bwMode="auto">
              <a:xfrm>
                <a:off x="2337318" y="3774174"/>
                <a:ext cx="109178" cy="137904"/>
              </a:xfrm>
              <a:custGeom>
                <a:avLst/>
                <a:gdLst>
                  <a:gd name="T0" fmla="*/ 27880 w 226"/>
                  <a:gd name="T1" fmla="*/ 121721 h 237"/>
                  <a:gd name="T2" fmla="*/ 30092 w 226"/>
                  <a:gd name="T3" fmla="*/ 122237 h 237"/>
                  <a:gd name="T4" fmla="*/ 33190 w 226"/>
                  <a:gd name="T5" fmla="*/ 121205 h 237"/>
                  <a:gd name="T6" fmla="*/ 36730 w 226"/>
                  <a:gd name="T7" fmla="*/ 120690 h 237"/>
                  <a:gd name="T8" fmla="*/ 39386 w 226"/>
                  <a:gd name="T9" fmla="*/ 118627 h 237"/>
                  <a:gd name="T10" fmla="*/ 42483 w 226"/>
                  <a:gd name="T11" fmla="*/ 115016 h 237"/>
                  <a:gd name="T12" fmla="*/ 43811 w 226"/>
                  <a:gd name="T13" fmla="*/ 110374 h 237"/>
                  <a:gd name="T14" fmla="*/ 54432 w 226"/>
                  <a:gd name="T15" fmla="*/ 107795 h 237"/>
                  <a:gd name="T16" fmla="*/ 73461 w 226"/>
                  <a:gd name="T17" fmla="*/ 105732 h 237"/>
                  <a:gd name="T18" fmla="*/ 86294 w 226"/>
                  <a:gd name="T19" fmla="*/ 102122 h 237"/>
                  <a:gd name="T20" fmla="*/ 92490 w 226"/>
                  <a:gd name="T21" fmla="*/ 98512 h 237"/>
                  <a:gd name="T22" fmla="*/ 97358 w 226"/>
                  <a:gd name="T23" fmla="*/ 93354 h 237"/>
                  <a:gd name="T24" fmla="*/ 99570 w 226"/>
                  <a:gd name="T25" fmla="*/ 86649 h 237"/>
                  <a:gd name="T26" fmla="*/ 100013 w 226"/>
                  <a:gd name="T27" fmla="*/ 78912 h 237"/>
                  <a:gd name="T28" fmla="*/ 98685 w 226"/>
                  <a:gd name="T29" fmla="*/ 72208 h 237"/>
                  <a:gd name="T30" fmla="*/ 95145 w 226"/>
                  <a:gd name="T31" fmla="*/ 63439 h 237"/>
                  <a:gd name="T32" fmla="*/ 89835 w 226"/>
                  <a:gd name="T33" fmla="*/ 51577 h 237"/>
                  <a:gd name="T34" fmla="*/ 86737 w 226"/>
                  <a:gd name="T35" fmla="*/ 43325 h 237"/>
                  <a:gd name="T36" fmla="*/ 85409 w 226"/>
                  <a:gd name="T37" fmla="*/ 38167 h 237"/>
                  <a:gd name="T38" fmla="*/ 86294 w 226"/>
                  <a:gd name="T39" fmla="*/ 30430 h 237"/>
                  <a:gd name="T40" fmla="*/ 88507 w 226"/>
                  <a:gd name="T41" fmla="*/ 22178 h 237"/>
                  <a:gd name="T42" fmla="*/ 94260 w 226"/>
                  <a:gd name="T43" fmla="*/ 12894 h 237"/>
                  <a:gd name="T44" fmla="*/ 94260 w 226"/>
                  <a:gd name="T45" fmla="*/ 7221 h 237"/>
                  <a:gd name="T46" fmla="*/ 84524 w 226"/>
                  <a:gd name="T47" fmla="*/ 3610 h 237"/>
                  <a:gd name="T48" fmla="*/ 68150 w 226"/>
                  <a:gd name="T49" fmla="*/ 1032 h 237"/>
                  <a:gd name="T50" fmla="*/ 8851 w 226"/>
                  <a:gd name="T51" fmla="*/ 3095 h 237"/>
                  <a:gd name="T52" fmla="*/ 7966 w 226"/>
                  <a:gd name="T53" fmla="*/ 15989 h 237"/>
                  <a:gd name="T54" fmla="*/ 4425 w 226"/>
                  <a:gd name="T55" fmla="*/ 27851 h 237"/>
                  <a:gd name="T56" fmla="*/ 1328 w 226"/>
                  <a:gd name="T57" fmla="*/ 40746 h 237"/>
                  <a:gd name="T58" fmla="*/ 0 w 226"/>
                  <a:gd name="T59" fmla="*/ 57250 h 237"/>
                  <a:gd name="T60" fmla="*/ 1328 w 226"/>
                  <a:gd name="T61" fmla="*/ 67050 h 237"/>
                  <a:gd name="T62" fmla="*/ 4425 w 226"/>
                  <a:gd name="T63" fmla="*/ 75302 h 237"/>
                  <a:gd name="T64" fmla="*/ 13276 w 226"/>
                  <a:gd name="T65" fmla="*/ 89228 h 237"/>
                  <a:gd name="T66" fmla="*/ 22569 w 226"/>
                  <a:gd name="T67" fmla="*/ 102638 h 237"/>
                  <a:gd name="T68" fmla="*/ 25225 w 226"/>
                  <a:gd name="T69" fmla="*/ 111406 h 237"/>
                  <a:gd name="T70" fmla="*/ 26995 w 226"/>
                  <a:gd name="T71" fmla="*/ 120690 h 23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26" h="237">
                    <a:moveTo>
                      <a:pt x="61" y="234"/>
                    </a:moveTo>
                    <a:lnTo>
                      <a:pt x="63" y="236"/>
                    </a:lnTo>
                    <a:lnTo>
                      <a:pt x="65" y="237"/>
                    </a:lnTo>
                    <a:lnTo>
                      <a:pt x="68" y="237"/>
                    </a:lnTo>
                    <a:lnTo>
                      <a:pt x="70" y="237"/>
                    </a:lnTo>
                    <a:lnTo>
                      <a:pt x="75" y="235"/>
                    </a:lnTo>
                    <a:lnTo>
                      <a:pt x="80" y="234"/>
                    </a:lnTo>
                    <a:lnTo>
                      <a:pt x="83" y="234"/>
                    </a:lnTo>
                    <a:lnTo>
                      <a:pt x="86" y="232"/>
                    </a:lnTo>
                    <a:lnTo>
                      <a:pt x="89" y="230"/>
                    </a:lnTo>
                    <a:lnTo>
                      <a:pt x="92" y="227"/>
                    </a:lnTo>
                    <a:lnTo>
                      <a:pt x="96" y="223"/>
                    </a:lnTo>
                    <a:lnTo>
                      <a:pt x="98" y="219"/>
                    </a:lnTo>
                    <a:lnTo>
                      <a:pt x="99" y="214"/>
                    </a:lnTo>
                    <a:lnTo>
                      <a:pt x="100" y="209"/>
                    </a:lnTo>
                    <a:lnTo>
                      <a:pt x="123" y="209"/>
                    </a:lnTo>
                    <a:lnTo>
                      <a:pt x="145" y="208"/>
                    </a:lnTo>
                    <a:lnTo>
                      <a:pt x="166" y="205"/>
                    </a:lnTo>
                    <a:lnTo>
                      <a:pt x="186" y="201"/>
                    </a:lnTo>
                    <a:lnTo>
                      <a:pt x="195" y="198"/>
                    </a:lnTo>
                    <a:lnTo>
                      <a:pt x="202" y="195"/>
                    </a:lnTo>
                    <a:lnTo>
                      <a:pt x="209" y="191"/>
                    </a:lnTo>
                    <a:lnTo>
                      <a:pt x="215" y="186"/>
                    </a:lnTo>
                    <a:lnTo>
                      <a:pt x="220" y="181"/>
                    </a:lnTo>
                    <a:lnTo>
                      <a:pt x="223" y="175"/>
                    </a:lnTo>
                    <a:lnTo>
                      <a:pt x="225" y="168"/>
                    </a:lnTo>
                    <a:lnTo>
                      <a:pt x="226" y="161"/>
                    </a:lnTo>
                    <a:lnTo>
                      <a:pt x="226" y="153"/>
                    </a:lnTo>
                    <a:lnTo>
                      <a:pt x="225" y="147"/>
                    </a:lnTo>
                    <a:lnTo>
                      <a:pt x="223" y="140"/>
                    </a:lnTo>
                    <a:lnTo>
                      <a:pt x="221" y="134"/>
                    </a:lnTo>
                    <a:lnTo>
                      <a:pt x="215" y="123"/>
                    </a:lnTo>
                    <a:lnTo>
                      <a:pt x="210" y="112"/>
                    </a:lnTo>
                    <a:lnTo>
                      <a:pt x="203" y="100"/>
                    </a:lnTo>
                    <a:lnTo>
                      <a:pt x="198" y="90"/>
                    </a:lnTo>
                    <a:lnTo>
                      <a:pt x="196" y="84"/>
                    </a:lnTo>
                    <a:lnTo>
                      <a:pt x="195" y="79"/>
                    </a:lnTo>
                    <a:lnTo>
                      <a:pt x="193" y="74"/>
                    </a:lnTo>
                    <a:lnTo>
                      <a:pt x="193" y="68"/>
                    </a:lnTo>
                    <a:lnTo>
                      <a:pt x="195" y="59"/>
                    </a:lnTo>
                    <a:lnTo>
                      <a:pt x="197" y="51"/>
                    </a:lnTo>
                    <a:lnTo>
                      <a:pt x="200" y="43"/>
                    </a:lnTo>
                    <a:lnTo>
                      <a:pt x="204" y="36"/>
                    </a:lnTo>
                    <a:lnTo>
                      <a:pt x="213" y="25"/>
                    </a:lnTo>
                    <a:lnTo>
                      <a:pt x="220" y="19"/>
                    </a:lnTo>
                    <a:lnTo>
                      <a:pt x="213" y="14"/>
                    </a:lnTo>
                    <a:lnTo>
                      <a:pt x="203" y="11"/>
                    </a:lnTo>
                    <a:lnTo>
                      <a:pt x="191" y="7"/>
                    </a:lnTo>
                    <a:lnTo>
                      <a:pt x="179" y="5"/>
                    </a:lnTo>
                    <a:lnTo>
                      <a:pt x="154" y="2"/>
                    </a:lnTo>
                    <a:lnTo>
                      <a:pt x="133" y="0"/>
                    </a:lnTo>
                    <a:lnTo>
                      <a:pt x="20" y="6"/>
                    </a:lnTo>
                    <a:lnTo>
                      <a:pt x="20" y="19"/>
                    </a:lnTo>
                    <a:lnTo>
                      <a:pt x="18" y="31"/>
                    </a:lnTo>
                    <a:lnTo>
                      <a:pt x="14" y="42"/>
                    </a:lnTo>
                    <a:lnTo>
                      <a:pt x="10" y="54"/>
                    </a:lnTo>
                    <a:lnTo>
                      <a:pt x="7" y="66"/>
                    </a:lnTo>
                    <a:lnTo>
                      <a:pt x="3" y="79"/>
                    </a:lnTo>
                    <a:lnTo>
                      <a:pt x="1" y="93"/>
                    </a:lnTo>
                    <a:lnTo>
                      <a:pt x="0" y="111"/>
                    </a:lnTo>
                    <a:lnTo>
                      <a:pt x="1" y="121"/>
                    </a:lnTo>
                    <a:lnTo>
                      <a:pt x="3" y="130"/>
                    </a:lnTo>
                    <a:lnTo>
                      <a:pt x="6" y="138"/>
                    </a:lnTo>
                    <a:lnTo>
                      <a:pt x="10" y="146"/>
                    </a:lnTo>
                    <a:lnTo>
                      <a:pt x="19" y="159"/>
                    </a:lnTo>
                    <a:lnTo>
                      <a:pt x="30" y="173"/>
                    </a:lnTo>
                    <a:lnTo>
                      <a:pt x="41" y="185"/>
                    </a:lnTo>
                    <a:lnTo>
                      <a:pt x="51" y="199"/>
                    </a:lnTo>
                    <a:lnTo>
                      <a:pt x="55" y="207"/>
                    </a:lnTo>
                    <a:lnTo>
                      <a:pt x="57" y="216"/>
                    </a:lnTo>
                    <a:lnTo>
                      <a:pt x="59" y="225"/>
                    </a:lnTo>
                    <a:lnTo>
                      <a:pt x="61" y="234"/>
                    </a:lnTo>
                  </a:path>
                </a:pathLst>
              </a:custGeom>
              <a:grpFill/>
              <a:ln w="9525" cap="flat" cmpd="sng">
                <a:solidFill>
                  <a:srgbClr val="FFFFFF"/>
                </a:solidFill>
                <a:prstDash val="solid"/>
                <a:round/>
                <a:headEnd type="none" w="med" len="med"/>
                <a:tailEnd type="none" w="med" len="med"/>
              </a:ln>
              <a:effectLst/>
            </p:spPr>
            <p:txBody>
              <a:bodyPr/>
              <a:lstStyle/>
              <a:p>
                <a:endParaRPr lang="en-GB" sz="1637"/>
              </a:p>
            </p:txBody>
          </p:sp>
        </p:grpSp>
        <p:grpSp>
          <p:nvGrpSpPr>
            <p:cNvPr id="16" name="Group 116"/>
            <p:cNvGrpSpPr/>
            <p:nvPr/>
          </p:nvGrpSpPr>
          <p:grpSpPr>
            <a:xfrm>
              <a:off x="5033834" y="1967192"/>
              <a:ext cx="2720777" cy="2403373"/>
              <a:chOff x="5033834" y="1967192"/>
              <a:chExt cx="2720777" cy="2403373"/>
            </a:xfrm>
            <a:grpFill/>
          </p:grpSpPr>
          <p:grpSp>
            <p:nvGrpSpPr>
              <p:cNvPr id="319" name="Group 19"/>
              <p:cNvGrpSpPr>
                <a:grpSpLocks/>
              </p:cNvGrpSpPr>
              <p:nvPr>
                <p:custDataLst>
                  <p:tags r:id="rId192"/>
                </p:custDataLst>
              </p:nvPr>
            </p:nvGrpSpPr>
            <p:grpSpPr bwMode="auto">
              <a:xfrm>
                <a:off x="6636840" y="3695372"/>
                <a:ext cx="516428" cy="239989"/>
                <a:chOff x="4488" y="2394"/>
                <a:chExt cx="358" cy="124"/>
              </a:xfrm>
              <a:grpFill/>
            </p:grpSpPr>
            <p:sp>
              <p:nvSpPr>
                <p:cNvPr id="408" name="Freeform 20"/>
                <p:cNvSpPr>
                  <a:spLocks/>
                </p:cNvSpPr>
                <p:nvPr/>
              </p:nvSpPr>
              <p:spPr bwMode="auto">
                <a:xfrm>
                  <a:off x="4675" y="2394"/>
                  <a:ext cx="171" cy="124"/>
                </a:xfrm>
                <a:custGeom>
                  <a:avLst/>
                  <a:gdLst>
                    <a:gd name="T0" fmla="*/ 142 w 512"/>
                    <a:gd name="T1" fmla="*/ 60 h 408"/>
                    <a:gd name="T2" fmla="*/ 129 w 512"/>
                    <a:gd name="T3" fmla="*/ 59 h 408"/>
                    <a:gd name="T4" fmla="*/ 123 w 512"/>
                    <a:gd name="T5" fmla="*/ 62 h 408"/>
                    <a:gd name="T6" fmla="*/ 118 w 512"/>
                    <a:gd name="T7" fmla="*/ 66 h 408"/>
                    <a:gd name="T8" fmla="*/ 116 w 512"/>
                    <a:gd name="T9" fmla="*/ 77 h 408"/>
                    <a:gd name="T10" fmla="*/ 109 w 512"/>
                    <a:gd name="T11" fmla="*/ 93 h 408"/>
                    <a:gd name="T12" fmla="*/ 102 w 512"/>
                    <a:gd name="T13" fmla="*/ 102 h 408"/>
                    <a:gd name="T14" fmla="*/ 97 w 512"/>
                    <a:gd name="T15" fmla="*/ 106 h 408"/>
                    <a:gd name="T16" fmla="*/ 91 w 512"/>
                    <a:gd name="T17" fmla="*/ 109 h 408"/>
                    <a:gd name="T18" fmla="*/ 86 w 512"/>
                    <a:gd name="T19" fmla="*/ 112 h 408"/>
                    <a:gd name="T20" fmla="*/ 84 w 512"/>
                    <a:gd name="T21" fmla="*/ 114 h 408"/>
                    <a:gd name="T22" fmla="*/ 72 w 512"/>
                    <a:gd name="T23" fmla="*/ 112 h 408"/>
                    <a:gd name="T24" fmla="*/ 61 w 512"/>
                    <a:gd name="T25" fmla="*/ 112 h 408"/>
                    <a:gd name="T26" fmla="*/ 52 w 512"/>
                    <a:gd name="T27" fmla="*/ 113 h 408"/>
                    <a:gd name="T28" fmla="*/ 46 w 512"/>
                    <a:gd name="T29" fmla="*/ 118 h 408"/>
                    <a:gd name="T30" fmla="*/ 32 w 512"/>
                    <a:gd name="T31" fmla="*/ 123 h 408"/>
                    <a:gd name="T32" fmla="*/ 21 w 512"/>
                    <a:gd name="T33" fmla="*/ 124 h 408"/>
                    <a:gd name="T34" fmla="*/ 15 w 512"/>
                    <a:gd name="T35" fmla="*/ 122 h 408"/>
                    <a:gd name="T36" fmla="*/ 5 w 512"/>
                    <a:gd name="T37" fmla="*/ 112 h 408"/>
                    <a:gd name="T38" fmla="*/ 1 w 512"/>
                    <a:gd name="T39" fmla="*/ 105 h 408"/>
                    <a:gd name="T40" fmla="*/ 3 w 512"/>
                    <a:gd name="T41" fmla="*/ 102 h 408"/>
                    <a:gd name="T42" fmla="*/ 11 w 512"/>
                    <a:gd name="T43" fmla="*/ 105 h 408"/>
                    <a:gd name="T44" fmla="*/ 18 w 512"/>
                    <a:gd name="T45" fmla="*/ 102 h 408"/>
                    <a:gd name="T46" fmla="*/ 19 w 512"/>
                    <a:gd name="T47" fmla="*/ 95 h 408"/>
                    <a:gd name="T48" fmla="*/ 24 w 512"/>
                    <a:gd name="T49" fmla="*/ 91 h 408"/>
                    <a:gd name="T50" fmla="*/ 27 w 512"/>
                    <a:gd name="T51" fmla="*/ 87 h 408"/>
                    <a:gd name="T52" fmla="*/ 30 w 512"/>
                    <a:gd name="T53" fmla="*/ 83 h 408"/>
                    <a:gd name="T54" fmla="*/ 34 w 512"/>
                    <a:gd name="T55" fmla="*/ 80 h 408"/>
                    <a:gd name="T56" fmla="*/ 46 w 512"/>
                    <a:gd name="T57" fmla="*/ 75 h 408"/>
                    <a:gd name="T58" fmla="*/ 58 w 512"/>
                    <a:gd name="T59" fmla="*/ 71 h 408"/>
                    <a:gd name="T60" fmla="*/ 67 w 512"/>
                    <a:gd name="T61" fmla="*/ 66 h 408"/>
                    <a:gd name="T62" fmla="*/ 71 w 512"/>
                    <a:gd name="T63" fmla="*/ 62 h 408"/>
                    <a:gd name="T64" fmla="*/ 73 w 512"/>
                    <a:gd name="T65" fmla="*/ 58 h 408"/>
                    <a:gd name="T66" fmla="*/ 76 w 512"/>
                    <a:gd name="T67" fmla="*/ 49 h 408"/>
                    <a:gd name="T68" fmla="*/ 76 w 512"/>
                    <a:gd name="T69" fmla="*/ 45 h 408"/>
                    <a:gd name="T70" fmla="*/ 77 w 512"/>
                    <a:gd name="T71" fmla="*/ 46 h 408"/>
                    <a:gd name="T72" fmla="*/ 80 w 512"/>
                    <a:gd name="T73" fmla="*/ 43 h 408"/>
                    <a:gd name="T74" fmla="*/ 79 w 512"/>
                    <a:gd name="T75" fmla="*/ 47 h 408"/>
                    <a:gd name="T76" fmla="*/ 80 w 512"/>
                    <a:gd name="T77" fmla="*/ 53 h 408"/>
                    <a:gd name="T78" fmla="*/ 84 w 512"/>
                    <a:gd name="T79" fmla="*/ 59 h 408"/>
                    <a:gd name="T80" fmla="*/ 91 w 512"/>
                    <a:gd name="T81" fmla="*/ 62 h 408"/>
                    <a:gd name="T82" fmla="*/ 102 w 512"/>
                    <a:gd name="T83" fmla="*/ 62 h 408"/>
                    <a:gd name="T84" fmla="*/ 107 w 512"/>
                    <a:gd name="T85" fmla="*/ 62 h 408"/>
                    <a:gd name="T86" fmla="*/ 109 w 512"/>
                    <a:gd name="T87" fmla="*/ 60 h 408"/>
                    <a:gd name="T88" fmla="*/ 108 w 512"/>
                    <a:gd name="T89" fmla="*/ 53 h 408"/>
                    <a:gd name="T90" fmla="*/ 100 w 512"/>
                    <a:gd name="T91" fmla="*/ 40 h 408"/>
                    <a:gd name="T92" fmla="*/ 107 w 512"/>
                    <a:gd name="T93" fmla="*/ 33 h 408"/>
                    <a:gd name="T94" fmla="*/ 115 w 512"/>
                    <a:gd name="T95" fmla="*/ 20 h 408"/>
                    <a:gd name="T96" fmla="*/ 125 w 512"/>
                    <a:gd name="T97" fmla="*/ 7 h 408"/>
                    <a:gd name="T98" fmla="*/ 133 w 512"/>
                    <a:gd name="T99" fmla="*/ 0 h 408"/>
                    <a:gd name="T100" fmla="*/ 134 w 512"/>
                    <a:gd name="T101" fmla="*/ 7 h 408"/>
                    <a:gd name="T102" fmla="*/ 138 w 512"/>
                    <a:gd name="T103" fmla="*/ 15 h 408"/>
                    <a:gd name="T104" fmla="*/ 147 w 512"/>
                    <a:gd name="T105" fmla="*/ 23 h 408"/>
                    <a:gd name="T106" fmla="*/ 162 w 512"/>
                    <a:gd name="T107" fmla="*/ 32 h 408"/>
                    <a:gd name="T108" fmla="*/ 170 w 512"/>
                    <a:gd name="T109" fmla="*/ 40 h 408"/>
                    <a:gd name="T110" fmla="*/ 167 w 512"/>
                    <a:gd name="T111" fmla="*/ 45 h 408"/>
                    <a:gd name="T112" fmla="*/ 160 w 512"/>
                    <a:gd name="T113" fmla="*/ 46 h 408"/>
                    <a:gd name="T114" fmla="*/ 153 w 512"/>
                    <a:gd name="T115" fmla="*/ 55 h 40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512" h="408">
                      <a:moveTo>
                        <a:pt x="452" y="204"/>
                      </a:moveTo>
                      <a:lnTo>
                        <a:pt x="442" y="202"/>
                      </a:lnTo>
                      <a:lnTo>
                        <a:pt x="424" y="198"/>
                      </a:lnTo>
                      <a:lnTo>
                        <a:pt x="407" y="194"/>
                      </a:lnTo>
                      <a:lnTo>
                        <a:pt x="392" y="192"/>
                      </a:lnTo>
                      <a:lnTo>
                        <a:pt x="387" y="193"/>
                      </a:lnTo>
                      <a:lnTo>
                        <a:pt x="380" y="195"/>
                      </a:lnTo>
                      <a:lnTo>
                        <a:pt x="374" y="198"/>
                      </a:lnTo>
                      <a:lnTo>
                        <a:pt x="367" y="203"/>
                      </a:lnTo>
                      <a:lnTo>
                        <a:pt x="362" y="207"/>
                      </a:lnTo>
                      <a:lnTo>
                        <a:pt x="356" y="212"/>
                      </a:lnTo>
                      <a:lnTo>
                        <a:pt x="354" y="217"/>
                      </a:lnTo>
                      <a:lnTo>
                        <a:pt x="353" y="222"/>
                      </a:lnTo>
                      <a:lnTo>
                        <a:pt x="351" y="238"/>
                      </a:lnTo>
                      <a:lnTo>
                        <a:pt x="347" y="254"/>
                      </a:lnTo>
                      <a:lnTo>
                        <a:pt x="342" y="271"/>
                      </a:lnTo>
                      <a:lnTo>
                        <a:pt x="335" y="289"/>
                      </a:lnTo>
                      <a:lnTo>
                        <a:pt x="327" y="306"/>
                      </a:lnTo>
                      <a:lnTo>
                        <a:pt x="316" y="321"/>
                      </a:lnTo>
                      <a:lnTo>
                        <a:pt x="310" y="328"/>
                      </a:lnTo>
                      <a:lnTo>
                        <a:pt x="305" y="335"/>
                      </a:lnTo>
                      <a:lnTo>
                        <a:pt x="299" y="341"/>
                      </a:lnTo>
                      <a:lnTo>
                        <a:pt x="293" y="346"/>
                      </a:lnTo>
                      <a:lnTo>
                        <a:pt x="289" y="350"/>
                      </a:lnTo>
                      <a:lnTo>
                        <a:pt x="284" y="354"/>
                      </a:lnTo>
                      <a:lnTo>
                        <a:pt x="277" y="356"/>
                      </a:lnTo>
                      <a:lnTo>
                        <a:pt x="271" y="359"/>
                      </a:lnTo>
                      <a:lnTo>
                        <a:pt x="264" y="362"/>
                      </a:lnTo>
                      <a:lnTo>
                        <a:pt x="258" y="366"/>
                      </a:lnTo>
                      <a:lnTo>
                        <a:pt x="256" y="368"/>
                      </a:lnTo>
                      <a:lnTo>
                        <a:pt x="254" y="370"/>
                      </a:lnTo>
                      <a:lnTo>
                        <a:pt x="253" y="373"/>
                      </a:lnTo>
                      <a:lnTo>
                        <a:pt x="253" y="376"/>
                      </a:lnTo>
                      <a:lnTo>
                        <a:pt x="227" y="376"/>
                      </a:lnTo>
                      <a:lnTo>
                        <a:pt x="221" y="373"/>
                      </a:lnTo>
                      <a:lnTo>
                        <a:pt x="215" y="370"/>
                      </a:lnTo>
                      <a:lnTo>
                        <a:pt x="208" y="369"/>
                      </a:lnTo>
                      <a:lnTo>
                        <a:pt x="200" y="368"/>
                      </a:lnTo>
                      <a:lnTo>
                        <a:pt x="183" y="367"/>
                      </a:lnTo>
                      <a:lnTo>
                        <a:pt x="160" y="364"/>
                      </a:lnTo>
                      <a:lnTo>
                        <a:pt x="157" y="369"/>
                      </a:lnTo>
                      <a:lnTo>
                        <a:pt x="155" y="373"/>
                      </a:lnTo>
                      <a:lnTo>
                        <a:pt x="152" y="377"/>
                      </a:lnTo>
                      <a:lnTo>
                        <a:pt x="148" y="381"/>
                      </a:lnTo>
                      <a:lnTo>
                        <a:pt x="138" y="388"/>
                      </a:lnTo>
                      <a:lnTo>
                        <a:pt x="126" y="396"/>
                      </a:lnTo>
                      <a:lnTo>
                        <a:pt x="111" y="401"/>
                      </a:lnTo>
                      <a:lnTo>
                        <a:pt x="97" y="405"/>
                      </a:lnTo>
                      <a:lnTo>
                        <a:pt x="82" y="407"/>
                      </a:lnTo>
                      <a:lnTo>
                        <a:pt x="66" y="408"/>
                      </a:lnTo>
                      <a:lnTo>
                        <a:pt x="62" y="407"/>
                      </a:lnTo>
                      <a:lnTo>
                        <a:pt x="56" y="406"/>
                      </a:lnTo>
                      <a:lnTo>
                        <a:pt x="51" y="403"/>
                      </a:lnTo>
                      <a:lnTo>
                        <a:pt x="45" y="400"/>
                      </a:lnTo>
                      <a:lnTo>
                        <a:pt x="34" y="390"/>
                      </a:lnTo>
                      <a:lnTo>
                        <a:pt x="24" y="379"/>
                      </a:lnTo>
                      <a:lnTo>
                        <a:pt x="15" y="368"/>
                      </a:lnTo>
                      <a:lnTo>
                        <a:pt x="7" y="356"/>
                      </a:lnTo>
                      <a:lnTo>
                        <a:pt x="4" y="350"/>
                      </a:lnTo>
                      <a:lnTo>
                        <a:pt x="2" y="344"/>
                      </a:lnTo>
                      <a:lnTo>
                        <a:pt x="0" y="338"/>
                      </a:lnTo>
                      <a:lnTo>
                        <a:pt x="0" y="333"/>
                      </a:lnTo>
                      <a:lnTo>
                        <a:pt x="8" y="335"/>
                      </a:lnTo>
                      <a:lnTo>
                        <a:pt x="19" y="340"/>
                      </a:lnTo>
                      <a:lnTo>
                        <a:pt x="27" y="342"/>
                      </a:lnTo>
                      <a:lnTo>
                        <a:pt x="34" y="344"/>
                      </a:lnTo>
                      <a:lnTo>
                        <a:pt x="43" y="346"/>
                      </a:lnTo>
                      <a:lnTo>
                        <a:pt x="53" y="346"/>
                      </a:lnTo>
                      <a:lnTo>
                        <a:pt x="53" y="336"/>
                      </a:lnTo>
                      <a:lnTo>
                        <a:pt x="54" y="328"/>
                      </a:lnTo>
                      <a:lnTo>
                        <a:pt x="54" y="321"/>
                      </a:lnTo>
                      <a:lnTo>
                        <a:pt x="56" y="314"/>
                      </a:lnTo>
                      <a:lnTo>
                        <a:pt x="60" y="308"/>
                      </a:lnTo>
                      <a:lnTo>
                        <a:pt x="64" y="303"/>
                      </a:lnTo>
                      <a:lnTo>
                        <a:pt x="71" y="300"/>
                      </a:lnTo>
                      <a:lnTo>
                        <a:pt x="80" y="297"/>
                      </a:lnTo>
                      <a:lnTo>
                        <a:pt x="81" y="291"/>
                      </a:lnTo>
                      <a:lnTo>
                        <a:pt x="82" y="286"/>
                      </a:lnTo>
                      <a:lnTo>
                        <a:pt x="84" y="281"/>
                      </a:lnTo>
                      <a:lnTo>
                        <a:pt x="86" y="276"/>
                      </a:lnTo>
                      <a:lnTo>
                        <a:pt x="89" y="272"/>
                      </a:lnTo>
                      <a:lnTo>
                        <a:pt x="93" y="268"/>
                      </a:lnTo>
                      <a:lnTo>
                        <a:pt x="97" y="265"/>
                      </a:lnTo>
                      <a:lnTo>
                        <a:pt x="101" y="262"/>
                      </a:lnTo>
                      <a:lnTo>
                        <a:pt x="112" y="256"/>
                      </a:lnTo>
                      <a:lnTo>
                        <a:pt x="125" y="251"/>
                      </a:lnTo>
                      <a:lnTo>
                        <a:pt x="137" y="246"/>
                      </a:lnTo>
                      <a:lnTo>
                        <a:pt x="150" y="241"/>
                      </a:lnTo>
                      <a:lnTo>
                        <a:pt x="163" y="237"/>
                      </a:lnTo>
                      <a:lnTo>
                        <a:pt x="175" y="232"/>
                      </a:lnTo>
                      <a:lnTo>
                        <a:pt x="187" y="226"/>
                      </a:lnTo>
                      <a:lnTo>
                        <a:pt x="198" y="220"/>
                      </a:lnTo>
                      <a:lnTo>
                        <a:pt x="202" y="217"/>
                      </a:lnTo>
                      <a:lnTo>
                        <a:pt x="207" y="213"/>
                      </a:lnTo>
                      <a:lnTo>
                        <a:pt x="210" y="210"/>
                      </a:lnTo>
                      <a:lnTo>
                        <a:pt x="213" y="205"/>
                      </a:lnTo>
                      <a:lnTo>
                        <a:pt x="216" y="201"/>
                      </a:lnTo>
                      <a:lnTo>
                        <a:pt x="218" y="196"/>
                      </a:lnTo>
                      <a:lnTo>
                        <a:pt x="219" y="191"/>
                      </a:lnTo>
                      <a:lnTo>
                        <a:pt x="219" y="186"/>
                      </a:lnTo>
                      <a:lnTo>
                        <a:pt x="221" y="175"/>
                      </a:lnTo>
                      <a:lnTo>
                        <a:pt x="227" y="161"/>
                      </a:lnTo>
                      <a:lnTo>
                        <a:pt x="231" y="150"/>
                      </a:lnTo>
                      <a:lnTo>
                        <a:pt x="233" y="143"/>
                      </a:lnTo>
                      <a:lnTo>
                        <a:pt x="229" y="149"/>
                      </a:lnTo>
                      <a:lnTo>
                        <a:pt x="228" y="153"/>
                      </a:lnTo>
                      <a:lnTo>
                        <a:pt x="229" y="153"/>
                      </a:lnTo>
                      <a:lnTo>
                        <a:pt x="231" y="152"/>
                      </a:lnTo>
                      <a:lnTo>
                        <a:pt x="237" y="146"/>
                      </a:lnTo>
                      <a:lnTo>
                        <a:pt x="240" y="143"/>
                      </a:lnTo>
                      <a:lnTo>
                        <a:pt x="239" y="143"/>
                      </a:lnTo>
                      <a:lnTo>
                        <a:pt x="238" y="146"/>
                      </a:lnTo>
                      <a:lnTo>
                        <a:pt x="237" y="150"/>
                      </a:lnTo>
                      <a:lnTo>
                        <a:pt x="237" y="155"/>
                      </a:lnTo>
                      <a:lnTo>
                        <a:pt x="238" y="160"/>
                      </a:lnTo>
                      <a:lnTo>
                        <a:pt x="239" y="166"/>
                      </a:lnTo>
                      <a:lnTo>
                        <a:pt x="240" y="174"/>
                      </a:lnTo>
                      <a:lnTo>
                        <a:pt x="243" y="181"/>
                      </a:lnTo>
                      <a:lnTo>
                        <a:pt x="246" y="187"/>
                      </a:lnTo>
                      <a:lnTo>
                        <a:pt x="251" y="193"/>
                      </a:lnTo>
                      <a:lnTo>
                        <a:pt x="256" y="198"/>
                      </a:lnTo>
                      <a:lnTo>
                        <a:pt x="264" y="202"/>
                      </a:lnTo>
                      <a:lnTo>
                        <a:pt x="272" y="205"/>
                      </a:lnTo>
                      <a:lnTo>
                        <a:pt x="282" y="207"/>
                      </a:lnTo>
                      <a:lnTo>
                        <a:pt x="293" y="206"/>
                      </a:lnTo>
                      <a:lnTo>
                        <a:pt x="306" y="204"/>
                      </a:lnTo>
                      <a:lnTo>
                        <a:pt x="311" y="206"/>
                      </a:lnTo>
                      <a:lnTo>
                        <a:pt x="317" y="206"/>
                      </a:lnTo>
                      <a:lnTo>
                        <a:pt x="320" y="205"/>
                      </a:lnTo>
                      <a:lnTo>
                        <a:pt x="323" y="204"/>
                      </a:lnTo>
                      <a:lnTo>
                        <a:pt x="325" y="201"/>
                      </a:lnTo>
                      <a:lnTo>
                        <a:pt x="327" y="198"/>
                      </a:lnTo>
                      <a:lnTo>
                        <a:pt x="328" y="193"/>
                      </a:lnTo>
                      <a:lnTo>
                        <a:pt x="328" y="188"/>
                      </a:lnTo>
                      <a:lnTo>
                        <a:pt x="324" y="176"/>
                      </a:lnTo>
                      <a:lnTo>
                        <a:pt x="319" y="161"/>
                      </a:lnTo>
                      <a:lnTo>
                        <a:pt x="310" y="146"/>
                      </a:lnTo>
                      <a:lnTo>
                        <a:pt x="299" y="130"/>
                      </a:lnTo>
                      <a:lnTo>
                        <a:pt x="307" y="124"/>
                      </a:lnTo>
                      <a:lnTo>
                        <a:pt x="312" y="118"/>
                      </a:lnTo>
                      <a:lnTo>
                        <a:pt x="319" y="109"/>
                      </a:lnTo>
                      <a:lnTo>
                        <a:pt x="324" y="101"/>
                      </a:lnTo>
                      <a:lnTo>
                        <a:pt x="334" y="84"/>
                      </a:lnTo>
                      <a:lnTo>
                        <a:pt x="344" y="66"/>
                      </a:lnTo>
                      <a:lnTo>
                        <a:pt x="354" y="47"/>
                      </a:lnTo>
                      <a:lnTo>
                        <a:pt x="366" y="30"/>
                      </a:lnTo>
                      <a:lnTo>
                        <a:pt x="374" y="22"/>
                      </a:lnTo>
                      <a:lnTo>
                        <a:pt x="381" y="14"/>
                      </a:lnTo>
                      <a:lnTo>
                        <a:pt x="389" y="7"/>
                      </a:lnTo>
                      <a:lnTo>
                        <a:pt x="399" y="0"/>
                      </a:lnTo>
                      <a:lnTo>
                        <a:pt x="399" y="9"/>
                      </a:lnTo>
                      <a:lnTo>
                        <a:pt x="400" y="16"/>
                      </a:lnTo>
                      <a:lnTo>
                        <a:pt x="401" y="23"/>
                      </a:lnTo>
                      <a:lnTo>
                        <a:pt x="403" y="29"/>
                      </a:lnTo>
                      <a:lnTo>
                        <a:pt x="408" y="41"/>
                      </a:lnTo>
                      <a:lnTo>
                        <a:pt x="413" y="50"/>
                      </a:lnTo>
                      <a:lnTo>
                        <a:pt x="421" y="59"/>
                      </a:lnTo>
                      <a:lnTo>
                        <a:pt x="430" y="68"/>
                      </a:lnTo>
                      <a:lnTo>
                        <a:pt x="439" y="75"/>
                      </a:lnTo>
                      <a:lnTo>
                        <a:pt x="447" y="81"/>
                      </a:lnTo>
                      <a:lnTo>
                        <a:pt x="467" y="93"/>
                      </a:lnTo>
                      <a:lnTo>
                        <a:pt x="486" y="106"/>
                      </a:lnTo>
                      <a:lnTo>
                        <a:pt x="493" y="113"/>
                      </a:lnTo>
                      <a:lnTo>
                        <a:pt x="501" y="123"/>
                      </a:lnTo>
                      <a:lnTo>
                        <a:pt x="508" y="132"/>
                      </a:lnTo>
                      <a:lnTo>
                        <a:pt x="512" y="143"/>
                      </a:lnTo>
                      <a:lnTo>
                        <a:pt x="504" y="146"/>
                      </a:lnTo>
                      <a:lnTo>
                        <a:pt x="499" y="149"/>
                      </a:lnTo>
                      <a:lnTo>
                        <a:pt x="493" y="150"/>
                      </a:lnTo>
                      <a:lnTo>
                        <a:pt x="489" y="151"/>
                      </a:lnTo>
                      <a:lnTo>
                        <a:pt x="478" y="152"/>
                      </a:lnTo>
                      <a:lnTo>
                        <a:pt x="465" y="155"/>
                      </a:lnTo>
                      <a:lnTo>
                        <a:pt x="463" y="166"/>
                      </a:lnTo>
                      <a:lnTo>
                        <a:pt x="458" y="180"/>
                      </a:lnTo>
                      <a:lnTo>
                        <a:pt x="454" y="193"/>
                      </a:lnTo>
                      <a:lnTo>
                        <a:pt x="452" y="204"/>
                      </a:lnTo>
                    </a:path>
                  </a:pathLst>
                </a:custGeom>
                <a:grpFill/>
                <a:ln w="9525" cap="flat" cmpd="sng">
                  <a:solidFill>
                    <a:srgbClr val="FFFFFF"/>
                  </a:solidFill>
                  <a:prstDash val="solid"/>
                  <a:round/>
                  <a:headEnd type="none" w="med" len="med"/>
                  <a:tailEnd type="none" w="med" len="med"/>
                </a:ln>
                <a:effectLst/>
              </p:spPr>
              <p:txBody>
                <a:bodyPr/>
                <a:lstStyle/>
                <a:p>
                  <a:endParaRPr lang="en-GB" sz="1637"/>
                </a:p>
              </p:txBody>
            </p:sp>
            <p:sp>
              <p:nvSpPr>
                <p:cNvPr id="409" name="Freeform 21"/>
                <p:cNvSpPr>
                  <a:spLocks/>
                </p:cNvSpPr>
                <p:nvPr/>
              </p:nvSpPr>
              <p:spPr bwMode="auto">
                <a:xfrm>
                  <a:off x="4488" y="2420"/>
                  <a:ext cx="77" cy="89"/>
                </a:xfrm>
                <a:custGeom>
                  <a:avLst/>
                  <a:gdLst>
                    <a:gd name="T0" fmla="*/ 50 w 232"/>
                    <a:gd name="T1" fmla="*/ 7 h 289"/>
                    <a:gd name="T2" fmla="*/ 55 w 232"/>
                    <a:gd name="T3" fmla="*/ 15 h 289"/>
                    <a:gd name="T4" fmla="*/ 58 w 232"/>
                    <a:gd name="T5" fmla="*/ 17 h 289"/>
                    <a:gd name="T6" fmla="*/ 60 w 232"/>
                    <a:gd name="T7" fmla="*/ 18 h 289"/>
                    <a:gd name="T8" fmla="*/ 62 w 232"/>
                    <a:gd name="T9" fmla="*/ 51 h 289"/>
                    <a:gd name="T10" fmla="*/ 63 w 232"/>
                    <a:gd name="T11" fmla="*/ 60 h 289"/>
                    <a:gd name="T12" fmla="*/ 64 w 232"/>
                    <a:gd name="T13" fmla="*/ 64 h 289"/>
                    <a:gd name="T14" fmla="*/ 66 w 232"/>
                    <a:gd name="T15" fmla="*/ 67 h 289"/>
                    <a:gd name="T16" fmla="*/ 77 w 232"/>
                    <a:gd name="T17" fmla="*/ 76 h 289"/>
                    <a:gd name="T18" fmla="*/ 73 w 232"/>
                    <a:gd name="T19" fmla="*/ 89 h 289"/>
                    <a:gd name="T20" fmla="*/ 62 w 232"/>
                    <a:gd name="T21" fmla="*/ 87 h 289"/>
                    <a:gd name="T22" fmla="*/ 50 w 232"/>
                    <a:gd name="T23" fmla="*/ 81 h 289"/>
                    <a:gd name="T24" fmla="*/ 38 w 232"/>
                    <a:gd name="T25" fmla="*/ 72 h 289"/>
                    <a:gd name="T26" fmla="*/ 27 w 232"/>
                    <a:gd name="T27" fmla="*/ 64 h 289"/>
                    <a:gd name="T28" fmla="*/ 19 w 232"/>
                    <a:gd name="T29" fmla="*/ 54 h 289"/>
                    <a:gd name="T30" fmla="*/ 10 w 232"/>
                    <a:gd name="T31" fmla="*/ 45 h 289"/>
                    <a:gd name="T32" fmla="*/ 3 w 232"/>
                    <a:gd name="T33" fmla="*/ 39 h 289"/>
                    <a:gd name="T34" fmla="*/ 1 w 232"/>
                    <a:gd name="T35" fmla="*/ 36 h 289"/>
                    <a:gd name="T36" fmla="*/ 0 w 232"/>
                    <a:gd name="T37" fmla="*/ 34 h 289"/>
                    <a:gd name="T38" fmla="*/ 0 w 232"/>
                    <a:gd name="T39" fmla="*/ 31 h 289"/>
                    <a:gd name="T40" fmla="*/ 1 w 232"/>
                    <a:gd name="T41" fmla="*/ 28 h 289"/>
                    <a:gd name="T42" fmla="*/ 4 w 232"/>
                    <a:gd name="T43" fmla="*/ 24 h 289"/>
                    <a:gd name="T44" fmla="*/ 4 w 232"/>
                    <a:gd name="T45" fmla="*/ 16 h 289"/>
                    <a:gd name="T46" fmla="*/ 2 w 232"/>
                    <a:gd name="T47" fmla="*/ 5 h 289"/>
                    <a:gd name="T48" fmla="*/ 4 w 232"/>
                    <a:gd name="T49" fmla="*/ 0 h 289"/>
                    <a:gd name="T50" fmla="*/ 9 w 232"/>
                    <a:gd name="T51" fmla="*/ 1 h 289"/>
                    <a:gd name="T52" fmla="*/ 14 w 232"/>
                    <a:gd name="T53" fmla="*/ 3 h 289"/>
                    <a:gd name="T54" fmla="*/ 20 w 232"/>
                    <a:gd name="T55" fmla="*/ 6 h 289"/>
                    <a:gd name="T56" fmla="*/ 24 w 232"/>
                    <a:gd name="T57" fmla="*/ 9 h 289"/>
                    <a:gd name="T58" fmla="*/ 27 w 232"/>
                    <a:gd name="T59" fmla="*/ 10 h 289"/>
                    <a:gd name="T60" fmla="*/ 30 w 232"/>
                    <a:gd name="T61" fmla="*/ 10 h 289"/>
                    <a:gd name="T62" fmla="*/ 35 w 232"/>
                    <a:gd name="T63" fmla="*/ 8 h 289"/>
                    <a:gd name="T64" fmla="*/ 40 w 232"/>
                    <a:gd name="T65" fmla="*/ 6 h 289"/>
                    <a:gd name="T66" fmla="*/ 44 w 232"/>
                    <a:gd name="T67" fmla="*/ 3 h 28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32" h="289">
                      <a:moveTo>
                        <a:pt x="140" y="6"/>
                      </a:moveTo>
                      <a:lnTo>
                        <a:pt x="151" y="24"/>
                      </a:lnTo>
                      <a:lnTo>
                        <a:pt x="159" y="41"/>
                      </a:lnTo>
                      <a:lnTo>
                        <a:pt x="165" y="48"/>
                      </a:lnTo>
                      <a:lnTo>
                        <a:pt x="170" y="54"/>
                      </a:lnTo>
                      <a:lnTo>
                        <a:pt x="174" y="56"/>
                      </a:lnTo>
                      <a:lnTo>
                        <a:pt x="177" y="59"/>
                      </a:lnTo>
                      <a:lnTo>
                        <a:pt x="181" y="60"/>
                      </a:lnTo>
                      <a:lnTo>
                        <a:pt x="186" y="62"/>
                      </a:lnTo>
                      <a:lnTo>
                        <a:pt x="186" y="166"/>
                      </a:lnTo>
                      <a:lnTo>
                        <a:pt x="187" y="183"/>
                      </a:lnTo>
                      <a:lnTo>
                        <a:pt x="189" y="196"/>
                      </a:lnTo>
                      <a:lnTo>
                        <a:pt x="191" y="202"/>
                      </a:lnTo>
                      <a:lnTo>
                        <a:pt x="193" y="207"/>
                      </a:lnTo>
                      <a:lnTo>
                        <a:pt x="196" y="212"/>
                      </a:lnTo>
                      <a:lnTo>
                        <a:pt x="199" y="216"/>
                      </a:lnTo>
                      <a:lnTo>
                        <a:pt x="213" y="230"/>
                      </a:lnTo>
                      <a:lnTo>
                        <a:pt x="232" y="246"/>
                      </a:lnTo>
                      <a:lnTo>
                        <a:pt x="232" y="289"/>
                      </a:lnTo>
                      <a:lnTo>
                        <a:pt x="219" y="288"/>
                      </a:lnTo>
                      <a:lnTo>
                        <a:pt x="202" y="286"/>
                      </a:lnTo>
                      <a:lnTo>
                        <a:pt x="186" y="282"/>
                      </a:lnTo>
                      <a:lnTo>
                        <a:pt x="172" y="277"/>
                      </a:lnTo>
                      <a:lnTo>
                        <a:pt x="151" y="264"/>
                      </a:lnTo>
                      <a:lnTo>
                        <a:pt x="131" y="249"/>
                      </a:lnTo>
                      <a:lnTo>
                        <a:pt x="113" y="235"/>
                      </a:lnTo>
                      <a:lnTo>
                        <a:pt x="97" y="221"/>
                      </a:lnTo>
                      <a:lnTo>
                        <a:pt x="81" y="207"/>
                      </a:lnTo>
                      <a:lnTo>
                        <a:pt x="68" y="191"/>
                      </a:lnTo>
                      <a:lnTo>
                        <a:pt x="56" y="176"/>
                      </a:lnTo>
                      <a:lnTo>
                        <a:pt x="46" y="160"/>
                      </a:lnTo>
                      <a:lnTo>
                        <a:pt x="31" y="145"/>
                      </a:lnTo>
                      <a:lnTo>
                        <a:pt x="15" y="132"/>
                      </a:lnTo>
                      <a:lnTo>
                        <a:pt x="9" y="126"/>
                      </a:lnTo>
                      <a:lnTo>
                        <a:pt x="4" y="120"/>
                      </a:lnTo>
                      <a:lnTo>
                        <a:pt x="2" y="117"/>
                      </a:lnTo>
                      <a:lnTo>
                        <a:pt x="1" y="113"/>
                      </a:lnTo>
                      <a:lnTo>
                        <a:pt x="0" y="109"/>
                      </a:lnTo>
                      <a:lnTo>
                        <a:pt x="0" y="105"/>
                      </a:lnTo>
                      <a:lnTo>
                        <a:pt x="0" y="100"/>
                      </a:lnTo>
                      <a:lnTo>
                        <a:pt x="1" y="96"/>
                      </a:lnTo>
                      <a:lnTo>
                        <a:pt x="3" y="92"/>
                      </a:lnTo>
                      <a:lnTo>
                        <a:pt x="7" y="88"/>
                      </a:lnTo>
                      <a:lnTo>
                        <a:pt x="11" y="79"/>
                      </a:lnTo>
                      <a:lnTo>
                        <a:pt x="13" y="74"/>
                      </a:lnTo>
                      <a:lnTo>
                        <a:pt x="12" y="52"/>
                      </a:lnTo>
                      <a:lnTo>
                        <a:pt x="10" y="33"/>
                      </a:lnTo>
                      <a:lnTo>
                        <a:pt x="7" y="15"/>
                      </a:lnTo>
                      <a:lnTo>
                        <a:pt x="7" y="0"/>
                      </a:lnTo>
                      <a:lnTo>
                        <a:pt x="13" y="0"/>
                      </a:lnTo>
                      <a:lnTo>
                        <a:pt x="20" y="1"/>
                      </a:lnTo>
                      <a:lnTo>
                        <a:pt x="26" y="3"/>
                      </a:lnTo>
                      <a:lnTo>
                        <a:pt x="32" y="5"/>
                      </a:lnTo>
                      <a:lnTo>
                        <a:pt x="42" y="10"/>
                      </a:lnTo>
                      <a:lnTo>
                        <a:pt x="51" y="15"/>
                      </a:lnTo>
                      <a:lnTo>
                        <a:pt x="59" y="21"/>
                      </a:lnTo>
                      <a:lnTo>
                        <a:pt x="68" y="26"/>
                      </a:lnTo>
                      <a:lnTo>
                        <a:pt x="73" y="28"/>
                      </a:lnTo>
                      <a:lnTo>
                        <a:pt x="77" y="29"/>
                      </a:lnTo>
                      <a:lnTo>
                        <a:pt x="81" y="31"/>
                      </a:lnTo>
                      <a:lnTo>
                        <a:pt x="86" y="31"/>
                      </a:lnTo>
                      <a:lnTo>
                        <a:pt x="91" y="31"/>
                      </a:lnTo>
                      <a:lnTo>
                        <a:pt x="98" y="28"/>
                      </a:lnTo>
                      <a:lnTo>
                        <a:pt x="105" y="26"/>
                      </a:lnTo>
                      <a:lnTo>
                        <a:pt x="112" y="23"/>
                      </a:lnTo>
                      <a:lnTo>
                        <a:pt x="120" y="19"/>
                      </a:lnTo>
                      <a:lnTo>
                        <a:pt x="127" y="15"/>
                      </a:lnTo>
                      <a:lnTo>
                        <a:pt x="133" y="11"/>
                      </a:lnTo>
                      <a:lnTo>
                        <a:pt x="140" y="6"/>
                      </a:lnTo>
                    </a:path>
                  </a:pathLst>
                </a:custGeom>
                <a:grpFill/>
                <a:ln w="9525" cap="flat" cmpd="sng">
                  <a:solidFill>
                    <a:srgbClr val="FFFFFF"/>
                  </a:solidFill>
                  <a:prstDash val="solid"/>
                  <a:round/>
                  <a:headEnd type="none" w="med" len="med"/>
                  <a:tailEnd type="none" w="med" len="med"/>
                </a:ln>
                <a:effectLst/>
              </p:spPr>
              <p:txBody>
                <a:bodyPr/>
                <a:lstStyle/>
                <a:p>
                  <a:endParaRPr lang="en-GB" sz="1637"/>
                </a:p>
              </p:txBody>
            </p:sp>
          </p:grpSp>
          <p:sp>
            <p:nvSpPr>
              <p:cNvPr id="320" name="Freeform 24"/>
              <p:cNvSpPr>
                <a:spLocks/>
              </p:cNvSpPr>
              <p:nvPr>
                <p:custDataLst>
                  <p:tags r:id="rId193"/>
                </p:custDataLst>
              </p:nvPr>
            </p:nvSpPr>
            <p:spPr bwMode="auto">
              <a:xfrm>
                <a:off x="6546725" y="3245839"/>
                <a:ext cx="227020" cy="514008"/>
              </a:xfrm>
              <a:custGeom>
                <a:avLst/>
                <a:gdLst>
                  <a:gd name="T0" fmla="*/ 164546 w 479"/>
                  <a:gd name="T1" fmla="*/ 187389 h 868"/>
                  <a:gd name="T2" fmla="*/ 144575 w 479"/>
                  <a:gd name="T3" fmla="*/ 194213 h 868"/>
                  <a:gd name="T4" fmla="*/ 136326 w 479"/>
                  <a:gd name="T5" fmla="*/ 204711 h 868"/>
                  <a:gd name="T6" fmla="*/ 137194 w 479"/>
                  <a:gd name="T7" fmla="*/ 224657 h 868"/>
                  <a:gd name="T8" fmla="*/ 152824 w 479"/>
                  <a:gd name="T9" fmla="*/ 258251 h 868"/>
                  <a:gd name="T10" fmla="*/ 155863 w 479"/>
                  <a:gd name="T11" fmla="*/ 278197 h 868"/>
                  <a:gd name="T12" fmla="*/ 158902 w 479"/>
                  <a:gd name="T13" fmla="*/ 291319 h 868"/>
                  <a:gd name="T14" fmla="*/ 140233 w 479"/>
                  <a:gd name="T15" fmla="*/ 276097 h 868"/>
                  <a:gd name="T16" fmla="*/ 134155 w 479"/>
                  <a:gd name="T17" fmla="*/ 258251 h 868"/>
                  <a:gd name="T18" fmla="*/ 116789 w 479"/>
                  <a:gd name="T19" fmla="*/ 245128 h 868"/>
                  <a:gd name="T20" fmla="*/ 91173 w 479"/>
                  <a:gd name="T21" fmla="*/ 230431 h 868"/>
                  <a:gd name="T22" fmla="*/ 83793 w 479"/>
                  <a:gd name="T23" fmla="*/ 213109 h 868"/>
                  <a:gd name="T24" fmla="*/ 67729 w 479"/>
                  <a:gd name="T25" fmla="*/ 250377 h 868"/>
                  <a:gd name="T26" fmla="*/ 67729 w 479"/>
                  <a:gd name="T27" fmla="*/ 275047 h 868"/>
                  <a:gd name="T28" fmla="*/ 57309 w 479"/>
                  <a:gd name="T29" fmla="*/ 301817 h 868"/>
                  <a:gd name="T30" fmla="*/ 55572 w 479"/>
                  <a:gd name="T31" fmla="*/ 325963 h 868"/>
                  <a:gd name="T32" fmla="*/ 66860 w 479"/>
                  <a:gd name="T33" fmla="*/ 341185 h 868"/>
                  <a:gd name="T34" fmla="*/ 75978 w 479"/>
                  <a:gd name="T35" fmla="*/ 359556 h 868"/>
                  <a:gd name="T36" fmla="*/ 80319 w 479"/>
                  <a:gd name="T37" fmla="*/ 383177 h 868"/>
                  <a:gd name="T38" fmla="*/ 98120 w 479"/>
                  <a:gd name="T39" fmla="*/ 409422 h 868"/>
                  <a:gd name="T40" fmla="*/ 121999 w 479"/>
                  <a:gd name="T41" fmla="*/ 433042 h 868"/>
                  <a:gd name="T42" fmla="*/ 147614 w 479"/>
                  <a:gd name="T43" fmla="*/ 446165 h 868"/>
                  <a:gd name="T44" fmla="*/ 129379 w 479"/>
                  <a:gd name="T45" fmla="*/ 455088 h 868"/>
                  <a:gd name="T46" fmla="*/ 116789 w 479"/>
                  <a:gd name="T47" fmla="*/ 453513 h 868"/>
                  <a:gd name="T48" fmla="*/ 99422 w 479"/>
                  <a:gd name="T49" fmla="*/ 441441 h 868"/>
                  <a:gd name="T50" fmla="*/ 86832 w 479"/>
                  <a:gd name="T51" fmla="*/ 431993 h 868"/>
                  <a:gd name="T52" fmla="*/ 59480 w 479"/>
                  <a:gd name="T53" fmla="*/ 398399 h 868"/>
                  <a:gd name="T54" fmla="*/ 36035 w 479"/>
                  <a:gd name="T55" fmla="*/ 383177 h 868"/>
                  <a:gd name="T56" fmla="*/ 32128 w 479"/>
                  <a:gd name="T57" fmla="*/ 361131 h 868"/>
                  <a:gd name="T58" fmla="*/ 34733 w 479"/>
                  <a:gd name="T59" fmla="*/ 342760 h 868"/>
                  <a:gd name="T60" fmla="*/ 38206 w 479"/>
                  <a:gd name="T61" fmla="*/ 323863 h 868"/>
                  <a:gd name="T62" fmla="*/ 52099 w 479"/>
                  <a:gd name="T63" fmla="*/ 261400 h 868"/>
                  <a:gd name="T64" fmla="*/ 46889 w 479"/>
                  <a:gd name="T65" fmla="*/ 212060 h 868"/>
                  <a:gd name="T66" fmla="*/ 26918 w 479"/>
                  <a:gd name="T67" fmla="*/ 167443 h 868"/>
                  <a:gd name="T68" fmla="*/ 27786 w 479"/>
                  <a:gd name="T69" fmla="*/ 149596 h 868"/>
                  <a:gd name="T70" fmla="*/ 32128 w 479"/>
                  <a:gd name="T71" fmla="*/ 139098 h 868"/>
                  <a:gd name="T72" fmla="*/ 24313 w 479"/>
                  <a:gd name="T73" fmla="*/ 106030 h 868"/>
                  <a:gd name="T74" fmla="*/ 9986 w 479"/>
                  <a:gd name="T75" fmla="*/ 82934 h 868"/>
                  <a:gd name="T76" fmla="*/ 434 w 479"/>
                  <a:gd name="T77" fmla="*/ 53540 h 868"/>
                  <a:gd name="T78" fmla="*/ 4776 w 479"/>
                  <a:gd name="T79" fmla="*/ 23096 h 868"/>
                  <a:gd name="T80" fmla="*/ 21274 w 479"/>
                  <a:gd name="T81" fmla="*/ 8398 h 868"/>
                  <a:gd name="T82" fmla="*/ 52099 w 479"/>
                  <a:gd name="T83" fmla="*/ 0 h 868"/>
                  <a:gd name="T84" fmla="*/ 67729 w 479"/>
                  <a:gd name="T85" fmla="*/ 14697 h 868"/>
                  <a:gd name="T86" fmla="*/ 77714 w 479"/>
                  <a:gd name="T87" fmla="*/ 18896 h 868"/>
                  <a:gd name="T88" fmla="*/ 85529 w 479"/>
                  <a:gd name="T89" fmla="*/ 71386 h 868"/>
                  <a:gd name="T90" fmla="*/ 92476 w 479"/>
                  <a:gd name="T91" fmla="*/ 87133 h 868"/>
                  <a:gd name="T92" fmla="*/ 100291 w 479"/>
                  <a:gd name="T93" fmla="*/ 81359 h 868"/>
                  <a:gd name="T94" fmla="*/ 112013 w 479"/>
                  <a:gd name="T95" fmla="*/ 66137 h 868"/>
                  <a:gd name="T96" fmla="*/ 121999 w 479"/>
                  <a:gd name="T97" fmla="*/ 74011 h 868"/>
                  <a:gd name="T98" fmla="*/ 129379 w 479"/>
                  <a:gd name="T99" fmla="*/ 71386 h 868"/>
                  <a:gd name="T100" fmla="*/ 137194 w 479"/>
                  <a:gd name="T101" fmla="*/ 56689 h 868"/>
                  <a:gd name="T102" fmla="*/ 150219 w 479"/>
                  <a:gd name="T103" fmla="*/ 56689 h 868"/>
                  <a:gd name="T104" fmla="*/ 168019 w 479"/>
                  <a:gd name="T105" fmla="*/ 82409 h 868"/>
                  <a:gd name="T106" fmla="*/ 197108 w 479"/>
                  <a:gd name="T107" fmla="*/ 129125 h 868"/>
                  <a:gd name="T108" fmla="*/ 207528 w 479"/>
                  <a:gd name="T109" fmla="*/ 161144 h 868"/>
                  <a:gd name="T110" fmla="*/ 203186 w 479"/>
                  <a:gd name="T111" fmla="*/ 177416 h 86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479" h="868">
                    <a:moveTo>
                      <a:pt x="445" y="357"/>
                    </a:moveTo>
                    <a:lnTo>
                      <a:pt x="425" y="357"/>
                    </a:lnTo>
                    <a:lnTo>
                      <a:pt x="408" y="357"/>
                    </a:lnTo>
                    <a:lnTo>
                      <a:pt x="391" y="357"/>
                    </a:lnTo>
                    <a:lnTo>
                      <a:pt x="379" y="357"/>
                    </a:lnTo>
                    <a:lnTo>
                      <a:pt x="370" y="358"/>
                    </a:lnTo>
                    <a:lnTo>
                      <a:pt x="360" y="359"/>
                    </a:lnTo>
                    <a:lnTo>
                      <a:pt x="349" y="362"/>
                    </a:lnTo>
                    <a:lnTo>
                      <a:pt x="338" y="367"/>
                    </a:lnTo>
                    <a:lnTo>
                      <a:pt x="333" y="370"/>
                    </a:lnTo>
                    <a:lnTo>
                      <a:pt x="329" y="374"/>
                    </a:lnTo>
                    <a:lnTo>
                      <a:pt x="324" y="377"/>
                    </a:lnTo>
                    <a:lnTo>
                      <a:pt x="320" y="381"/>
                    </a:lnTo>
                    <a:lnTo>
                      <a:pt x="316" y="385"/>
                    </a:lnTo>
                    <a:lnTo>
                      <a:pt x="314" y="390"/>
                    </a:lnTo>
                    <a:lnTo>
                      <a:pt x="313" y="395"/>
                    </a:lnTo>
                    <a:lnTo>
                      <a:pt x="312" y="400"/>
                    </a:lnTo>
                    <a:lnTo>
                      <a:pt x="313" y="410"/>
                    </a:lnTo>
                    <a:lnTo>
                      <a:pt x="314" y="419"/>
                    </a:lnTo>
                    <a:lnTo>
                      <a:pt x="316" y="428"/>
                    </a:lnTo>
                    <a:lnTo>
                      <a:pt x="320" y="436"/>
                    </a:lnTo>
                    <a:lnTo>
                      <a:pt x="327" y="451"/>
                    </a:lnTo>
                    <a:lnTo>
                      <a:pt x="336" y="464"/>
                    </a:lnTo>
                    <a:lnTo>
                      <a:pt x="344" y="477"/>
                    </a:lnTo>
                    <a:lnTo>
                      <a:pt x="352" y="492"/>
                    </a:lnTo>
                    <a:lnTo>
                      <a:pt x="355" y="499"/>
                    </a:lnTo>
                    <a:lnTo>
                      <a:pt x="357" y="507"/>
                    </a:lnTo>
                    <a:lnTo>
                      <a:pt x="358" y="515"/>
                    </a:lnTo>
                    <a:lnTo>
                      <a:pt x="359" y="523"/>
                    </a:lnTo>
                    <a:lnTo>
                      <a:pt x="359" y="530"/>
                    </a:lnTo>
                    <a:lnTo>
                      <a:pt x="359" y="539"/>
                    </a:lnTo>
                    <a:lnTo>
                      <a:pt x="360" y="544"/>
                    </a:lnTo>
                    <a:lnTo>
                      <a:pt x="361" y="548"/>
                    </a:lnTo>
                    <a:lnTo>
                      <a:pt x="364" y="552"/>
                    </a:lnTo>
                    <a:lnTo>
                      <a:pt x="366" y="555"/>
                    </a:lnTo>
                    <a:lnTo>
                      <a:pt x="354" y="552"/>
                    </a:lnTo>
                    <a:lnTo>
                      <a:pt x="344" y="547"/>
                    </a:lnTo>
                    <a:lnTo>
                      <a:pt x="336" y="541"/>
                    </a:lnTo>
                    <a:lnTo>
                      <a:pt x="329" y="533"/>
                    </a:lnTo>
                    <a:lnTo>
                      <a:pt x="323" y="526"/>
                    </a:lnTo>
                    <a:lnTo>
                      <a:pt x="319" y="517"/>
                    </a:lnTo>
                    <a:lnTo>
                      <a:pt x="315" y="508"/>
                    </a:lnTo>
                    <a:lnTo>
                      <a:pt x="312" y="499"/>
                    </a:lnTo>
                    <a:lnTo>
                      <a:pt x="311" y="495"/>
                    </a:lnTo>
                    <a:lnTo>
                      <a:pt x="309" y="492"/>
                    </a:lnTo>
                    <a:lnTo>
                      <a:pt x="307" y="489"/>
                    </a:lnTo>
                    <a:lnTo>
                      <a:pt x="303" y="486"/>
                    </a:lnTo>
                    <a:lnTo>
                      <a:pt x="297" y="479"/>
                    </a:lnTo>
                    <a:lnTo>
                      <a:pt x="288" y="475"/>
                    </a:lnTo>
                    <a:lnTo>
                      <a:pt x="269" y="467"/>
                    </a:lnTo>
                    <a:lnTo>
                      <a:pt x="247" y="459"/>
                    </a:lnTo>
                    <a:lnTo>
                      <a:pt x="237" y="455"/>
                    </a:lnTo>
                    <a:lnTo>
                      <a:pt x="228" y="450"/>
                    </a:lnTo>
                    <a:lnTo>
                      <a:pt x="218" y="445"/>
                    </a:lnTo>
                    <a:lnTo>
                      <a:pt x="210" y="439"/>
                    </a:lnTo>
                    <a:lnTo>
                      <a:pt x="202" y="431"/>
                    </a:lnTo>
                    <a:lnTo>
                      <a:pt x="198" y="422"/>
                    </a:lnTo>
                    <a:lnTo>
                      <a:pt x="196" y="417"/>
                    </a:lnTo>
                    <a:lnTo>
                      <a:pt x="195" y="412"/>
                    </a:lnTo>
                    <a:lnTo>
                      <a:pt x="193" y="406"/>
                    </a:lnTo>
                    <a:lnTo>
                      <a:pt x="192" y="400"/>
                    </a:lnTo>
                    <a:lnTo>
                      <a:pt x="153" y="394"/>
                    </a:lnTo>
                    <a:lnTo>
                      <a:pt x="153" y="450"/>
                    </a:lnTo>
                    <a:lnTo>
                      <a:pt x="154" y="463"/>
                    </a:lnTo>
                    <a:lnTo>
                      <a:pt x="156" y="477"/>
                    </a:lnTo>
                    <a:lnTo>
                      <a:pt x="158" y="492"/>
                    </a:lnTo>
                    <a:lnTo>
                      <a:pt x="159" y="505"/>
                    </a:lnTo>
                    <a:lnTo>
                      <a:pt x="159" y="512"/>
                    </a:lnTo>
                    <a:lnTo>
                      <a:pt x="158" y="518"/>
                    </a:lnTo>
                    <a:lnTo>
                      <a:pt x="156" y="524"/>
                    </a:lnTo>
                    <a:lnTo>
                      <a:pt x="154" y="529"/>
                    </a:lnTo>
                    <a:lnTo>
                      <a:pt x="150" y="539"/>
                    </a:lnTo>
                    <a:lnTo>
                      <a:pt x="143" y="551"/>
                    </a:lnTo>
                    <a:lnTo>
                      <a:pt x="136" y="562"/>
                    </a:lnTo>
                    <a:lnTo>
                      <a:pt x="132" y="575"/>
                    </a:lnTo>
                    <a:lnTo>
                      <a:pt x="130" y="583"/>
                    </a:lnTo>
                    <a:lnTo>
                      <a:pt x="128" y="591"/>
                    </a:lnTo>
                    <a:lnTo>
                      <a:pt x="127" y="600"/>
                    </a:lnTo>
                    <a:lnTo>
                      <a:pt x="127" y="610"/>
                    </a:lnTo>
                    <a:lnTo>
                      <a:pt x="128" y="621"/>
                    </a:lnTo>
                    <a:lnTo>
                      <a:pt x="130" y="630"/>
                    </a:lnTo>
                    <a:lnTo>
                      <a:pt x="134" y="637"/>
                    </a:lnTo>
                    <a:lnTo>
                      <a:pt x="140" y="643"/>
                    </a:lnTo>
                    <a:lnTo>
                      <a:pt x="146" y="647"/>
                    </a:lnTo>
                    <a:lnTo>
                      <a:pt x="154" y="650"/>
                    </a:lnTo>
                    <a:lnTo>
                      <a:pt x="163" y="653"/>
                    </a:lnTo>
                    <a:lnTo>
                      <a:pt x="173" y="653"/>
                    </a:lnTo>
                    <a:lnTo>
                      <a:pt x="173" y="667"/>
                    </a:lnTo>
                    <a:lnTo>
                      <a:pt x="174" y="679"/>
                    </a:lnTo>
                    <a:lnTo>
                      <a:pt x="175" y="685"/>
                    </a:lnTo>
                    <a:lnTo>
                      <a:pt x="176" y="689"/>
                    </a:lnTo>
                    <a:lnTo>
                      <a:pt x="177" y="693"/>
                    </a:lnTo>
                    <a:lnTo>
                      <a:pt x="179" y="696"/>
                    </a:lnTo>
                    <a:lnTo>
                      <a:pt x="179" y="721"/>
                    </a:lnTo>
                    <a:lnTo>
                      <a:pt x="185" y="730"/>
                    </a:lnTo>
                    <a:lnTo>
                      <a:pt x="191" y="740"/>
                    </a:lnTo>
                    <a:lnTo>
                      <a:pt x="199" y="750"/>
                    </a:lnTo>
                    <a:lnTo>
                      <a:pt x="208" y="760"/>
                    </a:lnTo>
                    <a:lnTo>
                      <a:pt x="217" y="771"/>
                    </a:lnTo>
                    <a:lnTo>
                      <a:pt x="226" y="780"/>
                    </a:lnTo>
                    <a:lnTo>
                      <a:pt x="236" y="790"/>
                    </a:lnTo>
                    <a:lnTo>
                      <a:pt x="247" y="799"/>
                    </a:lnTo>
                    <a:lnTo>
                      <a:pt x="258" y="808"/>
                    </a:lnTo>
                    <a:lnTo>
                      <a:pt x="269" y="816"/>
                    </a:lnTo>
                    <a:lnTo>
                      <a:pt x="281" y="825"/>
                    </a:lnTo>
                    <a:lnTo>
                      <a:pt x="292" y="832"/>
                    </a:lnTo>
                    <a:lnTo>
                      <a:pt x="304" y="838"/>
                    </a:lnTo>
                    <a:lnTo>
                      <a:pt x="316" y="843"/>
                    </a:lnTo>
                    <a:lnTo>
                      <a:pt x="327" y="847"/>
                    </a:lnTo>
                    <a:lnTo>
                      <a:pt x="340" y="850"/>
                    </a:lnTo>
                    <a:lnTo>
                      <a:pt x="333" y="854"/>
                    </a:lnTo>
                    <a:lnTo>
                      <a:pt x="327" y="858"/>
                    </a:lnTo>
                    <a:lnTo>
                      <a:pt x="320" y="861"/>
                    </a:lnTo>
                    <a:lnTo>
                      <a:pt x="312" y="864"/>
                    </a:lnTo>
                    <a:lnTo>
                      <a:pt x="298" y="867"/>
                    </a:lnTo>
                    <a:lnTo>
                      <a:pt x="286" y="868"/>
                    </a:lnTo>
                    <a:lnTo>
                      <a:pt x="281" y="868"/>
                    </a:lnTo>
                    <a:lnTo>
                      <a:pt x="277" y="867"/>
                    </a:lnTo>
                    <a:lnTo>
                      <a:pt x="273" y="866"/>
                    </a:lnTo>
                    <a:lnTo>
                      <a:pt x="269" y="864"/>
                    </a:lnTo>
                    <a:lnTo>
                      <a:pt x="262" y="859"/>
                    </a:lnTo>
                    <a:lnTo>
                      <a:pt x="254" y="853"/>
                    </a:lnTo>
                    <a:lnTo>
                      <a:pt x="245" y="848"/>
                    </a:lnTo>
                    <a:lnTo>
                      <a:pt x="234" y="843"/>
                    </a:lnTo>
                    <a:lnTo>
                      <a:pt x="229" y="841"/>
                    </a:lnTo>
                    <a:lnTo>
                      <a:pt x="222" y="839"/>
                    </a:lnTo>
                    <a:lnTo>
                      <a:pt x="214" y="838"/>
                    </a:lnTo>
                    <a:lnTo>
                      <a:pt x="207" y="838"/>
                    </a:lnTo>
                    <a:lnTo>
                      <a:pt x="203" y="830"/>
                    </a:lnTo>
                    <a:lnTo>
                      <a:pt x="200" y="823"/>
                    </a:lnTo>
                    <a:lnTo>
                      <a:pt x="196" y="815"/>
                    </a:lnTo>
                    <a:lnTo>
                      <a:pt x="191" y="809"/>
                    </a:lnTo>
                    <a:lnTo>
                      <a:pt x="180" y="797"/>
                    </a:lnTo>
                    <a:lnTo>
                      <a:pt x="168" y="785"/>
                    </a:lnTo>
                    <a:lnTo>
                      <a:pt x="137" y="759"/>
                    </a:lnTo>
                    <a:lnTo>
                      <a:pt x="100" y="727"/>
                    </a:lnTo>
                    <a:lnTo>
                      <a:pt x="95" y="728"/>
                    </a:lnTo>
                    <a:lnTo>
                      <a:pt x="89" y="729"/>
                    </a:lnTo>
                    <a:lnTo>
                      <a:pt x="86" y="730"/>
                    </a:lnTo>
                    <a:lnTo>
                      <a:pt x="83" y="730"/>
                    </a:lnTo>
                    <a:lnTo>
                      <a:pt x="78" y="729"/>
                    </a:lnTo>
                    <a:lnTo>
                      <a:pt x="74" y="727"/>
                    </a:lnTo>
                    <a:lnTo>
                      <a:pt x="74" y="714"/>
                    </a:lnTo>
                    <a:lnTo>
                      <a:pt x="74" y="700"/>
                    </a:lnTo>
                    <a:lnTo>
                      <a:pt x="74" y="688"/>
                    </a:lnTo>
                    <a:lnTo>
                      <a:pt x="74" y="678"/>
                    </a:lnTo>
                    <a:lnTo>
                      <a:pt x="74" y="671"/>
                    </a:lnTo>
                    <a:lnTo>
                      <a:pt x="75" y="665"/>
                    </a:lnTo>
                    <a:lnTo>
                      <a:pt x="77" y="659"/>
                    </a:lnTo>
                    <a:lnTo>
                      <a:pt x="80" y="653"/>
                    </a:lnTo>
                    <a:lnTo>
                      <a:pt x="83" y="645"/>
                    </a:lnTo>
                    <a:lnTo>
                      <a:pt x="85" y="638"/>
                    </a:lnTo>
                    <a:lnTo>
                      <a:pt x="86" y="631"/>
                    </a:lnTo>
                    <a:lnTo>
                      <a:pt x="87" y="622"/>
                    </a:lnTo>
                    <a:lnTo>
                      <a:pt x="88" y="617"/>
                    </a:lnTo>
                    <a:lnTo>
                      <a:pt x="92" y="604"/>
                    </a:lnTo>
                    <a:lnTo>
                      <a:pt x="99" y="583"/>
                    </a:lnTo>
                    <a:lnTo>
                      <a:pt x="107" y="558"/>
                    </a:lnTo>
                    <a:lnTo>
                      <a:pt x="113" y="528"/>
                    </a:lnTo>
                    <a:lnTo>
                      <a:pt x="120" y="498"/>
                    </a:lnTo>
                    <a:lnTo>
                      <a:pt x="123" y="481"/>
                    </a:lnTo>
                    <a:lnTo>
                      <a:pt x="124" y="466"/>
                    </a:lnTo>
                    <a:lnTo>
                      <a:pt x="127" y="452"/>
                    </a:lnTo>
                    <a:lnTo>
                      <a:pt x="127" y="438"/>
                    </a:lnTo>
                    <a:lnTo>
                      <a:pt x="108" y="404"/>
                    </a:lnTo>
                    <a:lnTo>
                      <a:pt x="86" y="369"/>
                    </a:lnTo>
                    <a:lnTo>
                      <a:pt x="76" y="352"/>
                    </a:lnTo>
                    <a:lnTo>
                      <a:pt x="67" y="335"/>
                    </a:lnTo>
                    <a:lnTo>
                      <a:pt x="64" y="327"/>
                    </a:lnTo>
                    <a:lnTo>
                      <a:pt x="62" y="319"/>
                    </a:lnTo>
                    <a:lnTo>
                      <a:pt x="61" y="310"/>
                    </a:lnTo>
                    <a:lnTo>
                      <a:pt x="60" y="302"/>
                    </a:lnTo>
                    <a:lnTo>
                      <a:pt x="61" y="295"/>
                    </a:lnTo>
                    <a:lnTo>
                      <a:pt x="62" y="290"/>
                    </a:lnTo>
                    <a:lnTo>
                      <a:pt x="64" y="285"/>
                    </a:lnTo>
                    <a:lnTo>
                      <a:pt x="66" y="281"/>
                    </a:lnTo>
                    <a:lnTo>
                      <a:pt x="69" y="277"/>
                    </a:lnTo>
                    <a:lnTo>
                      <a:pt x="72" y="274"/>
                    </a:lnTo>
                    <a:lnTo>
                      <a:pt x="73" y="270"/>
                    </a:lnTo>
                    <a:lnTo>
                      <a:pt x="74" y="265"/>
                    </a:lnTo>
                    <a:lnTo>
                      <a:pt x="73" y="249"/>
                    </a:lnTo>
                    <a:lnTo>
                      <a:pt x="71" y="236"/>
                    </a:lnTo>
                    <a:lnTo>
                      <a:pt x="66" y="224"/>
                    </a:lnTo>
                    <a:lnTo>
                      <a:pt x="62" y="213"/>
                    </a:lnTo>
                    <a:lnTo>
                      <a:pt x="56" y="202"/>
                    </a:lnTo>
                    <a:lnTo>
                      <a:pt x="50" y="193"/>
                    </a:lnTo>
                    <a:lnTo>
                      <a:pt x="43" y="184"/>
                    </a:lnTo>
                    <a:lnTo>
                      <a:pt x="36" y="176"/>
                    </a:lnTo>
                    <a:lnTo>
                      <a:pt x="30" y="167"/>
                    </a:lnTo>
                    <a:lnTo>
                      <a:pt x="23" y="158"/>
                    </a:lnTo>
                    <a:lnTo>
                      <a:pt x="17" y="148"/>
                    </a:lnTo>
                    <a:lnTo>
                      <a:pt x="11" y="138"/>
                    </a:lnTo>
                    <a:lnTo>
                      <a:pt x="7" y="127"/>
                    </a:lnTo>
                    <a:lnTo>
                      <a:pt x="4" y="115"/>
                    </a:lnTo>
                    <a:lnTo>
                      <a:pt x="1" y="102"/>
                    </a:lnTo>
                    <a:lnTo>
                      <a:pt x="0" y="86"/>
                    </a:lnTo>
                    <a:lnTo>
                      <a:pt x="1" y="73"/>
                    </a:lnTo>
                    <a:lnTo>
                      <a:pt x="4" y="62"/>
                    </a:lnTo>
                    <a:lnTo>
                      <a:pt x="7" y="52"/>
                    </a:lnTo>
                    <a:lnTo>
                      <a:pt x="11" y="44"/>
                    </a:lnTo>
                    <a:lnTo>
                      <a:pt x="17" y="35"/>
                    </a:lnTo>
                    <a:lnTo>
                      <a:pt x="24" y="29"/>
                    </a:lnTo>
                    <a:lnTo>
                      <a:pt x="32" y="24"/>
                    </a:lnTo>
                    <a:lnTo>
                      <a:pt x="40" y="20"/>
                    </a:lnTo>
                    <a:lnTo>
                      <a:pt x="49" y="16"/>
                    </a:lnTo>
                    <a:lnTo>
                      <a:pt x="58" y="13"/>
                    </a:lnTo>
                    <a:lnTo>
                      <a:pt x="68" y="11"/>
                    </a:lnTo>
                    <a:lnTo>
                      <a:pt x="78" y="8"/>
                    </a:lnTo>
                    <a:lnTo>
                      <a:pt x="99" y="4"/>
                    </a:lnTo>
                    <a:lnTo>
                      <a:pt x="120" y="0"/>
                    </a:lnTo>
                    <a:lnTo>
                      <a:pt x="129" y="5"/>
                    </a:lnTo>
                    <a:lnTo>
                      <a:pt x="136" y="11"/>
                    </a:lnTo>
                    <a:lnTo>
                      <a:pt x="143" y="17"/>
                    </a:lnTo>
                    <a:lnTo>
                      <a:pt x="150" y="23"/>
                    </a:lnTo>
                    <a:lnTo>
                      <a:pt x="156" y="28"/>
                    </a:lnTo>
                    <a:lnTo>
                      <a:pt x="163" y="32"/>
                    </a:lnTo>
                    <a:lnTo>
                      <a:pt x="166" y="34"/>
                    </a:lnTo>
                    <a:lnTo>
                      <a:pt x="170" y="35"/>
                    </a:lnTo>
                    <a:lnTo>
                      <a:pt x="175" y="36"/>
                    </a:lnTo>
                    <a:lnTo>
                      <a:pt x="179" y="36"/>
                    </a:lnTo>
                    <a:lnTo>
                      <a:pt x="184" y="55"/>
                    </a:lnTo>
                    <a:lnTo>
                      <a:pt x="188" y="75"/>
                    </a:lnTo>
                    <a:lnTo>
                      <a:pt x="190" y="97"/>
                    </a:lnTo>
                    <a:lnTo>
                      <a:pt x="193" y="118"/>
                    </a:lnTo>
                    <a:lnTo>
                      <a:pt x="197" y="136"/>
                    </a:lnTo>
                    <a:lnTo>
                      <a:pt x="201" y="153"/>
                    </a:lnTo>
                    <a:lnTo>
                      <a:pt x="203" y="158"/>
                    </a:lnTo>
                    <a:lnTo>
                      <a:pt x="207" y="163"/>
                    </a:lnTo>
                    <a:lnTo>
                      <a:pt x="209" y="166"/>
                    </a:lnTo>
                    <a:lnTo>
                      <a:pt x="213" y="166"/>
                    </a:lnTo>
                    <a:lnTo>
                      <a:pt x="217" y="166"/>
                    </a:lnTo>
                    <a:lnTo>
                      <a:pt x="220" y="165"/>
                    </a:lnTo>
                    <a:lnTo>
                      <a:pt x="223" y="163"/>
                    </a:lnTo>
                    <a:lnTo>
                      <a:pt x="225" y="161"/>
                    </a:lnTo>
                    <a:lnTo>
                      <a:pt x="231" y="155"/>
                    </a:lnTo>
                    <a:lnTo>
                      <a:pt x="234" y="147"/>
                    </a:lnTo>
                    <a:lnTo>
                      <a:pt x="241" y="132"/>
                    </a:lnTo>
                    <a:lnTo>
                      <a:pt x="246" y="123"/>
                    </a:lnTo>
                    <a:lnTo>
                      <a:pt x="253" y="124"/>
                    </a:lnTo>
                    <a:lnTo>
                      <a:pt x="258" y="126"/>
                    </a:lnTo>
                    <a:lnTo>
                      <a:pt x="264" y="129"/>
                    </a:lnTo>
                    <a:lnTo>
                      <a:pt x="268" y="132"/>
                    </a:lnTo>
                    <a:lnTo>
                      <a:pt x="273" y="136"/>
                    </a:lnTo>
                    <a:lnTo>
                      <a:pt x="277" y="138"/>
                    </a:lnTo>
                    <a:lnTo>
                      <a:pt x="281" y="141"/>
                    </a:lnTo>
                    <a:lnTo>
                      <a:pt x="286" y="141"/>
                    </a:lnTo>
                    <a:lnTo>
                      <a:pt x="289" y="141"/>
                    </a:lnTo>
                    <a:lnTo>
                      <a:pt x="292" y="140"/>
                    </a:lnTo>
                    <a:lnTo>
                      <a:pt x="296" y="138"/>
                    </a:lnTo>
                    <a:lnTo>
                      <a:pt x="298" y="136"/>
                    </a:lnTo>
                    <a:lnTo>
                      <a:pt x="302" y="130"/>
                    </a:lnTo>
                    <a:lnTo>
                      <a:pt x="305" y="123"/>
                    </a:lnTo>
                    <a:lnTo>
                      <a:pt x="310" y="116"/>
                    </a:lnTo>
                    <a:lnTo>
                      <a:pt x="314" y="111"/>
                    </a:lnTo>
                    <a:lnTo>
                      <a:pt x="316" y="108"/>
                    </a:lnTo>
                    <a:lnTo>
                      <a:pt x="319" y="107"/>
                    </a:lnTo>
                    <a:lnTo>
                      <a:pt x="322" y="105"/>
                    </a:lnTo>
                    <a:lnTo>
                      <a:pt x="325" y="105"/>
                    </a:lnTo>
                    <a:lnTo>
                      <a:pt x="337" y="106"/>
                    </a:lnTo>
                    <a:lnTo>
                      <a:pt x="346" y="108"/>
                    </a:lnTo>
                    <a:lnTo>
                      <a:pt x="354" y="111"/>
                    </a:lnTo>
                    <a:lnTo>
                      <a:pt x="359" y="116"/>
                    </a:lnTo>
                    <a:lnTo>
                      <a:pt x="367" y="125"/>
                    </a:lnTo>
                    <a:lnTo>
                      <a:pt x="372" y="135"/>
                    </a:lnTo>
                    <a:lnTo>
                      <a:pt x="387" y="157"/>
                    </a:lnTo>
                    <a:lnTo>
                      <a:pt x="403" y="178"/>
                    </a:lnTo>
                    <a:lnTo>
                      <a:pt x="421" y="200"/>
                    </a:lnTo>
                    <a:lnTo>
                      <a:pt x="438" y="223"/>
                    </a:lnTo>
                    <a:lnTo>
                      <a:pt x="446" y="235"/>
                    </a:lnTo>
                    <a:lnTo>
                      <a:pt x="454" y="246"/>
                    </a:lnTo>
                    <a:lnTo>
                      <a:pt x="460" y="258"/>
                    </a:lnTo>
                    <a:lnTo>
                      <a:pt x="467" y="271"/>
                    </a:lnTo>
                    <a:lnTo>
                      <a:pt x="471" y="283"/>
                    </a:lnTo>
                    <a:lnTo>
                      <a:pt x="476" y="295"/>
                    </a:lnTo>
                    <a:lnTo>
                      <a:pt x="478" y="307"/>
                    </a:lnTo>
                    <a:lnTo>
                      <a:pt x="479" y="321"/>
                    </a:lnTo>
                    <a:lnTo>
                      <a:pt x="478" y="325"/>
                    </a:lnTo>
                    <a:lnTo>
                      <a:pt x="476" y="330"/>
                    </a:lnTo>
                    <a:lnTo>
                      <a:pt x="472" y="334"/>
                    </a:lnTo>
                    <a:lnTo>
                      <a:pt x="468" y="338"/>
                    </a:lnTo>
                    <a:lnTo>
                      <a:pt x="459" y="345"/>
                    </a:lnTo>
                    <a:lnTo>
                      <a:pt x="452" y="351"/>
                    </a:lnTo>
                    <a:lnTo>
                      <a:pt x="445" y="357"/>
                    </a:lnTo>
                  </a:path>
                </a:pathLst>
              </a:custGeom>
              <a:grpFill/>
              <a:ln w="9525" cmpd="sng">
                <a:solidFill>
                  <a:srgbClr val="FFFFFF"/>
                </a:solidFill>
                <a:prstDash val="solid"/>
                <a:round/>
                <a:headEnd/>
                <a:tailEnd/>
              </a:ln>
            </p:spPr>
            <p:txBody>
              <a:bodyPr/>
              <a:lstStyle/>
              <a:p>
                <a:endParaRPr lang="en-GB" sz="1637"/>
              </a:p>
            </p:txBody>
          </p:sp>
          <p:sp>
            <p:nvSpPr>
              <p:cNvPr id="321" name="Freeform 31"/>
              <p:cNvSpPr>
                <a:spLocks/>
              </p:cNvSpPr>
              <p:nvPr>
                <p:custDataLst>
                  <p:tags r:id="rId194"/>
                </p:custDataLst>
              </p:nvPr>
            </p:nvSpPr>
            <p:spPr bwMode="auto">
              <a:xfrm>
                <a:off x="5285116" y="2361102"/>
                <a:ext cx="447109" cy="281182"/>
              </a:xfrm>
              <a:custGeom>
                <a:avLst/>
                <a:gdLst>
                  <a:gd name="T0" fmla="*/ 275062 w 950"/>
                  <a:gd name="T1" fmla="*/ 235924 h 468"/>
                  <a:gd name="T2" fmla="*/ 240571 w 950"/>
                  <a:gd name="T3" fmla="*/ 222610 h 468"/>
                  <a:gd name="T4" fmla="*/ 203063 w 950"/>
                  <a:gd name="T5" fmla="*/ 200242 h 468"/>
                  <a:gd name="T6" fmla="*/ 169004 w 950"/>
                  <a:gd name="T7" fmla="*/ 163496 h 468"/>
                  <a:gd name="T8" fmla="*/ 131495 w 950"/>
                  <a:gd name="T9" fmla="*/ 137400 h 468"/>
                  <a:gd name="T10" fmla="*/ 109076 w 950"/>
                  <a:gd name="T11" fmla="*/ 111305 h 468"/>
                  <a:gd name="T12" fmla="*/ 80190 w 950"/>
                  <a:gd name="T13" fmla="*/ 91600 h 468"/>
                  <a:gd name="T14" fmla="*/ 57341 w 950"/>
                  <a:gd name="T15" fmla="*/ 101186 h 468"/>
                  <a:gd name="T16" fmla="*/ 42682 w 950"/>
                  <a:gd name="T17" fmla="*/ 127814 h 468"/>
                  <a:gd name="T18" fmla="*/ 17245 w 950"/>
                  <a:gd name="T19" fmla="*/ 131010 h 468"/>
                  <a:gd name="T20" fmla="*/ 0 w 950"/>
                  <a:gd name="T21" fmla="*/ 12781 h 468"/>
                  <a:gd name="T22" fmla="*/ 34059 w 950"/>
                  <a:gd name="T23" fmla="*/ 3195 h 468"/>
                  <a:gd name="T24" fmla="*/ 57341 w 950"/>
                  <a:gd name="T25" fmla="*/ 29291 h 468"/>
                  <a:gd name="T26" fmla="*/ 67688 w 950"/>
                  <a:gd name="T27" fmla="*/ 7988 h 468"/>
                  <a:gd name="T28" fmla="*/ 143136 w 950"/>
                  <a:gd name="T29" fmla="*/ 62310 h 468"/>
                  <a:gd name="T30" fmla="*/ 188836 w 950"/>
                  <a:gd name="T31" fmla="*/ 62310 h 468"/>
                  <a:gd name="T32" fmla="*/ 226344 w 950"/>
                  <a:gd name="T33" fmla="*/ 71896 h 468"/>
                  <a:gd name="T34" fmla="*/ 257386 w 950"/>
                  <a:gd name="T35" fmla="*/ 121424 h 468"/>
                  <a:gd name="T36" fmla="*/ 289289 w 950"/>
                  <a:gd name="T37" fmla="*/ 134205 h 468"/>
                  <a:gd name="T38" fmla="*/ 314726 w 950"/>
                  <a:gd name="T39" fmla="*/ 137400 h 468"/>
                  <a:gd name="T40" fmla="*/ 341025 w 950"/>
                  <a:gd name="T41" fmla="*/ 114500 h 468"/>
                  <a:gd name="T42" fmla="*/ 363444 w 950"/>
                  <a:gd name="T43" fmla="*/ 104382 h 468"/>
                  <a:gd name="T44" fmla="*/ 355252 w 950"/>
                  <a:gd name="T45" fmla="*/ 134205 h 468"/>
                  <a:gd name="T46" fmla="*/ 375084 w 950"/>
                  <a:gd name="T47" fmla="*/ 127814 h 468"/>
                  <a:gd name="T48" fmla="*/ 409575 w 950"/>
                  <a:gd name="T49" fmla="*/ 150714 h 468"/>
                  <a:gd name="T50" fmla="*/ 380689 w 950"/>
                  <a:gd name="T51" fmla="*/ 170419 h 468"/>
                  <a:gd name="T52" fmla="*/ 355252 w 950"/>
                  <a:gd name="T53" fmla="*/ 150714 h 468"/>
                  <a:gd name="T54" fmla="*/ 329385 w 950"/>
                  <a:gd name="T55" fmla="*/ 147519 h 468"/>
                  <a:gd name="T56" fmla="*/ 317744 w 950"/>
                  <a:gd name="T57" fmla="*/ 170419 h 468"/>
                  <a:gd name="T58" fmla="*/ 294894 w 950"/>
                  <a:gd name="T59" fmla="*/ 190124 h 468"/>
                  <a:gd name="T60" fmla="*/ 306103 w 950"/>
                  <a:gd name="T61" fmla="*/ 206633 h 468"/>
                  <a:gd name="T62" fmla="*/ 320331 w 950"/>
                  <a:gd name="T63" fmla="*/ 232729 h 468"/>
                  <a:gd name="T64" fmla="*/ 309121 w 950"/>
                  <a:gd name="T65" fmla="*/ 249238 h 468"/>
                  <a:gd name="T66" fmla="*/ 303086 w 950"/>
                  <a:gd name="T67" fmla="*/ 247640 h 468"/>
                  <a:gd name="T68" fmla="*/ 294894 w 950"/>
                  <a:gd name="T69" fmla="*/ 245510 h 468"/>
                  <a:gd name="T70" fmla="*/ 283685 w 950"/>
                  <a:gd name="T71" fmla="*/ 245510 h 46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950" h="468">
                    <a:moveTo>
                      <a:pt x="664" y="455"/>
                    </a:moveTo>
                    <a:lnTo>
                      <a:pt x="638" y="443"/>
                    </a:lnTo>
                    <a:lnTo>
                      <a:pt x="604" y="431"/>
                    </a:lnTo>
                    <a:lnTo>
                      <a:pt x="558" y="418"/>
                    </a:lnTo>
                    <a:lnTo>
                      <a:pt x="512" y="388"/>
                    </a:lnTo>
                    <a:lnTo>
                      <a:pt x="471" y="376"/>
                    </a:lnTo>
                    <a:lnTo>
                      <a:pt x="425" y="345"/>
                    </a:lnTo>
                    <a:lnTo>
                      <a:pt x="392" y="307"/>
                    </a:lnTo>
                    <a:lnTo>
                      <a:pt x="345" y="258"/>
                    </a:lnTo>
                    <a:lnTo>
                      <a:pt x="305" y="258"/>
                    </a:lnTo>
                    <a:lnTo>
                      <a:pt x="266" y="246"/>
                    </a:lnTo>
                    <a:lnTo>
                      <a:pt x="253" y="209"/>
                    </a:lnTo>
                    <a:lnTo>
                      <a:pt x="219" y="190"/>
                    </a:lnTo>
                    <a:lnTo>
                      <a:pt x="186" y="172"/>
                    </a:lnTo>
                    <a:lnTo>
                      <a:pt x="153" y="166"/>
                    </a:lnTo>
                    <a:lnTo>
                      <a:pt x="133" y="190"/>
                    </a:lnTo>
                    <a:lnTo>
                      <a:pt x="92" y="209"/>
                    </a:lnTo>
                    <a:lnTo>
                      <a:pt x="99" y="240"/>
                    </a:lnTo>
                    <a:lnTo>
                      <a:pt x="59" y="252"/>
                    </a:lnTo>
                    <a:lnTo>
                      <a:pt x="40" y="246"/>
                    </a:lnTo>
                    <a:lnTo>
                      <a:pt x="46" y="240"/>
                    </a:lnTo>
                    <a:lnTo>
                      <a:pt x="0" y="24"/>
                    </a:lnTo>
                    <a:lnTo>
                      <a:pt x="85" y="0"/>
                    </a:lnTo>
                    <a:lnTo>
                      <a:pt x="79" y="6"/>
                    </a:lnTo>
                    <a:lnTo>
                      <a:pt x="86" y="55"/>
                    </a:lnTo>
                    <a:lnTo>
                      <a:pt x="133" y="55"/>
                    </a:lnTo>
                    <a:lnTo>
                      <a:pt x="153" y="30"/>
                    </a:lnTo>
                    <a:lnTo>
                      <a:pt x="157" y="15"/>
                    </a:lnTo>
                    <a:lnTo>
                      <a:pt x="205" y="36"/>
                    </a:lnTo>
                    <a:lnTo>
                      <a:pt x="332" y="117"/>
                    </a:lnTo>
                    <a:lnTo>
                      <a:pt x="392" y="111"/>
                    </a:lnTo>
                    <a:lnTo>
                      <a:pt x="438" y="117"/>
                    </a:lnTo>
                    <a:lnTo>
                      <a:pt x="478" y="105"/>
                    </a:lnTo>
                    <a:lnTo>
                      <a:pt x="525" y="135"/>
                    </a:lnTo>
                    <a:lnTo>
                      <a:pt x="558" y="166"/>
                    </a:lnTo>
                    <a:lnTo>
                      <a:pt x="597" y="228"/>
                    </a:lnTo>
                    <a:lnTo>
                      <a:pt x="617" y="258"/>
                    </a:lnTo>
                    <a:lnTo>
                      <a:pt x="671" y="252"/>
                    </a:lnTo>
                    <a:lnTo>
                      <a:pt x="710" y="283"/>
                    </a:lnTo>
                    <a:lnTo>
                      <a:pt x="730" y="258"/>
                    </a:lnTo>
                    <a:lnTo>
                      <a:pt x="757" y="228"/>
                    </a:lnTo>
                    <a:lnTo>
                      <a:pt x="791" y="215"/>
                    </a:lnTo>
                    <a:lnTo>
                      <a:pt x="817" y="190"/>
                    </a:lnTo>
                    <a:lnTo>
                      <a:pt x="843" y="196"/>
                    </a:lnTo>
                    <a:lnTo>
                      <a:pt x="810" y="228"/>
                    </a:lnTo>
                    <a:lnTo>
                      <a:pt x="824" y="252"/>
                    </a:lnTo>
                    <a:lnTo>
                      <a:pt x="850" y="258"/>
                    </a:lnTo>
                    <a:lnTo>
                      <a:pt x="870" y="240"/>
                    </a:lnTo>
                    <a:lnTo>
                      <a:pt x="910" y="258"/>
                    </a:lnTo>
                    <a:lnTo>
                      <a:pt x="950" y="283"/>
                    </a:lnTo>
                    <a:lnTo>
                      <a:pt x="917" y="313"/>
                    </a:lnTo>
                    <a:lnTo>
                      <a:pt x="883" y="320"/>
                    </a:lnTo>
                    <a:lnTo>
                      <a:pt x="837" y="313"/>
                    </a:lnTo>
                    <a:lnTo>
                      <a:pt x="824" y="283"/>
                    </a:lnTo>
                    <a:lnTo>
                      <a:pt x="804" y="271"/>
                    </a:lnTo>
                    <a:lnTo>
                      <a:pt x="764" y="277"/>
                    </a:lnTo>
                    <a:lnTo>
                      <a:pt x="757" y="301"/>
                    </a:lnTo>
                    <a:lnTo>
                      <a:pt x="737" y="320"/>
                    </a:lnTo>
                    <a:lnTo>
                      <a:pt x="724" y="351"/>
                    </a:lnTo>
                    <a:lnTo>
                      <a:pt x="684" y="357"/>
                    </a:lnTo>
                    <a:lnTo>
                      <a:pt x="671" y="369"/>
                    </a:lnTo>
                    <a:lnTo>
                      <a:pt x="710" y="388"/>
                    </a:lnTo>
                    <a:lnTo>
                      <a:pt x="730" y="406"/>
                    </a:lnTo>
                    <a:lnTo>
                      <a:pt x="743" y="437"/>
                    </a:lnTo>
                    <a:lnTo>
                      <a:pt x="730" y="468"/>
                    </a:lnTo>
                    <a:lnTo>
                      <a:pt x="717" y="468"/>
                    </a:lnTo>
                    <a:lnTo>
                      <a:pt x="712" y="467"/>
                    </a:lnTo>
                    <a:lnTo>
                      <a:pt x="703" y="465"/>
                    </a:lnTo>
                    <a:lnTo>
                      <a:pt x="694" y="462"/>
                    </a:lnTo>
                    <a:lnTo>
                      <a:pt x="684" y="461"/>
                    </a:lnTo>
                    <a:lnTo>
                      <a:pt x="669" y="461"/>
                    </a:lnTo>
                    <a:lnTo>
                      <a:pt x="658" y="461"/>
                    </a:lnTo>
                    <a:lnTo>
                      <a:pt x="664" y="455"/>
                    </a:lnTo>
                  </a:path>
                </a:pathLst>
              </a:custGeom>
              <a:grpFill/>
              <a:ln w="9525" cmpd="sng">
                <a:solidFill>
                  <a:srgbClr val="FFFFFF"/>
                </a:solidFill>
                <a:prstDash val="solid"/>
                <a:round/>
                <a:headEnd/>
                <a:tailEnd/>
              </a:ln>
            </p:spPr>
            <p:txBody>
              <a:bodyPr/>
              <a:lstStyle/>
              <a:p>
                <a:endParaRPr lang="en-GB" sz="1637"/>
              </a:p>
            </p:txBody>
          </p:sp>
          <p:sp>
            <p:nvSpPr>
              <p:cNvPr id="322" name="Freeform 260"/>
              <p:cNvSpPr>
                <a:spLocks/>
              </p:cNvSpPr>
              <p:nvPr>
                <p:custDataLst>
                  <p:tags r:id="rId195"/>
                </p:custDataLst>
              </p:nvPr>
            </p:nvSpPr>
            <p:spPr bwMode="auto">
              <a:xfrm>
                <a:off x="5477476" y="2599301"/>
                <a:ext cx="362193" cy="327746"/>
              </a:xfrm>
              <a:custGeom>
                <a:avLst/>
                <a:gdLst>
                  <a:gd name="T0" fmla="*/ 26925 w 764"/>
                  <a:gd name="T1" fmla="*/ 102595 h 555"/>
                  <a:gd name="T2" fmla="*/ 40388 w 764"/>
                  <a:gd name="T3" fmla="*/ 99455 h 555"/>
                  <a:gd name="T4" fmla="*/ 55588 w 764"/>
                  <a:gd name="T5" fmla="*/ 95267 h 555"/>
                  <a:gd name="T6" fmla="*/ 75999 w 764"/>
                  <a:gd name="T7" fmla="*/ 79040 h 555"/>
                  <a:gd name="T8" fmla="*/ 84250 w 764"/>
                  <a:gd name="T9" fmla="*/ 65954 h 555"/>
                  <a:gd name="T10" fmla="*/ 86421 w 764"/>
                  <a:gd name="T11" fmla="*/ 46063 h 555"/>
                  <a:gd name="T12" fmla="*/ 90330 w 764"/>
                  <a:gd name="T13" fmla="*/ 36118 h 555"/>
                  <a:gd name="T14" fmla="*/ 104227 w 764"/>
                  <a:gd name="T15" fmla="*/ 31407 h 555"/>
                  <a:gd name="T16" fmla="*/ 127678 w 764"/>
                  <a:gd name="T17" fmla="*/ 32454 h 555"/>
                  <a:gd name="T18" fmla="*/ 142877 w 764"/>
                  <a:gd name="T19" fmla="*/ 37165 h 555"/>
                  <a:gd name="T20" fmla="*/ 157208 w 764"/>
                  <a:gd name="T21" fmla="*/ 47110 h 555"/>
                  <a:gd name="T22" fmla="*/ 167631 w 764"/>
                  <a:gd name="T23" fmla="*/ 48680 h 555"/>
                  <a:gd name="T24" fmla="*/ 181962 w 764"/>
                  <a:gd name="T25" fmla="*/ 43969 h 555"/>
                  <a:gd name="T26" fmla="*/ 199768 w 764"/>
                  <a:gd name="T27" fmla="*/ 31930 h 555"/>
                  <a:gd name="T28" fmla="*/ 208019 w 764"/>
                  <a:gd name="T29" fmla="*/ 17274 h 555"/>
                  <a:gd name="T30" fmla="*/ 220613 w 764"/>
                  <a:gd name="T31" fmla="*/ 2094 h 555"/>
                  <a:gd name="T32" fmla="*/ 230167 w 764"/>
                  <a:gd name="T33" fmla="*/ 9945 h 555"/>
                  <a:gd name="T34" fmla="*/ 238853 w 764"/>
                  <a:gd name="T35" fmla="*/ 23555 h 555"/>
                  <a:gd name="T36" fmla="*/ 243630 w 764"/>
                  <a:gd name="T37" fmla="*/ 45540 h 555"/>
                  <a:gd name="T38" fmla="*/ 247538 w 764"/>
                  <a:gd name="T39" fmla="*/ 52868 h 555"/>
                  <a:gd name="T40" fmla="*/ 255789 w 764"/>
                  <a:gd name="T41" fmla="*/ 54438 h 555"/>
                  <a:gd name="T42" fmla="*/ 270121 w 764"/>
                  <a:gd name="T43" fmla="*/ 38211 h 555"/>
                  <a:gd name="T44" fmla="*/ 322668 w 764"/>
                  <a:gd name="T45" fmla="*/ 34547 h 555"/>
                  <a:gd name="T46" fmla="*/ 329617 w 764"/>
                  <a:gd name="T47" fmla="*/ 45540 h 555"/>
                  <a:gd name="T48" fmla="*/ 294874 w 764"/>
                  <a:gd name="T49" fmla="*/ 52345 h 555"/>
                  <a:gd name="T50" fmla="*/ 262738 w 764"/>
                  <a:gd name="T51" fmla="*/ 58626 h 555"/>
                  <a:gd name="T52" fmla="*/ 249275 w 764"/>
                  <a:gd name="T53" fmla="*/ 68048 h 555"/>
                  <a:gd name="T54" fmla="*/ 247972 w 764"/>
                  <a:gd name="T55" fmla="*/ 76946 h 555"/>
                  <a:gd name="T56" fmla="*/ 252749 w 764"/>
                  <a:gd name="T57" fmla="*/ 85845 h 555"/>
                  <a:gd name="T58" fmla="*/ 261001 w 764"/>
                  <a:gd name="T59" fmla="*/ 94220 h 555"/>
                  <a:gd name="T60" fmla="*/ 262304 w 764"/>
                  <a:gd name="T61" fmla="*/ 102072 h 555"/>
                  <a:gd name="T62" fmla="*/ 257961 w 764"/>
                  <a:gd name="T63" fmla="*/ 111494 h 555"/>
                  <a:gd name="T64" fmla="*/ 249275 w 764"/>
                  <a:gd name="T65" fmla="*/ 124056 h 555"/>
                  <a:gd name="T66" fmla="*/ 245367 w 764"/>
                  <a:gd name="T67" fmla="*/ 133478 h 555"/>
                  <a:gd name="T68" fmla="*/ 235378 w 764"/>
                  <a:gd name="T69" fmla="*/ 140807 h 555"/>
                  <a:gd name="T70" fmla="*/ 225390 w 764"/>
                  <a:gd name="T71" fmla="*/ 162268 h 555"/>
                  <a:gd name="T72" fmla="*/ 220613 w 764"/>
                  <a:gd name="T73" fmla="*/ 190011 h 555"/>
                  <a:gd name="T74" fmla="*/ 215836 w 764"/>
                  <a:gd name="T75" fmla="*/ 222464 h 555"/>
                  <a:gd name="T76" fmla="*/ 207150 w 764"/>
                  <a:gd name="T77" fmla="*/ 215659 h 555"/>
                  <a:gd name="T78" fmla="*/ 199768 w 764"/>
                  <a:gd name="T79" fmla="*/ 213042 h 555"/>
                  <a:gd name="T80" fmla="*/ 190648 w 764"/>
                  <a:gd name="T81" fmla="*/ 218800 h 555"/>
                  <a:gd name="T82" fmla="*/ 178488 w 764"/>
                  <a:gd name="T83" fmla="*/ 230316 h 555"/>
                  <a:gd name="T84" fmla="*/ 170671 w 764"/>
                  <a:gd name="T85" fmla="*/ 232410 h 555"/>
                  <a:gd name="T86" fmla="*/ 162854 w 764"/>
                  <a:gd name="T87" fmla="*/ 242355 h 555"/>
                  <a:gd name="T88" fmla="*/ 158511 w 764"/>
                  <a:gd name="T89" fmla="*/ 267480 h 555"/>
                  <a:gd name="T90" fmla="*/ 151997 w 764"/>
                  <a:gd name="T91" fmla="*/ 274809 h 555"/>
                  <a:gd name="T92" fmla="*/ 117255 w 764"/>
                  <a:gd name="T93" fmla="*/ 285801 h 555"/>
                  <a:gd name="T94" fmla="*/ 84250 w 764"/>
                  <a:gd name="T95" fmla="*/ 289989 h 555"/>
                  <a:gd name="T96" fmla="*/ 49073 w 764"/>
                  <a:gd name="T97" fmla="*/ 283707 h 555"/>
                  <a:gd name="T98" fmla="*/ 41256 w 764"/>
                  <a:gd name="T99" fmla="*/ 271145 h 555"/>
                  <a:gd name="T100" fmla="*/ 49942 w 764"/>
                  <a:gd name="T101" fmla="*/ 255441 h 555"/>
                  <a:gd name="T102" fmla="*/ 54285 w 764"/>
                  <a:gd name="T103" fmla="*/ 241832 h 555"/>
                  <a:gd name="T104" fmla="*/ 53416 w 764"/>
                  <a:gd name="T105" fmla="*/ 231363 h 555"/>
                  <a:gd name="T106" fmla="*/ 48205 w 764"/>
                  <a:gd name="T107" fmla="*/ 226652 h 555"/>
                  <a:gd name="T108" fmla="*/ 29965 w 764"/>
                  <a:gd name="T109" fmla="*/ 225605 h 555"/>
                  <a:gd name="T110" fmla="*/ 22582 w 764"/>
                  <a:gd name="T111" fmla="*/ 220370 h 555"/>
                  <a:gd name="T112" fmla="*/ 14765 w 764"/>
                  <a:gd name="T113" fmla="*/ 201003 h 555"/>
                  <a:gd name="T114" fmla="*/ 8251 w 764"/>
                  <a:gd name="T115" fmla="*/ 161745 h 555"/>
                  <a:gd name="T116" fmla="*/ 4343 w 764"/>
                  <a:gd name="T117" fmla="*/ 152323 h 555"/>
                  <a:gd name="T118" fmla="*/ 0 w 764"/>
                  <a:gd name="T119" fmla="*/ 146565 h 555"/>
                  <a:gd name="T120" fmla="*/ 869 w 764"/>
                  <a:gd name="T121" fmla="*/ 140283 h 555"/>
                  <a:gd name="T122" fmla="*/ 9554 w 764"/>
                  <a:gd name="T123" fmla="*/ 129814 h 555"/>
                  <a:gd name="T124" fmla="*/ 14765 w 764"/>
                  <a:gd name="T125" fmla="*/ 115681 h 55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64" h="555">
                    <a:moveTo>
                      <a:pt x="39" y="191"/>
                    </a:moveTo>
                    <a:lnTo>
                      <a:pt x="48" y="194"/>
                    </a:lnTo>
                    <a:lnTo>
                      <a:pt x="56" y="196"/>
                    </a:lnTo>
                    <a:lnTo>
                      <a:pt x="62" y="196"/>
                    </a:lnTo>
                    <a:lnTo>
                      <a:pt x="68" y="195"/>
                    </a:lnTo>
                    <a:lnTo>
                      <a:pt x="77" y="192"/>
                    </a:lnTo>
                    <a:lnTo>
                      <a:pt x="85" y="191"/>
                    </a:lnTo>
                    <a:lnTo>
                      <a:pt x="93" y="190"/>
                    </a:lnTo>
                    <a:lnTo>
                      <a:pt x="101" y="190"/>
                    </a:lnTo>
                    <a:lnTo>
                      <a:pt x="107" y="188"/>
                    </a:lnTo>
                    <a:lnTo>
                      <a:pt x="114" y="186"/>
                    </a:lnTo>
                    <a:lnTo>
                      <a:pt x="128" y="182"/>
                    </a:lnTo>
                    <a:lnTo>
                      <a:pt x="140" y="175"/>
                    </a:lnTo>
                    <a:lnTo>
                      <a:pt x="152" y="168"/>
                    </a:lnTo>
                    <a:lnTo>
                      <a:pt x="164" y="160"/>
                    </a:lnTo>
                    <a:lnTo>
                      <a:pt x="175" y="151"/>
                    </a:lnTo>
                    <a:lnTo>
                      <a:pt x="185" y="142"/>
                    </a:lnTo>
                    <a:lnTo>
                      <a:pt x="189" y="136"/>
                    </a:lnTo>
                    <a:lnTo>
                      <a:pt x="192" y="131"/>
                    </a:lnTo>
                    <a:lnTo>
                      <a:pt x="194" y="126"/>
                    </a:lnTo>
                    <a:lnTo>
                      <a:pt x="195" y="120"/>
                    </a:lnTo>
                    <a:lnTo>
                      <a:pt x="197" y="109"/>
                    </a:lnTo>
                    <a:lnTo>
                      <a:pt x="198" y="98"/>
                    </a:lnTo>
                    <a:lnTo>
                      <a:pt x="199" y="88"/>
                    </a:lnTo>
                    <a:lnTo>
                      <a:pt x="202" y="78"/>
                    </a:lnTo>
                    <a:lnTo>
                      <a:pt x="204" y="74"/>
                    </a:lnTo>
                    <a:lnTo>
                      <a:pt x="206" y="71"/>
                    </a:lnTo>
                    <a:lnTo>
                      <a:pt x="208" y="69"/>
                    </a:lnTo>
                    <a:lnTo>
                      <a:pt x="212" y="68"/>
                    </a:lnTo>
                    <a:lnTo>
                      <a:pt x="221" y="64"/>
                    </a:lnTo>
                    <a:lnTo>
                      <a:pt x="231" y="62"/>
                    </a:lnTo>
                    <a:lnTo>
                      <a:pt x="240" y="60"/>
                    </a:lnTo>
                    <a:lnTo>
                      <a:pt x="249" y="60"/>
                    </a:lnTo>
                    <a:lnTo>
                      <a:pt x="266" y="61"/>
                    </a:lnTo>
                    <a:lnTo>
                      <a:pt x="285" y="61"/>
                    </a:lnTo>
                    <a:lnTo>
                      <a:pt x="294" y="62"/>
                    </a:lnTo>
                    <a:lnTo>
                      <a:pt x="303" y="63"/>
                    </a:lnTo>
                    <a:lnTo>
                      <a:pt x="310" y="64"/>
                    </a:lnTo>
                    <a:lnTo>
                      <a:pt x="317" y="66"/>
                    </a:lnTo>
                    <a:lnTo>
                      <a:pt x="329" y="71"/>
                    </a:lnTo>
                    <a:lnTo>
                      <a:pt x="339" y="77"/>
                    </a:lnTo>
                    <a:lnTo>
                      <a:pt x="348" y="82"/>
                    </a:lnTo>
                    <a:lnTo>
                      <a:pt x="357" y="88"/>
                    </a:lnTo>
                    <a:lnTo>
                      <a:pt x="362" y="90"/>
                    </a:lnTo>
                    <a:lnTo>
                      <a:pt x="366" y="91"/>
                    </a:lnTo>
                    <a:lnTo>
                      <a:pt x="372" y="92"/>
                    </a:lnTo>
                    <a:lnTo>
                      <a:pt x="378" y="93"/>
                    </a:lnTo>
                    <a:lnTo>
                      <a:pt x="386" y="93"/>
                    </a:lnTo>
                    <a:lnTo>
                      <a:pt x="394" y="92"/>
                    </a:lnTo>
                    <a:lnTo>
                      <a:pt x="402" y="90"/>
                    </a:lnTo>
                    <a:lnTo>
                      <a:pt x="407" y="89"/>
                    </a:lnTo>
                    <a:lnTo>
                      <a:pt x="419" y="84"/>
                    </a:lnTo>
                    <a:lnTo>
                      <a:pt x="429" y="78"/>
                    </a:lnTo>
                    <a:lnTo>
                      <a:pt x="439" y="72"/>
                    </a:lnTo>
                    <a:lnTo>
                      <a:pt x="449" y="66"/>
                    </a:lnTo>
                    <a:lnTo>
                      <a:pt x="460" y="61"/>
                    </a:lnTo>
                    <a:lnTo>
                      <a:pt x="471" y="55"/>
                    </a:lnTo>
                    <a:lnTo>
                      <a:pt x="472" y="48"/>
                    </a:lnTo>
                    <a:lnTo>
                      <a:pt x="475" y="41"/>
                    </a:lnTo>
                    <a:lnTo>
                      <a:pt x="479" y="33"/>
                    </a:lnTo>
                    <a:lnTo>
                      <a:pt x="485" y="25"/>
                    </a:lnTo>
                    <a:lnTo>
                      <a:pt x="496" y="11"/>
                    </a:lnTo>
                    <a:lnTo>
                      <a:pt x="505" y="0"/>
                    </a:lnTo>
                    <a:lnTo>
                      <a:pt x="508" y="4"/>
                    </a:lnTo>
                    <a:lnTo>
                      <a:pt x="512" y="8"/>
                    </a:lnTo>
                    <a:lnTo>
                      <a:pt x="518" y="12"/>
                    </a:lnTo>
                    <a:lnTo>
                      <a:pt x="525" y="15"/>
                    </a:lnTo>
                    <a:lnTo>
                      <a:pt x="530" y="19"/>
                    </a:lnTo>
                    <a:lnTo>
                      <a:pt x="537" y="22"/>
                    </a:lnTo>
                    <a:lnTo>
                      <a:pt x="541" y="26"/>
                    </a:lnTo>
                    <a:lnTo>
                      <a:pt x="544" y="31"/>
                    </a:lnTo>
                    <a:lnTo>
                      <a:pt x="550" y="45"/>
                    </a:lnTo>
                    <a:lnTo>
                      <a:pt x="554" y="58"/>
                    </a:lnTo>
                    <a:lnTo>
                      <a:pt x="556" y="70"/>
                    </a:lnTo>
                    <a:lnTo>
                      <a:pt x="559" y="81"/>
                    </a:lnTo>
                    <a:lnTo>
                      <a:pt x="561" y="87"/>
                    </a:lnTo>
                    <a:lnTo>
                      <a:pt x="562" y="91"/>
                    </a:lnTo>
                    <a:lnTo>
                      <a:pt x="564" y="95"/>
                    </a:lnTo>
                    <a:lnTo>
                      <a:pt x="566" y="99"/>
                    </a:lnTo>
                    <a:lnTo>
                      <a:pt x="570" y="101"/>
                    </a:lnTo>
                    <a:lnTo>
                      <a:pt x="574" y="103"/>
                    </a:lnTo>
                    <a:lnTo>
                      <a:pt x="578" y="104"/>
                    </a:lnTo>
                    <a:lnTo>
                      <a:pt x="584" y="105"/>
                    </a:lnTo>
                    <a:lnTo>
                      <a:pt x="589" y="104"/>
                    </a:lnTo>
                    <a:lnTo>
                      <a:pt x="596" y="100"/>
                    </a:lnTo>
                    <a:lnTo>
                      <a:pt x="602" y="95"/>
                    </a:lnTo>
                    <a:lnTo>
                      <a:pt x="610" y="88"/>
                    </a:lnTo>
                    <a:lnTo>
                      <a:pt x="622" y="73"/>
                    </a:lnTo>
                    <a:lnTo>
                      <a:pt x="631" y="61"/>
                    </a:lnTo>
                    <a:lnTo>
                      <a:pt x="723" y="61"/>
                    </a:lnTo>
                    <a:lnTo>
                      <a:pt x="736" y="61"/>
                    </a:lnTo>
                    <a:lnTo>
                      <a:pt x="743" y="66"/>
                    </a:lnTo>
                    <a:lnTo>
                      <a:pt x="748" y="70"/>
                    </a:lnTo>
                    <a:lnTo>
                      <a:pt x="752" y="75"/>
                    </a:lnTo>
                    <a:lnTo>
                      <a:pt x="755" y="79"/>
                    </a:lnTo>
                    <a:lnTo>
                      <a:pt x="759" y="87"/>
                    </a:lnTo>
                    <a:lnTo>
                      <a:pt x="764" y="93"/>
                    </a:lnTo>
                    <a:lnTo>
                      <a:pt x="740" y="95"/>
                    </a:lnTo>
                    <a:lnTo>
                      <a:pt x="711" y="97"/>
                    </a:lnTo>
                    <a:lnTo>
                      <a:pt x="679" y="100"/>
                    </a:lnTo>
                    <a:lnTo>
                      <a:pt x="647" y="103"/>
                    </a:lnTo>
                    <a:lnTo>
                      <a:pt x="632" y="106"/>
                    </a:lnTo>
                    <a:lnTo>
                      <a:pt x="618" y="109"/>
                    </a:lnTo>
                    <a:lnTo>
                      <a:pt x="605" y="112"/>
                    </a:lnTo>
                    <a:lnTo>
                      <a:pt x="594" y="117"/>
                    </a:lnTo>
                    <a:lnTo>
                      <a:pt x="584" y="122"/>
                    </a:lnTo>
                    <a:lnTo>
                      <a:pt x="577" y="127"/>
                    </a:lnTo>
                    <a:lnTo>
                      <a:pt x="574" y="130"/>
                    </a:lnTo>
                    <a:lnTo>
                      <a:pt x="572" y="134"/>
                    </a:lnTo>
                    <a:lnTo>
                      <a:pt x="571" y="137"/>
                    </a:lnTo>
                    <a:lnTo>
                      <a:pt x="571" y="142"/>
                    </a:lnTo>
                    <a:lnTo>
                      <a:pt x="571" y="147"/>
                    </a:lnTo>
                    <a:lnTo>
                      <a:pt x="572" y="152"/>
                    </a:lnTo>
                    <a:lnTo>
                      <a:pt x="574" y="156"/>
                    </a:lnTo>
                    <a:lnTo>
                      <a:pt x="576" y="159"/>
                    </a:lnTo>
                    <a:lnTo>
                      <a:pt x="582" y="164"/>
                    </a:lnTo>
                    <a:lnTo>
                      <a:pt x="587" y="169"/>
                    </a:lnTo>
                    <a:lnTo>
                      <a:pt x="594" y="173"/>
                    </a:lnTo>
                    <a:lnTo>
                      <a:pt x="599" y="177"/>
                    </a:lnTo>
                    <a:lnTo>
                      <a:pt x="601" y="180"/>
                    </a:lnTo>
                    <a:lnTo>
                      <a:pt x="602" y="183"/>
                    </a:lnTo>
                    <a:lnTo>
                      <a:pt x="604" y="186"/>
                    </a:lnTo>
                    <a:lnTo>
                      <a:pt x="604" y="191"/>
                    </a:lnTo>
                    <a:lnTo>
                      <a:pt x="604" y="195"/>
                    </a:lnTo>
                    <a:lnTo>
                      <a:pt x="602" y="200"/>
                    </a:lnTo>
                    <a:lnTo>
                      <a:pt x="601" y="204"/>
                    </a:lnTo>
                    <a:lnTo>
                      <a:pt x="599" y="207"/>
                    </a:lnTo>
                    <a:lnTo>
                      <a:pt x="594" y="213"/>
                    </a:lnTo>
                    <a:lnTo>
                      <a:pt x="587" y="220"/>
                    </a:lnTo>
                    <a:lnTo>
                      <a:pt x="582" y="226"/>
                    </a:lnTo>
                    <a:lnTo>
                      <a:pt x="576" y="233"/>
                    </a:lnTo>
                    <a:lnTo>
                      <a:pt x="574" y="237"/>
                    </a:lnTo>
                    <a:lnTo>
                      <a:pt x="572" y="242"/>
                    </a:lnTo>
                    <a:lnTo>
                      <a:pt x="571" y="247"/>
                    </a:lnTo>
                    <a:lnTo>
                      <a:pt x="571" y="252"/>
                    </a:lnTo>
                    <a:lnTo>
                      <a:pt x="565" y="255"/>
                    </a:lnTo>
                    <a:lnTo>
                      <a:pt x="560" y="256"/>
                    </a:lnTo>
                    <a:lnTo>
                      <a:pt x="555" y="259"/>
                    </a:lnTo>
                    <a:lnTo>
                      <a:pt x="551" y="262"/>
                    </a:lnTo>
                    <a:lnTo>
                      <a:pt x="542" y="269"/>
                    </a:lnTo>
                    <a:lnTo>
                      <a:pt x="535" y="277"/>
                    </a:lnTo>
                    <a:lnTo>
                      <a:pt x="529" y="287"/>
                    </a:lnTo>
                    <a:lnTo>
                      <a:pt x="523" y="298"/>
                    </a:lnTo>
                    <a:lnTo>
                      <a:pt x="519" y="310"/>
                    </a:lnTo>
                    <a:lnTo>
                      <a:pt x="515" y="323"/>
                    </a:lnTo>
                    <a:lnTo>
                      <a:pt x="512" y="336"/>
                    </a:lnTo>
                    <a:lnTo>
                      <a:pt x="509" y="349"/>
                    </a:lnTo>
                    <a:lnTo>
                      <a:pt x="508" y="363"/>
                    </a:lnTo>
                    <a:lnTo>
                      <a:pt x="506" y="377"/>
                    </a:lnTo>
                    <a:lnTo>
                      <a:pt x="505" y="402"/>
                    </a:lnTo>
                    <a:lnTo>
                      <a:pt x="505" y="425"/>
                    </a:lnTo>
                    <a:lnTo>
                      <a:pt x="497" y="425"/>
                    </a:lnTo>
                    <a:lnTo>
                      <a:pt x="492" y="423"/>
                    </a:lnTo>
                    <a:lnTo>
                      <a:pt x="486" y="420"/>
                    </a:lnTo>
                    <a:lnTo>
                      <a:pt x="482" y="415"/>
                    </a:lnTo>
                    <a:lnTo>
                      <a:pt x="477" y="412"/>
                    </a:lnTo>
                    <a:lnTo>
                      <a:pt x="473" y="409"/>
                    </a:lnTo>
                    <a:lnTo>
                      <a:pt x="470" y="407"/>
                    </a:lnTo>
                    <a:lnTo>
                      <a:pt x="464" y="406"/>
                    </a:lnTo>
                    <a:lnTo>
                      <a:pt x="460" y="407"/>
                    </a:lnTo>
                    <a:lnTo>
                      <a:pt x="455" y="408"/>
                    </a:lnTo>
                    <a:lnTo>
                      <a:pt x="451" y="410"/>
                    </a:lnTo>
                    <a:lnTo>
                      <a:pt x="447" y="412"/>
                    </a:lnTo>
                    <a:lnTo>
                      <a:pt x="439" y="418"/>
                    </a:lnTo>
                    <a:lnTo>
                      <a:pt x="431" y="425"/>
                    </a:lnTo>
                    <a:lnTo>
                      <a:pt x="423" y="432"/>
                    </a:lnTo>
                    <a:lnTo>
                      <a:pt x="416" y="438"/>
                    </a:lnTo>
                    <a:lnTo>
                      <a:pt x="411" y="440"/>
                    </a:lnTo>
                    <a:lnTo>
                      <a:pt x="407" y="442"/>
                    </a:lnTo>
                    <a:lnTo>
                      <a:pt x="403" y="443"/>
                    </a:lnTo>
                    <a:lnTo>
                      <a:pt x="398" y="444"/>
                    </a:lnTo>
                    <a:lnTo>
                      <a:pt x="393" y="444"/>
                    </a:lnTo>
                    <a:lnTo>
                      <a:pt x="388" y="446"/>
                    </a:lnTo>
                    <a:lnTo>
                      <a:pt x="385" y="449"/>
                    </a:lnTo>
                    <a:lnTo>
                      <a:pt x="382" y="453"/>
                    </a:lnTo>
                    <a:lnTo>
                      <a:pt x="375" y="463"/>
                    </a:lnTo>
                    <a:lnTo>
                      <a:pt x="372" y="476"/>
                    </a:lnTo>
                    <a:lnTo>
                      <a:pt x="369" y="489"/>
                    </a:lnTo>
                    <a:lnTo>
                      <a:pt x="366" y="501"/>
                    </a:lnTo>
                    <a:lnTo>
                      <a:pt x="365" y="511"/>
                    </a:lnTo>
                    <a:lnTo>
                      <a:pt x="365" y="517"/>
                    </a:lnTo>
                    <a:lnTo>
                      <a:pt x="362" y="520"/>
                    </a:lnTo>
                    <a:lnTo>
                      <a:pt x="358" y="522"/>
                    </a:lnTo>
                    <a:lnTo>
                      <a:pt x="350" y="525"/>
                    </a:lnTo>
                    <a:lnTo>
                      <a:pt x="342" y="528"/>
                    </a:lnTo>
                    <a:lnTo>
                      <a:pt x="320" y="535"/>
                    </a:lnTo>
                    <a:lnTo>
                      <a:pt x="296" y="541"/>
                    </a:lnTo>
                    <a:lnTo>
                      <a:pt x="270" y="546"/>
                    </a:lnTo>
                    <a:lnTo>
                      <a:pt x="246" y="551"/>
                    </a:lnTo>
                    <a:lnTo>
                      <a:pt x="226" y="554"/>
                    </a:lnTo>
                    <a:lnTo>
                      <a:pt x="212" y="555"/>
                    </a:lnTo>
                    <a:lnTo>
                      <a:pt x="194" y="554"/>
                    </a:lnTo>
                    <a:lnTo>
                      <a:pt x="176" y="553"/>
                    </a:lnTo>
                    <a:lnTo>
                      <a:pt x="159" y="550"/>
                    </a:lnTo>
                    <a:lnTo>
                      <a:pt x="142" y="548"/>
                    </a:lnTo>
                    <a:lnTo>
                      <a:pt x="113" y="542"/>
                    </a:lnTo>
                    <a:lnTo>
                      <a:pt x="92" y="536"/>
                    </a:lnTo>
                    <a:lnTo>
                      <a:pt x="93" y="529"/>
                    </a:lnTo>
                    <a:lnTo>
                      <a:pt x="94" y="523"/>
                    </a:lnTo>
                    <a:lnTo>
                      <a:pt x="95" y="518"/>
                    </a:lnTo>
                    <a:lnTo>
                      <a:pt x="97" y="513"/>
                    </a:lnTo>
                    <a:lnTo>
                      <a:pt x="103" y="504"/>
                    </a:lnTo>
                    <a:lnTo>
                      <a:pt x="109" y="496"/>
                    </a:lnTo>
                    <a:lnTo>
                      <a:pt x="115" y="488"/>
                    </a:lnTo>
                    <a:lnTo>
                      <a:pt x="120" y="479"/>
                    </a:lnTo>
                    <a:lnTo>
                      <a:pt x="123" y="473"/>
                    </a:lnTo>
                    <a:lnTo>
                      <a:pt x="124" y="468"/>
                    </a:lnTo>
                    <a:lnTo>
                      <a:pt x="125" y="462"/>
                    </a:lnTo>
                    <a:lnTo>
                      <a:pt x="126" y="456"/>
                    </a:lnTo>
                    <a:lnTo>
                      <a:pt x="125" y="451"/>
                    </a:lnTo>
                    <a:lnTo>
                      <a:pt x="124" y="446"/>
                    </a:lnTo>
                    <a:lnTo>
                      <a:pt x="123" y="442"/>
                    </a:lnTo>
                    <a:lnTo>
                      <a:pt x="120" y="439"/>
                    </a:lnTo>
                    <a:lnTo>
                      <a:pt x="117" y="437"/>
                    </a:lnTo>
                    <a:lnTo>
                      <a:pt x="114" y="435"/>
                    </a:lnTo>
                    <a:lnTo>
                      <a:pt x="111" y="433"/>
                    </a:lnTo>
                    <a:lnTo>
                      <a:pt x="106" y="432"/>
                    </a:lnTo>
                    <a:lnTo>
                      <a:pt x="89" y="431"/>
                    </a:lnTo>
                    <a:lnTo>
                      <a:pt x="72" y="432"/>
                    </a:lnTo>
                    <a:lnTo>
                      <a:pt x="69" y="431"/>
                    </a:lnTo>
                    <a:lnTo>
                      <a:pt x="66" y="430"/>
                    </a:lnTo>
                    <a:lnTo>
                      <a:pt x="62" y="429"/>
                    </a:lnTo>
                    <a:lnTo>
                      <a:pt x="59" y="427"/>
                    </a:lnTo>
                    <a:lnTo>
                      <a:pt x="52" y="421"/>
                    </a:lnTo>
                    <a:lnTo>
                      <a:pt x="47" y="413"/>
                    </a:lnTo>
                    <a:lnTo>
                      <a:pt x="42" y="405"/>
                    </a:lnTo>
                    <a:lnTo>
                      <a:pt x="38" y="395"/>
                    </a:lnTo>
                    <a:lnTo>
                      <a:pt x="34" y="384"/>
                    </a:lnTo>
                    <a:lnTo>
                      <a:pt x="30" y="373"/>
                    </a:lnTo>
                    <a:lnTo>
                      <a:pt x="26" y="349"/>
                    </a:lnTo>
                    <a:lnTo>
                      <a:pt x="22" y="327"/>
                    </a:lnTo>
                    <a:lnTo>
                      <a:pt x="19" y="309"/>
                    </a:lnTo>
                    <a:lnTo>
                      <a:pt x="19" y="295"/>
                    </a:lnTo>
                    <a:lnTo>
                      <a:pt x="16" y="295"/>
                    </a:lnTo>
                    <a:lnTo>
                      <a:pt x="13" y="293"/>
                    </a:lnTo>
                    <a:lnTo>
                      <a:pt x="10" y="291"/>
                    </a:lnTo>
                    <a:lnTo>
                      <a:pt x="7" y="289"/>
                    </a:lnTo>
                    <a:lnTo>
                      <a:pt x="4" y="286"/>
                    </a:lnTo>
                    <a:lnTo>
                      <a:pt x="2" y="283"/>
                    </a:lnTo>
                    <a:lnTo>
                      <a:pt x="0" y="280"/>
                    </a:lnTo>
                    <a:lnTo>
                      <a:pt x="0" y="277"/>
                    </a:lnTo>
                    <a:lnTo>
                      <a:pt x="0" y="274"/>
                    </a:lnTo>
                    <a:lnTo>
                      <a:pt x="1" y="271"/>
                    </a:lnTo>
                    <a:lnTo>
                      <a:pt x="2" y="268"/>
                    </a:lnTo>
                    <a:lnTo>
                      <a:pt x="4" y="265"/>
                    </a:lnTo>
                    <a:lnTo>
                      <a:pt x="10" y="259"/>
                    </a:lnTo>
                    <a:lnTo>
                      <a:pt x="16" y="254"/>
                    </a:lnTo>
                    <a:lnTo>
                      <a:pt x="22" y="248"/>
                    </a:lnTo>
                    <a:lnTo>
                      <a:pt x="27" y="243"/>
                    </a:lnTo>
                    <a:lnTo>
                      <a:pt x="31" y="238"/>
                    </a:lnTo>
                    <a:lnTo>
                      <a:pt x="33" y="234"/>
                    </a:lnTo>
                    <a:lnTo>
                      <a:pt x="34" y="221"/>
                    </a:lnTo>
                    <a:lnTo>
                      <a:pt x="36" y="213"/>
                    </a:lnTo>
                    <a:lnTo>
                      <a:pt x="38" y="205"/>
                    </a:lnTo>
                    <a:lnTo>
                      <a:pt x="39" y="191"/>
                    </a:lnTo>
                  </a:path>
                </a:pathLst>
              </a:custGeom>
              <a:grpFill/>
              <a:ln w="9525" cmpd="sng">
                <a:solidFill>
                  <a:srgbClr val="FFFFFF"/>
                </a:solidFill>
                <a:prstDash val="solid"/>
                <a:round/>
                <a:headEnd/>
                <a:tailEnd/>
              </a:ln>
            </p:spPr>
            <p:txBody>
              <a:bodyPr/>
              <a:lstStyle/>
              <a:p>
                <a:endParaRPr lang="en-GB" sz="1637"/>
              </a:p>
            </p:txBody>
          </p:sp>
          <p:sp>
            <p:nvSpPr>
              <p:cNvPr id="323" name="Freeform 277"/>
              <p:cNvSpPr>
                <a:spLocks/>
              </p:cNvSpPr>
              <p:nvPr>
                <p:custDataLst>
                  <p:tags r:id="rId196"/>
                </p:custDataLst>
              </p:nvPr>
            </p:nvSpPr>
            <p:spPr bwMode="auto">
              <a:xfrm>
                <a:off x="6688829" y="3455382"/>
                <a:ext cx="145570" cy="146859"/>
              </a:xfrm>
              <a:custGeom>
                <a:avLst/>
                <a:gdLst>
                  <a:gd name="T0" fmla="*/ 69178 w 293"/>
                  <a:gd name="T1" fmla="*/ 10054 h 246"/>
                  <a:gd name="T2" fmla="*/ 81466 w 293"/>
                  <a:gd name="T3" fmla="*/ 15875 h 246"/>
                  <a:gd name="T4" fmla="*/ 89203 w 293"/>
                  <a:gd name="T5" fmla="*/ 15875 h 246"/>
                  <a:gd name="T6" fmla="*/ 91934 w 293"/>
                  <a:gd name="T7" fmla="*/ 9525 h 246"/>
                  <a:gd name="T8" fmla="*/ 95575 w 293"/>
                  <a:gd name="T9" fmla="*/ 5292 h 246"/>
                  <a:gd name="T10" fmla="*/ 99671 w 293"/>
                  <a:gd name="T11" fmla="*/ 3175 h 246"/>
                  <a:gd name="T12" fmla="*/ 111504 w 293"/>
                  <a:gd name="T13" fmla="*/ 1058 h 246"/>
                  <a:gd name="T14" fmla="*/ 133350 w 293"/>
                  <a:gd name="T15" fmla="*/ 42333 h 246"/>
                  <a:gd name="T16" fmla="*/ 121062 w 293"/>
                  <a:gd name="T17" fmla="*/ 56621 h 246"/>
                  <a:gd name="T18" fmla="*/ 107863 w 293"/>
                  <a:gd name="T19" fmla="*/ 74613 h 246"/>
                  <a:gd name="T20" fmla="*/ 102402 w 293"/>
                  <a:gd name="T21" fmla="*/ 84138 h 246"/>
                  <a:gd name="T22" fmla="*/ 97851 w 293"/>
                  <a:gd name="T23" fmla="*/ 94192 h 246"/>
                  <a:gd name="T24" fmla="*/ 95120 w 293"/>
                  <a:gd name="T25" fmla="*/ 104246 h 246"/>
                  <a:gd name="T26" fmla="*/ 93755 w 293"/>
                  <a:gd name="T27" fmla="*/ 114300 h 246"/>
                  <a:gd name="T28" fmla="*/ 89203 w 293"/>
                  <a:gd name="T29" fmla="*/ 114829 h 246"/>
                  <a:gd name="T30" fmla="*/ 84652 w 293"/>
                  <a:gd name="T31" fmla="*/ 116417 h 246"/>
                  <a:gd name="T32" fmla="*/ 77370 w 293"/>
                  <a:gd name="T33" fmla="*/ 121179 h 246"/>
                  <a:gd name="T34" fmla="*/ 70088 w 293"/>
                  <a:gd name="T35" fmla="*/ 126471 h 246"/>
                  <a:gd name="T36" fmla="*/ 60531 w 293"/>
                  <a:gd name="T37" fmla="*/ 130175 h 246"/>
                  <a:gd name="T38" fmla="*/ 46422 w 293"/>
                  <a:gd name="T39" fmla="*/ 127000 h 246"/>
                  <a:gd name="T40" fmla="*/ 32313 w 293"/>
                  <a:gd name="T41" fmla="*/ 122767 h 246"/>
                  <a:gd name="T42" fmla="*/ 26852 w 293"/>
                  <a:gd name="T43" fmla="*/ 119592 h 246"/>
                  <a:gd name="T44" fmla="*/ 22301 w 293"/>
                  <a:gd name="T45" fmla="*/ 116417 h 246"/>
                  <a:gd name="T46" fmla="*/ 19570 w 293"/>
                  <a:gd name="T47" fmla="*/ 112183 h 246"/>
                  <a:gd name="T48" fmla="*/ 18660 w 293"/>
                  <a:gd name="T49" fmla="*/ 107950 h 246"/>
                  <a:gd name="T50" fmla="*/ 21391 w 293"/>
                  <a:gd name="T51" fmla="*/ 94192 h 246"/>
                  <a:gd name="T52" fmla="*/ 20480 w 293"/>
                  <a:gd name="T53" fmla="*/ 85725 h 246"/>
                  <a:gd name="T54" fmla="*/ 18205 w 293"/>
                  <a:gd name="T55" fmla="*/ 77788 h 246"/>
                  <a:gd name="T56" fmla="*/ 10923 w 293"/>
                  <a:gd name="T57" fmla="*/ 62971 h 246"/>
                  <a:gd name="T58" fmla="*/ 3641 w 293"/>
                  <a:gd name="T59" fmla="*/ 48154 h 246"/>
                  <a:gd name="T60" fmla="*/ 910 w 293"/>
                  <a:gd name="T61" fmla="*/ 39158 h 246"/>
                  <a:gd name="T62" fmla="*/ 0 w 293"/>
                  <a:gd name="T63" fmla="*/ 29104 h 246"/>
                  <a:gd name="T64" fmla="*/ 910 w 293"/>
                  <a:gd name="T65" fmla="*/ 23813 h 246"/>
                  <a:gd name="T66" fmla="*/ 3641 w 293"/>
                  <a:gd name="T67" fmla="*/ 19050 h 246"/>
                  <a:gd name="T68" fmla="*/ 7737 w 293"/>
                  <a:gd name="T69" fmla="*/ 15346 h 246"/>
                  <a:gd name="T70" fmla="*/ 11833 w 293"/>
                  <a:gd name="T71" fmla="*/ 11642 h 246"/>
                  <a:gd name="T72" fmla="*/ 21846 w 293"/>
                  <a:gd name="T73" fmla="*/ 7408 h 246"/>
                  <a:gd name="T74" fmla="*/ 30493 w 293"/>
                  <a:gd name="T75" fmla="*/ 6350 h 246"/>
                  <a:gd name="T76" fmla="*/ 43691 w 293"/>
                  <a:gd name="T77" fmla="*/ 6350 h 246"/>
                  <a:gd name="T78" fmla="*/ 60531 w 293"/>
                  <a:gd name="T79" fmla="*/ 6350 h 24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293" h="246">
                    <a:moveTo>
                      <a:pt x="133" y="12"/>
                    </a:moveTo>
                    <a:lnTo>
                      <a:pt x="152" y="19"/>
                    </a:lnTo>
                    <a:lnTo>
                      <a:pt x="166" y="24"/>
                    </a:lnTo>
                    <a:lnTo>
                      <a:pt x="179" y="30"/>
                    </a:lnTo>
                    <a:lnTo>
                      <a:pt x="193" y="37"/>
                    </a:lnTo>
                    <a:lnTo>
                      <a:pt x="196" y="30"/>
                    </a:lnTo>
                    <a:lnTo>
                      <a:pt x="199" y="23"/>
                    </a:lnTo>
                    <a:lnTo>
                      <a:pt x="202" y="18"/>
                    </a:lnTo>
                    <a:lnTo>
                      <a:pt x="205" y="14"/>
                    </a:lnTo>
                    <a:lnTo>
                      <a:pt x="210" y="10"/>
                    </a:lnTo>
                    <a:lnTo>
                      <a:pt x="214" y="8"/>
                    </a:lnTo>
                    <a:lnTo>
                      <a:pt x="219" y="6"/>
                    </a:lnTo>
                    <a:lnTo>
                      <a:pt x="223" y="4"/>
                    </a:lnTo>
                    <a:lnTo>
                      <a:pt x="245" y="2"/>
                    </a:lnTo>
                    <a:lnTo>
                      <a:pt x="272" y="0"/>
                    </a:lnTo>
                    <a:lnTo>
                      <a:pt x="293" y="80"/>
                    </a:lnTo>
                    <a:lnTo>
                      <a:pt x="279" y="93"/>
                    </a:lnTo>
                    <a:lnTo>
                      <a:pt x="266" y="107"/>
                    </a:lnTo>
                    <a:lnTo>
                      <a:pt x="250" y="123"/>
                    </a:lnTo>
                    <a:lnTo>
                      <a:pt x="237" y="141"/>
                    </a:lnTo>
                    <a:lnTo>
                      <a:pt x="231" y="150"/>
                    </a:lnTo>
                    <a:lnTo>
                      <a:pt x="225" y="159"/>
                    </a:lnTo>
                    <a:lnTo>
                      <a:pt x="220" y="169"/>
                    </a:lnTo>
                    <a:lnTo>
                      <a:pt x="215" y="178"/>
                    </a:lnTo>
                    <a:lnTo>
                      <a:pt x="212" y="187"/>
                    </a:lnTo>
                    <a:lnTo>
                      <a:pt x="209" y="197"/>
                    </a:lnTo>
                    <a:lnTo>
                      <a:pt x="206" y="207"/>
                    </a:lnTo>
                    <a:lnTo>
                      <a:pt x="206" y="216"/>
                    </a:lnTo>
                    <a:lnTo>
                      <a:pt x="201" y="216"/>
                    </a:lnTo>
                    <a:lnTo>
                      <a:pt x="196" y="217"/>
                    </a:lnTo>
                    <a:lnTo>
                      <a:pt x="190" y="218"/>
                    </a:lnTo>
                    <a:lnTo>
                      <a:pt x="186" y="220"/>
                    </a:lnTo>
                    <a:lnTo>
                      <a:pt x="178" y="224"/>
                    </a:lnTo>
                    <a:lnTo>
                      <a:pt x="170" y="229"/>
                    </a:lnTo>
                    <a:lnTo>
                      <a:pt x="163" y="234"/>
                    </a:lnTo>
                    <a:lnTo>
                      <a:pt x="154" y="239"/>
                    </a:lnTo>
                    <a:lnTo>
                      <a:pt x="145" y="243"/>
                    </a:lnTo>
                    <a:lnTo>
                      <a:pt x="133" y="246"/>
                    </a:lnTo>
                    <a:lnTo>
                      <a:pt x="118" y="243"/>
                    </a:lnTo>
                    <a:lnTo>
                      <a:pt x="102" y="240"/>
                    </a:lnTo>
                    <a:lnTo>
                      <a:pt x="87" y="236"/>
                    </a:lnTo>
                    <a:lnTo>
                      <a:pt x="71" y="232"/>
                    </a:lnTo>
                    <a:lnTo>
                      <a:pt x="65" y="229"/>
                    </a:lnTo>
                    <a:lnTo>
                      <a:pt x="59" y="226"/>
                    </a:lnTo>
                    <a:lnTo>
                      <a:pt x="54" y="223"/>
                    </a:lnTo>
                    <a:lnTo>
                      <a:pt x="49" y="220"/>
                    </a:lnTo>
                    <a:lnTo>
                      <a:pt x="45" y="216"/>
                    </a:lnTo>
                    <a:lnTo>
                      <a:pt x="43" y="212"/>
                    </a:lnTo>
                    <a:lnTo>
                      <a:pt x="41" y="208"/>
                    </a:lnTo>
                    <a:lnTo>
                      <a:pt x="41" y="204"/>
                    </a:lnTo>
                    <a:lnTo>
                      <a:pt x="44" y="193"/>
                    </a:lnTo>
                    <a:lnTo>
                      <a:pt x="47" y="178"/>
                    </a:lnTo>
                    <a:lnTo>
                      <a:pt x="46" y="170"/>
                    </a:lnTo>
                    <a:lnTo>
                      <a:pt x="45" y="162"/>
                    </a:lnTo>
                    <a:lnTo>
                      <a:pt x="43" y="154"/>
                    </a:lnTo>
                    <a:lnTo>
                      <a:pt x="40" y="147"/>
                    </a:lnTo>
                    <a:lnTo>
                      <a:pt x="32" y="132"/>
                    </a:lnTo>
                    <a:lnTo>
                      <a:pt x="24" y="119"/>
                    </a:lnTo>
                    <a:lnTo>
                      <a:pt x="15" y="106"/>
                    </a:lnTo>
                    <a:lnTo>
                      <a:pt x="8" y="91"/>
                    </a:lnTo>
                    <a:lnTo>
                      <a:pt x="4" y="83"/>
                    </a:lnTo>
                    <a:lnTo>
                      <a:pt x="2" y="74"/>
                    </a:lnTo>
                    <a:lnTo>
                      <a:pt x="1" y="65"/>
                    </a:lnTo>
                    <a:lnTo>
                      <a:pt x="0" y="55"/>
                    </a:lnTo>
                    <a:lnTo>
                      <a:pt x="1" y="50"/>
                    </a:lnTo>
                    <a:lnTo>
                      <a:pt x="2" y="45"/>
                    </a:lnTo>
                    <a:lnTo>
                      <a:pt x="4" y="40"/>
                    </a:lnTo>
                    <a:lnTo>
                      <a:pt x="8" y="36"/>
                    </a:lnTo>
                    <a:lnTo>
                      <a:pt x="12" y="32"/>
                    </a:lnTo>
                    <a:lnTo>
                      <a:pt x="17" y="29"/>
                    </a:lnTo>
                    <a:lnTo>
                      <a:pt x="21" y="25"/>
                    </a:lnTo>
                    <a:lnTo>
                      <a:pt x="26" y="22"/>
                    </a:lnTo>
                    <a:lnTo>
                      <a:pt x="37" y="17"/>
                    </a:lnTo>
                    <a:lnTo>
                      <a:pt x="48" y="14"/>
                    </a:lnTo>
                    <a:lnTo>
                      <a:pt x="58" y="13"/>
                    </a:lnTo>
                    <a:lnTo>
                      <a:pt x="67" y="12"/>
                    </a:lnTo>
                    <a:lnTo>
                      <a:pt x="79" y="12"/>
                    </a:lnTo>
                    <a:lnTo>
                      <a:pt x="96" y="12"/>
                    </a:lnTo>
                    <a:lnTo>
                      <a:pt x="113" y="12"/>
                    </a:lnTo>
                    <a:lnTo>
                      <a:pt x="133" y="12"/>
                    </a:lnTo>
                  </a:path>
                </a:pathLst>
              </a:custGeom>
              <a:grpFill/>
              <a:ln w="9525" cmpd="sng">
                <a:solidFill>
                  <a:srgbClr val="FFFFFF"/>
                </a:solidFill>
                <a:prstDash val="solid"/>
                <a:round/>
                <a:headEnd/>
                <a:tailEnd/>
              </a:ln>
            </p:spPr>
            <p:txBody>
              <a:bodyPr/>
              <a:lstStyle/>
              <a:p>
                <a:endParaRPr lang="en-GB" sz="1637"/>
              </a:p>
            </p:txBody>
          </p:sp>
          <p:sp>
            <p:nvSpPr>
              <p:cNvPr id="324" name="Freeform 449"/>
              <p:cNvSpPr>
                <a:spLocks/>
              </p:cNvSpPr>
              <p:nvPr>
                <p:custDataLst>
                  <p:tags r:id="rId197"/>
                </p:custDataLst>
              </p:nvPr>
            </p:nvSpPr>
            <p:spPr bwMode="auto">
              <a:xfrm>
                <a:off x="6818802" y="3251212"/>
                <a:ext cx="60655" cy="64475"/>
              </a:xfrm>
              <a:custGeom>
                <a:avLst/>
                <a:gdLst>
                  <a:gd name="T0" fmla="*/ 0 w 126"/>
                  <a:gd name="T1" fmla="*/ 30480 h 105"/>
                  <a:gd name="T2" fmla="*/ 1764 w 126"/>
                  <a:gd name="T3" fmla="*/ 26670 h 105"/>
                  <a:gd name="T4" fmla="*/ 4410 w 126"/>
                  <a:gd name="T5" fmla="*/ 22316 h 105"/>
                  <a:gd name="T6" fmla="*/ 7056 w 126"/>
                  <a:gd name="T7" fmla="*/ 17961 h 105"/>
                  <a:gd name="T8" fmla="*/ 10583 w 126"/>
                  <a:gd name="T9" fmla="*/ 13607 h 105"/>
                  <a:gd name="T10" fmla="*/ 16316 w 126"/>
                  <a:gd name="T11" fmla="*/ 5987 h 105"/>
                  <a:gd name="T12" fmla="*/ 20726 w 126"/>
                  <a:gd name="T13" fmla="*/ 0 h 105"/>
                  <a:gd name="T14" fmla="*/ 49830 w 126"/>
                  <a:gd name="T15" fmla="*/ 0 h 105"/>
                  <a:gd name="T16" fmla="*/ 50271 w 126"/>
                  <a:gd name="T17" fmla="*/ 2177 h 105"/>
                  <a:gd name="T18" fmla="*/ 50712 w 126"/>
                  <a:gd name="T19" fmla="*/ 4354 h 105"/>
                  <a:gd name="T20" fmla="*/ 51594 w 126"/>
                  <a:gd name="T21" fmla="*/ 6531 h 105"/>
                  <a:gd name="T22" fmla="*/ 52476 w 126"/>
                  <a:gd name="T23" fmla="*/ 7620 h 105"/>
                  <a:gd name="T24" fmla="*/ 54681 w 126"/>
                  <a:gd name="T25" fmla="*/ 10886 h 105"/>
                  <a:gd name="T26" fmla="*/ 55563 w 126"/>
                  <a:gd name="T27" fmla="*/ 13063 h 105"/>
                  <a:gd name="T28" fmla="*/ 55563 w 126"/>
                  <a:gd name="T29" fmla="*/ 17417 h 105"/>
                  <a:gd name="T30" fmla="*/ 55122 w 126"/>
                  <a:gd name="T31" fmla="*/ 22316 h 105"/>
                  <a:gd name="T32" fmla="*/ 54681 w 126"/>
                  <a:gd name="T33" fmla="*/ 26126 h 105"/>
                  <a:gd name="T34" fmla="*/ 53799 w 126"/>
                  <a:gd name="T35" fmla="*/ 29936 h 105"/>
                  <a:gd name="T36" fmla="*/ 52476 w 126"/>
                  <a:gd name="T37" fmla="*/ 33746 h 105"/>
                  <a:gd name="T38" fmla="*/ 51153 w 126"/>
                  <a:gd name="T39" fmla="*/ 37556 h 105"/>
                  <a:gd name="T40" fmla="*/ 49389 w 126"/>
                  <a:gd name="T41" fmla="*/ 40821 h 105"/>
                  <a:gd name="T42" fmla="*/ 47625 w 126"/>
                  <a:gd name="T43" fmla="*/ 44087 h 105"/>
                  <a:gd name="T44" fmla="*/ 45862 w 126"/>
                  <a:gd name="T45" fmla="*/ 46809 h 105"/>
                  <a:gd name="T46" fmla="*/ 43657 w 126"/>
                  <a:gd name="T47" fmla="*/ 48986 h 105"/>
                  <a:gd name="T48" fmla="*/ 41011 w 126"/>
                  <a:gd name="T49" fmla="*/ 51163 h 105"/>
                  <a:gd name="T50" fmla="*/ 38806 w 126"/>
                  <a:gd name="T51" fmla="*/ 53884 h 105"/>
                  <a:gd name="T52" fmla="*/ 35719 w 126"/>
                  <a:gd name="T53" fmla="*/ 54973 h 105"/>
                  <a:gd name="T54" fmla="*/ 32632 w 126"/>
                  <a:gd name="T55" fmla="*/ 56061 h 105"/>
                  <a:gd name="T56" fmla="*/ 29545 w 126"/>
                  <a:gd name="T57" fmla="*/ 57150 h 105"/>
                  <a:gd name="T58" fmla="*/ 26459 w 126"/>
                  <a:gd name="T59" fmla="*/ 57150 h 105"/>
                  <a:gd name="T60" fmla="*/ 21167 w 126"/>
                  <a:gd name="T61" fmla="*/ 56606 h 105"/>
                  <a:gd name="T62" fmla="*/ 16757 w 126"/>
                  <a:gd name="T63" fmla="*/ 55517 h 105"/>
                  <a:gd name="T64" fmla="*/ 13670 w 126"/>
                  <a:gd name="T65" fmla="*/ 53340 h 105"/>
                  <a:gd name="T66" fmla="*/ 10583 w 126"/>
                  <a:gd name="T67" fmla="*/ 50074 h 105"/>
                  <a:gd name="T68" fmla="*/ 8820 w 126"/>
                  <a:gd name="T69" fmla="*/ 46809 h 105"/>
                  <a:gd name="T70" fmla="*/ 7056 w 126"/>
                  <a:gd name="T71" fmla="*/ 42454 h 105"/>
                  <a:gd name="T72" fmla="*/ 6174 w 126"/>
                  <a:gd name="T73" fmla="*/ 38100 h 105"/>
                  <a:gd name="T74" fmla="*/ 5733 w 126"/>
                  <a:gd name="T75" fmla="*/ 33746 h 105"/>
                  <a:gd name="T76" fmla="*/ 0 w 126"/>
                  <a:gd name="T77" fmla="*/ 30480 h 10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26" h="105">
                    <a:moveTo>
                      <a:pt x="0" y="56"/>
                    </a:moveTo>
                    <a:lnTo>
                      <a:pt x="4" y="49"/>
                    </a:lnTo>
                    <a:lnTo>
                      <a:pt x="10" y="41"/>
                    </a:lnTo>
                    <a:lnTo>
                      <a:pt x="16" y="33"/>
                    </a:lnTo>
                    <a:lnTo>
                      <a:pt x="24" y="25"/>
                    </a:lnTo>
                    <a:lnTo>
                      <a:pt x="37" y="11"/>
                    </a:lnTo>
                    <a:lnTo>
                      <a:pt x="47" y="0"/>
                    </a:lnTo>
                    <a:lnTo>
                      <a:pt x="113" y="0"/>
                    </a:lnTo>
                    <a:lnTo>
                      <a:pt x="114" y="4"/>
                    </a:lnTo>
                    <a:lnTo>
                      <a:pt x="115" y="8"/>
                    </a:lnTo>
                    <a:lnTo>
                      <a:pt x="117" y="12"/>
                    </a:lnTo>
                    <a:lnTo>
                      <a:pt x="119" y="14"/>
                    </a:lnTo>
                    <a:lnTo>
                      <a:pt x="124" y="20"/>
                    </a:lnTo>
                    <a:lnTo>
                      <a:pt x="126" y="24"/>
                    </a:lnTo>
                    <a:lnTo>
                      <a:pt x="126" y="32"/>
                    </a:lnTo>
                    <a:lnTo>
                      <a:pt x="125" y="41"/>
                    </a:lnTo>
                    <a:lnTo>
                      <a:pt x="124" y="48"/>
                    </a:lnTo>
                    <a:lnTo>
                      <a:pt x="122" y="55"/>
                    </a:lnTo>
                    <a:lnTo>
                      <a:pt x="119" y="62"/>
                    </a:lnTo>
                    <a:lnTo>
                      <a:pt x="116" y="69"/>
                    </a:lnTo>
                    <a:lnTo>
                      <a:pt x="112" y="75"/>
                    </a:lnTo>
                    <a:lnTo>
                      <a:pt x="108" y="81"/>
                    </a:lnTo>
                    <a:lnTo>
                      <a:pt x="104" y="86"/>
                    </a:lnTo>
                    <a:lnTo>
                      <a:pt x="99" y="90"/>
                    </a:lnTo>
                    <a:lnTo>
                      <a:pt x="93" y="94"/>
                    </a:lnTo>
                    <a:lnTo>
                      <a:pt x="88" y="99"/>
                    </a:lnTo>
                    <a:lnTo>
                      <a:pt x="81" y="101"/>
                    </a:lnTo>
                    <a:lnTo>
                      <a:pt x="74" y="103"/>
                    </a:lnTo>
                    <a:lnTo>
                      <a:pt x="67" y="105"/>
                    </a:lnTo>
                    <a:lnTo>
                      <a:pt x="60" y="105"/>
                    </a:lnTo>
                    <a:lnTo>
                      <a:pt x="48" y="104"/>
                    </a:lnTo>
                    <a:lnTo>
                      <a:pt x="38" y="102"/>
                    </a:lnTo>
                    <a:lnTo>
                      <a:pt x="31" y="98"/>
                    </a:lnTo>
                    <a:lnTo>
                      <a:pt x="24" y="92"/>
                    </a:lnTo>
                    <a:lnTo>
                      <a:pt x="20" y="86"/>
                    </a:lnTo>
                    <a:lnTo>
                      <a:pt x="16" y="78"/>
                    </a:lnTo>
                    <a:lnTo>
                      <a:pt x="14" y="70"/>
                    </a:lnTo>
                    <a:lnTo>
                      <a:pt x="13" y="62"/>
                    </a:lnTo>
                    <a:lnTo>
                      <a:pt x="0" y="56"/>
                    </a:lnTo>
                  </a:path>
                </a:pathLst>
              </a:custGeom>
              <a:grpFill/>
              <a:ln w="9525" cmpd="sng">
                <a:solidFill>
                  <a:srgbClr val="FFFFFF"/>
                </a:solidFill>
                <a:prstDash val="solid"/>
                <a:round/>
                <a:headEnd/>
                <a:tailEnd/>
              </a:ln>
            </p:spPr>
            <p:txBody>
              <a:bodyPr/>
              <a:lstStyle/>
              <a:p>
                <a:endParaRPr lang="en-GB" sz="1637"/>
              </a:p>
            </p:txBody>
          </p:sp>
          <p:grpSp>
            <p:nvGrpSpPr>
              <p:cNvPr id="325" name="Group 563"/>
              <p:cNvGrpSpPr/>
              <p:nvPr/>
            </p:nvGrpSpPr>
            <p:grpSpPr>
              <a:xfrm>
                <a:off x="5033834" y="1967192"/>
                <a:ext cx="2720777" cy="2403373"/>
                <a:chOff x="5033834" y="1967192"/>
                <a:chExt cx="2720777" cy="2403373"/>
              </a:xfrm>
              <a:grpFill/>
            </p:grpSpPr>
            <p:sp>
              <p:nvSpPr>
                <p:cNvPr id="326" name="Freeform 30"/>
                <p:cNvSpPr>
                  <a:spLocks/>
                </p:cNvSpPr>
                <p:nvPr>
                  <p:custDataLst>
                    <p:tags r:id="rId198"/>
                  </p:custDataLst>
                </p:nvPr>
              </p:nvSpPr>
              <p:spPr bwMode="auto">
                <a:xfrm>
                  <a:off x="5033834" y="2019028"/>
                  <a:ext cx="954872" cy="510424"/>
                </a:xfrm>
                <a:custGeom>
                  <a:avLst/>
                  <a:gdLst>
                    <a:gd name="T0" fmla="*/ 188809 w 2006"/>
                    <a:gd name="T1" fmla="*/ 401059 h 863"/>
                    <a:gd name="T2" fmla="*/ 179652 w 2006"/>
                    <a:gd name="T3" fmla="*/ 400535 h 863"/>
                    <a:gd name="T4" fmla="*/ 170059 w 2006"/>
                    <a:gd name="T5" fmla="*/ 416263 h 863"/>
                    <a:gd name="T6" fmla="*/ 163518 w 2006"/>
                    <a:gd name="T7" fmla="*/ 415214 h 863"/>
                    <a:gd name="T8" fmla="*/ 161338 w 2006"/>
                    <a:gd name="T9" fmla="*/ 393720 h 863"/>
                    <a:gd name="T10" fmla="*/ 141280 w 2006"/>
                    <a:gd name="T11" fmla="*/ 379565 h 863"/>
                    <a:gd name="T12" fmla="*/ 136047 w 2006"/>
                    <a:gd name="T13" fmla="*/ 371177 h 863"/>
                    <a:gd name="T14" fmla="*/ 125582 w 2006"/>
                    <a:gd name="T15" fmla="*/ 362788 h 863"/>
                    <a:gd name="T16" fmla="*/ 109448 w 2006"/>
                    <a:gd name="T17" fmla="*/ 336051 h 863"/>
                    <a:gd name="T18" fmla="*/ 101163 w 2006"/>
                    <a:gd name="T19" fmla="*/ 319799 h 863"/>
                    <a:gd name="T20" fmla="*/ 110320 w 2006"/>
                    <a:gd name="T21" fmla="*/ 311411 h 863"/>
                    <a:gd name="T22" fmla="*/ 121657 w 2006"/>
                    <a:gd name="T23" fmla="*/ 300401 h 863"/>
                    <a:gd name="T24" fmla="*/ 147384 w 2006"/>
                    <a:gd name="T25" fmla="*/ 285198 h 863"/>
                    <a:gd name="T26" fmla="*/ 139099 w 2006"/>
                    <a:gd name="T27" fmla="*/ 255315 h 863"/>
                    <a:gd name="T28" fmla="*/ 112500 w 2006"/>
                    <a:gd name="T29" fmla="*/ 249024 h 863"/>
                    <a:gd name="T30" fmla="*/ 91134 w 2006"/>
                    <a:gd name="T31" fmla="*/ 246403 h 863"/>
                    <a:gd name="T32" fmla="*/ 68460 w 2006"/>
                    <a:gd name="T33" fmla="*/ 259509 h 863"/>
                    <a:gd name="T34" fmla="*/ 46221 w 2006"/>
                    <a:gd name="T35" fmla="*/ 264752 h 863"/>
                    <a:gd name="T36" fmla="*/ 11773 w 2006"/>
                    <a:gd name="T37" fmla="*/ 216520 h 863"/>
                    <a:gd name="T38" fmla="*/ 8721 w 2006"/>
                    <a:gd name="T39" fmla="*/ 148366 h 863"/>
                    <a:gd name="T40" fmla="*/ 49273 w 2006"/>
                    <a:gd name="T41" fmla="*/ 135784 h 863"/>
                    <a:gd name="T42" fmla="*/ 127326 w 2006"/>
                    <a:gd name="T43" fmla="*/ 116386 h 863"/>
                    <a:gd name="T44" fmla="*/ 217152 w 2006"/>
                    <a:gd name="T45" fmla="*/ 132638 h 863"/>
                    <a:gd name="T46" fmla="*/ 312647 w 2006"/>
                    <a:gd name="T47" fmla="*/ 132638 h 863"/>
                    <a:gd name="T48" fmla="*/ 286920 w 2006"/>
                    <a:gd name="T49" fmla="*/ 96988 h 863"/>
                    <a:gd name="T50" fmla="*/ 361920 w 2006"/>
                    <a:gd name="T51" fmla="*/ 35650 h 863"/>
                    <a:gd name="T52" fmla="*/ 457851 w 2006"/>
                    <a:gd name="T53" fmla="*/ 6815 h 863"/>
                    <a:gd name="T54" fmla="*/ 512793 w 2006"/>
                    <a:gd name="T55" fmla="*/ 31980 h 863"/>
                    <a:gd name="T56" fmla="*/ 565119 w 2006"/>
                    <a:gd name="T57" fmla="*/ 58193 h 863"/>
                    <a:gd name="T58" fmla="*/ 628782 w 2006"/>
                    <a:gd name="T59" fmla="*/ 51902 h 863"/>
                    <a:gd name="T60" fmla="*/ 718172 w 2006"/>
                    <a:gd name="T61" fmla="*/ 142075 h 863"/>
                    <a:gd name="T62" fmla="*/ 781835 w 2006"/>
                    <a:gd name="T63" fmla="*/ 138929 h 863"/>
                    <a:gd name="T64" fmla="*/ 872097 w 2006"/>
                    <a:gd name="T65" fmla="*/ 177724 h 863"/>
                    <a:gd name="T66" fmla="*/ 872969 w 2006"/>
                    <a:gd name="T67" fmla="*/ 199743 h 863"/>
                    <a:gd name="T68" fmla="*/ 863812 w 2006"/>
                    <a:gd name="T69" fmla="*/ 209180 h 863"/>
                    <a:gd name="T70" fmla="*/ 854655 w 2006"/>
                    <a:gd name="T71" fmla="*/ 211801 h 863"/>
                    <a:gd name="T72" fmla="*/ 855963 w 2006"/>
                    <a:gd name="T73" fmla="*/ 222811 h 863"/>
                    <a:gd name="T74" fmla="*/ 865556 w 2006"/>
                    <a:gd name="T75" fmla="*/ 244305 h 863"/>
                    <a:gd name="T76" fmla="*/ 862940 w 2006"/>
                    <a:gd name="T77" fmla="*/ 250597 h 863"/>
                    <a:gd name="T78" fmla="*/ 845498 w 2006"/>
                    <a:gd name="T79" fmla="*/ 252169 h 863"/>
                    <a:gd name="T80" fmla="*/ 825440 w 2006"/>
                    <a:gd name="T81" fmla="*/ 248500 h 863"/>
                    <a:gd name="T82" fmla="*/ 812794 w 2006"/>
                    <a:gd name="T83" fmla="*/ 248500 h 863"/>
                    <a:gd name="T84" fmla="*/ 818899 w 2006"/>
                    <a:gd name="T85" fmla="*/ 287295 h 863"/>
                    <a:gd name="T86" fmla="*/ 819771 w 2006"/>
                    <a:gd name="T87" fmla="*/ 307217 h 863"/>
                    <a:gd name="T88" fmla="*/ 780091 w 2006"/>
                    <a:gd name="T89" fmla="*/ 308265 h 863"/>
                    <a:gd name="T90" fmla="*/ 770933 w 2006"/>
                    <a:gd name="T91" fmla="*/ 316653 h 863"/>
                    <a:gd name="T92" fmla="*/ 782707 w 2006"/>
                    <a:gd name="T93" fmla="*/ 324517 h 863"/>
                    <a:gd name="T94" fmla="*/ 790992 w 2006"/>
                    <a:gd name="T95" fmla="*/ 340769 h 863"/>
                    <a:gd name="T96" fmla="*/ 799713 w 2006"/>
                    <a:gd name="T97" fmla="*/ 361216 h 863"/>
                    <a:gd name="T98" fmla="*/ 801021 w 2006"/>
                    <a:gd name="T99" fmla="*/ 370128 h 863"/>
                    <a:gd name="T100" fmla="*/ 801021 w 2006"/>
                    <a:gd name="T101" fmla="*/ 395293 h 863"/>
                    <a:gd name="T102" fmla="*/ 759160 w 2006"/>
                    <a:gd name="T103" fmla="*/ 387953 h 863"/>
                    <a:gd name="T104" fmla="*/ 643171 w 2006"/>
                    <a:gd name="T105" fmla="*/ 400535 h 863"/>
                    <a:gd name="T106" fmla="*/ 573840 w 2006"/>
                    <a:gd name="T107" fmla="*/ 416787 h 863"/>
                    <a:gd name="T108" fmla="*/ 497967 w 2006"/>
                    <a:gd name="T109" fmla="*/ 439330 h 863"/>
                    <a:gd name="T110" fmla="*/ 419915 w 2006"/>
                    <a:gd name="T111" fmla="*/ 365410 h 863"/>
                    <a:gd name="T112" fmla="*/ 298257 w 2006"/>
                    <a:gd name="T113" fmla="*/ 307217 h 863"/>
                    <a:gd name="T114" fmla="*/ 254652 w 2006"/>
                    <a:gd name="T115" fmla="*/ 436185 h 86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2006" h="863">
                      <a:moveTo>
                        <a:pt x="571" y="826"/>
                      </a:moveTo>
                      <a:lnTo>
                        <a:pt x="538" y="826"/>
                      </a:lnTo>
                      <a:lnTo>
                        <a:pt x="512" y="789"/>
                      </a:lnTo>
                      <a:lnTo>
                        <a:pt x="438" y="764"/>
                      </a:lnTo>
                      <a:lnTo>
                        <a:pt x="433" y="765"/>
                      </a:lnTo>
                      <a:lnTo>
                        <a:pt x="427" y="766"/>
                      </a:lnTo>
                      <a:lnTo>
                        <a:pt x="424" y="767"/>
                      </a:lnTo>
                      <a:lnTo>
                        <a:pt x="421" y="767"/>
                      </a:lnTo>
                      <a:lnTo>
                        <a:pt x="416" y="766"/>
                      </a:lnTo>
                      <a:lnTo>
                        <a:pt x="412" y="764"/>
                      </a:lnTo>
                      <a:lnTo>
                        <a:pt x="405" y="772"/>
                      </a:lnTo>
                      <a:lnTo>
                        <a:pt x="397" y="778"/>
                      </a:lnTo>
                      <a:lnTo>
                        <a:pt x="393" y="782"/>
                      </a:lnTo>
                      <a:lnTo>
                        <a:pt x="391" y="786"/>
                      </a:lnTo>
                      <a:lnTo>
                        <a:pt x="390" y="794"/>
                      </a:lnTo>
                      <a:lnTo>
                        <a:pt x="392" y="802"/>
                      </a:lnTo>
                      <a:lnTo>
                        <a:pt x="386" y="800"/>
                      </a:lnTo>
                      <a:lnTo>
                        <a:pt x="381" y="798"/>
                      </a:lnTo>
                      <a:lnTo>
                        <a:pt x="378" y="795"/>
                      </a:lnTo>
                      <a:lnTo>
                        <a:pt x="375" y="792"/>
                      </a:lnTo>
                      <a:lnTo>
                        <a:pt x="372" y="787"/>
                      </a:lnTo>
                      <a:lnTo>
                        <a:pt x="371" y="783"/>
                      </a:lnTo>
                      <a:lnTo>
                        <a:pt x="370" y="778"/>
                      </a:lnTo>
                      <a:lnTo>
                        <a:pt x="369" y="773"/>
                      </a:lnTo>
                      <a:lnTo>
                        <a:pt x="370" y="751"/>
                      </a:lnTo>
                      <a:lnTo>
                        <a:pt x="372" y="727"/>
                      </a:lnTo>
                      <a:lnTo>
                        <a:pt x="352" y="727"/>
                      </a:lnTo>
                      <a:lnTo>
                        <a:pt x="332" y="726"/>
                      </a:lnTo>
                      <a:lnTo>
                        <a:pt x="327" y="725"/>
                      </a:lnTo>
                      <a:lnTo>
                        <a:pt x="324" y="724"/>
                      </a:lnTo>
                      <a:lnTo>
                        <a:pt x="321" y="722"/>
                      </a:lnTo>
                      <a:lnTo>
                        <a:pt x="318" y="719"/>
                      </a:lnTo>
                      <a:lnTo>
                        <a:pt x="315" y="716"/>
                      </a:lnTo>
                      <a:lnTo>
                        <a:pt x="313" y="712"/>
                      </a:lnTo>
                      <a:lnTo>
                        <a:pt x="312" y="708"/>
                      </a:lnTo>
                      <a:lnTo>
                        <a:pt x="312" y="703"/>
                      </a:lnTo>
                      <a:lnTo>
                        <a:pt x="305" y="702"/>
                      </a:lnTo>
                      <a:lnTo>
                        <a:pt x="299" y="700"/>
                      </a:lnTo>
                      <a:lnTo>
                        <a:pt x="293" y="697"/>
                      </a:lnTo>
                      <a:lnTo>
                        <a:pt x="288" y="692"/>
                      </a:lnTo>
                      <a:lnTo>
                        <a:pt x="280" y="682"/>
                      </a:lnTo>
                      <a:lnTo>
                        <a:pt x="273" y="668"/>
                      </a:lnTo>
                      <a:lnTo>
                        <a:pt x="265" y="656"/>
                      </a:lnTo>
                      <a:lnTo>
                        <a:pt x="256" y="646"/>
                      </a:lnTo>
                      <a:lnTo>
                        <a:pt x="251" y="641"/>
                      </a:lnTo>
                      <a:lnTo>
                        <a:pt x="245" y="638"/>
                      </a:lnTo>
                      <a:lnTo>
                        <a:pt x="240" y="636"/>
                      </a:lnTo>
                      <a:lnTo>
                        <a:pt x="232" y="635"/>
                      </a:lnTo>
                      <a:lnTo>
                        <a:pt x="232" y="623"/>
                      </a:lnTo>
                      <a:lnTo>
                        <a:pt x="232" y="610"/>
                      </a:lnTo>
                      <a:lnTo>
                        <a:pt x="239" y="608"/>
                      </a:lnTo>
                      <a:lnTo>
                        <a:pt x="245" y="604"/>
                      </a:lnTo>
                      <a:lnTo>
                        <a:pt x="251" y="600"/>
                      </a:lnTo>
                      <a:lnTo>
                        <a:pt x="253" y="598"/>
                      </a:lnTo>
                      <a:lnTo>
                        <a:pt x="253" y="594"/>
                      </a:lnTo>
                      <a:lnTo>
                        <a:pt x="254" y="591"/>
                      </a:lnTo>
                      <a:lnTo>
                        <a:pt x="256" y="588"/>
                      </a:lnTo>
                      <a:lnTo>
                        <a:pt x="259" y="585"/>
                      </a:lnTo>
                      <a:lnTo>
                        <a:pt x="268" y="578"/>
                      </a:lnTo>
                      <a:lnTo>
                        <a:pt x="279" y="573"/>
                      </a:lnTo>
                      <a:lnTo>
                        <a:pt x="292" y="568"/>
                      </a:lnTo>
                      <a:lnTo>
                        <a:pt x="309" y="564"/>
                      </a:lnTo>
                      <a:lnTo>
                        <a:pt x="326" y="561"/>
                      </a:lnTo>
                      <a:lnTo>
                        <a:pt x="345" y="561"/>
                      </a:lnTo>
                      <a:lnTo>
                        <a:pt x="338" y="544"/>
                      </a:lnTo>
                      <a:lnTo>
                        <a:pt x="330" y="529"/>
                      </a:lnTo>
                      <a:lnTo>
                        <a:pt x="325" y="520"/>
                      </a:lnTo>
                      <a:lnTo>
                        <a:pt x="322" y="511"/>
                      </a:lnTo>
                      <a:lnTo>
                        <a:pt x="320" y="499"/>
                      </a:lnTo>
                      <a:lnTo>
                        <a:pt x="319" y="487"/>
                      </a:lnTo>
                      <a:lnTo>
                        <a:pt x="307" y="486"/>
                      </a:lnTo>
                      <a:lnTo>
                        <a:pt x="293" y="484"/>
                      </a:lnTo>
                      <a:lnTo>
                        <a:pt x="281" y="481"/>
                      </a:lnTo>
                      <a:lnTo>
                        <a:pt x="269" y="478"/>
                      </a:lnTo>
                      <a:lnTo>
                        <a:pt x="258" y="475"/>
                      </a:lnTo>
                      <a:lnTo>
                        <a:pt x="247" y="472"/>
                      </a:lnTo>
                      <a:lnTo>
                        <a:pt x="236" y="470"/>
                      </a:lnTo>
                      <a:lnTo>
                        <a:pt x="225" y="469"/>
                      </a:lnTo>
                      <a:lnTo>
                        <a:pt x="218" y="469"/>
                      </a:lnTo>
                      <a:lnTo>
                        <a:pt x="209" y="470"/>
                      </a:lnTo>
                      <a:lnTo>
                        <a:pt x="201" y="472"/>
                      </a:lnTo>
                      <a:lnTo>
                        <a:pt x="195" y="474"/>
                      </a:lnTo>
                      <a:lnTo>
                        <a:pt x="180" y="480"/>
                      </a:lnTo>
                      <a:lnTo>
                        <a:pt x="168" y="487"/>
                      </a:lnTo>
                      <a:lnTo>
                        <a:pt x="157" y="495"/>
                      </a:lnTo>
                      <a:lnTo>
                        <a:pt x="146" y="505"/>
                      </a:lnTo>
                      <a:lnTo>
                        <a:pt x="136" y="515"/>
                      </a:lnTo>
                      <a:lnTo>
                        <a:pt x="127" y="524"/>
                      </a:lnTo>
                      <a:lnTo>
                        <a:pt x="133" y="512"/>
                      </a:lnTo>
                      <a:lnTo>
                        <a:pt x="106" y="505"/>
                      </a:lnTo>
                      <a:lnTo>
                        <a:pt x="133" y="487"/>
                      </a:lnTo>
                      <a:lnTo>
                        <a:pt x="106" y="463"/>
                      </a:lnTo>
                      <a:lnTo>
                        <a:pt x="79" y="438"/>
                      </a:lnTo>
                      <a:lnTo>
                        <a:pt x="40" y="438"/>
                      </a:lnTo>
                      <a:lnTo>
                        <a:pt x="27" y="413"/>
                      </a:lnTo>
                      <a:lnTo>
                        <a:pt x="7" y="401"/>
                      </a:lnTo>
                      <a:lnTo>
                        <a:pt x="0" y="370"/>
                      </a:lnTo>
                      <a:lnTo>
                        <a:pt x="0" y="333"/>
                      </a:lnTo>
                      <a:lnTo>
                        <a:pt x="13" y="308"/>
                      </a:lnTo>
                      <a:lnTo>
                        <a:pt x="20" y="283"/>
                      </a:lnTo>
                      <a:lnTo>
                        <a:pt x="53" y="302"/>
                      </a:lnTo>
                      <a:lnTo>
                        <a:pt x="86" y="314"/>
                      </a:lnTo>
                      <a:lnTo>
                        <a:pt x="106" y="308"/>
                      </a:lnTo>
                      <a:lnTo>
                        <a:pt x="79" y="277"/>
                      </a:lnTo>
                      <a:lnTo>
                        <a:pt x="113" y="259"/>
                      </a:lnTo>
                      <a:lnTo>
                        <a:pt x="146" y="228"/>
                      </a:lnTo>
                      <a:lnTo>
                        <a:pt x="179" y="222"/>
                      </a:lnTo>
                      <a:lnTo>
                        <a:pt x="219" y="222"/>
                      </a:lnTo>
                      <a:lnTo>
                        <a:pt x="246" y="210"/>
                      </a:lnTo>
                      <a:lnTo>
                        <a:pt x="292" y="222"/>
                      </a:lnTo>
                      <a:lnTo>
                        <a:pt x="338" y="241"/>
                      </a:lnTo>
                      <a:lnTo>
                        <a:pt x="379" y="277"/>
                      </a:lnTo>
                      <a:lnTo>
                        <a:pt x="425" y="271"/>
                      </a:lnTo>
                      <a:lnTo>
                        <a:pt x="465" y="253"/>
                      </a:lnTo>
                      <a:lnTo>
                        <a:pt x="498" y="253"/>
                      </a:lnTo>
                      <a:lnTo>
                        <a:pt x="538" y="247"/>
                      </a:lnTo>
                      <a:lnTo>
                        <a:pt x="578" y="265"/>
                      </a:lnTo>
                      <a:lnTo>
                        <a:pt x="624" y="277"/>
                      </a:lnTo>
                      <a:lnTo>
                        <a:pt x="671" y="271"/>
                      </a:lnTo>
                      <a:lnTo>
                        <a:pt x="717" y="253"/>
                      </a:lnTo>
                      <a:lnTo>
                        <a:pt x="717" y="228"/>
                      </a:lnTo>
                      <a:lnTo>
                        <a:pt x="684" y="222"/>
                      </a:lnTo>
                      <a:lnTo>
                        <a:pt x="645" y="210"/>
                      </a:lnTo>
                      <a:lnTo>
                        <a:pt x="617" y="198"/>
                      </a:lnTo>
                      <a:lnTo>
                        <a:pt x="658" y="185"/>
                      </a:lnTo>
                      <a:lnTo>
                        <a:pt x="651" y="148"/>
                      </a:lnTo>
                      <a:lnTo>
                        <a:pt x="704" y="142"/>
                      </a:lnTo>
                      <a:lnTo>
                        <a:pt x="638" y="93"/>
                      </a:lnTo>
                      <a:lnTo>
                        <a:pt x="744" y="75"/>
                      </a:lnTo>
                      <a:lnTo>
                        <a:pt x="830" y="68"/>
                      </a:lnTo>
                      <a:lnTo>
                        <a:pt x="844" y="43"/>
                      </a:lnTo>
                      <a:lnTo>
                        <a:pt x="904" y="37"/>
                      </a:lnTo>
                      <a:lnTo>
                        <a:pt x="963" y="25"/>
                      </a:lnTo>
                      <a:lnTo>
                        <a:pt x="983" y="0"/>
                      </a:lnTo>
                      <a:lnTo>
                        <a:pt x="1050" y="13"/>
                      </a:lnTo>
                      <a:lnTo>
                        <a:pt x="1089" y="6"/>
                      </a:lnTo>
                      <a:lnTo>
                        <a:pt x="1116" y="25"/>
                      </a:lnTo>
                      <a:lnTo>
                        <a:pt x="1122" y="75"/>
                      </a:lnTo>
                      <a:lnTo>
                        <a:pt x="1163" y="75"/>
                      </a:lnTo>
                      <a:lnTo>
                        <a:pt x="1176" y="61"/>
                      </a:lnTo>
                      <a:lnTo>
                        <a:pt x="1196" y="75"/>
                      </a:lnTo>
                      <a:lnTo>
                        <a:pt x="1235" y="81"/>
                      </a:lnTo>
                      <a:lnTo>
                        <a:pt x="1255" y="81"/>
                      </a:lnTo>
                      <a:lnTo>
                        <a:pt x="1255" y="117"/>
                      </a:lnTo>
                      <a:lnTo>
                        <a:pt x="1296" y="111"/>
                      </a:lnTo>
                      <a:lnTo>
                        <a:pt x="1335" y="93"/>
                      </a:lnTo>
                      <a:lnTo>
                        <a:pt x="1375" y="61"/>
                      </a:lnTo>
                      <a:lnTo>
                        <a:pt x="1401" y="49"/>
                      </a:lnTo>
                      <a:lnTo>
                        <a:pt x="1401" y="81"/>
                      </a:lnTo>
                      <a:lnTo>
                        <a:pt x="1442" y="99"/>
                      </a:lnTo>
                      <a:lnTo>
                        <a:pt x="1488" y="117"/>
                      </a:lnTo>
                      <a:lnTo>
                        <a:pt x="1528" y="160"/>
                      </a:lnTo>
                      <a:lnTo>
                        <a:pt x="1581" y="204"/>
                      </a:lnTo>
                      <a:lnTo>
                        <a:pt x="1627" y="241"/>
                      </a:lnTo>
                      <a:lnTo>
                        <a:pt x="1647" y="271"/>
                      </a:lnTo>
                      <a:lnTo>
                        <a:pt x="1660" y="241"/>
                      </a:lnTo>
                      <a:lnTo>
                        <a:pt x="1688" y="235"/>
                      </a:lnTo>
                      <a:lnTo>
                        <a:pt x="1708" y="259"/>
                      </a:lnTo>
                      <a:lnTo>
                        <a:pt x="1747" y="271"/>
                      </a:lnTo>
                      <a:lnTo>
                        <a:pt x="1793" y="265"/>
                      </a:lnTo>
                      <a:lnTo>
                        <a:pt x="1821" y="253"/>
                      </a:lnTo>
                      <a:lnTo>
                        <a:pt x="1860" y="283"/>
                      </a:lnTo>
                      <a:lnTo>
                        <a:pt x="1906" y="308"/>
                      </a:lnTo>
                      <a:lnTo>
                        <a:pt x="1947" y="333"/>
                      </a:lnTo>
                      <a:lnTo>
                        <a:pt x="2000" y="339"/>
                      </a:lnTo>
                      <a:lnTo>
                        <a:pt x="2006" y="346"/>
                      </a:lnTo>
                      <a:lnTo>
                        <a:pt x="2005" y="358"/>
                      </a:lnTo>
                      <a:lnTo>
                        <a:pt x="2004" y="373"/>
                      </a:lnTo>
                      <a:lnTo>
                        <a:pt x="2004" y="377"/>
                      </a:lnTo>
                      <a:lnTo>
                        <a:pt x="2002" y="381"/>
                      </a:lnTo>
                      <a:lnTo>
                        <a:pt x="2000" y="385"/>
                      </a:lnTo>
                      <a:lnTo>
                        <a:pt x="1996" y="388"/>
                      </a:lnTo>
                      <a:lnTo>
                        <a:pt x="1993" y="392"/>
                      </a:lnTo>
                      <a:lnTo>
                        <a:pt x="1988" y="395"/>
                      </a:lnTo>
                      <a:lnTo>
                        <a:pt x="1981" y="399"/>
                      </a:lnTo>
                      <a:lnTo>
                        <a:pt x="1973" y="401"/>
                      </a:lnTo>
                      <a:lnTo>
                        <a:pt x="1969" y="401"/>
                      </a:lnTo>
                      <a:lnTo>
                        <a:pt x="1965" y="402"/>
                      </a:lnTo>
                      <a:lnTo>
                        <a:pt x="1962" y="403"/>
                      </a:lnTo>
                      <a:lnTo>
                        <a:pt x="1960" y="404"/>
                      </a:lnTo>
                      <a:lnTo>
                        <a:pt x="1959" y="406"/>
                      </a:lnTo>
                      <a:lnTo>
                        <a:pt x="1958" y="408"/>
                      </a:lnTo>
                      <a:lnTo>
                        <a:pt x="1958" y="410"/>
                      </a:lnTo>
                      <a:lnTo>
                        <a:pt x="1958" y="413"/>
                      </a:lnTo>
                      <a:lnTo>
                        <a:pt x="1963" y="425"/>
                      </a:lnTo>
                      <a:lnTo>
                        <a:pt x="1972" y="438"/>
                      </a:lnTo>
                      <a:lnTo>
                        <a:pt x="1977" y="445"/>
                      </a:lnTo>
                      <a:lnTo>
                        <a:pt x="1981" y="452"/>
                      </a:lnTo>
                      <a:lnTo>
                        <a:pt x="1983" y="460"/>
                      </a:lnTo>
                      <a:lnTo>
                        <a:pt x="1985" y="466"/>
                      </a:lnTo>
                      <a:lnTo>
                        <a:pt x="1985" y="469"/>
                      </a:lnTo>
                      <a:lnTo>
                        <a:pt x="1984" y="471"/>
                      </a:lnTo>
                      <a:lnTo>
                        <a:pt x="1983" y="474"/>
                      </a:lnTo>
                      <a:lnTo>
                        <a:pt x="1982" y="476"/>
                      </a:lnTo>
                      <a:lnTo>
                        <a:pt x="1979" y="478"/>
                      </a:lnTo>
                      <a:lnTo>
                        <a:pt x="1976" y="479"/>
                      </a:lnTo>
                      <a:lnTo>
                        <a:pt x="1971" y="480"/>
                      </a:lnTo>
                      <a:lnTo>
                        <a:pt x="1967" y="481"/>
                      </a:lnTo>
                      <a:lnTo>
                        <a:pt x="1954" y="481"/>
                      </a:lnTo>
                      <a:lnTo>
                        <a:pt x="1939" y="481"/>
                      </a:lnTo>
                      <a:lnTo>
                        <a:pt x="1932" y="481"/>
                      </a:lnTo>
                      <a:lnTo>
                        <a:pt x="1923" y="480"/>
                      </a:lnTo>
                      <a:lnTo>
                        <a:pt x="1913" y="478"/>
                      </a:lnTo>
                      <a:lnTo>
                        <a:pt x="1903" y="476"/>
                      </a:lnTo>
                      <a:lnTo>
                        <a:pt x="1893" y="474"/>
                      </a:lnTo>
                      <a:lnTo>
                        <a:pt x="1883" y="471"/>
                      </a:lnTo>
                      <a:lnTo>
                        <a:pt x="1875" y="467"/>
                      </a:lnTo>
                      <a:lnTo>
                        <a:pt x="1867" y="463"/>
                      </a:lnTo>
                      <a:lnTo>
                        <a:pt x="1865" y="468"/>
                      </a:lnTo>
                      <a:lnTo>
                        <a:pt x="1864" y="474"/>
                      </a:lnTo>
                      <a:lnTo>
                        <a:pt x="1865" y="482"/>
                      </a:lnTo>
                      <a:lnTo>
                        <a:pt x="1865" y="490"/>
                      </a:lnTo>
                      <a:lnTo>
                        <a:pt x="1869" y="508"/>
                      </a:lnTo>
                      <a:lnTo>
                        <a:pt x="1873" y="529"/>
                      </a:lnTo>
                      <a:lnTo>
                        <a:pt x="1878" y="548"/>
                      </a:lnTo>
                      <a:lnTo>
                        <a:pt x="1882" y="564"/>
                      </a:lnTo>
                      <a:lnTo>
                        <a:pt x="1882" y="572"/>
                      </a:lnTo>
                      <a:lnTo>
                        <a:pt x="1882" y="578"/>
                      </a:lnTo>
                      <a:lnTo>
                        <a:pt x="1882" y="583"/>
                      </a:lnTo>
                      <a:lnTo>
                        <a:pt x="1880" y="586"/>
                      </a:lnTo>
                      <a:lnTo>
                        <a:pt x="1854" y="584"/>
                      </a:lnTo>
                      <a:lnTo>
                        <a:pt x="1816" y="584"/>
                      </a:lnTo>
                      <a:lnTo>
                        <a:pt x="1806" y="585"/>
                      </a:lnTo>
                      <a:lnTo>
                        <a:pt x="1798" y="586"/>
                      </a:lnTo>
                      <a:lnTo>
                        <a:pt x="1789" y="588"/>
                      </a:lnTo>
                      <a:lnTo>
                        <a:pt x="1782" y="591"/>
                      </a:lnTo>
                      <a:lnTo>
                        <a:pt x="1776" y="594"/>
                      </a:lnTo>
                      <a:lnTo>
                        <a:pt x="1771" y="598"/>
                      </a:lnTo>
                      <a:lnTo>
                        <a:pt x="1769" y="601"/>
                      </a:lnTo>
                      <a:lnTo>
                        <a:pt x="1768" y="604"/>
                      </a:lnTo>
                      <a:lnTo>
                        <a:pt x="1767" y="607"/>
                      </a:lnTo>
                      <a:lnTo>
                        <a:pt x="1767" y="610"/>
                      </a:lnTo>
                      <a:lnTo>
                        <a:pt x="1778" y="612"/>
                      </a:lnTo>
                      <a:lnTo>
                        <a:pt x="1788" y="615"/>
                      </a:lnTo>
                      <a:lnTo>
                        <a:pt x="1795" y="619"/>
                      </a:lnTo>
                      <a:lnTo>
                        <a:pt x="1801" y="625"/>
                      </a:lnTo>
                      <a:lnTo>
                        <a:pt x="1805" y="631"/>
                      </a:lnTo>
                      <a:lnTo>
                        <a:pt x="1809" y="637"/>
                      </a:lnTo>
                      <a:lnTo>
                        <a:pt x="1812" y="644"/>
                      </a:lnTo>
                      <a:lnTo>
                        <a:pt x="1814" y="650"/>
                      </a:lnTo>
                      <a:lnTo>
                        <a:pt x="1817" y="664"/>
                      </a:lnTo>
                      <a:lnTo>
                        <a:pt x="1822" y="676"/>
                      </a:lnTo>
                      <a:lnTo>
                        <a:pt x="1824" y="682"/>
                      </a:lnTo>
                      <a:lnTo>
                        <a:pt x="1828" y="686"/>
                      </a:lnTo>
                      <a:lnTo>
                        <a:pt x="1834" y="689"/>
                      </a:lnTo>
                      <a:lnTo>
                        <a:pt x="1840" y="691"/>
                      </a:lnTo>
                      <a:lnTo>
                        <a:pt x="1838" y="695"/>
                      </a:lnTo>
                      <a:lnTo>
                        <a:pt x="1837" y="699"/>
                      </a:lnTo>
                      <a:lnTo>
                        <a:pt x="1837" y="702"/>
                      </a:lnTo>
                      <a:lnTo>
                        <a:pt x="1837" y="706"/>
                      </a:lnTo>
                      <a:lnTo>
                        <a:pt x="1839" y="713"/>
                      </a:lnTo>
                      <a:lnTo>
                        <a:pt x="1840" y="721"/>
                      </a:lnTo>
                      <a:lnTo>
                        <a:pt x="1840" y="735"/>
                      </a:lnTo>
                      <a:lnTo>
                        <a:pt x="1838" y="748"/>
                      </a:lnTo>
                      <a:lnTo>
                        <a:pt x="1837" y="754"/>
                      </a:lnTo>
                      <a:lnTo>
                        <a:pt x="1835" y="760"/>
                      </a:lnTo>
                      <a:lnTo>
                        <a:pt x="1832" y="765"/>
                      </a:lnTo>
                      <a:lnTo>
                        <a:pt x="1827" y="770"/>
                      </a:lnTo>
                      <a:lnTo>
                        <a:pt x="1814" y="764"/>
                      </a:lnTo>
                      <a:lnTo>
                        <a:pt x="1741" y="740"/>
                      </a:lnTo>
                      <a:lnTo>
                        <a:pt x="1674" y="740"/>
                      </a:lnTo>
                      <a:lnTo>
                        <a:pt x="1614" y="734"/>
                      </a:lnTo>
                      <a:lnTo>
                        <a:pt x="1534" y="727"/>
                      </a:lnTo>
                      <a:lnTo>
                        <a:pt x="1488" y="715"/>
                      </a:lnTo>
                      <a:lnTo>
                        <a:pt x="1475" y="764"/>
                      </a:lnTo>
                      <a:lnTo>
                        <a:pt x="1414" y="740"/>
                      </a:lnTo>
                      <a:lnTo>
                        <a:pt x="1368" y="734"/>
                      </a:lnTo>
                      <a:lnTo>
                        <a:pt x="1342" y="758"/>
                      </a:lnTo>
                      <a:lnTo>
                        <a:pt x="1342" y="770"/>
                      </a:lnTo>
                      <a:lnTo>
                        <a:pt x="1316" y="795"/>
                      </a:lnTo>
                      <a:lnTo>
                        <a:pt x="1282" y="808"/>
                      </a:lnTo>
                      <a:lnTo>
                        <a:pt x="1255" y="838"/>
                      </a:lnTo>
                      <a:lnTo>
                        <a:pt x="1235" y="863"/>
                      </a:lnTo>
                      <a:lnTo>
                        <a:pt x="1196" y="832"/>
                      </a:lnTo>
                      <a:lnTo>
                        <a:pt x="1142" y="838"/>
                      </a:lnTo>
                      <a:lnTo>
                        <a:pt x="1122" y="808"/>
                      </a:lnTo>
                      <a:lnTo>
                        <a:pt x="1083" y="746"/>
                      </a:lnTo>
                      <a:lnTo>
                        <a:pt x="1050" y="715"/>
                      </a:lnTo>
                      <a:lnTo>
                        <a:pt x="1003" y="685"/>
                      </a:lnTo>
                      <a:lnTo>
                        <a:pt x="963" y="697"/>
                      </a:lnTo>
                      <a:lnTo>
                        <a:pt x="917" y="691"/>
                      </a:lnTo>
                      <a:lnTo>
                        <a:pt x="857" y="697"/>
                      </a:lnTo>
                      <a:lnTo>
                        <a:pt x="730" y="616"/>
                      </a:lnTo>
                      <a:lnTo>
                        <a:pt x="682" y="595"/>
                      </a:lnTo>
                      <a:lnTo>
                        <a:pt x="684" y="586"/>
                      </a:lnTo>
                      <a:lnTo>
                        <a:pt x="638" y="548"/>
                      </a:lnTo>
                      <a:lnTo>
                        <a:pt x="610" y="580"/>
                      </a:lnTo>
                      <a:lnTo>
                        <a:pt x="525" y="604"/>
                      </a:lnTo>
                      <a:lnTo>
                        <a:pt x="565" y="826"/>
                      </a:lnTo>
                      <a:lnTo>
                        <a:pt x="584" y="832"/>
                      </a:lnTo>
                      <a:lnTo>
                        <a:pt x="571" y="826"/>
                      </a:lnTo>
                    </a:path>
                  </a:pathLst>
                </a:custGeom>
                <a:grpFill/>
                <a:ln w="9525" cmpd="sng">
                  <a:solidFill>
                    <a:srgbClr val="FFFFFF"/>
                  </a:solidFill>
                  <a:prstDash val="solid"/>
                  <a:round/>
                  <a:headEnd/>
                  <a:tailEnd/>
                </a:ln>
              </p:spPr>
              <p:txBody>
                <a:bodyPr/>
                <a:lstStyle/>
                <a:p>
                  <a:endParaRPr lang="en-GB" sz="1637"/>
                </a:p>
              </p:txBody>
            </p:sp>
            <p:sp>
              <p:nvSpPr>
                <p:cNvPr id="327" name="Freeform 37"/>
                <p:cNvSpPr>
                  <a:spLocks/>
                </p:cNvSpPr>
                <p:nvPr>
                  <p:custDataLst>
                    <p:tags r:id="rId199"/>
                  </p:custDataLst>
                </p:nvPr>
              </p:nvSpPr>
              <p:spPr bwMode="auto">
                <a:xfrm>
                  <a:off x="7012896" y="3781338"/>
                  <a:ext cx="48523" cy="64475"/>
                </a:xfrm>
                <a:custGeom>
                  <a:avLst/>
                  <a:gdLst>
                    <a:gd name="T0" fmla="*/ 0 w 106"/>
                    <a:gd name="T1" fmla="*/ 5635 h 71"/>
                    <a:gd name="T2" fmla="*/ 5032 w 106"/>
                    <a:gd name="T3" fmla="*/ 8049 h 71"/>
                    <a:gd name="T4" fmla="*/ 10064 w 106"/>
                    <a:gd name="T5" fmla="*/ 9659 h 71"/>
                    <a:gd name="T6" fmla="*/ 14677 w 106"/>
                    <a:gd name="T7" fmla="*/ 10464 h 71"/>
                    <a:gd name="T8" fmla="*/ 18870 w 106"/>
                    <a:gd name="T9" fmla="*/ 10464 h 71"/>
                    <a:gd name="T10" fmla="*/ 22644 w 106"/>
                    <a:gd name="T11" fmla="*/ 8854 h 71"/>
                    <a:gd name="T12" fmla="*/ 25580 w 106"/>
                    <a:gd name="T13" fmla="*/ 6439 h 71"/>
                    <a:gd name="T14" fmla="*/ 28515 w 106"/>
                    <a:gd name="T15" fmla="*/ 4025 h 71"/>
                    <a:gd name="T16" fmla="*/ 31031 w 106"/>
                    <a:gd name="T17" fmla="*/ 0 h 71"/>
                    <a:gd name="T18" fmla="*/ 35225 w 106"/>
                    <a:gd name="T19" fmla="*/ 12879 h 71"/>
                    <a:gd name="T20" fmla="*/ 39418 w 106"/>
                    <a:gd name="T21" fmla="*/ 24148 h 71"/>
                    <a:gd name="T22" fmla="*/ 42353 w 106"/>
                    <a:gd name="T23" fmla="*/ 35417 h 71"/>
                    <a:gd name="T24" fmla="*/ 44031 w 106"/>
                    <a:gd name="T25" fmla="*/ 44271 h 71"/>
                    <a:gd name="T26" fmla="*/ 44450 w 106"/>
                    <a:gd name="T27" fmla="*/ 48296 h 71"/>
                    <a:gd name="T28" fmla="*/ 44450 w 106"/>
                    <a:gd name="T29" fmla="*/ 50711 h 71"/>
                    <a:gd name="T30" fmla="*/ 44031 w 106"/>
                    <a:gd name="T31" fmla="*/ 53930 h 71"/>
                    <a:gd name="T32" fmla="*/ 43192 w 106"/>
                    <a:gd name="T33" fmla="*/ 55540 h 71"/>
                    <a:gd name="T34" fmla="*/ 42353 w 106"/>
                    <a:gd name="T35" fmla="*/ 56345 h 71"/>
                    <a:gd name="T36" fmla="*/ 41095 w 106"/>
                    <a:gd name="T37" fmla="*/ 56345 h 71"/>
                    <a:gd name="T38" fmla="*/ 38579 w 106"/>
                    <a:gd name="T39" fmla="*/ 56345 h 71"/>
                    <a:gd name="T40" fmla="*/ 36483 w 106"/>
                    <a:gd name="T41" fmla="*/ 54735 h 71"/>
                    <a:gd name="T42" fmla="*/ 31031 w 106"/>
                    <a:gd name="T43" fmla="*/ 56345 h 71"/>
                    <a:gd name="T44" fmla="*/ 26418 w 106"/>
                    <a:gd name="T45" fmla="*/ 57150 h 71"/>
                    <a:gd name="T46" fmla="*/ 22225 w 106"/>
                    <a:gd name="T47" fmla="*/ 55540 h 71"/>
                    <a:gd name="T48" fmla="*/ 18870 w 106"/>
                    <a:gd name="T49" fmla="*/ 53125 h 71"/>
                    <a:gd name="T50" fmla="*/ 15516 w 106"/>
                    <a:gd name="T51" fmla="*/ 49906 h 71"/>
                    <a:gd name="T52" fmla="*/ 13419 w 106"/>
                    <a:gd name="T53" fmla="*/ 45881 h 71"/>
                    <a:gd name="T54" fmla="*/ 11322 w 106"/>
                    <a:gd name="T55" fmla="*/ 41051 h 71"/>
                    <a:gd name="T56" fmla="*/ 10064 w 106"/>
                    <a:gd name="T57" fmla="*/ 36222 h 71"/>
                    <a:gd name="T58" fmla="*/ 8806 w 106"/>
                    <a:gd name="T59" fmla="*/ 30587 h 71"/>
                    <a:gd name="T60" fmla="*/ 8387 w 106"/>
                    <a:gd name="T61" fmla="*/ 24148 h 71"/>
                    <a:gd name="T62" fmla="*/ 7967 w 106"/>
                    <a:gd name="T63" fmla="*/ 19318 h 71"/>
                    <a:gd name="T64" fmla="*/ 7548 w 106"/>
                    <a:gd name="T65" fmla="*/ 15294 h 71"/>
                    <a:gd name="T66" fmla="*/ 7548 w 106"/>
                    <a:gd name="T67" fmla="*/ 11269 h 71"/>
                    <a:gd name="T68" fmla="*/ 7967 w 106"/>
                    <a:gd name="T69" fmla="*/ 8049 h 71"/>
                    <a:gd name="T70" fmla="*/ 8387 w 106"/>
                    <a:gd name="T71" fmla="*/ 5635 h 71"/>
                    <a:gd name="T72" fmla="*/ 8806 w 106"/>
                    <a:gd name="T73" fmla="*/ 5635 h 71"/>
                    <a:gd name="T74" fmla="*/ 8387 w 106"/>
                    <a:gd name="T75" fmla="*/ 8049 h 71"/>
                    <a:gd name="T76" fmla="*/ 7967 w 106"/>
                    <a:gd name="T77" fmla="*/ 12879 h 71"/>
                    <a:gd name="T78" fmla="*/ 7967 w 106"/>
                    <a:gd name="T79" fmla="*/ 13684 h 71"/>
                    <a:gd name="T80" fmla="*/ 7967 w 106"/>
                    <a:gd name="T81" fmla="*/ 13684 h 71"/>
                    <a:gd name="T82" fmla="*/ 8387 w 106"/>
                    <a:gd name="T83" fmla="*/ 13684 h 71"/>
                    <a:gd name="T84" fmla="*/ 8806 w 106"/>
                    <a:gd name="T85" fmla="*/ 13684 h 71"/>
                    <a:gd name="T86" fmla="*/ 9645 w 106"/>
                    <a:gd name="T87" fmla="*/ 10464 h 71"/>
                    <a:gd name="T88" fmla="*/ 11322 w 106"/>
                    <a:gd name="T89" fmla="*/ 5635 h 71"/>
                    <a:gd name="T90" fmla="*/ 0 w 106"/>
                    <a:gd name="T91" fmla="*/ 5635 h 7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106" h="71">
                      <a:moveTo>
                        <a:pt x="0" y="7"/>
                      </a:moveTo>
                      <a:lnTo>
                        <a:pt x="12" y="10"/>
                      </a:lnTo>
                      <a:lnTo>
                        <a:pt x="24" y="12"/>
                      </a:lnTo>
                      <a:lnTo>
                        <a:pt x="35" y="13"/>
                      </a:lnTo>
                      <a:lnTo>
                        <a:pt x="45" y="13"/>
                      </a:lnTo>
                      <a:lnTo>
                        <a:pt x="54" y="11"/>
                      </a:lnTo>
                      <a:lnTo>
                        <a:pt x="61" y="8"/>
                      </a:lnTo>
                      <a:lnTo>
                        <a:pt x="68" y="5"/>
                      </a:lnTo>
                      <a:lnTo>
                        <a:pt x="74" y="0"/>
                      </a:lnTo>
                      <a:lnTo>
                        <a:pt x="84" y="16"/>
                      </a:lnTo>
                      <a:lnTo>
                        <a:pt x="94" y="30"/>
                      </a:lnTo>
                      <a:lnTo>
                        <a:pt x="101" y="44"/>
                      </a:lnTo>
                      <a:lnTo>
                        <a:pt x="105" y="55"/>
                      </a:lnTo>
                      <a:lnTo>
                        <a:pt x="106" y="60"/>
                      </a:lnTo>
                      <a:lnTo>
                        <a:pt x="106" y="63"/>
                      </a:lnTo>
                      <a:lnTo>
                        <a:pt x="105" y="67"/>
                      </a:lnTo>
                      <a:lnTo>
                        <a:pt x="103" y="69"/>
                      </a:lnTo>
                      <a:lnTo>
                        <a:pt x="101" y="70"/>
                      </a:lnTo>
                      <a:lnTo>
                        <a:pt x="98" y="70"/>
                      </a:lnTo>
                      <a:lnTo>
                        <a:pt x="92" y="70"/>
                      </a:lnTo>
                      <a:lnTo>
                        <a:pt x="87" y="68"/>
                      </a:lnTo>
                      <a:lnTo>
                        <a:pt x="74" y="70"/>
                      </a:lnTo>
                      <a:lnTo>
                        <a:pt x="63" y="71"/>
                      </a:lnTo>
                      <a:lnTo>
                        <a:pt x="53" y="69"/>
                      </a:lnTo>
                      <a:lnTo>
                        <a:pt x="45" y="66"/>
                      </a:lnTo>
                      <a:lnTo>
                        <a:pt x="37" y="62"/>
                      </a:lnTo>
                      <a:lnTo>
                        <a:pt x="32" y="57"/>
                      </a:lnTo>
                      <a:lnTo>
                        <a:pt x="27" y="51"/>
                      </a:lnTo>
                      <a:lnTo>
                        <a:pt x="24" y="45"/>
                      </a:lnTo>
                      <a:lnTo>
                        <a:pt x="21" y="38"/>
                      </a:lnTo>
                      <a:lnTo>
                        <a:pt x="20" y="30"/>
                      </a:lnTo>
                      <a:lnTo>
                        <a:pt x="19" y="24"/>
                      </a:lnTo>
                      <a:lnTo>
                        <a:pt x="18" y="19"/>
                      </a:lnTo>
                      <a:lnTo>
                        <a:pt x="18" y="14"/>
                      </a:lnTo>
                      <a:lnTo>
                        <a:pt x="19" y="10"/>
                      </a:lnTo>
                      <a:lnTo>
                        <a:pt x="20" y="7"/>
                      </a:lnTo>
                      <a:lnTo>
                        <a:pt x="21" y="7"/>
                      </a:lnTo>
                      <a:lnTo>
                        <a:pt x="20" y="10"/>
                      </a:lnTo>
                      <a:lnTo>
                        <a:pt x="19" y="16"/>
                      </a:lnTo>
                      <a:lnTo>
                        <a:pt x="19" y="17"/>
                      </a:lnTo>
                      <a:lnTo>
                        <a:pt x="20" y="17"/>
                      </a:lnTo>
                      <a:lnTo>
                        <a:pt x="21" y="17"/>
                      </a:lnTo>
                      <a:lnTo>
                        <a:pt x="23" y="13"/>
                      </a:lnTo>
                      <a:lnTo>
                        <a:pt x="27" y="7"/>
                      </a:lnTo>
                      <a:lnTo>
                        <a:pt x="0" y="7"/>
                      </a:lnTo>
                    </a:path>
                  </a:pathLst>
                </a:custGeom>
                <a:grpFill/>
                <a:ln w="9525" cmpd="sng">
                  <a:solidFill>
                    <a:srgbClr val="FFFFFF"/>
                  </a:solidFill>
                  <a:prstDash val="solid"/>
                  <a:round/>
                  <a:headEnd/>
                  <a:tailEnd/>
                </a:ln>
              </p:spPr>
              <p:txBody>
                <a:bodyPr/>
                <a:lstStyle/>
                <a:p>
                  <a:endParaRPr lang="en-GB" sz="1637"/>
                </a:p>
              </p:txBody>
            </p:sp>
            <p:sp>
              <p:nvSpPr>
                <p:cNvPr id="328" name="Freeform 77"/>
                <p:cNvSpPr>
                  <a:spLocks/>
                </p:cNvSpPr>
                <p:nvPr>
                  <p:custDataLst>
                    <p:tags r:id="rId200"/>
                  </p:custDataLst>
                </p:nvPr>
              </p:nvSpPr>
              <p:spPr bwMode="auto">
                <a:xfrm>
                  <a:off x="7567449" y="3677462"/>
                  <a:ext cx="10398" cy="64475"/>
                </a:xfrm>
                <a:custGeom>
                  <a:avLst/>
                  <a:gdLst>
                    <a:gd name="T0" fmla="*/ 0 w 21"/>
                    <a:gd name="T1" fmla="*/ 39636 h 62"/>
                    <a:gd name="T2" fmla="*/ 454 w 21"/>
                    <a:gd name="T3" fmla="*/ 26731 h 62"/>
                    <a:gd name="T4" fmla="*/ 1361 w 21"/>
                    <a:gd name="T5" fmla="*/ 15670 h 62"/>
                    <a:gd name="T6" fmla="*/ 1814 w 21"/>
                    <a:gd name="T7" fmla="*/ 10140 h 62"/>
                    <a:gd name="T8" fmla="*/ 2721 w 21"/>
                    <a:gd name="T9" fmla="*/ 6452 h 62"/>
                    <a:gd name="T10" fmla="*/ 4082 w 21"/>
                    <a:gd name="T11" fmla="*/ 2765 h 62"/>
                    <a:gd name="T12" fmla="*/ 6804 w 21"/>
                    <a:gd name="T13" fmla="*/ 0 h 62"/>
                    <a:gd name="T14" fmla="*/ 6804 w 21"/>
                    <a:gd name="T15" fmla="*/ 13827 h 62"/>
                    <a:gd name="T16" fmla="*/ 8164 w 21"/>
                    <a:gd name="T17" fmla="*/ 28575 h 62"/>
                    <a:gd name="T18" fmla="*/ 9071 w 21"/>
                    <a:gd name="T19" fmla="*/ 40558 h 62"/>
                    <a:gd name="T20" fmla="*/ 9525 w 21"/>
                    <a:gd name="T21" fmla="*/ 45167 h 62"/>
                    <a:gd name="T22" fmla="*/ 4536 w 21"/>
                    <a:gd name="T23" fmla="*/ 50698 h 62"/>
                    <a:gd name="T24" fmla="*/ 0 w 21"/>
                    <a:gd name="T25" fmla="*/ 57150 h 62"/>
                    <a:gd name="T26" fmla="*/ 0 w 21"/>
                    <a:gd name="T27" fmla="*/ 39636 h 6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1" h="62">
                      <a:moveTo>
                        <a:pt x="0" y="43"/>
                      </a:moveTo>
                      <a:lnTo>
                        <a:pt x="1" y="29"/>
                      </a:lnTo>
                      <a:lnTo>
                        <a:pt x="3" y="17"/>
                      </a:lnTo>
                      <a:lnTo>
                        <a:pt x="4" y="11"/>
                      </a:lnTo>
                      <a:lnTo>
                        <a:pt x="6" y="7"/>
                      </a:lnTo>
                      <a:lnTo>
                        <a:pt x="9" y="3"/>
                      </a:lnTo>
                      <a:lnTo>
                        <a:pt x="15" y="0"/>
                      </a:lnTo>
                      <a:lnTo>
                        <a:pt x="15" y="15"/>
                      </a:lnTo>
                      <a:lnTo>
                        <a:pt x="18" y="31"/>
                      </a:lnTo>
                      <a:lnTo>
                        <a:pt x="20" y="44"/>
                      </a:lnTo>
                      <a:lnTo>
                        <a:pt x="21" y="49"/>
                      </a:lnTo>
                      <a:lnTo>
                        <a:pt x="10" y="55"/>
                      </a:lnTo>
                      <a:lnTo>
                        <a:pt x="0" y="62"/>
                      </a:lnTo>
                      <a:lnTo>
                        <a:pt x="0" y="43"/>
                      </a:lnTo>
                    </a:path>
                  </a:pathLst>
                </a:custGeom>
                <a:grpFill/>
                <a:ln w="9525" cmpd="sng">
                  <a:solidFill>
                    <a:srgbClr val="FFFFFF"/>
                  </a:solidFill>
                  <a:prstDash val="solid"/>
                  <a:round/>
                  <a:headEnd/>
                  <a:tailEnd/>
                </a:ln>
              </p:spPr>
              <p:txBody>
                <a:bodyPr/>
                <a:lstStyle/>
                <a:p>
                  <a:endParaRPr lang="en-GB" sz="1637"/>
                </a:p>
              </p:txBody>
            </p:sp>
            <p:sp>
              <p:nvSpPr>
                <p:cNvPr id="329" name="Freeform 80"/>
                <p:cNvSpPr>
                  <a:spLocks/>
                </p:cNvSpPr>
                <p:nvPr>
                  <p:custDataLst>
                    <p:tags r:id="rId201"/>
                  </p:custDataLst>
                </p:nvPr>
              </p:nvSpPr>
              <p:spPr bwMode="auto">
                <a:xfrm>
                  <a:off x="7636768" y="3664925"/>
                  <a:ext cx="1734" cy="62684"/>
                </a:xfrm>
                <a:custGeom>
                  <a:avLst/>
                  <a:gdLst>
                    <a:gd name="T0" fmla="*/ 0 w 7"/>
                    <a:gd name="T1" fmla="*/ 0 h 55563"/>
                    <a:gd name="T2" fmla="*/ 1588 w 7"/>
                    <a:gd name="T3" fmla="*/ 0 h 55563"/>
                    <a:gd name="T4" fmla="*/ 0 w 7"/>
                    <a:gd name="T5" fmla="*/ 0 h 55563"/>
                    <a:gd name="T6" fmla="*/ 0 60000 65536"/>
                    <a:gd name="T7" fmla="*/ 0 60000 65536"/>
                    <a:gd name="T8" fmla="*/ 0 60000 65536"/>
                  </a:gdLst>
                  <a:ahLst/>
                  <a:cxnLst>
                    <a:cxn ang="T6">
                      <a:pos x="T0" y="T1"/>
                    </a:cxn>
                    <a:cxn ang="T7">
                      <a:pos x="T2" y="T3"/>
                    </a:cxn>
                    <a:cxn ang="T8">
                      <a:pos x="T4" y="T5"/>
                    </a:cxn>
                  </a:cxnLst>
                  <a:rect l="0" t="0" r="r" b="b"/>
                  <a:pathLst>
                    <a:path w="7" h="55563">
                      <a:moveTo>
                        <a:pt x="0" y="0"/>
                      </a:moveTo>
                      <a:lnTo>
                        <a:pt x="7" y="0"/>
                      </a:lnTo>
                      <a:lnTo>
                        <a:pt x="0" y="0"/>
                      </a:lnTo>
                    </a:path>
                  </a:pathLst>
                </a:custGeom>
                <a:grpFill/>
                <a:ln w="9525" cmpd="sng">
                  <a:solidFill>
                    <a:srgbClr val="FFFFFF"/>
                  </a:solidFill>
                  <a:prstDash val="solid"/>
                  <a:round/>
                  <a:headEnd/>
                  <a:tailEnd/>
                </a:ln>
              </p:spPr>
              <p:txBody>
                <a:bodyPr/>
                <a:lstStyle/>
                <a:p>
                  <a:endParaRPr lang="en-GB" sz="1637"/>
                </a:p>
              </p:txBody>
            </p:sp>
            <p:sp>
              <p:nvSpPr>
                <p:cNvPr id="330" name="Freeform 161"/>
                <p:cNvSpPr>
                  <a:spLocks/>
                </p:cNvSpPr>
                <p:nvPr>
                  <p:custDataLst>
                    <p:tags r:id="rId202"/>
                  </p:custDataLst>
                </p:nvPr>
              </p:nvSpPr>
              <p:spPr bwMode="auto">
                <a:xfrm>
                  <a:off x="6012967" y="2119323"/>
                  <a:ext cx="795437" cy="374311"/>
                </a:xfrm>
                <a:custGeom>
                  <a:avLst/>
                  <a:gdLst>
                    <a:gd name="T0" fmla="*/ 13813 w 1688"/>
                    <a:gd name="T1" fmla="*/ 113756 h 630"/>
                    <a:gd name="T2" fmla="*/ 37124 w 1688"/>
                    <a:gd name="T3" fmla="*/ 131135 h 630"/>
                    <a:gd name="T4" fmla="*/ 66909 w 1688"/>
                    <a:gd name="T5" fmla="*/ 139035 h 630"/>
                    <a:gd name="T6" fmla="*/ 82449 w 1688"/>
                    <a:gd name="T7" fmla="*/ 147988 h 630"/>
                    <a:gd name="T8" fmla="*/ 102738 w 1688"/>
                    <a:gd name="T9" fmla="*/ 174320 h 630"/>
                    <a:gd name="T10" fmla="*/ 109213 w 1688"/>
                    <a:gd name="T11" fmla="*/ 183799 h 630"/>
                    <a:gd name="T12" fmla="*/ 109645 w 1688"/>
                    <a:gd name="T13" fmla="*/ 203285 h 630"/>
                    <a:gd name="T14" fmla="*/ 117846 w 1688"/>
                    <a:gd name="T15" fmla="*/ 214872 h 630"/>
                    <a:gd name="T16" fmla="*/ 147200 w 1688"/>
                    <a:gd name="T17" fmla="*/ 219085 h 630"/>
                    <a:gd name="T18" fmla="*/ 199864 w 1688"/>
                    <a:gd name="T19" fmla="*/ 238044 h 630"/>
                    <a:gd name="T20" fmla="*/ 235693 w 1688"/>
                    <a:gd name="T21" fmla="*/ 246997 h 630"/>
                    <a:gd name="T22" fmla="*/ 248211 w 1688"/>
                    <a:gd name="T23" fmla="*/ 268589 h 630"/>
                    <a:gd name="T24" fmla="*/ 268500 w 1688"/>
                    <a:gd name="T25" fmla="*/ 285442 h 630"/>
                    <a:gd name="T26" fmla="*/ 289220 w 1688"/>
                    <a:gd name="T27" fmla="*/ 292289 h 630"/>
                    <a:gd name="T28" fmla="*/ 395843 w 1688"/>
                    <a:gd name="T29" fmla="*/ 303348 h 630"/>
                    <a:gd name="T30" fmla="*/ 447644 w 1688"/>
                    <a:gd name="T31" fmla="*/ 323361 h 630"/>
                    <a:gd name="T32" fmla="*/ 482177 w 1688"/>
                    <a:gd name="T33" fmla="*/ 331787 h 630"/>
                    <a:gd name="T34" fmla="*/ 499444 w 1688"/>
                    <a:gd name="T35" fmla="*/ 322834 h 630"/>
                    <a:gd name="T36" fmla="*/ 580167 w 1688"/>
                    <a:gd name="T37" fmla="*/ 297028 h 630"/>
                    <a:gd name="T38" fmla="*/ 602182 w 1688"/>
                    <a:gd name="T39" fmla="*/ 268589 h 630"/>
                    <a:gd name="T40" fmla="*/ 605636 w 1688"/>
                    <a:gd name="T41" fmla="*/ 254370 h 630"/>
                    <a:gd name="T42" fmla="*/ 598297 w 1688"/>
                    <a:gd name="T43" fmla="*/ 239624 h 630"/>
                    <a:gd name="T44" fmla="*/ 591390 w 1688"/>
                    <a:gd name="T45" fmla="*/ 218558 h 630"/>
                    <a:gd name="T46" fmla="*/ 647076 w 1688"/>
                    <a:gd name="T47" fmla="*/ 207499 h 630"/>
                    <a:gd name="T48" fmla="*/ 688085 w 1688"/>
                    <a:gd name="T49" fmla="*/ 180640 h 630"/>
                    <a:gd name="T50" fmla="*/ 712690 w 1688"/>
                    <a:gd name="T51" fmla="*/ 171160 h 630"/>
                    <a:gd name="T52" fmla="*/ 728662 w 1688"/>
                    <a:gd name="T53" fmla="*/ 156414 h 630"/>
                    <a:gd name="T54" fmla="*/ 714849 w 1688"/>
                    <a:gd name="T55" fmla="*/ 146934 h 630"/>
                    <a:gd name="T56" fmla="*/ 698877 w 1688"/>
                    <a:gd name="T57" fmla="*/ 132715 h 630"/>
                    <a:gd name="T58" fmla="*/ 683336 w 1688"/>
                    <a:gd name="T59" fmla="*/ 130608 h 630"/>
                    <a:gd name="T60" fmla="*/ 670386 w 1688"/>
                    <a:gd name="T61" fmla="*/ 135875 h 630"/>
                    <a:gd name="T62" fmla="*/ 646213 w 1688"/>
                    <a:gd name="T63" fmla="*/ 134821 h 630"/>
                    <a:gd name="T64" fmla="*/ 628946 w 1688"/>
                    <a:gd name="T65" fmla="*/ 123762 h 630"/>
                    <a:gd name="T66" fmla="*/ 619017 w 1688"/>
                    <a:gd name="T67" fmla="*/ 98483 h 630"/>
                    <a:gd name="T68" fmla="*/ 590095 w 1688"/>
                    <a:gd name="T69" fmla="*/ 65304 h 630"/>
                    <a:gd name="T70" fmla="*/ 555130 w 1688"/>
                    <a:gd name="T71" fmla="*/ 63198 h 630"/>
                    <a:gd name="T72" fmla="*/ 543906 w 1688"/>
                    <a:gd name="T73" fmla="*/ 77417 h 630"/>
                    <a:gd name="T74" fmla="*/ 533546 w 1688"/>
                    <a:gd name="T75" fmla="*/ 86897 h 630"/>
                    <a:gd name="T76" fmla="*/ 504193 w 1688"/>
                    <a:gd name="T77" fmla="*/ 87950 h 630"/>
                    <a:gd name="T78" fmla="*/ 450665 w 1688"/>
                    <a:gd name="T79" fmla="*/ 87950 h 630"/>
                    <a:gd name="T80" fmla="*/ 425628 w 1688"/>
                    <a:gd name="T81" fmla="*/ 73730 h 630"/>
                    <a:gd name="T82" fmla="*/ 398001 w 1688"/>
                    <a:gd name="T83" fmla="*/ 56878 h 630"/>
                    <a:gd name="T84" fmla="*/ 367784 w 1688"/>
                    <a:gd name="T85" fmla="*/ 52665 h 630"/>
                    <a:gd name="T86" fmla="*/ 345769 w 1688"/>
                    <a:gd name="T87" fmla="*/ 60038 h 630"/>
                    <a:gd name="T88" fmla="*/ 319437 w 1688"/>
                    <a:gd name="T89" fmla="*/ 61091 h 630"/>
                    <a:gd name="T90" fmla="*/ 298717 w 1688"/>
                    <a:gd name="T91" fmla="*/ 53191 h 630"/>
                    <a:gd name="T92" fmla="*/ 285767 w 1688"/>
                    <a:gd name="T93" fmla="*/ 35812 h 630"/>
                    <a:gd name="T94" fmla="*/ 192526 w 1688"/>
                    <a:gd name="T95" fmla="*/ 3687 h 630"/>
                    <a:gd name="T96" fmla="*/ 192526 w 1688"/>
                    <a:gd name="T97" fmla="*/ 23172 h 630"/>
                    <a:gd name="T98" fmla="*/ 203317 w 1688"/>
                    <a:gd name="T99" fmla="*/ 41605 h 630"/>
                    <a:gd name="T100" fmla="*/ 211519 w 1688"/>
                    <a:gd name="T101" fmla="*/ 55824 h 630"/>
                    <a:gd name="T102" fmla="*/ 132523 w 1688"/>
                    <a:gd name="T103" fmla="*/ 64251 h 630"/>
                    <a:gd name="T104" fmla="*/ 126912 w 1688"/>
                    <a:gd name="T105" fmla="*/ 45818 h 630"/>
                    <a:gd name="T106" fmla="*/ 97126 w 1688"/>
                    <a:gd name="T107" fmla="*/ 51085 h 630"/>
                    <a:gd name="T108" fmla="*/ 79859 w 1688"/>
                    <a:gd name="T109" fmla="*/ 46345 h 630"/>
                    <a:gd name="T110" fmla="*/ 59571 w 1688"/>
                    <a:gd name="T111" fmla="*/ 51085 h 630"/>
                    <a:gd name="T112" fmla="*/ 29354 w 1688"/>
                    <a:gd name="T113" fmla="*/ 75310 h 630"/>
                    <a:gd name="T114" fmla="*/ 13382 w 1688"/>
                    <a:gd name="T115" fmla="*/ 79524 h 630"/>
                    <a:gd name="T116" fmla="*/ 1727 w 1688"/>
                    <a:gd name="T117" fmla="*/ 89003 h 63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688" h="630">
                      <a:moveTo>
                        <a:pt x="0" y="180"/>
                      </a:moveTo>
                      <a:lnTo>
                        <a:pt x="7" y="190"/>
                      </a:lnTo>
                      <a:lnTo>
                        <a:pt x="15" y="199"/>
                      </a:lnTo>
                      <a:lnTo>
                        <a:pt x="22" y="208"/>
                      </a:lnTo>
                      <a:lnTo>
                        <a:pt x="32" y="216"/>
                      </a:lnTo>
                      <a:lnTo>
                        <a:pt x="41" y="224"/>
                      </a:lnTo>
                      <a:lnTo>
                        <a:pt x="51" y="232"/>
                      </a:lnTo>
                      <a:lnTo>
                        <a:pt x="62" y="238"/>
                      </a:lnTo>
                      <a:lnTo>
                        <a:pt x="74" y="244"/>
                      </a:lnTo>
                      <a:lnTo>
                        <a:pt x="86" y="249"/>
                      </a:lnTo>
                      <a:lnTo>
                        <a:pt x="99" y="253"/>
                      </a:lnTo>
                      <a:lnTo>
                        <a:pt x="112" y="257"/>
                      </a:lnTo>
                      <a:lnTo>
                        <a:pt x="126" y="260"/>
                      </a:lnTo>
                      <a:lnTo>
                        <a:pt x="140" y="262"/>
                      </a:lnTo>
                      <a:lnTo>
                        <a:pt x="155" y="264"/>
                      </a:lnTo>
                      <a:lnTo>
                        <a:pt x="171" y="265"/>
                      </a:lnTo>
                      <a:lnTo>
                        <a:pt x="187" y="266"/>
                      </a:lnTo>
                      <a:lnTo>
                        <a:pt x="187" y="270"/>
                      </a:lnTo>
                      <a:lnTo>
                        <a:pt x="189" y="276"/>
                      </a:lnTo>
                      <a:lnTo>
                        <a:pt x="191" y="281"/>
                      </a:lnTo>
                      <a:lnTo>
                        <a:pt x="196" y="288"/>
                      </a:lnTo>
                      <a:lnTo>
                        <a:pt x="205" y="300"/>
                      </a:lnTo>
                      <a:lnTo>
                        <a:pt x="215" y="312"/>
                      </a:lnTo>
                      <a:lnTo>
                        <a:pt x="227" y="323"/>
                      </a:lnTo>
                      <a:lnTo>
                        <a:pt x="238" y="331"/>
                      </a:lnTo>
                      <a:lnTo>
                        <a:pt x="242" y="335"/>
                      </a:lnTo>
                      <a:lnTo>
                        <a:pt x="246" y="337"/>
                      </a:lnTo>
                      <a:lnTo>
                        <a:pt x="251" y="340"/>
                      </a:lnTo>
                      <a:lnTo>
                        <a:pt x="253" y="340"/>
                      </a:lnTo>
                      <a:lnTo>
                        <a:pt x="253" y="349"/>
                      </a:lnTo>
                      <a:lnTo>
                        <a:pt x="253" y="358"/>
                      </a:lnTo>
                      <a:lnTo>
                        <a:pt x="253" y="365"/>
                      </a:lnTo>
                      <a:lnTo>
                        <a:pt x="253" y="370"/>
                      </a:lnTo>
                      <a:lnTo>
                        <a:pt x="253" y="379"/>
                      </a:lnTo>
                      <a:lnTo>
                        <a:pt x="254" y="386"/>
                      </a:lnTo>
                      <a:lnTo>
                        <a:pt x="256" y="394"/>
                      </a:lnTo>
                      <a:lnTo>
                        <a:pt x="260" y="402"/>
                      </a:lnTo>
                      <a:lnTo>
                        <a:pt x="262" y="404"/>
                      </a:lnTo>
                      <a:lnTo>
                        <a:pt x="266" y="406"/>
                      </a:lnTo>
                      <a:lnTo>
                        <a:pt x="273" y="408"/>
                      </a:lnTo>
                      <a:lnTo>
                        <a:pt x="280" y="410"/>
                      </a:lnTo>
                      <a:lnTo>
                        <a:pt x="296" y="413"/>
                      </a:lnTo>
                      <a:lnTo>
                        <a:pt x="307" y="414"/>
                      </a:lnTo>
                      <a:lnTo>
                        <a:pt x="323" y="414"/>
                      </a:lnTo>
                      <a:lnTo>
                        <a:pt x="341" y="416"/>
                      </a:lnTo>
                      <a:lnTo>
                        <a:pt x="356" y="419"/>
                      </a:lnTo>
                      <a:lnTo>
                        <a:pt x="373" y="422"/>
                      </a:lnTo>
                      <a:lnTo>
                        <a:pt x="403" y="431"/>
                      </a:lnTo>
                      <a:lnTo>
                        <a:pt x="433" y="441"/>
                      </a:lnTo>
                      <a:lnTo>
                        <a:pt x="463" y="452"/>
                      </a:lnTo>
                      <a:lnTo>
                        <a:pt x="490" y="461"/>
                      </a:lnTo>
                      <a:lnTo>
                        <a:pt x="504" y="464"/>
                      </a:lnTo>
                      <a:lnTo>
                        <a:pt x="518" y="467"/>
                      </a:lnTo>
                      <a:lnTo>
                        <a:pt x="532" y="469"/>
                      </a:lnTo>
                      <a:lnTo>
                        <a:pt x="546" y="469"/>
                      </a:lnTo>
                      <a:lnTo>
                        <a:pt x="548" y="477"/>
                      </a:lnTo>
                      <a:lnTo>
                        <a:pt x="554" y="485"/>
                      </a:lnTo>
                      <a:lnTo>
                        <a:pt x="559" y="493"/>
                      </a:lnTo>
                      <a:lnTo>
                        <a:pt x="566" y="501"/>
                      </a:lnTo>
                      <a:lnTo>
                        <a:pt x="575" y="510"/>
                      </a:lnTo>
                      <a:lnTo>
                        <a:pt x="583" y="517"/>
                      </a:lnTo>
                      <a:lnTo>
                        <a:pt x="592" y="524"/>
                      </a:lnTo>
                      <a:lnTo>
                        <a:pt x="602" y="531"/>
                      </a:lnTo>
                      <a:lnTo>
                        <a:pt x="612" y="537"/>
                      </a:lnTo>
                      <a:lnTo>
                        <a:pt x="622" y="542"/>
                      </a:lnTo>
                      <a:lnTo>
                        <a:pt x="633" y="547"/>
                      </a:lnTo>
                      <a:lnTo>
                        <a:pt x="643" y="550"/>
                      </a:lnTo>
                      <a:lnTo>
                        <a:pt x="653" y="553"/>
                      </a:lnTo>
                      <a:lnTo>
                        <a:pt x="661" y="555"/>
                      </a:lnTo>
                      <a:lnTo>
                        <a:pt x="670" y="555"/>
                      </a:lnTo>
                      <a:lnTo>
                        <a:pt x="679" y="555"/>
                      </a:lnTo>
                      <a:lnTo>
                        <a:pt x="738" y="568"/>
                      </a:lnTo>
                      <a:lnTo>
                        <a:pt x="904" y="568"/>
                      </a:lnTo>
                      <a:lnTo>
                        <a:pt x="910" y="572"/>
                      </a:lnTo>
                      <a:lnTo>
                        <a:pt x="917" y="576"/>
                      </a:lnTo>
                      <a:lnTo>
                        <a:pt x="928" y="580"/>
                      </a:lnTo>
                      <a:lnTo>
                        <a:pt x="940" y="585"/>
                      </a:lnTo>
                      <a:lnTo>
                        <a:pt x="970" y="595"/>
                      </a:lnTo>
                      <a:lnTo>
                        <a:pt x="1003" y="605"/>
                      </a:lnTo>
                      <a:lnTo>
                        <a:pt x="1037" y="614"/>
                      </a:lnTo>
                      <a:lnTo>
                        <a:pt x="1070" y="623"/>
                      </a:lnTo>
                      <a:lnTo>
                        <a:pt x="1084" y="626"/>
                      </a:lnTo>
                      <a:lnTo>
                        <a:pt x="1097" y="628"/>
                      </a:lnTo>
                      <a:lnTo>
                        <a:pt x="1108" y="629"/>
                      </a:lnTo>
                      <a:lnTo>
                        <a:pt x="1117" y="630"/>
                      </a:lnTo>
                      <a:lnTo>
                        <a:pt x="1121" y="629"/>
                      </a:lnTo>
                      <a:lnTo>
                        <a:pt x="1127" y="627"/>
                      </a:lnTo>
                      <a:lnTo>
                        <a:pt x="1134" y="625"/>
                      </a:lnTo>
                      <a:lnTo>
                        <a:pt x="1140" y="622"/>
                      </a:lnTo>
                      <a:lnTo>
                        <a:pt x="1157" y="613"/>
                      </a:lnTo>
                      <a:lnTo>
                        <a:pt x="1174" y="603"/>
                      </a:lnTo>
                      <a:lnTo>
                        <a:pt x="1209" y="583"/>
                      </a:lnTo>
                      <a:lnTo>
                        <a:pt x="1237" y="568"/>
                      </a:lnTo>
                      <a:lnTo>
                        <a:pt x="1337" y="568"/>
                      </a:lnTo>
                      <a:lnTo>
                        <a:pt x="1344" y="564"/>
                      </a:lnTo>
                      <a:lnTo>
                        <a:pt x="1355" y="556"/>
                      </a:lnTo>
                      <a:lnTo>
                        <a:pt x="1366" y="546"/>
                      </a:lnTo>
                      <a:lnTo>
                        <a:pt x="1377" y="534"/>
                      </a:lnTo>
                      <a:lnTo>
                        <a:pt x="1387" y="522"/>
                      </a:lnTo>
                      <a:lnTo>
                        <a:pt x="1395" y="510"/>
                      </a:lnTo>
                      <a:lnTo>
                        <a:pt x="1398" y="503"/>
                      </a:lnTo>
                      <a:lnTo>
                        <a:pt x="1400" y="497"/>
                      </a:lnTo>
                      <a:lnTo>
                        <a:pt x="1403" y="492"/>
                      </a:lnTo>
                      <a:lnTo>
                        <a:pt x="1403" y="487"/>
                      </a:lnTo>
                      <a:lnTo>
                        <a:pt x="1403" y="483"/>
                      </a:lnTo>
                      <a:lnTo>
                        <a:pt x="1401" y="479"/>
                      </a:lnTo>
                      <a:lnTo>
                        <a:pt x="1399" y="475"/>
                      </a:lnTo>
                      <a:lnTo>
                        <a:pt x="1397" y="471"/>
                      </a:lnTo>
                      <a:lnTo>
                        <a:pt x="1392" y="463"/>
                      </a:lnTo>
                      <a:lnTo>
                        <a:pt x="1386" y="455"/>
                      </a:lnTo>
                      <a:lnTo>
                        <a:pt x="1379" y="445"/>
                      </a:lnTo>
                      <a:lnTo>
                        <a:pt x="1374" y="434"/>
                      </a:lnTo>
                      <a:lnTo>
                        <a:pt x="1373" y="429"/>
                      </a:lnTo>
                      <a:lnTo>
                        <a:pt x="1371" y="422"/>
                      </a:lnTo>
                      <a:lnTo>
                        <a:pt x="1370" y="415"/>
                      </a:lnTo>
                      <a:lnTo>
                        <a:pt x="1370" y="408"/>
                      </a:lnTo>
                      <a:lnTo>
                        <a:pt x="1483" y="408"/>
                      </a:lnTo>
                      <a:lnTo>
                        <a:pt x="1486" y="404"/>
                      </a:lnTo>
                      <a:lnTo>
                        <a:pt x="1491" y="399"/>
                      </a:lnTo>
                      <a:lnTo>
                        <a:pt x="1499" y="394"/>
                      </a:lnTo>
                      <a:lnTo>
                        <a:pt x="1508" y="388"/>
                      </a:lnTo>
                      <a:lnTo>
                        <a:pt x="1529" y="376"/>
                      </a:lnTo>
                      <a:lnTo>
                        <a:pt x="1551" y="364"/>
                      </a:lnTo>
                      <a:lnTo>
                        <a:pt x="1574" y="352"/>
                      </a:lnTo>
                      <a:lnTo>
                        <a:pt x="1594" y="343"/>
                      </a:lnTo>
                      <a:lnTo>
                        <a:pt x="1608" y="335"/>
                      </a:lnTo>
                      <a:lnTo>
                        <a:pt x="1616" y="333"/>
                      </a:lnTo>
                      <a:lnTo>
                        <a:pt x="1628" y="332"/>
                      </a:lnTo>
                      <a:lnTo>
                        <a:pt x="1640" y="329"/>
                      </a:lnTo>
                      <a:lnTo>
                        <a:pt x="1651" y="325"/>
                      </a:lnTo>
                      <a:lnTo>
                        <a:pt x="1662" y="319"/>
                      </a:lnTo>
                      <a:lnTo>
                        <a:pt x="1670" y="314"/>
                      </a:lnTo>
                      <a:lnTo>
                        <a:pt x="1679" y="308"/>
                      </a:lnTo>
                      <a:lnTo>
                        <a:pt x="1685" y="302"/>
                      </a:lnTo>
                      <a:lnTo>
                        <a:pt x="1688" y="297"/>
                      </a:lnTo>
                      <a:lnTo>
                        <a:pt x="1680" y="294"/>
                      </a:lnTo>
                      <a:lnTo>
                        <a:pt x="1674" y="291"/>
                      </a:lnTo>
                      <a:lnTo>
                        <a:pt x="1667" y="288"/>
                      </a:lnTo>
                      <a:lnTo>
                        <a:pt x="1661" y="284"/>
                      </a:lnTo>
                      <a:lnTo>
                        <a:pt x="1656" y="279"/>
                      </a:lnTo>
                      <a:lnTo>
                        <a:pt x="1652" y="275"/>
                      </a:lnTo>
                      <a:lnTo>
                        <a:pt x="1650" y="270"/>
                      </a:lnTo>
                      <a:lnTo>
                        <a:pt x="1648" y="266"/>
                      </a:lnTo>
                      <a:lnTo>
                        <a:pt x="1632" y="258"/>
                      </a:lnTo>
                      <a:lnTo>
                        <a:pt x="1619" y="252"/>
                      </a:lnTo>
                      <a:lnTo>
                        <a:pt x="1613" y="250"/>
                      </a:lnTo>
                      <a:lnTo>
                        <a:pt x="1608" y="249"/>
                      </a:lnTo>
                      <a:lnTo>
                        <a:pt x="1602" y="248"/>
                      </a:lnTo>
                      <a:lnTo>
                        <a:pt x="1596" y="247"/>
                      </a:lnTo>
                      <a:lnTo>
                        <a:pt x="1583" y="248"/>
                      </a:lnTo>
                      <a:lnTo>
                        <a:pt x="1574" y="249"/>
                      </a:lnTo>
                      <a:lnTo>
                        <a:pt x="1567" y="251"/>
                      </a:lnTo>
                      <a:lnTo>
                        <a:pt x="1563" y="253"/>
                      </a:lnTo>
                      <a:lnTo>
                        <a:pt x="1558" y="256"/>
                      </a:lnTo>
                      <a:lnTo>
                        <a:pt x="1553" y="258"/>
                      </a:lnTo>
                      <a:lnTo>
                        <a:pt x="1546" y="259"/>
                      </a:lnTo>
                      <a:lnTo>
                        <a:pt x="1535" y="259"/>
                      </a:lnTo>
                      <a:lnTo>
                        <a:pt x="1521" y="259"/>
                      </a:lnTo>
                      <a:lnTo>
                        <a:pt x="1509" y="258"/>
                      </a:lnTo>
                      <a:lnTo>
                        <a:pt x="1497" y="256"/>
                      </a:lnTo>
                      <a:lnTo>
                        <a:pt x="1487" y="253"/>
                      </a:lnTo>
                      <a:lnTo>
                        <a:pt x="1478" y="249"/>
                      </a:lnTo>
                      <a:lnTo>
                        <a:pt x="1471" y="245"/>
                      </a:lnTo>
                      <a:lnTo>
                        <a:pt x="1463" y="240"/>
                      </a:lnTo>
                      <a:lnTo>
                        <a:pt x="1457" y="235"/>
                      </a:lnTo>
                      <a:lnTo>
                        <a:pt x="1452" y="228"/>
                      </a:lnTo>
                      <a:lnTo>
                        <a:pt x="1448" y="220"/>
                      </a:lnTo>
                      <a:lnTo>
                        <a:pt x="1443" y="213"/>
                      </a:lnTo>
                      <a:lnTo>
                        <a:pt x="1440" y="205"/>
                      </a:lnTo>
                      <a:lnTo>
                        <a:pt x="1434" y="187"/>
                      </a:lnTo>
                      <a:lnTo>
                        <a:pt x="1429" y="167"/>
                      </a:lnTo>
                      <a:lnTo>
                        <a:pt x="1422" y="136"/>
                      </a:lnTo>
                      <a:lnTo>
                        <a:pt x="1412" y="134"/>
                      </a:lnTo>
                      <a:lnTo>
                        <a:pt x="1385" y="127"/>
                      </a:lnTo>
                      <a:lnTo>
                        <a:pt x="1367" y="124"/>
                      </a:lnTo>
                      <a:lnTo>
                        <a:pt x="1347" y="121"/>
                      </a:lnTo>
                      <a:lnTo>
                        <a:pt x="1326" y="119"/>
                      </a:lnTo>
                      <a:lnTo>
                        <a:pt x="1303" y="118"/>
                      </a:lnTo>
                      <a:lnTo>
                        <a:pt x="1294" y="119"/>
                      </a:lnTo>
                      <a:lnTo>
                        <a:pt x="1286" y="120"/>
                      </a:lnTo>
                      <a:lnTo>
                        <a:pt x="1281" y="123"/>
                      </a:lnTo>
                      <a:lnTo>
                        <a:pt x="1275" y="126"/>
                      </a:lnTo>
                      <a:lnTo>
                        <a:pt x="1267" y="134"/>
                      </a:lnTo>
                      <a:lnTo>
                        <a:pt x="1262" y="142"/>
                      </a:lnTo>
                      <a:lnTo>
                        <a:pt x="1260" y="147"/>
                      </a:lnTo>
                      <a:lnTo>
                        <a:pt x="1257" y="151"/>
                      </a:lnTo>
                      <a:lnTo>
                        <a:pt x="1252" y="156"/>
                      </a:lnTo>
                      <a:lnTo>
                        <a:pt x="1248" y="159"/>
                      </a:lnTo>
                      <a:lnTo>
                        <a:pt x="1242" y="162"/>
                      </a:lnTo>
                      <a:lnTo>
                        <a:pt x="1236" y="165"/>
                      </a:lnTo>
                      <a:lnTo>
                        <a:pt x="1227" y="166"/>
                      </a:lnTo>
                      <a:lnTo>
                        <a:pt x="1217" y="167"/>
                      </a:lnTo>
                      <a:lnTo>
                        <a:pt x="1199" y="167"/>
                      </a:lnTo>
                      <a:lnTo>
                        <a:pt x="1184" y="167"/>
                      </a:lnTo>
                      <a:lnTo>
                        <a:pt x="1168" y="167"/>
                      </a:lnTo>
                      <a:lnTo>
                        <a:pt x="1150" y="167"/>
                      </a:lnTo>
                      <a:lnTo>
                        <a:pt x="1130" y="167"/>
                      </a:lnTo>
                      <a:lnTo>
                        <a:pt x="1106" y="167"/>
                      </a:lnTo>
                      <a:lnTo>
                        <a:pt x="1078" y="167"/>
                      </a:lnTo>
                      <a:lnTo>
                        <a:pt x="1044" y="167"/>
                      </a:lnTo>
                      <a:lnTo>
                        <a:pt x="1034" y="164"/>
                      </a:lnTo>
                      <a:lnTo>
                        <a:pt x="1025" y="160"/>
                      </a:lnTo>
                      <a:lnTo>
                        <a:pt x="1015" y="156"/>
                      </a:lnTo>
                      <a:lnTo>
                        <a:pt x="1005" y="151"/>
                      </a:lnTo>
                      <a:lnTo>
                        <a:pt x="986" y="140"/>
                      </a:lnTo>
                      <a:lnTo>
                        <a:pt x="967" y="129"/>
                      </a:lnTo>
                      <a:lnTo>
                        <a:pt x="956" y="123"/>
                      </a:lnTo>
                      <a:lnTo>
                        <a:pt x="945" y="118"/>
                      </a:lnTo>
                      <a:lnTo>
                        <a:pt x="934" y="112"/>
                      </a:lnTo>
                      <a:lnTo>
                        <a:pt x="922" y="108"/>
                      </a:lnTo>
                      <a:lnTo>
                        <a:pt x="908" y="104"/>
                      </a:lnTo>
                      <a:lnTo>
                        <a:pt x="895" y="102"/>
                      </a:lnTo>
                      <a:lnTo>
                        <a:pt x="880" y="100"/>
                      </a:lnTo>
                      <a:lnTo>
                        <a:pt x="865" y="99"/>
                      </a:lnTo>
                      <a:lnTo>
                        <a:pt x="852" y="100"/>
                      </a:lnTo>
                      <a:lnTo>
                        <a:pt x="841" y="102"/>
                      </a:lnTo>
                      <a:lnTo>
                        <a:pt x="832" y="105"/>
                      </a:lnTo>
                      <a:lnTo>
                        <a:pt x="822" y="108"/>
                      </a:lnTo>
                      <a:lnTo>
                        <a:pt x="811" y="112"/>
                      </a:lnTo>
                      <a:lnTo>
                        <a:pt x="801" y="114"/>
                      </a:lnTo>
                      <a:lnTo>
                        <a:pt x="790" y="118"/>
                      </a:lnTo>
                      <a:lnTo>
                        <a:pt x="778" y="118"/>
                      </a:lnTo>
                      <a:lnTo>
                        <a:pt x="765" y="118"/>
                      </a:lnTo>
                      <a:lnTo>
                        <a:pt x="753" y="117"/>
                      </a:lnTo>
                      <a:lnTo>
                        <a:pt x="740" y="116"/>
                      </a:lnTo>
                      <a:lnTo>
                        <a:pt x="729" y="114"/>
                      </a:lnTo>
                      <a:lnTo>
                        <a:pt x="720" y="111"/>
                      </a:lnTo>
                      <a:lnTo>
                        <a:pt x="710" y="108"/>
                      </a:lnTo>
                      <a:lnTo>
                        <a:pt x="701" y="105"/>
                      </a:lnTo>
                      <a:lnTo>
                        <a:pt x="692" y="101"/>
                      </a:lnTo>
                      <a:lnTo>
                        <a:pt x="686" y="96"/>
                      </a:lnTo>
                      <a:lnTo>
                        <a:pt x="678" y="90"/>
                      </a:lnTo>
                      <a:lnTo>
                        <a:pt x="672" y="84"/>
                      </a:lnTo>
                      <a:lnTo>
                        <a:pt x="667" y="76"/>
                      </a:lnTo>
                      <a:lnTo>
                        <a:pt x="662" y="68"/>
                      </a:lnTo>
                      <a:lnTo>
                        <a:pt x="658" y="58"/>
                      </a:lnTo>
                      <a:lnTo>
                        <a:pt x="655" y="49"/>
                      </a:lnTo>
                      <a:lnTo>
                        <a:pt x="652" y="38"/>
                      </a:lnTo>
                      <a:lnTo>
                        <a:pt x="459" y="0"/>
                      </a:lnTo>
                      <a:lnTo>
                        <a:pt x="446" y="7"/>
                      </a:lnTo>
                      <a:lnTo>
                        <a:pt x="446" y="16"/>
                      </a:lnTo>
                      <a:lnTo>
                        <a:pt x="446" y="23"/>
                      </a:lnTo>
                      <a:lnTo>
                        <a:pt x="446" y="30"/>
                      </a:lnTo>
                      <a:lnTo>
                        <a:pt x="446" y="38"/>
                      </a:lnTo>
                      <a:lnTo>
                        <a:pt x="446" y="44"/>
                      </a:lnTo>
                      <a:lnTo>
                        <a:pt x="448" y="50"/>
                      </a:lnTo>
                      <a:lnTo>
                        <a:pt x="451" y="55"/>
                      </a:lnTo>
                      <a:lnTo>
                        <a:pt x="454" y="61"/>
                      </a:lnTo>
                      <a:lnTo>
                        <a:pt x="463" y="71"/>
                      </a:lnTo>
                      <a:lnTo>
                        <a:pt x="471" y="79"/>
                      </a:lnTo>
                      <a:lnTo>
                        <a:pt x="476" y="84"/>
                      </a:lnTo>
                      <a:lnTo>
                        <a:pt x="480" y="89"/>
                      </a:lnTo>
                      <a:lnTo>
                        <a:pt x="485" y="94"/>
                      </a:lnTo>
                      <a:lnTo>
                        <a:pt x="488" y="100"/>
                      </a:lnTo>
                      <a:lnTo>
                        <a:pt x="490" y="106"/>
                      </a:lnTo>
                      <a:lnTo>
                        <a:pt x="492" y="113"/>
                      </a:lnTo>
                      <a:lnTo>
                        <a:pt x="493" y="122"/>
                      </a:lnTo>
                      <a:lnTo>
                        <a:pt x="492" y="130"/>
                      </a:lnTo>
                      <a:lnTo>
                        <a:pt x="313" y="130"/>
                      </a:lnTo>
                      <a:lnTo>
                        <a:pt x="307" y="122"/>
                      </a:lnTo>
                      <a:lnTo>
                        <a:pt x="300" y="113"/>
                      </a:lnTo>
                      <a:lnTo>
                        <a:pt x="298" y="108"/>
                      </a:lnTo>
                      <a:lnTo>
                        <a:pt x="296" y="102"/>
                      </a:lnTo>
                      <a:lnTo>
                        <a:pt x="294" y="95"/>
                      </a:lnTo>
                      <a:lnTo>
                        <a:pt x="294" y="87"/>
                      </a:lnTo>
                      <a:lnTo>
                        <a:pt x="279" y="87"/>
                      </a:lnTo>
                      <a:lnTo>
                        <a:pt x="266" y="87"/>
                      </a:lnTo>
                      <a:lnTo>
                        <a:pt x="240" y="99"/>
                      </a:lnTo>
                      <a:lnTo>
                        <a:pt x="233" y="99"/>
                      </a:lnTo>
                      <a:lnTo>
                        <a:pt x="225" y="97"/>
                      </a:lnTo>
                      <a:lnTo>
                        <a:pt x="219" y="95"/>
                      </a:lnTo>
                      <a:lnTo>
                        <a:pt x="211" y="93"/>
                      </a:lnTo>
                      <a:lnTo>
                        <a:pt x="204" y="91"/>
                      </a:lnTo>
                      <a:lnTo>
                        <a:pt x="195" y="89"/>
                      </a:lnTo>
                      <a:lnTo>
                        <a:pt x="185" y="88"/>
                      </a:lnTo>
                      <a:lnTo>
                        <a:pt x="174" y="87"/>
                      </a:lnTo>
                      <a:lnTo>
                        <a:pt x="164" y="88"/>
                      </a:lnTo>
                      <a:lnTo>
                        <a:pt x="155" y="90"/>
                      </a:lnTo>
                      <a:lnTo>
                        <a:pt x="146" y="93"/>
                      </a:lnTo>
                      <a:lnTo>
                        <a:pt x="138" y="97"/>
                      </a:lnTo>
                      <a:lnTo>
                        <a:pt x="122" y="106"/>
                      </a:lnTo>
                      <a:lnTo>
                        <a:pt x="107" y="118"/>
                      </a:lnTo>
                      <a:lnTo>
                        <a:pt x="92" y="129"/>
                      </a:lnTo>
                      <a:lnTo>
                        <a:pt x="76" y="139"/>
                      </a:lnTo>
                      <a:lnTo>
                        <a:pt x="68" y="143"/>
                      </a:lnTo>
                      <a:lnTo>
                        <a:pt x="60" y="146"/>
                      </a:lnTo>
                      <a:lnTo>
                        <a:pt x="50" y="148"/>
                      </a:lnTo>
                      <a:lnTo>
                        <a:pt x="41" y="149"/>
                      </a:lnTo>
                      <a:lnTo>
                        <a:pt x="37" y="149"/>
                      </a:lnTo>
                      <a:lnTo>
                        <a:pt x="31" y="151"/>
                      </a:lnTo>
                      <a:lnTo>
                        <a:pt x="25" y="153"/>
                      </a:lnTo>
                      <a:lnTo>
                        <a:pt x="18" y="157"/>
                      </a:lnTo>
                      <a:lnTo>
                        <a:pt x="11" y="161"/>
                      </a:lnTo>
                      <a:lnTo>
                        <a:pt x="6" y="166"/>
                      </a:lnTo>
                      <a:lnTo>
                        <a:pt x="4" y="169"/>
                      </a:lnTo>
                      <a:lnTo>
                        <a:pt x="3" y="173"/>
                      </a:lnTo>
                      <a:lnTo>
                        <a:pt x="1" y="177"/>
                      </a:lnTo>
                      <a:lnTo>
                        <a:pt x="0" y="180"/>
                      </a:lnTo>
                    </a:path>
                  </a:pathLst>
                </a:custGeom>
                <a:grpFill/>
                <a:ln w="9525" cmpd="sng">
                  <a:solidFill>
                    <a:srgbClr val="FFFFFF"/>
                  </a:solidFill>
                  <a:prstDash val="solid"/>
                  <a:round/>
                  <a:headEnd/>
                  <a:tailEnd/>
                </a:ln>
              </p:spPr>
              <p:txBody>
                <a:bodyPr/>
                <a:lstStyle/>
                <a:p>
                  <a:endParaRPr lang="en-GB" sz="1637"/>
                </a:p>
              </p:txBody>
            </p:sp>
            <p:sp>
              <p:nvSpPr>
                <p:cNvPr id="331" name="Freeform 261"/>
                <p:cNvSpPr>
                  <a:spLocks/>
                </p:cNvSpPr>
                <p:nvPr>
                  <p:custDataLst>
                    <p:tags r:id="rId203"/>
                  </p:custDataLst>
                </p:nvPr>
              </p:nvSpPr>
              <p:spPr bwMode="auto">
                <a:xfrm>
                  <a:off x="5512136" y="2654820"/>
                  <a:ext cx="398585" cy="478188"/>
                </a:xfrm>
                <a:custGeom>
                  <a:avLst/>
                  <a:gdLst>
                    <a:gd name="T0" fmla="*/ 342277 w 831"/>
                    <a:gd name="T1" fmla="*/ 42804 h 812"/>
                    <a:gd name="T2" fmla="*/ 310642 w 831"/>
                    <a:gd name="T3" fmla="*/ 15138 h 812"/>
                    <a:gd name="T4" fmla="*/ 246932 w 831"/>
                    <a:gd name="T5" fmla="*/ 5220 h 812"/>
                    <a:gd name="T6" fmla="*/ 219251 w 831"/>
                    <a:gd name="T7" fmla="*/ 15138 h 812"/>
                    <a:gd name="T8" fmla="*/ 213539 w 831"/>
                    <a:gd name="T9" fmla="*/ 25578 h 812"/>
                    <a:gd name="T10" fmla="*/ 218372 w 831"/>
                    <a:gd name="T11" fmla="*/ 37062 h 812"/>
                    <a:gd name="T12" fmla="*/ 227160 w 831"/>
                    <a:gd name="T13" fmla="*/ 46980 h 812"/>
                    <a:gd name="T14" fmla="*/ 226720 w 831"/>
                    <a:gd name="T15" fmla="*/ 57942 h 812"/>
                    <a:gd name="T16" fmla="*/ 215736 w 831"/>
                    <a:gd name="T17" fmla="*/ 73080 h 812"/>
                    <a:gd name="T18" fmla="*/ 210903 w 831"/>
                    <a:gd name="T19" fmla="*/ 84564 h 812"/>
                    <a:gd name="T20" fmla="*/ 197721 w 831"/>
                    <a:gd name="T21" fmla="*/ 96048 h 812"/>
                    <a:gd name="T22" fmla="*/ 187615 w 831"/>
                    <a:gd name="T23" fmla="*/ 126846 h 812"/>
                    <a:gd name="T24" fmla="*/ 184540 w 831"/>
                    <a:gd name="T25" fmla="*/ 173304 h 812"/>
                    <a:gd name="T26" fmla="*/ 172237 w 831"/>
                    <a:gd name="T27" fmla="*/ 166518 h 812"/>
                    <a:gd name="T28" fmla="*/ 162571 w 831"/>
                    <a:gd name="T29" fmla="*/ 164430 h 812"/>
                    <a:gd name="T30" fmla="*/ 148511 w 831"/>
                    <a:gd name="T31" fmla="*/ 176958 h 812"/>
                    <a:gd name="T32" fmla="*/ 137526 w 831"/>
                    <a:gd name="T33" fmla="*/ 183222 h 812"/>
                    <a:gd name="T34" fmla="*/ 127420 w 831"/>
                    <a:gd name="T35" fmla="*/ 193140 h 812"/>
                    <a:gd name="T36" fmla="*/ 123026 w 831"/>
                    <a:gd name="T37" fmla="*/ 221327 h 812"/>
                    <a:gd name="T38" fmla="*/ 103254 w 831"/>
                    <a:gd name="T39" fmla="*/ 230723 h 812"/>
                    <a:gd name="T40" fmla="*/ 55801 w 831"/>
                    <a:gd name="T41" fmla="*/ 241163 h 812"/>
                    <a:gd name="T42" fmla="*/ 11424 w 831"/>
                    <a:gd name="T43" fmla="*/ 234377 h 812"/>
                    <a:gd name="T44" fmla="*/ 22408 w 831"/>
                    <a:gd name="T45" fmla="*/ 263609 h 812"/>
                    <a:gd name="T46" fmla="*/ 42181 w 831"/>
                    <a:gd name="T47" fmla="*/ 281879 h 812"/>
                    <a:gd name="T48" fmla="*/ 54044 w 831"/>
                    <a:gd name="T49" fmla="*/ 301193 h 812"/>
                    <a:gd name="T50" fmla="*/ 62392 w 831"/>
                    <a:gd name="T51" fmla="*/ 311111 h 812"/>
                    <a:gd name="T52" fmla="*/ 43499 w 831"/>
                    <a:gd name="T53" fmla="*/ 337733 h 812"/>
                    <a:gd name="T54" fmla="*/ 38226 w 831"/>
                    <a:gd name="T55" fmla="*/ 350261 h 812"/>
                    <a:gd name="T56" fmla="*/ 47892 w 831"/>
                    <a:gd name="T57" fmla="*/ 375839 h 812"/>
                    <a:gd name="T58" fmla="*/ 97542 w 831"/>
                    <a:gd name="T59" fmla="*/ 370619 h 812"/>
                    <a:gd name="T60" fmla="*/ 132693 w 831"/>
                    <a:gd name="T61" fmla="*/ 368009 h 812"/>
                    <a:gd name="T62" fmla="*/ 144995 w 831"/>
                    <a:gd name="T63" fmla="*/ 376361 h 812"/>
                    <a:gd name="T64" fmla="*/ 157738 w 831"/>
                    <a:gd name="T65" fmla="*/ 394631 h 812"/>
                    <a:gd name="T66" fmla="*/ 179267 w 831"/>
                    <a:gd name="T67" fmla="*/ 409769 h 812"/>
                    <a:gd name="T68" fmla="*/ 197282 w 831"/>
                    <a:gd name="T69" fmla="*/ 419165 h 812"/>
                    <a:gd name="T70" fmla="*/ 202115 w 831"/>
                    <a:gd name="T71" fmla="*/ 412901 h 812"/>
                    <a:gd name="T72" fmla="*/ 213978 w 831"/>
                    <a:gd name="T73" fmla="*/ 404027 h 812"/>
                    <a:gd name="T74" fmla="*/ 243417 w 831"/>
                    <a:gd name="T75" fmla="*/ 398807 h 812"/>
                    <a:gd name="T76" fmla="*/ 262310 w 831"/>
                    <a:gd name="T77" fmla="*/ 391499 h 812"/>
                    <a:gd name="T78" fmla="*/ 271537 w 831"/>
                    <a:gd name="T79" fmla="*/ 379493 h 812"/>
                    <a:gd name="T80" fmla="*/ 256598 w 831"/>
                    <a:gd name="T81" fmla="*/ 365399 h 812"/>
                    <a:gd name="T82" fmla="*/ 238144 w 831"/>
                    <a:gd name="T83" fmla="*/ 334601 h 812"/>
                    <a:gd name="T84" fmla="*/ 231114 w 831"/>
                    <a:gd name="T85" fmla="*/ 325727 h 812"/>
                    <a:gd name="T86" fmla="*/ 231114 w 831"/>
                    <a:gd name="T87" fmla="*/ 301715 h 812"/>
                    <a:gd name="T88" fmla="*/ 255719 w 831"/>
                    <a:gd name="T89" fmla="*/ 293885 h 812"/>
                    <a:gd name="T90" fmla="*/ 273295 w 831"/>
                    <a:gd name="T91" fmla="*/ 277181 h 812"/>
                    <a:gd name="T92" fmla="*/ 302294 w 831"/>
                    <a:gd name="T93" fmla="*/ 217673 h 812"/>
                    <a:gd name="T94" fmla="*/ 320748 w 831"/>
                    <a:gd name="T95" fmla="*/ 192096 h 812"/>
                    <a:gd name="T96" fmla="*/ 318551 w 831"/>
                    <a:gd name="T97" fmla="*/ 172260 h 812"/>
                    <a:gd name="T98" fmla="*/ 320308 w 831"/>
                    <a:gd name="T99" fmla="*/ 159210 h 812"/>
                    <a:gd name="T100" fmla="*/ 329975 w 831"/>
                    <a:gd name="T101" fmla="*/ 150858 h 812"/>
                    <a:gd name="T102" fmla="*/ 294385 w 831"/>
                    <a:gd name="T103" fmla="*/ 108054 h 812"/>
                    <a:gd name="T104" fmla="*/ 333050 w 831"/>
                    <a:gd name="T105" fmla="*/ 73080 h 812"/>
                    <a:gd name="T106" fmla="*/ 353701 w 831"/>
                    <a:gd name="T107" fmla="*/ 64206 h 81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831" h="812">
                      <a:moveTo>
                        <a:pt x="831" y="98"/>
                      </a:moveTo>
                      <a:lnTo>
                        <a:pt x="817" y="95"/>
                      </a:lnTo>
                      <a:lnTo>
                        <a:pt x="803" y="91"/>
                      </a:lnTo>
                      <a:lnTo>
                        <a:pt x="791" y="87"/>
                      </a:lnTo>
                      <a:lnTo>
                        <a:pt x="779" y="82"/>
                      </a:lnTo>
                      <a:lnTo>
                        <a:pt x="769" y="77"/>
                      </a:lnTo>
                      <a:lnTo>
                        <a:pt x="758" y="71"/>
                      </a:lnTo>
                      <a:lnTo>
                        <a:pt x="749" y="65"/>
                      </a:lnTo>
                      <a:lnTo>
                        <a:pt x="740" y="58"/>
                      </a:lnTo>
                      <a:lnTo>
                        <a:pt x="707" y="29"/>
                      </a:lnTo>
                      <a:lnTo>
                        <a:pt x="679" y="0"/>
                      </a:lnTo>
                      <a:lnTo>
                        <a:pt x="655" y="2"/>
                      </a:lnTo>
                      <a:lnTo>
                        <a:pt x="626" y="4"/>
                      </a:lnTo>
                      <a:lnTo>
                        <a:pt x="594" y="7"/>
                      </a:lnTo>
                      <a:lnTo>
                        <a:pt x="562" y="10"/>
                      </a:lnTo>
                      <a:lnTo>
                        <a:pt x="547" y="13"/>
                      </a:lnTo>
                      <a:lnTo>
                        <a:pt x="533" y="16"/>
                      </a:lnTo>
                      <a:lnTo>
                        <a:pt x="520" y="19"/>
                      </a:lnTo>
                      <a:lnTo>
                        <a:pt x="509" y="24"/>
                      </a:lnTo>
                      <a:lnTo>
                        <a:pt x="499" y="29"/>
                      </a:lnTo>
                      <a:lnTo>
                        <a:pt x="492" y="34"/>
                      </a:lnTo>
                      <a:lnTo>
                        <a:pt x="489" y="37"/>
                      </a:lnTo>
                      <a:lnTo>
                        <a:pt x="487" y="41"/>
                      </a:lnTo>
                      <a:lnTo>
                        <a:pt x="486" y="44"/>
                      </a:lnTo>
                      <a:lnTo>
                        <a:pt x="486" y="49"/>
                      </a:lnTo>
                      <a:lnTo>
                        <a:pt x="486" y="54"/>
                      </a:lnTo>
                      <a:lnTo>
                        <a:pt x="487" y="59"/>
                      </a:lnTo>
                      <a:lnTo>
                        <a:pt x="489" y="63"/>
                      </a:lnTo>
                      <a:lnTo>
                        <a:pt x="491" y="66"/>
                      </a:lnTo>
                      <a:lnTo>
                        <a:pt x="497" y="71"/>
                      </a:lnTo>
                      <a:lnTo>
                        <a:pt x="502" y="76"/>
                      </a:lnTo>
                      <a:lnTo>
                        <a:pt x="509" y="80"/>
                      </a:lnTo>
                      <a:lnTo>
                        <a:pt x="514" y="84"/>
                      </a:lnTo>
                      <a:lnTo>
                        <a:pt x="516" y="87"/>
                      </a:lnTo>
                      <a:lnTo>
                        <a:pt x="517" y="90"/>
                      </a:lnTo>
                      <a:lnTo>
                        <a:pt x="519" y="93"/>
                      </a:lnTo>
                      <a:lnTo>
                        <a:pt x="519" y="98"/>
                      </a:lnTo>
                      <a:lnTo>
                        <a:pt x="519" y="102"/>
                      </a:lnTo>
                      <a:lnTo>
                        <a:pt x="517" y="107"/>
                      </a:lnTo>
                      <a:lnTo>
                        <a:pt x="516" y="111"/>
                      </a:lnTo>
                      <a:lnTo>
                        <a:pt x="514" y="114"/>
                      </a:lnTo>
                      <a:lnTo>
                        <a:pt x="509" y="120"/>
                      </a:lnTo>
                      <a:lnTo>
                        <a:pt x="502" y="127"/>
                      </a:lnTo>
                      <a:lnTo>
                        <a:pt x="497" y="133"/>
                      </a:lnTo>
                      <a:lnTo>
                        <a:pt x="491" y="140"/>
                      </a:lnTo>
                      <a:lnTo>
                        <a:pt x="489" y="144"/>
                      </a:lnTo>
                      <a:lnTo>
                        <a:pt x="487" y="149"/>
                      </a:lnTo>
                      <a:lnTo>
                        <a:pt x="486" y="154"/>
                      </a:lnTo>
                      <a:lnTo>
                        <a:pt x="486" y="159"/>
                      </a:lnTo>
                      <a:lnTo>
                        <a:pt x="480" y="162"/>
                      </a:lnTo>
                      <a:lnTo>
                        <a:pt x="475" y="163"/>
                      </a:lnTo>
                      <a:lnTo>
                        <a:pt x="470" y="166"/>
                      </a:lnTo>
                      <a:lnTo>
                        <a:pt x="466" y="169"/>
                      </a:lnTo>
                      <a:lnTo>
                        <a:pt x="457" y="176"/>
                      </a:lnTo>
                      <a:lnTo>
                        <a:pt x="450" y="184"/>
                      </a:lnTo>
                      <a:lnTo>
                        <a:pt x="444" y="194"/>
                      </a:lnTo>
                      <a:lnTo>
                        <a:pt x="438" y="205"/>
                      </a:lnTo>
                      <a:lnTo>
                        <a:pt x="434" y="217"/>
                      </a:lnTo>
                      <a:lnTo>
                        <a:pt x="430" y="230"/>
                      </a:lnTo>
                      <a:lnTo>
                        <a:pt x="427" y="243"/>
                      </a:lnTo>
                      <a:lnTo>
                        <a:pt x="424" y="256"/>
                      </a:lnTo>
                      <a:lnTo>
                        <a:pt x="423" y="270"/>
                      </a:lnTo>
                      <a:lnTo>
                        <a:pt x="421" y="284"/>
                      </a:lnTo>
                      <a:lnTo>
                        <a:pt x="420" y="309"/>
                      </a:lnTo>
                      <a:lnTo>
                        <a:pt x="420" y="332"/>
                      </a:lnTo>
                      <a:lnTo>
                        <a:pt x="412" y="332"/>
                      </a:lnTo>
                      <a:lnTo>
                        <a:pt x="407" y="330"/>
                      </a:lnTo>
                      <a:lnTo>
                        <a:pt x="401" y="327"/>
                      </a:lnTo>
                      <a:lnTo>
                        <a:pt x="397" y="322"/>
                      </a:lnTo>
                      <a:lnTo>
                        <a:pt x="392" y="319"/>
                      </a:lnTo>
                      <a:lnTo>
                        <a:pt x="388" y="316"/>
                      </a:lnTo>
                      <a:lnTo>
                        <a:pt x="385" y="314"/>
                      </a:lnTo>
                      <a:lnTo>
                        <a:pt x="379" y="313"/>
                      </a:lnTo>
                      <a:lnTo>
                        <a:pt x="375" y="314"/>
                      </a:lnTo>
                      <a:lnTo>
                        <a:pt x="370" y="315"/>
                      </a:lnTo>
                      <a:lnTo>
                        <a:pt x="366" y="317"/>
                      </a:lnTo>
                      <a:lnTo>
                        <a:pt x="362" y="319"/>
                      </a:lnTo>
                      <a:lnTo>
                        <a:pt x="354" y="325"/>
                      </a:lnTo>
                      <a:lnTo>
                        <a:pt x="346" y="332"/>
                      </a:lnTo>
                      <a:lnTo>
                        <a:pt x="338" y="339"/>
                      </a:lnTo>
                      <a:lnTo>
                        <a:pt x="331" y="345"/>
                      </a:lnTo>
                      <a:lnTo>
                        <a:pt x="326" y="347"/>
                      </a:lnTo>
                      <a:lnTo>
                        <a:pt x="322" y="349"/>
                      </a:lnTo>
                      <a:lnTo>
                        <a:pt x="318" y="350"/>
                      </a:lnTo>
                      <a:lnTo>
                        <a:pt x="313" y="351"/>
                      </a:lnTo>
                      <a:lnTo>
                        <a:pt x="308" y="351"/>
                      </a:lnTo>
                      <a:lnTo>
                        <a:pt x="303" y="353"/>
                      </a:lnTo>
                      <a:lnTo>
                        <a:pt x="300" y="356"/>
                      </a:lnTo>
                      <a:lnTo>
                        <a:pt x="297" y="360"/>
                      </a:lnTo>
                      <a:lnTo>
                        <a:pt x="290" y="370"/>
                      </a:lnTo>
                      <a:lnTo>
                        <a:pt x="287" y="383"/>
                      </a:lnTo>
                      <a:lnTo>
                        <a:pt x="284" y="396"/>
                      </a:lnTo>
                      <a:lnTo>
                        <a:pt x="281" y="408"/>
                      </a:lnTo>
                      <a:lnTo>
                        <a:pt x="280" y="418"/>
                      </a:lnTo>
                      <a:lnTo>
                        <a:pt x="280" y="424"/>
                      </a:lnTo>
                      <a:lnTo>
                        <a:pt x="277" y="427"/>
                      </a:lnTo>
                      <a:lnTo>
                        <a:pt x="273" y="429"/>
                      </a:lnTo>
                      <a:lnTo>
                        <a:pt x="265" y="432"/>
                      </a:lnTo>
                      <a:lnTo>
                        <a:pt x="257" y="435"/>
                      </a:lnTo>
                      <a:lnTo>
                        <a:pt x="235" y="442"/>
                      </a:lnTo>
                      <a:lnTo>
                        <a:pt x="211" y="448"/>
                      </a:lnTo>
                      <a:lnTo>
                        <a:pt x="185" y="453"/>
                      </a:lnTo>
                      <a:lnTo>
                        <a:pt x="161" y="458"/>
                      </a:lnTo>
                      <a:lnTo>
                        <a:pt x="141" y="461"/>
                      </a:lnTo>
                      <a:lnTo>
                        <a:pt x="127" y="462"/>
                      </a:lnTo>
                      <a:lnTo>
                        <a:pt x="109" y="461"/>
                      </a:lnTo>
                      <a:lnTo>
                        <a:pt x="91" y="460"/>
                      </a:lnTo>
                      <a:lnTo>
                        <a:pt x="74" y="457"/>
                      </a:lnTo>
                      <a:lnTo>
                        <a:pt x="56" y="455"/>
                      </a:lnTo>
                      <a:lnTo>
                        <a:pt x="26" y="449"/>
                      </a:lnTo>
                      <a:lnTo>
                        <a:pt x="0" y="443"/>
                      </a:lnTo>
                      <a:lnTo>
                        <a:pt x="8" y="455"/>
                      </a:lnTo>
                      <a:lnTo>
                        <a:pt x="19" y="470"/>
                      </a:lnTo>
                      <a:lnTo>
                        <a:pt x="34" y="487"/>
                      </a:lnTo>
                      <a:lnTo>
                        <a:pt x="51" y="505"/>
                      </a:lnTo>
                      <a:lnTo>
                        <a:pt x="60" y="513"/>
                      </a:lnTo>
                      <a:lnTo>
                        <a:pt x="68" y="521"/>
                      </a:lnTo>
                      <a:lnTo>
                        <a:pt x="77" y="528"/>
                      </a:lnTo>
                      <a:lnTo>
                        <a:pt x="87" y="535"/>
                      </a:lnTo>
                      <a:lnTo>
                        <a:pt x="96" y="540"/>
                      </a:lnTo>
                      <a:lnTo>
                        <a:pt x="105" y="544"/>
                      </a:lnTo>
                      <a:lnTo>
                        <a:pt x="112" y="546"/>
                      </a:lnTo>
                      <a:lnTo>
                        <a:pt x="120" y="547"/>
                      </a:lnTo>
                      <a:lnTo>
                        <a:pt x="121" y="561"/>
                      </a:lnTo>
                      <a:lnTo>
                        <a:pt x="123" y="577"/>
                      </a:lnTo>
                      <a:lnTo>
                        <a:pt x="127" y="585"/>
                      </a:lnTo>
                      <a:lnTo>
                        <a:pt x="131" y="591"/>
                      </a:lnTo>
                      <a:lnTo>
                        <a:pt x="134" y="593"/>
                      </a:lnTo>
                      <a:lnTo>
                        <a:pt x="138" y="595"/>
                      </a:lnTo>
                      <a:lnTo>
                        <a:pt x="142" y="596"/>
                      </a:lnTo>
                      <a:lnTo>
                        <a:pt x="147" y="597"/>
                      </a:lnTo>
                      <a:lnTo>
                        <a:pt x="147" y="616"/>
                      </a:lnTo>
                      <a:lnTo>
                        <a:pt x="127" y="629"/>
                      </a:lnTo>
                      <a:lnTo>
                        <a:pt x="107" y="641"/>
                      </a:lnTo>
                      <a:lnTo>
                        <a:pt x="99" y="647"/>
                      </a:lnTo>
                      <a:lnTo>
                        <a:pt x="93" y="654"/>
                      </a:lnTo>
                      <a:lnTo>
                        <a:pt x="90" y="658"/>
                      </a:lnTo>
                      <a:lnTo>
                        <a:pt x="88" y="663"/>
                      </a:lnTo>
                      <a:lnTo>
                        <a:pt x="87" y="667"/>
                      </a:lnTo>
                      <a:lnTo>
                        <a:pt x="87" y="671"/>
                      </a:lnTo>
                      <a:lnTo>
                        <a:pt x="87" y="680"/>
                      </a:lnTo>
                      <a:lnTo>
                        <a:pt x="87" y="689"/>
                      </a:lnTo>
                      <a:lnTo>
                        <a:pt x="87" y="701"/>
                      </a:lnTo>
                      <a:lnTo>
                        <a:pt x="87" y="721"/>
                      </a:lnTo>
                      <a:lnTo>
                        <a:pt x="109" y="720"/>
                      </a:lnTo>
                      <a:lnTo>
                        <a:pt x="132" y="719"/>
                      </a:lnTo>
                      <a:lnTo>
                        <a:pt x="154" y="717"/>
                      </a:lnTo>
                      <a:lnTo>
                        <a:pt x="177" y="714"/>
                      </a:lnTo>
                      <a:lnTo>
                        <a:pt x="199" y="711"/>
                      </a:lnTo>
                      <a:lnTo>
                        <a:pt x="222" y="710"/>
                      </a:lnTo>
                      <a:lnTo>
                        <a:pt x="244" y="708"/>
                      </a:lnTo>
                      <a:lnTo>
                        <a:pt x="266" y="708"/>
                      </a:lnTo>
                      <a:lnTo>
                        <a:pt x="284" y="707"/>
                      </a:lnTo>
                      <a:lnTo>
                        <a:pt x="297" y="705"/>
                      </a:lnTo>
                      <a:lnTo>
                        <a:pt x="302" y="705"/>
                      </a:lnTo>
                      <a:lnTo>
                        <a:pt x="310" y="705"/>
                      </a:lnTo>
                      <a:lnTo>
                        <a:pt x="318" y="706"/>
                      </a:lnTo>
                      <a:lnTo>
                        <a:pt x="326" y="708"/>
                      </a:lnTo>
                      <a:lnTo>
                        <a:pt x="328" y="714"/>
                      </a:lnTo>
                      <a:lnTo>
                        <a:pt x="330" y="721"/>
                      </a:lnTo>
                      <a:lnTo>
                        <a:pt x="333" y="728"/>
                      </a:lnTo>
                      <a:lnTo>
                        <a:pt x="338" y="735"/>
                      </a:lnTo>
                      <a:lnTo>
                        <a:pt x="345" y="742"/>
                      </a:lnTo>
                      <a:lnTo>
                        <a:pt x="352" y="749"/>
                      </a:lnTo>
                      <a:lnTo>
                        <a:pt x="359" y="756"/>
                      </a:lnTo>
                      <a:lnTo>
                        <a:pt x="368" y="762"/>
                      </a:lnTo>
                      <a:lnTo>
                        <a:pt x="378" y="769"/>
                      </a:lnTo>
                      <a:lnTo>
                        <a:pt x="388" y="776"/>
                      </a:lnTo>
                      <a:lnTo>
                        <a:pt x="398" y="781"/>
                      </a:lnTo>
                      <a:lnTo>
                        <a:pt x="408" y="785"/>
                      </a:lnTo>
                      <a:lnTo>
                        <a:pt x="418" y="789"/>
                      </a:lnTo>
                      <a:lnTo>
                        <a:pt x="427" y="792"/>
                      </a:lnTo>
                      <a:lnTo>
                        <a:pt x="437" y="794"/>
                      </a:lnTo>
                      <a:lnTo>
                        <a:pt x="446" y="794"/>
                      </a:lnTo>
                      <a:lnTo>
                        <a:pt x="449" y="803"/>
                      </a:lnTo>
                      <a:lnTo>
                        <a:pt x="453" y="812"/>
                      </a:lnTo>
                      <a:lnTo>
                        <a:pt x="454" y="806"/>
                      </a:lnTo>
                      <a:lnTo>
                        <a:pt x="455" y="800"/>
                      </a:lnTo>
                      <a:lnTo>
                        <a:pt x="457" y="795"/>
                      </a:lnTo>
                      <a:lnTo>
                        <a:pt x="460" y="791"/>
                      </a:lnTo>
                      <a:lnTo>
                        <a:pt x="464" y="787"/>
                      </a:lnTo>
                      <a:lnTo>
                        <a:pt x="467" y="783"/>
                      </a:lnTo>
                      <a:lnTo>
                        <a:pt x="471" y="780"/>
                      </a:lnTo>
                      <a:lnTo>
                        <a:pt x="477" y="778"/>
                      </a:lnTo>
                      <a:lnTo>
                        <a:pt x="487" y="774"/>
                      </a:lnTo>
                      <a:lnTo>
                        <a:pt x="499" y="770"/>
                      </a:lnTo>
                      <a:lnTo>
                        <a:pt x="512" y="768"/>
                      </a:lnTo>
                      <a:lnTo>
                        <a:pt x="525" y="767"/>
                      </a:lnTo>
                      <a:lnTo>
                        <a:pt x="539" y="765"/>
                      </a:lnTo>
                      <a:lnTo>
                        <a:pt x="554" y="764"/>
                      </a:lnTo>
                      <a:lnTo>
                        <a:pt x="567" y="761"/>
                      </a:lnTo>
                      <a:lnTo>
                        <a:pt x="580" y="758"/>
                      </a:lnTo>
                      <a:lnTo>
                        <a:pt x="586" y="756"/>
                      </a:lnTo>
                      <a:lnTo>
                        <a:pt x="591" y="753"/>
                      </a:lnTo>
                      <a:lnTo>
                        <a:pt x="597" y="750"/>
                      </a:lnTo>
                      <a:lnTo>
                        <a:pt x="602" y="747"/>
                      </a:lnTo>
                      <a:lnTo>
                        <a:pt x="606" y="743"/>
                      </a:lnTo>
                      <a:lnTo>
                        <a:pt x="611" y="738"/>
                      </a:lnTo>
                      <a:lnTo>
                        <a:pt x="615" y="733"/>
                      </a:lnTo>
                      <a:lnTo>
                        <a:pt x="618" y="727"/>
                      </a:lnTo>
                      <a:lnTo>
                        <a:pt x="614" y="725"/>
                      </a:lnTo>
                      <a:lnTo>
                        <a:pt x="610" y="722"/>
                      </a:lnTo>
                      <a:lnTo>
                        <a:pt x="604" y="718"/>
                      </a:lnTo>
                      <a:lnTo>
                        <a:pt x="598" y="712"/>
                      </a:lnTo>
                      <a:lnTo>
                        <a:pt x="584" y="700"/>
                      </a:lnTo>
                      <a:lnTo>
                        <a:pt x="571" y="686"/>
                      </a:lnTo>
                      <a:lnTo>
                        <a:pt x="559" y="671"/>
                      </a:lnTo>
                      <a:lnTo>
                        <a:pt x="548" y="655"/>
                      </a:lnTo>
                      <a:lnTo>
                        <a:pt x="545" y="648"/>
                      </a:lnTo>
                      <a:lnTo>
                        <a:pt x="542" y="641"/>
                      </a:lnTo>
                      <a:lnTo>
                        <a:pt x="539" y="634"/>
                      </a:lnTo>
                      <a:lnTo>
                        <a:pt x="538" y="628"/>
                      </a:lnTo>
                      <a:lnTo>
                        <a:pt x="534" y="627"/>
                      </a:lnTo>
                      <a:lnTo>
                        <a:pt x="530" y="626"/>
                      </a:lnTo>
                      <a:lnTo>
                        <a:pt x="526" y="624"/>
                      </a:lnTo>
                      <a:lnTo>
                        <a:pt x="523" y="620"/>
                      </a:lnTo>
                      <a:lnTo>
                        <a:pt x="517" y="613"/>
                      </a:lnTo>
                      <a:lnTo>
                        <a:pt x="512" y="603"/>
                      </a:lnTo>
                      <a:lnTo>
                        <a:pt x="512" y="579"/>
                      </a:lnTo>
                      <a:lnTo>
                        <a:pt x="526" y="578"/>
                      </a:lnTo>
                      <a:lnTo>
                        <a:pt x="539" y="577"/>
                      </a:lnTo>
                      <a:lnTo>
                        <a:pt x="551" y="575"/>
                      </a:lnTo>
                      <a:lnTo>
                        <a:pt x="562" y="571"/>
                      </a:lnTo>
                      <a:lnTo>
                        <a:pt x="572" y="568"/>
                      </a:lnTo>
                      <a:lnTo>
                        <a:pt x="582" y="563"/>
                      </a:lnTo>
                      <a:lnTo>
                        <a:pt x="591" y="558"/>
                      </a:lnTo>
                      <a:lnTo>
                        <a:pt x="600" y="552"/>
                      </a:lnTo>
                      <a:lnTo>
                        <a:pt x="607" y="545"/>
                      </a:lnTo>
                      <a:lnTo>
                        <a:pt x="615" y="538"/>
                      </a:lnTo>
                      <a:lnTo>
                        <a:pt x="622" y="531"/>
                      </a:lnTo>
                      <a:lnTo>
                        <a:pt x="628" y="523"/>
                      </a:lnTo>
                      <a:lnTo>
                        <a:pt x="639" y="507"/>
                      </a:lnTo>
                      <a:lnTo>
                        <a:pt x="650" y="489"/>
                      </a:lnTo>
                      <a:lnTo>
                        <a:pt x="669" y="453"/>
                      </a:lnTo>
                      <a:lnTo>
                        <a:pt x="688" y="417"/>
                      </a:lnTo>
                      <a:lnTo>
                        <a:pt x="699" y="401"/>
                      </a:lnTo>
                      <a:lnTo>
                        <a:pt x="710" y="387"/>
                      </a:lnTo>
                      <a:lnTo>
                        <a:pt x="716" y="379"/>
                      </a:lnTo>
                      <a:lnTo>
                        <a:pt x="723" y="373"/>
                      </a:lnTo>
                      <a:lnTo>
                        <a:pt x="730" y="368"/>
                      </a:lnTo>
                      <a:lnTo>
                        <a:pt x="738" y="363"/>
                      </a:lnTo>
                      <a:lnTo>
                        <a:pt x="732" y="351"/>
                      </a:lnTo>
                      <a:lnTo>
                        <a:pt x="727" y="340"/>
                      </a:lnTo>
                      <a:lnTo>
                        <a:pt x="726" y="335"/>
                      </a:lnTo>
                      <a:lnTo>
                        <a:pt x="725" y="330"/>
                      </a:lnTo>
                      <a:lnTo>
                        <a:pt x="725" y="324"/>
                      </a:lnTo>
                      <a:lnTo>
                        <a:pt x="725" y="319"/>
                      </a:lnTo>
                      <a:lnTo>
                        <a:pt x="726" y="314"/>
                      </a:lnTo>
                      <a:lnTo>
                        <a:pt x="727" y="309"/>
                      </a:lnTo>
                      <a:lnTo>
                        <a:pt x="729" y="305"/>
                      </a:lnTo>
                      <a:lnTo>
                        <a:pt x="733" y="301"/>
                      </a:lnTo>
                      <a:lnTo>
                        <a:pt x="736" y="298"/>
                      </a:lnTo>
                      <a:lnTo>
                        <a:pt x="740" y="295"/>
                      </a:lnTo>
                      <a:lnTo>
                        <a:pt x="746" y="292"/>
                      </a:lnTo>
                      <a:lnTo>
                        <a:pt x="751" y="289"/>
                      </a:lnTo>
                      <a:lnTo>
                        <a:pt x="722" y="262"/>
                      </a:lnTo>
                      <a:lnTo>
                        <a:pt x="700" y="242"/>
                      </a:lnTo>
                      <a:lnTo>
                        <a:pt x="690" y="232"/>
                      </a:lnTo>
                      <a:lnTo>
                        <a:pt x="680" y="221"/>
                      </a:lnTo>
                      <a:lnTo>
                        <a:pt x="670" y="207"/>
                      </a:lnTo>
                      <a:lnTo>
                        <a:pt x="658" y="190"/>
                      </a:lnTo>
                      <a:lnTo>
                        <a:pt x="658" y="147"/>
                      </a:lnTo>
                      <a:lnTo>
                        <a:pt x="701" y="145"/>
                      </a:lnTo>
                      <a:lnTo>
                        <a:pt x="733" y="143"/>
                      </a:lnTo>
                      <a:lnTo>
                        <a:pt x="758" y="140"/>
                      </a:lnTo>
                      <a:lnTo>
                        <a:pt x="778" y="136"/>
                      </a:lnTo>
                      <a:lnTo>
                        <a:pt x="785" y="134"/>
                      </a:lnTo>
                      <a:lnTo>
                        <a:pt x="792" y="131"/>
                      </a:lnTo>
                      <a:lnTo>
                        <a:pt x="799" y="127"/>
                      </a:lnTo>
                      <a:lnTo>
                        <a:pt x="805" y="123"/>
                      </a:lnTo>
                      <a:lnTo>
                        <a:pt x="817" y="113"/>
                      </a:lnTo>
                      <a:lnTo>
                        <a:pt x="831" y="98"/>
                      </a:lnTo>
                    </a:path>
                  </a:pathLst>
                </a:custGeom>
                <a:grpFill/>
                <a:ln w="9525" cmpd="sng">
                  <a:solidFill>
                    <a:srgbClr val="FFFFFF"/>
                  </a:solidFill>
                  <a:prstDash val="solid"/>
                  <a:round/>
                  <a:headEnd/>
                  <a:tailEnd/>
                </a:ln>
              </p:spPr>
              <p:txBody>
                <a:bodyPr/>
                <a:lstStyle/>
                <a:p>
                  <a:endParaRPr lang="en-GB" sz="1637"/>
                </a:p>
              </p:txBody>
            </p:sp>
            <p:sp>
              <p:nvSpPr>
                <p:cNvPr id="332" name="Freeform 262"/>
                <p:cNvSpPr>
                  <a:spLocks/>
                </p:cNvSpPr>
                <p:nvPr>
                  <p:custDataLst>
                    <p:tags r:id="rId204"/>
                  </p:custDataLst>
                </p:nvPr>
              </p:nvSpPr>
              <p:spPr bwMode="auto">
                <a:xfrm>
                  <a:off x="6375159" y="2957494"/>
                  <a:ext cx="240885" cy="660866"/>
                </a:xfrm>
                <a:custGeom>
                  <a:avLst/>
                  <a:gdLst>
                    <a:gd name="T0" fmla="*/ 191387 w 505"/>
                    <a:gd name="T1" fmla="*/ 557569 h 1121"/>
                    <a:gd name="T2" fmla="*/ 193572 w 505"/>
                    <a:gd name="T3" fmla="*/ 537189 h 1121"/>
                    <a:gd name="T4" fmla="*/ 174346 w 505"/>
                    <a:gd name="T5" fmla="*/ 534054 h 1121"/>
                    <a:gd name="T6" fmla="*/ 176967 w 505"/>
                    <a:gd name="T7" fmla="*/ 500088 h 1121"/>
                    <a:gd name="T8" fmla="*/ 183085 w 505"/>
                    <a:gd name="T9" fmla="*/ 486501 h 1121"/>
                    <a:gd name="T10" fmla="*/ 180463 w 505"/>
                    <a:gd name="T11" fmla="*/ 469779 h 1121"/>
                    <a:gd name="T12" fmla="*/ 173909 w 505"/>
                    <a:gd name="T13" fmla="*/ 466644 h 1121"/>
                    <a:gd name="T14" fmla="*/ 166917 w 505"/>
                    <a:gd name="T15" fmla="*/ 437903 h 1121"/>
                    <a:gd name="T16" fmla="*/ 141574 w 505"/>
                    <a:gd name="T17" fmla="*/ 375719 h 1121"/>
                    <a:gd name="T18" fmla="*/ 129339 w 505"/>
                    <a:gd name="T19" fmla="*/ 367358 h 1121"/>
                    <a:gd name="T20" fmla="*/ 123222 w 505"/>
                    <a:gd name="T21" fmla="*/ 375196 h 1121"/>
                    <a:gd name="T22" fmla="*/ 98752 w 505"/>
                    <a:gd name="T23" fmla="*/ 387738 h 1121"/>
                    <a:gd name="T24" fmla="*/ 73846 w 505"/>
                    <a:gd name="T25" fmla="*/ 384602 h 1121"/>
                    <a:gd name="T26" fmla="*/ 58115 w 505"/>
                    <a:gd name="T27" fmla="*/ 296290 h 1121"/>
                    <a:gd name="T28" fmla="*/ 44133 w 505"/>
                    <a:gd name="T29" fmla="*/ 271730 h 1121"/>
                    <a:gd name="T30" fmla="*/ 22285 w 505"/>
                    <a:gd name="T31" fmla="*/ 262324 h 1121"/>
                    <a:gd name="T32" fmla="*/ 3496 w 505"/>
                    <a:gd name="T33" fmla="*/ 246125 h 1121"/>
                    <a:gd name="T34" fmla="*/ 10050 w 505"/>
                    <a:gd name="T35" fmla="*/ 232538 h 1121"/>
                    <a:gd name="T36" fmla="*/ 25343 w 505"/>
                    <a:gd name="T37" fmla="*/ 188643 h 1121"/>
                    <a:gd name="T38" fmla="*/ 29276 w 505"/>
                    <a:gd name="T39" fmla="*/ 144748 h 1121"/>
                    <a:gd name="T40" fmla="*/ 34957 w 505"/>
                    <a:gd name="T41" fmla="*/ 138478 h 1121"/>
                    <a:gd name="T42" fmla="*/ 49376 w 505"/>
                    <a:gd name="T43" fmla="*/ 134820 h 1121"/>
                    <a:gd name="T44" fmla="*/ 58552 w 505"/>
                    <a:gd name="T45" fmla="*/ 116008 h 1121"/>
                    <a:gd name="T46" fmla="*/ 61174 w 505"/>
                    <a:gd name="T47" fmla="*/ 61139 h 1121"/>
                    <a:gd name="T48" fmla="*/ 69476 w 505"/>
                    <a:gd name="T49" fmla="*/ 51211 h 1121"/>
                    <a:gd name="T50" fmla="*/ 93072 w 505"/>
                    <a:gd name="T51" fmla="*/ 38669 h 1121"/>
                    <a:gd name="T52" fmla="*/ 102248 w 505"/>
                    <a:gd name="T53" fmla="*/ 10974 h 1121"/>
                    <a:gd name="T54" fmla="*/ 121037 w 505"/>
                    <a:gd name="T55" fmla="*/ 16199 h 1121"/>
                    <a:gd name="T56" fmla="*/ 136330 w 505"/>
                    <a:gd name="T57" fmla="*/ 25605 h 1121"/>
                    <a:gd name="T58" fmla="*/ 147254 w 505"/>
                    <a:gd name="T59" fmla="*/ 63752 h 1121"/>
                    <a:gd name="T60" fmla="*/ 146380 w 505"/>
                    <a:gd name="T61" fmla="*/ 87267 h 1121"/>
                    <a:gd name="T62" fmla="*/ 131087 w 505"/>
                    <a:gd name="T63" fmla="*/ 112872 h 1121"/>
                    <a:gd name="T64" fmla="*/ 128028 w 505"/>
                    <a:gd name="T65" fmla="*/ 128027 h 1121"/>
                    <a:gd name="T66" fmla="*/ 135020 w 505"/>
                    <a:gd name="T67" fmla="*/ 136388 h 1121"/>
                    <a:gd name="T68" fmla="*/ 151187 w 505"/>
                    <a:gd name="T69" fmla="*/ 141091 h 1121"/>
                    <a:gd name="T70" fmla="*/ 162111 w 505"/>
                    <a:gd name="T71" fmla="*/ 152064 h 1121"/>
                    <a:gd name="T72" fmla="*/ 173909 w 505"/>
                    <a:gd name="T73" fmla="*/ 180282 h 1121"/>
                    <a:gd name="T74" fmla="*/ 187891 w 505"/>
                    <a:gd name="T75" fmla="*/ 209023 h 1121"/>
                    <a:gd name="T76" fmla="*/ 202748 w 505"/>
                    <a:gd name="T77" fmla="*/ 218429 h 1121"/>
                    <a:gd name="T78" fmla="*/ 220663 w 505"/>
                    <a:gd name="T79" fmla="*/ 218429 h 1121"/>
                    <a:gd name="T80" fmla="*/ 207991 w 505"/>
                    <a:gd name="T81" fmla="*/ 258143 h 1121"/>
                    <a:gd name="T82" fmla="*/ 186580 w 505"/>
                    <a:gd name="T83" fmla="*/ 266504 h 1121"/>
                    <a:gd name="T84" fmla="*/ 167354 w 505"/>
                    <a:gd name="T85" fmla="*/ 275910 h 1121"/>
                    <a:gd name="T86" fmla="*/ 157304 w 505"/>
                    <a:gd name="T87" fmla="*/ 298903 h 1121"/>
                    <a:gd name="T88" fmla="*/ 161674 w 505"/>
                    <a:gd name="T89" fmla="*/ 332869 h 1121"/>
                    <a:gd name="T90" fmla="*/ 175656 w 505"/>
                    <a:gd name="T91" fmla="*/ 356907 h 1121"/>
                    <a:gd name="T92" fmla="*/ 187891 w 505"/>
                    <a:gd name="T93" fmla="*/ 384080 h 1121"/>
                    <a:gd name="T94" fmla="*/ 187017 w 505"/>
                    <a:gd name="T95" fmla="*/ 405505 h 1121"/>
                    <a:gd name="T96" fmla="*/ 183085 w 505"/>
                    <a:gd name="T97" fmla="*/ 418569 h 1121"/>
                    <a:gd name="T98" fmla="*/ 190076 w 505"/>
                    <a:gd name="T99" fmla="*/ 444696 h 1121"/>
                    <a:gd name="T100" fmla="*/ 211050 w 505"/>
                    <a:gd name="T101" fmla="*/ 504268 h 1121"/>
                    <a:gd name="T102" fmla="*/ 200126 w 505"/>
                    <a:gd name="T103" fmla="*/ 565407 h 112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505" h="1121">
                      <a:moveTo>
                        <a:pt x="446" y="1121"/>
                      </a:moveTo>
                      <a:lnTo>
                        <a:pt x="445" y="1106"/>
                      </a:lnTo>
                      <a:lnTo>
                        <a:pt x="443" y="1091"/>
                      </a:lnTo>
                      <a:lnTo>
                        <a:pt x="440" y="1079"/>
                      </a:lnTo>
                      <a:lnTo>
                        <a:pt x="438" y="1067"/>
                      </a:lnTo>
                      <a:lnTo>
                        <a:pt x="437" y="1056"/>
                      </a:lnTo>
                      <a:lnTo>
                        <a:pt x="437" y="1045"/>
                      </a:lnTo>
                      <a:lnTo>
                        <a:pt x="438" y="1040"/>
                      </a:lnTo>
                      <a:lnTo>
                        <a:pt x="439" y="1034"/>
                      </a:lnTo>
                      <a:lnTo>
                        <a:pt x="443" y="1028"/>
                      </a:lnTo>
                      <a:lnTo>
                        <a:pt x="446" y="1022"/>
                      </a:lnTo>
                      <a:lnTo>
                        <a:pt x="430" y="1022"/>
                      </a:lnTo>
                      <a:lnTo>
                        <a:pt x="420" y="1022"/>
                      </a:lnTo>
                      <a:lnTo>
                        <a:pt x="411" y="1022"/>
                      </a:lnTo>
                      <a:lnTo>
                        <a:pt x="399" y="1022"/>
                      </a:lnTo>
                      <a:lnTo>
                        <a:pt x="399" y="1001"/>
                      </a:lnTo>
                      <a:lnTo>
                        <a:pt x="399" y="988"/>
                      </a:lnTo>
                      <a:lnTo>
                        <a:pt x="399" y="975"/>
                      </a:lnTo>
                      <a:lnTo>
                        <a:pt x="399" y="961"/>
                      </a:lnTo>
                      <a:lnTo>
                        <a:pt x="405" y="957"/>
                      </a:lnTo>
                      <a:lnTo>
                        <a:pt x="411" y="953"/>
                      </a:lnTo>
                      <a:lnTo>
                        <a:pt x="414" y="949"/>
                      </a:lnTo>
                      <a:lnTo>
                        <a:pt x="416" y="946"/>
                      </a:lnTo>
                      <a:lnTo>
                        <a:pt x="419" y="939"/>
                      </a:lnTo>
                      <a:lnTo>
                        <a:pt x="419" y="931"/>
                      </a:lnTo>
                      <a:lnTo>
                        <a:pt x="419" y="922"/>
                      </a:lnTo>
                      <a:lnTo>
                        <a:pt x="419" y="915"/>
                      </a:lnTo>
                      <a:lnTo>
                        <a:pt x="419" y="908"/>
                      </a:lnTo>
                      <a:lnTo>
                        <a:pt x="419" y="899"/>
                      </a:lnTo>
                      <a:lnTo>
                        <a:pt x="413" y="899"/>
                      </a:lnTo>
                      <a:lnTo>
                        <a:pt x="409" y="899"/>
                      </a:lnTo>
                      <a:lnTo>
                        <a:pt x="404" y="898"/>
                      </a:lnTo>
                      <a:lnTo>
                        <a:pt x="402" y="896"/>
                      </a:lnTo>
                      <a:lnTo>
                        <a:pt x="400" y="895"/>
                      </a:lnTo>
                      <a:lnTo>
                        <a:pt x="398" y="893"/>
                      </a:lnTo>
                      <a:lnTo>
                        <a:pt x="397" y="891"/>
                      </a:lnTo>
                      <a:lnTo>
                        <a:pt x="395" y="889"/>
                      </a:lnTo>
                      <a:lnTo>
                        <a:pt x="394" y="879"/>
                      </a:lnTo>
                      <a:lnTo>
                        <a:pt x="392" y="868"/>
                      </a:lnTo>
                      <a:lnTo>
                        <a:pt x="382" y="838"/>
                      </a:lnTo>
                      <a:lnTo>
                        <a:pt x="371" y="811"/>
                      </a:lnTo>
                      <a:lnTo>
                        <a:pt x="360" y="786"/>
                      </a:lnTo>
                      <a:lnTo>
                        <a:pt x="348" y="764"/>
                      </a:lnTo>
                      <a:lnTo>
                        <a:pt x="336" y="741"/>
                      </a:lnTo>
                      <a:lnTo>
                        <a:pt x="324" y="719"/>
                      </a:lnTo>
                      <a:lnTo>
                        <a:pt x="312" y="695"/>
                      </a:lnTo>
                      <a:lnTo>
                        <a:pt x="300" y="672"/>
                      </a:lnTo>
                      <a:lnTo>
                        <a:pt x="299" y="684"/>
                      </a:lnTo>
                      <a:lnTo>
                        <a:pt x="298" y="694"/>
                      </a:lnTo>
                      <a:lnTo>
                        <a:pt x="296" y="703"/>
                      </a:lnTo>
                      <a:lnTo>
                        <a:pt x="292" y="710"/>
                      </a:lnTo>
                      <a:lnTo>
                        <a:pt x="291" y="713"/>
                      </a:lnTo>
                      <a:lnTo>
                        <a:pt x="288" y="715"/>
                      </a:lnTo>
                      <a:lnTo>
                        <a:pt x="286" y="717"/>
                      </a:lnTo>
                      <a:lnTo>
                        <a:pt x="282" y="718"/>
                      </a:lnTo>
                      <a:lnTo>
                        <a:pt x="276" y="720"/>
                      </a:lnTo>
                      <a:lnTo>
                        <a:pt x="266" y="721"/>
                      </a:lnTo>
                      <a:lnTo>
                        <a:pt x="246" y="751"/>
                      </a:lnTo>
                      <a:lnTo>
                        <a:pt x="238" y="748"/>
                      </a:lnTo>
                      <a:lnTo>
                        <a:pt x="226" y="742"/>
                      </a:lnTo>
                      <a:lnTo>
                        <a:pt x="214" y="736"/>
                      </a:lnTo>
                      <a:lnTo>
                        <a:pt x="207" y="733"/>
                      </a:lnTo>
                      <a:lnTo>
                        <a:pt x="190" y="734"/>
                      </a:lnTo>
                      <a:lnTo>
                        <a:pt x="176" y="735"/>
                      </a:lnTo>
                      <a:lnTo>
                        <a:pt x="169" y="736"/>
                      </a:lnTo>
                      <a:lnTo>
                        <a:pt x="165" y="736"/>
                      </a:lnTo>
                      <a:lnTo>
                        <a:pt x="162" y="735"/>
                      </a:lnTo>
                      <a:lnTo>
                        <a:pt x="159" y="733"/>
                      </a:lnTo>
                      <a:lnTo>
                        <a:pt x="167" y="646"/>
                      </a:lnTo>
                      <a:lnTo>
                        <a:pt x="133" y="567"/>
                      </a:lnTo>
                      <a:lnTo>
                        <a:pt x="122" y="551"/>
                      </a:lnTo>
                      <a:lnTo>
                        <a:pt x="112" y="539"/>
                      </a:lnTo>
                      <a:lnTo>
                        <a:pt x="107" y="533"/>
                      </a:lnTo>
                      <a:lnTo>
                        <a:pt x="103" y="527"/>
                      </a:lnTo>
                      <a:lnTo>
                        <a:pt x="101" y="520"/>
                      </a:lnTo>
                      <a:lnTo>
                        <a:pt x="100" y="511"/>
                      </a:lnTo>
                      <a:lnTo>
                        <a:pt x="85" y="508"/>
                      </a:lnTo>
                      <a:lnTo>
                        <a:pt x="74" y="505"/>
                      </a:lnTo>
                      <a:lnTo>
                        <a:pt x="62" y="504"/>
                      </a:lnTo>
                      <a:lnTo>
                        <a:pt x="51" y="502"/>
                      </a:lnTo>
                      <a:lnTo>
                        <a:pt x="41" y="498"/>
                      </a:lnTo>
                      <a:lnTo>
                        <a:pt x="32" y="493"/>
                      </a:lnTo>
                      <a:lnTo>
                        <a:pt x="23" y="487"/>
                      </a:lnTo>
                      <a:lnTo>
                        <a:pt x="16" y="479"/>
                      </a:lnTo>
                      <a:lnTo>
                        <a:pt x="8" y="471"/>
                      </a:lnTo>
                      <a:lnTo>
                        <a:pt x="0" y="462"/>
                      </a:lnTo>
                      <a:lnTo>
                        <a:pt x="8" y="458"/>
                      </a:lnTo>
                      <a:lnTo>
                        <a:pt x="13" y="454"/>
                      </a:lnTo>
                      <a:lnTo>
                        <a:pt x="19" y="450"/>
                      </a:lnTo>
                      <a:lnTo>
                        <a:pt x="23" y="445"/>
                      </a:lnTo>
                      <a:lnTo>
                        <a:pt x="31" y="435"/>
                      </a:lnTo>
                      <a:lnTo>
                        <a:pt x="38" y="422"/>
                      </a:lnTo>
                      <a:lnTo>
                        <a:pt x="45" y="397"/>
                      </a:lnTo>
                      <a:lnTo>
                        <a:pt x="54" y="369"/>
                      </a:lnTo>
                      <a:lnTo>
                        <a:pt x="58" y="361"/>
                      </a:lnTo>
                      <a:lnTo>
                        <a:pt x="62" y="351"/>
                      </a:lnTo>
                      <a:lnTo>
                        <a:pt x="64" y="340"/>
                      </a:lnTo>
                      <a:lnTo>
                        <a:pt x="65" y="328"/>
                      </a:lnTo>
                      <a:lnTo>
                        <a:pt x="67" y="302"/>
                      </a:lnTo>
                      <a:lnTo>
                        <a:pt x="67" y="277"/>
                      </a:lnTo>
                      <a:lnTo>
                        <a:pt x="67" y="274"/>
                      </a:lnTo>
                      <a:lnTo>
                        <a:pt x="68" y="272"/>
                      </a:lnTo>
                      <a:lnTo>
                        <a:pt x="70" y="269"/>
                      </a:lnTo>
                      <a:lnTo>
                        <a:pt x="73" y="268"/>
                      </a:lnTo>
                      <a:lnTo>
                        <a:pt x="80" y="265"/>
                      </a:lnTo>
                      <a:lnTo>
                        <a:pt x="88" y="264"/>
                      </a:lnTo>
                      <a:lnTo>
                        <a:pt x="96" y="263"/>
                      </a:lnTo>
                      <a:lnTo>
                        <a:pt x="103" y="262"/>
                      </a:lnTo>
                      <a:lnTo>
                        <a:pt x="110" y="261"/>
                      </a:lnTo>
                      <a:lnTo>
                        <a:pt x="113" y="258"/>
                      </a:lnTo>
                      <a:lnTo>
                        <a:pt x="119" y="253"/>
                      </a:lnTo>
                      <a:lnTo>
                        <a:pt x="124" y="247"/>
                      </a:lnTo>
                      <a:lnTo>
                        <a:pt x="129" y="239"/>
                      </a:lnTo>
                      <a:lnTo>
                        <a:pt x="132" y="231"/>
                      </a:lnTo>
                      <a:lnTo>
                        <a:pt x="134" y="222"/>
                      </a:lnTo>
                      <a:lnTo>
                        <a:pt x="136" y="213"/>
                      </a:lnTo>
                      <a:lnTo>
                        <a:pt x="137" y="202"/>
                      </a:lnTo>
                      <a:lnTo>
                        <a:pt x="140" y="192"/>
                      </a:lnTo>
                      <a:lnTo>
                        <a:pt x="141" y="152"/>
                      </a:lnTo>
                      <a:lnTo>
                        <a:pt x="140" y="117"/>
                      </a:lnTo>
                      <a:lnTo>
                        <a:pt x="141" y="114"/>
                      </a:lnTo>
                      <a:lnTo>
                        <a:pt x="143" y="110"/>
                      </a:lnTo>
                      <a:lnTo>
                        <a:pt x="145" y="107"/>
                      </a:lnTo>
                      <a:lnTo>
                        <a:pt x="150" y="104"/>
                      </a:lnTo>
                      <a:lnTo>
                        <a:pt x="159" y="98"/>
                      </a:lnTo>
                      <a:lnTo>
                        <a:pt x="170" y="91"/>
                      </a:lnTo>
                      <a:lnTo>
                        <a:pt x="193" y="83"/>
                      </a:lnTo>
                      <a:lnTo>
                        <a:pt x="207" y="80"/>
                      </a:lnTo>
                      <a:lnTo>
                        <a:pt x="210" y="77"/>
                      </a:lnTo>
                      <a:lnTo>
                        <a:pt x="213" y="74"/>
                      </a:lnTo>
                      <a:lnTo>
                        <a:pt x="217" y="70"/>
                      </a:lnTo>
                      <a:lnTo>
                        <a:pt x="219" y="66"/>
                      </a:lnTo>
                      <a:lnTo>
                        <a:pt x="224" y="56"/>
                      </a:lnTo>
                      <a:lnTo>
                        <a:pt x="227" y="45"/>
                      </a:lnTo>
                      <a:lnTo>
                        <a:pt x="234" y="21"/>
                      </a:lnTo>
                      <a:lnTo>
                        <a:pt x="240" y="0"/>
                      </a:lnTo>
                      <a:lnTo>
                        <a:pt x="251" y="7"/>
                      </a:lnTo>
                      <a:lnTo>
                        <a:pt x="260" y="15"/>
                      </a:lnTo>
                      <a:lnTo>
                        <a:pt x="269" y="23"/>
                      </a:lnTo>
                      <a:lnTo>
                        <a:pt x="277" y="31"/>
                      </a:lnTo>
                      <a:lnTo>
                        <a:pt x="286" y="39"/>
                      </a:lnTo>
                      <a:lnTo>
                        <a:pt x="294" y="44"/>
                      </a:lnTo>
                      <a:lnTo>
                        <a:pt x="300" y="47"/>
                      </a:lnTo>
                      <a:lnTo>
                        <a:pt x="305" y="48"/>
                      </a:lnTo>
                      <a:lnTo>
                        <a:pt x="312" y="49"/>
                      </a:lnTo>
                      <a:lnTo>
                        <a:pt x="320" y="49"/>
                      </a:lnTo>
                      <a:lnTo>
                        <a:pt x="325" y="75"/>
                      </a:lnTo>
                      <a:lnTo>
                        <a:pt x="332" y="99"/>
                      </a:lnTo>
                      <a:lnTo>
                        <a:pt x="335" y="110"/>
                      </a:lnTo>
                      <a:lnTo>
                        <a:pt x="337" y="122"/>
                      </a:lnTo>
                      <a:lnTo>
                        <a:pt x="338" y="134"/>
                      </a:lnTo>
                      <a:lnTo>
                        <a:pt x="339" y="147"/>
                      </a:lnTo>
                      <a:lnTo>
                        <a:pt x="338" y="155"/>
                      </a:lnTo>
                      <a:lnTo>
                        <a:pt x="337" y="161"/>
                      </a:lnTo>
                      <a:lnTo>
                        <a:pt x="335" y="167"/>
                      </a:lnTo>
                      <a:lnTo>
                        <a:pt x="332" y="173"/>
                      </a:lnTo>
                      <a:lnTo>
                        <a:pt x="324" y="183"/>
                      </a:lnTo>
                      <a:lnTo>
                        <a:pt x="316" y="194"/>
                      </a:lnTo>
                      <a:lnTo>
                        <a:pt x="308" y="204"/>
                      </a:lnTo>
                      <a:lnTo>
                        <a:pt x="300" y="216"/>
                      </a:lnTo>
                      <a:lnTo>
                        <a:pt x="297" y="221"/>
                      </a:lnTo>
                      <a:lnTo>
                        <a:pt x="294" y="227"/>
                      </a:lnTo>
                      <a:lnTo>
                        <a:pt x="293" y="233"/>
                      </a:lnTo>
                      <a:lnTo>
                        <a:pt x="292" y="240"/>
                      </a:lnTo>
                      <a:lnTo>
                        <a:pt x="293" y="245"/>
                      </a:lnTo>
                      <a:lnTo>
                        <a:pt x="294" y="250"/>
                      </a:lnTo>
                      <a:lnTo>
                        <a:pt x="297" y="253"/>
                      </a:lnTo>
                      <a:lnTo>
                        <a:pt x="300" y="256"/>
                      </a:lnTo>
                      <a:lnTo>
                        <a:pt x="304" y="258"/>
                      </a:lnTo>
                      <a:lnTo>
                        <a:pt x="309" y="261"/>
                      </a:lnTo>
                      <a:lnTo>
                        <a:pt x="313" y="262"/>
                      </a:lnTo>
                      <a:lnTo>
                        <a:pt x="319" y="264"/>
                      </a:lnTo>
                      <a:lnTo>
                        <a:pt x="330" y="266"/>
                      </a:lnTo>
                      <a:lnTo>
                        <a:pt x="341" y="268"/>
                      </a:lnTo>
                      <a:lnTo>
                        <a:pt x="346" y="270"/>
                      </a:lnTo>
                      <a:lnTo>
                        <a:pt x="350" y="272"/>
                      </a:lnTo>
                      <a:lnTo>
                        <a:pt x="355" y="274"/>
                      </a:lnTo>
                      <a:lnTo>
                        <a:pt x="359" y="277"/>
                      </a:lnTo>
                      <a:lnTo>
                        <a:pt x="366" y="284"/>
                      </a:lnTo>
                      <a:lnTo>
                        <a:pt x="371" y="291"/>
                      </a:lnTo>
                      <a:lnTo>
                        <a:pt x="375" y="298"/>
                      </a:lnTo>
                      <a:lnTo>
                        <a:pt x="378" y="304"/>
                      </a:lnTo>
                      <a:lnTo>
                        <a:pt x="384" y="319"/>
                      </a:lnTo>
                      <a:lnTo>
                        <a:pt x="392" y="333"/>
                      </a:lnTo>
                      <a:lnTo>
                        <a:pt x="398" y="345"/>
                      </a:lnTo>
                      <a:lnTo>
                        <a:pt x="404" y="359"/>
                      </a:lnTo>
                      <a:lnTo>
                        <a:pt x="411" y="374"/>
                      </a:lnTo>
                      <a:lnTo>
                        <a:pt x="420" y="387"/>
                      </a:lnTo>
                      <a:lnTo>
                        <a:pt x="425" y="394"/>
                      </a:lnTo>
                      <a:lnTo>
                        <a:pt x="430" y="400"/>
                      </a:lnTo>
                      <a:lnTo>
                        <a:pt x="436" y="405"/>
                      </a:lnTo>
                      <a:lnTo>
                        <a:pt x="442" y="409"/>
                      </a:lnTo>
                      <a:lnTo>
                        <a:pt x="448" y="413"/>
                      </a:lnTo>
                      <a:lnTo>
                        <a:pt x="456" y="416"/>
                      </a:lnTo>
                      <a:lnTo>
                        <a:pt x="464" y="418"/>
                      </a:lnTo>
                      <a:lnTo>
                        <a:pt x="472" y="418"/>
                      </a:lnTo>
                      <a:lnTo>
                        <a:pt x="477" y="418"/>
                      </a:lnTo>
                      <a:lnTo>
                        <a:pt x="487" y="418"/>
                      </a:lnTo>
                      <a:lnTo>
                        <a:pt x="498" y="418"/>
                      </a:lnTo>
                      <a:lnTo>
                        <a:pt x="505" y="418"/>
                      </a:lnTo>
                      <a:lnTo>
                        <a:pt x="499" y="439"/>
                      </a:lnTo>
                      <a:lnTo>
                        <a:pt x="489" y="460"/>
                      </a:lnTo>
                      <a:lnTo>
                        <a:pt x="483" y="470"/>
                      </a:lnTo>
                      <a:lnTo>
                        <a:pt x="479" y="482"/>
                      </a:lnTo>
                      <a:lnTo>
                        <a:pt x="476" y="494"/>
                      </a:lnTo>
                      <a:lnTo>
                        <a:pt x="472" y="505"/>
                      </a:lnTo>
                      <a:lnTo>
                        <a:pt x="479" y="499"/>
                      </a:lnTo>
                      <a:lnTo>
                        <a:pt x="458" y="503"/>
                      </a:lnTo>
                      <a:lnTo>
                        <a:pt x="437" y="507"/>
                      </a:lnTo>
                      <a:lnTo>
                        <a:pt x="427" y="510"/>
                      </a:lnTo>
                      <a:lnTo>
                        <a:pt x="417" y="512"/>
                      </a:lnTo>
                      <a:lnTo>
                        <a:pt x="408" y="515"/>
                      </a:lnTo>
                      <a:lnTo>
                        <a:pt x="399" y="519"/>
                      </a:lnTo>
                      <a:lnTo>
                        <a:pt x="391" y="523"/>
                      </a:lnTo>
                      <a:lnTo>
                        <a:pt x="383" y="528"/>
                      </a:lnTo>
                      <a:lnTo>
                        <a:pt x="376" y="534"/>
                      </a:lnTo>
                      <a:lnTo>
                        <a:pt x="370" y="543"/>
                      </a:lnTo>
                      <a:lnTo>
                        <a:pt x="366" y="551"/>
                      </a:lnTo>
                      <a:lnTo>
                        <a:pt x="363" y="561"/>
                      </a:lnTo>
                      <a:lnTo>
                        <a:pt x="360" y="572"/>
                      </a:lnTo>
                      <a:lnTo>
                        <a:pt x="359" y="585"/>
                      </a:lnTo>
                      <a:lnTo>
                        <a:pt x="360" y="601"/>
                      </a:lnTo>
                      <a:lnTo>
                        <a:pt x="363" y="614"/>
                      </a:lnTo>
                      <a:lnTo>
                        <a:pt x="366" y="626"/>
                      </a:lnTo>
                      <a:lnTo>
                        <a:pt x="370" y="637"/>
                      </a:lnTo>
                      <a:lnTo>
                        <a:pt x="376" y="647"/>
                      </a:lnTo>
                      <a:lnTo>
                        <a:pt x="382" y="657"/>
                      </a:lnTo>
                      <a:lnTo>
                        <a:pt x="389" y="666"/>
                      </a:lnTo>
                      <a:lnTo>
                        <a:pt x="395" y="675"/>
                      </a:lnTo>
                      <a:lnTo>
                        <a:pt x="402" y="683"/>
                      </a:lnTo>
                      <a:lnTo>
                        <a:pt x="409" y="692"/>
                      </a:lnTo>
                      <a:lnTo>
                        <a:pt x="415" y="701"/>
                      </a:lnTo>
                      <a:lnTo>
                        <a:pt x="421" y="712"/>
                      </a:lnTo>
                      <a:lnTo>
                        <a:pt x="425" y="723"/>
                      </a:lnTo>
                      <a:lnTo>
                        <a:pt x="430" y="735"/>
                      </a:lnTo>
                      <a:lnTo>
                        <a:pt x="432" y="748"/>
                      </a:lnTo>
                      <a:lnTo>
                        <a:pt x="433" y="764"/>
                      </a:lnTo>
                      <a:lnTo>
                        <a:pt x="432" y="769"/>
                      </a:lnTo>
                      <a:lnTo>
                        <a:pt x="431" y="773"/>
                      </a:lnTo>
                      <a:lnTo>
                        <a:pt x="428" y="776"/>
                      </a:lnTo>
                      <a:lnTo>
                        <a:pt x="425" y="780"/>
                      </a:lnTo>
                      <a:lnTo>
                        <a:pt x="423" y="784"/>
                      </a:lnTo>
                      <a:lnTo>
                        <a:pt x="421" y="789"/>
                      </a:lnTo>
                      <a:lnTo>
                        <a:pt x="420" y="794"/>
                      </a:lnTo>
                      <a:lnTo>
                        <a:pt x="419" y="801"/>
                      </a:lnTo>
                      <a:lnTo>
                        <a:pt x="420" y="809"/>
                      </a:lnTo>
                      <a:lnTo>
                        <a:pt x="421" y="818"/>
                      </a:lnTo>
                      <a:lnTo>
                        <a:pt x="423" y="826"/>
                      </a:lnTo>
                      <a:lnTo>
                        <a:pt x="426" y="834"/>
                      </a:lnTo>
                      <a:lnTo>
                        <a:pt x="435" y="851"/>
                      </a:lnTo>
                      <a:lnTo>
                        <a:pt x="445" y="868"/>
                      </a:lnTo>
                      <a:lnTo>
                        <a:pt x="467" y="903"/>
                      </a:lnTo>
                      <a:lnTo>
                        <a:pt x="486" y="937"/>
                      </a:lnTo>
                      <a:lnTo>
                        <a:pt x="486" y="951"/>
                      </a:lnTo>
                      <a:lnTo>
                        <a:pt x="483" y="965"/>
                      </a:lnTo>
                      <a:lnTo>
                        <a:pt x="482" y="980"/>
                      </a:lnTo>
                      <a:lnTo>
                        <a:pt x="479" y="997"/>
                      </a:lnTo>
                      <a:lnTo>
                        <a:pt x="472" y="1027"/>
                      </a:lnTo>
                      <a:lnTo>
                        <a:pt x="466" y="1057"/>
                      </a:lnTo>
                      <a:lnTo>
                        <a:pt x="458" y="1082"/>
                      </a:lnTo>
                      <a:lnTo>
                        <a:pt x="451" y="1103"/>
                      </a:lnTo>
                      <a:lnTo>
                        <a:pt x="447" y="1116"/>
                      </a:lnTo>
                      <a:lnTo>
                        <a:pt x="446" y="1121"/>
                      </a:lnTo>
                    </a:path>
                  </a:pathLst>
                </a:custGeom>
                <a:grpFill/>
                <a:ln w="9525" cap="flat" cmpd="sng">
                  <a:solidFill>
                    <a:srgbClr val="FFFFFF"/>
                  </a:solidFill>
                  <a:prstDash val="solid"/>
                  <a:round/>
                  <a:headEnd type="none" w="med" len="med"/>
                  <a:tailEnd type="none" w="med" len="med"/>
                </a:ln>
                <a:effectLst/>
              </p:spPr>
              <p:txBody>
                <a:bodyPr/>
                <a:lstStyle/>
                <a:p>
                  <a:endParaRPr lang="en-GB" sz="1637"/>
                </a:p>
              </p:txBody>
            </p:sp>
            <p:sp>
              <p:nvSpPr>
                <p:cNvPr id="333" name="Freeform 272"/>
                <p:cNvSpPr>
                  <a:spLocks/>
                </p:cNvSpPr>
                <p:nvPr>
                  <p:custDataLst>
                    <p:tags r:id="rId205"/>
                  </p:custDataLst>
                </p:nvPr>
              </p:nvSpPr>
              <p:spPr bwMode="auto">
                <a:xfrm>
                  <a:off x="7040623" y="2430950"/>
                  <a:ext cx="131706" cy="193424"/>
                </a:xfrm>
                <a:custGeom>
                  <a:avLst/>
                  <a:gdLst>
                    <a:gd name="T0" fmla="*/ 108857 w 266"/>
                    <a:gd name="T1" fmla="*/ 4733 h 326"/>
                    <a:gd name="T2" fmla="*/ 108857 w 266"/>
                    <a:gd name="T3" fmla="*/ 14726 h 326"/>
                    <a:gd name="T4" fmla="*/ 112939 w 266"/>
                    <a:gd name="T5" fmla="*/ 22089 h 326"/>
                    <a:gd name="T6" fmla="*/ 111125 w 266"/>
                    <a:gd name="T7" fmla="*/ 28926 h 326"/>
                    <a:gd name="T8" fmla="*/ 102054 w 266"/>
                    <a:gd name="T9" fmla="*/ 26296 h 326"/>
                    <a:gd name="T10" fmla="*/ 95250 w 266"/>
                    <a:gd name="T11" fmla="*/ 26822 h 326"/>
                    <a:gd name="T12" fmla="*/ 88446 w 266"/>
                    <a:gd name="T13" fmla="*/ 34185 h 326"/>
                    <a:gd name="T14" fmla="*/ 87539 w 266"/>
                    <a:gd name="T15" fmla="*/ 41022 h 326"/>
                    <a:gd name="T16" fmla="*/ 89807 w 266"/>
                    <a:gd name="T17" fmla="*/ 46807 h 326"/>
                    <a:gd name="T18" fmla="*/ 97518 w 266"/>
                    <a:gd name="T19" fmla="*/ 57851 h 326"/>
                    <a:gd name="T20" fmla="*/ 101600 w 266"/>
                    <a:gd name="T21" fmla="*/ 64162 h 326"/>
                    <a:gd name="T22" fmla="*/ 102054 w 266"/>
                    <a:gd name="T23" fmla="*/ 69947 h 326"/>
                    <a:gd name="T24" fmla="*/ 100693 w 266"/>
                    <a:gd name="T25" fmla="*/ 75207 h 326"/>
                    <a:gd name="T26" fmla="*/ 93889 w 266"/>
                    <a:gd name="T27" fmla="*/ 80992 h 326"/>
                    <a:gd name="T28" fmla="*/ 90714 w 266"/>
                    <a:gd name="T29" fmla="*/ 84147 h 326"/>
                    <a:gd name="T30" fmla="*/ 82096 w 266"/>
                    <a:gd name="T31" fmla="*/ 87303 h 326"/>
                    <a:gd name="T32" fmla="*/ 74386 w 266"/>
                    <a:gd name="T33" fmla="*/ 93614 h 326"/>
                    <a:gd name="T34" fmla="*/ 72571 w 266"/>
                    <a:gd name="T35" fmla="*/ 100451 h 326"/>
                    <a:gd name="T36" fmla="*/ 78468 w 266"/>
                    <a:gd name="T37" fmla="*/ 108865 h 326"/>
                    <a:gd name="T38" fmla="*/ 85725 w 266"/>
                    <a:gd name="T39" fmla="*/ 113073 h 326"/>
                    <a:gd name="T40" fmla="*/ 97064 w 266"/>
                    <a:gd name="T41" fmla="*/ 119384 h 326"/>
                    <a:gd name="T42" fmla="*/ 111125 w 266"/>
                    <a:gd name="T43" fmla="*/ 136213 h 326"/>
                    <a:gd name="T44" fmla="*/ 113846 w 266"/>
                    <a:gd name="T45" fmla="*/ 149887 h 326"/>
                    <a:gd name="T46" fmla="*/ 99786 w 266"/>
                    <a:gd name="T47" fmla="*/ 153043 h 326"/>
                    <a:gd name="T48" fmla="*/ 93889 w 266"/>
                    <a:gd name="T49" fmla="*/ 156724 h 326"/>
                    <a:gd name="T50" fmla="*/ 89807 w 266"/>
                    <a:gd name="T51" fmla="*/ 164087 h 326"/>
                    <a:gd name="T52" fmla="*/ 85725 w 266"/>
                    <a:gd name="T53" fmla="*/ 171450 h 326"/>
                    <a:gd name="T54" fmla="*/ 77107 w 266"/>
                    <a:gd name="T55" fmla="*/ 168820 h 326"/>
                    <a:gd name="T56" fmla="*/ 75746 w 266"/>
                    <a:gd name="T57" fmla="*/ 166191 h 326"/>
                    <a:gd name="T58" fmla="*/ 69850 w 266"/>
                    <a:gd name="T59" fmla="*/ 163035 h 326"/>
                    <a:gd name="T60" fmla="*/ 63046 w 266"/>
                    <a:gd name="T61" fmla="*/ 158302 h 326"/>
                    <a:gd name="T62" fmla="*/ 57150 w 266"/>
                    <a:gd name="T63" fmla="*/ 155146 h 326"/>
                    <a:gd name="T64" fmla="*/ 44450 w 266"/>
                    <a:gd name="T65" fmla="*/ 152517 h 326"/>
                    <a:gd name="T66" fmla="*/ 28575 w 266"/>
                    <a:gd name="T67" fmla="*/ 145680 h 326"/>
                    <a:gd name="T68" fmla="*/ 24493 w 266"/>
                    <a:gd name="T69" fmla="*/ 140947 h 326"/>
                    <a:gd name="T70" fmla="*/ 24946 w 266"/>
                    <a:gd name="T71" fmla="*/ 134636 h 326"/>
                    <a:gd name="T72" fmla="*/ 31750 w 266"/>
                    <a:gd name="T73" fmla="*/ 128325 h 326"/>
                    <a:gd name="T74" fmla="*/ 26761 w 266"/>
                    <a:gd name="T75" fmla="*/ 116228 h 326"/>
                    <a:gd name="T76" fmla="*/ 15421 w 266"/>
                    <a:gd name="T77" fmla="*/ 102029 h 326"/>
                    <a:gd name="T78" fmla="*/ 5896 w 266"/>
                    <a:gd name="T79" fmla="*/ 95717 h 326"/>
                    <a:gd name="T80" fmla="*/ 1814 w 266"/>
                    <a:gd name="T81" fmla="*/ 89932 h 326"/>
                    <a:gd name="T82" fmla="*/ 8618 w 266"/>
                    <a:gd name="T83" fmla="*/ 79940 h 326"/>
                    <a:gd name="T84" fmla="*/ 24493 w 266"/>
                    <a:gd name="T85" fmla="*/ 65214 h 326"/>
                    <a:gd name="T86" fmla="*/ 33111 w 266"/>
                    <a:gd name="T87" fmla="*/ 55222 h 326"/>
                    <a:gd name="T88" fmla="*/ 39914 w 266"/>
                    <a:gd name="T89" fmla="*/ 48385 h 326"/>
                    <a:gd name="T90" fmla="*/ 49893 w 266"/>
                    <a:gd name="T91" fmla="*/ 46281 h 326"/>
                    <a:gd name="T92" fmla="*/ 65314 w 266"/>
                    <a:gd name="T93" fmla="*/ 36814 h 326"/>
                    <a:gd name="T94" fmla="*/ 76200 w 266"/>
                    <a:gd name="T95" fmla="*/ 24192 h 326"/>
                    <a:gd name="T96" fmla="*/ 86632 w 266"/>
                    <a:gd name="T97" fmla="*/ 11044 h 326"/>
                    <a:gd name="T98" fmla="*/ 99786 w 266"/>
                    <a:gd name="T99" fmla="*/ 2104 h 326"/>
                    <a:gd name="T100" fmla="*/ 107950 w 266"/>
                    <a:gd name="T101" fmla="*/ 0 h 3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66" h="326">
                      <a:moveTo>
                        <a:pt x="246" y="0"/>
                      </a:moveTo>
                      <a:lnTo>
                        <a:pt x="241" y="4"/>
                      </a:lnTo>
                      <a:lnTo>
                        <a:pt x="240" y="9"/>
                      </a:lnTo>
                      <a:lnTo>
                        <a:pt x="239" y="16"/>
                      </a:lnTo>
                      <a:lnTo>
                        <a:pt x="239" y="24"/>
                      </a:lnTo>
                      <a:lnTo>
                        <a:pt x="240" y="28"/>
                      </a:lnTo>
                      <a:lnTo>
                        <a:pt x="243" y="33"/>
                      </a:lnTo>
                      <a:lnTo>
                        <a:pt x="246" y="38"/>
                      </a:lnTo>
                      <a:lnTo>
                        <a:pt x="249" y="42"/>
                      </a:lnTo>
                      <a:lnTo>
                        <a:pt x="256" y="50"/>
                      </a:lnTo>
                      <a:lnTo>
                        <a:pt x="259" y="55"/>
                      </a:lnTo>
                      <a:lnTo>
                        <a:pt x="245" y="55"/>
                      </a:lnTo>
                      <a:lnTo>
                        <a:pt x="234" y="54"/>
                      </a:lnTo>
                      <a:lnTo>
                        <a:pt x="229" y="52"/>
                      </a:lnTo>
                      <a:lnTo>
                        <a:pt x="225" y="50"/>
                      </a:lnTo>
                      <a:lnTo>
                        <a:pt x="222" y="47"/>
                      </a:lnTo>
                      <a:lnTo>
                        <a:pt x="220" y="43"/>
                      </a:lnTo>
                      <a:lnTo>
                        <a:pt x="210" y="51"/>
                      </a:lnTo>
                      <a:lnTo>
                        <a:pt x="201" y="58"/>
                      </a:lnTo>
                      <a:lnTo>
                        <a:pt x="198" y="62"/>
                      </a:lnTo>
                      <a:lnTo>
                        <a:pt x="195" y="65"/>
                      </a:lnTo>
                      <a:lnTo>
                        <a:pt x="193" y="69"/>
                      </a:lnTo>
                      <a:lnTo>
                        <a:pt x="192" y="73"/>
                      </a:lnTo>
                      <a:lnTo>
                        <a:pt x="193" y="78"/>
                      </a:lnTo>
                      <a:lnTo>
                        <a:pt x="194" y="82"/>
                      </a:lnTo>
                      <a:lnTo>
                        <a:pt x="195" y="86"/>
                      </a:lnTo>
                      <a:lnTo>
                        <a:pt x="198" y="89"/>
                      </a:lnTo>
                      <a:lnTo>
                        <a:pt x="203" y="97"/>
                      </a:lnTo>
                      <a:lnTo>
                        <a:pt x="210" y="104"/>
                      </a:lnTo>
                      <a:lnTo>
                        <a:pt x="215" y="110"/>
                      </a:lnTo>
                      <a:lnTo>
                        <a:pt x="221" y="116"/>
                      </a:lnTo>
                      <a:lnTo>
                        <a:pt x="223" y="119"/>
                      </a:lnTo>
                      <a:lnTo>
                        <a:pt x="224" y="122"/>
                      </a:lnTo>
                      <a:lnTo>
                        <a:pt x="225" y="125"/>
                      </a:lnTo>
                      <a:lnTo>
                        <a:pt x="226" y="129"/>
                      </a:lnTo>
                      <a:lnTo>
                        <a:pt x="225" y="133"/>
                      </a:lnTo>
                      <a:lnTo>
                        <a:pt x="225" y="137"/>
                      </a:lnTo>
                      <a:lnTo>
                        <a:pt x="223" y="140"/>
                      </a:lnTo>
                      <a:lnTo>
                        <a:pt x="222" y="143"/>
                      </a:lnTo>
                      <a:lnTo>
                        <a:pt x="217" y="148"/>
                      </a:lnTo>
                      <a:lnTo>
                        <a:pt x="213" y="152"/>
                      </a:lnTo>
                      <a:lnTo>
                        <a:pt x="207" y="154"/>
                      </a:lnTo>
                      <a:lnTo>
                        <a:pt x="203" y="156"/>
                      </a:lnTo>
                      <a:lnTo>
                        <a:pt x="201" y="158"/>
                      </a:lnTo>
                      <a:lnTo>
                        <a:pt x="200" y="160"/>
                      </a:lnTo>
                      <a:lnTo>
                        <a:pt x="193" y="161"/>
                      </a:lnTo>
                      <a:lnTo>
                        <a:pt x="188" y="163"/>
                      </a:lnTo>
                      <a:lnTo>
                        <a:pt x="181" y="166"/>
                      </a:lnTo>
                      <a:lnTo>
                        <a:pt x="175" y="170"/>
                      </a:lnTo>
                      <a:lnTo>
                        <a:pt x="168" y="174"/>
                      </a:lnTo>
                      <a:lnTo>
                        <a:pt x="164" y="178"/>
                      </a:lnTo>
                      <a:lnTo>
                        <a:pt x="160" y="181"/>
                      </a:lnTo>
                      <a:lnTo>
                        <a:pt x="159" y="184"/>
                      </a:lnTo>
                      <a:lnTo>
                        <a:pt x="160" y="191"/>
                      </a:lnTo>
                      <a:lnTo>
                        <a:pt x="164" y="197"/>
                      </a:lnTo>
                      <a:lnTo>
                        <a:pt x="168" y="203"/>
                      </a:lnTo>
                      <a:lnTo>
                        <a:pt x="173" y="207"/>
                      </a:lnTo>
                      <a:lnTo>
                        <a:pt x="179" y="211"/>
                      </a:lnTo>
                      <a:lnTo>
                        <a:pt x="184" y="213"/>
                      </a:lnTo>
                      <a:lnTo>
                        <a:pt x="189" y="215"/>
                      </a:lnTo>
                      <a:lnTo>
                        <a:pt x="192" y="215"/>
                      </a:lnTo>
                      <a:lnTo>
                        <a:pt x="204" y="221"/>
                      </a:lnTo>
                      <a:lnTo>
                        <a:pt x="214" y="227"/>
                      </a:lnTo>
                      <a:lnTo>
                        <a:pt x="223" y="234"/>
                      </a:lnTo>
                      <a:lnTo>
                        <a:pt x="231" y="241"/>
                      </a:lnTo>
                      <a:lnTo>
                        <a:pt x="245" y="259"/>
                      </a:lnTo>
                      <a:lnTo>
                        <a:pt x="259" y="277"/>
                      </a:lnTo>
                      <a:lnTo>
                        <a:pt x="266" y="283"/>
                      </a:lnTo>
                      <a:lnTo>
                        <a:pt x="251" y="285"/>
                      </a:lnTo>
                      <a:lnTo>
                        <a:pt x="239" y="286"/>
                      </a:lnTo>
                      <a:lnTo>
                        <a:pt x="228" y="288"/>
                      </a:lnTo>
                      <a:lnTo>
                        <a:pt x="220" y="291"/>
                      </a:lnTo>
                      <a:lnTo>
                        <a:pt x="215" y="293"/>
                      </a:lnTo>
                      <a:lnTo>
                        <a:pt x="211" y="295"/>
                      </a:lnTo>
                      <a:lnTo>
                        <a:pt x="207" y="298"/>
                      </a:lnTo>
                      <a:lnTo>
                        <a:pt x="204" y="302"/>
                      </a:lnTo>
                      <a:lnTo>
                        <a:pt x="201" y="306"/>
                      </a:lnTo>
                      <a:lnTo>
                        <a:pt x="198" y="312"/>
                      </a:lnTo>
                      <a:lnTo>
                        <a:pt x="195" y="319"/>
                      </a:lnTo>
                      <a:lnTo>
                        <a:pt x="192" y="326"/>
                      </a:lnTo>
                      <a:lnTo>
                        <a:pt x="189" y="326"/>
                      </a:lnTo>
                      <a:lnTo>
                        <a:pt x="179" y="325"/>
                      </a:lnTo>
                      <a:lnTo>
                        <a:pt x="175" y="323"/>
                      </a:lnTo>
                      <a:lnTo>
                        <a:pt x="170" y="321"/>
                      </a:lnTo>
                      <a:lnTo>
                        <a:pt x="168" y="320"/>
                      </a:lnTo>
                      <a:lnTo>
                        <a:pt x="167" y="318"/>
                      </a:lnTo>
                      <a:lnTo>
                        <a:pt x="167" y="316"/>
                      </a:lnTo>
                      <a:lnTo>
                        <a:pt x="166" y="314"/>
                      </a:lnTo>
                      <a:lnTo>
                        <a:pt x="159" y="314"/>
                      </a:lnTo>
                      <a:lnTo>
                        <a:pt x="154" y="310"/>
                      </a:lnTo>
                      <a:lnTo>
                        <a:pt x="148" y="308"/>
                      </a:lnTo>
                      <a:lnTo>
                        <a:pt x="144" y="304"/>
                      </a:lnTo>
                      <a:lnTo>
                        <a:pt x="139" y="301"/>
                      </a:lnTo>
                      <a:lnTo>
                        <a:pt x="135" y="298"/>
                      </a:lnTo>
                      <a:lnTo>
                        <a:pt x="131" y="296"/>
                      </a:lnTo>
                      <a:lnTo>
                        <a:pt x="126" y="295"/>
                      </a:lnTo>
                      <a:lnTo>
                        <a:pt x="120" y="295"/>
                      </a:lnTo>
                      <a:lnTo>
                        <a:pt x="109" y="293"/>
                      </a:lnTo>
                      <a:lnTo>
                        <a:pt x="98" y="290"/>
                      </a:lnTo>
                      <a:lnTo>
                        <a:pt x="84" y="287"/>
                      </a:lnTo>
                      <a:lnTo>
                        <a:pt x="72" y="282"/>
                      </a:lnTo>
                      <a:lnTo>
                        <a:pt x="63" y="277"/>
                      </a:lnTo>
                      <a:lnTo>
                        <a:pt x="58" y="274"/>
                      </a:lnTo>
                      <a:lnTo>
                        <a:pt x="56" y="271"/>
                      </a:lnTo>
                      <a:lnTo>
                        <a:pt x="54" y="268"/>
                      </a:lnTo>
                      <a:lnTo>
                        <a:pt x="53" y="265"/>
                      </a:lnTo>
                      <a:lnTo>
                        <a:pt x="54" y="261"/>
                      </a:lnTo>
                      <a:lnTo>
                        <a:pt x="55" y="256"/>
                      </a:lnTo>
                      <a:lnTo>
                        <a:pt x="58" y="252"/>
                      </a:lnTo>
                      <a:lnTo>
                        <a:pt x="61" y="249"/>
                      </a:lnTo>
                      <a:lnTo>
                        <a:pt x="70" y="244"/>
                      </a:lnTo>
                      <a:lnTo>
                        <a:pt x="80" y="240"/>
                      </a:lnTo>
                      <a:lnTo>
                        <a:pt x="68" y="230"/>
                      </a:lnTo>
                      <a:lnTo>
                        <a:pt x="59" y="221"/>
                      </a:lnTo>
                      <a:lnTo>
                        <a:pt x="50" y="211"/>
                      </a:lnTo>
                      <a:lnTo>
                        <a:pt x="43" y="203"/>
                      </a:lnTo>
                      <a:lnTo>
                        <a:pt x="34" y="194"/>
                      </a:lnTo>
                      <a:lnTo>
                        <a:pt x="24" y="187"/>
                      </a:lnTo>
                      <a:lnTo>
                        <a:pt x="20" y="184"/>
                      </a:lnTo>
                      <a:lnTo>
                        <a:pt x="13" y="182"/>
                      </a:lnTo>
                      <a:lnTo>
                        <a:pt x="7" y="180"/>
                      </a:lnTo>
                      <a:lnTo>
                        <a:pt x="0" y="178"/>
                      </a:lnTo>
                      <a:lnTo>
                        <a:pt x="4" y="171"/>
                      </a:lnTo>
                      <a:lnTo>
                        <a:pt x="9" y="164"/>
                      </a:lnTo>
                      <a:lnTo>
                        <a:pt x="13" y="158"/>
                      </a:lnTo>
                      <a:lnTo>
                        <a:pt x="19" y="152"/>
                      </a:lnTo>
                      <a:lnTo>
                        <a:pt x="31" y="141"/>
                      </a:lnTo>
                      <a:lnTo>
                        <a:pt x="43" y="133"/>
                      </a:lnTo>
                      <a:lnTo>
                        <a:pt x="54" y="124"/>
                      </a:lnTo>
                      <a:lnTo>
                        <a:pt x="65" y="115"/>
                      </a:lnTo>
                      <a:lnTo>
                        <a:pt x="69" y="110"/>
                      </a:lnTo>
                      <a:lnTo>
                        <a:pt x="73" y="105"/>
                      </a:lnTo>
                      <a:lnTo>
                        <a:pt x="77" y="99"/>
                      </a:lnTo>
                      <a:lnTo>
                        <a:pt x="80" y="92"/>
                      </a:lnTo>
                      <a:lnTo>
                        <a:pt x="88" y="92"/>
                      </a:lnTo>
                      <a:lnTo>
                        <a:pt x="95" y="90"/>
                      </a:lnTo>
                      <a:lnTo>
                        <a:pt x="103" y="89"/>
                      </a:lnTo>
                      <a:lnTo>
                        <a:pt x="110" y="88"/>
                      </a:lnTo>
                      <a:lnTo>
                        <a:pt x="123" y="83"/>
                      </a:lnTo>
                      <a:lnTo>
                        <a:pt x="134" y="77"/>
                      </a:lnTo>
                      <a:lnTo>
                        <a:pt x="144" y="70"/>
                      </a:lnTo>
                      <a:lnTo>
                        <a:pt x="153" y="63"/>
                      </a:lnTo>
                      <a:lnTo>
                        <a:pt x="160" y="55"/>
                      </a:lnTo>
                      <a:lnTo>
                        <a:pt x="168" y="46"/>
                      </a:lnTo>
                      <a:lnTo>
                        <a:pt x="176" y="38"/>
                      </a:lnTo>
                      <a:lnTo>
                        <a:pt x="182" y="28"/>
                      </a:lnTo>
                      <a:lnTo>
                        <a:pt x="191" y="21"/>
                      </a:lnTo>
                      <a:lnTo>
                        <a:pt x="199" y="14"/>
                      </a:lnTo>
                      <a:lnTo>
                        <a:pt x="209" y="8"/>
                      </a:lnTo>
                      <a:lnTo>
                        <a:pt x="220" y="4"/>
                      </a:lnTo>
                      <a:lnTo>
                        <a:pt x="225" y="2"/>
                      </a:lnTo>
                      <a:lnTo>
                        <a:pt x="232" y="1"/>
                      </a:lnTo>
                      <a:lnTo>
                        <a:pt x="238" y="0"/>
                      </a:lnTo>
                      <a:lnTo>
                        <a:pt x="246" y="0"/>
                      </a:lnTo>
                    </a:path>
                  </a:pathLst>
                </a:custGeom>
                <a:grpFill/>
                <a:ln w="9525" cmpd="sng">
                  <a:solidFill>
                    <a:srgbClr val="FFFFFF"/>
                  </a:solidFill>
                  <a:prstDash val="solid"/>
                  <a:round/>
                  <a:headEnd/>
                  <a:tailEnd/>
                </a:ln>
              </p:spPr>
              <p:txBody>
                <a:bodyPr/>
                <a:lstStyle/>
                <a:p>
                  <a:endParaRPr lang="en-GB" sz="1637"/>
                </a:p>
              </p:txBody>
            </p:sp>
            <p:sp>
              <p:nvSpPr>
                <p:cNvPr id="334" name="Freeform 273"/>
                <p:cNvSpPr>
                  <a:spLocks/>
                </p:cNvSpPr>
                <p:nvPr>
                  <p:custDataLst>
                    <p:tags r:id="rId206"/>
                  </p:custDataLst>
                </p:nvPr>
              </p:nvSpPr>
              <p:spPr bwMode="auto">
                <a:xfrm>
                  <a:off x="6026831" y="2898392"/>
                  <a:ext cx="225287" cy="139695"/>
                </a:xfrm>
                <a:custGeom>
                  <a:avLst/>
                  <a:gdLst>
                    <a:gd name="T0" fmla="*/ 37682 w 471"/>
                    <a:gd name="T1" fmla="*/ 0 h 237"/>
                    <a:gd name="T2" fmla="*/ 40311 w 471"/>
                    <a:gd name="T3" fmla="*/ 3657 h 237"/>
                    <a:gd name="T4" fmla="*/ 44693 w 471"/>
                    <a:gd name="T5" fmla="*/ 6792 h 237"/>
                    <a:gd name="T6" fmla="*/ 54770 w 471"/>
                    <a:gd name="T7" fmla="*/ 12017 h 237"/>
                    <a:gd name="T8" fmla="*/ 69668 w 471"/>
                    <a:gd name="T9" fmla="*/ 19331 h 237"/>
                    <a:gd name="T10" fmla="*/ 97710 w 471"/>
                    <a:gd name="T11" fmla="*/ 40230 h 237"/>
                    <a:gd name="T12" fmla="*/ 110855 w 471"/>
                    <a:gd name="T13" fmla="*/ 50679 h 237"/>
                    <a:gd name="T14" fmla="*/ 124000 w 471"/>
                    <a:gd name="T15" fmla="*/ 59039 h 237"/>
                    <a:gd name="T16" fmla="*/ 138460 w 471"/>
                    <a:gd name="T17" fmla="*/ 66353 h 237"/>
                    <a:gd name="T18" fmla="*/ 155548 w 471"/>
                    <a:gd name="T19" fmla="*/ 72623 h 237"/>
                    <a:gd name="T20" fmla="*/ 174827 w 471"/>
                    <a:gd name="T21" fmla="*/ 76280 h 237"/>
                    <a:gd name="T22" fmla="*/ 197612 w 471"/>
                    <a:gd name="T23" fmla="*/ 77325 h 237"/>
                    <a:gd name="T24" fmla="*/ 198050 w 471"/>
                    <a:gd name="T25" fmla="*/ 97702 h 237"/>
                    <a:gd name="T26" fmla="*/ 201117 w 471"/>
                    <a:gd name="T27" fmla="*/ 110241 h 237"/>
                    <a:gd name="T28" fmla="*/ 204622 w 471"/>
                    <a:gd name="T29" fmla="*/ 118600 h 237"/>
                    <a:gd name="T30" fmla="*/ 204622 w 471"/>
                    <a:gd name="T31" fmla="*/ 123303 h 237"/>
                    <a:gd name="T32" fmla="*/ 197612 w 471"/>
                    <a:gd name="T33" fmla="*/ 123303 h 237"/>
                    <a:gd name="T34" fmla="*/ 182276 w 471"/>
                    <a:gd name="T35" fmla="*/ 120690 h 237"/>
                    <a:gd name="T36" fmla="*/ 158615 w 471"/>
                    <a:gd name="T37" fmla="*/ 114421 h 237"/>
                    <a:gd name="T38" fmla="*/ 138021 w 471"/>
                    <a:gd name="T39" fmla="*/ 108151 h 237"/>
                    <a:gd name="T40" fmla="*/ 128820 w 471"/>
                    <a:gd name="T41" fmla="*/ 106061 h 237"/>
                    <a:gd name="T42" fmla="*/ 125753 w 471"/>
                    <a:gd name="T43" fmla="*/ 103971 h 237"/>
                    <a:gd name="T44" fmla="*/ 121371 w 471"/>
                    <a:gd name="T45" fmla="*/ 99269 h 237"/>
                    <a:gd name="T46" fmla="*/ 116990 w 471"/>
                    <a:gd name="T47" fmla="*/ 92999 h 237"/>
                    <a:gd name="T48" fmla="*/ 111732 w 471"/>
                    <a:gd name="T49" fmla="*/ 86730 h 237"/>
                    <a:gd name="T50" fmla="*/ 105159 w 471"/>
                    <a:gd name="T51" fmla="*/ 83072 h 237"/>
                    <a:gd name="T52" fmla="*/ 99463 w 471"/>
                    <a:gd name="T53" fmla="*/ 83072 h 237"/>
                    <a:gd name="T54" fmla="*/ 89824 w 471"/>
                    <a:gd name="T55" fmla="*/ 85162 h 237"/>
                    <a:gd name="T56" fmla="*/ 80184 w 471"/>
                    <a:gd name="T57" fmla="*/ 87252 h 237"/>
                    <a:gd name="T58" fmla="*/ 74050 w 471"/>
                    <a:gd name="T59" fmla="*/ 87775 h 237"/>
                    <a:gd name="T60" fmla="*/ 69230 w 471"/>
                    <a:gd name="T61" fmla="*/ 85685 h 237"/>
                    <a:gd name="T62" fmla="*/ 64848 w 471"/>
                    <a:gd name="T63" fmla="*/ 80983 h 237"/>
                    <a:gd name="T64" fmla="*/ 60905 w 471"/>
                    <a:gd name="T65" fmla="*/ 77325 h 237"/>
                    <a:gd name="T66" fmla="*/ 53456 w 471"/>
                    <a:gd name="T67" fmla="*/ 75758 h 237"/>
                    <a:gd name="T68" fmla="*/ 40311 w 471"/>
                    <a:gd name="T69" fmla="*/ 70533 h 237"/>
                    <a:gd name="T70" fmla="*/ 21032 w 471"/>
                    <a:gd name="T71" fmla="*/ 61129 h 237"/>
                    <a:gd name="T72" fmla="*/ 5258 w 471"/>
                    <a:gd name="T73" fmla="*/ 50157 h 237"/>
                    <a:gd name="T74" fmla="*/ 3067 w 471"/>
                    <a:gd name="T75" fmla="*/ 0 h 23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471" h="237">
                      <a:moveTo>
                        <a:pt x="7" y="0"/>
                      </a:moveTo>
                      <a:lnTo>
                        <a:pt x="86" y="0"/>
                      </a:lnTo>
                      <a:lnTo>
                        <a:pt x="89" y="4"/>
                      </a:lnTo>
                      <a:lnTo>
                        <a:pt x="92" y="7"/>
                      </a:lnTo>
                      <a:lnTo>
                        <a:pt x="97" y="10"/>
                      </a:lnTo>
                      <a:lnTo>
                        <a:pt x="102" y="13"/>
                      </a:lnTo>
                      <a:lnTo>
                        <a:pt x="113" y="18"/>
                      </a:lnTo>
                      <a:lnTo>
                        <a:pt x="125" y="23"/>
                      </a:lnTo>
                      <a:lnTo>
                        <a:pt x="147" y="32"/>
                      </a:lnTo>
                      <a:lnTo>
                        <a:pt x="159" y="37"/>
                      </a:lnTo>
                      <a:lnTo>
                        <a:pt x="192" y="58"/>
                      </a:lnTo>
                      <a:lnTo>
                        <a:pt x="223" y="77"/>
                      </a:lnTo>
                      <a:lnTo>
                        <a:pt x="237" y="88"/>
                      </a:lnTo>
                      <a:lnTo>
                        <a:pt x="253" y="97"/>
                      </a:lnTo>
                      <a:lnTo>
                        <a:pt x="267" y="105"/>
                      </a:lnTo>
                      <a:lnTo>
                        <a:pt x="283" y="113"/>
                      </a:lnTo>
                      <a:lnTo>
                        <a:pt x="299" y="121"/>
                      </a:lnTo>
                      <a:lnTo>
                        <a:pt x="316" y="127"/>
                      </a:lnTo>
                      <a:lnTo>
                        <a:pt x="335" y="133"/>
                      </a:lnTo>
                      <a:lnTo>
                        <a:pt x="355" y="139"/>
                      </a:lnTo>
                      <a:lnTo>
                        <a:pt x="376" y="143"/>
                      </a:lnTo>
                      <a:lnTo>
                        <a:pt x="399" y="146"/>
                      </a:lnTo>
                      <a:lnTo>
                        <a:pt x="424" y="148"/>
                      </a:lnTo>
                      <a:lnTo>
                        <a:pt x="451" y="148"/>
                      </a:lnTo>
                      <a:lnTo>
                        <a:pt x="451" y="179"/>
                      </a:lnTo>
                      <a:lnTo>
                        <a:pt x="452" y="187"/>
                      </a:lnTo>
                      <a:lnTo>
                        <a:pt x="457" y="202"/>
                      </a:lnTo>
                      <a:lnTo>
                        <a:pt x="459" y="211"/>
                      </a:lnTo>
                      <a:lnTo>
                        <a:pt x="462" y="219"/>
                      </a:lnTo>
                      <a:lnTo>
                        <a:pt x="467" y="227"/>
                      </a:lnTo>
                      <a:lnTo>
                        <a:pt x="471" y="234"/>
                      </a:lnTo>
                      <a:lnTo>
                        <a:pt x="467" y="236"/>
                      </a:lnTo>
                      <a:lnTo>
                        <a:pt x="459" y="237"/>
                      </a:lnTo>
                      <a:lnTo>
                        <a:pt x="451" y="236"/>
                      </a:lnTo>
                      <a:lnTo>
                        <a:pt x="440" y="235"/>
                      </a:lnTo>
                      <a:lnTo>
                        <a:pt x="416" y="231"/>
                      </a:lnTo>
                      <a:lnTo>
                        <a:pt x="390" y="226"/>
                      </a:lnTo>
                      <a:lnTo>
                        <a:pt x="362" y="219"/>
                      </a:lnTo>
                      <a:lnTo>
                        <a:pt x="337" y="213"/>
                      </a:lnTo>
                      <a:lnTo>
                        <a:pt x="315" y="207"/>
                      </a:lnTo>
                      <a:lnTo>
                        <a:pt x="299" y="204"/>
                      </a:lnTo>
                      <a:lnTo>
                        <a:pt x="294" y="203"/>
                      </a:lnTo>
                      <a:lnTo>
                        <a:pt x="290" y="201"/>
                      </a:lnTo>
                      <a:lnTo>
                        <a:pt x="287" y="199"/>
                      </a:lnTo>
                      <a:lnTo>
                        <a:pt x="283" y="196"/>
                      </a:lnTo>
                      <a:lnTo>
                        <a:pt x="277" y="190"/>
                      </a:lnTo>
                      <a:lnTo>
                        <a:pt x="272" y="184"/>
                      </a:lnTo>
                      <a:lnTo>
                        <a:pt x="267" y="178"/>
                      </a:lnTo>
                      <a:lnTo>
                        <a:pt x="261" y="171"/>
                      </a:lnTo>
                      <a:lnTo>
                        <a:pt x="255" y="166"/>
                      </a:lnTo>
                      <a:lnTo>
                        <a:pt x="246" y="160"/>
                      </a:lnTo>
                      <a:lnTo>
                        <a:pt x="240" y="159"/>
                      </a:lnTo>
                      <a:lnTo>
                        <a:pt x="234" y="158"/>
                      </a:lnTo>
                      <a:lnTo>
                        <a:pt x="227" y="159"/>
                      </a:lnTo>
                      <a:lnTo>
                        <a:pt x="221" y="159"/>
                      </a:lnTo>
                      <a:lnTo>
                        <a:pt x="205" y="163"/>
                      </a:lnTo>
                      <a:lnTo>
                        <a:pt x="191" y="166"/>
                      </a:lnTo>
                      <a:lnTo>
                        <a:pt x="183" y="167"/>
                      </a:lnTo>
                      <a:lnTo>
                        <a:pt x="176" y="168"/>
                      </a:lnTo>
                      <a:lnTo>
                        <a:pt x="169" y="168"/>
                      </a:lnTo>
                      <a:lnTo>
                        <a:pt x="164" y="166"/>
                      </a:lnTo>
                      <a:lnTo>
                        <a:pt x="158" y="164"/>
                      </a:lnTo>
                      <a:lnTo>
                        <a:pt x="153" y="161"/>
                      </a:lnTo>
                      <a:lnTo>
                        <a:pt x="148" y="155"/>
                      </a:lnTo>
                      <a:lnTo>
                        <a:pt x="146" y="148"/>
                      </a:lnTo>
                      <a:lnTo>
                        <a:pt x="139" y="148"/>
                      </a:lnTo>
                      <a:lnTo>
                        <a:pt x="131" y="147"/>
                      </a:lnTo>
                      <a:lnTo>
                        <a:pt x="122" y="145"/>
                      </a:lnTo>
                      <a:lnTo>
                        <a:pt x="113" y="142"/>
                      </a:lnTo>
                      <a:lnTo>
                        <a:pt x="92" y="135"/>
                      </a:lnTo>
                      <a:lnTo>
                        <a:pt x="70" y="126"/>
                      </a:lnTo>
                      <a:lnTo>
                        <a:pt x="48" y="117"/>
                      </a:lnTo>
                      <a:lnTo>
                        <a:pt x="29" y="107"/>
                      </a:lnTo>
                      <a:lnTo>
                        <a:pt x="12" y="96"/>
                      </a:lnTo>
                      <a:lnTo>
                        <a:pt x="0" y="87"/>
                      </a:lnTo>
                      <a:lnTo>
                        <a:pt x="7" y="0"/>
                      </a:lnTo>
                    </a:path>
                  </a:pathLst>
                </a:custGeom>
                <a:grpFill/>
                <a:ln w="9525" cmpd="sng">
                  <a:solidFill>
                    <a:srgbClr val="FFFFFF"/>
                  </a:solidFill>
                  <a:prstDash val="solid"/>
                  <a:round/>
                  <a:headEnd/>
                  <a:tailEnd/>
                </a:ln>
              </p:spPr>
              <p:txBody>
                <a:bodyPr/>
                <a:lstStyle/>
                <a:p>
                  <a:endParaRPr lang="en-GB" sz="1637"/>
                </a:p>
              </p:txBody>
            </p:sp>
            <p:sp>
              <p:nvSpPr>
                <p:cNvPr id="335" name="Freeform 274"/>
                <p:cNvSpPr>
                  <a:spLocks/>
                </p:cNvSpPr>
                <p:nvPr>
                  <p:custDataLst>
                    <p:tags r:id="rId207"/>
                  </p:custDataLst>
                </p:nvPr>
              </p:nvSpPr>
              <p:spPr bwMode="auto">
                <a:xfrm>
                  <a:off x="6262516" y="2961076"/>
                  <a:ext cx="79717" cy="73429"/>
                </a:xfrm>
                <a:custGeom>
                  <a:avLst/>
                  <a:gdLst>
                    <a:gd name="T0" fmla="*/ 73025 w 167"/>
                    <a:gd name="T1" fmla="*/ 22754 h 123"/>
                    <a:gd name="T2" fmla="*/ 71713 w 167"/>
                    <a:gd name="T3" fmla="*/ 28575 h 123"/>
                    <a:gd name="T4" fmla="*/ 70401 w 167"/>
                    <a:gd name="T5" fmla="*/ 34925 h 123"/>
                    <a:gd name="T6" fmla="*/ 67778 w 167"/>
                    <a:gd name="T7" fmla="*/ 41804 h 123"/>
                    <a:gd name="T8" fmla="*/ 65591 w 167"/>
                    <a:gd name="T9" fmla="*/ 49212 h 123"/>
                    <a:gd name="T10" fmla="*/ 63842 w 167"/>
                    <a:gd name="T11" fmla="*/ 52387 h 123"/>
                    <a:gd name="T12" fmla="*/ 62093 w 167"/>
                    <a:gd name="T13" fmla="*/ 55562 h 123"/>
                    <a:gd name="T14" fmla="*/ 60344 w 167"/>
                    <a:gd name="T15" fmla="*/ 58208 h 123"/>
                    <a:gd name="T16" fmla="*/ 57720 w 167"/>
                    <a:gd name="T17" fmla="*/ 60325 h 123"/>
                    <a:gd name="T18" fmla="*/ 55534 w 167"/>
                    <a:gd name="T19" fmla="*/ 62441 h 123"/>
                    <a:gd name="T20" fmla="*/ 52910 w 167"/>
                    <a:gd name="T21" fmla="*/ 64029 h 123"/>
                    <a:gd name="T22" fmla="*/ 50287 w 167"/>
                    <a:gd name="T23" fmla="*/ 64558 h 123"/>
                    <a:gd name="T24" fmla="*/ 46788 w 167"/>
                    <a:gd name="T25" fmla="*/ 65087 h 123"/>
                    <a:gd name="T26" fmla="*/ 43728 w 167"/>
                    <a:gd name="T27" fmla="*/ 64558 h 123"/>
                    <a:gd name="T28" fmla="*/ 40229 w 167"/>
                    <a:gd name="T29" fmla="*/ 62970 h 123"/>
                    <a:gd name="T30" fmla="*/ 38043 w 167"/>
                    <a:gd name="T31" fmla="*/ 61383 h 123"/>
                    <a:gd name="T32" fmla="*/ 36731 w 167"/>
                    <a:gd name="T33" fmla="*/ 59795 h 123"/>
                    <a:gd name="T34" fmla="*/ 35857 w 167"/>
                    <a:gd name="T35" fmla="*/ 57679 h 123"/>
                    <a:gd name="T36" fmla="*/ 35419 w 167"/>
                    <a:gd name="T37" fmla="*/ 55562 h 123"/>
                    <a:gd name="T38" fmla="*/ 31047 w 167"/>
                    <a:gd name="T39" fmla="*/ 55033 h 123"/>
                    <a:gd name="T40" fmla="*/ 26674 w 167"/>
                    <a:gd name="T41" fmla="*/ 54504 h 123"/>
                    <a:gd name="T42" fmla="*/ 22301 w 167"/>
                    <a:gd name="T43" fmla="*/ 53445 h 123"/>
                    <a:gd name="T44" fmla="*/ 17928 w 167"/>
                    <a:gd name="T45" fmla="*/ 51858 h 123"/>
                    <a:gd name="T46" fmla="*/ 9183 w 167"/>
                    <a:gd name="T47" fmla="*/ 48683 h 123"/>
                    <a:gd name="T48" fmla="*/ 0 w 167"/>
                    <a:gd name="T49" fmla="*/ 45508 h 123"/>
                    <a:gd name="T50" fmla="*/ 875 w 167"/>
                    <a:gd name="T51" fmla="*/ 40746 h 123"/>
                    <a:gd name="T52" fmla="*/ 2186 w 167"/>
                    <a:gd name="T53" fmla="*/ 35454 h 123"/>
                    <a:gd name="T54" fmla="*/ 3935 w 167"/>
                    <a:gd name="T55" fmla="*/ 29633 h 123"/>
                    <a:gd name="T56" fmla="*/ 6559 w 167"/>
                    <a:gd name="T57" fmla="*/ 22754 h 123"/>
                    <a:gd name="T58" fmla="*/ 8746 w 167"/>
                    <a:gd name="T59" fmla="*/ 22754 h 123"/>
                    <a:gd name="T60" fmla="*/ 11369 w 167"/>
                    <a:gd name="T61" fmla="*/ 22225 h 123"/>
                    <a:gd name="T62" fmla="*/ 13118 w 167"/>
                    <a:gd name="T63" fmla="*/ 21696 h 123"/>
                    <a:gd name="T64" fmla="*/ 14430 w 167"/>
                    <a:gd name="T65" fmla="*/ 20108 h 123"/>
                    <a:gd name="T66" fmla="*/ 17491 w 167"/>
                    <a:gd name="T67" fmla="*/ 17462 h 123"/>
                    <a:gd name="T68" fmla="*/ 19677 w 167"/>
                    <a:gd name="T69" fmla="*/ 13758 h 123"/>
                    <a:gd name="T70" fmla="*/ 22738 w 167"/>
                    <a:gd name="T71" fmla="*/ 6350 h 123"/>
                    <a:gd name="T72" fmla="*/ 26674 w 167"/>
                    <a:gd name="T73" fmla="*/ 0 h 123"/>
                    <a:gd name="T74" fmla="*/ 27986 w 167"/>
                    <a:gd name="T75" fmla="*/ 2117 h 123"/>
                    <a:gd name="T76" fmla="*/ 29297 w 167"/>
                    <a:gd name="T77" fmla="*/ 3704 h 123"/>
                    <a:gd name="T78" fmla="*/ 31921 w 167"/>
                    <a:gd name="T79" fmla="*/ 5821 h 123"/>
                    <a:gd name="T80" fmla="*/ 34107 w 167"/>
                    <a:gd name="T81" fmla="*/ 7408 h 123"/>
                    <a:gd name="T82" fmla="*/ 40229 w 167"/>
                    <a:gd name="T83" fmla="*/ 11112 h 123"/>
                    <a:gd name="T84" fmla="*/ 46788 w 167"/>
                    <a:gd name="T85" fmla="*/ 14817 h 123"/>
                    <a:gd name="T86" fmla="*/ 53348 w 167"/>
                    <a:gd name="T87" fmla="*/ 18521 h 123"/>
                    <a:gd name="T88" fmla="*/ 60781 w 167"/>
                    <a:gd name="T89" fmla="*/ 20637 h 123"/>
                    <a:gd name="T90" fmla="*/ 66903 w 167"/>
                    <a:gd name="T91" fmla="*/ 22225 h 123"/>
                    <a:gd name="T92" fmla="*/ 73025 w 167"/>
                    <a:gd name="T93" fmla="*/ 22754 h 12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67" h="123">
                      <a:moveTo>
                        <a:pt x="167" y="43"/>
                      </a:moveTo>
                      <a:lnTo>
                        <a:pt x="164" y="54"/>
                      </a:lnTo>
                      <a:lnTo>
                        <a:pt x="161" y="66"/>
                      </a:lnTo>
                      <a:lnTo>
                        <a:pt x="155" y="79"/>
                      </a:lnTo>
                      <a:lnTo>
                        <a:pt x="150" y="93"/>
                      </a:lnTo>
                      <a:lnTo>
                        <a:pt x="146" y="99"/>
                      </a:lnTo>
                      <a:lnTo>
                        <a:pt x="142" y="105"/>
                      </a:lnTo>
                      <a:lnTo>
                        <a:pt x="138" y="110"/>
                      </a:lnTo>
                      <a:lnTo>
                        <a:pt x="132" y="114"/>
                      </a:lnTo>
                      <a:lnTo>
                        <a:pt x="127" y="118"/>
                      </a:lnTo>
                      <a:lnTo>
                        <a:pt x="121" y="121"/>
                      </a:lnTo>
                      <a:lnTo>
                        <a:pt x="115" y="122"/>
                      </a:lnTo>
                      <a:lnTo>
                        <a:pt x="107" y="123"/>
                      </a:lnTo>
                      <a:lnTo>
                        <a:pt x="100" y="122"/>
                      </a:lnTo>
                      <a:lnTo>
                        <a:pt x="92" y="119"/>
                      </a:lnTo>
                      <a:lnTo>
                        <a:pt x="87" y="116"/>
                      </a:lnTo>
                      <a:lnTo>
                        <a:pt x="84" y="113"/>
                      </a:lnTo>
                      <a:lnTo>
                        <a:pt x="82" y="109"/>
                      </a:lnTo>
                      <a:lnTo>
                        <a:pt x="81" y="105"/>
                      </a:lnTo>
                      <a:lnTo>
                        <a:pt x="71" y="104"/>
                      </a:lnTo>
                      <a:lnTo>
                        <a:pt x="61" y="103"/>
                      </a:lnTo>
                      <a:lnTo>
                        <a:pt x="51" y="101"/>
                      </a:lnTo>
                      <a:lnTo>
                        <a:pt x="41" y="98"/>
                      </a:lnTo>
                      <a:lnTo>
                        <a:pt x="21" y="92"/>
                      </a:lnTo>
                      <a:lnTo>
                        <a:pt x="0" y="86"/>
                      </a:lnTo>
                      <a:lnTo>
                        <a:pt x="2" y="77"/>
                      </a:lnTo>
                      <a:lnTo>
                        <a:pt x="5" y="67"/>
                      </a:lnTo>
                      <a:lnTo>
                        <a:pt x="9" y="56"/>
                      </a:lnTo>
                      <a:lnTo>
                        <a:pt x="15" y="43"/>
                      </a:lnTo>
                      <a:lnTo>
                        <a:pt x="20" y="43"/>
                      </a:lnTo>
                      <a:lnTo>
                        <a:pt x="26" y="42"/>
                      </a:lnTo>
                      <a:lnTo>
                        <a:pt x="30" y="41"/>
                      </a:lnTo>
                      <a:lnTo>
                        <a:pt x="33" y="38"/>
                      </a:lnTo>
                      <a:lnTo>
                        <a:pt x="40" y="33"/>
                      </a:lnTo>
                      <a:lnTo>
                        <a:pt x="45" y="26"/>
                      </a:lnTo>
                      <a:lnTo>
                        <a:pt x="52" y="12"/>
                      </a:lnTo>
                      <a:lnTo>
                        <a:pt x="61" y="0"/>
                      </a:lnTo>
                      <a:lnTo>
                        <a:pt x="64" y="4"/>
                      </a:lnTo>
                      <a:lnTo>
                        <a:pt x="67" y="7"/>
                      </a:lnTo>
                      <a:lnTo>
                        <a:pt x="73" y="11"/>
                      </a:lnTo>
                      <a:lnTo>
                        <a:pt x="78" y="14"/>
                      </a:lnTo>
                      <a:lnTo>
                        <a:pt x="92" y="21"/>
                      </a:lnTo>
                      <a:lnTo>
                        <a:pt x="107" y="28"/>
                      </a:lnTo>
                      <a:lnTo>
                        <a:pt x="122" y="35"/>
                      </a:lnTo>
                      <a:lnTo>
                        <a:pt x="139" y="39"/>
                      </a:lnTo>
                      <a:lnTo>
                        <a:pt x="153" y="42"/>
                      </a:lnTo>
                      <a:lnTo>
                        <a:pt x="167" y="43"/>
                      </a:lnTo>
                    </a:path>
                  </a:pathLst>
                </a:custGeom>
                <a:grpFill/>
                <a:ln w="9525" cmpd="sng">
                  <a:solidFill>
                    <a:srgbClr val="FFFFFF"/>
                  </a:solidFill>
                  <a:prstDash val="solid"/>
                  <a:round/>
                  <a:headEnd/>
                  <a:tailEnd/>
                </a:ln>
              </p:spPr>
              <p:txBody>
                <a:bodyPr/>
                <a:lstStyle/>
                <a:p>
                  <a:endParaRPr lang="en-GB" sz="1637"/>
                </a:p>
              </p:txBody>
            </p:sp>
            <p:sp>
              <p:nvSpPr>
                <p:cNvPr id="336" name="Freeform 275"/>
                <p:cNvSpPr>
                  <a:spLocks/>
                </p:cNvSpPr>
                <p:nvPr>
                  <p:custDataLst>
                    <p:tags r:id="rId208"/>
                  </p:custDataLst>
                </p:nvPr>
              </p:nvSpPr>
              <p:spPr bwMode="auto">
                <a:xfrm>
                  <a:off x="6252118" y="3041669"/>
                  <a:ext cx="145570" cy="188052"/>
                </a:xfrm>
                <a:custGeom>
                  <a:avLst/>
                  <a:gdLst>
                    <a:gd name="T0" fmla="*/ 112868 w 306"/>
                    <a:gd name="T1" fmla="*/ 83084 h 321"/>
                    <a:gd name="T2" fmla="*/ 109818 w 306"/>
                    <a:gd name="T3" fmla="*/ 89835 h 321"/>
                    <a:gd name="T4" fmla="*/ 105896 w 306"/>
                    <a:gd name="T5" fmla="*/ 94508 h 321"/>
                    <a:gd name="T6" fmla="*/ 101538 w 306"/>
                    <a:gd name="T7" fmla="*/ 96586 h 321"/>
                    <a:gd name="T8" fmla="*/ 97180 w 306"/>
                    <a:gd name="T9" fmla="*/ 95547 h 321"/>
                    <a:gd name="T10" fmla="*/ 93258 w 306"/>
                    <a:gd name="T11" fmla="*/ 92431 h 321"/>
                    <a:gd name="T12" fmla="*/ 91079 w 306"/>
                    <a:gd name="T13" fmla="*/ 87758 h 321"/>
                    <a:gd name="T14" fmla="*/ 89772 w 306"/>
                    <a:gd name="T15" fmla="*/ 83084 h 321"/>
                    <a:gd name="T16" fmla="*/ 91079 w 306"/>
                    <a:gd name="T17" fmla="*/ 76853 h 321"/>
                    <a:gd name="T18" fmla="*/ 92822 w 306"/>
                    <a:gd name="T19" fmla="*/ 70622 h 321"/>
                    <a:gd name="T20" fmla="*/ 100230 w 306"/>
                    <a:gd name="T21" fmla="*/ 59198 h 321"/>
                    <a:gd name="T22" fmla="*/ 107203 w 306"/>
                    <a:gd name="T23" fmla="*/ 48293 h 321"/>
                    <a:gd name="T24" fmla="*/ 108946 w 306"/>
                    <a:gd name="T25" fmla="*/ 42581 h 321"/>
                    <a:gd name="T26" fmla="*/ 110253 w 306"/>
                    <a:gd name="T27" fmla="*/ 35830 h 321"/>
                    <a:gd name="T28" fmla="*/ 56216 w 306"/>
                    <a:gd name="T29" fmla="*/ 35311 h 321"/>
                    <a:gd name="T30" fmla="*/ 51858 w 306"/>
                    <a:gd name="T31" fmla="*/ 30637 h 321"/>
                    <a:gd name="T32" fmla="*/ 48808 w 306"/>
                    <a:gd name="T33" fmla="*/ 23367 h 321"/>
                    <a:gd name="T34" fmla="*/ 47065 w 306"/>
                    <a:gd name="T35" fmla="*/ 14540 h 321"/>
                    <a:gd name="T36" fmla="*/ 44014 w 306"/>
                    <a:gd name="T37" fmla="*/ 9866 h 321"/>
                    <a:gd name="T38" fmla="*/ 39221 w 306"/>
                    <a:gd name="T39" fmla="*/ 8828 h 321"/>
                    <a:gd name="T40" fmla="*/ 34863 w 306"/>
                    <a:gd name="T41" fmla="*/ 6231 h 321"/>
                    <a:gd name="T42" fmla="*/ 32684 w 306"/>
                    <a:gd name="T43" fmla="*/ 2077 h 321"/>
                    <a:gd name="T44" fmla="*/ 28326 w 306"/>
                    <a:gd name="T45" fmla="*/ 0 h 321"/>
                    <a:gd name="T46" fmla="*/ 21353 w 306"/>
                    <a:gd name="T47" fmla="*/ 0 h 321"/>
                    <a:gd name="T48" fmla="*/ 14817 w 306"/>
                    <a:gd name="T49" fmla="*/ 519 h 321"/>
                    <a:gd name="T50" fmla="*/ 9587 w 306"/>
                    <a:gd name="T51" fmla="*/ 2596 h 321"/>
                    <a:gd name="T52" fmla="*/ 4358 w 306"/>
                    <a:gd name="T53" fmla="*/ 7270 h 321"/>
                    <a:gd name="T54" fmla="*/ 436 w 306"/>
                    <a:gd name="T55" fmla="*/ 12982 h 321"/>
                    <a:gd name="T56" fmla="*/ 872 w 306"/>
                    <a:gd name="T57" fmla="*/ 18175 h 321"/>
                    <a:gd name="T58" fmla="*/ 6537 w 306"/>
                    <a:gd name="T59" fmla="*/ 23887 h 321"/>
                    <a:gd name="T60" fmla="*/ 15252 w 306"/>
                    <a:gd name="T61" fmla="*/ 30118 h 321"/>
                    <a:gd name="T62" fmla="*/ 23532 w 306"/>
                    <a:gd name="T63" fmla="*/ 34792 h 321"/>
                    <a:gd name="T64" fmla="*/ 20482 w 306"/>
                    <a:gd name="T65" fmla="*/ 41023 h 321"/>
                    <a:gd name="T66" fmla="*/ 10895 w 306"/>
                    <a:gd name="T67" fmla="*/ 50370 h 321"/>
                    <a:gd name="T68" fmla="*/ 7408 w 306"/>
                    <a:gd name="T69" fmla="*/ 55563 h 321"/>
                    <a:gd name="T70" fmla="*/ 6101 w 306"/>
                    <a:gd name="T71" fmla="*/ 59198 h 321"/>
                    <a:gd name="T72" fmla="*/ 6101 w 306"/>
                    <a:gd name="T73" fmla="*/ 63352 h 321"/>
                    <a:gd name="T74" fmla="*/ 7844 w 306"/>
                    <a:gd name="T75" fmla="*/ 66987 h 321"/>
                    <a:gd name="T76" fmla="*/ 12202 w 306"/>
                    <a:gd name="T77" fmla="*/ 73218 h 321"/>
                    <a:gd name="T78" fmla="*/ 20482 w 306"/>
                    <a:gd name="T79" fmla="*/ 81007 h 321"/>
                    <a:gd name="T80" fmla="*/ 27890 w 306"/>
                    <a:gd name="T81" fmla="*/ 85161 h 321"/>
                    <a:gd name="T82" fmla="*/ 32684 w 306"/>
                    <a:gd name="T83" fmla="*/ 86200 h 321"/>
                    <a:gd name="T84" fmla="*/ 46629 w 306"/>
                    <a:gd name="T85" fmla="*/ 140724 h 321"/>
                    <a:gd name="T86" fmla="*/ 47065 w 306"/>
                    <a:gd name="T87" fmla="*/ 136570 h 321"/>
                    <a:gd name="T88" fmla="*/ 48808 w 306"/>
                    <a:gd name="T89" fmla="*/ 132935 h 321"/>
                    <a:gd name="T90" fmla="*/ 55345 w 306"/>
                    <a:gd name="T91" fmla="*/ 127742 h 321"/>
                    <a:gd name="T92" fmla="*/ 64496 w 306"/>
                    <a:gd name="T93" fmla="*/ 124627 h 321"/>
                    <a:gd name="T94" fmla="*/ 75826 w 306"/>
                    <a:gd name="T95" fmla="*/ 122030 h 321"/>
                    <a:gd name="T96" fmla="*/ 75826 w 306"/>
                    <a:gd name="T97" fmla="*/ 109048 h 321"/>
                    <a:gd name="T98" fmla="*/ 79749 w 306"/>
                    <a:gd name="T99" fmla="*/ 110087 h 321"/>
                    <a:gd name="T100" fmla="*/ 84106 w 306"/>
                    <a:gd name="T101" fmla="*/ 110087 h 321"/>
                    <a:gd name="T102" fmla="*/ 92822 w 306"/>
                    <a:gd name="T103" fmla="*/ 109048 h 321"/>
                    <a:gd name="T104" fmla="*/ 101102 w 306"/>
                    <a:gd name="T105" fmla="*/ 135531 h 321"/>
                    <a:gd name="T106" fmla="*/ 112868 w 306"/>
                    <a:gd name="T107" fmla="*/ 166688 h 321"/>
                    <a:gd name="T108" fmla="*/ 118533 w 306"/>
                    <a:gd name="T109" fmla="*/ 161495 h 321"/>
                    <a:gd name="T110" fmla="*/ 122891 w 306"/>
                    <a:gd name="T111" fmla="*/ 156822 h 321"/>
                    <a:gd name="T112" fmla="*/ 128556 w 306"/>
                    <a:gd name="T113" fmla="*/ 145398 h 321"/>
                    <a:gd name="T114" fmla="*/ 133350 w 306"/>
                    <a:gd name="T115" fmla="*/ 122030 h 32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306" h="321">
                      <a:moveTo>
                        <a:pt x="306" y="235"/>
                      </a:moveTo>
                      <a:lnTo>
                        <a:pt x="259" y="160"/>
                      </a:lnTo>
                      <a:lnTo>
                        <a:pt x="257" y="164"/>
                      </a:lnTo>
                      <a:lnTo>
                        <a:pt x="252" y="173"/>
                      </a:lnTo>
                      <a:lnTo>
                        <a:pt x="247" y="178"/>
                      </a:lnTo>
                      <a:lnTo>
                        <a:pt x="243" y="182"/>
                      </a:lnTo>
                      <a:lnTo>
                        <a:pt x="238" y="185"/>
                      </a:lnTo>
                      <a:lnTo>
                        <a:pt x="233" y="186"/>
                      </a:lnTo>
                      <a:lnTo>
                        <a:pt x="227" y="185"/>
                      </a:lnTo>
                      <a:lnTo>
                        <a:pt x="223" y="184"/>
                      </a:lnTo>
                      <a:lnTo>
                        <a:pt x="219" y="181"/>
                      </a:lnTo>
                      <a:lnTo>
                        <a:pt x="214" y="178"/>
                      </a:lnTo>
                      <a:lnTo>
                        <a:pt x="211" y="173"/>
                      </a:lnTo>
                      <a:lnTo>
                        <a:pt x="209" y="169"/>
                      </a:lnTo>
                      <a:lnTo>
                        <a:pt x="206" y="165"/>
                      </a:lnTo>
                      <a:lnTo>
                        <a:pt x="206" y="160"/>
                      </a:lnTo>
                      <a:lnTo>
                        <a:pt x="206" y="154"/>
                      </a:lnTo>
                      <a:lnTo>
                        <a:pt x="209" y="148"/>
                      </a:lnTo>
                      <a:lnTo>
                        <a:pt x="211" y="142"/>
                      </a:lnTo>
                      <a:lnTo>
                        <a:pt x="213" y="136"/>
                      </a:lnTo>
                      <a:lnTo>
                        <a:pt x="221" y="125"/>
                      </a:lnTo>
                      <a:lnTo>
                        <a:pt x="230" y="114"/>
                      </a:lnTo>
                      <a:lnTo>
                        <a:pt x="238" y="104"/>
                      </a:lnTo>
                      <a:lnTo>
                        <a:pt x="246" y="93"/>
                      </a:lnTo>
                      <a:lnTo>
                        <a:pt x="248" y="87"/>
                      </a:lnTo>
                      <a:lnTo>
                        <a:pt x="250" y="82"/>
                      </a:lnTo>
                      <a:lnTo>
                        <a:pt x="253" y="75"/>
                      </a:lnTo>
                      <a:lnTo>
                        <a:pt x="253" y="69"/>
                      </a:lnTo>
                      <a:lnTo>
                        <a:pt x="133" y="69"/>
                      </a:lnTo>
                      <a:lnTo>
                        <a:pt x="129" y="68"/>
                      </a:lnTo>
                      <a:lnTo>
                        <a:pt x="123" y="65"/>
                      </a:lnTo>
                      <a:lnTo>
                        <a:pt x="119" y="59"/>
                      </a:lnTo>
                      <a:lnTo>
                        <a:pt x="115" y="53"/>
                      </a:lnTo>
                      <a:lnTo>
                        <a:pt x="112" y="45"/>
                      </a:lnTo>
                      <a:lnTo>
                        <a:pt x="109" y="37"/>
                      </a:lnTo>
                      <a:lnTo>
                        <a:pt x="108" y="28"/>
                      </a:lnTo>
                      <a:lnTo>
                        <a:pt x="107" y="19"/>
                      </a:lnTo>
                      <a:lnTo>
                        <a:pt x="101" y="19"/>
                      </a:lnTo>
                      <a:lnTo>
                        <a:pt x="96" y="18"/>
                      </a:lnTo>
                      <a:lnTo>
                        <a:pt x="90" y="17"/>
                      </a:lnTo>
                      <a:lnTo>
                        <a:pt x="85" y="15"/>
                      </a:lnTo>
                      <a:lnTo>
                        <a:pt x="80" y="12"/>
                      </a:lnTo>
                      <a:lnTo>
                        <a:pt x="77" y="9"/>
                      </a:lnTo>
                      <a:lnTo>
                        <a:pt x="75" y="4"/>
                      </a:lnTo>
                      <a:lnTo>
                        <a:pt x="74" y="0"/>
                      </a:lnTo>
                      <a:lnTo>
                        <a:pt x="65" y="0"/>
                      </a:lnTo>
                      <a:lnTo>
                        <a:pt x="57" y="0"/>
                      </a:lnTo>
                      <a:lnTo>
                        <a:pt x="49" y="0"/>
                      </a:lnTo>
                      <a:lnTo>
                        <a:pt x="41" y="0"/>
                      </a:lnTo>
                      <a:lnTo>
                        <a:pt x="34" y="1"/>
                      </a:lnTo>
                      <a:lnTo>
                        <a:pt x="29" y="2"/>
                      </a:lnTo>
                      <a:lnTo>
                        <a:pt x="22" y="5"/>
                      </a:lnTo>
                      <a:lnTo>
                        <a:pt x="15" y="9"/>
                      </a:lnTo>
                      <a:lnTo>
                        <a:pt x="10" y="14"/>
                      </a:lnTo>
                      <a:lnTo>
                        <a:pt x="4" y="19"/>
                      </a:lnTo>
                      <a:lnTo>
                        <a:pt x="1" y="25"/>
                      </a:lnTo>
                      <a:lnTo>
                        <a:pt x="0" y="31"/>
                      </a:lnTo>
                      <a:lnTo>
                        <a:pt x="2" y="35"/>
                      </a:lnTo>
                      <a:lnTo>
                        <a:pt x="8" y="40"/>
                      </a:lnTo>
                      <a:lnTo>
                        <a:pt x="15" y="46"/>
                      </a:lnTo>
                      <a:lnTo>
                        <a:pt x="25" y="52"/>
                      </a:lnTo>
                      <a:lnTo>
                        <a:pt x="35" y="58"/>
                      </a:lnTo>
                      <a:lnTo>
                        <a:pt x="45" y="63"/>
                      </a:lnTo>
                      <a:lnTo>
                        <a:pt x="54" y="67"/>
                      </a:lnTo>
                      <a:lnTo>
                        <a:pt x="60" y="69"/>
                      </a:lnTo>
                      <a:lnTo>
                        <a:pt x="47" y="79"/>
                      </a:lnTo>
                      <a:lnTo>
                        <a:pt x="32" y="91"/>
                      </a:lnTo>
                      <a:lnTo>
                        <a:pt x="25" y="97"/>
                      </a:lnTo>
                      <a:lnTo>
                        <a:pt x="19" y="104"/>
                      </a:lnTo>
                      <a:lnTo>
                        <a:pt x="17" y="107"/>
                      </a:lnTo>
                      <a:lnTo>
                        <a:pt x="15" y="110"/>
                      </a:lnTo>
                      <a:lnTo>
                        <a:pt x="14" y="114"/>
                      </a:lnTo>
                      <a:lnTo>
                        <a:pt x="13" y="117"/>
                      </a:lnTo>
                      <a:lnTo>
                        <a:pt x="14" y="122"/>
                      </a:lnTo>
                      <a:lnTo>
                        <a:pt x="15" y="125"/>
                      </a:lnTo>
                      <a:lnTo>
                        <a:pt x="18" y="129"/>
                      </a:lnTo>
                      <a:lnTo>
                        <a:pt x="20" y="133"/>
                      </a:lnTo>
                      <a:lnTo>
                        <a:pt x="28" y="141"/>
                      </a:lnTo>
                      <a:lnTo>
                        <a:pt x="37" y="149"/>
                      </a:lnTo>
                      <a:lnTo>
                        <a:pt x="47" y="156"/>
                      </a:lnTo>
                      <a:lnTo>
                        <a:pt x="58" y="162"/>
                      </a:lnTo>
                      <a:lnTo>
                        <a:pt x="64" y="164"/>
                      </a:lnTo>
                      <a:lnTo>
                        <a:pt x="69" y="165"/>
                      </a:lnTo>
                      <a:lnTo>
                        <a:pt x="75" y="166"/>
                      </a:lnTo>
                      <a:lnTo>
                        <a:pt x="80" y="167"/>
                      </a:lnTo>
                      <a:lnTo>
                        <a:pt x="107" y="271"/>
                      </a:lnTo>
                      <a:lnTo>
                        <a:pt x="107" y="267"/>
                      </a:lnTo>
                      <a:lnTo>
                        <a:pt x="108" y="263"/>
                      </a:lnTo>
                      <a:lnTo>
                        <a:pt x="110" y="260"/>
                      </a:lnTo>
                      <a:lnTo>
                        <a:pt x="112" y="256"/>
                      </a:lnTo>
                      <a:lnTo>
                        <a:pt x="119" y="251"/>
                      </a:lnTo>
                      <a:lnTo>
                        <a:pt x="127" y="246"/>
                      </a:lnTo>
                      <a:lnTo>
                        <a:pt x="137" y="243"/>
                      </a:lnTo>
                      <a:lnTo>
                        <a:pt x="148" y="240"/>
                      </a:lnTo>
                      <a:lnTo>
                        <a:pt x="160" y="237"/>
                      </a:lnTo>
                      <a:lnTo>
                        <a:pt x="174" y="235"/>
                      </a:lnTo>
                      <a:lnTo>
                        <a:pt x="174" y="222"/>
                      </a:lnTo>
                      <a:lnTo>
                        <a:pt x="174" y="210"/>
                      </a:lnTo>
                      <a:lnTo>
                        <a:pt x="178" y="212"/>
                      </a:lnTo>
                      <a:lnTo>
                        <a:pt x="183" y="212"/>
                      </a:lnTo>
                      <a:lnTo>
                        <a:pt x="188" y="213"/>
                      </a:lnTo>
                      <a:lnTo>
                        <a:pt x="193" y="212"/>
                      </a:lnTo>
                      <a:lnTo>
                        <a:pt x="203" y="211"/>
                      </a:lnTo>
                      <a:lnTo>
                        <a:pt x="213" y="210"/>
                      </a:lnTo>
                      <a:lnTo>
                        <a:pt x="220" y="233"/>
                      </a:lnTo>
                      <a:lnTo>
                        <a:pt x="232" y="261"/>
                      </a:lnTo>
                      <a:lnTo>
                        <a:pt x="245" y="292"/>
                      </a:lnTo>
                      <a:lnTo>
                        <a:pt x="259" y="321"/>
                      </a:lnTo>
                      <a:lnTo>
                        <a:pt x="267" y="316"/>
                      </a:lnTo>
                      <a:lnTo>
                        <a:pt x="272" y="311"/>
                      </a:lnTo>
                      <a:lnTo>
                        <a:pt x="278" y="307"/>
                      </a:lnTo>
                      <a:lnTo>
                        <a:pt x="282" y="302"/>
                      </a:lnTo>
                      <a:lnTo>
                        <a:pt x="290" y="291"/>
                      </a:lnTo>
                      <a:lnTo>
                        <a:pt x="295" y="280"/>
                      </a:lnTo>
                      <a:lnTo>
                        <a:pt x="301" y="258"/>
                      </a:lnTo>
                      <a:lnTo>
                        <a:pt x="306" y="235"/>
                      </a:lnTo>
                    </a:path>
                  </a:pathLst>
                </a:custGeom>
                <a:grpFill/>
                <a:ln w="9525" cmpd="sng">
                  <a:solidFill>
                    <a:srgbClr val="FFFFFF"/>
                  </a:solidFill>
                  <a:prstDash val="solid"/>
                  <a:round/>
                  <a:headEnd/>
                  <a:tailEnd/>
                </a:ln>
              </p:spPr>
              <p:txBody>
                <a:bodyPr/>
                <a:lstStyle/>
                <a:p>
                  <a:endParaRPr lang="en-GB" sz="1637"/>
                </a:p>
              </p:txBody>
            </p:sp>
            <p:sp>
              <p:nvSpPr>
                <p:cNvPr id="337" name="Freeform 276"/>
                <p:cNvSpPr>
                  <a:spLocks/>
                </p:cNvSpPr>
                <p:nvPr>
                  <p:custDataLst>
                    <p:tags r:id="rId209"/>
                  </p:custDataLst>
                </p:nvPr>
              </p:nvSpPr>
              <p:spPr bwMode="auto">
                <a:xfrm>
                  <a:off x="6598714" y="3172410"/>
                  <a:ext cx="220088" cy="304464"/>
                </a:xfrm>
                <a:custGeom>
                  <a:avLst/>
                  <a:gdLst>
                    <a:gd name="T0" fmla="*/ 40237 w 471"/>
                    <a:gd name="T1" fmla="*/ 6252 h 518"/>
                    <a:gd name="T2" fmla="*/ 28679 w 471"/>
                    <a:gd name="T3" fmla="*/ 16672 h 518"/>
                    <a:gd name="T4" fmla="*/ 17122 w 471"/>
                    <a:gd name="T5" fmla="*/ 25529 h 518"/>
                    <a:gd name="T6" fmla="*/ 11557 w 471"/>
                    <a:gd name="T7" fmla="*/ 42722 h 518"/>
                    <a:gd name="T8" fmla="*/ 3424 w 471"/>
                    <a:gd name="T9" fmla="*/ 61477 h 518"/>
                    <a:gd name="T10" fmla="*/ 2996 w 471"/>
                    <a:gd name="T11" fmla="*/ 70855 h 518"/>
                    <a:gd name="T12" fmla="*/ 12842 w 471"/>
                    <a:gd name="T13" fmla="*/ 79712 h 518"/>
                    <a:gd name="T14" fmla="*/ 21403 w 471"/>
                    <a:gd name="T15" fmla="*/ 87527 h 518"/>
                    <a:gd name="T16" fmla="*/ 26539 w 471"/>
                    <a:gd name="T17" fmla="*/ 89611 h 518"/>
                    <a:gd name="T18" fmla="*/ 32104 w 471"/>
                    <a:gd name="T19" fmla="*/ 109930 h 518"/>
                    <a:gd name="T20" fmla="*/ 35956 w 471"/>
                    <a:gd name="T21" fmla="*/ 141710 h 518"/>
                    <a:gd name="T22" fmla="*/ 40237 w 471"/>
                    <a:gd name="T23" fmla="*/ 155777 h 518"/>
                    <a:gd name="T24" fmla="*/ 44517 w 471"/>
                    <a:gd name="T25" fmla="*/ 157340 h 518"/>
                    <a:gd name="T26" fmla="*/ 47942 w 471"/>
                    <a:gd name="T27" fmla="*/ 154735 h 518"/>
                    <a:gd name="T28" fmla="*/ 54791 w 471"/>
                    <a:gd name="T29" fmla="*/ 139626 h 518"/>
                    <a:gd name="T30" fmla="*/ 62067 w 471"/>
                    <a:gd name="T31" fmla="*/ 136500 h 518"/>
                    <a:gd name="T32" fmla="*/ 68488 w 471"/>
                    <a:gd name="T33" fmla="*/ 141710 h 518"/>
                    <a:gd name="T34" fmla="*/ 74053 w 471"/>
                    <a:gd name="T35" fmla="*/ 144315 h 518"/>
                    <a:gd name="T36" fmla="*/ 78333 w 471"/>
                    <a:gd name="T37" fmla="*/ 142752 h 518"/>
                    <a:gd name="T38" fmla="*/ 82186 w 471"/>
                    <a:gd name="T39" fmla="*/ 134938 h 518"/>
                    <a:gd name="T40" fmla="*/ 86894 w 471"/>
                    <a:gd name="T41" fmla="*/ 127123 h 518"/>
                    <a:gd name="T42" fmla="*/ 90747 w 471"/>
                    <a:gd name="T43" fmla="*/ 125560 h 518"/>
                    <a:gd name="T44" fmla="*/ 103160 w 471"/>
                    <a:gd name="T45" fmla="*/ 128686 h 518"/>
                    <a:gd name="T46" fmla="*/ 110865 w 471"/>
                    <a:gd name="T47" fmla="*/ 141189 h 518"/>
                    <a:gd name="T48" fmla="*/ 131840 w 471"/>
                    <a:gd name="T49" fmla="*/ 175054 h 518"/>
                    <a:gd name="T50" fmla="*/ 145965 w 471"/>
                    <a:gd name="T51" fmla="*/ 199020 h 518"/>
                    <a:gd name="T52" fmla="*/ 153242 w 471"/>
                    <a:gd name="T53" fmla="*/ 218297 h 518"/>
                    <a:gd name="T54" fmla="*/ 156667 w 471"/>
                    <a:gd name="T55" fmla="*/ 238094 h 518"/>
                    <a:gd name="T56" fmla="*/ 153670 w 471"/>
                    <a:gd name="T57" fmla="*/ 244867 h 518"/>
                    <a:gd name="T58" fmla="*/ 145109 w 471"/>
                    <a:gd name="T59" fmla="*/ 253724 h 518"/>
                    <a:gd name="T60" fmla="*/ 155382 w 471"/>
                    <a:gd name="T61" fmla="*/ 258413 h 518"/>
                    <a:gd name="T62" fmla="*/ 167796 w 471"/>
                    <a:gd name="T63" fmla="*/ 269875 h 518"/>
                    <a:gd name="T64" fmla="*/ 171648 w 471"/>
                    <a:gd name="T65" fmla="*/ 259976 h 518"/>
                    <a:gd name="T66" fmla="*/ 176785 w 471"/>
                    <a:gd name="T67" fmla="*/ 254766 h 518"/>
                    <a:gd name="T68" fmla="*/ 190055 w 471"/>
                    <a:gd name="T69" fmla="*/ 251640 h 518"/>
                    <a:gd name="T70" fmla="*/ 200328 w 471"/>
                    <a:gd name="T71" fmla="*/ 228195 h 518"/>
                    <a:gd name="T72" fmla="*/ 192195 w 471"/>
                    <a:gd name="T73" fmla="*/ 201625 h 518"/>
                    <a:gd name="T74" fmla="*/ 180209 w 471"/>
                    <a:gd name="T75" fmla="*/ 180785 h 518"/>
                    <a:gd name="T76" fmla="*/ 147678 w 471"/>
                    <a:gd name="T77" fmla="*/ 144315 h 518"/>
                    <a:gd name="T78" fmla="*/ 119426 w 471"/>
                    <a:gd name="T79" fmla="*/ 113577 h 518"/>
                    <a:gd name="T80" fmla="*/ 95883 w 471"/>
                    <a:gd name="T81" fmla="*/ 84401 h 518"/>
                    <a:gd name="T82" fmla="*/ 76621 w 471"/>
                    <a:gd name="T83" fmla="*/ 54704 h 518"/>
                    <a:gd name="T84" fmla="*/ 54362 w 471"/>
                    <a:gd name="T85" fmla="*/ 20840 h 518"/>
                    <a:gd name="T86" fmla="*/ 49226 w 471"/>
                    <a:gd name="T87" fmla="*/ 7294 h 51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71" h="518">
                      <a:moveTo>
                        <a:pt x="113" y="0"/>
                      </a:moveTo>
                      <a:lnTo>
                        <a:pt x="104" y="5"/>
                      </a:lnTo>
                      <a:lnTo>
                        <a:pt x="94" y="12"/>
                      </a:lnTo>
                      <a:lnTo>
                        <a:pt x="85" y="18"/>
                      </a:lnTo>
                      <a:lnTo>
                        <a:pt x="76" y="25"/>
                      </a:lnTo>
                      <a:lnTo>
                        <a:pt x="67" y="32"/>
                      </a:lnTo>
                      <a:lnTo>
                        <a:pt x="59" y="38"/>
                      </a:lnTo>
                      <a:lnTo>
                        <a:pt x="50" y="44"/>
                      </a:lnTo>
                      <a:lnTo>
                        <a:pt x="40" y="49"/>
                      </a:lnTo>
                      <a:lnTo>
                        <a:pt x="37" y="59"/>
                      </a:lnTo>
                      <a:lnTo>
                        <a:pt x="32" y="71"/>
                      </a:lnTo>
                      <a:lnTo>
                        <a:pt x="27" y="82"/>
                      </a:lnTo>
                      <a:lnTo>
                        <a:pt x="20" y="93"/>
                      </a:lnTo>
                      <a:lnTo>
                        <a:pt x="14" y="106"/>
                      </a:lnTo>
                      <a:lnTo>
                        <a:pt x="8" y="118"/>
                      </a:lnTo>
                      <a:lnTo>
                        <a:pt x="4" y="131"/>
                      </a:lnTo>
                      <a:lnTo>
                        <a:pt x="0" y="142"/>
                      </a:lnTo>
                      <a:lnTo>
                        <a:pt x="7" y="136"/>
                      </a:lnTo>
                      <a:lnTo>
                        <a:pt x="16" y="141"/>
                      </a:lnTo>
                      <a:lnTo>
                        <a:pt x="23" y="147"/>
                      </a:lnTo>
                      <a:lnTo>
                        <a:pt x="30" y="153"/>
                      </a:lnTo>
                      <a:lnTo>
                        <a:pt x="37" y="159"/>
                      </a:lnTo>
                      <a:lnTo>
                        <a:pt x="43" y="164"/>
                      </a:lnTo>
                      <a:lnTo>
                        <a:pt x="50" y="168"/>
                      </a:lnTo>
                      <a:lnTo>
                        <a:pt x="53" y="170"/>
                      </a:lnTo>
                      <a:lnTo>
                        <a:pt x="57" y="171"/>
                      </a:lnTo>
                      <a:lnTo>
                        <a:pt x="62" y="172"/>
                      </a:lnTo>
                      <a:lnTo>
                        <a:pt x="66" y="172"/>
                      </a:lnTo>
                      <a:lnTo>
                        <a:pt x="71" y="191"/>
                      </a:lnTo>
                      <a:lnTo>
                        <a:pt x="75" y="211"/>
                      </a:lnTo>
                      <a:lnTo>
                        <a:pt x="77" y="233"/>
                      </a:lnTo>
                      <a:lnTo>
                        <a:pt x="80" y="254"/>
                      </a:lnTo>
                      <a:lnTo>
                        <a:pt x="84" y="272"/>
                      </a:lnTo>
                      <a:lnTo>
                        <a:pt x="88" y="289"/>
                      </a:lnTo>
                      <a:lnTo>
                        <a:pt x="90" y="294"/>
                      </a:lnTo>
                      <a:lnTo>
                        <a:pt x="94" y="299"/>
                      </a:lnTo>
                      <a:lnTo>
                        <a:pt x="96" y="302"/>
                      </a:lnTo>
                      <a:lnTo>
                        <a:pt x="100" y="302"/>
                      </a:lnTo>
                      <a:lnTo>
                        <a:pt x="104" y="302"/>
                      </a:lnTo>
                      <a:lnTo>
                        <a:pt x="107" y="301"/>
                      </a:lnTo>
                      <a:lnTo>
                        <a:pt x="110" y="299"/>
                      </a:lnTo>
                      <a:lnTo>
                        <a:pt x="112" y="297"/>
                      </a:lnTo>
                      <a:lnTo>
                        <a:pt x="118" y="291"/>
                      </a:lnTo>
                      <a:lnTo>
                        <a:pt x="121" y="283"/>
                      </a:lnTo>
                      <a:lnTo>
                        <a:pt x="128" y="268"/>
                      </a:lnTo>
                      <a:lnTo>
                        <a:pt x="133" y="259"/>
                      </a:lnTo>
                      <a:lnTo>
                        <a:pt x="140" y="260"/>
                      </a:lnTo>
                      <a:lnTo>
                        <a:pt x="145" y="262"/>
                      </a:lnTo>
                      <a:lnTo>
                        <a:pt x="151" y="265"/>
                      </a:lnTo>
                      <a:lnTo>
                        <a:pt x="155" y="268"/>
                      </a:lnTo>
                      <a:lnTo>
                        <a:pt x="160" y="272"/>
                      </a:lnTo>
                      <a:lnTo>
                        <a:pt x="164" y="274"/>
                      </a:lnTo>
                      <a:lnTo>
                        <a:pt x="168" y="277"/>
                      </a:lnTo>
                      <a:lnTo>
                        <a:pt x="173" y="277"/>
                      </a:lnTo>
                      <a:lnTo>
                        <a:pt x="176" y="277"/>
                      </a:lnTo>
                      <a:lnTo>
                        <a:pt x="179" y="276"/>
                      </a:lnTo>
                      <a:lnTo>
                        <a:pt x="183" y="274"/>
                      </a:lnTo>
                      <a:lnTo>
                        <a:pt x="185" y="272"/>
                      </a:lnTo>
                      <a:lnTo>
                        <a:pt x="189" y="266"/>
                      </a:lnTo>
                      <a:lnTo>
                        <a:pt x="192" y="259"/>
                      </a:lnTo>
                      <a:lnTo>
                        <a:pt x="197" y="252"/>
                      </a:lnTo>
                      <a:lnTo>
                        <a:pt x="201" y="247"/>
                      </a:lnTo>
                      <a:lnTo>
                        <a:pt x="203" y="244"/>
                      </a:lnTo>
                      <a:lnTo>
                        <a:pt x="206" y="243"/>
                      </a:lnTo>
                      <a:lnTo>
                        <a:pt x="209" y="241"/>
                      </a:lnTo>
                      <a:lnTo>
                        <a:pt x="212" y="241"/>
                      </a:lnTo>
                      <a:lnTo>
                        <a:pt x="224" y="242"/>
                      </a:lnTo>
                      <a:lnTo>
                        <a:pt x="233" y="244"/>
                      </a:lnTo>
                      <a:lnTo>
                        <a:pt x="241" y="247"/>
                      </a:lnTo>
                      <a:lnTo>
                        <a:pt x="246" y="252"/>
                      </a:lnTo>
                      <a:lnTo>
                        <a:pt x="254" y="261"/>
                      </a:lnTo>
                      <a:lnTo>
                        <a:pt x="259" y="271"/>
                      </a:lnTo>
                      <a:lnTo>
                        <a:pt x="274" y="293"/>
                      </a:lnTo>
                      <a:lnTo>
                        <a:pt x="290" y="314"/>
                      </a:lnTo>
                      <a:lnTo>
                        <a:pt x="308" y="336"/>
                      </a:lnTo>
                      <a:lnTo>
                        <a:pt x="325" y="359"/>
                      </a:lnTo>
                      <a:lnTo>
                        <a:pt x="333" y="371"/>
                      </a:lnTo>
                      <a:lnTo>
                        <a:pt x="341" y="382"/>
                      </a:lnTo>
                      <a:lnTo>
                        <a:pt x="347" y="394"/>
                      </a:lnTo>
                      <a:lnTo>
                        <a:pt x="354" y="407"/>
                      </a:lnTo>
                      <a:lnTo>
                        <a:pt x="358" y="419"/>
                      </a:lnTo>
                      <a:lnTo>
                        <a:pt x="363" y="431"/>
                      </a:lnTo>
                      <a:lnTo>
                        <a:pt x="365" y="443"/>
                      </a:lnTo>
                      <a:lnTo>
                        <a:pt x="366" y="457"/>
                      </a:lnTo>
                      <a:lnTo>
                        <a:pt x="365" y="461"/>
                      </a:lnTo>
                      <a:lnTo>
                        <a:pt x="363" y="466"/>
                      </a:lnTo>
                      <a:lnTo>
                        <a:pt x="359" y="470"/>
                      </a:lnTo>
                      <a:lnTo>
                        <a:pt x="355" y="474"/>
                      </a:lnTo>
                      <a:lnTo>
                        <a:pt x="346" y="481"/>
                      </a:lnTo>
                      <a:lnTo>
                        <a:pt x="339" y="487"/>
                      </a:lnTo>
                      <a:lnTo>
                        <a:pt x="348" y="490"/>
                      </a:lnTo>
                      <a:lnTo>
                        <a:pt x="356" y="493"/>
                      </a:lnTo>
                      <a:lnTo>
                        <a:pt x="363" y="496"/>
                      </a:lnTo>
                      <a:lnTo>
                        <a:pt x="368" y="500"/>
                      </a:lnTo>
                      <a:lnTo>
                        <a:pt x="379" y="508"/>
                      </a:lnTo>
                      <a:lnTo>
                        <a:pt x="392" y="518"/>
                      </a:lnTo>
                      <a:lnTo>
                        <a:pt x="395" y="511"/>
                      </a:lnTo>
                      <a:lnTo>
                        <a:pt x="398" y="504"/>
                      </a:lnTo>
                      <a:lnTo>
                        <a:pt x="401" y="499"/>
                      </a:lnTo>
                      <a:lnTo>
                        <a:pt x="404" y="495"/>
                      </a:lnTo>
                      <a:lnTo>
                        <a:pt x="409" y="491"/>
                      </a:lnTo>
                      <a:lnTo>
                        <a:pt x="413" y="489"/>
                      </a:lnTo>
                      <a:lnTo>
                        <a:pt x="418" y="487"/>
                      </a:lnTo>
                      <a:lnTo>
                        <a:pt x="422" y="485"/>
                      </a:lnTo>
                      <a:lnTo>
                        <a:pt x="444" y="483"/>
                      </a:lnTo>
                      <a:lnTo>
                        <a:pt x="471" y="481"/>
                      </a:lnTo>
                      <a:lnTo>
                        <a:pt x="471" y="459"/>
                      </a:lnTo>
                      <a:lnTo>
                        <a:pt x="468" y="438"/>
                      </a:lnTo>
                      <a:lnTo>
                        <a:pt x="464" y="420"/>
                      </a:lnTo>
                      <a:lnTo>
                        <a:pt x="457" y="403"/>
                      </a:lnTo>
                      <a:lnTo>
                        <a:pt x="449" y="387"/>
                      </a:lnTo>
                      <a:lnTo>
                        <a:pt x="441" y="372"/>
                      </a:lnTo>
                      <a:lnTo>
                        <a:pt x="431" y="359"/>
                      </a:lnTo>
                      <a:lnTo>
                        <a:pt x="421" y="347"/>
                      </a:lnTo>
                      <a:lnTo>
                        <a:pt x="397" y="322"/>
                      </a:lnTo>
                      <a:lnTo>
                        <a:pt x="371" y="300"/>
                      </a:lnTo>
                      <a:lnTo>
                        <a:pt x="345" y="277"/>
                      </a:lnTo>
                      <a:lnTo>
                        <a:pt x="319" y="253"/>
                      </a:lnTo>
                      <a:lnTo>
                        <a:pt x="299" y="237"/>
                      </a:lnTo>
                      <a:lnTo>
                        <a:pt x="279" y="218"/>
                      </a:lnTo>
                      <a:lnTo>
                        <a:pt x="261" y="200"/>
                      </a:lnTo>
                      <a:lnTo>
                        <a:pt x="242" y="182"/>
                      </a:lnTo>
                      <a:lnTo>
                        <a:pt x="224" y="162"/>
                      </a:lnTo>
                      <a:lnTo>
                        <a:pt x="208" y="143"/>
                      </a:lnTo>
                      <a:lnTo>
                        <a:pt x="192" y="124"/>
                      </a:lnTo>
                      <a:lnTo>
                        <a:pt x="179" y="105"/>
                      </a:lnTo>
                      <a:lnTo>
                        <a:pt x="158" y="79"/>
                      </a:lnTo>
                      <a:lnTo>
                        <a:pt x="136" y="52"/>
                      </a:lnTo>
                      <a:lnTo>
                        <a:pt x="127" y="40"/>
                      </a:lnTo>
                      <a:lnTo>
                        <a:pt x="120" y="27"/>
                      </a:lnTo>
                      <a:lnTo>
                        <a:pt x="117" y="21"/>
                      </a:lnTo>
                      <a:lnTo>
                        <a:pt x="115" y="14"/>
                      </a:lnTo>
                      <a:lnTo>
                        <a:pt x="113" y="7"/>
                      </a:lnTo>
                      <a:lnTo>
                        <a:pt x="113" y="0"/>
                      </a:lnTo>
                    </a:path>
                  </a:pathLst>
                </a:custGeom>
                <a:grpFill/>
                <a:ln w="9525" cmpd="sng">
                  <a:solidFill>
                    <a:srgbClr val="FFFFFF"/>
                  </a:solidFill>
                  <a:prstDash val="solid"/>
                  <a:round/>
                  <a:headEnd/>
                  <a:tailEnd/>
                </a:ln>
              </p:spPr>
              <p:txBody>
                <a:bodyPr/>
                <a:lstStyle/>
                <a:p>
                  <a:endParaRPr lang="en-GB" sz="1637"/>
                </a:p>
              </p:txBody>
            </p:sp>
            <p:sp>
              <p:nvSpPr>
                <p:cNvPr id="338" name="Freeform 278"/>
                <p:cNvSpPr>
                  <a:spLocks/>
                </p:cNvSpPr>
                <p:nvPr>
                  <p:custDataLst>
                    <p:tags r:id="rId210"/>
                  </p:custDataLst>
                </p:nvPr>
              </p:nvSpPr>
              <p:spPr bwMode="auto">
                <a:xfrm>
                  <a:off x="7127272" y="2593928"/>
                  <a:ext cx="93581" cy="146859"/>
                </a:xfrm>
                <a:custGeom>
                  <a:avLst/>
                  <a:gdLst>
                    <a:gd name="T0" fmla="*/ 7715 w 200"/>
                    <a:gd name="T1" fmla="*/ 21696 h 246"/>
                    <a:gd name="T2" fmla="*/ 12002 w 200"/>
                    <a:gd name="T3" fmla="*/ 13758 h 246"/>
                    <a:gd name="T4" fmla="*/ 16288 w 200"/>
                    <a:gd name="T5" fmla="*/ 8467 h 246"/>
                    <a:gd name="T6" fmla="*/ 21431 w 200"/>
                    <a:gd name="T7" fmla="*/ 4763 h 246"/>
                    <a:gd name="T8" fmla="*/ 31290 w 200"/>
                    <a:gd name="T9" fmla="*/ 529 h 246"/>
                    <a:gd name="T10" fmla="*/ 37719 w 200"/>
                    <a:gd name="T11" fmla="*/ 6350 h 246"/>
                    <a:gd name="T12" fmla="*/ 46292 w 200"/>
                    <a:gd name="T13" fmla="*/ 17992 h 246"/>
                    <a:gd name="T14" fmla="*/ 53578 w 200"/>
                    <a:gd name="T15" fmla="*/ 26458 h 246"/>
                    <a:gd name="T16" fmla="*/ 59579 w 200"/>
                    <a:gd name="T17" fmla="*/ 30692 h 246"/>
                    <a:gd name="T18" fmla="*/ 65151 w 200"/>
                    <a:gd name="T19" fmla="*/ 33867 h 246"/>
                    <a:gd name="T20" fmla="*/ 71152 w 200"/>
                    <a:gd name="T21" fmla="*/ 35454 h 246"/>
                    <a:gd name="T22" fmla="*/ 78867 w 200"/>
                    <a:gd name="T23" fmla="*/ 50800 h 246"/>
                    <a:gd name="T24" fmla="*/ 83582 w 200"/>
                    <a:gd name="T25" fmla="*/ 72496 h 246"/>
                    <a:gd name="T26" fmla="*/ 85296 w 200"/>
                    <a:gd name="T27" fmla="*/ 87313 h 246"/>
                    <a:gd name="T28" fmla="*/ 85725 w 200"/>
                    <a:gd name="T29" fmla="*/ 97896 h 246"/>
                    <a:gd name="T30" fmla="*/ 84868 w 200"/>
                    <a:gd name="T31" fmla="*/ 104246 h 246"/>
                    <a:gd name="T32" fmla="*/ 83582 w 200"/>
                    <a:gd name="T33" fmla="*/ 109537 h 246"/>
                    <a:gd name="T34" fmla="*/ 81010 w 200"/>
                    <a:gd name="T35" fmla="*/ 113242 h 246"/>
                    <a:gd name="T36" fmla="*/ 76724 w 200"/>
                    <a:gd name="T37" fmla="*/ 116417 h 246"/>
                    <a:gd name="T38" fmla="*/ 70295 w 200"/>
                    <a:gd name="T39" fmla="*/ 118533 h 246"/>
                    <a:gd name="T40" fmla="*/ 60008 w 200"/>
                    <a:gd name="T41" fmla="*/ 118533 h 246"/>
                    <a:gd name="T42" fmla="*/ 50578 w 200"/>
                    <a:gd name="T43" fmla="*/ 121179 h 246"/>
                    <a:gd name="T44" fmla="*/ 47577 w 200"/>
                    <a:gd name="T45" fmla="*/ 124354 h 246"/>
                    <a:gd name="T46" fmla="*/ 46292 w 200"/>
                    <a:gd name="T47" fmla="*/ 128058 h 246"/>
                    <a:gd name="T48" fmla="*/ 42005 w 200"/>
                    <a:gd name="T49" fmla="*/ 129646 h 246"/>
                    <a:gd name="T50" fmla="*/ 36433 w 200"/>
                    <a:gd name="T51" fmla="*/ 127000 h 246"/>
                    <a:gd name="T52" fmla="*/ 33004 w 200"/>
                    <a:gd name="T53" fmla="*/ 121708 h 246"/>
                    <a:gd name="T54" fmla="*/ 31290 w 200"/>
                    <a:gd name="T55" fmla="*/ 114300 h 246"/>
                    <a:gd name="T56" fmla="*/ 30861 w 200"/>
                    <a:gd name="T57" fmla="*/ 101600 h 246"/>
                    <a:gd name="T58" fmla="*/ 30432 w 200"/>
                    <a:gd name="T59" fmla="*/ 88900 h 246"/>
                    <a:gd name="T60" fmla="*/ 29575 w 200"/>
                    <a:gd name="T61" fmla="*/ 81492 h 246"/>
                    <a:gd name="T62" fmla="*/ 27432 w 200"/>
                    <a:gd name="T63" fmla="*/ 75142 h 246"/>
                    <a:gd name="T64" fmla="*/ 24003 w 200"/>
                    <a:gd name="T65" fmla="*/ 70908 h 246"/>
                    <a:gd name="T66" fmla="*/ 17145 w 200"/>
                    <a:gd name="T67" fmla="*/ 66146 h 246"/>
                    <a:gd name="T68" fmla="*/ 7715 w 200"/>
                    <a:gd name="T69" fmla="*/ 60854 h 246"/>
                    <a:gd name="T70" fmla="*/ 2572 w 200"/>
                    <a:gd name="T71" fmla="*/ 56092 h 246"/>
                    <a:gd name="T72" fmla="*/ 429 w 200"/>
                    <a:gd name="T73" fmla="*/ 51858 h 246"/>
                    <a:gd name="T74" fmla="*/ 429 w 200"/>
                    <a:gd name="T75" fmla="*/ 46038 h 246"/>
                    <a:gd name="T76" fmla="*/ 2143 w 200"/>
                    <a:gd name="T77" fmla="*/ 41275 h 246"/>
                    <a:gd name="T78" fmla="*/ 4286 w 200"/>
                    <a:gd name="T79" fmla="*/ 35983 h 246"/>
                    <a:gd name="T80" fmla="*/ 5572 w 200"/>
                    <a:gd name="T81" fmla="*/ 29633 h 24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00" h="246">
                      <a:moveTo>
                        <a:pt x="13" y="49"/>
                      </a:moveTo>
                      <a:lnTo>
                        <a:pt x="18" y="41"/>
                      </a:lnTo>
                      <a:lnTo>
                        <a:pt x="22" y="32"/>
                      </a:lnTo>
                      <a:lnTo>
                        <a:pt x="28" y="26"/>
                      </a:lnTo>
                      <a:lnTo>
                        <a:pt x="33" y="20"/>
                      </a:lnTo>
                      <a:lnTo>
                        <a:pt x="38" y="16"/>
                      </a:lnTo>
                      <a:lnTo>
                        <a:pt x="44" y="12"/>
                      </a:lnTo>
                      <a:lnTo>
                        <a:pt x="50" y="9"/>
                      </a:lnTo>
                      <a:lnTo>
                        <a:pt x="54" y="6"/>
                      </a:lnTo>
                      <a:lnTo>
                        <a:pt x="73" y="1"/>
                      </a:lnTo>
                      <a:lnTo>
                        <a:pt x="80" y="0"/>
                      </a:lnTo>
                      <a:lnTo>
                        <a:pt x="88" y="12"/>
                      </a:lnTo>
                      <a:lnTo>
                        <a:pt x="98" y="23"/>
                      </a:lnTo>
                      <a:lnTo>
                        <a:pt x="108" y="34"/>
                      </a:lnTo>
                      <a:lnTo>
                        <a:pt x="119" y="46"/>
                      </a:lnTo>
                      <a:lnTo>
                        <a:pt x="125" y="50"/>
                      </a:lnTo>
                      <a:lnTo>
                        <a:pt x="132" y="54"/>
                      </a:lnTo>
                      <a:lnTo>
                        <a:pt x="139" y="58"/>
                      </a:lnTo>
                      <a:lnTo>
                        <a:pt x="145" y="61"/>
                      </a:lnTo>
                      <a:lnTo>
                        <a:pt x="152" y="64"/>
                      </a:lnTo>
                      <a:lnTo>
                        <a:pt x="158" y="66"/>
                      </a:lnTo>
                      <a:lnTo>
                        <a:pt x="166" y="67"/>
                      </a:lnTo>
                      <a:lnTo>
                        <a:pt x="174" y="67"/>
                      </a:lnTo>
                      <a:lnTo>
                        <a:pt x="184" y="96"/>
                      </a:lnTo>
                      <a:lnTo>
                        <a:pt x="191" y="123"/>
                      </a:lnTo>
                      <a:lnTo>
                        <a:pt x="195" y="137"/>
                      </a:lnTo>
                      <a:lnTo>
                        <a:pt x="198" y="151"/>
                      </a:lnTo>
                      <a:lnTo>
                        <a:pt x="199" y="165"/>
                      </a:lnTo>
                      <a:lnTo>
                        <a:pt x="200" y="178"/>
                      </a:lnTo>
                      <a:lnTo>
                        <a:pt x="200" y="185"/>
                      </a:lnTo>
                      <a:lnTo>
                        <a:pt x="199" y="192"/>
                      </a:lnTo>
                      <a:lnTo>
                        <a:pt x="198" y="197"/>
                      </a:lnTo>
                      <a:lnTo>
                        <a:pt x="196" y="202"/>
                      </a:lnTo>
                      <a:lnTo>
                        <a:pt x="195" y="207"/>
                      </a:lnTo>
                      <a:lnTo>
                        <a:pt x="192" y="211"/>
                      </a:lnTo>
                      <a:lnTo>
                        <a:pt x="189" y="214"/>
                      </a:lnTo>
                      <a:lnTo>
                        <a:pt x="186" y="216"/>
                      </a:lnTo>
                      <a:lnTo>
                        <a:pt x="179" y="220"/>
                      </a:lnTo>
                      <a:lnTo>
                        <a:pt x="173" y="222"/>
                      </a:lnTo>
                      <a:lnTo>
                        <a:pt x="164" y="224"/>
                      </a:lnTo>
                      <a:lnTo>
                        <a:pt x="156" y="224"/>
                      </a:lnTo>
                      <a:lnTo>
                        <a:pt x="140" y="224"/>
                      </a:lnTo>
                      <a:lnTo>
                        <a:pt x="124" y="226"/>
                      </a:lnTo>
                      <a:lnTo>
                        <a:pt x="118" y="229"/>
                      </a:lnTo>
                      <a:lnTo>
                        <a:pt x="112" y="232"/>
                      </a:lnTo>
                      <a:lnTo>
                        <a:pt x="111" y="235"/>
                      </a:lnTo>
                      <a:lnTo>
                        <a:pt x="109" y="238"/>
                      </a:lnTo>
                      <a:lnTo>
                        <a:pt x="108" y="242"/>
                      </a:lnTo>
                      <a:lnTo>
                        <a:pt x="107" y="246"/>
                      </a:lnTo>
                      <a:lnTo>
                        <a:pt x="98" y="245"/>
                      </a:lnTo>
                      <a:lnTo>
                        <a:pt x="90" y="243"/>
                      </a:lnTo>
                      <a:lnTo>
                        <a:pt x="85" y="240"/>
                      </a:lnTo>
                      <a:lnTo>
                        <a:pt x="80" y="235"/>
                      </a:lnTo>
                      <a:lnTo>
                        <a:pt x="77" y="230"/>
                      </a:lnTo>
                      <a:lnTo>
                        <a:pt x="75" y="223"/>
                      </a:lnTo>
                      <a:lnTo>
                        <a:pt x="73" y="216"/>
                      </a:lnTo>
                      <a:lnTo>
                        <a:pt x="72" y="209"/>
                      </a:lnTo>
                      <a:lnTo>
                        <a:pt x="72" y="192"/>
                      </a:lnTo>
                      <a:lnTo>
                        <a:pt x="72" y="176"/>
                      </a:lnTo>
                      <a:lnTo>
                        <a:pt x="71" y="168"/>
                      </a:lnTo>
                      <a:lnTo>
                        <a:pt x="71" y="161"/>
                      </a:lnTo>
                      <a:lnTo>
                        <a:pt x="69" y="154"/>
                      </a:lnTo>
                      <a:lnTo>
                        <a:pt x="67" y="148"/>
                      </a:lnTo>
                      <a:lnTo>
                        <a:pt x="64" y="142"/>
                      </a:lnTo>
                      <a:lnTo>
                        <a:pt x="61" y="137"/>
                      </a:lnTo>
                      <a:lnTo>
                        <a:pt x="56" y="134"/>
                      </a:lnTo>
                      <a:lnTo>
                        <a:pt x="51" y="130"/>
                      </a:lnTo>
                      <a:lnTo>
                        <a:pt x="40" y="125"/>
                      </a:lnTo>
                      <a:lnTo>
                        <a:pt x="29" y="120"/>
                      </a:lnTo>
                      <a:lnTo>
                        <a:pt x="18" y="115"/>
                      </a:lnTo>
                      <a:lnTo>
                        <a:pt x="9" y="110"/>
                      </a:lnTo>
                      <a:lnTo>
                        <a:pt x="6" y="106"/>
                      </a:lnTo>
                      <a:lnTo>
                        <a:pt x="3" y="103"/>
                      </a:lnTo>
                      <a:lnTo>
                        <a:pt x="1" y="98"/>
                      </a:lnTo>
                      <a:lnTo>
                        <a:pt x="0" y="93"/>
                      </a:lnTo>
                      <a:lnTo>
                        <a:pt x="1" y="87"/>
                      </a:lnTo>
                      <a:lnTo>
                        <a:pt x="3" y="83"/>
                      </a:lnTo>
                      <a:lnTo>
                        <a:pt x="5" y="78"/>
                      </a:lnTo>
                      <a:lnTo>
                        <a:pt x="7" y="73"/>
                      </a:lnTo>
                      <a:lnTo>
                        <a:pt x="10" y="68"/>
                      </a:lnTo>
                      <a:lnTo>
                        <a:pt x="12" y="62"/>
                      </a:lnTo>
                      <a:lnTo>
                        <a:pt x="13" y="56"/>
                      </a:lnTo>
                      <a:lnTo>
                        <a:pt x="13" y="49"/>
                      </a:lnTo>
                    </a:path>
                  </a:pathLst>
                </a:custGeom>
                <a:grpFill/>
                <a:ln w="9525" cmpd="sng">
                  <a:solidFill>
                    <a:srgbClr val="FFFFFF"/>
                  </a:solidFill>
                  <a:prstDash val="solid"/>
                  <a:round/>
                  <a:headEnd/>
                  <a:tailEnd/>
                </a:ln>
              </p:spPr>
              <p:txBody>
                <a:bodyPr/>
                <a:lstStyle/>
                <a:p>
                  <a:endParaRPr lang="en-GB" sz="1637"/>
                </a:p>
              </p:txBody>
            </p:sp>
            <p:sp>
              <p:nvSpPr>
                <p:cNvPr id="339" name="Freeform 281"/>
                <p:cNvSpPr>
                  <a:spLocks/>
                </p:cNvSpPr>
                <p:nvPr>
                  <p:custDataLst>
                    <p:tags r:id="rId211"/>
                  </p:custDataLst>
                </p:nvPr>
              </p:nvSpPr>
              <p:spPr bwMode="auto">
                <a:xfrm>
                  <a:off x="6075354" y="3625524"/>
                  <a:ext cx="69319" cy="134323"/>
                </a:xfrm>
                <a:custGeom>
                  <a:avLst/>
                  <a:gdLst>
                    <a:gd name="T0" fmla="*/ 18465 w 141"/>
                    <a:gd name="T1" fmla="*/ 119063 h 228"/>
                    <a:gd name="T2" fmla="*/ 16213 w 141"/>
                    <a:gd name="T3" fmla="*/ 114885 h 228"/>
                    <a:gd name="T4" fmla="*/ 13060 w 141"/>
                    <a:gd name="T5" fmla="*/ 108619 h 228"/>
                    <a:gd name="T6" fmla="*/ 9908 w 141"/>
                    <a:gd name="T7" fmla="*/ 101308 h 228"/>
                    <a:gd name="T8" fmla="*/ 7206 w 141"/>
                    <a:gd name="T9" fmla="*/ 92953 h 228"/>
                    <a:gd name="T10" fmla="*/ 4504 w 141"/>
                    <a:gd name="T11" fmla="*/ 85120 h 228"/>
                    <a:gd name="T12" fmla="*/ 2252 w 141"/>
                    <a:gd name="T13" fmla="*/ 77287 h 228"/>
                    <a:gd name="T14" fmla="*/ 901 w 141"/>
                    <a:gd name="T15" fmla="*/ 70498 h 228"/>
                    <a:gd name="T16" fmla="*/ 0 w 141"/>
                    <a:gd name="T17" fmla="*/ 64231 h 228"/>
                    <a:gd name="T18" fmla="*/ 901 w 141"/>
                    <a:gd name="T19" fmla="*/ 54309 h 228"/>
                    <a:gd name="T20" fmla="*/ 1801 w 141"/>
                    <a:gd name="T21" fmla="*/ 45432 h 228"/>
                    <a:gd name="T22" fmla="*/ 2702 w 141"/>
                    <a:gd name="T23" fmla="*/ 36554 h 228"/>
                    <a:gd name="T24" fmla="*/ 4053 w 141"/>
                    <a:gd name="T25" fmla="*/ 28721 h 228"/>
                    <a:gd name="T26" fmla="*/ 8106 w 141"/>
                    <a:gd name="T27" fmla="*/ 14622 h 228"/>
                    <a:gd name="T28" fmla="*/ 12610 w 141"/>
                    <a:gd name="T29" fmla="*/ 0 h 228"/>
                    <a:gd name="T30" fmla="*/ 20266 w 141"/>
                    <a:gd name="T31" fmla="*/ 8355 h 228"/>
                    <a:gd name="T32" fmla="*/ 27922 w 141"/>
                    <a:gd name="T33" fmla="*/ 14622 h 228"/>
                    <a:gd name="T34" fmla="*/ 34227 w 141"/>
                    <a:gd name="T35" fmla="*/ 19322 h 228"/>
                    <a:gd name="T36" fmla="*/ 40082 w 141"/>
                    <a:gd name="T37" fmla="*/ 25066 h 228"/>
                    <a:gd name="T38" fmla="*/ 42784 w 141"/>
                    <a:gd name="T39" fmla="*/ 28721 h 228"/>
                    <a:gd name="T40" fmla="*/ 45486 w 141"/>
                    <a:gd name="T41" fmla="*/ 32899 h 228"/>
                    <a:gd name="T42" fmla="*/ 48188 w 141"/>
                    <a:gd name="T43" fmla="*/ 38643 h 228"/>
                    <a:gd name="T44" fmla="*/ 51340 w 141"/>
                    <a:gd name="T45" fmla="*/ 44910 h 228"/>
                    <a:gd name="T46" fmla="*/ 54043 w 141"/>
                    <a:gd name="T47" fmla="*/ 52221 h 228"/>
                    <a:gd name="T48" fmla="*/ 57195 w 141"/>
                    <a:gd name="T49" fmla="*/ 61098 h 228"/>
                    <a:gd name="T50" fmla="*/ 59897 w 141"/>
                    <a:gd name="T51" fmla="*/ 72064 h 228"/>
                    <a:gd name="T52" fmla="*/ 63500 w 141"/>
                    <a:gd name="T53" fmla="*/ 84075 h 228"/>
                    <a:gd name="T54" fmla="*/ 63050 w 141"/>
                    <a:gd name="T55" fmla="*/ 88253 h 228"/>
                    <a:gd name="T56" fmla="*/ 62149 w 141"/>
                    <a:gd name="T57" fmla="*/ 92430 h 228"/>
                    <a:gd name="T58" fmla="*/ 60798 w 141"/>
                    <a:gd name="T59" fmla="*/ 97130 h 228"/>
                    <a:gd name="T60" fmla="*/ 58996 w 141"/>
                    <a:gd name="T61" fmla="*/ 100264 h 228"/>
                    <a:gd name="T62" fmla="*/ 57195 w 141"/>
                    <a:gd name="T63" fmla="*/ 103919 h 228"/>
                    <a:gd name="T64" fmla="*/ 54493 w 141"/>
                    <a:gd name="T65" fmla="*/ 106530 h 228"/>
                    <a:gd name="T66" fmla="*/ 51791 w 141"/>
                    <a:gd name="T67" fmla="*/ 109141 h 228"/>
                    <a:gd name="T68" fmla="*/ 48638 w 141"/>
                    <a:gd name="T69" fmla="*/ 111230 h 228"/>
                    <a:gd name="T70" fmla="*/ 45035 w 141"/>
                    <a:gd name="T71" fmla="*/ 113319 h 228"/>
                    <a:gd name="T72" fmla="*/ 41883 w 141"/>
                    <a:gd name="T73" fmla="*/ 114885 h 228"/>
                    <a:gd name="T74" fmla="*/ 38280 w 141"/>
                    <a:gd name="T75" fmla="*/ 116452 h 228"/>
                    <a:gd name="T76" fmla="*/ 34227 w 141"/>
                    <a:gd name="T77" fmla="*/ 117496 h 228"/>
                    <a:gd name="T78" fmla="*/ 26571 w 141"/>
                    <a:gd name="T79" fmla="*/ 118541 h 228"/>
                    <a:gd name="T80" fmla="*/ 18465 w 141"/>
                    <a:gd name="T81" fmla="*/ 119063 h 22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41" h="228">
                      <a:moveTo>
                        <a:pt x="41" y="228"/>
                      </a:moveTo>
                      <a:lnTo>
                        <a:pt x="36" y="220"/>
                      </a:lnTo>
                      <a:lnTo>
                        <a:pt x="29" y="208"/>
                      </a:lnTo>
                      <a:lnTo>
                        <a:pt x="22" y="194"/>
                      </a:lnTo>
                      <a:lnTo>
                        <a:pt x="16" y="178"/>
                      </a:lnTo>
                      <a:lnTo>
                        <a:pt x="10" y="163"/>
                      </a:lnTo>
                      <a:lnTo>
                        <a:pt x="5" y="148"/>
                      </a:lnTo>
                      <a:lnTo>
                        <a:pt x="2" y="135"/>
                      </a:lnTo>
                      <a:lnTo>
                        <a:pt x="0" y="123"/>
                      </a:lnTo>
                      <a:lnTo>
                        <a:pt x="2" y="104"/>
                      </a:lnTo>
                      <a:lnTo>
                        <a:pt x="4" y="87"/>
                      </a:lnTo>
                      <a:lnTo>
                        <a:pt x="6" y="70"/>
                      </a:lnTo>
                      <a:lnTo>
                        <a:pt x="9" y="55"/>
                      </a:lnTo>
                      <a:lnTo>
                        <a:pt x="18" y="28"/>
                      </a:lnTo>
                      <a:lnTo>
                        <a:pt x="28" y="0"/>
                      </a:lnTo>
                      <a:lnTo>
                        <a:pt x="45" y="16"/>
                      </a:lnTo>
                      <a:lnTo>
                        <a:pt x="62" y="28"/>
                      </a:lnTo>
                      <a:lnTo>
                        <a:pt x="76" y="37"/>
                      </a:lnTo>
                      <a:lnTo>
                        <a:pt x="89" y="48"/>
                      </a:lnTo>
                      <a:lnTo>
                        <a:pt x="95" y="55"/>
                      </a:lnTo>
                      <a:lnTo>
                        <a:pt x="101" y="63"/>
                      </a:lnTo>
                      <a:lnTo>
                        <a:pt x="107" y="74"/>
                      </a:lnTo>
                      <a:lnTo>
                        <a:pt x="114" y="86"/>
                      </a:lnTo>
                      <a:lnTo>
                        <a:pt x="120" y="100"/>
                      </a:lnTo>
                      <a:lnTo>
                        <a:pt x="127" y="117"/>
                      </a:lnTo>
                      <a:lnTo>
                        <a:pt x="133" y="138"/>
                      </a:lnTo>
                      <a:lnTo>
                        <a:pt x="141" y="161"/>
                      </a:lnTo>
                      <a:lnTo>
                        <a:pt x="140" y="169"/>
                      </a:lnTo>
                      <a:lnTo>
                        <a:pt x="138" y="177"/>
                      </a:lnTo>
                      <a:lnTo>
                        <a:pt x="135" y="186"/>
                      </a:lnTo>
                      <a:lnTo>
                        <a:pt x="131" y="192"/>
                      </a:lnTo>
                      <a:lnTo>
                        <a:pt x="127" y="199"/>
                      </a:lnTo>
                      <a:lnTo>
                        <a:pt x="121" y="204"/>
                      </a:lnTo>
                      <a:lnTo>
                        <a:pt x="115" y="209"/>
                      </a:lnTo>
                      <a:lnTo>
                        <a:pt x="108" y="213"/>
                      </a:lnTo>
                      <a:lnTo>
                        <a:pt x="100" y="217"/>
                      </a:lnTo>
                      <a:lnTo>
                        <a:pt x="93" y="220"/>
                      </a:lnTo>
                      <a:lnTo>
                        <a:pt x="85" y="223"/>
                      </a:lnTo>
                      <a:lnTo>
                        <a:pt x="76" y="225"/>
                      </a:lnTo>
                      <a:lnTo>
                        <a:pt x="59" y="227"/>
                      </a:lnTo>
                      <a:lnTo>
                        <a:pt x="41" y="228"/>
                      </a:lnTo>
                    </a:path>
                  </a:pathLst>
                </a:custGeom>
                <a:grpFill/>
                <a:ln w="9525" cmpd="sng">
                  <a:solidFill>
                    <a:srgbClr val="FFFFFF"/>
                  </a:solidFill>
                  <a:prstDash val="solid"/>
                  <a:round/>
                  <a:headEnd/>
                  <a:tailEnd/>
                </a:ln>
              </p:spPr>
              <p:txBody>
                <a:bodyPr/>
                <a:lstStyle/>
                <a:p>
                  <a:endParaRPr lang="en-GB" sz="1637"/>
                </a:p>
              </p:txBody>
            </p:sp>
            <p:grpSp>
              <p:nvGrpSpPr>
                <p:cNvPr id="340" name="Group 282"/>
                <p:cNvGrpSpPr>
                  <a:grpSpLocks/>
                </p:cNvGrpSpPr>
                <p:nvPr>
                  <p:custDataLst>
                    <p:tags r:id="rId212"/>
                  </p:custDataLst>
                </p:nvPr>
              </p:nvGrpSpPr>
              <p:grpSpPr bwMode="auto">
                <a:xfrm>
                  <a:off x="7101278" y="3299568"/>
                  <a:ext cx="254747" cy="496098"/>
                  <a:chOff x="5062" y="2295"/>
                  <a:chExt cx="177" cy="279"/>
                </a:xfrm>
                <a:grpFill/>
              </p:grpSpPr>
              <p:sp>
                <p:nvSpPr>
                  <p:cNvPr id="384" name="Freeform 283"/>
                  <p:cNvSpPr>
                    <a:spLocks/>
                  </p:cNvSpPr>
                  <p:nvPr/>
                </p:nvSpPr>
                <p:spPr bwMode="auto">
                  <a:xfrm>
                    <a:off x="5154" y="2449"/>
                    <a:ext cx="19" cy="37"/>
                  </a:xfrm>
                  <a:custGeom>
                    <a:avLst/>
                    <a:gdLst>
                      <a:gd name="T0" fmla="*/ 12 w 60"/>
                      <a:gd name="T1" fmla="*/ 37 h 110"/>
                      <a:gd name="T2" fmla="*/ 13 w 60"/>
                      <a:gd name="T3" fmla="*/ 37 h 110"/>
                      <a:gd name="T4" fmla="*/ 15 w 60"/>
                      <a:gd name="T5" fmla="*/ 36 h 110"/>
                      <a:gd name="T6" fmla="*/ 16 w 60"/>
                      <a:gd name="T7" fmla="*/ 34 h 110"/>
                      <a:gd name="T8" fmla="*/ 16 w 60"/>
                      <a:gd name="T9" fmla="*/ 32 h 110"/>
                      <a:gd name="T10" fmla="*/ 17 w 60"/>
                      <a:gd name="T11" fmla="*/ 30 h 110"/>
                      <a:gd name="T12" fmla="*/ 18 w 60"/>
                      <a:gd name="T13" fmla="*/ 28 h 110"/>
                      <a:gd name="T14" fmla="*/ 19 w 60"/>
                      <a:gd name="T15" fmla="*/ 26 h 110"/>
                      <a:gd name="T16" fmla="*/ 19 w 60"/>
                      <a:gd name="T17" fmla="*/ 25 h 110"/>
                      <a:gd name="T18" fmla="*/ 19 w 60"/>
                      <a:gd name="T19" fmla="*/ 20 h 110"/>
                      <a:gd name="T20" fmla="*/ 18 w 60"/>
                      <a:gd name="T21" fmla="*/ 16 h 110"/>
                      <a:gd name="T22" fmla="*/ 18 w 60"/>
                      <a:gd name="T23" fmla="*/ 13 h 110"/>
                      <a:gd name="T24" fmla="*/ 17 w 60"/>
                      <a:gd name="T25" fmla="*/ 10 h 110"/>
                      <a:gd name="T26" fmla="*/ 16 w 60"/>
                      <a:gd name="T27" fmla="*/ 7 h 110"/>
                      <a:gd name="T28" fmla="*/ 15 w 60"/>
                      <a:gd name="T29" fmla="*/ 4 h 110"/>
                      <a:gd name="T30" fmla="*/ 14 w 60"/>
                      <a:gd name="T31" fmla="*/ 2 h 110"/>
                      <a:gd name="T32" fmla="*/ 12 w 60"/>
                      <a:gd name="T33" fmla="*/ 0 h 110"/>
                      <a:gd name="T34" fmla="*/ 11 w 60"/>
                      <a:gd name="T35" fmla="*/ 1 h 110"/>
                      <a:gd name="T36" fmla="*/ 10 w 60"/>
                      <a:gd name="T37" fmla="*/ 3 h 110"/>
                      <a:gd name="T38" fmla="*/ 9 w 60"/>
                      <a:gd name="T39" fmla="*/ 4 h 110"/>
                      <a:gd name="T40" fmla="*/ 8 w 60"/>
                      <a:gd name="T41" fmla="*/ 6 h 110"/>
                      <a:gd name="T42" fmla="*/ 6 w 60"/>
                      <a:gd name="T43" fmla="*/ 10 h 110"/>
                      <a:gd name="T44" fmla="*/ 5 w 60"/>
                      <a:gd name="T45" fmla="*/ 13 h 110"/>
                      <a:gd name="T46" fmla="*/ 3 w 60"/>
                      <a:gd name="T47" fmla="*/ 17 h 110"/>
                      <a:gd name="T48" fmla="*/ 2 w 60"/>
                      <a:gd name="T49" fmla="*/ 21 h 110"/>
                      <a:gd name="T50" fmla="*/ 2 w 60"/>
                      <a:gd name="T51" fmla="*/ 22 h 110"/>
                      <a:gd name="T52" fmla="*/ 1 w 60"/>
                      <a:gd name="T53" fmla="*/ 23 h 110"/>
                      <a:gd name="T54" fmla="*/ 1 w 60"/>
                      <a:gd name="T55" fmla="*/ 24 h 110"/>
                      <a:gd name="T56" fmla="*/ 0 w 60"/>
                      <a:gd name="T57" fmla="*/ 25 h 110"/>
                      <a:gd name="T58" fmla="*/ 0 w 60"/>
                      <a:gd name="T59" fmla="*/ 26 h 110"/>
                      <a:gd name="T60" fmla="*/ 1 w 60"/>
                      <a:gd name="T61" fmla="*/ 28 h 110"/>
                      <a:gd name="T62" fmla="*/ 2 w 60"/>
                      <a:gd name="T63" fmla="*/ 30 h 110"/>
                      <a:gd name="T64" fmla="*/ 4 w 60"/>
                      <a:gd name="T65" fmla="*/ 32 h 110"/>
                      <a:gd name="T66" fmla="*/ 6 w 60"/>
                      <a:gd name="T67" fmla="*/ 34 h 110"/>
                      <a:gd name="T68" fmla="*/ 8 w 60"/>
                      <a:gd name="T69" fmla="*/ 36 h 110"/>
                      <a:gd name="T70" fmla="*/ 10 w 60"/>
                      <a:gd name="T71" fmla="*/ 37 h 110"/>
                      <a:gd name="T72" fmla="*/ 12 w 60"/>
                      <a:gd name="T73" fmla="*/ 37 h 11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60" h="110">
                        <a:moveTo>
                          <a:pt x="39" y="110"/>
                        </a:moveTo>
                        <a:lnTo>
                          <a:pt x="42" y="109"/>
                        </a:lnTo>
                        <a:lnTo>
                          <a:pt x="46" y="106"/>
                        </a:lnTo>
                        <a:lnTo>
                          <a:pt x="49" y="101"/>
                        </a:lnTo>
                        <a:lnTo>
                          <a:pt x="52" y="96"/>
                        </a:lnTo>
                        <a:lnTo>
                          <a:pt x="54" y="90"/>
                        </a:lnTo>
                        <a:lnTo>
                          <a:pt x="57" y="84"/>
                        </a:lnTo>
                        <a:lnTo>
                          <a:pt x="59" y="78"/>
                        </a:lnTo>
                        <a:lnTo>
                          <a:pt x="60" y="73"/>
                        </a:lnTo>
                        <a:lnTo>
                          <a:pt x="59" y="60"/>
                        </a:lnTo>
                        <a:lnTo>
                          <a:pt x="58" y="48"/>
                        </a:lnTo>
                        <a:lnTo>
                          <a:pt x="57" y="38"/>
                        </a:lnTo>
                        <a:lnTo>
                          <a:pt x="54" y="29"/>
                        </a:lnTo>
                        <a:lnTo>
                          <a:pt x="51" y="21"/>
                        </a:lnTo>
                        <a:lnTo>
                          <a:pt x="48" y="13"/>
                        </a:lnTo>
                        <a:lnTo>
                          <a:pt x="45" y="6"/>
                        </a:lnTo>
                        <a:lnTo>
                          <a:pt x="39" y="0"/>
                        </a:lnTo>
                        <a:lnTo>
                          <a:pt x="35" y="3"/>
                        </a:lnTo>
                        <a:lnTo>
                          <a:pt x="30" y="8"/>
                        </a:lnTo>
                        <a:lnTo>
                          <a:pt x="27" y="13"/>
                        </a:lnTo>
                        <a:lnTo>
                          <a:pt x="24" y="18"/>
                        </a:lnTo>
                        <a:lnTo>
                          <a:pt x="18" y="29"/>
                        </a:lnTo>
                        <a:lnTo>
                          <a:pt x="15" y="40"/>
                        </a:lnTo>
                        <a:lnTo>
                          <a:pt x="10" y="51"/>
                        </a:lnTo>
                        <a:lnTo>
                          <a:pt x="7" y="62"/>
                        </a:lnTo>
                        <a:lnTo>
                          <a:pt x="6" y="66"/>
                        </a:lnTo>
                        <a:lnTo>
                          <a:pt x="4" y="69"/>
                        </a:lnTo>
                        <a:lnTo>
                          <a:pt x="2" y="72"/>
                        </a:lnTo>
                        <a:lnTo>
                          <a:pt x="0" y="73"/>
                        </a:lnTo>
                        <a:lnTo>
                          <a:pt x="1" y="78"/>
                        </a:lnTo>
                        <a:lnTo>
                          <a:pt x="3" y="84"/>
                        </a:lnTo>
                        <a:lnTo>
                          <a:pt x="7" y="90"/>
                        </a:lnTo>
                        <a:lnTo>
                          <a:pt x="12" y="96"/>
                        </a:lnTo>
                        <a:lnTo>
                          <a:pt x="18" y="101"/>
                        </a:lnTo>
                        <a:lnTo>
                          <a:pt x="25" y="106"/>
                        </a:lnTo>
                        <a:lnTo>
                          <a:pt x="32" y="109"/>
                        </a:lnTo>
                        <a:lnTo>
                          <a:pt x="39" y="110"/>
                        </a:lnTo>
                      </a:path>
                    </a:pathLst>
                  </a:custGeom>
                  <a:grpFill/>
                  <a:ln w="9525" cmpd="sng">
                    <a:solidFill>
                      <a:srgbClr val="FFFFFF"/>
                    </a:solidFill>
                    <a:prstDash val="solid"/>
                    <a:round/>
                    <a:headEnd/>
                    <a:tailEnd/>
                  </a:ln>
                </p:spPr>
                <p:txBody>
                  <a:bodyPr/>
                  <a:lstStyle/>
                  <a:p>
                    <a:endParaRPr lang="en-GB" sz="1637"/>
                  </a:p>
                </p:txBody>
              </p:sp>
              <p:sp>
                <p:nvSpPr>
                  <p:cNvPr id="385" name="Freeform 284"/>
                  <p:cNvSpPr>
                    <a:spLocks/>
                  </p:cNvSpPr>
                  <p:nvPr/>
                </p:nvSpPr>
                <p:spPr bwMode="auto">
                  <a:xfrm>
                    <a:off x="5189" y="2422"/>
                    <a:ext cx="24" cy="25"/>
                  </a:xfrm>
                  <a:custGeom>
                    <a:avLst/>
                    <a:gdLst>
                      <a:gd name="T0" fmla="*/ 0 w 72"/>
                      <a:gd name="T1" fmla="*/ 4 h 75"/>
                      <a:gd name="T2" fmla="*/ 3 w 72"/>
                      <a:gd name="T3" fmla="*/ 6 h 75"/>
                      <a:gd name="T4" fmla="*/ 5 w 72"/>
                      <a:gd name="T5" fmla="*/ 8 h 75"/>
                      <a:gd name="T6" fmla="*/ 8 w 72"/>
                      <a:gd name="T7" fmla="*/ 11 h 75"/>
                      <a:gd name="T8" fmla="*/ 10 w 72"/>
                      <a:gd name="T9" fmla="*/ 13 h 75"/>
                      <a:gd name="T10" fmla="*/ 12 w 72"/>
                      <a:gd name="T11" fmla="*/ 16 h 75"/>
                      <a:gd name="T12" fmla="*/ 14 w 72"/>
                      <a:gd name="T13" fmla="*/ 19 h 75"/>
                      <a:gd name="T14" fmla="*/ 15 w 72"/>
                      <a:gd name="T15" fmla="*/ 22 h 75"/>
                      <a:gd name="T16" fmla="*/ 15 w 72"/>
                      <a:gd name="T17" fmla="*/ 25 h 75"/>
                      <a:gd name="T18" fmla="*/ 24 w 72"/>
                      <a:gd name="T19" fmla="*/ 25 h 75"/>
                      <a:gd name="T20" fmla="*/ 22 w 72"/>
                      <a:gd name="T21" fmla="*/ 17 h 75"/>
                      <a:gd name="T22" fmla="*/ 20 w 72"/>
                      <a:gd name="T23" fmla="*/ 11 h 75"/>
                      <a:gd name="T24" fmla="*/ 20 w 72"/>
                      <a:gd name="T25" fmla="*/ 9 h 75"/>
                      <a:gd name="T26" fmla="*/ 21 w 72"/>
                      <a:gd name="T27" fmla="*/ 6 h 75"/>
                      <a:gd name="T28" fmla="*/ 22 w 72"/>
                      <a:gd name="T29" fmla="*/ 4 h 75"/>
                      <a:gd name="T30" fmla="*/ 24 w 72"/>
                      <a:gd name="T31" fmla="*/ 0 h 75"/>
                      <a:gd name="T32" fmla="*/ 17 w 72"/>
                      <a:gd name="T33" fmla="*/ 0 h 75"/>
                      <a:gd name="T34" fmla="*/ 11 w 72"/>
                      <a:gd name="T35" fmla="*/ 0 h 75"/>
                      <a:gd name="T36" fmla="*/ 7 w 72"/>
                      <a:gd name="T37" fmla="*/ 0 h 75"/>
                      <a:gd name="T38" fmla="*/ 4 w 72"/>
                      <a:gd name="T39" fmla="*/ 1 h 75"/>
                      <a:gd name="T40" fmla="*/ 3 w 72"/>
                      <a:gd name="T41" fmla="*/ 2 h 75"/>
                      <a:gd name="T42" fmla="*/ 2 w 72"/>
                      <a:gd name="T43" fmla="*/ 2 h 75"/>
                      <a:gd name="T44" fmla="*/ 1 w 72"/>
                      <a:gd name="T45" fmla="*/ 3 h 75"/>
                      <a:gd name="T46" fmla="*/ 0 w 72"/>
                      <a:gd name="T47" fmla="*/ 4 h 7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72" h="75">
                        <a:moveTo>
                          <a:pt x="0" y="13"/>
                        </a:moveTo>
                        <a:lnTo>
                          <a:pt x="8" y="18"/>
                        </a:lnTo>
                        <a:lnTo>
                          <a:pt x="15" y="25"/>
                        </a:lnTo>
                        <a:lnTo>
                          <a:pt x="23" y="32"/>
                        </a:lnTo>
                        <a:lnTo>
                          <a:pt x="31" y="40"/>
                        </a:lnTo>
                        <a:lnTo>
                          <a:pt x="37" y="48"/>
                        </a:lnTo>
                        <a:lnTo>
                          <a:pt x="42" y="57"/>
                        </a:lnTo>
                        <a:lnTo>
                          <a:pt x="45" y="65"/>
                        </a:lnTo>
                        <a:lnTo>
                          <a:pt x="46" y="75"/>
                        </a:lnTo>
                        <a:lnTo>
                          <a:pt x="72" y="75"/>
                        </a:lnTo>
                        <a:lnTo>
                          <a:pt x="65" y="50"/>
                        </a:lnTo>
                        <a:lnTo>
                          <a:pt x="60" y="34"/>
                        </a:lnTo>
                        <a:lnTo>
                          <a:pt x="60" y="27"/>
                        </a:lnTo>
                        <a:lnTo>
                          <a:pt x="63" y="19"/>
                        </a:lnTo>
                        <a:lnTo>
                          <a:pt x="67" y="11"/>
                        </a:lnTo>
                        <a:lnTo>
                          <a:pt x="72" y="1"/>
                        </a:lnTo>
                        <a:lnTo>
                          <a:pt x="52" y="0"/>
                        </a:lnTo>
                        <a:lnTo>
                          <a:pt x="32" y="0"/>
                        </a:lnTo>
                        <a:lnTo>
                          <a:pt x="22" y="1"/>
                        </a:lnTo>
                        <a:lnTo>
                          <a:pt x="13" y="3"/>
                        </a:lnTo>
                        <a:lnTo>
                          <a:pt x="9" y="5"/>
                        </a:lnTo>
                        <a:lnTo>
                          <a:pt x="6" y="7"/>
                        </a:lnTo>
                        <a:lnTo>
                          <a:pt x="2" y="10"/>
                        </a:lnTo>
                        <a:lnTo>
                          <a:pt x="0" y="13"/>
                        </a:lnTo>
                      </a:path>
                    </a:pathLst>
                  </a:custGeom>
                  <a:grpFill/>
                  <a:ln w="9525" cmpd="sng">
                    <a:solidFill>
                      <a:srgbClr val="FFFFFF"/>
                    </a:solidFill>
                    <a:prstDash val="solid"/>
                    <a:round/>
                    <a:headEnd/>
                    <a:tailEnd/>
                  </a:ln>
                </p:spPr>
                <p:txBody>
                  <a:bodyPr/>
                  <a:lstStyle/>
                  <a:p>
                    <a:endParaRPr lang="en-GB" sz="1637"/>
                  </a:p>
                </p:txBody>
              </p:sp>
              <p:sp>
                <p:nvSpPr>
                  <p:cNvPr id="386" name="Freeform 285"/>
                  <p:cNvSpPr>
                    <a:spLocks/>
                  </p:cNvSpPr>
                  <p:nvPr/>
                </p:nvSpPr>
                <p:spPr bwMode="auto">
                  <a:xfrm>
                    <a:off x="5160" y="2389"/>
                    <a:ext cx="5" cy="16"/>
                  </a:xfrm>
                  <a:custGeom>
                    <a:avLst/>
                    <a:gdLst>
                      <a:gd name="T0" fmla="*/ 5 w 15"/>
                      <a:gd name="T1" fmla="*/ 16 h 49"/>
                      <a:gd name="T2" fmla="*/ 5 w 15"/>
                      <a:gd name="T3" fmla="*/ 11 h 49"/>
                      <a:gd name="T4" fmla="*/ 5 w 15"/>
                      <a:gd name="T5" fmla="*/ 6 h 49"/>
                      <a:gd name="T6" fmla="*/ 5 w 15"/>
                      <a:gd name="T7" fmla="*/ 4 h 49"/>
                      <a:gd name="T8" fmla="*/ 4 w 15"/>
                      <a:gd name="T9" fmla="*/ 2 h 49"/>
                      <a:gd name="T10" fmla="*/ 4 w 15"/>
                      <a:gd name="T11" fmla="*/ 1 h 49"/>
                      <a:gd name="T12" fmla="*/ 3 w 15"/>
                      <a:gd name="T13" fmla="*/ 0 h 49"/>
                      <a:gd name="T14" fmla="*/ 1 w 15"/>
                      <a:gd name="T15" fmla="*/ 2 h 49"/>
                      <a:gd name="T16" fmla="*/ 1 w 15"/>
                      <a:gd name="T17" fmla="*/ 5 h 49"/>
                      <a:gd name="T18" fmla="*/ 0 w 15"/>
                      <a:gd name="T19" fmla="*/ 8 h 49"/>
                      <a:gd name="T20" fmla="*/ 0 w 15"/>
                      <a:gd name="T21" fmla="*/ 10 h 49"/>
                      <a:gd name="T22" fmla="*/ 0 w 15"/>
                      <a:gd name="T23" fmla="*/ 12 h 49"/>
                      <a:gd name="T24" fmla="*/ 1 w 15"/>
                      <a:gd name="T25" fmla="*/ 14 h 49"/>
                      <a:gd name="T26" fmla="*/ 2 w 15"/>
                      <a:gd name="T27" fmla="*/ 14 h 49"/>
                      <a:gd name="T28" fmla="*/ 3 w 15"/>
                      <a:gd name="T29" fmla="*/ 15 h 49"/>
                      <a:gd name="T30" fmla="*/ 4 w 15"/>
                      <a:gd name="T31" fmla="*/ 16 h 49"/>
                      <a:gd name="T32" fmla="*/ 5 w 15"/>
                      <a:gd name="T33" fmla="*/ 16 h 4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5" h="49">
                        <a:moveTo>
                          <a:pt x="15" y="49"/>
                        </a:moveTo>
                        <a:lnTo>
                          <a:pt x="15" y="33"/>
                        </a:lnTo>
                        <a:lnTo>
                          <a:pt x="15" y="19"/>
                        </a:lnTo>
                        <a:lnTo>
                          <a:pt x="14" y="13"/>
                        </a:lnTo>
                        <a:lnTo>
                          <a:pt x="13" y="7"/>
                        </a:lnTo>
                        <a:lnTo>
                          <a:pt x="11" y="3"/>
                        </a:lnTo>
                        <a:lnTo>
                          <a:pt x="9" y="0"/>
                        </a:lnTo>
                        <a:lnTo>
                          <a:pt x="4" y="7"/>
                        </a:lnTo>
                        <a:lnTo>
                          <a:pt x="2" y="15"/>
                        </a:lnTo>
                        <a:lnTo>
                          <a:pt x="0" y="23"/>
                        </a:lnTo>
                        <a:lnTo>
                          <a:pt x="0" y="30"/>
                        </a:lnTo>
                        <a:lnTo>
                          <a:pt x="1" y="36"/>
                        </a:lnTo>
                        <a:lnTo>
                          <a:pt x="4" y="42"/>
                        </a:lnTo>
                        <a:lnTo>
                          <a:pt x="7" y="44"/>
                        </a:lnTo>
                        <a:lnTo>
                          <a:pt x="9" y="46"/>
                        </a:lnTo>
                        <a:lnTo>
                          <a:pt x="12" y="48"/>
                        </a:lnTo>
                        <a:lnTo>
                          <a:pt x="15" y="49"/>
                        </a:lnTo>
                      </a:path>
                    </a:pathLst>
                  </a:custGeom>
                  <a:grpFill/>
                  <a:ln w="9525" cmpd="sng">
                    <a:solidFill>
                      <a:srgbClr val="FFFFFF"/>
                    </a:solidFill>
                    <a:prstDash val="solid"/>
                    <a:round/>
                    <a:headEnd/>
                    <a:tailEnd/>
                  </a:ln>
                </p:spPr>
                <p:txBody>
                  <a:bodyPr/>
                  <a:lstStyle/>
                  <a:p>
                    <a:endParaRPr lang="en-GB" sz="1637"/>
                  </a:p>
                </p:txBody>
              </p:sp>
              <p:sp>
                <p:nvSpPr>
                  <p:cNvPr id="387" name="Freeform 286"/>
                  <p:cNvSpPr>
                    <a:spLocks/>
                  </p:cNvSpPr>
                  <p:nvPr/>
                </p:nvSpPr>
                <p:spPr bwMode="auto">
                  <a:xfrm>
                    <a:off x="5139" y="2387"/>
                    <a:ext cx="15" cy="13"/>
                  </a:xfrm>
                  <a:custGeom>
                    <a:avLst/>
                    <a:gdLst>
                      <a:gd name="T0" fmla="*/ 6 w 47"/>
                      <a:gd name="T1" fmla="*/ 2 h 40"/>
                      <a:gd name="T2" fmla="*/ 0 w 47"/>
                      <a:gd name="T3" fmla="*/ 12 h 40"/>
                      <a:gd name="T4" fmla="*/ 2 w 47"/>
                      <a:gd name="T5" fmla="*/ 13 h 40"/>
                      <a:gd name="T6" fmla="*/ 4 w 47"/>
                      <a:gd name="T7" fmla="*/ 13 h 40"/>
                      <a:gd name="T8" fmla="*/ 6 w 47"/>
                      <a:gd name="T9" fmla="*/ 13 h 40"/>
                      <a:gd name="T10" fmla="*/ 8 w 47"/>
                      <a:gd name="T11" fmla="*/ 12 h 40"/>
                      <a:gd name="T12" fmla="*/ 10 w 47"/>
                      <a:gd name="T13" fmla="*/ 12 h 40"/>
                      <a:gd name="T14" fmla="*/ 12 w 47"/>
                      <a:gd name="T15" fmla="*/ 11 h 40"/>
                      <a:gd name="T16" fmla="*/ 14 w 47"/>
                      <a:gd name="T17" fmla="*/ 10 h 40"/>
                      <a:gd name="T18" fmla="*/ 15 w 47"/>
                      <a:gd name="T19" fmla="*/ 8 h 40"/>
                      <a:gd name="T20" fmla="*/ 15 w 47"/>
                      <a:gd name="T21" fmla="*/ 0 h 40"/>
                      <a:gd name="T22" fmla="*/ 13 w 47"/>
                      <a:gd name="T23" fmla="*/ 0 h 40"/>
                      <a:gd name="T24" fmla="*/ 11 w 47"/>
                      <a:gd name="T25" fmla="*/ 0 h 40"/>
                      <a:gd name="T26" fmla="*/ 8 w 47"/>
                      <a:gd name="T27" fmla="*/ 1 h 40"/>
                      <a:gd name="T28" fmla="*/ 6 w 47"/>
                      <a:gd name="T29" fmla="*/ 2 h 4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7" h="40">
                        <a:moveTo>
                          <a:pt x="20" y="6"/>
                        </a:moveTo>
                        <a:lnTo>
                          <a:pt x="0" y="37"/>
                        </a:lnTo>
                        <a:lnTo>
                          <a:pt x="6" y="39"/>
                        </a:lnTo>
                        <a:lnTo>
                          <a:pt x="12" y="40"/>
                        </a:lnTo>
                        <a:lnTo>
                          <a:pt x="19" y="39"/>
                        </a:lnTo>
                        <a:lnTo>
                          <a:pt x="26" y="38"/>
                        </a:lnTo>
                        <a:lnTo>
                          <a:pt x="32" y="36"/>
                        </a:lnTo>
                        <a:lnTo>
                          <a:pt x="39" y="33"/>
                        </a:lnTo>
                        <a:lnTo>
                          <a:pt x="43" y="30"/>
                        </a:lnTo>
                        <a:lnTo>
                          <a:pt x="47" y="25"/>
                        </a:lnTo>
                        <a:lnTo>
                          <a:pt x="47" y="0"/>
                        </a:lnTo>
                        <a:lnTo>
                          <a:pt x="41" y="0"/>
                        </a:lnTo>
                        <a:lnTo>
                          <a:pt x="33" y="1"/>
                        </a:lnTo>
                        <a:lnTo>
                          <a:pt x="26" y="3"/>
                        </a:lnTo>
                        <a:lnTo>
                          <a:pt x="20" y="6"/>
                        </a:lnTo>
                      </a:path>
                    </a:pathLst>
                  </a:custGeom>
                  <a:grpFill/>
                  <a:ln w="9525" cmpd="sng">
                    <a:solidFill>
                      <a:srgbClr val="FFFFFF"/>
                    </a:solidFill>
                    <a:prstDash val="solid"/>
                    <a:round/>
                    <a:headEnd/>
                    <a:tailEnd/>
                  </a:ln>
                </p:spPr>
                <p:txBody>
                  <a:bodyPr/>
                  <a:lstStyle/>
                  <a:p>
                    <a:endParaRPr lang="en-GB" sz="1637"/>
                  </a:p>
                </p:txBody>
              </p:sp>
              <p:sp>
                <p:nvSpPr>
                  <p:cNvPr id="388" name="Freeform 287"/>
                  <p:cNvSpPr>
                    <a:spLocks/>
                  </p:cNvSpPr>
                  <p:nvPr/>
                </p:nvSpPr>
                <p:spPr bwMode="auto">
                  <a:xfrm>
                    <a:off x="5184" y="2465"/>
                    <a:ext cx="13" cy="10"/>
                  </a:xfrm>
                  <a:custGeom>
                    <a:avLst/>
                    <a:gdLst>
                      <a:gd name="T0" fmla="*/ 0 w 39"/>
                      <a:gd name="T1" fmla="*/ 0 h 31"/>
                      <a:gd name="T2" fmla="*/ 1 w 39"/>
                      <a:gd name="T3" fmla="*/ 3 h 31"/>
                      <a:gd name="T4" fmla="*/ 2 w 39"/>
                      <a:gd name="T5" fmla="*/ 4 h 31"/>
                      <a:gd name="T6" fmla="*/ 4 w 39"/>
                      <a:gd name="T7" fmla="*/ 6 h 31"/>
                      <a:gd name="T8" fmla="*/ 6 w 39"/>
                      <a:gd name="T9" fmla="*/ 7 h 31"/>
                      <a:gd name="T10" fmla="*/ 8 w 39"/>
                      <a:gd name="T11" fmla="*/ 8 h 31"/>
                      <a:gd name="T12" fmla="*/ 9 w 39"/>
                      <a:gd name="T13" fmla="*/ 9 h 31"/>
                      <a:gd name="T14" fmla="*/ 11 w 39"/>
                      <a:gd name="T15" fmla="*/ 10 h 31"/>
                      <a:gd name="T16" fmla="*/ 13 w 39"/>
                      <a:gd name="T17" fmla="*/ 10 h 31"/>
                      <a:gd name="T18" fmla="*/ 11 w 39"/>
                      <a:gd name="T19" fmla="*/ 7 h 31"/>
                      <a:gd name="T20" fmla="*/ 8 w 39"/>
                      <a:gd name="T21" fmla="*/ 5 h 31"/>
                      <a:gd name="T22" fmla="*/ 5 w 39"/>
                      <a:gd name="T23" fmla="*/ 2 h 31"/>
                      <a:gd name="T24" fmla="*/ 2 w 39"/>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31">
                        <a:moveTo>
                          <a:pt x="0" y="0"/>
                        </a:moveTo>
                        <a:lnTo>
                          <a:pt x="3" y="8"/>
                        </a:lnTo>
                        <a:lnTo>
                          <a:pt x="6" y="13"/>
                        </a:lnTo>
                        <a:lnTo>
                          <a:pt x="12" y="19"/>
                        </a:lnTo>
                        <a:lnTo>
                          <a:pt x="17" y="23"/>
                        </a:lnTo>
                        <a:lnTo>
                          <a:pt x="23" y="26"/>
                        </a:lnTo>
                        <a:lnTo>
                          <a:pt x="28" y="29"/>
                        </a:lnTo>
                        <a:lnTo>
                          <a:pt x="34" y="31"/>
                        </a:lnTo>
                        <a:lnTo>
                          <a:pt x="39" y="31"/>
                        </a:lnTo>
                        <a:lnTo>
                          <a:pt x="33" y="22"/>
                        </a:lnTo>
                        <a:lnTo>
                          <a:pt x="25" y="14"/>
                        </a:lnTo>
                        <a:lnTo>
                          <a:pt x="16" y="7"/>
                        </a:lnTo>
                        <a:lnTo>
                          <a:pt x="6" y="0"/>
                        </a:lnTo>
                      </a:path>
                    </a:pathLst>
                  </a:custGeom>
                  <a:grpFill/>
                  <a:ln w="9525" cmpd="sng">
                    <a:solidFill>
                      <a:srgbClr val="FFFFFF"/>
                    </a:solidFill>
                    <a:prstDash val="solid"/>
                    <a:round/>
                    <a:headEnd/>
                    <a:tailEnd/>
                  </a:ln>
                </p:spPr>
                <p:txBody>
                  <a:bodyPr/>
                  <a:lstStyle/>
                  <a:p>
                    <a:endParaRPr lang="en-GB" sz="1637"/>
                  </a:p>
                </p:txBody>
              </p:sp>
              <p:sp>
                <p:nvSpPr>
                  <p:cNvPr id="389" name="Freeform 288"/>
                  <p:cNvSpPr>
                    <a:spLocks/>
                  </p:cNvSpPr>
                  <p:nvPr/>
                </p:nvSpPr>
                <p:spPr bwMode="auto">
                  <a:xfrm>
                    <a:off x="5172" y="2410"/>
                    <a:ext cx="10" cy="6"/>
                  </a:xfrm>
                  <a:custGeom>
                    <a:avLst/>
                    <a:gdLst>
                      <a:gd name="T0" fmla="*/ 0 w 34"/>
                      <a:gd name="T1" fmla="*/ 0 h 19"/>
                      <a:gd name="T2" fmla="*/ 10 w 34"/>
                      <a:gd name="T3" fmla="*/ 6 h 19"/>
                      <a:gd name="T4" fmla="*/ 10 w 34"/>
                      <a:gd name="T5" fmla="*/ 0 h 19"/>
                      <a:gd name="T6" fmla="*/ 7 w 34"/>
                      <a:gd name="T7" fmla="*/ 0 h 19"/>
                      <a:gd name="T8" fmla="*/ 4 w 34"/>
                      <a:gd name="T9" fmla="*/ 0 h 19"/>
                      <a:gd name="T10" fmla="*/ 2 w 34"/>
                      <a:gd name="T11" fmla="*/ 0 h 19"/>
                      <a:gd name="T12" fmla="*/ 0 w 34"/>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4" h="19">
                        <a:moveTo>
                          <a:pt x="0" y="0"/>
                        </a:moveTo>
                        <a:lnTo>
                          <a:pt x="34" y="19"/>
                        </a:lnTo>
                        <a:lnTo>
                          <a:pt x="34" y="0"/>
                        </a:lnTo>
                        <a:lnTo>
                          <a:pt x="24" y="0"/>
                        </a:lnTo>
                        <a:lnTo>
                          <a:pt x="14" y="0"/>
                        </a:lnTo>
                        <a:lnTo>
                          <a:pt x="7" y="0"/>
                        </a:lnTo>
                        <a:lnTo>
                          <a:pt x="0" y="0"/>
                        </a:lnTo>
                      </a:path>
                    </a:pathLst>
                  </a:custGeom>
                  <a:grpFill/>
                  <a:ln w="9525" cmpd="sng">
                    <a:solidFill>
                      <a:srgbClr val="FFFFFF"/>
                    </a:solidFill>
                    <a:prstDash val="solid"/>
                    <a:round/>
                    <a:headEnd/>
                    <a:tailEnd/>
                  </a:ln>
                </p:spPr>
                <p:txBody>
                  <a:bodyPr/>
                  <a:lstStyle/>
                  <a:p>
                    <a:endParaRPr lang="en-GB" sz="1637"/>
                  </a:p>
                </p:txBody>
              </p:sp>
              <p:sp>
                <p:nvSpPr>
                  <p:cNvPr id="390" name="Freeform 289"/>
                  <p:cNvSpPr>
                    <a:spLocks/>
                  </p:cNvSpPr>
                  <p:nvPr/>
                </p:nvSpPr>
                <p:spPr bwMode="auto">
                  <a:xfrm>
                    <a:off x="5180" y="2471"/>
                    <a:ext cx="6" cy="4"/>
                  </a:xfrm>
                  <a:custGeom>
                    <a:avLst/>
                    <a:gdLst>
                      <a:gd name="T0" fmla="*/ 0 w 19"/>
                      <a:gd name="T1" fmla="*/ 0 h 12"/>
                      <a:gd name="T2" fmla="*/ 6 w 19"/>
                      <a:gd name="T3" fmla="*/ 4 h 12"/>
                      <a:gd name="T4" fmla="*/ 4 w 19"/>
                      <a:gd name="T5" fmla="*/ 2 h 12"/>
                      <a:gd name="T6" fmla="*/ 2 w 19"/>
                      <a:gd name="T7" fmla="*/ 2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0" y="0"/>
                        </a:moveTo>
                        <a:lnTo>
                          <a:pt x="19" y="12"/>
                        </a:lnTo>
                        <a:lnTo>
                          <a:pt x="13" y="6"/>
                        </a:lnTo>
                        <a:lnTo>
                          <a:pt x="6" y="6"/>
                        </a:lnTo>
                      </a:path>
                    </a:pathLst>
                  </a:custGeom>
                  <a:grpFill/>
                  <a:ln w="9525" cmpd="sng">
                    <a:solidFill>
                      <a:srgbClr val="FFFFFF"/>
                    </a:solidFill>
                    <a:prstDash val="solid"/>
                    <a:round/>
                    <a:headEnd/>
                    <a:tailEnd/>
                  </a:ln>
                </p:spPr>
                <p:txBody>
                  <a:bodyPr/>
                  <a:lstStyle/>
                  <a:p>
                    <a:endParaRPr lang="en-GB" sz="1637"/>
                  </a:p>
                </p:txBody>
              </p:sp>
              <p:sp>
                <p:nvSpPr>
                  <p:cNvPr id="391" name="Freeform 290"/>
                  <p:cNvSpPr>
                    <a:spLocks/>
                  </p:cNvSpPr>
                  <p:nvPr/>
                </p:nvSpPr>
                <p:spPr bwMode="auto">
                  <a:xfrm>
                    <a:off x="5062" y="2447"/>
                    <a:ext cx="42" cy="55"/>
                  </a:xfrm>
                  <a:custGeom>
                    <a:avLst/>
                    <a:gdLst>
                      <a:gd name="T0" fmla="*/ 38 w 126"/>
                      <a:gd name="T1" fmla="*/ 0 h 166"/>
                      <a:gd name="T2" fmla="*/ 39 w 126"/>
                      <a:gd name="T3" fmla="*/ 2 h 166"/>
                      <a:gd name="T4" fmla="*/ 40 w 126"/>
                      <a:gd name="T5" fmla="*/ 3 h 166"/>
                      <a:gd name="T6" fmla="*/ 41 w 126"/>
                      <a:gd name="T7" fmla="*/ 4 h 166"/>
                      <a:gd name="T8" fmla="*/ 42 w 126"/>
                      <a:gd name="T9" fmla="*/ 6 h 166"/>
                      <a:gd name="T10" fmla="*/ 42 w 126"/>
                      <a:gd name="T11" fmla="*/ 7 h 166"/>
                      <a:gd name="T12" fmla="*/ 42 w 126"/>
                      <a:gd name="T13" fmla="*/ 8 h 166"/>
                      <a:gd name="T14" fmla="*/ 41 w 126"/>
                      <a:gd name="T15" fmla="*/ 11 h 166"/>
                      <a:gd name="T16" fmla="*/ 39 w 126"/>
                      <a:gd name="T17" fmla="*/ 14 h 166"/>
                      <a:gd name="T18" fmla="*/ 38 w 126"/>
                      <a:gd name="T19" fmla="*/ 17 h 166"/>
                      <a:gd name="T20" fmla="*/ 35 w 126"/>
                      <a:gd name="T21" fmla="*/ 20 h 166"/>
                      <a:gd name="T22" fmla="*/ 30 w 126"/>
                      <a:gd name="T23" fmla="*/ 28 h 166"/>
                      <a:gd name="T24" fmla="*/ 24 w 126"/>
                      <a:gd name="T25" fmla="*/ 34 h 166"/>
                      <a:gd name="T26" fmla="*/ 18 w 126"/>
                      <a:gd name="T27" fmla="*/ 42 h 166"/>
                      <a:gd name="T28" fmla="*/ 11 w 126"/>
                      <a:gd name="T29" fmla="*/ 48 h 166"/>
                      <a:gd name="T30" fmla="*/ 8 w 126"/>
                      <a:gd name="T31" fmla="*/ 50 h 166"/>
                      <a:gd name="T32" fmla="*/ 5 w 126"/>
                      <a:gd name="T33" fmla="*/ 52 h 166"/>
                      <a:gd name="T34" fmla="*/ 2 w 126"/>
                      <a:gd name="T35" fmla="*/ 54 h 166"/>
                      <a:gd name="T36" fmla="*/ 0 w 126"/>
                      <a:gd name="T37" fmla="*/ 55 h 166"/>
                      <a:gd name="T38" fmla="*/ 0 w 126"/>
                      <a:gd name="T39" fmla="*/ 53 h 166"/>
                      <a:gd name="T40" fmla="*/ 0 w 126"/>
                      <a:gd name="T41" fmla="*/ 51 h 166"/>
                      <a:gd name="T42" fmla="*/ 0 w 126"/>
                      <a:gd name="T43" fmla="*/ 48 h 166"/>
                      <a:gd name="T44" fmla="*/ 0 w 126"/>
                      <a:gd name="T45" fmla="*/ 45 h 166"/>
                      <a:gd name="T46" fmla="*/ 1 w 126"/>
                      <a:gd name="T47" fmla="*/ 43 h 166"/>
                      <a:gd name="T48" fmla="*/ 2 w 126"/>
                      <a:gd name="T49" fmla="*/ 42 h 166"/>
                      <a:gd name="T50" fmla="*/ 4 w 126"/>
                      <a:gd name="T51" fmla="*/ 41 h 166"/>
                      <a:gd name="T52" fmla="*/ 5 w 126"/>
                      <a:gd name="T53" fmla="*/ 40 h 166"/>
                      <a:gd name="T54" fmla="*/ 9 w 126"/>
                      <a:gd name="T55" fmla="*/ 38 h 166"/>
                      <a:gd name="T56" fmla="*/ 11 w 126"/>
                      <a:gd name="T57" fmla="*/ 36 h 166"/>
                      <a:gd name="T58" fmla="*/ 13 w 126"/>
                      <a:gd name="T59" fmla="*/ 34 h 166"/>
                      <a:gd name="T60" fmla="*/ 16 w 126"/>
                      <a:gd name="T61" fmla="*/ 32 h 166"/>
                      <a:gd name="T62" fmla="*/ 18 w 126"/>
                      <a:gd name="T63" fmla="*/ 29 h 166"/>
                      <a:gd name="T64" fmla="*/ 19 w 126"/>
                      <a:gd name="T65" fmla="*/ 27 h 166"/>
                      <a:gd name="T66" fmla="*/ 22 w 126"/>
                      <a:gd name="T67" fmla="*/ 22 h 166"/>
                      <a:gd name="T68" fmla="*/ 24 w 126"/>
                      <a:gd name="T69" fmla="*/ 17 h 166"/>
                      <a:gd name="T70" fmla="*/ 26 w 126"/>
                      <a:gd name="T71" fmla="*/ 12 h 166"/>
                      <a:gd name="T72" fmla="*/ 29 w 126"/>
                      <a:gd name="T73" fmla="*/ 8 h 166"/>
                      <a:gd name="T74" fmla="*/ 31 w 126"/>
                      <a:gd name="T75" fmla="*/ 5 h 166"/>
                      <a:gd name="T76" fmla="*/ 32 w 126"/>
                      <a:gd name="T77" fmla="*/ 4 h 166"/>
                      <a:gd name="T78" fmla="*/ 35 w 126"/>
                      <a:gd name="T79" fmla="*/ 2 h 166"/>
                      <a:gd name="T80" fmla="*/ 38 w 126"/>
                      <a:gd name="T81" fmla="*/ 0 h 16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26" h="166">
                        <a:moveTo>
                          <a:pt x="113" y="0"/>
                        </a:moveTo>
                        <a:lnTo>
                          <a:pt x="117" y="5"/>
                        </a:lnTo>
                        <a:lnTo>
                          <a:pt x="121" y="10"/>
                        </a:lnTo>
                        <a:lnTo>
                          <a:pt x="124" y="13"/>
                        </a:lnTo>
                        <a:lnTo>
                          <a:pt x="125" y="17"/>
                        </a:lnTo>
                        <a:lnTo>
                          <a:pt x="126" y="20"/>
                        </a:lnTo>
                        <a:lnTo>
                          <a:pt x="126" y="25"/>
                        </a:lnTo>
                        <a:lnTo>
                          <a:pt x="123" y="32"/>
                        </a:lnTo>
                        <a:lnTo>
                          <a:pt x="118" y="41"/>
                        </a:lnTo>
                        <a:lnTo>
                          <a:pt x="113" y="50"/>
                        </a:lnTo>
                        <a:lnTo>
                          <a:pt x="106" y="61"/>
                        </a:lnTo>
                        <a:lnTo>
                          <a:pt x="91" y="83"/>
                        </a:lnTo>
                        <a:lnTo>
                          <a:pt x="72" y="104"/>
                        </a:lnTo>
                        <a:lnTo>
                          <a:pt x="53" y="126"/>
                        </a:lnTo>
                        <a:lnTo>
                          <a:pt x="34" y="144"/>
                        </a:lnTo>
                        <a:lnTo>
                          <a:pt x="25" y="152"/>
                        </a:lnTo>
                        <a:lnTo>
                          <a:pt x="16" y="158"/>
                        </a:lnTo>
                        <a:lnTo>
                          <a:pt x="7" y="163"/>
                        </a:lnTo>
                        <a:lnTo>
                          <a:pt x="0" y="166"/>
                        </a:lnTo>
                        <a:lnTo>
                          <a:pt x="0" y="160"/>
                        </a:lnTo>
                        <a:lnTo>
                          <a:pt x="0" y="153"/>
                        </a:lnTo>
                        <a:lnTo>
                          <a:pt x="0" y="145"/>
                        </a:lnTo>
                        <a:lnTo>
                          <a:pt x="0" y="136"/>
                        </a:lnTo>
                        <a:lnTo>
                          <a:pt x="3" y="131"/>
                        </a:lnTo>
                        <a:lnTo>
                          <a:pt x="6" y="128"/>
                        </a:lnTo>
                        <a:lnTo>
                          <a:pt x="12" y="124"/>
                        </a:lnTo>
                        <a:lnTo>
                          <a:pt x="16" y="121"/>
                        </a:lnTo>
                        <a:lnTo>
                          <a:pt x="26" y="116"/>
                        </a:lnTo>
                        <a:lnTo>
                          <a:pt x="33" y="110"/>
                        </a:lnTo>
                        <a:lnTo>
                          <a:pt x="40" y="104"/>
                        </a:lnTo>
                        <a:lnTo>
                          <a:pt x="48" y="96"/>
                        </a:lnTo>
                        <a:lnTo>
                          <a:pt x="53" y="89"/>
                        </a:lnTo>
                        <a:lnTo>
                          <a:pt x="58" y="82"/>
                        </a:lnTo>
                        <a:lnTo>
                          <a:pt x="67" y="66"/>
                        </a:lnTo>
                        <a:lnTo>
                          <a:pt x="72" y="50"/>
                        </a:lnTo>
                        <a:lnTo>
                          <a:pt x="79" y="36"/>
                        </a:lnTo>
                        <a:lnTo>
                          <a:pt x="87" y="23"/>
                        </a:lnTo>
                        <a:lnTo>
                          <a:pt x="92" y="16"/>
                        </a:lnTo>
                        <a:lnTo>
                          <a:pt x="97" y="11"/>
                        </a:lnTo>
                        <a:lnTo>
                          <a:pt x="104" y="5"/>
                        </a:lnTo>
                        <a:lnTo>
                          <a:pt x="113" y="0"/>
                        </a:lnTo>
                      </a:path>
                    </a:pathLst>
                  </a:custGeom>
                  <a:grpFill/>
                  <a:ln w="9525" cmpd="sng">
                    <a:solidFill>
                      <a:srgbClr val="FFFFFF"/>
                    </a:solidFill>
                    <a:prstDash val="solid"/>
                    <a:round/>
                    <a:headEnd/>
                    <a:tailEnd/>
                  </a:ln>
                </p:spPr>
                <p:txBody>
                  <a:bodyPr/>
                  <a:lstStyle/>
                  <a:p>
                    <a:endParaRPr lang="en-GB" sz="1637"/>
                  </a:p>
                </p:txBody>
              </p:sp>
              <p:sp>
                <p:nvSpPr>
                  <p:cNvPr id="392" name="Freeform 291"/>
                  <p:cNvSpPr>
                    <a:spLocks/>
                  </p:cNvSpPr>
                  <p:nvPr/>
                </p:nvSpPr>
                <p:spPr bwMode="auto">
                  <a:xfrm>
                    <a:off x="5154" y="2465"/>
                    <a:ext cx="85" cy="86"/>
                  </a:xfrm>
                  <a:custGeom>
                    <a:avLst/>
                    <a:gdLst>
                      <a:gd name="T0" fmla="*/ 3 w 259"/>
                      <a:gd name="T1" fmla="*/ 60 h 259"/>
                      <a:gd name="T2" fmla="*/ 0 w 259"/>
                      <a:gd name="T3" fmla="*/ 54 h 259"/>
                      <a:gd name="T4" fmla="*/ 0 w 259"/>
                      <a:gd name="T5" fmla="*/ 47 h 259"/>
                      <a:gd name="T6" fmla="*/ 2 w 259"/>
                      <a:gd name="T7" fmla="*/ 43 h 259"/>
                      <a:gd name="T8" fmla="*/ 6 w 259"/>
                      <a:gd name="T9" fmla="*/ 42 h 259"/>
                      <a:gd name="T10" fmla="*/ 11 w 259"/>
                      <a:gd name="T11" fmla="*/ 39 h 259"/>
                      <a:gd name="T12" fmla="*/ 16 w 259"/>
                      <a:gd name="T13" fmla="*/ 33 h 259"/>
                      <a:gd name="T14" fmla="*/ 20 w 259"/>
                      <a:gd name="T15" fmla="*/ 30 h 259"/>
                      <a:gd name="T16" fmla="*/ 22 w 259"/>
                      <a:gd name="T17" fmla="*/ 29 h 259"/>
                      <a:gd name="T18" fmla="*/ 27 w 259"/>
                      <a:gd name="T19" fmla="*/ 29 h 259"/>
                      <a:gd name="T20" fmla="*/ 31 w 259"/>
                      <a:gd name="T21" fmla="*/ 31 h 259"/>
                      <a:gd name="T22" fmla="*/ 33 w 259"/>
                      <a:gd name="T23" fmla="*/ 35 h 259"/>
                      <a:gd name="T24" fmla="*/ 35 w 259"/>
                      <a:gd name="T25" fmla="*/ 37 h 259"/>
                      <a:gd name="T26" fmla="*/ 39 w 259"/>
                      <a:gd name="T27" fmla="*/ 37 h 259"/>
                      <a:gd name="T28" fmla="*/ 44 w 259"/>
                      <a:gd name="T29" fmla="*/ 35 h 259"/>
                      <a:gd name="T30" fmla="*/ 49 w 259"/>
                      <a:gd name="T31" fmla="*/ 31 h 259"/>
                      <a:gd name="T32" fmla="*/ 53 w 259"/>
                      <a:gd name="T33" fmla="*/ 26 h 259"/>
                      <a:gd name="T34" fmla="*/ 57 w 259"/>
                      <a:gd name="T35" fmla="*/ 17 h 259"/>
                      <a:gd name="T36" fmla="*/ 62 w 259"/>
                      <a:gd name="T37" fmla="*/ 5 h 259"/>
                      <a:gd name="T38" fmla="*/ 64 w 259"/>
                      <a:gd name="T39" fmla="*/ 1 h 259"/>
                      <a:gd name="T40" fmla="*/ 66 w 259"/>
                      <a:gd name="T41" fmla="*/ 4 h 259"/>
                      <a:gd name="T42" fmla="*/ 70 w 259"/>
                      <a:gd name="T43" fmla="*/ 6 h 259"/>
                      <a:gd name="T44" fmla="*/ 72 w 259"/>
                      <a:gd name="T45" fmla="*/ 11 h 259"/>
                      <a:gd name="T46" fmla="*/ 72 w 259"/>
                      <a:gd name="T47" fmla="*/ 17 h 259"/>
                      <a:gd name="T48" fmla="*/ 74 w 259"/>
                      <a:gd name="T49" fmla="*/ 20 h 259"/>
                      <a:gd name="T50" fmla="*/ 77 w 259"/>
                      <a:gd name="T51" fmla="*/ 23 h 259"/>
                      <a:gd name="T52" fmla="*/ 77 w 259"/>
                      <a:gd name="T53" fmla="*/ 29 h 259"/>
                      <a:gd name="T54" fmla="*/ 77 w 259"/>
                      <a:gd name="T55" fmla="*/ 35 h 259"/>
                      <a:gd name="T56" fmla="*/ 78 w 259"/>
                      <a:gd name="T57" fmla="*/ 37 h 259"/>
                      <a:gd name="T58" fmla="*/ 80 w 259"/>
                      <a:gd name="T59" fmla="*/ 40 h 259"/>
                      <a:gd name="T60" fmla="*/ 82 w 259"/>
                      <a:gd name="T61" fmla="*/ 45 h 259"/>
                      <a:gd name="T62" fmla="*/ 83 w 259"/>
                      <a:gd name="T63" fmla="*/ 53 h 259"/>
                      <a:gd name="T64" fmla="*/ 80 w 259"/>
                      <a:gd name="T65" fmla="*/ 78 h 259"/>
                      <a:gd name="T66" fmla="*/ 78 w 259"/>
                      <a:gd name="T67" fmla="*/ 74 h 259"/>
                      <a:gd name="T68" fmla="*/ 78 w 259"/>
                      <a:gd name="T69" fmla="*/ 69 h 259"/>
                      <a:gd name="T70" fmla="*/ 78 w 259"/>
                      <a:gd name="T71" fmla="*/ 64 h 259"/>
                      <a:gd name="T72" fmla="*/ 73 w 259"/>
                      <a:gd name="T73" fmla="*/ 62 h 259"/>
                      <a:gd name="T74" fmla="*/ 68 w 259"/>
                      <a:gd name="T75" fmla="*/ 59 h 259"/>
                      <a:gd name="T76" fmla="*/ 64 w 259"/>
                      <a:gd name="T77" fmla="*/ 66 h 259"/>
                      <a:gd name="T78" fmla="*/ 62 w 259"/>
                      <a:gd name="T79" fmla="*/ 73 h 259"/>
                      <a:gd name="T80" fmla="*/ 61 w 259"/>
                      <a:gd name="T81" fmla="*/ 86 h 259"/>
                      <a:gd name="T82" fmla="*/ 41 w 259"/>
                      <a:gd name="T83" fmla="*/ 80 h 259"/>
                      <a:gd name="T84" fmla="*/ 36 w 259"/>
                      <a:gd name="T85" fmla="*/ 73 h 259"/>
                      <a:gd name="T86" fmla="*/ 32 w 259"/>
                      <a:gd name="T87" fmla="*/ 69 h 259"/>
                      <a:gd name="T88" fmla="*/ 32 w 259"/>
                      <a:gd name="T89" fmla="*/ 65 h 259"/>
                      <a:gd name="T90" fmla="*/ 34 w 259"/>
                      <a:gd name="T91" fmla="*/ 62 h 259"/>
                      <a:gd name="T92" fmla="*/ 37 w 259"/>
                      <a:gd name="T93" fmla="*/ 60 h 259"/>
                      <a:gd name="T94" fmla="*/ 38 w 259"/>
                      <a:gd name="T95" fmla="*/ 57 h 259"/>
                      <a:gd name="T96" fmla="*/ 31 w 259"/>
                      <a:gd name="T97" fmla="*/ 51 h 259"/>
                      <a:gd name="T98" fmla="*/ 9 w 259"/>
                      <a:gd name="T99" fmla="*/ 51 h 259"/>
                      <a:gd name="T100" fmla="*/ 7 w 259"/>
                      <a:gd name="T101" fmla="*/ 54 h 259"/>
                      <a:gd name="T102" fmla="*/ 5 w 259"/>
                      <a:gd name="T103" fmla="*/ 58 h 259"/>
                      <a:gd name="T104" fmla="*/ 4 w 259"/>
                      <a:gd name="T105" fmla="*/ 62 h 25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59" h="259">
                        <a:moveTo>
                          <a:pt x="13" y="192"/>
                        </a:moveTo>
                        <a:lnTo>
                          <a:pt x="8" y="182"/>
                        </a:lnTo>
                        <a:lnTo>
                          <a:pt x="4" y="173"/>
                        </a:lnTo>
                        <a:lnTo>
                          <a:pt x="1" y="163"/>
                        </a:lnTo>
                        <a:lnTo>
                          <a:pt x="0" y="154"/>
                        </a:lnTo>
                        <a:lnTo>
                          <a:pt x="0" y="142"/>
                        </a:lnTo>
                        <a:lnTo>
                          <a:pt x="0" y="130"/>
                        </a:lnTo>
                        <a:lnTo>
                          <a:pt x="6" y="130"/>
                        </a:lnTo>
                        <a:lnTo>
                          <a:pt x="13" y="128"/>
                        </a:lnTo>
                        <a:lnTo>
                          <a:pt x="19" y="126"/>
                        </a:lnTo>
                        <a:lnTo>
                          <a:pt x="24" y="123"/>
                        </a:lnTo>
                        <a:lnTo>
                          <a:pt x="34" y="117"/>
                        </a:lnTo>
                        <a:lnTo>
                          <a:pt x="41" y="108"/>
                        </a:lnTo>
                        <a:lnTo>
                          <a:pt x="48" y="100"/>
                        </a:lnTo>
                        <a:lnTo>
                          <a:pt x="56" y="93"/>
                        </a:lnTo>
                        <a:lnTo>
                          <a:pt x="60" y="91"/>
                        </a:lnTo>
                        <a:lnTo>
                          <a:pt x="63" y="89"/>
                        </a:lnTo>
                        <a:lnTo>
                          <a:pt x="68" y="87"/>
                        </a:lnTo>
                        <a:lnTo>
                          <a:pt x="73" y="87"/>
                        </a:lnTo>
                        <a:lnTo>
                          <a:pt x="83" y="87"/>
                        </a:lnTo>
                        <a:lnTo>
                          <a:pt x="93" y="87"/>
                        </a:lnTo>
                        <a:lnTo>
                          <a:pt x="94" y="93"/>
                        </a:lnTo>
                        <a:lnTo>
                          <a:pt x="97" y="101"/>
                        </a:lnTo>
                        <a:lnTo>
                          <a:pt x="101" y="105"/>
                        </a:lnTo>
                        <a:lnTo>
                          <a:pt x="104" y="108"/>
                        </a:lnTo>
                        <a:lnTo>
                          <a:pt x="108" y="110"/>
                        </a:lnTo>
                        <a:lnTo>
                          <a:pt x="113" y="111"/>
                        </a:lnTo>
                        <a:lnTo>
                          <a:pt x="120" y="110"/>
                        </a:lnTo>
                        <a:lnTo>
                          <a:pt x="127" y="108"/>
                        </a:lnTo>
                        <a:lnTo>
                          <a:pt x="135" y="104"/>
                        </a:lnTo>
                        <a:lnTo>
                          <a:pt x="141" y="99"/>
                        </a:lnTo>
                        <a:lnTo>
                          <a:pt x="148" y="93"/>
                        </a:lnTo>
                        <a:lnTo>
                          <a:pt x="153" y="86"/>
                        </a:lnTo>
                        <a:lnTo>
                          <a:pt x="160" y="78"/>
                        </a:lnTo>
                        <a:lnTo>
                          <a:pt x="165" y="70"/>
                        </a:lnTo>
                        <a:lnTo>
                          <a:pt x="174" y="51"/>
                        </a:lnTo>
                        <a:lnTo>
                          <a:pt x="183" y="33"/>
                        </a:lnTo>
                        <a:lnTo>
                          <a:pt x="188" y="16"/>
                        </a:lnTo>
                        <a:lnTo>
                          <a:pt x="193" y="0"/>
                        </a:lnTo>
                        <a:lnTo>
                          <a:pt x="195" y="4"/>
                        </a:lnTo>
                        <a:lnTo>
                          <a:pt x="198" y="9"/>
                        </a:lnTo>
                        <a:lnTo>
                          <a:pt x="202" y="12"/>
                        </a:lnTo>
                        <a:lnTo>
                          <a:pt x="206" y="15"/>
                        </a:lnTo>
                        <a:lnTo>
                          <a:pt x="213" y="18"/>
                        </a:lnTo>
                        <a:lnTo>
                          <a:pt x="219" y="19"/>
                        </a:lnTo>
                        <a:lnTo>
                          <a:pt x="219" y="32"/>
                        </a:lnTo>
                        <a:lnTo>
                          <a:pt x="219" y="44"/>
                        </a:lnTo>
                        <a:lnTo>
                          <a:pt x="219" y="52"/>
                        </a:lnTo>
                        <a:lnTo>
                          <a:pt x="219" y="55"/>
                        </a:lnTo>
                        <a:lnTo>
                          <a:pt x="227" y="61"/>
                        </a:lnTo>
                        <a:lnTo>
                          <a:pt x="231" y="66"/>
                        </a:lnTo>
                        <a:lnTo>
                          <a:pt x="234" y="70"/>
                        </a:lnTo>
                        <a:lnTo>
                          <a:pt x="239" y="75"/>
                        </a:lnTo>
                        <a:lnTo>
                          <a:pt x="234" y="88"/>
                        </a:lnTo>
                        <a:lnTo>
                          <a:pt x="233" y="100"/>
                        </a:lnTo>
                        <a:lnTo>
                          <a:pt x="234" y="104"/>
                        </a:lnTo>
                        <a:lnTo>
                          <a:pt x="234" y="108"/>
                        </a:lnTo>
                        <a:lnTo>
                          <a:pt x="237" y="110"/>
                        </a:lnTo>
                        <a:lnTo>
                          <a:pt x="239" y="111"/>
                        </a:lnTo>
                        <a:lnTo>
                          <a:pt x="243" y="121"/>
                        </a:lnTo>
                        <a:lnTo>
                          <a:pt x="247" y="129"/>
                        </a:lnTo>
                        <a:lnTo>
                          <a:pt x="249" y="137"/>
                        </a:lnTo>
                        <a:lnTo>
                          <a:pt x="251" y="145"/>
                        </a:lnTo>
                        <a:lnTo>
                          <a:pt x="254" y="161"/>
                        </a:lnTo>
                        <a:lnTo>
                          <a:pt x="259" y="179"/>
                        </a:lnTo>
                        <a:lnTo>
                          <a:pt x="245" y="235"/>
                        </a:lnTo>
                        <a:lnTo>
                          <a:pt x="241" y="230"/>
                        </a:lnTo>
                        <a:lnTo>
                          <a:pt x="239" y="222"/>
                        </a:lnTo>
                        <a:lnTo>
                          <a:pt x="238" y="215"/>
                        </a:lnTo>
                        <a:lnTo>
                          <a:pt x="237" y="208"/>
                        </a:lnTo>
                        <a:lnTo>
                          <a:pt x="238" y="196"/>
                        </a:lnTo>
                        <a:lnTo>
                          <a:pt x="239" y="192"/>
                        </a:lnTo>
                        <a:lnTo>
                          <a:pt x="231" y="191"/>
                        </a:lnTo>
                        <a:lnTo>
                          <a:pt x="222" y="188"/>
                        </a:lnTo>
                        <a:lnTo>
                          <a:pt x="213" y="184"/>
                        </a:lnTo>
                        <a:lnTo>
                          <a:pt x="206" y="179"/>
                        </a:lnTo>
                        <a:lnTo>
                          <a:pt x="199" y="189"/>
                        </a:lnTo>
                        <a:lnTo>
                          <a:pt x="194" y="199"/>
                        </a:lnTo>
                        <a:lnTo>
                          <a:pt x="191" y="209"/>
                        </a:lnTo>
                        <a:lnTo>
                          <a:pt x="188" y="219"/>
                        </a:lnTo>
                        <a:lnTo>
                          <a:pt x="186" y="240"/>
                        </a:lnTo>
                        <a:lnTo>
                          <a:pt x="185" y="259"/>
                        </a:lnTo>
                        <a:lnTo>
                          <a:pt x="132" y="259"/>
                        </a:lnTo>
                        <a:lnTo>
                          <a:pt x="124" y="242"/>
                        </a:lnTo>
                        <a:lnTo>
                          <a:pt x="115" y="226"/>
                        </a:lnTo>
                        <a:lnTo>
                          <a:pt x="110" y="220"/>
                        </a:lnTo>
                        <a:lnTo>
                          <a:pt x="105" y="214"/>
                        </a:lnTo>
                        <a:lnTo>
                          <a:pt x="99" y="209"/>
                        </a:lnTo>
                        <a:lnTo>
                          <a:pt x="93" y="204"/>
                        </a:lnTo>
                        <a:lnTo>
                          <a:pt x="97" y="196"/>
                        </a:lnTo>
                        <a:lnTo>
                          <a:pt x="102" y="190"/>
                        </a:lnTo>
                        <a:lnTo>
                          <a:pt x="105" y="186"/>
                        </a:lnTo>
                        <a:lnTo>
                          <a:pt x="108" y="183"/>
                        </a:lnTo>
                        <a:lnTo>
                          <a:pt x="112" y="180"/>
                        </a:lnTo>
                        <a:lnTo>
                          <a:pt x="114" y="177"/>
                        </a:lnTo>
                        <a:lnTo>
                          <a:pt x="117" y="173"/>
                        </a:lnTo>
                        <a:lnTo>
                          <a:pt x="119" y="166"/>
                        </a:lnTo>
                        <a:lnTo>
                          <a:pt x="93" y="154"/>
                        </a:lnTo>
                        <a:lnTo>
                          <a:pt x="32" y="154"/>
                        </a:lnTo>
                        <a:lnTo>
                          <a:pt x="28" y="155"/>
                        </a:lnTo>
                        <a:lnTo>
                          <a:pt x="24" y="158"/>
                        </a:lnTo>
                        <a:lnTo>
                          <a:pt x="20" y="163"/>
                        </a:lnTo>
                        <a:lnTo>
                          <a:pt x="18" y="168"/>
                        </a:lnTo>
                        <a:lnTo>
                          <a:pt x="16" y="175"/>
                        </a:lnTo>
                        <a:lnTo>
                          <a:pt x="14" y="181"/>
                        </a:lnTo>
                        <a:lnTo>
                          <a:pt x="13" y="187"/>
                        </a:lnTo>
                        <a:lnTo>
                          <a:pt x="13" y="192"/>
                        </a:lnTo>
                      </a:path>
                    </a:pathLst>
                  </a:custGeom>
                  <a:grpFill/>
                  <a:ln w="9525" cmpd="sng">
                    <a:solidFill>
                      <a:srgbClr val="FFFFFF"/>
                    </a:solidFill>
                    <a:prstDash val="solid"/>
                    <a:round/>
                    <a:headEnd/>
                    <a:tailEnd/>
                  </a:ln>
                </p:spPr>
                <p:txBody>
                  <a:bodyPr/>
                  <a:lstStyle/>
                  <a:p>
                    <a:endParaRPr lang="en-GB" sz="1637"/>
                  </a:p>
                </p:txBody>
              </p:sp>
              <p:sp>
                <p:nvSpPr>
                  <p:cNvPr id="393" name="Freeform 292"/>
                  <p:cNvSpPr>
                    <a:spLocks/>
                  </p:cNvSpPr>
                  <p:nvPr/>
                </p:nvSpPr>
                <p:spPr bwMode="auto">
                  <a:xfrm>
                    <a:off x="5104" y="2395"/>
                    <a:ext cx="23" cy="31"/>
                  </a:xfrm>
                  <a:custGeom>
                    <a:avLst/>
                    <a:gdLst>
                      <a:gd name="T0" fmla="*/ 23 w 72"/>
                      <a:gd name="T1" fmla="*/ 14 h 92"/>
                      <a:gd name="T2" fmla="*/ 23 w 72"/>
                      <a:gd name="T3" fmla="*/ 31 h 92"/>
                      <a:gd name="T4" fmla="*/ 21 w 72"/>
                      <a:gd name="T5" fmla="*/ 29 h 92"/>
                      <a:gd name="T6" fmla="*/ 19 w 72"/>
                      <a:gd name="T7" fmla="*/ 27 h 92"/>
                      <a:gd name="T8" fmla="*/ 16 w 72"/>
                      <a:gd name="T9" fmla="*/ 25 h 92"/>
                      <a:gd name="T10" fmla="*/ 15 w 72"/>
                      <a:gd name="T11" fmla="*/ 23 h 92"/>
                      <a:gd name="T12" fmla="*/ 12 w 72"/>
                      <a:gd name="T13" fmla="*/ 20 h 92"/>
                      <a:gd name="T14" fmla="*/ 10 w 72"/>
                      <a:gd name="T15" fmla="*/ 16 h 92"/>
                      <a:gd name="T16" fmla="*/ 8 w 72"/>
                      <a:gd name="T17" fmla="*/ 11 h 92"/>
                      <a:gd name="T18" fmla="*/ 6 w 72"/>
                      <a:gd name="T19" fmla="*/ 8 h 92"/>
                      <a:gd name="T20" fmla="*/ 4 w 72"/>
                      <a:gd name="T21" fmla="*/ 4 h 92"/>
                      <a:gd name="T22" fmla="*/ 0 w 72"/>
                      <a:gd name="T23" fmla="*/ 0 h 92"/>
                      <a:gd name="T24" fmla="*/ 8 w 72"/>
                      <a:gd name="T25" fmla="*/ 4 h 92"/>
                      <a:gd name="T26" fmla="*/ 14 w 72"/>
                      <a:gd name="T27" fmla="*/ 7 h 92"/>
                      <a:gd name="T28" fmla="*/ 16 w 72"/>
                      <a:gd name="T29" fmla="*/ 9 h 92"/>
                      <a:gd name="T30" fmla="*/ 19 w 72"/>
                      <a:gd name="T31" fmla="*/ 10 h 92"/>
                      <a:gd name="T32" fmla="*/ 21 w 72"/>
                      <a:gd name="T33" fmla="*/ 12 h 92"/>
                      <a:gd name="T34" fmla="*/ 23 w 72"/>
                      <a:gd name="T35" fmla="*/ 14 h 9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2" h="92">
                        <a:moveTo>
                          <a:pt x="72" y="43"/>
                        </a:moveTo>
                        <a:lnTo>
                          <a:pt x="72" y="92"/>
                        </a:lnTo>
                        <a:lnTo>
                          <a:pt x="65" y="86"/>
                        </a:lnTo>
                        <a:lnTo>
                          <a:pt x="58" y="81"/>
                        </a:lnTo>
                        <a:lnTo>
                          <a:pt x="51" y="75"/>
                        </a:lnTo>
                        <a:lnTo>
                          <a:pt x="46" y="69"/>
                        </a:lnTo>
                        <a:lnTo>
                          <a:pt x="38" y="58"/>
                        </a:lnTo>
                        <a:lnTo>
                          <a:pt x="32" y="46"/>
                        </a:lnTo>
                        <a:lnTo>
                          <a:pt x="25" y="34"/>
                        </a:lnTo>
                        <a:lnTo>
                          <a:pt x="19" y="23"/>
                        </a:lnTo>
                        <a:lnTo>
                          <a:pt x="11" y="12"/>
                        </a:lnTo>
                        <a:lnTo>
                          <a:pt x="0" y="0"/>
                        </a:lnTo>
                        <a:lnTo>
                          <a:pt x="25" y="12"/>
                        </a:lnTo>
                        <a:lnTo>
                          <a:pt x="44" y="21"/>
                        </a:lnTo>
                        <a:lnTo>
                          <a:pt x="51" y="26"/>
                        </a:lnTo>
                        <a:lnTo>
                          <a:pt x="58" y="31"/>
                        </a:lnTo>
                        <a:lnTo>
                          <a:pt x="66" y="36"/>
                        </a:lnTo>
                        <a:lnTo>
                          <a:pt x="72" y="43"/>
                        </a:lnTo>
                      </a:path>
                    </a:pathLst>
                  </a:custGeom>
                  <a:grpFill/>
                  <a:ln w="9525" cmpd="sng">
                    <a:solidFill>
                      <a:srgbClr val="FFFFFF"/>
                    </a:solidFill>
                    <a:prstDash val="solid"/>
                    <a:round/>
                    <a:headEnd/>
                    <a:tailEnd/>
                  </a:ln>
                </p:spPr>
                <p:txBody>
                  <a:bodyPr/>
                  <a:lstStyle/>
                  <a:p>
                    <a:endParaRPr lang="en-GB" sz="1637"/>
                  </a:p>
                </p:txBody>
              </p:sp>
              <p:sp>
                <p:nvSpPr>
                  <p:cNvPr id="394" name="Freeform 293"/>
                  <p:cNvSpPr>
                    <a:spLocks/>
                  </p:cNvSpPr>
                  <p:nvPr/>
                </p:nvSpPr>
                <p:spPr bwMode="auto">
                  <a:xfrm>
                    <a:off x="5143" y="2436"/>
                    <a:ext cx="16" cy="21"/>
                  </a:xfrm>
                  <a:custGeom>
                    <a:avLst/>
                    <a:gdLst>
                      <a:gd name="T0" fmla="*/ 2 w 46"/>
                      <a:gd name="T1" fmla="*/ 2 h 62"/>
                      <a:gd name="T2" fmla="*/ 7 w 46"/>
                      <a:gd name="T3" fmla="*/ 2 h 62"/>
                      <a:gd name="T4" fmla="*/ 11 w 46"/>
                      <a:gd name="T5" fmla="*/ 1 h 62"/>
                      <a:gd name="T6" fmla="*/ 14 w 46"/>
                      <a:gd name="T7" fmla="*/ 0 h 62"/>
                      <a:gd name="T8" fmla="*/ 16 w 46"/>
                      <a:gd name="T9" fmla="*/ 0 h 62"/>
                      <a:gd name="T10" fmla="*/ 16 w 46"/>
                      <a:gd name="T11" fmla="*/ 3 h 62"/>
                      <a:gd name="T12" fmla="*/ 16 w 46"/>
                      <a:gd name="T13" fmla="*/ 6 h 62"/>
                      <a:gd name="T14" fmla="*/ 16 w 46"/>
                      <a:gd name="T15" fmla="*/ 9 h 62"/>
                      <a:gd name="T16" fmla="*/ 16 w 46"/>
                      <a:gd name="T17" fmla="*/ 13 h 62"/>
                      <a:gd name="T18" fmla="*/ 16 w 46"/>
                      <a:gd name="T19" fmla="*/ 16 h 62"/>
                      <a:gd name="T20" fmla="*/ 14 w 46"/>
                      <a:gd name="T21" fmla="*/ 18 h 62"/>
                      <a:gd name="T22" fmla="*/ 14 w 46"/>
                      <a:gd name="T23" fmla="*/ 19 h 62"/>
                      <a:gd name="T24" fmla="*/ 13 w 46"/>
                      <a:gd name="T25" fmla="*/ 20 h 62"/>
                      <a:gd name="T26" fmla="*/ 12 w 46"/>
                      <a:gd name="T27" fmla="*/ 21 h 62"/>
                      <a:gd name="T28" fmla="*/ 11 w 46"/>
                      <a:gd name="T29" fmla="*/ 21 h 62"/>
                      <a:gd name="T30" fmla="*/ 9 w 46"/>
                      <a:gd name="T31" fmla="*/ 21 h 62"/>
                      <a:gd name="T32" fmla="*/ 8 w 46"/>
                      <a:gd name="T33" fmla="*/ 20 h 62"/>
                      <a:gd name="T34" fmla="*/ 6 w 46"/>
                      <a:gd name="T35" fmla="*/ 20 h 62"/>
                      <a:gd name="T36" fmla="*/ 5 w 46"/>
                      <a:gd name="T37" fmla="*/ 19 h 62"/>
                      <a:gd name="T38" fmla="*/ 4 w 46"/>
                      <a:gd name="T39" fmla="*/ 18 h 62"/>
                      <a:gd name="T40" fmla="*/ 2 w 46"/>
                      <a:gd name="T41" fmla="*/ 17 h 62"/>
                      <a:gd name="T42" fmla="*/ 2 w 46"/>
                      <a:gd name="T43" fmla="*/ 16 h 62"/>
                      <a:gd name="T44" fmla="*/ 1 w 46"/>
                      <a:gd name="T45" fmla="*/ 15 h 62"/>
                      <a:gd name="T46" fmla="*/ 0 w 46"/>
                      <a:gd name="T47" fmla="*/ 12 h 62"/>
                      <a:gd name="T48" fmla="*/ 0 w 46"/>
                      <a:gd name="T49" fmla="*/ 8 h 62"/>
                      <a:gd name="T50" fmla="*/ 0 w 46"/>
                      <a:gd name="T51" fmla="*/ 5 h 62"/>
                      <a:gd name="T52" fmla="*/ 0 w 46"/>
                      <a:gd name="T53" fmla="*/ 2 h 62"/>
                      <a:gd name="T54" fmla="*/ 2 w 46"/>
                      <a:gd name="T55" fmla="*/ 2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46" h="62">
                        <a:moveTo>
                          <a:pt x="6" y="6"/>
                        </a:moveTo>
                        <a:lnTo>
                          <a:pt x="19" y="5"/>
                        </a:lnTo>
                        <a:lnTo>
                          <a:pt x="31" y="3"/>
                        </a:lnTo>
                        <a:lnTo>
                          <a:pt x="39" y="1"/>
                        </a:lnTo>
                        <a:lnTo>
                          <a:pt x="46" y="0"/>
                        </a:lnTo>
                        <a:lnTo>
                          <a:pt x="46" y="9"/>
                        </a:lnTo>
                        <a:lnTo>
                          <a:pt x="46" y="18"/>
                        </a:lnTo>
                        <a:lnTo>
                          <a:pt x="46" y="27"/>
                        </a:lnTo>
                        <a:lnTo>
                          <a:pt x="46" y="38"/>
                        </a:lnTo>
                        <a:lnTo>
                          <a:pt x="45" y="46"/>
                        </a:lnTo>
                        <a:lnTo>
                          <a:pt x="41" y="54"/>
                        </a:lnTo>
                        <a:lnTo>
                          <a:pt x="39" y="57"/>
                        </a:lnTo>
                        <a:lnTo>
                          <a:pt x="37" y="60"/>
                        </a:lnTo>
                        <a:lnTo>
                          <a:pt x="35" y="61"/>
                        </a:lnTo>
                        <a:lnTo>
                          <a:pt x="33" y="62"/>
                        </a:lnTo>
                        <a:lnTo>
                          <a:pt x="27" y="61"/>
                        </a:lnTo>
                        <a:lnTo>
                          <a:pt x="22" y="60"/>
                        </a:lnTo>
                        <a:lnTo>
                          <a:pt x="17" y="59"/>
                        </a:lnTo>
                        <a:lnTo>
                          <a:pt x="14" y="57"/>
                        </a:lnTo>
                        <a:lnTo>
                          <a:pt x="11" y="54"/>
                        </a:lnTo>
                        <a:lnTo>
                          <a:pt x="7" y="51"/>
                        </a:lnTo>
                        <a:lnTo>
                          <a:pt x="5" y="47"/>
                        </a:lnTo>
                        <a:lnTo>
                          <a:pt x="4" y="44"/>
                        </a:lnTo>
                        <a:lnTo>
                          <a:pt x="1" y="34"/>
                        </a:lnTo>
                        <a:lnTo>
                          <a:pt x="0" y="25"/>
                        </a:lnTo>
                        <a:lnTo>
                          <a:pt x="0" y="16"/>
                        </a:lnTo>
                        <a:lnTo>
                          <a:pt x="0" y="6"/>
                        </a:lnTo>
                        <a:lnTo>
                          <a:pt x="6" y="6"/>
                        </a:lnTo>
                      </a:path>
                    </a:pathLst>
                  </a:custGeom>
                  <a:grpFill/>
                  <a:ln w="9525" cmpd="sng">
                    <a:solidFill>
                      <a:srgbClr val="FFFFFF"/>
                    </a:solidFill>
                    <a:prstDash val="solid"/>
                    <a:round/>
                    <a:headEnd/>
                    <a:tailEnd/>
                  </a:ln>
                </p:spPr>
                <p:txBody>
                  <a:bodyPr/>
                  <a:lstStyle/>
                  <a:p>
                    <a:endParaRPr lang="en-GB" sz="1637"/>
                  </a:p>
                </p:txBody>
              </p:sp>
              <p:sp>
                <p:nvSpPr>
                  <p:cNvPr id="395" name="Freeform 294"/>
                  <p:cNvSpPr>
                    <a:spLocks/>
                  </p:cNvSpPr>
                  <p:nvPr/>
                </p:nvSpPr>
                <p:spPr bwMode="auto">
                  <a:xfrm>
                    <a:off x="5089" y="2295"/>
                    <a:ext cx="50" cy="98"/>
                  </a:xfrm>
                  <a:custGeom>
                    <a:avLst/>
                    <a:gdLst>
                      <a:gd name="T0" fmla="*/ 19 w 152"/>
                      <a:gd name="T1" fmla="*/ 0 h 296"/>
                      <a:gd name="T2" fmla="*/ 22 w 152"/>
                      <a:gd name="T3" fmla="*/ 3 h 296"/>
                      <a:gd name="T4" fmla="*/ 25 w 152"/>
                      <a:gd name="T5" fmla="*/ 6 h 296"/>
                      <a:gd name="T6" fmla="*/ 29 w 152"/>
                      <a:gd name="T7" fmla="*/ 8 h 296"/>
                      <a:gd name="T8" fmla="*/ 33 w 152"/>
                      <a:gd name="T9" fmla="*/ 8 h 296"/>
                      <a:gd name="T10" fmla="*/ 36 w 152"/>
                      <a:gd name="T11" fmla="*/ 7 h 296"/>
                      <a:gd name="T12" fmla="*/ 39 w 152"/>
                      <a:gd name="T13" fmla="*/ 4 h 296"/>
                      <a:gd name="T14" fmla="*/ 40 w 152"/>
                      <a:gd name="T15" fmla="*/ 12 h 296"/>
                      <a:gd name="T16" fmla="*/ 43 w 152"/>
                      <a:gd name="T17" fmla="*/ 21 h 296"/>
                      <a:gd name="T18" fmla="*/ 46 w 152"/>
                      <a:gd name="T19" fmla="*/ 28 h 296"/>
                      <a:gd name="T20" fmla="*/ 48 w 152"/>
                      <a:gd name="T21" fmla="*/ 31 h 296"/>
                      <a:gd name="T22" fmla="*/ 50 w 152"/>
                      <a:gd name="T23" fmla="*/ 33 h 296"/>
                      <a:gd name="T24" fmla="*/ 47 w 152"/>
                      <a:gd name="T25" fmla="*/ 40 h 296"/>
                      <a:gd name="T26" fmla="*/ 42 w 152"/>
                      <a:gd name="T27" fmla="*/ 46 h 296"/>
                      <a:gd name="T28" fmla="*/ 38 w 152"/>
                      <a:gd name="T29" fmla="*/ 52 h 296"/>
                      <a:gd name="T30" fmla="*/ 37 w 152"/>
                      <a:gd name="T31" fmla="*/ 57 h 296"/>
                      <a:gd name="T32" fmla="*/ 38 w 152"/>
                      <a:gd name="T33" fmla="*/ 65 h 296"/>
                      <a:gd name="T34" fmla="*/ 38 w 152"/>
                      <a:gd name="T35" fmla="*/ 68 h 296"/>
                      <a:gd name="T36" fmla="*/ 37 w 152"/>
                      <a:gd name="T37" fmla="*/ 72 h 296"/>
                      <a:gd name="T38" fmla="*/ 41 w 152"/>
                      <a:gd name="T39" fmla="*/ 72 h 296"/>
                      <a:gd name="T40" fmla="*/ 48 w 152"/>
                      <a:gd name="T41" fmla="*/ 72 h 296"/>
                      <a:gd name="T42" fmla="*/ 45 w 152"/>
                      <a:gd name="T43" fmla="*/ 83 h 296"/>
                      <a:gd name="T44" fmla="*/ 45 w 152"/>
                      <a:gd name="T45" fmla="*/ 88 h 296"/>
                      <a:gd name="T46" fmla="*/ 48 w 152"/>
                      <a:gd name="T47" fmla="*/ 94 h 296"/>
                      <a:gd name="T48" fmla="*/ 41 w 152"/>
                      <a:gd name="T49" fmla="*/ 96 h 296"/>
                      <a:gd name="T50" fmla="*/ 35 w 152"/>
                      <a:gd name="T51" fmla="*/ 98 h 296"/>
                      <a:gd name="T52" fmla="*/ 28 w 152"/>
                      <a:gd name="T53" fmla="*/ 97 h 296"/>
                      <a:gd name="T54" fmla="*/ 24 w 152"/>
                      <a:gd name="T55" fmla="*/ 95 h 296"/>
                      <a:gd name="T56" fmla="*/ 22 w 152"/>
                      <a:gd name="T57" fmla="*/ 93 h 296"/>
                      <a:gd name="T58" fmla="*/ 22 w 152"/>
                      <a:gd name="T59" fmla="*/ 90 h 296"/>
                      <a:gd name="T60" fmla="*/ 28 w 152"/>
                      <a:gd name="T61" fmla="*/ 84 h 296"/>
                      <a:gd name="T62" fmla="*/ 23 w 152"/>
                      <a:gd name="T63" fmla="*/ 82 h 296"/>
                      <a:gd name="T64" fmla="*/ 17 w 152"/>
                      <a:gd name="T65" fmla="*/ 80 h 296"/>
                      <a:gd name="T66" fmla="*/ 13 w 152"/>
                      <a:gd name="T67" fmla="*/ 76 h 296"/>
                      <a:gd name="T68" fmla="*/ 8 w 152"/>
                      <a:gd name="T69" fmla="*/ 73 h 296"/>
                      <a:gd name="T70" fmla="*/ 5 w 152"/>
                      <a:gd name="T71" fmla="*/ 68 h 296"/>
                      <a:gd name="T72" fmla="*/ 2 w 152"/>
                      <a:gd name="T73" fmla="*/ 63 h 296"/>
                      <a:gd name="T74" fmla="*/ 0 w 152"/>
                      <a:gd name="T75" fmla="*/ 57 h 296"/>
                      <a:gd name="T76" fmla="*/ 0 w 152"/>
                      <a:gd name="T77" fmla="*/ 51 h 296"/>
                      <a:gd name="T78" fmla="*/ 0 w 152"/>
                      <a:gd name="T79" fmla="*/ 43 h 296"/>
                      <a:gd name="T80" fmla="*/ 9 w 152"/>
                      <a:gd name="T81" fmla="*/ 35 h 296"/>
                      <a:gd name="T82" fmla="*/ 11 w 152"/>
                      <a:gd name="T83" fmla="*/ 15 h 296"/>
                      <a:gd name="T84" fmla="*/ 10 w 152"/>
                      <a:gd name="T85" fmla="*/ 6 h 296"/>
                      <a:gd name="T86" fmla="*/ 9 w 152"/>
                      <a:gd name="T87" fmla="*/ 1 h 29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52" h="296">
                        <a:moveTo>
                          <a:pt x="26" y="0"/>
                        </a:moveTo>
                        <a:lnTo>
                          <a:pt x="59" y="0"/>
                        </a:lnTo>
                        <a:lnTo>
                          <a:pt x="62" y="4"/>
                        </a:lnTo>
                        <a:lnTo>
                          <a:pt x="66" y="9"/>
                        </a:lnTo>
                        <a:lnTo>
                          <a:pt x="71" y="13"/>
                        </a:lnTo>
                        <a:lnTo>
                          <a:pt x="77" y="17"/>
                        </a:lnTo>
                        <a:lnTo>
                          <a:pt x="82" y="21"/>
                        </a:lnTo>
                        <a:lnTo>
                          <a:pt x="88" y="23"/>
                        </a:lnTo>
                        <a:lnTo>
                          <a:pt x="93" y="24"/>
                        </a:lnTo>
                        <a:lnTo>
                          <a:pt x="99" y="25"/>
                        </a:lnTo>
                        <a:lnTo>
                          <a:pt x="104" y="24"/>
                        </a:lnTo>
                        <a:lnTo>
                          <a:pt x="108" y="21"/>
                        </a:lnTo>
                        <a:lnTo>
                          <a:pt x="114" y="17"/>
                        </a:lnTo>
                        <a:lnTo>
                          <a:pt x="118" y="12"/>
                        </a:lnTo>
                        <a:lnTo>
                          <a:pt x="119" y="23"/>
                        </a:lnTo>
                        <a:lnTo>
                          <a:pt x="122" y="35"/>
                        </a:lnTo>
                        <a:lnTo>
                          <a:pt x="126" y="49"/>
                        </a:lnTo>
                        <a:lnTo>
                          <a:pt x="130" y="62"/>
                        </a:lnTo>
                        <a:lnTo>
                          <a:pt x="136" y="76"/>
                        </a:lnTo>
                        <a:lnTo>
                          <a:pt x="141" y="86"/>
                        </a:lnTo>
                        <a:lnTo>
                          <a:pt x="144" y="91"/>
                        </a:lnTo>
                        <a:lnTo>
                          <a:pt x="147" y="94"/>
                        </a:lnTo>
                        <a:lnTo>
                          <a:pt x="149" y="97"/>
                        </a:lnTo>
                        <a:lnTo>
                          <a:pt x="152" y="99"/>
                        </a:lnTo>
                        <a:lnTo>
                          <a:pt x="148" y="110"/>
                        </a:lnTo>
                        <a:lnTo>
                          <a:pt x="143" y="120"/>
                        </a:lnTo>
                        <a:lnTo>
                          <a:pt x="137" y="131"/>
                        </a:lnTo>
                        <a:lnTo>
                          <a:pt x="129" y="140"/>
                        </a:lnTo>
                        <a:lnTo>
                          <a:pt x="123" y="149"/>
                        </a:lnTo>
                        <a:lnTo>
                          <a:pt x="117" y="157"/>
                        </a:lnTo>
                        <a:lnTo>
                          <a:pt x="114" y="165"/>
                        </a:lnTo>
                        <a:lnTo>
                          <a:pt x="112" y="172"/>
                        </a:lnTo>
                        <a:lnTo>
                          <a:pt x="113" y="187"/>
                        </a:lnTo>
                        <a:lnTo>
                          <a:pt x="115" y="197"/>
                        </a:lnTo>
                        <a:lnTo>
                          <a:pt x="115" y="201"/>
                        </a:lnTo>
                        <a:lnTo>
                          <a:pt x="115" y="205"/>
                        </a:lnTo>
                        <a:lnTo>
                          <a:pt x="114" y="210"/>
                        </a:lnTo>
                        <a:lnTo>
                          <a:pt x="112" y="216"/>
                        </a:lnTo>
                        <a:lnTo>
                          <a:pt x="118" y="216"/>
                        </a:lnTo>
                        <a:lnTo>
                          <a:pt x="126" y="216"/>
                        </a:lnTo>
                        <a:lnTo>
                          <a:pt x="136" y="216"/>
                        </a:lnTo>
                        <a:lnTo>
                          <a:pt x="146" y="216"/>
                        </a:lnTo>
                        <a:lnTo>
                          <a:pt x="139" y="235"/>
                        </a:lnTo>
                        <a:lnTo>
                          <a:pt x="136" y="252"/>
                        </a:lnTo>
                        <a:lnTo>
                          <a:pt x="135" y="259"/>
                        </a:lnTo>
                        <a:lnTo>
                          <a:pt x="136" y="267"/>
                        </a:lnTo>
                        <a:lnTo>
                          <a:pt x="139" y="275"/>
                        </a:lnTo>
                        <a:lnTo>
                          <a:pt x="146" y="283"/>
                        </a:lnTo>
                        <a:lnTo>
                          <a:pt x="136" y="288"/>
                        </a:lnTo>
                        <a:lnTo>
                          <a:pt x="125" y="291"/>
                        </a:lnTo>
                        <a:lnTo>
                          <a:pt x="115" y="295"/>
                        </a:lnTo>
                        <a:lnTo>
                          <a:pt x="105" y="296"/>
                        </a:lnTo>
                        <a:lnTo>
                          <a:pt x="94" y="296"/>
                        </a:lnTo>
                        <a:lnTo>
                          <a:pt x="85" y="294"/>
                        </a:lnTo>
                        <a:lnTo>
                          <a:pt x="79" y="291"/>
                        </a:lnTo>
                        <a:lnTo>
                          <a:pt x="73" y="288"/>
                        </a:lnTo>
                        <a:lnTo>
                          <a:pt x="70" y="284"/>
                        </a:lnTo>
                        <a:lnTo>
                          <a:pt x="67" y="280"/>
                        </a:lnTo>
                        <a:lnTo>
                          <a:pt x="66" y="276"/>
                        </a:lnTo>
                        <a:lnTo>
                          <a:pt x="66" y="271"/>
                        </a:lnTo>
                        <a:lnTo>
                          <a:pt x="76" y="262"/>
                        </a:lnTo>
                        <a:lnTo>
                          <a:pt x="85" y="253"/>
                        </a:lnTo>
                        <a:lnTo>
                          <a:pt x="77" y="251"/>
                        </a:lnTo>
                        <a:lnTo>
                          <a:pt x="69" y="249"/>
                        </a:lnTo>
                        <a:lnTo>
                          <a:pt x="60" y="246"/>
                        </a:lnTo>
                        <a:lnTo>
                          <a:pt x="52" y="242"/>
                        </a:lnTo>
                        <a:lnTo>
                          <a:pt x="45" y="236"/>
                        </a:lnTo>
                        <a:lnTo>
                          <a:pt x="38" y="231"/>
                        </a:lnTo>
                        <a:lnTo>
                          <a:pt x="32" y="226"/>
                        </a:lnTo>
                        <a:lnTo>
                          <a:pt x="25" y="219"/>
                        </a:lnTo>
                        <a:lnTo>
                          <a:pt x="20" y="213"/>
                        </a:lnTo>
                        <a:lnTo>
                          <a:pt x="14" y="205"/>
                        </a:lnTo>
                        <a:lnTo>
                          <a:pt x="10" y="198"/>
                        </a:lnTo>
                        <a:lnTo>
                          <a:pt x="6" y="190"/>
                        </a:lnTo>
                        <a:lnTo>
                          <a:pt x="3" y="180"/>
                        </a:lnTo>
                        <a:lnTo>
                          <a:pt x="1" y="172"/>
                        </a:lnTo>
                        <a:lnTo>
                          <a:pt x="0" y="163"/>
                        </a:lnTo>
                        <a:lnTo>
                          <a:pt x="0" y="154"/>
                        </a:lnTo>
                        <a:lnTo>
                          <a:pt x="0" y="142"/>
                        </a:lnTo>
                        <a:lnTo>
                          <a:pt x="0" y="130"/>
                        </a:lnTo>
                        <a:lnTo>
                          <a:pt x="26" y="130"/>
                        </a:lnTo>
                        <a:lnTo>
                          <a:pt x="27" y="106"/>
                        </a:lnTo>
                        <a:lnTo>
                          <a:pt x="31" y="67"/>
                        </a:lnTo>
                        <a:lnTo>
                          <a:pt x="32" y="46"/>
                        </a:lnTo>
                        <a:lnTo>
                          <a:pt x="32" y="27"/>
                        </a:lnTo>
                        <a:lnTo>
                          <a:pt x="31" y="18"/>
                        </a:lnTo>
                        <a:lnTo>
                          <a:pt x="29" y="10"/>
                        </a:lnTo>
                        <a:lnTo>
                          <a:pt x="28" y="4"/>
                        </a:lnTo>
                        <a:lnTo>
                          <a:pt x="26" y="0"/>
                        </a:lnTo>
                      </a:path>
                    </a:pathLst>
                  </a:custGeom>
                  <a:grpFill/>
                  <a:ln w="9525" cmpd="sng">
                    <a:solidFill>
                      <a:srgbClr val="FFFFFF"/>
                    </a:solidFill>
                    <a:prstDash val="solid"/>
                    <a:round/>
                    <a:headEnd/>
                    <a:tailEnd/>
                  </a:ln>
                </p:spPr>
                <p:txBody>
                  <a:bodyPr/>
                  <a:lstStyle/>
                  <a:p>
                    <a:endParaRPr lang="en-GB" sz="1637"/>
                  </a:p>
                </p:txBody>
              </p:sp>
              <p:sp>
                <p:nvSpPr>
                  <p:cNvPr id="396" name="Freeform 295"/>
                  <p:cNvSpPr>
                    <a:spLocks/>
                  </p:cNvSpPr>
                  <p:nvPr/>
                </p:nvSpPr>
                <p:spPr bwMode="auto">
                  <a:xfrm>
                    <a:off x="5189" y="2442"/>
                    <a:ext cx="8" cy="13"/>
                  </a:xfrm>
                  <a:custGeom>
                    <a:avLst/>
                    <a:gdLst>
                      <a:gd name="T0" fmla="*/ 8 w 26"/>
                      <a:gd name="T1" fmla="*/ 13 h 38"/>
                      <a:gd name="T2" fmla="*/ 8 w 26"/>
                      <a:gd name="T3" fmla="*/ 0 h 38"/>
                      <a:gd name="T4" fmla="*/ 6 w 26"/>
                      <a:gd name="T5" fmla="*/ 0 h 38"/>
                      <a:gd name="T6" fmla="*/ 4 w 26"/>
                      <a:gd name="T7" fmla="*/ 1 h 38"/>
                      <a:gd name="T8" fmla="*/ 2 w 26"/>
                      <a:gd name="T9" fmla="*/ 3 h 38"/>
                      <a:gd name="T10" fmla="*/ 0 w 26"/>
                      <a:gd name="T11" fmla="*/ 4 h 38"/>
                      <a:gd name="T12" fmla="*/ 6 w 26"/>
                      <a:gd name="T13" fmla="*/ 10 h 38"/>
                      <a:gd name="T14" fmla="*/ 8 w 26"/>
                      <a:gd name="T15" fmla="*/ 13 h 3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6" h="38">
                        <a:moveTo>
                          <a:pt x="26" y="38"/>
                        </a:moveTo>
                        <a:lnTo>
                          <a:pt x="26" y="0"/>
                        </a:lnTo>
                        <a:lnTo>
                          <a:pt x="21" y="1"/>
                        </a:lnTo>
                        <a:lnTo>
                          <a:pt x="13" y="4"/>
                        </a:lnTo>
                        <a:lnTo>
                          <a:pt x="6" y="8"/>
                        </a:lnTo>
                        <a:lnTo>
                          <a:pt x="0" y="13"/>
                        </a:lnTo>
                        <a:lnTo>
                          <a:pt x="18" y="30"/>
                        </a:lnTo>
                        <a:lnTo>
                          <a:pt x="26" y="38"/>
                        </a:lnTo>
                      </a:path>
                    </a:pathLst>
                  </a:custGeom>
                  <a:grpFill/>
                  <a:ln w="9525" cmpd="sng">
                    <a:solidFill>
                      <a:srgbClr val="FFFFFF"/>
                    </a:solidFill>
                    <a:prstDash val="solid"/>
                    <a:round/>
                    <a:headEnd/>
                    <a:tailEnd/>
                  </a:ln>
                </p:spPr>
                <p:txBody>
                  <a:bodyPr/>
                  <a:lstStyle/>
                  <a:p>
                    <a:endParaRPr lang="en-GB" sz="1637"/>
                  </a:p>
                </p:txBody>
              </p:sp>
              <p:sp>
                <p:nvSpPr>
                  <p:cNvPr id="397" name="Freeform 296"/>
                  <p:cNvSpPr>
                    <a:spLocks/>
                  </p:cNvSpPr>
                  <p:nvPr/>
                </p:nvSpPr>
                <p:spPr bwMode="auto">
                  <a:xfrm>
                    <a:off x="5165" y="2420"/>
                    <a:ext cx="10" cy="10"/>
                  </a:xfrm>
                  <a:custGeom>
                    <a:avLst/>
                    <a:gdLst>
                      <a:gd name="T0" fmla="*/ 0 w 34"/>
                      <a:gd name="T1" fmla="*/ 6 h 31"/>
                      <a:gd name="T2" fmla="*/ 2 w 34"/>
                      <a:gd name="T3" fmla="*/ 7 h 31"/>
                      <a:gd name="T4" fmla="*/ 5 w 34"/>
                      <a:gd name="T5" fmla="*/ 8 h 31"/>
                      <a:gd name="T6" fmla="*/ 8 w 34"/>
                      <a:gd name="T7" fmla="*/ 10 h 31"/>
                      <a:gd name="T8" fmla="*/ 10 w 34"/>
                      <a:gd name="T9" fmla="*/ 10 h 31"/>
                      <a:gd name="T10" fmla="*/ 10 w 34"/>
                      <a:gd name="T11" fmla="*/ 8 h 31"/>
                      <a:gd name="T12" fmla="*/ 9 w 34"/>
                      <a:gd name="T13" fmla="*/ 5 h 31"/>
                      <a:gd name="T14" fmla="*/ 8 w 34"/>
                      <a:gd name="T15" fmla="*/ 2 h 31"/>
                      <a:gd name="T16" fmla="*/ 6 w 34"/>
                      <a:gd name="T17" fmla="*/ 0 h 31"/>
                      <a:gd name="T18" fmla="*/ 5 w 34"/>
                      <a:gd name="T19" fmla="*/ 2 h 31"/>
                      <a:gd name="T20" fmla="*/ 3 w 34"/>
                      <a:gd name="T21" fmla="*/ 4 h 31"/>
                      <a:gd name="T22" fmla="*/ 2 w 34"/>
                      <a:gd name="T23" fmla="*/ 5 h 31"/>
                      <a:gd name="T24" fmla="*/ 2 w 34"/>
                      <a:gd name="T25" fmla="*/ 5 h 31"/>
                      <a:gd name="T26" fmla="*/ 1 w 34"/>
                      <a:gd name="T27" fmla="*/ 6 h 31"/>
                      <a:gd name="T28" fmla="*/ 0 w 34"/>
                      <a:gd name="T29" fmla="*/ 6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4" h="31">
                        <a:moveTo>
                          <a:pt x="0" y="18"/>
                        </a:moveTo>
                        <a:lnTo>
                          <a:pt x="8" y="22"/>
                        </a:lnTo>
                        <a:lnTo>
                          <a:pt x="17" y="26"/>
                        </a:lnTo>
                        <a:lnTo>
                          <a:pt x="27" y="30"/>
                        </a:lnTo>
                        <a:lnTo>
                          <a:pt x="34" y="31"/>
                        </a:lnTo>
                        <a:lnTo>
                          <a:pt x="33" y="24"/>
                        </a:lnTo>
                        <a:lnTo>
                          <a:pt x="30" y="15"/>
                        </a:lnTo>
                        <a:lnTo>
                          <a:pt x="26" y="6"/>
                        </a:lnTo>
                        <a:lnTo>
                          <a:pt x="20" y="0"/>
                        </a:lnTo>
                        <a:lnTo>
                          <a:pt x="16" y="5"/>
                        </a:lnTo>
                        <a:lnTo>
                          <a:pt x="10" y="11"/>
                        </a:lnTo>
                        <a:lnTo>
                          <a:pt x="8" y="14"/>
                        </a:lnTo>
                        <a:lnTo>
                          <a:pt x="6" y="16"/>
                        </a:lnTo>
                        <a:lnTo>
                          <a:pt x="4" y="18"/>
                        </a:lnTo>
                        <a:lnTo>
                          <a:pt x="0" y="18"/>
                        </a:lnTo>
                      </a:path>
                    </a:pathLst>
                  </a:custGeom>
                  <a:grpFill/>
                  <a:ln w="9525" cmpd="sng">
                    <a:solidFill>
                      <a:srgbClr val="FFFFFF"/>
                    </a:solidFill>
                    <a:prstDash val="solid"/>
                    <a:round/>
                    <a:headEnd/>
                    <a:tailEnd/>
                  </a:ln>
                </p:spPr>
                <p:txBody>
                  <a:bodyPr/>
                  <a:lstStyle/>
                  <a:p>
                    <a:endParaRPr lang="en-GB" sz="1637"/>
                  </a:p>
                </p:txBody>
              </p:sp>
              <p:sp>
                <p:nvSpPr>
                  <p:cNvPr id="398" name="Freeform 297"/>
                  <p:cNvSpPr>
                    <a:spLocks/>
                  </p:cNvSpPr>
                  <p:nvPr/>
                </p:nvSpPr>
                <p:spPr bwMode="auto">
                  <a:xfrm>
                    <a:off x="5139" y="2418"/>
                    <a:ext cx="6" cy="12"/>
                  </a:xfrm>
                  <a:custGeom>
                    <a:avLst/>
                    <a:gdLst>
                      <a:gd name="T0" fmla="*/ 0 w 20"/>
                      <a:gd name="T1" fmla="*/ 2 h 37"/>
                      <a:gd name="T2" fmla="*/ 0 w 20"/>
                      <a:gd name="T3" fmla="*/ 12 h 37"/>
                      <a:gd name="T4" fmla="*/ 2 w 20"/>
                      <a:gd name="T5" fmla="*/ 11 h 37"/>
                      <a:gd name="T6" fmla="*/ 6 w 20"/>
                      <a:gd name="T7" fmla="*/ 10 h 37"/>
                      <a:gd name="T8" fmla="*/ 6 w 20"/>
                      <a:gd name="T9" fmla="*/ 0 h 37"/>
                      <a:gd name="T10" fmla="*/ 0 w 20"/>
                      <a:gd name="T11" fmla="*/ 2 h 3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 h="37">
                        <a:moveTo>
                          <a:pt x="0" y="6"/>
                        </a:moveTo>
                        <a:lnTo>
                          <a:pt x="0" y="37"/>
                        </a:lnTo>
                        <a:lnTo>
                          <a:pt x="7" y="33"/>
                        </a:lnTo>
                        <a:lnTo>
                          <a:pt x="20" y="30"/>
                        </a:lnTo>
                        <a:lnTo>
                          <a:pt x="20" y="0"/>
                        </a:lnTo>
                        <a:lnTo>
                          <a:pt x="0" y="6"/>
                        </a:lnTo>
                      </a:path>
                    </a:pathLst>
                  </a:custGeom>
                  <a:grpFill/>
                  <a:ln w="9525" cmpd="sng">
                    <a:solidFill>
                      <a:srgbClr val="FFFFFF"/>
                    </a:solidFill>
                    <a:prstDash val="solid"/>
                    <a:round/>
                    <a:headEnd/>
                    <a:tailEnd/>
                  </a:ln>
                </p:spPr>
                <p:txBody>
                  <a:bodyPr/>
                  <a:lstStyle/>
                  <a:p>
                    <a:endParaRPr lang="en-GB" sz="1637"/>
                  </a:p>
                </p:txBody>
              </p:sp>
              <p:sp>
                <p:nvSpPr>
                  <p:cNvPr id="399" name="Line 298"/>
                  <p:cNvSpPr>
                    <a:spLocks noChangeShapeType="1"/>
                  </p:cNvSpPr>
                  <p:nvPr/>
                </p:nvSpPr>
                <p:spPr bwMode="auto">
                  <a:xfrm>
                    <a:off x="5180" y="2449"/>
                    <a:ext cx="1" cy="10"/>
                  </a:xfrm>
                  <a:prstGeom prst="line">
                    <a:avLst/>
                  </a:prstGeom>
                  <a:grpFill/>
                  <a:ln w="9525">
                    <a:solidFill>
                      <a:srgbClr val="FFFFFF"/>
                    </a:solidFill>
                    <a:round/>
                    <a:headEnd/>
                    <a:tailEnd/>
                  </a:ln>
                </p:spPr>
                <p:txBody>
                  <a:bodyPr/>
                  <a:lstStyle/>
                  <a:p>
                    <a:endParaRPr lang="en-GB" sz="1637"/>
                  </a:p>
                </p:txBody>
              </p:sp>
              <p:sp>
                <p:nvSpPr>
                  <p:cNvPr id="400" name="Freeform 299"/>
                  <p:cNvSpPr>
                    <a:spLocks/>
                  </p:cNvSpPr>
                  <p:nvPr/>
                </p:nvSpPr>
                <p:spPr bwMode="auto">
                  <a:xfrm>
                    <a:off x="5180" y="2453"/>
                    <a:ext cx="4" cy="6"/>
                  </a:xfrm>
                  <a:custGeom>
                    <a:avLst/>
                    <a:gdLst>
                      <a:gd name="T0" fmla="*/ 0 w 13"/>
                      <a:gd name="T1" fmla="*/ 6 h 18"/>
                      <a:gd name="T2" fmla="*/ 0 w 13"/>
                      <a:gd name="T3" fmla="*/ 4 h 18"/>
                      <a:gd name="T4" fmla="*/ 1 w 13"/>
                      <a:gd name="T5" fmla="*/ 3 h 18"/>
                      <a:gd name="T6" fmla="*/ 2 w 13"/>
                      <a:gd name="T7" fmla="*/ 1 h 18"/>
                      <a:gd name="T8" fmla="*/ 4 w 13"/>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 h="18">
                        <a:moveTo>
                          <a:pt x="0" y="18"/>
                        </a:moveTo>
                        <a:lnTo>
                          <a:pt x="1" y="13"/>
                        </a:lnTo>
                        <a:lnTo>
                          <a:pt x="3" y="9"/>
                        </a:lnTo>
                        <a:lnTo>
                          <a:pt x="7" y="4"/>
                        </a:lnTo>
                        <a:lnTo>
                          <a:pt x="13" y="0"/>
                        </a:lnTo>
                      </a:path>
                    </a:pathLst>
                  </a:custGeom>
                  <a:grpFill/>
                  <a:ln w="9525" cmpd="sng">
                    <a:solidFill>
                      <a:srgbClr val="FFFFFF"/>
                    </a:solidFill>
                    <a:prstDash val="solid"/>
                    <a:round/>
                    <a:headEnd/>
                    <a:tailEnd/>
                  </a:ln>
                </p:spPr>
                <p:txBody>
                  <a:bodyPr/>
                  <a:lstStyle/>
                  <a:p>
                    <a:endParaRPr lang="en-GB" sz="1637"/>
                  </a:p>
                </p:txBody>
              </p:sp>
              <p:sp>
                <p:nvSpPr>
                  <p:cNvPr id="401" name="Line 300"/>
                  <p:cNvSpPr>
                    <a:spLocks noChangeShapeType="1"/>
                  </p:cNvSpPr>
                  <p:nvPr/>
                </p:nvSpPr>
                <p:spPr bwMode="auto">
                  <a:xfrm flipH="1" flipV="1">
                    <a:off x="5178" y="2447"/>
                    <a:ext cx="6" cy="6"/>
                  </a:xfrm>
                  <a:prstGeom prst="line">
                    <a:avLst/>
                  </a:prstGeom>
                  <a:grpFill/>
                  <a:ln w="9525">
                    <a:solidFill>
                      <a:srgbClr val="FFFFFF"/>
                    </a:solidFill>
                    <a:round/>
                    <a:headEnd/>
                    <a:tailEnd/>
                  </a:ln>
                </p:spPr>
                <p:txBody>
                  <a:bodyPr/>
                  <a:lstStyle/>
                  <a:p>
                    <a:endParaRPr lang="en-GB" sz="1637"/>
                  </a:p>
                </p:txBody>
              </p:sp>
              <p:sp>
                <p:nvSpPr>
                  <p:cNvPr id="402" name="Freeform 301"/>
                  <p:cNvSpPr>
                    <a:spLocks/>
                  </p:cNvSpPr>
                  <p:nvPr/>
                </p:nvSpPr>
                <p:spPr bwMode="auto">
                  <a:xfrm>
                    <a:off x="5116" y="2564"/>
                    <a:ext cx="9" cy="10"/>
                  </a:xfrm>
                  <a:custGeom>
                    <a:avLst/>
                    <a:gdLst>
                      <a:gd name="T0" fmla="*/ 0 w 27"/>
                      <a:gd name="T1" fmla="*/ 0 h 31"/>
                      <a:gd name="T2" fmla="*/ 7 w 27"/>
                      <a:gd name="T3" fmla="*/ 10 h 31"/>
                      <a:gd name="T4" fmla="*/ 9 w 27"/>
                      <a:gd name="T5" fmla="*/ 4 h 31"/>
                      <a:gd name="T6" fmla="*/ 0 60000 65536"/>
                      <a:gd name="T7" fmla="*/ 0 60000 65536"/>
                      <a:gd name="T8" fmla="*/ 0 60000 65536"/>
                    </a:gdLst>
                    <a:ahLst/>
                    <a:cxnLst>
                      <a:cxn ang="T6">
                        <a:pos x="T0" y="T1"/>
                      </a:cxn>
                      <a:cxn ang="T7">
                        <a:pos x="T2" y="T3"/>
                      </a:cxn>
                      <a:cxn ang="T8">
                        <a:pos x="T4" y="T5"/>
                      </a:cxn>
                    </a:cxnLst>
                    <a:rect l="0" t="0" r="r" b="b"/>
                    <a:pathLst>
                      <a:path w="27" h="31">
                        <a:moveTo>
                          <a:pt x="0" y="0"/>
                        </a:moveTo>
                        <a:lnTo>
                          <a:pt x="20" y="31"/>
                        </a:lnTo>
                        <a:lnTo>
                          <a:pt x="27" y="13"/>
                        </a:lnTo>
                      </a:path>
                    </a:pathLst>
                  </a:custGeom>
                  <a:grpFill/>
                  <a:ln w="9525" cmpd="sng">
                    <a:solidFill>
                      <a:srgbClr val="FFFFFF"/>
                    </a:solidFill>
                    <a:prstDash val="solid"/>
                    <a:round/>
                    <a:headEnd/>
                    <a:tailEnd/>
                  </a:ln>
                </p:spPr>
                <p:txBody>
                  <a:bodyPr/>
                  <a:lstStyle/>
                  <a:p>
                    <a:endParaRPr lang="en-GB" sz="1637"/>
                  </a:p>
                </p:txBody>
              </p:sp>
              <p:sp>
                <p:nvSpPr>
                  <p:cNvPr id="403" name="Freeform 302"/>
                  <p:cNvSpPr>
                    <a:spLocks/>
                  </p:cNvSpPr>
                  <p:nvPr/>
                </p:nvSpPr>
                <p:spPr bwMode="auto">
                  <a:xfrm>
                    <a:off x="5119" y="2568"/>
                    <a:ext cx="6" cy="1"/>
                  </a:xfrm>
                  <a:custGeom>
                    <a:avLst/>
                    <a:gdLst>
                      <a:gd name="T0" fmla="*/ 6 w 20"/>
                      <a:gd name="T1" fmla="*/ 0 h 1"/>
                      <a:gd name="T2" fmla="*/ 3 w 20"/>
                      <a:gd name="T3" fmla="*/ 0 h 1"/>
                      <a:gd name="T4" fmla="*/ 0 w 20"/>
                      <a:gd name="T5" fmla="*/ 0 h 1"/>
                      <a:gd name="T6" fmla="*/ 0 60000 65536"/>
                      <a:gd name="T7" fmla="*/ 0 60000 65536"/>
                      <a:gd name="T8" fmla="*/ 0 60000 65536"/>
                    </a:gdLst>
                    <a:ahLst/>
                    <a:cxnLst>
                      <a:cxn ang="T6">
                        <a:pos x="T0" y="T1"/>
                      </a:cxn>
                      <a:cxn ang="T7">
                        <a:pos x="T2" y="T3"/>
                      </a:cxn>
                      <a:cxn ang="T8">
                        <a:pos x="T4" y="T5"/>
                      </a:cxn>
                    </a:cxnLst>
                    <a:rect l="0" t="0" r="r" b="b"/>
                    <a:pathLst>
                      <a:path w="20" h="1">
                        <a:moveTo>
                          <a:pt x="20" y="0"/>
                        </a:moveTo>
                        <a:lnTo>
                          <a:pt x="10" y="0"/>
                        </a:lnTo>
                        <a:lnTo>
                          <a:pt x="0" y="0"/>
                        </a:lnTo>
                      </a:path>
                    </a:pathLst>
                  </a:custGeom>
                  <a:grpFill/>
                  <a:ln w="9525" cmpd="sng">
                    <a:solidFill>
                      <a:srgbClr val="FFFFFF"/>
                    </a:solidFill>
                    <a:prstDash val="solid"/>
                    <a:round/>
                    <a:headEnd/>
                    <a:tailEnd/>
                  </a:ln>
                </p:spPr>
                <p:txBody>
                  <a:bodyPr/>
                  <a:lstStyle/>
                  <a:p>
                    <a:endParaRPr lang="en-GB" sz="1637"/>
                  </a:p>
                </p:txBody>
              </p:sp>
              <p:sp>
                <p:nvSpPr>
                  <p:cNvPr id="404" name="Freeform 303"/>
                  <p:cNvSpPr>
                    <a:spLocks/>
                  </p:cNvSpPr>
                  <p:nvPr/>
                </p:nvSpPr>
                <p:spPr bwMode="auto">
                  <a:xfrm>
                    <a:off x="5127" y="2557"/>
                    <a:ext cx="12" cy="5"/>
                  </a:xfrm>
                  <a:custGeom>
                    <a:avLst/>
                    <a:gdLst>
                      <a:gd name="T0" fmla="*/ 0 w 34"/>
                      <a:gd name="T1" fmla="*/ 5 h 13"/>
                      <a:gd name="T2" fmla="*/ 2 w 34"/>
                      <a:gd name="T3" fmla="*/ 5 h 13"/>
                      <a:gd name="T4" fmla="*/ 4 w 34"/>
                      <a:gd name="T5" fmla="*/ 4 h 13"/>
                      <a:gd name="T6" fmla="*/ 6 w 34"/>
                      <a:gd name="T7" fmla="*/ 4 h 13"/>
                      <a:gd name="T8" fmla="*/ 7 w 34"/>
                      <a:gd name="T9" fmla="*/ 3 h 13"/>
                      <a:gd name="T10" fmla="*/ 10 w 34"/>
                      <a:gd name="T11" fmla="*/ 1 h 13"/>
                      <a:gd name="T12" fmla="*/ 12 w 34"/>
                      <a:gd name="T13" fmla="*/ 0 h 13"/>
                      <a:gd name="T14" fmla="*/ 9 w 34"/>
                      <a:gd name="T15" fmla="*/ 0 h 13"/>
                      <a:gd name="T16" fmla="*/ 5 w 34"/>
                      <a:gd name="T17" fmla="*/ 0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4" h="13">
                        <a:moveTo>
                          <a:pt x="0" y="13"/>
                        </a:moveTo>
                        <a:lnTo>
                          <a:pt x="6" y="13"/>
                        </a:lnTo>
                        <a:lnTo>
                          <a:pt x="10" y="11"/>
                        </a:lnTo>
                        <a:lnTo>
                          <a:pt x="16" y="10"/>
                        </a:lnTo>
                        <a:lnTo>
                          <a:pt x="20" y="7"/>
                        </a:lnTo>
                        <a:lnTo>
                          <a:pt x="28" y="2"/>
                        </a:lnTo>
                        <a:lnTo>
                          <a:pt x="34" y="0"/>
                        </a:lnTo>
                        <a:lnTo>
                          <a:pt x="25" y="0"/>
                        </a:lnTo>
                        <a:lnTo>
                          <a:pt x="15" y="0"/>
                        </a:lnTo>
                      </a:path>
                    </a:pathLst>
                  </a:custGeom>
                  <a:grpFill/>
                  <a:ln w="9525" cmpd="sng">
                    <a:solidFill>
                      <a:srgbClr val="FFFFFF"/>
                    </a:solidFill>
                    <a:prstDash val="solid"/>
                    <a:round/>
                    <a:headEnd/>
                    <a:tailEnd/>
                  </a:ln>
                </p:spPr>
                <p:txBody>
                  <a:bodyPr/>
                  <a:lstStyle/>
                  <a:p>
                    <a:endParaRPr lang="en-GB" sz="1637"/>
                  </a:p>
                </p:txBody>
              </p:sp>
              <p:sp>
                <p:nvSpPr>
                  <p:cNvPr id="405" name="Freeform 304"/>
                  <p:cNvSpPr>
                    <a:spLocks/>
                  </p:cNvSpPr>
                  <p:nvPr/>
                </p:nvSpPr>
                <p:spPr bwMode="auto">
                  <a:xfrm>
                    <a:off x="5127" y="2547"/>
                    <a:ext cx="12" cy="6"/>
                  </a:xfrm>
                  <a:custGeom>
                    <a:avLst/>
                    <a:gdLst>
                      <a:gd name="T0" fmla="*/ 12 w 34"/>
                      <a:gd name="T1" fmla="*/ 6 h 18"/>
                      <a:gd name="T2" fmla="*/ 12 w 34"/>
                      <a:gd name="T3" fmla="*/ 0 h 18"/>
                      <a:gd name="T4" fmla="*/ 10 w 34"/>
                      <a:gd name="T5" fmla="*/ 0 h 18"/>
                      <a:gd name="T6" fmla="*/ 7 w 34"/>
                      <a:gd name="T7" fmla="*/ 0 h 18"/>
                      <a:gd name="T8" fmla="*/ 4 w 34"/>
                      <a:gd name="T9" fmla="*/ 0 h 18"/>
                      <a:gd name="T10" fmla="*/ 0 w 34"/>
                      <a:gd name="T11" fmla="*/ 0 h 18"/>
                      <a:gd name="T12" fmla="*/ 12 w 34"/>
                      <a:gd name="T13" fmla="*/ 6 h 1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4" h="18">
                        <a:moveTo>
                          <a:pt x="34" y="18"/>
                        </a:moveTo>
                        <a:lnTo>
                          <a:pt x="34" y="0"/>
                        </a:lnTo>
                        <a:lnTo>
                          <a:pt x="28" y="0"/>
                        </a:lnTo>
                        <a:lnTo>
                          <a:pt x="20" y="0"/>
                        </a:lnTo>
                        <a:lnTo>
                          <a:pt x="10" y="0"/>
                        </a:lnTo>
                        <a:lnTo>
                          <a:pt x="0" y="0"/>
                        </a:lnTo>
                        <a:lnTo>
                          <a:pt x="34" y="18"/>
                        </a:lnTo>
                      </a:path>
                    </a:pathLst>
                  </a:custGeom>
                  <a:grpFill/>
                  <a:ln w="9525" cmpd="sng">
                    <a:solidFill>
                      <a:srgbClr val="FFFFFF"/>
                    </a:solidFill>
                    <a:prstDash val="solid"/>
                    <a:round/>
                    <a:headEnd/>
                    <a:tailEnd/>
                  </a:ln>
                </p:spPr>
                <p:txBody>
                  <a:bodyPr/>
                  <a:lstStyle/>
                  <a:p>
                    <a:endParaRPr lang="en-GB" sz="1637"/>
                  </a:p>
                </p:txBody>
              </p:sp>
              <p:sp>
                <p:nvSpPr>
                  <p:cNvPr id="406" name="Freeform 305"/>
                  <p:cNvSpPr>
                    <a:spLocks/>
                  </p:cNvSpPr>
                  <p:nvPr/>
                </p:nvSpPr>
                <p:spPr bwMode="auto">
                  <a:xfrm>
                    <a:off x="5141" y="2535"/>
                    <a:ext cx="20" cy="8"/>
                  </a:xfrm>
                  <a:custGeom>
                    <a:avLst/>
                    <a:gdLst>
                      <a:gd name="T0" fmla="*/ 18 w 59"/>
                      <a:gd name="T1" fmla="*/ 8 h 25"/>
                      <a:gd name="T2" fmla="*/ 19 w 59"/>
                      <a:gd name="T3" fmla="*/ 4 h 25"/>
                      <a:gd name="T4" fmla="*/ 20 w 59"/>
                      <a:gd name="T5" fmla="*/ 0 h 25"/>
                      <a:gd name="T6" fmla="*/ 15 w 59"/>
                      <a:gd name="T7" fmla="*/ 0 h 25"/>
                      <a:gd name="T8" fmla="*/ 9 w 59"/>
                      <a:gd name="T9" fmla="*/ 0 h 25"/>
                      <a:gd name="T10" fmla="*/ 6 w 59"/>
                      <a:gd name="T11" fmla="*/ 0 h 25"/>
                      <a:gd name="T12" fmla="*/ 4 w 59"/>
                      <a:gd name="T13" fmla="*/ 1 h 25"/>
                      <a:gd name="T14" fmla="*/ 2 w 59"/>
                      <a:gd name="T15" fmla="*/ 1 h 25"/>
                      <a:gd name="T16" fmla="*/ 0 w 59"/>
                      <a:gd name="T17" fmla="*/ 2 h 25"/>
                      <a:gd name="T18" fmla="*/ 4 w 59"/>
                      <a:gd name="T19" fmla="*/ 4 h 25"/>
                      <a:gd name="T20" fmla="*/ 9 w 59"/>
                      <a:gd name="T21" fmla="*/ 6 h 25"/>
                      <a:gd name="T22" fmla="*/ 11 w 59"/>
                      <a:gd name="T23" fmla="*/ 7 h 25"/>
                      <a:gd name="T24" fmla="*/ 13 w 59"/>
                      <a:gd name="T25" fmla="*/ 8 h 25"/>
                      <a:gd name="T26" fmla="*/ 16 w 59"/>
                      <a:gd name="T27" fmla="*/ 8 h 25"/>
                      <a:gd name="T28" fmla="*/ 18 w 59"/>
                      <a:gd name="T29" fmla="*/ 8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59" h="25">
                        <a:moveTo>
                          <a:pt x="53" y="25"/>
                        </a:moveTo>
                        <a:lnTo>
                          <a:pt x="56" y="12"/>
                        </a:lnTo>
                        <a:lnTo>
                          <a:pt x="59" y="0"/>
                        </a:lnTo>
                        <a:lnTo>
                          <a:pt x="44" y="0"/>
                        </a:lnTo>
                        <a:lnTo>
                          <a:pt x="27" y="0"/>
                        </a:lnTo>
                        <a:lnTo>
                          <a:pt x="19" y="1"/>
                        </a:lnTo>
                        <a:lnTo>
                          <a:pt x="12" y="2"/>
                        </a:lnTo>
                        <a:lnTo>
                          <a:pt x="5" y="4"/>
                        </a:lnTo>
                        <a:lnTo>
                          <a:pt x="0" y="6"/>
                        </a:lnTo>
                        <a:lnTo>
                          <a:pt x="13" y="14"/>
                        </a:lnTo>
                        <a:lnTo>
                          <a:pt x="26" y="20"/>
                        </a:lnTo>
                        <a:lnTo>
                          <a:pt x="33" y="22"/>
                        </a:lnTo>
                        <a:lnTo>
                          <a:pt x="38" y="24"/>
                        </a:lnTo>
                        <a:lnTo>
                          <a:pt x="46" y="25"/>
                        </a:lnTo>
                        <a:lnTo>
                          <a:pt x="53" y="25"/>
                        </a:lnTo>
                      </a:path>
                    </a:pathLst>
                  </a:custGeom>
                  <a:grpFill/>
                  <a:ln w="9525" cmpd="sng">
                    <a:solidFill>
                      <a:srgbClr val="FFFFFF"/>
                    </a:solidFill>
                    <a:prstDash val="solid"/>
                    <a:round/>
                    <a:headEnd/>
                    <a:tailEnd/>
                  </a:ln>
                </p:spPr>
                <p:txBody>
                  <a:bodyPr/>
                  <a:lstStyle/>
                  <a:p>
                    <a:endParaRPr lang="en-GB" sz="1637"/>
                  </a:p>
                </p:txBody>
              </p:sp>
              <p:sp>
                <p:nvSpPr>
                  <p:cNvPr id="407" name="Line 306"/>
                  <p:cNvSpPr>
                    <a:spLocks noChangeShapeType="1"/>
                  </p:cNvSpPr>
                  <p:nvPr/>
                </p:nvSpPr>
                <p:spPr bwMode="auto">
                  <a:xfrm flipV="1">
                    <a:off x="5191" y="2516"/>
                    <a:ext cx="6" cy="2"/>
                  </a:xfrm>
                  <a:prstGeom prst="line">
                    <a:avLst/>
                  </a:prstGeom>
                  <a:grpFill/>
                  <a:ln w="9525">
                    <a:solidFill>
                      <a:srgbClr val="FFFFFF"/>
                    </a:solidFill>
                    <a:round/>
                    <a:headEnd/>
                    <a:tailEnd/>
                  </a:ln>
                </p:spPr>
                <p:txBody>
                  <a:bodyPr/>
                  <a:lstStyle/>
                  <a:p>
                    <a:endParaRPr lang="en-GB" sz="1637"/>
                  </a:p>
                </p:txBody>
              </p:sp>
            </p:grpSp>
            <p:sp>
              <p:nvSpPr>
                <p:cNvPr id="341" name="Freeform 307"/>
                <p:cNvSpPr>
                  <a:spLocks/>
                </p:cNvSpPr>
                <p:nvPr>
                  <p:custDataLst>
                    <p:tags r:id="rId213"/>
                  </p:custDataLst>
                </p:nvPr>
              </p:nvSpPr>
              <p:spPr bwMode="auto">
                <a:xfrm>
                  <a:off x="7477334" y="4223706"/>
                  <a:ext cx="15597" cy="62684"/>
                </a:xfrm>
                <a:custGeom>
                  <a:avLst/>
                  <a:gdLst>
                    <a:gd name="T0" fmla="*/ 0 w 33"/>
                    <a:gd name="T1" fmla="*/ 55563 h 43"/>
                    <a:gd name="T2" fmla="*/ 433 w 33"/>
                    <a:gd name="T3" fmla="*/ 43934 h 43"/>
                    <a:gd name="T4" fmla="*/ 866 w 33"/>
                    <a:gd name="T5" fmla="*/ 34888 h 43"/>
                    <a:gd name="T6" fmla="*/ 2165 w 33"/>
                    <a:gd name="T7" fmla="*/ 27135 h 43"/>
                    <a:gd name="T8" fmla="*/ 3897 w 33"/>
                    <a:gd name="T9" fmla="*/ 19382 h 43"/>
                    <a:gd name="T10" fmla="*/ 6062 w 33"/>
                    <a:gd name="T11" fmla="*/ 11629 h 43"/>
                    <a:gd name="T12" fmla="*/ 8659 w 33"/>
                    <a:gd name="T13" fmla="*/ 6461 h 43"/>
                    <a:gd name="T14" fmla="*/ 11257 w 33"/>
                    <a:gd name="T15" fmla="*/ 2584 h 43"/>
                    <a:gd name="T16" fmla="*/ 14288 w 33"/>
                    <a:gd name="T17" fmla="*/ 0 h 43"/>
                    <a:gd name="T18" fmla="*/ 14288 w 33"/>
                    <a:gd name="T19" fmla="*/ 32304 h 43"/>
                    <a:gd name="T20" fmla="*/ 9958 w 33"/>
                    <a:gd name="T21" fmla="*/ 34888 h 43"/>
                    <a:gd name="T22" fmla="*/ 7793 w 33"/>
                    <a:gd name="T23" fmla="*/ 37473 h 43"/>
                    <a:gd name="T24" fmla="*/ 6928 w 33"/>
                    <a:gd name="T25" fmla="*/ 41349 h 43"/>
                    <a:gd name="T26" fmla="*/ 6928 w 33"/>
                    <a:gd name="T27" fmla="*/ 43934 h 43"/>
                    <a:gd name="T28" fmla="*/ 6928 w 33"/>
                    <a:gd name="T29" fmla="*/ 46518 h 43"/>
                    <a:gd name="T30" fmla="*/ 6062 w 33"/>
                    <a:gd name="T31" fmla="*/ 49102 h 43"/>
                    <a:gd name="T32" fmla="*/ 4330 w 33"/>
                    <a:gd name="T33" fmla="*/ 52979 h 43"/>
                    <a:gd name="T34" fmla="*/ 0 w 33"/>
                    <a:gd name="T35" fmla="*/ 55563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3" h="43">
                      <a:moveTo>
                        <a:pt x="0" y="43"/>
                      </a:moveTo>
                      <a:lnTo>
                        <a:pt x="1" y="34"/>
                      </a:lnTo>
                      <a:lnTo>
                        <a:pt x="2" y="27"/>
                      </a:lnTo>
                      <a:lnTo>
                        <a:pt x="5" y="21"/>
                      </a:lnTo>
                      <a:lnTo>
                        <a:pt x="9" y="15"/>
                      </a:lnTo>
                      <a:lnTo>
                        <a:pt x="14" y="9"/>
                      </a:lnTo>
                      <a:lnTo>
                        <a:pt x="20" y="5"/>
                      </a:lnTo>
                      <a:lnTo>
                        <a:pt x="26" y="2"/>
                      </a:lnTo>
                      <a:lnTo>
                        <a:pt x="33" y="0"/>
                      </a:lnTo>
                      <a:lnTo>
                        <a:pt x="33" y="25"/>
                      </a:lnTo>
                      <a:lnTo>
                        <a:pt x="23" y="27"/>
                      </a:lnTo>
                      <a:lnTo>
                        <a:pt x="18" y="29"/>
                      </a:lnTo>
                      <a:lnTo>
                        <a:pt x="16" y="32"/>
                      </a:lnTo>
                      <a:lnTo>
                        <a:pt x="16" y="34"/>
                      </a:lnTo>
                      <a:lnTo>
                        <a:pt x="16" y="36"/>
                      </a:lnTo>
                      <a:lnTo>
                        <a:pt x="14" y="38"/>
                      </a:lnTo>
                      <a:lnTo>
                        <a:pt x="10" y="41"/>
                      </a:lnTo>
                      <a:lnTo>
                        <a:pt x="0" y="43"/>
                      </a:lnTo>
                    </a:path>
                  </a:pathLst>
                </a:custGeom>
                <a:grpFill/>
                <a:ln w="9525" cap="flat" cmpd="sng">
                  <a:solidFill>
                    <a:srgbClr val="FFFFFF"/>
                  </a:solidFill>
                  <a:prstDash val="solid"/>
                  <a:round/>
                  <a:headEnd type="none" w="med" len="med"/>
                  <a:tailEnd type="none" w="med" len="med"/>
                </a:ln>
                <a:effectLst/>
              </p:spPr>
              <p:txBody>
                <a:bodyPr/>
                <a:lstStyle/>
                <a:p>
                  <a:endParaRPr lang="en-GB" sz="1637"/>
                </a:p>
              </p:txBody>
            </p:sp>
            <p:sp>
              <p:nvSpPr>
                <p:cNvPr id="342" name="Freeform 308"/>
                <p:cNvSpPr>
                  <a:spLocks/>
                </p:cNvSpPr>
                <p:nvPr>
                  <p:custDataLst>
                    <p:tags r:id="rId214"/>
                  </p:custDataLst>
                </p:nvPr>
              </p:nvSpPr>
              <p:spPr bwMode="auto">
                <a:xfrm>
                  <a:off x="7560517" y="4155649"/>
                  <a:ext cx="24262" cy="66266"/>
                </a:xfrm>
                <a:custGeom>
                  <a:avLst/>
                  <a:gdLst>
                    <a:gd name="T0" fmla="*/ 0 w 54"/>
                    <a:gd name="T1" fmla="*/ 35115 h 92"/>
                    <a:gd name="T2" fmla="*/ 412 w 54"/>
                    <a:gd name="T3" fmla="*/ 32561 h 92"/>
                    <a:gd name="T4" fmla="*/ 823 w 54"/>
                    <a:gd name="T5" fmla="*/ 29369 h 92"/>
                    <a:gd name="T6" fmla="*/ 1235 w 54"/>
                    <a:gd name="T7" fmla="*/ 26815 h 92"/>
                    <a:gd name="T8" fmla="*/ 2469 w 54"/>
                    <a:gd name="T9" fmla="*/ 23623 h 92"/>
                    <a:gd name="T10" fmla="*/ 4527 w 54"/>
                    <a:gd name="T11" fmla="*/ 18515 h 92"/>
                    <a:gd name="T12" fmla="*/ 7408 w 54"/>
                    <a:gd name="T13" fmla="*/ 13408 h 92"/>
                    <a:gd name="T14" fmla="*/ 12759 w 54"/>
                    <a:gd name="T15" fmla="*/ 4469 h 92"/>
                    <a:gd name="T16" fmla="*/ 16875 w 54"/>
                    <a:gd name="T17" fmla="*/ 0 h 92"/>
                    <a:gd name="T18" fmla="*/ 22225 w 54"/>
                    <a:gd name="T19" fmla="*/ 7661 h 92"/>
                    <a:gd name="T20" fmla="*/ 20990 w 54"/>
                    <a:gd name="T21" fmla="*/ 13408 h 92"/>
                    <a:gd name="T22" fmla="*/ 19344 w 54"/>
                    <a:gd name="T23" fmla="*/ 18515 h 92"/>
                    <a:gd name="T24" fmla="*/ 18109 w 54"/>
                    <a:gd name="T25" fmla="*/ 22346 h 92"/>
                    <a:gd name="T26" fmla="*/ 16875 w 54"/>
                    <a:gd name="T27" fmla="*/ 26177 h 92"/>
                    <a:gd name="T28" fmla="*/ 13582 w 54"/>
                    <a:gd name="T29" fmla="*/ 31284 h 92"/>
                    <a:gd name="T30" fmla="*/ 11524 w 54"/>
                    <a:gd name="T31" fmla="*/ 35115 h 92"/>
                    <a:gd name="T32" fmla="*/ 10701 w 54"/>
                    <a:gd name="T33" fmla="*/ 40861 h 92"/>
                    <a:gd name="T34" fmla="*/ 10701 w 54"/>
                    <a:gd name="T35" fmla="*/ 47246 h 92"/>
                    <a:gd name="T36" fmla="*/ 9878 w 54"/>
                    <a:gd name="T37" fmla="*/ 52992 h 92"/>
                    <a:gd name="T38" fmla="*/ 8231 w 54"/>
                    <a:gd name="T39" fmla="*/ 58738 h 92"/>
                    <a:gd name="T40" fmla="*/ 5762 w 54"/>
                    <a:gd name="T41" fmla="*/ 52992 h 92"/>
                    <a:gd name="T42" fmla="*/ 3293 w 54"/>
                    <a:gd name="T43" fmla="*/ 47246 h 92"/>
                    <a:gd name="T44" fmla="*/ 2058 w 54"/>
                    <a:gd name="T45" fmla="*/ 44692 h 92"/>
                    <a:gd name="T46" fmla="*/ 823 w 54"/>
                    <a:gd name="T47" fmla="*/ 40861 h 92"/>
                    <a:gd name="T48" fmla="*/ 412 w 54"/>
                    <a:gd name="T49" fmla="*/ 38307 h 92"/>
                    <a:gd name="T50" fmla="*/ 0 w 54"/>
                    <a:gd name="T51" fmla="*/ 35115 h 9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54" h="92">
                      <a:moveTo>
                        <a:pt x="0" y="55"/>
                      </a:moveTo>
                      <a:lnTo>
                        <a:pt x="1" y="51"/>
                      </a:lnTo>
                      <a:lnTo>
                        <a:pt x="2" y="46"/>
                      </a:lnTo>
                      <a:lnTo>
                        <a:pt x="3" y="42"/>
                      </a:lnTo>
                      <a:lnTo>
                        <a:pt x="6" y="37"/>
                      </a:lnTo>
                      <a:lnTo>
                        <a:pt x="11" y="29"/>
                      </a:lnTo>
                      <a:lnTo>
                        <a:pt x="18" y="21"/>
                      </a:lnTo>
                      <a:lnTo>
                        <a:pt x="31" y="7"/>
                      </a:lnTo>
                      <a:lnTo>
                        <a:pt x="41" y="0"/>
                      </a:lnTo>
                      <a:lnTo>
                        <a:pt x="54" y="12"/>
                      </a:lnTo>
                      <a:lnTo>
                        <a:pt x="51" y="21"/>
                      </a:lnTo>
                      <a:lnTo>
                        <a:pt x="47" y="29"/>
                      </a:lnTo>
                      <a:lnTo>
                        <a:pt x="44" y="35"/>
                      </a:lnTo>
                      <a:lnTo>
                        <a:pt x="41" y="41"/>
                      </a:lnTo>
                      <a:lnTo>
                        <a:pt x="33" y="49"/>
                      </a:lnTo>
                      <a:lnTo>
                        <a:pt x="28" y="55"/>
                      </a:lnTo>
                      <a:lnTo>
                        <a:pt x="26" y="64"/>
                      </a:lnTo>
                      <a:lnTo>
                        <a:pt x="26" y="74"/>
                      </a:lnTo>
                      <a:lnTo>
                        <a:pt x="24" y="83"/>
                      </a:lnTo>
                      <a:lnTo>
                        <a:pt x="20" y="92"/>
                      </a:lnTo>
                      <a:lnTo>
                        <a:pt x="14" y="83"/>
                      </a:lnTo>
                      <a:lnTo>
                        <a:pt x="8" y="74"/>
                      </a:lnTo>
                      <a:lnTo>
                        <a:pt x="5" y="70"/>
                      </a:lnTo>
                      <a:lnTo>
                        <a:pt x="2" y="64"/>
                      </a:lnTo>
                      <a:lnTo>
                        <a:pt x="1" y="60"/>
                      </a:lnTo>
                      <a:lnTo>
                        <a:pt x="0" y="55"/>
                      </a:lnTo>
                    </a:path>
                  </a:pathLst>
                </a:custGeom>
                <a:grpFill/>
                <a:ln w="9525" cap="flat" cmpd="sng">
                  <a:solidFill>
                    <a:srgbClr val="FFFFFF"/>
                  </a:solidFill>
                  <a:prstDash val="solid"/>
                  <a:round/>
                  <a:headEnd type="none" w="med" len="med"/>
                  <a:tailEnd type="none" w="med" len="med"/>
                </a:ln>
                <a:effectLst/>
              </p:spPr>
              <p:txBody>
                <a:bodyPr/>
                <a:lstStyle/>
                <a:p>
                  <a:endParaRPr lang="en-GB" sz="1637"/>
                </a:p>
              </p:txBody>
            </p:sp>
            <p:sp>
              <p:nvSpPr>
                <p:cNvPr id="343" name="Freeform 309"/>
                <p:cNvSpPr>
                  <a:spLocks/>
                </p:cNvSpPr>
                <p:nvPr>
                  <p:custDataLst>
                    <p:tags r:id="rId215"/>
                  </p:custDataLst>
                </p:nvPr>
              </p:nvSpPr>
              <p:spPr bwMode="auto">
                <a:xfrm>
                  <a:off x="7612506" y="4019536"/>
                  <a:ext cx="25995" cy="64475"/>
                </a:xfrm>
                <a:custGeom>
                  <a:avLst/>
                  <a:gdLst>
                    <a:gd name="T0" fmla="*/ 0 w 60"/>
                    <a:gd name="T1" fmla="*/ 0 h 18"/>
                    <a:gd name="T2" fmla="*/ 7541 w 60"/>
                    <a:gd name="T3" fmla="*/ 12700 h 18"/>
                    <a:gd name="T4" fmla="*/ 14685 w 60"/>
                    <a:gd name="T5" fmla="*/ 28575 h 18"/>
                    <a:gd name="T6" fmla="*/ 17860 w 60"/>
                    <a:gd name="T7" fmla="*/ 34925 h 18"/>
                    <a:gd name="T8" fmla="*/ 20241 w 60"/>
                    <a:gd name="T9" fmla="*/ 41275 h 18"/>
                    <a:gd name="T10" fmla="*/ 22225 w 60"/>
                    <a:gd name="T11" fmla="*/ 50800 h 18"/>
                    <a:gd name="T12" fmla="*/ 23813 w 60"/>
                    <a:gd name="T13" fmla="*/ 57150 h 18"/>
                    <a:gd name="T14" fmla="*/ 15082 w 60"/>
                    <a:gd name="T15" fmla="*/ 57150 h 18"/>
                    <a:gd name="T16" fmla="*/ 9128 w 60"/>
                    <a:gd name="T17" fmla="*/ 57150 h 18"/>
                    <a:gd name="T18" fmla="*/ 3969 w 60"/>
                    <a:gd name="T19" fmla="*/ 57150 h 18"/>
                    <a:gd name="T20" fmla="*/ 0 w 60"/>
                    <a:gd name="T21" fmla="*/ 57150 h 18"/>
                    <a:gd name="T22" fmla="*/ 0 w 6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60" h="18">
                      <a:moveTo>
                        <a:pt x="0" y="0"/>
                      </a:moveTo>
                      <a:lnTo>
                        <a:pt x="19" y="4"/>
                      </a:lnTo>
                      <a:lnTo>
                        <a:pt x="37" y="9"/>
                      </a:lnTo>
                      <a:lnTo>
                        <a:pt x="45" y="11"/>
                      </a:lnTo>
                      <a:lnTo>
                        <a:pt x="51" y="13"/>
                      </a:lnTo>
                      <a:lnTo>
                        <a:pt x="56" y="16"/>
                      </a:lnTo>
                      <a:lnTo>
                        <a:pt x="60" y="18"/>
                      </a:lnTo>
                      <a:lnTo>
                        <a:pt x="38" y="18"/>
                      </a:lnTo>
                      <a:lnTo>
                        <a:pt x="23" y="18"/>
                      </a:lnTo>
                      <a:lnTo>
                        <a:pt x="10" y="18"/>
                      </a:lnTo>
                      <a:lnTo>
                        <a:pt x="0" y="18"/>
                      </a:lnTo>
                      <a:lnTo>
                        <a:pt x="0" y="0"/>
                      </a:lnTo>
                    </a:path>
                  </a:pathLst>
                </a:custGeom>
                <a:grpFill/>
                <a:ln w="9525" cap="flat" cmpd="sng">
                  <a:solidFill>
                    <a:srgbClr val="FFFFFF"/>
                  </a:solidFill>
                  <a:prstDash val="solid"/>
                  <a:round/>
                  <a:headEnd type="none" w="med" len="med"/>
                  <a:tailEnd type="none" w="med" len="med"/>
                </a:ln>
                <a:effectLst/>
              </p:spPr>
              <p:txBody>
                <a:bodyPr/>
                <a:lstStyle/>
                <a:p>
                  <a:endParaRPr lang="en-GB" sz="1637"/>
                </a:p>
              </p:txBody>
            </p:sp>
            <p:sp>
              <p:nvSpPr>
                <p:cNvPr id="344" name="Freeform 310"/>
                <p:cNvSpPr>
                  <a:spLocks/>
                </p:cNvSpPr>
                <p:nvPr>
                  <p:custDataLst>
                    <p:tags r:id="rId216"/>
                  </p:custDataLst>
                </p:nvPr>
              </p:nvSpPr>
              <p:spPr bwMode="auto">
                <a:xfrm>
                  <a:off x="7595176" y="3985508"/>
                  <a:ext cx="27728" cy="64475"/>
                </a:xfrm>
                <a:custGeom>
                  <a:avLst/>
                  <a:gdLst>
                    <a:gd name="T0" fmla="*/ 0 w 66"/>
                    <a:gd name="T1" fmla="*/ 57150 h 18"/>
                    <a:gd name="T2" fmla="*/ 25400 w 66"/>
                    <a:gd name="T3" fmla="*/ 57150 h 18"/>
                    <a:gd name="T4" fmla="*/ 20012 w 66"/>
                    <a:gd name="T5" fmla="*/ 41275 h 18"/>
                    <a:gd name="T6" fmla="*/ 15394 w 66"/>
                    <a:gd name="T7" fmla="*/ 22225 h 18"/>
                    <a:gd name="T8" fmla="*/ 13470 w 66"/>
                    <a:gd name="T9" fmla="*/ 12700 h 18"/>
                    <a:gd name="T10" fmla="*/ 11161 w 66"/>
                    <a:gd name="T11" fmla="*/ 6350 h 18"/>
                    <a:gd name="T12" fmla="*/ 9621 w 66"/>
                    <a:gd name="T13" fmla="*/ 3175 h 18"/>
                    <a:gd name="T14" fmla="*/ 7312 w 66"/>
                    <a:gd name="T15" fmla="*/ 0 h 18"/>
                    <a:gd name="T16" fmla="*/ 0 w 66"/>
                    <a:gd name="T17" fmla="*/ 57150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6" h="18">
                      <a:moveTo>
                        <a:pt x="0" y="18"/>
                      </a:moveTo>
                      <a:lnTo>
                        <a:pt x="66" y="18"/>
                      </a:lnTo>
                      <a:lnTo>
                        <a:pt x="52" y="13"/>
                      </a:lnTo>
                      <a:lnTo>
                        <a:pt x="40" y="7"/>
                      </a:lnTo>
                      <a:lnTo>
                        <a:pt x="35" y="4"/>
                      </a:lnTo>
                      <a:lnTo>
                        <a:pt x="29" y="2"/>
                      </a:lnTo>
                      <a:lnTo>
                        <a:pt x="25" y="1"/>
                      </a:lnTo>
                      <a:lnTo>
                        <a:pt x="19" y="0"/>
                      </a:lnTo>
                      <a:lnTo>
                        <a:pt x="0" y="18"/>
                      </a:lnTo>
                    </a:path>
                  </a:pathLst>
                </a:custGeom>
                <a:grpFill/>
                <a:ln w="9525" cap="flat" cmpd="sng">
                  <a:solidFill>
                    <a:srgbClr val="FFFFFF"/>
                  </a:solidFill>
                  <a:prstDash val="solid"/>
                  <a:round/>
                  <a:headEnd type="none" w="med" len="med"/>
                  <a:tailEnd type="none" w="med" len="med"/>
                </a:ln>
                <a:effectLst/>
              </p:spPr>
              <p:txBody>
                <a:bodyPr/>
                <a:lstStyle/>
                <a:p>
                  <a:endParaRPr lang="en-GB" sz="1637"/>
                </a:p>
              </p:txBody>
            </p:sp>
            <p:sp>
              <p:nvSpPr>
                <p:cNvPr id="345" name="Freeform 311"/>
                <p:cNvSpPr>
                  <a:spLocks/>
                </p:cNvSpPr>
                <p:nvPr>
                  <p:custDataLst>
                    <p:tags r:id="rId217"/>
                  </p:custDataLst>
                </p:nvPr>
              </p:nvSpPr>
              <p:spPr bwMode="auto">
                <a:xfrm>
                  <a:off x="7404549" y="3869095"/>
                  <a:ext cx="8665" cy="64475"/>
                </a:xfrm>
                <a:custGeom>
                  <a:avLst/>
                  <a:gdLst>
                    <a:gd name="T0" fmla="*/ 0 w 17"/>
                    <a:gd name="T1" fmla="*/ 48986 h 42"/>
                    <a:gd name="T2" fmla="*/ 6070 w 17"/>
                    <a:gd name="T3" fmla="*/ 57150 h 42"/>
                    <a:gd name="T4" fmla="*/ 6537 w 17"/>
                    <a:gd name="T5" fmla="*/ 44904 h 42"/>
                    <a:gd name="T6" fmla="*/ 7471 w 17"/>
                    <a:gd name="T7" fmla="*/ 31296 h 42"/>
                    <a:gd name="T8" fmla="*/ 7938 w 17"/>
                    <a:gd name="T9" fmla="*/ 24493 h 42"/>
                    <a:gd name="T10" fmla="*/ 7471 w 17"/>
                    <a:gd name="T11" fmla="*/ 16329 h 42"/>
                    <a:gd name="T12" fmla="*/ 7471 w 17"/>
                    <a:gd name="T13" fmla="*/ 8164 h 42"/>
                    <a:gd name="T14" fmla="*/ 6070 w 17"/>
                    <a:gd name="T15" fmla="*/ 0 h 42"/>
                    <a:gd name="T16" fmla="*/ 0 w 17"/>
                    <a:gd name="T17" fmla="*/ 48986 h 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7" h="42">
                      <a:moveTo>
                        <a:pt x="0" y="36"/>
                      </a:moveTo>
                      <a:lnTo>
                        <a:pt x="13" y="42"/>
                      </a:lnTo>
                      <a:lnTo>
                        <a:pt x="14" y="33"/>
                      </a:lnTo>
                      <a:lnTo>
                        <a:pt x="16" y="23"/>
                      </a:lnTo>
                      <a:lnTo>
                        <a:pt x="17" y="18"/>
                      </a:lnTo>
                      <a:lnTo>
                        <a:pt x="16" y="12"/>
                      </a:lnTo>
                      <a:lnTo>
                        <a:pt x="16" y="6"/>
                      </a:lnTo>
                      <a:lnTo>
                        <a:pt x="13" y="0"/>
                      </a:lnTo>
                      <a:lnTo>
                        <a:pt x="0" y="36"/>
                      </a:lnTo>
                    </a:path>
                  </a:pathLst>
                </a:custGeom>
                <a:grpFill/>
                <a:ln w="9525" cap="flat" cmpd="sng">
                  <a:solidFill>
                    <a:srgbClr val="FFFFFF"/>
                  </a:solidFill>
                  <a:prstDash val="solid"/>
                  <a:round/>
                  <a:headEnd type="none" w="med" len="med"/>
                  <a:tailEnd type="none" w="med" len="med"/>
                </a:ln>
                <a:effectLst/>
              </p:spPr>
              <p:txBody>
                <a:bodyPr/>
                <a:lstStyle/>
                <a:p>
                  <a:endParaRPr lang="en-GB" sz="1637"/>
                </a:p>
              </p:txBody>
            </p:sp>
            <p:sp>
              <p:nvSpPr>
                <p:cNvPr id="346" name="Freeform 312"/>
                <p:cNvSpPr>
                  <a:spLocks/>
                </p:cNvSpPr>
                <p:nvPr>
                  <p:custDataLst>
                    <p:tags r:id="rId218"/>
                  </p:custDataLst>
                </p:nvPr>
              </p:nvSpPr>
              <p:spPr bwMode="auto">
                <a:xfrm>
                  <a:off x="7324832" y="4021327"/>
                  <a:ext cx="32927" cy="66265"/>
                </a:xfrm>
                <a:custGeom>
                  <a:avLst/>
                  <a:gdLst>
                    <a:gd name="T0" fmla="*/ 2514 w 72"/>
                    <a:gd name="T1" fmla="*/ 58737 h 29"/>
                    <a:gd name="T2" fmla="*/ 6284 w 72"/>
                    <a:gd name="T3" fmla="*/ 52661 h 29"/>
                    <a:gd name="T4" fmla="*/ 10054 w 72"/>
                    <a:gd name="T5" fmla="*/ 48610 h 29"/>
                    <a:gd name="T6" fmla="*/ 13406 w 72"/>
                    <a:gd name="T7" fmla="*/ 48610 h 29"/>
                    <a:gd name="T8" fmla="*/ 16338 w 72"/>
                    <a:gd name="T9" fmla="*/ 48610 h 29"/>
                    <a:gd name="T10" fmla="*/ 23041 w 72"/>
                    <a:gd name="T11" fmla="*/ 54686 h 29"/>
                    <a:gd name="T12" fmla="*/ 30163 w 72"/>
                    <a:gd name="T13" fmla="*/ 58737 h 29"/>
                    <a:gd name="T14" fmla="*/ 30163 w 72"/>
                    <a:gd name="T15" fmla="*/ 8102 h 29"/>
                    <a:gd name="T16" fmla="*/ 24298 w 72"/>
                    <a:gd name="T17" fmla="*/ 2025 h 29"/>
                    <a:gd name="T18" fmla="*/ 19690 w 72"/>
                    <a:gd name="T19" fmla="*/ 0 h 29"/>
                    <a:gd name="T20" fmla="*/ 16338 w 72"/>
                    <a:gd name="T21" fmla="*/ 0 h 29"/>
                    <a:gd name="T22" fmla="*/ 14244 w 72"/>
                    <a:gd name="T23" fmla="*/ 4051 h 29"/>
                    <a:gd name="T24" fmla="*/ 11311 w 72"/>
                    <a:gd name="T25" fmla="*/ 6076 h 29"/>
                    <a:gd name="T26" fmla="*/ 8798 w 72"/>
                    <a:gd name="T27" fmla="*/ 10127 h 29"/>
                    <a:gd name="T28" fmla="*/ 5027 w 72"/>
                    <a:gd name="T29" fmla="*/ 10127 h 29"/>
                    <a:gd name="T30" fmla="*/ 0 w 72"/>
                    <a:gd name="T31" fmla="*/ 8102 h 29"/>
                    <a:gd name="T32" fmla="*/ 1257 w 72"/>
                    <a:gd name="T33" fmla="*/ 32407 h 29"/>
                    <a:gd name="T34" fmla="*/ 2514 w 72"/>
                    <a:gd name="T35" fmla="*/ 58737 h 2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2" h="29">
                      <a:moveTo>
                        <a:pt x="6" y="29"/>
                      </a:moveTo>
                      <a:lnTo>
                        <a:pt x="15" y="26"/>
                      </a:lnTo>
                      <a:lnTo>
                        <a:pt x="24" y="24"/>
                      </a:lnTo>
                      <a:lnTo>
                        <a:pt x="32" y="24"/>
                      </a:lnTo>
                      <a:lnTo>
                        <a:pt x="39" y="24"/>
                      </a:lnTo>
                      <a:lnTo>
                        <a:pt x="55" y="27"/>
                      </a:lnTo>
                      <a:lnTo>
                        <a:pt x="72" y="29"/>
                      </a:lnTo>
                      <a:lnTo>
                        <a:pt x="72" y="4"/>
                      </a:lnTo>
                      <a:lnTo>
                        <a:pt x="58" y="1"/>
                      </a:lnTo>
                      <a:lnTo>
                        <a:pt x="47" y="0"/>
                      </a:lnTo>
                      <a:lnTo>
                        <a:pt x="39" y="0"/>
                      </a:lnTo>
                      <a:lnTo>
                        <a:pt x="34" y="2"/>
                      </a:lnTo>
                      <a:lnTo>
                        <a:pt x="27" y="3"/>
                      </a:lnTo>
                      <a:lnTo>
                        <a:pt x="21" y="5"/>
                      </a:lnTo>
                      <a:lnTo>
                        <a:pt x="12" y="5"/>
                      </a:lnTo>
                      <a:lnTo>
                        <a:pt x="0" y="4"/>
                      </a:lnTo>
                      <a:lnTo>
                        <a:pt x="3" y="16"/>
                      </a:lnTo>
                      <a:lnTo>
                        <a:pt x="6" y="29"/>
                      </a:lnTo>
                    </a:path>
                  </a:pathLst>
                </a:custGeom>
                <a:grpFill/>
                <a:ln w="9525" cap="flat" cmpd="sng">
                  <a:solidFill>
                    <a:srgbClr val="FFFFFF"/>
                  </a:solidFill>
                  <a:prstDash val="solid"/>
                  <a:round/>
                  <a:headEnd type="none" w="med" len="med"/>
                  <a:tailEnd type="none" w="med" len="med"/>
                </a:ln>
                <a:effectLst/>
              </p:spPr>
              <p:txBody>
                <a:bodyPr/>
                <a:lstStyle/>
                <a:p>
                  <a:endParaRPr lang="en-GB" sz="1637"/>
                </a:p>
              </p:txBody>
            </p:sp>
            <p:sp>
              <p:nvSpPr>
                <p:cNvPr id="347" name="Freeform 313"/>
                <p:cNvSpPr>
                  <a:spLocks/>
                </p:cNvSpPr>
                <p:nvPr>
                  <p:custDataLst>
                    <p:tags r:id="rId219"/>
                  </p:custDataLst>
                </p:nvPr>
              </p:nvSpPr>
              <p:spPr bwMode="auto">
                <a:xfrm>
                  <a:off x="7333497" y="4230870"/>
                  <a:ext cx="20796" cy="62684"/>
                </a:xfrm>
                <a:custGeom>
                  <a:avLst/>
                  <a:gdLst>
                    <a:gd name="T0" fmla="*/ 0 w 46"/>
                    <a:gd name="T1" fmla="*/ 0 h 37"/>
                    <a:gd name="T2" fmla="*/ 3727 w 46"/>
                    <a:gd name="T3" fmla="*/ 13515 h 37"/>
                    <a:gd name="T4" fmla="*/ 8283 w 46"/>
                    <a:gd name="T5" fmla="*/ 22526 h 37"/>
                    <a:gd name="T6" fmla="*/ 12838 w 46"/>
                    <a:gd name="T7" fmla="*/ 30034 h 37"/>
                    <a:gd name="T8" fmla="*/ 19050 w 46"/>
                    <a:gd name="T9" fmla="*/ 37543 h 37"/>
                    <a:gd name="T10" fmla="*/ 15323 w 46"/>
                    <a:gd name="T11" fmla="*/ 43549 h 37"/>
                    <a:gd name="T12" fmla="*/ 12010 w 46"/>
                    <a:gd name="T13" fmla="*/ 49556 h 37"/>
                    <a:gd name="T14" fmla="*/ 8697 w 46"/>
                    <a:gd name="T15" fmla="*/ 54061 h 37"/>
                    <a:gd name="T16" fmla="*/ 5384 w 46"/>
                    <a:gd name="T17" fmla="*/ 55563 h 37"/>
                    <a:gd name="T18" fmla="*/ 3727 w 46"/>
                    <a:gd name="T19" fmla="*/ 54061 h 37"/>
                    <a:gd name="T20" fmla="*/ 2899 w 46"/>
                    <a:gd name="T21" fmla="*/ 49556 h 37"/>
                    <a:gd name="T22" fmla="*/ 2071 w 46"/>
                    <a:gd name="T23" fmla="*/ 43549 h 37"/>
                    <a:gd name="T24" fmla="*/ 1242 w 46"/>
                    <a:gd name="T25" fmla="*/ 34539 h 37"/>
                    <a:gd name="T26" fmla="*/ 414 w 46"/>
                    <a:gd name="T27" fmla="*/ 18020 h 37"/>
                    <a:gd name="T28" fmla="*/ 0 w 46"/>
                    <a:gd name="T29" fmla="*/ 0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6" h="37">
                      <a:moveTo>
                        <a:pt x="0" y="0"/>
                      </a:moveTo>
                      <a:lnTo>
                        <a:pt x="9" y="9"/>
                      </a:lnTo>
                      <a:lnTo>
                        <a:pt x="20" y="15"/>
                      </a:lnTo>
                      <a:lnTo>
                        <a:pt x="31" y="20"/>
                      </a:lnTo>
                      <a:lnTo>
                        <a:pt x="46" y="25"/>
                      </a:lnTo>
                      <a:lnTo>
                        <a:pt x="37" y="29"/>
                      </a:lnTo>
                      <a:lnTo>
                        <a:pt x="29" y="33"/>
                      </a:lnTo>
                      <a:lnTo>
                        <a:pt x="21" y="36"/>
                      </a:lnTo>
                      <a:lnTo>
                        <a:pt x="13" y="37"/>
                      </a:lnTo>
                      <a:lnTo>
                        <a:pt x="9" y="36"/>
                      </a:lnTo>
                      <a:lnTo>
                        <a:pt x="7" y="33"/>
                      </a:lnTo>
                      <a:lnTo>
                        <a:pt x="5" y="29"/>
                      </a:lnTo>
                      <a:lnTo>
                        <a:pt x="3" y="23"/>
                      </a:lnTo>
                      <a:lnTo>
                        <a:pt x="1" y="12"/>
                      </a:lnTo>
                      <a:lnTo>
                        <a:pt x="0" y="0"/>
                      </a:lnTo>
                    </a:path>
                  </a:pathLst>
                </a:custGeom>
                <a:grpFill/>
                <a:ln w="9525" cap="flat" cmpd="sng">
                  <a:solidFill>
                    <a:srgbClr val="FFFFFF"/>
                  </a:solidFill>
                  <a:prstDash val="solid"/>
                  <a:round/>
                  <a:headEnd type="none" w="med" len="med"/>
                  <a:tailEnd type="none" w="med" len="med"/>
                </a:ln>
                <a:effectLst/>
              </p:spPr>
              <p:txBody>
                <a:bodyPr/>
                <a:lstStyle/>
                <a:p>
                  <a:endParaRPr lang="en-GB" sz="1637"/>
                </a:p>
              </p:txBody>
            </p:sp>
            <p:sp>
              <p:nvSpPr>
                <p:cNvPr id="348" name="Freeform 314"/>
                <p:cNvSpPr>
                  <a:spLocks/>
                </p:cNvSpPr>
                <p:nvPr>
                  <p:custDataLst>
                    <p:tags r:id="rId220"/>
                  </p:custDataLst>
                </p:nvPr>
              </p:nvSpPr>
              <p:spPr bwMode="auto">
                <a:xfrm>
                  <a:off x="7456538" y="4026700"/>
                  <a:ext cx="12131" cy="64475"/>
                </a:xfrm>
                <a:custGeom>
                  <a:avLst/>
                  <a:gdLst>
                    <a:gd name="T0" fmla="*/ 0 w 26"/>
                    <a:gd name="T1" fmla="*/ 0 h 19"/>
                    <a:gd name="T2" fmla="*/ 11113 w 26"/>
                    <a:gd name="T3" fmla="*/ 57150 h 19"/>
                    <a:gd name="T4" fmla="*/ 11113 w 26"/>
                    <a:gd name="T5" fmla="*/ 27071 h 19"/>
                    <a:gd name="T6" fmla="*/ 11113 w 26"/>
                    <a:gd name="T7" fmla="*/ 0 h 19"/>
                    <a:gd name="T8" fmla="*/ 6411 w 26"/>
                    <a:gd name="T9" fmla="*/ 0 h 19"/>
                    <a:gd name="T10" fmla="*/ 0 w 26"/>
                    <a:gd name="T11" fmla="*/ 0 h 1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6" h="19">
                      <a:moveTo>
                        <a:pt x="0" y="0"/>
                      </a:moveTo>
                      <a:lnTo>
                        <a:pt x="26" y="19"/>
                      </a:lnTo>
                      <a:lnTo>
                        <a:pt x="26" y="9"/>
                      </a:lnTo>
                      <a:lnTo>
                        <a:pt x="26" y="0"/>
                      </a:lnTo>
                      <a:lnTo>
                        <a:pt x="15" y="0"/>
                      </a:lnTo>
                      <a:lnTo>
                        <a:pt x="0" y="0"/>
                      </a:lnTo>
                    </a:path>
                  </a:pathLst>
                </a:custGeom>
                <a:grpFill/>
                <a:ln w="9525" cap="flat" cmpd="sng">
                  <a:solidFill>
                    <a:srgbClr val="FFFFFF"/>
                  </a:solidFill>
                  <a:prstDash val="solid"/>
                  <a:round/>
                  <a:headEnd type="none" w="med" len="med"/>
                  <a:tailEnd type="none" w="med" len="med"/>
                </a:ln>
                <a:effectLst/>
              </p:spPr>
              <p:txBody>
                <a:bodyPr/>
                <a:lstStyle/>
                <a:p>
                  <a:endParaRPr lang="en-GB" sz="1637"/>
                </a:p>
              </p:txBody>
            </p:sp>
            <p:sp>
              <p:nvSpPr>
                <p:cNvPr id="349" name="Freeform 315"/>
                <p:cNvSpPr>
                  <a:spLocks/>
                </p:cNvSpPr>
                <p:nvPr>
                  <p:custDataLst>
                    <p:tags r:id="rId221"/>
                  </p:custDataLst>
                </p:nvPr>
              </p:nvSpPr>
              <p:spPr bwMode="auto">
                <a:xfrm>
                  <a:off x="7304036" y="4021327"/>
                  <a:ext cx="20796" cy="66265"/>
                </a:xfrm>
                <a:custGeom>
                  <a:avLst/>
                  <a:gdLst>
                    <a:gd name="T0" fmla="*/ 886 w 43"/>
                    <a:gd name="T1" fmla="*/ 0 h 31"/>
                    <a:gd name="T2" fmla="*/ 443 w 43"/>
                    <a:gd name="T3" fmla="*/ 22737 h 31"/>
                    <a:gd name="T4" fmla="*/ 0 w 43"/>
                    <a:gd name="T5" fmla="*/ 43579 h 31"/>
                    <a:gd name="T6" fmla="*/ 0 w 43"/>
                    <a:gd name="T7" fmla="*/ 49263 h 31"/>
                    <a:gd name="T8" fmla="*/ 0 w 43"/>
                    <a:gd name="T9" fmla="*/ 54948 h 31"/>
                    <a:gd name="T10" fmla="*/ 0 w 43"/>
                    <a:gd name="T11" fmla="*/ 58737 h 31"/>
                    <a:gd name="T12" fmla="*/ 886 w 43"/>
                    <a:gd name="T13" fmla="*/ 58737 h 31"/>
                    <a:gd name="T14" fmla="*/ 5759 w 43"/>
                    <a:gd name="T15" fmla="*/ 41684 h 31"/>
                    <a:gd name="T16" fmla="*/ 11076 w 43"/>
                    <a:gd name="T17" fmla="*/ 24632 h 31"/>
                    <a:gd name="T18" fmla="*/ 15506 w 43"/>
                    <a:gd name="T19" fmla="*/ 9474 h 31"/>
                    <a:gd name="T20" fmla="*/ 19050 w 43"/>
                    <a:gd name="T21" fmla="*/ 0 h 31"/>
                    <a:gd name="T22" fmla="*/ 886 w 43"/>
                    <a:gd name="T23" fmla="*/ 0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3" h="31">
                      <a:moveTo>
                        <a:pt x="2" y="0"/>
                      </a:moveTo>
                      <a:lnTo>
                        <a:pt x="1" y="12"/>
                      </a:lnTo>
                      <a:lnTo>
                        <a:pt x="0" y="23"/>
                      </a:lnTo>
                      <a:lnTo>
                        <a:pt x="0" y="26"/>
                      </a:lnTo>
                      <a:lnTo>
                        <a:pt x="0" y="29"/>
                      </a:lnTo>
                      <a:lnTo>
                        <a:pt x="0" y="31"/>
                      </a:lnTo>
                      <a:lnTo>
                        <a:pt x="2" y="31"/>
                      </a:lnTo>
                      <a:lnTo>
                        <a:pt x="13" y="22"/>
                      </a:lnTo>
                      <a:lnTo>
                        <a:pt x="25" y="13"/>
                      </a:lnTo>
                      <a:lnTo>
                        <a:pt x="35" y="5"/>
                      </a:lnTo>
                      <a:lnTo>
                        <a:pt x="43" y="0"/>
                      </a:lnTo>
                      <a:lnTo>
                        <a:pt x="2" y="0"/>
                      </a:lnTo>
                    </a:path>
                  </a:pathLst>
                </a:custGeom>
                <a:grpFill/>
                <a:ln w="9525" cap="flat" cmpd="sng">
                  <a:solidFill>
                    <a:srgbClr val="FFFFFF"/>
                  </a:solidFill>
                  <a:prstDash val="solid"/>
                  <a:round/>
                  <a:headEnd type="none" w="med" len="med"/>
                  <a:tailEnd type="none" w="med" len="med"/>
                </a:ln>
                <a:effectLst/>
              </p:spPr>
              <p:txBody>
                <a:bodyPr/>
                <a:lstStyle/>
                <a:p>
                  <a:endParaRPr lang="en-GB" sz="1637"/>
                </a:p>
              </p:txBody>
            </p:sp>
            <p:sp>
              <p:nvSpPr>
                <p:cNvPr id="350" name="Freeform 316"/>
                <p:cNvSpPr>
                  <a:spLocks/>
                </p:cNvSpPr>
                <p:nvPr>
                  <p:custDataLst>
                    <p:tags r:id="rId222"/>
                  </p:custDataLst>
                </p:nvPr>
              </p:nvSpPr>
              <p:spPr bwMode="auto">
                <a:xfrm>
                  <a:off x="7352559" y="4075056"/>
                  <a:ext cx="32927" cy="64475"/>
                </a:xfrm>
                <a:custGeom>
                  <a:avLst/>
                  <a:gdLst>
                    <a:gd name="T0" fmla="*/ 1699 w 71"/>
                    <a:gd name="T1" fmla="*/ 13996 h 49"/>
                    <a:gd name="T2" fmla="*/ 1699 w 71"/>
                    <a:gd name="T3" fmla="*/ 20994 h 49"/>
                    <a:gd name="T4" fmla="*/ 2124 w 71"/>
                    <a:gd name="T5" fmla="*/ 29158 h 49"/>
                    <a:gd name="T6" fmla="*/ 2974 w 71"/>
                    <a:gd name="T7" fmla="*/ 36156 h 49"/>
                    <a:gd name="T8" fmla="*/ 3823 w 71"/>
                    <a:gd name="T9" fmla="*/ 43154 h 49"/>
                    <a:gd name="T10" fmla="*/ 5948 w 71"/>
                    <a:gd name="T11" fmla="*/ 47819 h 49"/>
                    <a:gd name="T12" fmla="*/ 7647 w 71"/>
                    <a:gd name="T13" fmla="*/ 53651 h 49"/>
                    <a:gd name="T14" fmla="*/ 9771 w 71"/>
                    <a:gd name="T15" fmla="*/ 55984 h 49"/>
                    <a:gd name="T16" fmla="*/ 12745 w 71"/>
                    <a:gd name="T17" fmla="*/ 57150 h 49"/>
                    <a:gd name="T18" fmla="*/ 14869 w 71"/>
                    <a:gd name="T19" fmla="*/ 55984 h 49"/>
                    <a:gd name="T20" fmla="*/ 16993 w 71"/>
                    <a:gd name="T21" fmla="*/ 53651 h 49"/>
                    <a:gd name="T22" fmla="*/ 19117 w 71"/>
                    <a:gd name="T23" fmla="*/ 48986 h 49"/>
                    <a:gd name="T24" fmla="*/ 21242 w 71"/>
                    <a:gd name="T25" fmla="*/ 43154 h 49"/>
                    <a:gd name="T26" fmla="*/ 25490 w 71"/>
                    <a:gd name="T27" fmla="*/ 32657 h 49"/>
                    <a:gd name="T28" fmla="*/ 30163 w 71"/>
                    <a:gd name="T29" fmla="*/ 20994 h 49"/>
                    <a:gd name="T30" fmla="*/ 25915 w 71"/>
                    <a:gd name="T31" fmla="*/ 13996 h 49"/>
                    <a:gd name="T32" fmla="*/ 22091 w 71"/>
                    <a:gd name="T33" fmla="*/ 10497 h 49"/>
                    <a:gd name="T34" fmla="*/ 18693 w 71"/>
                    <a:gd name="T35" fmla="*/ 8164 h 49"/>
                    <a:gd name="T36" fmla="*/ 15719 w 71"/>
                    <a:gd name="T37" fmla="*/ 6998 h 49"/>
                    <a:gd name="T38" fmla="*/ 12320 w 71"/>
                    <a:gd name="T39" fmla="*/ 6998 h 49"/>
                    <a:gd name="T40" fmla="*/ 8921 w 71"/>
                    <a:gd name="T41" fmla="*/ 5832 h 49"/>
                    <a:gd name="T42" fmla="*/ 5948 w 71"/>
                    <a:gd name="T43" fmla="*/ 3499 h 49"/>
                    <a:gd name="T44" fmla="*/ 1699 w 71"/>
                    <a:gd name="T45" fmla="*/ 0 h 49"/>
                    <a:gd name="T46" fmla="*/ 1274 w 71"/>
                    <a:gd name="T47" fmla="*/ 1166 h 49"/>
                    <a:gd name="T48" fmla="*/ 425 w 71"/>
                    <a:gd name="T49" fmla="*/ 6998 h 49"/>
                    <a:gd name="T50" fmla="*/ 0 w 71"/>
                    <a:gd name="T51" fmla="*/ 9331 h 49"/>
                    <a:gd name="T52" fmla="*/ 0 w 71"/>
                    <a:gd name="T53" fmla="*/ 11663 h 49"/>
                    <a:gd name="T54" fmla="*/ 425 w 71"/>
                    <a:gd name="T55" fmla="*/ 12830 h 49"/>
                    <a:gd name="T56" fmla="*/ 1699 w 71"/>
                    <a:gd name="T57" fmla="*/ 13996 h 4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71" h="49">
                      <a:moveTo>
                        <a:pt x="4" y="12"/>
                      </a:moveTo>
                      <a:lnTo>
                        <a:pt x="4" y="18"/>
                      </a:lnTo>
                      <a:lnTo>
                        <a:pt x="5" y="25"/>
                      </a:lnTo>
                      <a:lnTo>
                        <a:pt x="7" y="31"/>
                      </a:lnTo>
                      <a:lnTo>
                        <a:pt x="9" y="37"/>
                      </a:lnTo>
                      <a:lnTo>
                        <a:pt x="14" y="41"/>
                      </a:lnTo>
                      <a:lnTo>
                        <a:pt x="18" y="46"/>
                      </a:lnTo>
                      <a:lnTo>
                        <a:pt x="23" y="48"/>
                      </a:lnTo>
                      <a:lnTo>
                        <a:pt x="30" y="49"/>
                      </a:lnTo>
                      <a:lnTo>
                        <a:pt x="35" y="48"/>
                      </a:lnTo>
                      <a:lnTo>
                        <a:pt x="40" y="46"/>
                      </a:lnTo>
                      <a:lnTo>
                        <a:pt x="45" y="42"/>
                      </a:lnTo>
                      <a:lnTo>
                        <a:pt x="50" y="37"/>
                      </a:lnTo>
                      <a:lnTo>
                        <a:pt x="60" y="28"/>
                      </a:lnTo>
                      <a:lnTo>
                        <a:pt x="71" y="18"/>
                      </a:lnTo>
                      <a:lnTo>
                        <a:pt x="61" y="12"/>
                      </a:lnTo>
                      <a:lnTo>
                        <a:pt x="52" y="9"/>
                      </a:lnTo>
                      <a:lnTo>
                        <a:pt x="44" y="7"/>
                      </a:lnTo>
                      <a:lnTo>
                        <a:pt x="37" y="6"/>
                      </a:lnTo>
                      <a:lnTo>
                        <a:pt x="29" y="6"/>
                      </a:lnTo>
                      <a:lnTo>
                        <a:pt x="21" y="5"/>
                      </a:lnTo>
                      <a:lnTo>
                        <a:pt x="14" y="3"/>
                      </a:lnTo>
                      <a:lnTo>
                        <a:pt x="4" y="0"/>
                      </a:lnTo>
                      <a:lnTo>
                        <a:pt x="3" y="1"/>
                      </a:lnTo>
                      <a:lnTo>
                        <a:pt x="1" y="6"/>
                      </a:lnTo>
                      <a:lnTo>
                        <a:pt x="0" y="8"/>
                      </a:lnTo>
                      <a:lnTo>
                        <a:pt x="0" y="10"/>
                      </a:lnTo>
                      <a:lnTo>
                        <a:pt x="1" y="11"/>
                      </a:lnTo>
                      <a:lnTo>
                        <a:pt x="4" y="12"/>
                      </a:lnTo>
                    </a:path>
                  </a:pathLst>
                </a:custGeom>
                <a:grpFill/>
                <a:ln w="9525" cap="flat" cmpd="sng">
                  <a:solidFill>
                    <a:srgbClr val="FFFFFF"/>
                  </a:solidFill>
                  <a:prstDash val="solid"/>
                  <a:round/>
                  <a:headEnd type="none" w="med" len="med"/>
                  <a:tailEnd type="none" w="med" len="med"/>
                </a:ln>
                <a:effectLst/>
              </p:spPr>
              <p:txBody>
                <a:bodyPr/>
                <a:lstStyle/>
                <a:p>
                  <a:endParaRPr lang="en-GB" sz="1637"/>
                </a:p>
              </p:txBody>
            </p:sp>
            <p:sp>
              <p:nvSpPr>
                <p:cNvPr id="351" name="Freeform 317"/>
                <p:cNvSpPr>
                  <a:spLocks/>
                </p:cNvSpPr>
                <p:nvPr>
                  <p:custDataLst>
                    <p:tags r:id="rId223"/>
                  </p:custDataLst>
                </p:nvPr>
              </p:nvSpPr>
              <p:spPr bwMode="auto">
                <a:xfrm>
                  <a:off x="7135938" y="4304300"/>
                  <a:ext cx="50256" cy="66265"/>
                </a:xfrm>
                <a:custGeom>
                  <a:avLst/>
                  <a:gdLst>
                    <a:gd name="T0" fmla="*/ 18908 w 112"/>
                    <a:gd name="T1" fmla="*/ 4518 h 26"/>
                    <a:gd name="T2" fmla="*/ 23019 w 112"/>
                    <a:gd name="T3" fmla="*/ 4518 h 26"/>
                    <a:gd name="T4" fmla="*/ 27129 w 112"/>
                    <a:gd name="T5" fmla="*/ 6777 h 26"/>
                    <a:gd name="T6" fmla="*/ 30417 w 112"/>
                    <a:gd name="T7" fmla="*/ 9036 h 26"/>
                    <a:gd name="T8" fmla="*/ 34528 w 112"/>
                    <a:gd name="T9" fmla="*/ 13555 h 26"/>
                    <a:gd name="T10" fmla="*/ 37816 w 112"/>
                    <a:gd name="T11" fmla="*/ 20332 h 26"/>
                    <a:gd name="T12" fmla="*/ 41104 w 112"/>
                    <a:gd name="T13" fmla="*/ 27109 h 26"/>
                    <a:gd name="T14" fmla="*/ 43571 w 112"/>
                    <a:gd name="T15" fmla="*/ 36146 h 26"/>
                    <a:gd name="T16" fmla="*/ 46037 w 112"/>
                    <a:gd name="T17" fmla="*/ 45182 h 26"/>
                    <a:gd name="T18" fmla="*/ 45215 w 112"/>
                    <a:gd name="T19" fmla="*/ 49701 h 26"/>
                    <a:gd name="T20" fmla="*/ 43160 w 112"/>
                    <a:gd name="T21" fmla="*/ 51960 h 26"/>
                    <a:gd name="T22" fmla="*/ 41516 w 112"/>
                    <a:gd name="T23" fmla="*/ 56478 h 26"/>
                    <a:gd name="T24" fmla="*/ 39049 w 112"/>
                    <a:gd name="T25" fmla="*/ 56478 h 26"/>
                    <a:gd name="T26" fmla="*/ 35761 w 112"/>
                    <a:gd name="T27" fmla="*/ 58737 h 26"/>
                    <a:gd name="T28" fmla="*/ 32473 w 112"/>
                    <a:gd name="T29" fmla="*/ 58737 h 26"/>
                    <a:gd name="T30" fmla="*/ 27129 w 112"/>
                    <a:gd name="T31" fmla="*/ 54219 h 26"/>
                    <a:gd name="T32" fmla="*/ 16853 w 112"/>
                    <a:gd name="T33" fmla="*/ 42923 h 26"/>
                    <a:gd name="T34" fmla="*/ 6577 w 112"/>
                    <a:gd name="T35" fmla="*/ 29369 h 26"/>
                    <a:gd name="T36" fmla="*/ 0 w 112"/>
                    <a:gd name="T37" fmla="*/ 18073 h 26"/>
                    <a:gd name="T38" fmla="*/ 2055 w 112"/>
                    <a:gd name="T39" fmla="*/ 9036 h 26"/>
                    <a:gd name="T40" fmla="*/ 4521 w 112"/>
                    <a:gd name="T41" fmla="*/ 4518 h 26"/>
                    <a:gd name="T42" fmla="*/ 7399 w 112"/>
                    <a:gd name="T43" fmla="*/ 2259 h 26"/>
                    <a:gd name="T44" fmla="*/ 10276 w 112"/>
                    <a:gd name="T45" fmla="*/ 0 h 26"/>
                    <a:gd name="T46" fmla="*/ 15209 w 112"/>
                    <a:gd name="T47" fmla="*/ 2259 h 26"/>
                    <a:gd name="T48" fmla="*/ 18908 w 112"/>
                    <a:gd name="T49" fmla="*/ 4518 h 2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12" h="26">
                      <a:moveTo>
                        <a:pt x="46" y="2"/>
                      </a:moveTo>
                      <a:lnTo>
                        <a:pt x="56" y="2"/>
                      </a:lnTo>
                      <a:lnTo>
                        <a:pt x="66" y="3"/>
                      </a:lnTo>
                      <a:lnTo>
                        <a:pt x="74" y="4"/>
                      </a:lnTo>
                      <a:lnTo>
                        <a:pt x="84" y="6"/>
                      </a:lnTo>
                      <a:lnTo>
                        <a:pt x="92" y="9"/>
                      </a:lnTo>
                      <a:lnTo>
                        <a:pt x="100" y="12"/>
                      </a:lnTo>
                      <a:lnTo>
                        <a:pt x="106" y="16"/>
                      </a:lnTo>
                      <a:lnTo>
                        <a:pt x="112" y="20"/>
                      </a:lnTo>
                      <a:lnTo>
                        <a:pt x="110" y="22"/>
                      </a:lnTo>
                      <a:lnTo>
                        <a:pt x="105" y="23"/>
                      </a:lnTo>
                      <a:lnTo>
                        <a:pt x="101" y="25"/>
                      </a:lnTo>
                      <a:lnTo>
                        <a:pt x="95" y="25"/>
                      </a:lnTo>
                      <a:lnTo>
                        <a:pt x="87" y="26"/>
                      </a:lnTo>
                      <a:lnTo>
                        <a:pt x="79" y="26"/>
                      </a:lnTo>
                      <a:lnTo>
                        <a:pt x="66" y="24"/>
                      </a:lnTo>
                      <a:lnTo>
                        <a:pt x="41" y="19"/>
                      </a:lnTo>
                      <a:lnTo>
                        <a:pt x="16" y="13"/>
                      </a:lnTo>
                      <a:lnTo>
                        <a:pt x="0" y="8"/>
                      </a:lnTo>
                      <a:lnTo>
                        <a:pt x="5" y="4"/>
                      </a:lnTo>
                      <a:lnTo>
                        <a:pt x="11" y="2"/>
                      </a:lnTo>
                      <a:lnTo>
                        <a:pt x="18" y="1"/>
                      </a:lnTo>
                      <a:lnTo>
                        <a:pt x="25" y="0"/>
                      </a:lnTo>
                      <a:lnTo>
                        <a:pt x="37" y="1"/>
                      </a:lnTo>
                      <a:lnTo>
                        <a:pt x="46" y="2"/>
                      </a:lnTo>
                    </a:path>
                  </a:pathLst>
                </a:custGeom>
                <a:grpFill/>
                <a:ln w="9525" cap="flat" cmpd="sng">
                  <a:solidFill>
                    <a:srgbClr val="FFFFFF"/>
                  </a:solidFill>
                  <a:prstDash val="solid"/>
                  <a:round/>
                  <a:headEnd type="none" w="med" len="med"/>
                  <a:tailEnd type="none" w="med" len="med"/>
                </a:ln>
                <a:effectLst/>
              </p:spPr>
              <p:txBody>
                <a:bodyPr/>
                <a:lstStyle/>
                <a:p>
                  <a:endParaRPr lang="en-GB" sz="1637"/>
                </a:p>
              </p:txBody>
            </p:sp>
            <p:sp>
              <p:nvSpPr>
                <p:cNvPr id="352" name="Freeform 319"/>
                <p:cNvSpPr>
                  <a:spLocks/>
                </p:cNvSpPr>
                <p:nvPr>
                  <p:custDataLst>
                    <p:tags r:id="rId224"/>
                  </p:custDataLst>
                </p:nvPr>
              </p:nvSpPr>
              <p:spPr bwMode="auto">
                <a:xfrm>
                  <a:off x="7061419" y="4270271"/>
                  <a:ext cx="39859" cy="62684"/>
                </a:xfrm>
                <a:custGeom>
                  <a:avLst/>
                  <a:gdLst>
                    <a:gd name="T0" fmla="*/ 0 w 81"/>
                    <a:gd name="T1" fmla="*/ 55563 h 31"/>
                    <a:gd name="T2" fmla="*/ 0 w 81"/>
                    <a:gd name="T3" fmla="*/ 39432 h 31"/>
                    <a:gd name="T4" fmla="*/ 0 w 81"/>
                    <a:gd name="T5" fmla="*/ 23301 h 31"/>
                    <a:gd name="T6" fmla="*/ 0 w 81"/>
                    <a:gd name="T7" fmla="*/ 17924 h 31"/>
                    <a:gd name="T8" fmla="*/ 902 w 81"/>
                    <a:gd name="T9" fmla="*/ 14339 h 31"/>
                    <a:gd name="T10" fmla="*/ 1352 w 81"/>
                    <a:gd name="T11" fmla="*/ 10754 h 31"/>
                    <a:gd name="T12" fmla="*/ 1803 w 81"/>
                    <a:gd name="T13" fmla="*/ 7169 h 31"/>
                    <a:gd name="T14" fmla="*/ 3606 w 81"/>
                    <a:gd name="T15" fmla="*/ 3585 h 31"/>
                    <a:gd name="T16" fmla="*/ 6311 w 81"/>
                    <a:gd name="T17" fmla="*/ 0 h 31"/>
                    <a:gd name="T18" fmla="*/ 11720 w 81"/>
                    <a:gd name="T19" fmla="*/ 1792 h 31"/>
                    <a:gd name="T20" fmla="*/ 18482 w 81"/>
                    <a:gd name="T21" fmla="*/ 1792 h 31"/>
                    <a:gd name="T22" fmla="*/ 25244 w 81"/>
                    <a:gd name="T23" fmla="*/ 1792 h 31"/>
                    <a:gd name="T24" fmla="*/ 29301 w 81"/>
                    <a:gd name="T25" fmla="*/ 1792 h 31"/>
                    <a:gd name="T26" fmla="*/ 32907 w 81"/>
                    <a:gd name="T27" fmla="*/ 1792 h 31"/>
                    <a:gd name="T28" fmla="*/ 36513 w 81"/>
                    <a:gd name="T29" fmla="*/ 1792 h 31"/>
                    <a:gd name="T30" fmla="*/ 32907 w 81"/>
                    <a:gd name="T31" fmla="*/ 10754 h 31"/>
                    <a:gd name="T32" fmla="*/ 30202 w 81"/>
                    <a:gd name="T33" fmla="*/ 17924 h 31"/>
                    <a:gd name="T34" fmla="*/ 28850 w 81"/>
                    <a:gd name="T35" fmla="*/ 25093 h 31"/>
                    <a:gd name="T36" fmla="*/ 27948 w 81"/>
                    <a:gd name="T37" fmla="*/ 32262 h 31"/>
                    <a:gd name="T38" fmla="*/ 26596 w 81"/>
                    <a:gd name="T39" fmla="*/ 37639 h 31"/>
                    <a:gd name="T40" fmla="*/ 24342 w 81"/>
                    <a:gd name="T41" fmla="*/ 41224 h 31"/>
                    <a:gd name="T42" fmla="*/ 21187 w 81"/>
                    <a:gd name="T43" fmla="*/ 44809 h 31"/>
                    <a:gd name="T44" fmla="*/ 15326 w 81"/>
                    <a:gd name="T45" fmla="*/ 44809 h 31"/>
                    <a:gd name="T46" fmla="*/ 0 w 81"/>
                    <a:gd name="T47" fmla="*/ 55563 h 3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81" h="31">
                      <a:moveTo>
                        <a:pt x="0" y="31"/>
                      </a:moveTo>
                      <a:lnTo>
                        <a:pt x="0" y="22"/>
                      </a:lnTo>
                      <a:lnTo>
                        <a:pt x="0" y="13"/>
                      </a:lnTo>
                      <a:lnTo>
                        <a:pt x="0" y="10"/>
                      </a:lnTo>
                      <a:lnTo>
                        <a:pt x="2" y="8"/>
                      </a:lnTo>
                      <a:lnTo>
                        <a:pt x="3" y="6"/>
                      </a:lnTo>
                      <a:lnTo>
                        <a:pt x="4" y="4"/>
                      </a:lnTo>
                      <a:lnTo>
                        <a:pt x="8" y="2"/>
                      </a:lnTo>
                      <a:lnTo>
                        <a:pt x="14" y="0"/>
                      </a:lnTo>
                      <a:lnTo>
                        <a:pt x="26" y="1"/>
                      </a:lnTo>
                      <a:lnTo>
                        <a:pt x="41" y="1"/>
                      </a:lnTo>
                      <a:lnTo>
                        <a:pt x="56" y="1"/>
                      </a:lnTo>
                      <a:lnTo>
                        <a:pt x="65" y="1"/>
                      </a:lnTo>
                      <a:lnTo>
                        <a:pt x="73" y="1"/>
                      </a:lnTo>
                      <a:lnTo>
                        <a:pt x="81" y="1"/>
                      </a:lnTo>
                      <a:lnTo>
                        <a:pt x="73" y="6"/>
                      </a:lnTo>
                      <a:lnTo>
                        <a:pt x="67" y="10"/>
                      </a:lnTo>
                      <a:lnTo>
                        <a:pt x="64" y="14"/>
                      </a:lnTo>
                      <a:lnTo>
                        <a:pt x="62" y="18"/>
                      </a:lnTo>
                      <a:lnTo>
                        <a:pt x="59" y="21"/>
                      </a:lnTo>
                      <a:lnTo>
                        <a:pt x="54" y="23"/>
                      </a:lnTo>
                      <a:lnTo>
                        <a:pt x="47" y="25"/>
                      </a:lnTo>
                      <a:lnTo>
                        <a:pt x="34" y="25"/>
                      </a:lnTo>
                      <a:lnTo>
                        <a:pt x="0" y="31"/>
                      </a:lnTo>
                    </a:path>
                  </a:pathLst>
                </a:custGeom>
                <a:grpFill/>
                <a:ln w="9525" cap="flat" cmpd="sng">
                  <a:solidFill>
                    <a:srgbClr val="FFFFFF"/>
                  </a:solidFill>
                  <a:prstDash val="solid"/>
                  <a:round/>
                  <a:headEnd type="none" w="med" len="med"/>
                  <a:tailEnd type="none" w="med" len="med"/>
                </a:ln>
                <a:effectLst/>
              </p:spPr>
              <p:txBody>
                <a:bodyPr/>
                <a:lstStyle/>
                <a:p>
                  <a:endParaRPr lang="en-GB" sz="1637"/>
                </a:p>
              </p:txBody>
            </p:sp>
            <p:sp>
              <p:nvSpPr>
                <p:cNvPr id="353" name="Freeform 320"/>
                <p:cNvSpPr>
                  <a:spLocks/>
                </p:cNvSpPr>
                <p:nvPr>
                  <p:custDataLst>
                    <p:tags r:id="rId225"/>
                  </p:custDataLst>
                </p:nvPr>
              </p:nvSpPr>
              <p:spPr bwMode="auto">
                <a:xfrm>
                  <a:off x="7109942" y="4254153"/>
                  <a:ext cx="43325" cy="62683"/>
                </a:xfrm>
                <a:custGeom>
                  <a:avLst/>
                  <a:gdLst>
                    <a:gd name="T0" fmla="*/ 892 w 89"/>
                    <a:gd name="T1" fmla="*/ 55562 h 49"/>
                    <a:gd name="T2" fmla="*/ 39688 w 89"/>
                    <a:gd name="T3" fmla="*/ 55562 h 49"/>
                    <a:gd name="T4" fmla="*/ 34783 w 89"/>
                    <a:gd name="T5" fmla="*/ 46491 h 49"/>
                    <a:gd name="T6" fmla="*/ 30323 w 89"/>
                    <a:gd name="T7" fmla="*/ 39687 h 49"/>
                    <a:gd name="T8" fmla="*/ 25418 w 89"/>
                    <a:gd name="T9" fmla="*/ 34018 h 49"/>
                    <a:gd name="T10" fmla="*/ 20513 w 89"/>
                    <a:gd name="T11" fmla="*/ 28348 h 49"/>
                    <a:gd name="T12" fmla="*/ 16054 w 89"/>
                    <a:gd name="T13" fmla="*/ 23812 h 49"/>
                    <a:gd name="T14" fmla="*/ 11594 w 89"/>
                    <a:gd name="T15" fmla="*/ 15875 h 49"/>
                    <a:gd name="T16" fmla="*/ 7135 w 89"/>
                    <a:gd name="T17" fmla="*/ 9071 h 49"/>
                    <a:gd name="T18" fmla="*/ 4013 w 89"/>
                    <a:gd name="T19" fmla="*/ 0 h 49"/>
                    <a:gd name="T20" fmla="*/ 1784 w 89"/>
                    <a:gd name="T21" fmla="*/ 11339 h 49"/>
                    <a:gd name="T22" fmla="*/ 446 w 89"/>
                    <a:gd name="T23" fmla="*/ 26080 h 49"/>
                    <a:gd name="T24" fmla="*/ 0 w 89"/>
                    <a:gd name="T25" fmla="*/ 32884 h 49"/>
                    <a:gd name="T26" fmla="*/ 0 w 89"/>
                    <a:gd name="T27" fmla="*/ 40821 h 49"/>
                    <a:gd name="T28" fmla="*/ 0 w 89"/>
                    <a:gd name="T29" fmla="*/ 48758 h 49"/>
                    <a:gd name="T30" fmla="*/ 892 w 89"/>
                    <a:gd name="T31" fmla="*/ 55562 h 4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89" h="49">
                      <a:moveTo>
                        <a:pt x="2" y="49"/>
                      </a:moveTo>
                      <a:lnTo>
                        <a:pt x="89" y="49"/>
                      </a:lnTo>
                      <a:lnTo>
                        <a:pt x="78" y="41"/>
                      </a:lnTo>
                      <a:lnTo>
                        <a:pt x="68" y="35"/>
                      </a:lnTo>
                      <a:lnTo>
                        <a:pt x="57" y="30"/>
                      </a:lnTo>
                      <a:lnTo>
                        <a:pt x="46" y="25"/>
                      </a:lnTo>
                      <a:lnTo>
                        <a:pt x="36" y="21"/>
                      </a:lnTo>
                      <a:lnTo>
                        <a:pt x="26" y="14"/>
                      </a:lnTo>
                      <a:lnTo>
                        <a:pt x="16" y="8"/>
                      </a:lnTo>
                      <a:lnTo>
                        <a:pt x="9" y="0"/>
                      </a:lnTo>
                      <a:lnTo>
                        <a:pt x="4" y="10"/>
                      </a:lnTo>
                      <a:lnTo>
                        <a:pt x="1" y="23"/>
                      </a:lnTo>
                      <a:lnTo>
                        <a:pt x="0" y="29"/>
                      </a:lnTo>
                      <a:lnTo>
                        <a:pt x="0" y="36"/>
                      </a:lnTo>
                      <a:lnTo>
                        <a:pt x="0" y="43"/>
                      </a:lnTo>
                      <a:lnTo>
                        <a:pt x="2" y="49"/>
                      </a:lnTo>
                    </a:path>
                  </a:pathLst>
                </a:custGeom>
                <a:grpFill/>
                <a:ln w="9525" cap="flat" cmpd="sng">
                  <a:solidFill>
                    <a:srgbClr val="FFFFFF"/>
                  </a:solidFill>
                  <a:prstDash val="solid"/>
                  <a:round/>
                  <a:headEnd type="none" w="med" len="med"/>
                  <a:tailEnd type="none" w="med" len="med"/>
                </a:ln>
                <a:effectLst/>
              </p:spPr>
              <p:txBody>
                <a:bodyPr/>
                <a:lstStyle/>
                <a:p>
                  <a:endParaRPr lang="en-GB" sz="1637"/>
                </a:p>
              </p:txBody>
            </p:sp>
            <p:sp>
              <p:nvSpPr>
                <p:cNvPr id="354" name="Freeform 321"/>
                <p:cNvSpPr>
                  <a:spLocks/>
                </p:cNvSpPr>
                <p:nvPr>
                  <p:custDataLst>
                    <p:tags r:id="rId226"/>
                  </p:custDataLst>
                </p:nvPr>
              </p:nvSpPr>
              <p:spPr bwMode="auto">
                <a:xfrm>
                  <a:off x="7167131" y="4264899"/>
                  <a:ext cx="39858" cy="66265"/>
                </a:xfrm>
                <a:custGeom>
                  <a:avLst/>
                  <a:gdLst>
                    <a:gd name="T0" fmla="*/ 0 w 86"/>
                    <a:gd name="T1" fmla="*/ 26815 h 46"/>
                    <a:gd name="T2" fmla="*/ 5944 w 86"/>
                    <a:gd name="T3" fmla="*/ 33199 h 46"/>
                    <a:gd name="T4" fmla="*/ 10614 w 86"/>
                    <a:gd name="T5" fmla="*/ 37030 h 46"/>
                    <a:gd name="T6" fmla="*/ 12737 w 86"/>
                    <a:gd name="T7" fmla="*/ 38307 h 46"/>
                    <a:gd name="T8" fmla="*/ 15284 w 86"/>
                    <a:gd name="T9" fmla="*/ 38307 h 46"/>
                    <a:gd name="T10" fmla="*/ 17407 w 86"/>
                    <a:gd name="T11" fmla="*/ 37030 h 46"/>
                    <a:gd name="T12" fmla="*/ 19530 w 86"/>
                    <a:gd name="T13" fmla="*/ 34476 h 46"/>
                    <a:gd name="T14" fmla="*/ 19530 w 86"/>
                    <a:gd name="T15" fmla="*/ 45968 h 46"/>
                    <a:gd name="T16" fmla="*/ 19530 w 86"/>
                    <a:gd name="T17" fmla="*/ 58737 h 46"/>
                    <a:gd name="T18" fmla="*/ 23775 w 86"/>
                    <a:gd name="T19" fmla="*/ 57460 h 46"/>
                    <a:gd name="T20" fmla="*/ 28445 w 86"/>
                    <a:gd name="T21" fmla="*/ 54906 h 46"/>
                    <a:gd name="T22" fmla="*/ 32691 w 86"/>
                    <a:gd name="T23" fmla="*/ 51076 h 46"/>
                    <a:gd name="T24" fmla="*/ 36512 w 86"/>
                    <a:gd name="T25" fmla="*/ 51076 h 46"/>
                    <a:gd name="T26" fmla="*/ 35238 w 86"/>
                    <a:gd name="T27" fmla="*/ 40861 h 46"/>
                    <a:gd name="T28" fmla="*/ 33965 w 86"/>
                    <a:gd name="T29" fmla="*/ 31922 h 46"/>
                    <a:gd name="T30" fmla="*/ 31417 w 86"/>
                    <a:gd name="T31" fmla="*/ 24261 h 46"/>
                    <a:gd name="T32" fmla="*/ 29719 w 86"/>
                    <a:gd name="T33" fmla="*/ 17876 h 46"/>
                    <a:gd name="T34" fmla="*/ 27172 w 86"/>
                    <a:gd name="T35" fmla="*/ 11492 h 46"/>
                    <a:gd name="T36" fmla="*/ 24624 w 86"/>
                    <a:gd name="T37" fmla="*/ 7661 h 46"/>
                    <a:gd name="T38" fmla="*/ 21652 w 86"/>
                    <a:gd name="T39" fmla="*/ 3831 h 46"/>
                    <a:gd name="T40" fmla="*/ 19530 w 86"/>
                    <a:gd name="T41" fmla="*/ 1277 h 46"/>
                    <a:gd name="T42" fmla="*/ 16558 w 86"/>
                    <a:gd name="T43" fmla="*/ 0 h 46"/>
                    <a:gd name="T44" fmla="*/ 14010 w 86"/>
                    <a:gd name="T45" fmla="*/ 0 h 46"/>
                    <a:gd name="T46" fmla="*/ 11039 w 86"/>
                    <a:gd name="T47" fmla="*/ 1277 h 46"/>
                    <a:gd name="T48" fmla="*/ 8067 w 86"/>
                    <a:gd name="T49" fmla="*/ 3831 h 46"/>
                    <a:gd name="T50" fmla="*/ 5944 w 86"/>
                    <a:gd name="T51" fmla="*/ 7661 h 46"/>
                    <a:gd name="T52" fmla="*/ 3396 w 86"/>
                    <a:gd name="T53" fmla="*/ 12769 h 46"/>
                    <a:gd name="T54" fmla="*/ 1698 w 86"/>
                    <a:gd name="T55" fmla="*/ 19153 h 46"/>
                    <a:gd name="T56" fmla="*/ 0 w 86"/>
                    <a:gd name="T57" fmla="*/ 26815 h 4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6" h="46">
                      <a:moveTo>
                        <a:pt x="0" y="21"/>
                      </a:moveTo>
                      <a:lnTo>
                        <a:pt x="14" y="26"/>
                      </a:lnTo>
                      <a:lnTo>
                        <a:pt x="25" y="29"/>
                      </a:lnTo>
                      <a:lnTo>
                        <a:pt x="30" y="30"/>
                      </a:lnTo>
                      <a:lnTo>
                        <a:pt x="36" y="30"/>
                      </a:lnTo>
                      <a:lnTo>
                        <a:pt x="41" y="29"/>
                      </a:lnTo>
                      <a:lnTo>
                        <a:pt x="46" y="27"/>
                      </a:lnTo>
                      <a:lnTo>
                        <a:pt x="46" y="36"/>
                      </a:lnTo>
                      <a:lnTo>
                        <a:pt x="46" y="46"/>
                      </a:lnTo>
                      <a:lnTo>
                        <a:pt x="56" y="45"/>
                      </a:lnTo>
                      <a:lnTo>
                        <a:pt x="67" y="43"/>
                      </a:lnTo>
                      <a:lnTo>
                        <a:pt x="77" y="40"/>
                      </a:lnTo>
                      <a:lnTo>
                        <a:pt x="86" y="40"/>
                      </a:lnTo>
                      <a:lnTo>
                        <a:pt x="83" y="32"/>
                      </a:lnTo>
                      <a:lnTo>
                        <a:pt x="80" y="25"/>
                      </a:lnTo>
                      <a:lnTo>
                        <a:pt x="74" y="19"/>
                      </a:lnTo>
                      <a:lnTo>
                        <a:pt x="70" y="14"/>
                      </a:lnTo>
                      <a:lnTo>
                        <a:pt x="64" y="9"/>
                      </a:lnTo>
                      <a:lnTo>
                        <a:pt x="58" y="6"/>
                      </a:lnTo>
                      <a:lnTo>
                        <a:pt x="51" y="3"/>
                      </a:lnTo>
                      <a:lnTo>
                        <a:pt x="46" y="1"/>
                      </a:lnTo>
                      <a:lnTo>
                        <a:pt x="39" y="0"/>
                      </a:lnTo>
                      <a:lnTo>
                        <a:pt x="33" y="0"/>
                      </a:lnTo>
                      <a:lnTo>
                        <a:pt x="26" y="1"/>
                      </a:lnTo>
                      <a:lnTo>
                        <a:pt x="19" y="3"/>
                      </a:lnTo>
                      <a:lnTo>
                        <a:pt x="14" y="6"/>
                      </a:lnTo>
                      <a:lnTo>
                        <a:pt x="8" y="10"/>
                      </a:lnTo>
                      <a:lnTo>
                        <a:pt x="4" y="15"/>
                      </a:lnTo>
                      <a:lnTo>
                        <a:pt x="0" y="21"/>
                      </a:lnTo>
                    </a:path>
                  </a:pathLst>
                </a:custGeom>
                <a:grpFill/>
                <a:ln w="9525" cap="flat" cmpd="sng">
                  <a:solidFill>
                    <a:srgbClr val="FFFFFF"/>
                  </a:solidFill>
                  <a:prstDash val="solid"/>
                  <a:round/>
                  <a:headEnd type="none" w="med" len="med"/>
                  <a:tailEnd type="none" w="med" len="med"/>
                </a:ln>
                <a:effectLst/>
              </p:spPr>
              <p:txBody>
                <a:bodyPr/>
                <a:lstStyle/>
                <a:p>
                  <a:endParaRPr lang="en-GB" sz="1637"/>
                </a:p>
              </p:txBody>
            </p:sp>
            <p:sp>
              <p:nvSpPr>
                <p:cNvPr id="355" name="Freeform 322"/>
                <p:cNvSpPr>
                  <a:spLocks/>
                </p:cNvSpPr>
                <p:nvPr>
                  <p:custDataLst>
                    <p:tags r:id="rId227"/>
                  </p:custDataLst>
                </p:nvPr>
              </p:nvSpPr>
              <p:spPr bwMode="auto">
                <a:xfrm>
                  <a:off x="7224319" y="4270271"/>
                  <a:ext cx="27728" cy="62684"/>
                </a:xfrm>
                <a:custGeom>
                  <a:avLst/>
                  <a:gdLst>
                    <a:gd name="T0" fmla="*/ 0 w 59"/>
                    <a:gd name="T1" fmla="*/ 0 h 18"/>
                    <a:gd name="T2" fmla="*/ 0 w 59"/>
                    <a:gd name="T3" fmla="*/ 55563 h 18"/>
                    <a:gd name="T4" fmla="*/ 16790 w 59"/>
                    <a:gd name="T5" fmla="*/ 55563 h 18"/>
                    <a:gd name="T6" fmla="*/ 25400 w 59"/>
                    <a:gd name="T7" fmla="*/ 18521 h 18"/>
                    <a:gd name="T8" fmla="*/ 21956 w 59"/>
                    <a:gd name="T9" fmla="*/ 15434 h 18"/>
                    <a:gd name="T10" fmla="*/ 19373 w 59"/>
                    <a:gd name="T11" fmla="*/ 12347 h 18"/>
                    <a:gd name="T12" fmla="*/ 15929 w 59"/>
                    <a:gd name="T13" fmla="*/ 15434 h 18"/>
                    <a:gd name="T14" fmla="*/ 12485 w 59"/>
                    <a:gd name="T15" fmla="*/ 18521 h 18"/>
                    <a:gd name="T16" fmla="*/ 9471 w 59"/>
                    <a:gd name="T17" fmla="*/ 18521 h 18"/>
                    <a:gd name="T18" fmla="*/ 6027 w 59"/>
                    <a:gd name="T19" fmla="*/ 15434 h 18"/>
                    <a:gd name="T20" fmla="*/ 3014 w 59"/>
                    <a:gd name="T21" fmla="*/ 12347 h 18"/>
                    <a:gd name="T22" fmla="*/ 0 w 59"/>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59" h="18">
                      <a:moveTo>
                        <a:pt x="0" y="0"/>
                      </a:moveTo>
                      <a:lnTo>
                        <a:pt x="0" y="18"/>
                      </a:lnTo>
                      <a:lnTo>
                        <a:pt x="39" y="18"/>
                      </a:lnTo>
                      <a:lnTo>
                        <a:pt x="59" y="6"/>
                      </a:lnTo>
                      <a:lnTo>
                        <a:pt x="51" y="5"/>
                      </a:lnTo>
                      <a:lnTo>
                        <a:pt x="45" y="4"/>
                      </a:lnTo>
                      <a:lnTo>
                        <a:pt x="37" y="5"/>
                      </a:lnTo>
                      <a:lnTo>
                        <a:pt x="29" y="6"/>
                      </a:lnTo>
                      <a:lnTo>
                        <a:pt x="22" y="6"/>
                      </a:lnTo>
                      <a:lnTo>
                        <a:pt x="14" y="5"/>
                      </a:lnTo>
                      <a:lnTo>
                        <a:pt x="7" y="4"/>
                      </a:lnTo>
                      <a:lnTo>
                        <a:pt x="0" y="0"/>
                      </a:lnTo>
                    </a:path>
                  </a:pathLst>
                </a:custGeom>
                <a:grpFill/>
                <a:ln w="9525" cap="flat" cmpd="sng">
                  <a:solidFill>
                    <a:srgbClr val="FFFFFF"/>
                  </a:solidFill>
                  <a:prstDash val="solid"/>
                  <a:round/>
                  <a:headEnd type="none" w="med" len="med"/>
                  <a:tailEnd type="none" w="med" len="med"/>
                </a:ln>
                <a:effectLst/>
              </p:spPr>
              <p:txBody>
                <a:bodyPr/>
                <a:lstStyle/>
                <a:p>
                  <a:endParaRPr lang="en-GB" sz="1637"/>
                </a:p>
              </p:txBody>
            </p:sp>
            <p:sp>
              <p:nvSpPr>
                <p:cNvPr id="356" name="Freeform 323"/>
                <p:cNvSpPr>
                  <a:spLocks/>
                </p:cNvSpPr>
                <p:nvPr>
                  <p:custDataLst>
                    <p:tags r:id="rId228"/>
                  </p:custDataLst>
                </p:nvPr>
              </p:nvSpPr>
              <p:spPr bwMode="auto">
                <a:xfrm>
                  <a:off x="7304036" y="4261317"/>
                  <a:ext cx="1734" cy="62683"/>
                </a:xfrm>
                <a:custGeom>
                  <a:avLst/>
                  <a:gdLst>
                    <a:gd name="T0" fmla="*/ 1588 w 4"/>
                    <a:gd name="T1" fmla="*/ 55562 h 19"/>
                    <a:gd name="T2" fmla="*/ 1588 w 4"/>
                    <a:gd name="T3" fmla="*/ 0 h 19"/>
                    <a:gd name="T4" fmla="*/ 794 w 4"/>
                    <a:gd name="T5" fmla="*/ 2924 h 19"/>
                    <a:gd name="T6" fmla="*/ 397 w 4"/>
                    <a:gd name="T7" fmla="*/ 8773 h 19"/>
                    <a:gd name="T8" fmla="*/ 0 w 4"/>
                    <a:gd name="T9" fmla="*/ 17546 h 19"/>
                    <a:gd name="T10" fmla="*/ 0 w 4"/>
                    <a:gd name="T11" fmla="*/ 29243 h 19"/>
                    <a:gd name="T12" fmla="*/ 0 w 4"/>
                    <a:gd name="T13" fmla="*/ 40940 h 19"/>
                    <a:gd name="T14" fmla="*/ 397 w 4"/>
                    <a:gd name="T15" fmla="*/ 46789 h 19"/>
                    <a:gd name="T16" fmla="*/ 794 w 4"/>
                    <a:gd name="T17" fmla="*/ 55562 h 19"/>
                    <a:gd name="T18" fmla="*/ 1588 w 4"/>
                    <a:gd name="T19" fmla="*/ 55562 h 1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 h="19">
                      <a:moveTo>
                        <a:pt x="4" y="19"/>
                      </a:moveTo>
                      <a:lnTo>
                        <a:pt x="4" y="0"/>
                      </a:lnTo>
                      <a:lnTo>
                        <a:pt x="2" y="1"/>
                      </a:lnTo>
                      <a:lnTo>
                        <a:pt x="1" y="3"/>
                      </a:lnTo>
                      <a:lnTo>
                        <a:pt x="0" y="6"/>
                      </a:lnTo>
                      <a:lnTo>
                        <a:pt x="0" y="10"/>
                      </a:lnTo>
                      <a:lnTo>
                        <a:pt x="0" y="14"/>
                      </a:lnTo>
                      <a:lnTo>
                        <a:pt x="1" y="16"/>
                      </a:lnTo>
                      <a:lnTo>
                        <a:pt x="2" y="19"/>
                      </a:lnTo>
                      <a:lnTo>
                        <a:pt x="4" y="19"/>
                      </a:lnTo>
                    </a:path>
                  </a:pathLst>
                </a:custGeom>
                <a:grpFill/>
                <a:ln w="9525" cap="flat" cmpd="sng">
                  <a:solidFill>
                    <a:srgbClr val="FFFFFF"/>
                  </a:solidFill>
                  <a:prstDash val="solid"/>
                  <a:round/>
                  <a:headEnd type="none" w="med" len="med"/>
                  <a:tailEnd type="none" w="med" len="med"/>
                </a:ln>
                <a:effectLst/>
              </p:spPr>
              <p:txBody>
                <a:bodyPr/>
                <a:lstStyle/>
                <a:p>
                  <a:endParaRPr lang="en-GB" sz="1637"/>
                </a:p>
              </p:txBody>
            </p:sp>
            <p:sp>
              <p:nvSpPr>
                <p:cNvPr id="357" name="Freeform 324"/>
                <p:cNvSpPr>
                  <a:spLocks/>
                </p:cNvSpPr>
                <p:nvPr>
                  <p:custDataLst>
                    <p:tags r:id="rId229"/>
                  </p:custDataLst>
                </p:nvPr>
              </p:nvSpPr>
              <p:spPr bwMode="auto">
                <a:xfrm>
                  <a:off x="6839598" y="4051773"/>
                  <a:ext cx="22529" cy="66266"/>
                </a:xfrm>
                <a:custGeom>
                  <a:avLst/>
                  <a:gdLst>
                    <a:gd name="T0" fmla="*/ 0 w 46"/>
                    <a:gd name="T1" fmla="*/ 58738 h 50"/>
                    <a:gd name="T2" fmla="*/ 3141 w 46"/>
                    <a:gd name="T3" fmla="*/ 0 h 50"/>
                    <a:gd name="T4" fmla="*/ 10319 w 46"/>
                    <a:gd name="T5" fmla="*/ 9398 h 50"/>
                    <a:gd name="T6" fmla="*/ 15254 w 46"/>
                    <a:gd name="T7" fmla="*/ 16447 h 50"/>
                    <a:gd name="T8" fmla="*/ 16600 w 46"/>
                    <a:gd name="T9" fmla="*/ 21146 h 50"/>
                    <a:gd name="T10" fmla="*/ 18395 w 46"/>
                    <a:gd name="T11" fmla="*/ 25845 h 50"/>
                    <a:gd name="T12" fmla="*/ 19741 w 46"/>
                    <a:gd name="T13" fmla="*/ 35243 h 50"/>
                    <a:gd name="T14" fmla="*/ 20638 w 46"/>
                    <a:gd name="T15" fmla="*/ 44641 h 50"/>
                    <a:gd name="T16" fmla="*/ 15254 w 46"/>
                    <a:gd name="T17" fmla="*/ 49340 h 50"/>
                    <a:gd name="T18" fmla="*/ 9422 w 46"/>
                    <a:gd name="T19" fmla="*/ 54039 h 50"/>
                    <a:gd name="T20" fmla="*/ 3589 w 46"/>
                    <a:gd name="T21" fmla="*/ 57563 h 50"/>
                    <a:gd name="T22" fmla="*/ 0 w 46"/>
                    <a:gd name="T23" fmla="*/ 58738 h 5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6" h="50">
                      <a:moveTo>
                        <a:pt x="0" y="50"/>
                      </a:moveTo>
                      <a:lnTo>
                        <a:pt x="7" y="0"/>
                      </a:lnTo>
                      <a:lnTo>
                        <a:pt x="23" y="8"/>
                      </a:lnTo>
                      <a:lnTo>
                        <a:pt x="34" y="14"/>
                      </a:lnTo>
                      <a:lnTo>
                        <a:pt x="37" y="18"/>
                      </a:lnTo>
                      <a:lnTo>
                        <a:pt x="41" y="22"/>
                      </a:lnTo>
                      <a:lnTo>
                        <a:pt x="44" y="30"/>
                      </a:lnTo>
                      <a:lnTo>
                        <a:pt x="46" y="38"/>
                      </a:lnTo>
                      <a:lnTo>
                        <a:pt x="34" y="42"/>
                      </a:lnTo>
                      <a:lnTo>
                        <a:pt x="21" y="46"/>
                      </a:lnTo>
                      <a:lnTo>
                        <a:pt x="8" y="49"/>
                      </a:lnTo>
                      <a:lnTo>
                        <a:pt x="0" y="50"/>
                      </a:lnTo>
                    </a:path>
                  </a:pathLst>
                </a:custGeom>
                <a:grpFill/>
                <a:ln w="9525" cap="flat" cmpd="sng">
                  <a:solidFill>
                    <a:srgbClr val="FFFFFF"/>
                  </a:solidFill>
                  <a:prstDash val="solid"/>
                  <a:round/>
                  <a:headEnd type="none" w="med" len="med"/>
                  <a:tailEnd type="none" w="med" len="med"/>
                </a:ln>
                <a:effectLst/>
              </p:spPr>
              <p:txBody>
                <a:bodyPr/>
                <a:lstStyle/>
                <a:p>
                  <a:endParaRPr lang="en-GB" sz="1637"/>
                </a:p>
              </p:txBody>
            </p:sp>
            <p:sp>
              <p:nvSpPr>
                <p:cNvPr id="358" name="Freeform 325"/>
                <p:cNvSpPr>
                  <a:spLocks/>
                </p:cNvSpPr>
                <p:nvPr>
                  <p:custDataLst>
                    <p:tags r:id="rId230"/>
                  </p:custDataLst>
                </p:nvPr>
              </p:nvSpPr>
              <p:spPr bwMode="auto">
                <a:xfrm>
                  <a:off x="6780676" y="4021327"/>
                  <a:ext cx="32927" cy="66265"/>
                </a:xfrm>
                <a:custGeom>
                  <a:avLst/>
                  <a:gdLst>
                    <a:gd name="T0" fmla="*/ 0 w 66"/>
                    <a:gd name="T1" fmla="*/ 0 h 80"/>
                    <a:gd name="T2" fmla="*/ 4570 w 66"/>
                    <a:gd name="T3" fmla="*/ 0 h 80"/>
                    <a:gd name="T4" fmla="*/ 8226 w 66"/>
                    <a:gd name="T5" fmla="*/ 0 h 80"/>
                    <a:gd name="T6" fmla="*/ 11882 w 66"/>
                    <a:gd name="T7" fmla="*/ 0 h 80"/>
                    <a:gd name="T8" fmla="*/ 15082 w 66"/>
                    <a:gd name="T9" fmla="*/ 0 h 80"/>
                    <a:gd name="T10" fmla="*/ 15082 w 66"/>
                    <a:gd name="T11" fmla="*/ 5139 h 80"/>
                    <a:gd name="T12" fmla="*/ 15539 w 66"/>
                    <a:gd name="T13" fmla="*/ 10279 h 80"/>
                    <a:gd name="T14" fmla="*/ 16453 w 66"/>
                    <a:gd name="T15" fmla="*/ 15418 h 80"/>
                    <a:gd name="T16" fmla="*/ 17367 w 66"/>
                    <a:gd name="T17" fmla="*/ 19824 h 80"/>
                    <a:gd name="T18" fmla="*/ 20109 w 66"/>
                    <a:gd name="T19" fmla="*/ 26432 h 80"/>
                    <a:gd name="T20" fmla="*/ 22394 w 66"/>
                    <a:gd name="T21" fmla="*/ 33040 h 80"/>
                    <a:gd name="T22" fmla="*/ 25593 w 66"/>
                    <a:gd name="T23" fmla="*/ 38179 h 80"/>
                    <a:gd name="T24" fmla="*/ 27878 w 66"/>
                    <a:gd name="T25" fmla="*/ 44053 h 80"/>
                    <a:gd name="T26" fmla="*/ 28335 w 66"/>
                    <a:gd name="T27" fmla="*/ 47724 h 80"/>
                    <a:gd name="T28" fmla="*/ 29706 w 66"/>
                    <a:gd name="T29" fmla="*/ 50661 h 80"/>
                    <a:gd name="T30" fmla="*/ 30163 w 66"/>
                    <a:gd name="T31" fmla="*/ 55066 h 80"/>
                    <a:gd name="T32" fmla="*/ 30163 w 66"/>
                    <a:gd name="T33" fmla="*/ 58737 h 80"/>
                    <a:gd name="T34" fmla="*/ 0 w 66"/>
                    <a:gd name="T35" fmla="*/ 13216 h 80"/>
                    <a:gd name="T36" fmla="*/ 0 w 66"/>
                    <a:gd name="T37" fmla="*/ 0 h 8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grpFill/>
                <a:ln w="9525" cap="flat" cmpd="sng">
                  <a:solidFill>
                    <a:srgbClr val="FFFFFF"/>
                  </a:solidFill>
                  <a:prstDash val="solid"/>
                  <a:round/>
                  <a:headEnd type="none" w="med" len="med"/>
                  <a:tailEnd type="none" w="med" len="med"/>
                </a:ln>
                <a:effectLst/>
              </p:spPr>
              <p:txBody>
                <a:bodyPr/>
                <a:lstStyle/>
                <a:p>
                  <a:endParaRPr lang="en-GB" sz="1637"/>
                </a:p>
              </p:txBody>
            </p:sp>
            <p:sp>
              <p:nvSpPr>
                <p:cNvPr id="359" name="Freeform 326"/>
                <p:cNvSpPr>
                  <a:spLocks/>
                </p:cNvSpPr>
                <p:nvPr>
                  <p:custDataLst>
                    <p:tags r:id="rId231"/>
                  </p:custDataLst>
                </p:nvPr>
              </p:nvSpPr>
              <p:spPr bwMode="auto">
                <a:xfrm>
                  <a:off x="6600447" y="4003418"/>
                  <a:ext cx="8665" cy="64475"/>
                </a:xfrm>
                <a:custGeom>
                  <a:avLst/>
                  <a:gdLst>
                    <a:gd name="T0" fmla="*/ 7938 w 20"/>
                    <a:gd name="T1" fmla="*/ 57150 h 48"/>
                    <a:gd name="T2" fmla="*/ 7938 w 20"/>
                    <a:gd name="T3" fmla="*/ 46434 h 48"/>
                    <a:gd name="T4" fmla="*/ 7541 w 20"/>
                    <a:gd name="T5" fmla="*/ 38100 h 48"/>
                    <a:gd name="T6" fmla="*/ 6350 w 20"/>
                    <a:gd name="T7" fmla="*/ 29766 h 48"/>
                    <a:gd name="T8" fmla="*/ 5557 w 20"/>
                    <a:gd name="T9" fmla="*/ 22622 h 48"/>
                    <a:gd name="T10" fmla="*/ 4763 w 20"/>
                    <a:gd name="T11" fmla="*/ 16669 h 48"/>
                    <a:gd name="T12" fmla="*/ 3572 w 20"/>
                    <a:gd name="T13" fmla="*/ 10716 h 48"/>
                    <a:gd name="T14" fmla="*/ 1588 w 20"/>
                    <a:gd name="T15" fmla="*/ 4763 h 48"/>
                    <a:gd name="T16" fmla="*/ 0 w 20"/>
                    <a:gd name="T17" fmla="*/ 0 h 48"/>
                    <a:gd name="T18" fmla="*/ 0 w 20"/>
                    <a:gd name="T19" fmla="*/ 9525 h 48"/>
                    <a:gd name="T20" fmla="*/ 794 w 20"/>
                    <a:gd name="T21" fmla="*/ 20241 h 48"/>
                    <a:gd name="T22" fmla="*/ 1588 w 20"/>
                    <a:gd name="T23" fmla="*/ 28575 h 48"/>
                    <a:gd name="T24" fmla="*/ 3175 w 20"/>
                    <a:gd name="T25" fmla="*/ 36909 h 48"/>
                    <a:gd name="T26" fmla="*/ 5557 w 20"/>
                    <a:gd name="T27" fmla="*/ 48816 h 48"/>
                    <a:gd name="T28" fmla="*/ 7938 w 20"/>
                    <a:gd name="T29" fmla="*/ 57150 h 4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0" h="48">
                      <a:moveTo>
                        <a:pt x="20" y="48"/>
                      </a:moveTo>
                      <a:lnTo>
                        <a:pt x="20" y="39"/>
                      </a:lnTo>
                      <a:lnTo>
                        <a:pt x="19" y="32"/>
                      </a:lnTo>
                      <a:lnTo>
                        <a:pt x="16" y="25"/>
                      </a:lnTo>
                      <a:lnTo>
                        <a:pt x="14" y="19"/>
                      </a:lnTo>
                      <a:lnTo>
                        <a:pt x="12" y="14"/>
                      </a:lnTo>
                      <a:lnTo>
                        <a:pt x="9" y="9"/>
                      </a:lnTo>
                      <a:lnTo>
                        <a:pt x="4" y="4"/>
                      </a:lnTo>
                      <a:lnTo>
                        <a:pt x="0" y="0"/>
                      </a:lnTo>
                      <a:lnTo>
                        <a:pt x="0" y="8"/>
                      </a:lnTo>
                      <a:lnTo>
                        <a:pt x="2" y="17"/>
                      </a:lnTo>
                      <a:lnTo>
                        <a:pt x="4" y="24"/>
                      </a:lnTo>
                      <a:lnTo>
                        <a:pt x="8" y="31"/>
                      </a:lnTo>
                      <a:lnTo>
                        <a:pt x="14" y="41"/>
                      </a:lnTo>
                      <a:lnTo>
                        <a:pt x="20" y="48"/>
                      </a:lnTo>
                    </a:path>
                  </a:pathLst>
                </a:custGeom>
                <a:grpFill/>
                <a:ln w="9525" cap="flat" cmpd="sng">
                  <a:solidFill>
                    <a:srgbClr val="FFFFFF"/>
                  </a:solidFill>
                  <a:prstDash val="solid"/>
                  <a:round/>
                  <a:headEnd type="none" w="med" len="med"/>
                  <a:tailEnd type="none" w="med" len="med"/>
                </a:ln>
                <a:effectLst/>
              </p:spPr>
              <p:txBody>
                <a:bodyPr/>
                <a:lstStyle/>
                <a:p>
                  <a:endParaRPr lang="en-GB" sz="1637"/>
                </a:p>
              </p:txBody>
            </p:sp>
            <p:sp>
              <p:nvSpPr>
                <p:cNvPr id="360" name="Line 327" descr="Horizontal dunkel"/>
                <p:cNvSpPr>
                  <a:spLocks noChangeShapeType="1"/>
                </p:cNvSpPr>
                <p:nvPr>
                  <p:custDataLst>
                    <p:tags r:id="rId232"/>
                  </p:custDataLst>
                </p:nvPr>
              </p:nvSpPr>
              <p:spPr bwMode="auto">
                <a:xfrm>
                  <a:off x="6628174" y="4044609"/>
                  <a:ext cx="5199" cy="7164"/>
                </a:xfrm>
                <a:prstGeom prst="line">
                  <a:avLst/>
                </a:prstGeom>
                <a:grpFill/>
                <a:ln w="9525">
                  <a:solidFill>
                    <a:srgbClr val="FFFFFF"/>
                  </a:solidFill>
                  <a:round/>
                  <a:headEnd/>
                  <a:tailEnd/>
                </a:ln>
                <a:effectLst/>
              </p:spPr>
              <p:txBody>
                <a:bodyPr/>
                <a:lstStyle/>
                <a:p>
                  <a:endParaRPr lang="en-GB" sz="1637"/>
                </a:p>
              </p:txBody>
            </p:sp>
            <p:sp>
              <p:nvSpPr>
                <p:cNvPr id="361" name="Freeform 328"/>
                <p:cNvSpPr>
                  <a:spLocks/>
                </p:cNvSpPr>
                <p:nvPr>
                  <p:custDataLst>
                    <p:tags r:id="rId233"/>
                  </p:custDataLst>
                </p:nvPr>
              </p:nvSpPr>
              <p:spPr bwMode="auto">
                <a:xfrm>
                  <a:off x="6624708" y="4044609"/>
                  <a:ext cx="8665" cy="64475"/>
                </a:xfrm>
                <a:custGeom>
                  <a:avLst/>
                  <a:gdLst>
                    <a:gd name="T0" fmla="*/ 7938 w 20"/>
                    <a:gd name="T1" fmla="*/ 57150 h 12"/>
                    <a:gd name="T2" fmla="*/ 7938 w 20"/>
                    <a:gd name="T3" fmla="*/ 38100 h 12"/>
                    <a:gd name="T4" fmla="*/ 7144 w 20"/>
                    <a:gd name="T5" fmla="*/ 23813 h 12"/>
                    <a:gd name="T6" fmla="*/ 5954 w 20"/>
                    <a:gd name="T7" fmla="*/ 14288 h 12"/>
                    <a:gd name="T8" fmla="*/ 5160 w 20"/>
                    <a:gd name="T9" fmla="*/ 9525 h 12"/>
                    <a:gd name="T10" fmla="*/ 2778 w 20"/>
                    <a:gd name="T11" fmla="*/ 0 h 12"/>
                    <a:gd name="T12" fmla="*/ 0 w 20"/>
                    <a:gd name="T13" fmla="*/ 0 h 1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12">
                      <a:moveTo>
                        <a:pt x="20" y="12"/>
                      </a:moveTo>
                      <a:lnTo>
                        <a:pt x="20" y="8"/>
                      </a:lnTo>
                      <a:lnTo>
                        <a:pt x="18" y="5"/>
                      </a:lnTo>
                      <a:lnTo>
                        <a:pt x="15" y="3"/>
                      </a:lnTo>
                      <a:lnTo>
                        <a:pt x="13" y="2"/>
                      </a:lnTo>
                      <a:lnTo>
                        <a:pt x="7" y="0"/>
                      </a:lnTo>
                      <a:lnTo>
                        <a:pt x="0" y="0"/>
                      </a:lnTo>
                    </a:path>
                  </a:pathLst>
                </a:custGeom>
                <a:grpFill/>
                <a:ln w="9525" cap="flat" cmpd="sng">
                  <a:solidFill>
                    <a:srgbClr val="FFFFFF"/>
                  </a:solidFill>
                  <a:prstDash val="solid"/>
                  <a:round/>
                  <a:headEnd type="none" w="med" len="med"/>
                  <a:tailEnd type="none" w="med" len="med"/>
                </a:ln>
                <a:effectLst/>
              </p:spPr>
              <p:txBody>
                <a:bodyPr/>
                <a:lstStyle/>
                <a:p>
                  <a:endParaRPr lang="en-GB" sz="1637"/>
                </a:p>
              </p:txBody>
            </p:sp>
            <p:sp>
              <p:nvSpPr>
                <p:cNvPr id="362" name="Freeform 329"/>
                <p:cNvSpPr>
                  <a:spLocks/>
                </p:cNvSpPr>
                <p:nvPr>
                  <p:custDataLst>
                    <p:tags r:id="rId234"/>
                  </p:custDataLst>
                </p:nvPr>
              </p:nvSpPr>
              <p:spPr bwMode="auto">
                <a:xfrm>
                  <a:off x="6517264" y="3869095"/>
                  <a:ext cx="24262" cy="64475"/>
                </a:xfrm>
                <a:custGeom>
                  <a:avLst/>
                  <a:gdLst>
                    <a:gd name="T0" fmla="*/ 2935 w 53"/>
                    <a:gd name="T1" fmla="*/ 0 h 30"/>
                    <a:gd name="T2" fmla="*/ 4613 w 53"/>
                    <a:gd name="T3" fmla="*/ 7620 h 30"/>
                    <a:gd name="T4" fmla="*/ 9645 w 53"/>
                    <a:gd name="T5" fmla="*/ 24765 h 30"/>
                    <a:gd name="T6" fmla="*/ 15516 w 53"/>
                    <a:gd name="T7" fmla="*/ 43815 h 30"/>
                    <a:gd name="T8" fmla="*/ 19290 w 53"/>
                    <a:gd name="T9" fmla="*/ 57150 h 30"/>
                    <a:gd name="T10" fmla="*/ 20548 w 53"/>
                    <a:gd name="T11" fmla="*/ 34290 h 30"/>
                    <a:gd name="T12" fmla="*/ 22225 w 53"/>
                    <a:gd name="T13" fmla="*/ 11430 h 30"/>
                    <a:gd name="T14" fmla="*/ 15516 w 53"/>
                    <a:gd name="T15" fmla="*/ 9525 h 30"/>
                    <a:gd name="T16" fmla="*/ 10903 w 53"/>
                    <a:gd name="T17" fmla="*/ 5715 h 30"/>
                    <a:gd name="T18" fmla="*/ 8806 w 53"/>
                    <a:gd name="T19" fmla="*/ 5715 h 30"/>
                    <a:gd name="T20" fmla="*/ 6290 w 53"/>
                    <a:gd name="T21" fmla="*/ 5715 h 30"/>
                    <a:gd name="T22" fmla="*/ 3774 w 53"/>
                    <a:gd name="T23" fmla="*/ 7620 h 30"/>
                    <a:gd name="T24" fmla="*/ 0 w 53"/>
                    <a:gd name="T25" fmla="*/ 11430 h 30"/>
                    <a:gd name="T26" fmla="*/ 2935 w 53"/>
                    <a:gd name="T27" fmla="*/ 0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grpFill/>
                <a:ln w="9525" cap="flat" cmpd="sng">
                  <a:solidFill>
                    <a:srgbClr val="FFFFFF"/>
                  </a:solidFill>
                  <a:prstDash val="solid"/>
                  <a:round/>
                  <a:headEnd type="none" w="med" len="med"/>
                  <a:tailEnd type="none" w="med" len="med"/>
                </a:ln>
                <a:effectLst/>
              </p:spPr>
              <p:txBody>
                <a:bodyPr/>
                <a:lstStyle/>
                <a:p>
                  <a:endParaRPr lang="en-GB" sz="1637"/>
                </a:p>
              </p:txBody>
            </p:sp>
            <p:sp>
              <p:nvSpPr>
                <p:cNvPr id="363" name="Freeform 330"/>
                <p:cNvSpPr>
                  <a:spLocks/>
                </p:cNvSpPr>
                <p:nvPr>
                  <p:custDataLst>
                    <p:tags r:id="rId235"/>
                  </p:custDataLst>
                </p:nvPr>
              </p:nvSpPr>
              <p:spPr bwMode="auto">
                <a:xfrm>
                  <a:off x="7094346" y="4279226"/>
                  <a:ext cx="12130" cy="64475"/>
                </a:xfrm>
                <a:custGeom>
                  <a:avLst/>
                  <a:gdLst>
                    <a:gd name="T0" fmla="*/ 0 w 33"/>
                    <a:gd name="T1" fmla="*/ 11061 h 31"/>
                    <a:gd name="T2" fmla="*/ 1347 w 33"/>
                    <a:gd name="T3" fmla="*/ 38715 h 31"/>
                    <a:gd name="T4" fmla="*/ 2357 w 33"/>
                    <a:gd name="T5" fmla="*/ 57150 h 31"/>
                    <a:gd name="T6" fmla="*/ 7408 w 33"/>
                    <a:gd name="T7" fmla="*/ 57150 h 31"/>
                    <a:gd name="T8" fmla="*/ 11112 w 33"/>
                    <a:gd name="T9" fmla="*/ 57150 h 31"/>
                    <a:gd name="T10" fmla="*/ 11112 w 33"/>
                    <a:gd name="T11" fmla="*/ 0 h 31"/>
                    <a:gd name="T12" fmla="*/ 9092 w 33"/>
                    <a:gd name="T13" fmla="*/ 0 h 31"/>
                    <a:gd name="T14" fmla="*/ 6398 w 33"/>
                    <a:gd name="T15" fmla="*/ 0 h 31"/>
                    <a:gd name="T16" fmla="*/ 3367 w 33"/>
                    <a:gd name="T17" fmla="*/ 0 h 31"/>
                    <a:gd name="T18" fmla="*/ 0 w 33"/>
                    <a:gd name="T19" fmla="*/ 0 h 31"/>
                    <a:gd name="T20" fmla="*/ 0 w 33"/>
                    <a:gd name="T21" fmla="*/ 11061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31">
                      <a:moveTo>
                        <a:pt x="0" y="6"/>
                      </a:moveTo>
                      <a:lnTo>
                        <a:pt x="4" y="21"/>
                      </a:lnTo>
                      <a:lnTo>
                        <a:pt x="7" y="31"/>
                      </a:lnTo>
                      <a:lnTo>
                        <a:pt x="22" y="31"/>
                      </a:lnTo>
                      <a:lnTo>
                        <a:pt x="33" y="31"/>
                      </a:lnTo>
                      <a:lnTo>
                        <a:pt x="33" y="0"/>
                      </a:lnTo>
                      <a:lnTo>
                        <a:pt x="27" y="0"/>
                      </a:lnTo>
                      <a:lnTo>
                        <a:pt x="19" y="0"/>
                      </a:lnTo>
                      <a:lnTo>
                        <a:pt x="10" y="0"/>
                      </a:lnTo>
                      <a:lnTo>
                        <a:pt x="0" y="0"/>
                      </a:lnTo>
                      <a:lnTo>
                        <a:pt x="0" y="6"/>
                      </a:lnTo>
                    </a:path>
                  </a:pathLst>
                </a:custGeom>
                <a:grpFill/>
                <a:ln w="9525" cap="flat" cmpd="sng">
                  <a:solidFill>
                    <a:srgbClr val="FFFFFF"/>
                  </a:solidFill>
                  <a:prstDash val="solid"/>
                  <a:round/>
                  <a:headEnd type="none" w="med" len="med"/>
                  <a:tailEnd type="none" w="med" len="med"/>
                </a:ln>
                <a:effectLst/>
              </p:spPr>
              <p:txBody>
                <a:bodyPr/>
                <a:lstStyle/>
                <a:p>
                  <a:endParaRPr lang="en-GB" sz="1637"/>
                </a:p>
              </p:txBody>
            </p:sp>
            <p:sp>
              <p:nvSpPr>
                <p:cNvPr id="364" name="Freeform 332"/>
                <p:cNvSpPr>
                  <a:spLocks/>
                </p:cNvSpPr>
                <p:nvPr>
                  <p:custDataLst>
                    <p:tags r:id="rId236"/>
                  </p:custDataLst>
                </p:nvPr>
              </p:nvSpPr>
              <p:spPr bwMode="auto">
                <a:xfrm>
                  <a:off x="6498201" y="3759846"/>
                  <a:ext cx="299805" cy="415504"/>
                </a:xfrm>
                <a:custGeom>
                  <a:avLst/>
                  <a:gdLst>
                    <a:gd name="T0" fmla="*/ 220588 w 625"/>
                    <a:gd name="T1" fmla="*/ 178843 h 694"/>
                    <a:gd name="T2" fmla="*/ 212679 w 625"/>
                    <a:gd name="T3" fmla="*/ 180966 h 694"/>
                    <a:gd name="T4" fmla="*/ 210482 w 625"/>
                    <a:gd name="T5" fmla="*/ 202724 h 694"/>
                    <a:gd name="T6" fmla="*/ 226301 w 625"/>
                    <a:gd name="T7" fmla="*/ 214399 h 694"/>
                    <a:gd name="T8" fmla="*/ 234650 w 625"/>
                    <a:gd name="T9" fmla="*/ 214930 h 694"/>
                    <a:gd name="T10" fmla="*/ 241681 w 625"/>
                    <a:gd name="T11" fmla="*/ 225013 h 694"/>
                    <a:gd name="T12" fmla="*/ 246075 w 625"/>
                    <a:gd name="T13" fmla="*/ 243587 h 694"/>
                    <a:gd name="T14" fmla="*/ 251348 w 625"/>
                    <a:gd name="T15" fmla="*/ 251548 h 694"/>
                    <a:gd name="T16" fmla="*/ 258378 w 625"/>
                    <a:gd name="T17" fmla="*/ 256324 h 694"/>
                    <a:gd name="T18" fmla="*/ 269803 w 625"/>
                    <a:gd name="T19" fmla="*/ 258447 h 694"/>
                    <a:gd name="T20" fmla="*/ 274637 w 625"/>
                    <a:gd name="T21" fmla="*/ 267999 h 694"/>
                    <a:gd name="T22" fmla="*/ 274637 w 625"/>
                    <a:gd name="T23" fmla="*/ 286043 h 694"/>
                    <a:gd name="T24" fmla="*/ 271561 w 625"/>
                    <a:gd name="T25" fmla="*/ 320007 h 694"/>
                    <a:gd name="T26" fmla="*/ 268485 w 625"/>
                    <a:gd name="T27" fmla="*/ 356625 h 694"/>
                    <a:gd name="T28" fmla="*/ 246954 w 625"/>
                    <a:gd name="T29" fmla="*/ 367769 h 694"/>
                    <a:gd name="T30" fmla="*/ 236847 w 625"/>
                    <a:gd name="T31" fmla="*/ 367769 h 694"/>
                    <a:gd name="T32" fmla="*/ 173131 w 625"/>
                    <a:gd name="T33" fmla="*/ 299310 h 694"/>
                    <a:gd name="T34" fmla="*/ 174449 w 625"/>
                    <a:gd name="T35" fmla="*/ 292942 h 694"/>
                    <a:gd name="T36" fmla="*/ 173131 w 625"/>
                    <a:gd name="T37" fmla="*/ 286043 h 694"/>
                    <a:gd name="T38" fmla="*/ 148524 w 625"/>
                    <a:gd name="T39" fmla="*/ 258978 h 694"/>
                    <a:gd name="T40" fmla="*/ 134023 w 625"/>
                    <a:gd name="T41" fmla="*/ 240403 h 694"/>
                    <a:gd name="T42" fmla="*/ 128750 w 625"/>
                    <a:gd name="T43" fmla="*/ 222360 h 694"/>
                    <a:gd name="T44" fmla="*/ 127871 w 625"/>
                    <a:gd name="T45" fmla="*/ 202194 h 694"/>
                    <a:gd name="T46" fmla="*/ 125234 w 625"/>
                    <a:gd name="T47" fmla="*/ 191049 h 694"/>
                    <a:gd name="T48" fmla="*/ 117764 w 625"/>
                    <a:gd name="T49" fmla="*/ 181497 h 694"/>
                    <a:gd name="T50" fmla="*/ 105900 w 625"/>
                    <a:gd name="T51" fmla="*/ 164514 h 694"/>
                    <a:gd name="T52" fmla="*/ 98430 w 625"/>
                    <a:gd name="T53" fmla="*/ 142756 h 694"/>
                    <a:gd name="T54" fmla="*/ 93596 w 625"/>
                    <a:gd name="T55" fmla="*/ 126305 h 694"/>
                    <a:gd name="T56" fmla="*/ 83490 w 625"/>
                    <a:gd name="T57" fmla="*/ 112507 h 694"/>
                    <a:gd name="T58" fmla="*/ 65913 w 625"/>
                    <a:gd name="T59" fmla="*/ 90748 h 694"/>
                    <a:gd name="T60" fmla="*/ 59761 w 625"/>
                    <a:gd name="T61" fmla="*/ 77481 h 694"/>
                    <a:gd name="T62" fmla="*/ 49215 w 625"/>
                    <a:gd name="T63" fmla="*/ 70051 h 694"/>
                    <a:gd name="T64" fmla="*/ 35154 w 625"/>
                    <a:gd name="T65" fmla="*/ 59968 h 694"/>
                    <a:gd name="T66" fmla="*/ 21532 w 625"/>
                    <a:gd name="T67" fmla="*/ 45109 h 694"/>
                    <a:gd name="T68" fmla="*/ 10107 w 625"/>
                    <a:gd name="T69" fmla="*/ 27065 h 694"/>
                    <a:gd name="T70" fmla="*/ 2197 w 625"/>
                    <a:gd name="T71" fmla="*/ 10083 h 694"/>
                    <a:gd name="T72" fmla="*/ 4394 w 625"/>
                    <a:gd name="T73" fmla="*/ 2123 h 694"/>
                    <a:gd name="T74" fmla="*/ 16259 w 625"/>
                    <a:gd name="T75" fmla="*/ 6899 h 694"/>
                    <a:gd name="T76" fmla="*/ 36911 w 625"/>
                    <a:gd name="T77" fmla="*/ 8491 h 694"/>
                    <a:gd name="T78" fmla="*/ 50973 w 625"/>
                    <a:gd name="T79" fmla="*/ 10614 h 694"/>
                    <a:gd name="T80" fmla="*/ 60640 w 625"/>
                    <a:gd name="T81" fmla="*/ 14329 h 694"/>
                    <a:gd name="T82" fmla="*/ 68549 w 625"/>
                    <a:gd name="T83" fmla="*/ 22289 h 694"/>
                    <a:gd name="T84" fmla="*/ 89642 w 625"/>
                    <a:gd name="T85" fmla="*/ 57845 h 694"/>
                    <a:gd name="T86" fmla="*/ 111612 w 625"/>
                    <a:gd name="T87" fmla="*/ 86503 h 694"/>
                    <a:gd name="T88" fmla="*/ 131386 w 625"/>
                    <a:gd name="T89" fmla="*/ 107200 h 694"/>
                    <a:gd name="T90" fmla="*/ 144569 w 625"/>
                    <a:gd name="T91" fmla="*/ 116221 h 694"/>
                    <a:gd name="T92" fmla="*/ 160827 w 625"/>
                    <a:gd name="T93" fmla="*/ 120467 h 694"/>
                    <a:gd name="T94" fmla="*/ 170495 w 625"/>
                    <a:gd name="T95" fmla="*/ 122059 h 694"/>
                    <a:gd name="T96" fmla="*/ 176207 w 625"/>
                    <a:gd name="T97" fmla="*/ 127897 h 694"/>
                    <a:gd name="T98" fmla="*/ 182798 w 625"/>
                    <a:gd name="T99" fmla="*/ 137980 h 694"/>
                    <a:gd name="T100" fmla="*/ 187632 w 625"/>
                    <a:gd name="T101" fmla="*/ 140633 h 69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625" h="694">
                      <a:moveTo>
                        <a:pt x="433" y="265"/>
                      </a:moveTo>
                      <a:lnTo>
                        <a:pt x="512" y="333"/>
                      </a:lnTo>
                      <a:lnTo>
                        <a:pt x="502" y="337"/>
                      </a:lnTo>
                      <a:lnTo>
                        <a:pt x="493" y="341"/>
                      </a:lnTo>
                      <a:lnTo>
                        <a:pt x="489" y="341"/>
                      </a:lnTo>
                      <a:lnTo>
                        <a:pt x="484" y="341"/>
                      </a:lnTo>
                      <a:lnTo>
                        <a:pt x="481" y="341"/>
                      </a:lnTo>
                      <a:lnTo>
                        <a:pt x="479" y="339"/>
                      </a:lnTo>
                      <a:lnTo>
                        <a:pt x="479" y="382"/>
                      </a:lnTo>
                      <a:lnTo>
                        <a:pt x="493" y="392"/>
                      </a:lnTo>
                      <a:lnTo>
                        <a:pt x="507" y="402"/>
                      </a:lnTo>
                      <a:lnTo>
                        <a:pt x="515" y="404"/>
                      </a:lnTo>
                      <a:lnTo>
                        <a:pt x="524" y="406"/>
                      </a:lnTo>
                      <a:lnTo>
                        <a:pt x="528" y="405"/>
                      </a:lnTo>
                      <a:lnTo>
                        <a:pt x="534" y="405"/>
                      </a:lnTo>
                      <a:lnTo>
                        <a:pt x="539" y="403"/>
                      </a:lnTo>
                      <a:lnTo>
                        <a:pt x="545" y="402"/>
                      </a:lnTo>
                      <a:lnTo>
                        <a:pt x="550" y="424"/>
                      </a:lnTo>
                      <a:lnTo>
                        <a:pt x="554" y="443"/>
                      </a:lnTo>
                      <a:lnTo>
                        <a:pt x="558" y="451"/>
                      </a:lnTo>
                      <a:lnTo>
                        <a:pt x="560" y="459"/>
                      </a:lnTo>
                      <a:lnTo>
                        <a:pt x="563" y="465"/>
                      </a:lnTo>
                      <a:lnTo>
                        <a:pt x="568" y="470"/>
                      </a:lnTo>
                      <a:lnTo>
                        <a:pt x="572" y="474"/>
                      </a:lnTo>
                      <a:lnTo>
                        <a:pt x="576" y="478"/>
                      </a:lnTo>
                      <a:lnTo>
                        <a:pt x="582" y="481"/>
                      </a:lnTo>
                      <a:lnTo>
                        <a:pt x="588" y="483"/>
                      </a:lnTo>
                      <a:lnTo>
                        <a:pt x="596" y="485"/>
                      </a:lnTo>
                      <a:lnTo>
                        <a:pt x="605" y="486"/>
                      </a:lnTo>
                      <a:lnTo>
                        <a:pt x="614" y="487"/>
                      </a:lnTo>
                      <a:lnTo>
                        <a:pt x="625" y="487"/>
                      </a:lnTo>
                      <a:lnTo>
                        <a:pt x="625" y="496"/>
                      </a:lnTo>
                      <a:lnTo>
                        <a:pt x="625" y="505"/>
                      </a:lnTo>
                      <a:lnTo>
                        <a:pt x="625" y="515"/>
                      </a:lnTo>
                      <a:lnTo>
                        <a:pt x="625" y="525"/>
                      </a:lnTo>
                      <a:lnTo>
                        <a:pt x="625" y="539"/>
                      </a:lnTo>
                      <a:lnTo>
                        <a:pt x="622" y="557"/>
                      </a:lnTo>
                      <a:lnTo>
                        <a:pt x="620" y="579"/>
                      </a:lnTo>
                      <a:lnTo>
                        <a:pt x="618" y="603"/>
                      </a:lnTo>
                      <a:lnTo>
                        <a:pt x="616" y="628"/>
                      </a:lnTo>
                      <a:lnTo>
                        <a:pt x="614" y="651"/>
                      </a:lnTo>
                      <a:lnTo>
                        <a:pt x="611" y="672"/>
                      </a:lnTo>
                      <a:lnTo>
                        <a:pt x="611" y="691"/>
                      </a:lnTo>
                      <a:lnTo>
                        <a:pt x="582" y="692"/>
                      </a:lnTo>
                      <a:lnTo>
                        <a:pt x="562" y="693"/>
                      </a:lnTo>
                      <a:lnTo>
                        <a:pt x="553" y="694"/>
                      </a:lnTo>
                      <a:lnTo>
                        <a:pt x="546" y="693"/>
                      </a:lnTo>
                      <a:lnTo>
                        <a:pt x="539" y="693"/>
                      </a:lnTo>
                      <a:lnTo>
                        <a:pt x="531" y="691"/>
                      </a:lnTo>
                      <a:lnTo>
                        <a:pt x="392" y="567"/>
                      </a:lnTo>
                      <a:lnTo>
                        <a:pt x="394" y="564"/>
                      </a:lnTo>
                      <a:lnTo>
                        <a:pt x="396" y="560"/>
                      </a:lnTo>
                      <a:lnTo>
                        <a:pt x="397" y="556"/>
                      </a:lnTo>
                      <a:lnTo>
                        <a:pt x="397" y="552"/>
                      </a:lnTo>
                      <a:lnTo>
                        <a:pt x="397" y="547"/>
                      </a:lnTo>
                      <a:lnTo>
                        <a:pt x="396" y="543"/>
                      </a:lnTo>
                      <a:lnTo>
                        <a:pt x="394" y="539"/>
                      </a:lnTo>
                      <a:lnTo>
                        <a:pt x="392" y="537"/>
                      </a:lnTo>
                      <a:lnTo>
                        <a:pt x="366" y="513"/>
                      </a:lnTo>
                      <a:lnTo>
                        <a:pt x="338" y="488"/>
                      </a:lnTo>
                      <a:lnTo>
                        <a:pt x="326" y="476"/>
                      </a:lnTo>
                      <a:lnTo>
                        <a:pt x="315" y="465"/>
                      </a:lnTo>
                      <a:lnTo>
                        <a:pt x="305" y="453"/>
                      </a:lnTo>
                      <a:lnTo>
                        <a:pt x="300" y="444"/>
                      </a:lnTo>
                      <a:lnTo>
                        <a:pt x="295" y="432"/>
                      </a:lnTo>
                      <a:lnTo>
                        <a:pt x="293" y="419"/>
                      </a:lnTo>
                      <a:lnTo>
                        <a:pt x="292" y="407"/>
                      </a:lnTo>
                      <a:lnTo>
                        <a:pt x="292" y="393"/>
                      </a:lnTo>
                      <a:lnTo>
                        <a:pt x="291" y="381"/>
                      </a:lnTo>
                      <a:lnTo>
                        <a:pt x="289" y="370"/>
                      </a:lnTo>
                      <a:lnTo>
                        <a:pt x="288" y="365"/>
                      </a:lnTo>
                      <a:lnTo>
                        <a:pt x="285" y="360"/>
                      </a:lnTo>
                      <a:lnTo>
                        <a:pt x="282" y="356"/>
                      </a:lnTo>
                      <a:lnTo>
                        <a:pt x="279" y="352"/>
                      </a:lnTo>
                      <a:lnTo>
                        <a:pt x="268" y="342"/>
                      </a:lnTo>
                      <a:lnTo>
                        <a:pt x="258" y="332"/>
                      </a:lnTo>
                      <a:lnTo>
                        <a:pt x="249" y="321"/>
                      </a:lnTo>
                      <a:lnTo>
                        <a:pt x="241" y="310"/>
                      </a:lnTo>
                      <a:lnTo>
                        <a:pt x="235" y="297"/>
                      </a:lnTo>
                      <a:lnTo>
                        <a:pt x="229" y="283"/>
                      </a:lnTo>
                      <a:lnTo>
                        <a:pt x="224" y="269"/>
                      </a:lnTo>
                      <a:lnTo>
                        <a:pt x="220" y="253"/>
                      </a:lnTo>
                      <a:lnTo>
                        <a:pt x="216" y="246"/>
                      </a:lnTo>
                      <a:lnTo>
                        <a:pt x="213" y="238"/>
                      </a:lnTo>
                      <a:lnTo>
                        <a:pt x="207" y="231"/>
                      </a:lnTo>
                      <a:lnTo>
                        <a:pt x="202" y="224"/>
                      </a:lnTo>
                      <a:lnTo>
                        <a:pt x="190" y="212"/>
                      </a:lnTo>
                      <a:lnTo>
                        <a:pt x="177" y="199"/>
                      </a:lnTo>
                      <a:lnTo>
                        <a:pt x="162" y="187"/>
                      </a:lnTo>
                      <a:lnTo>
                        <a:pt x="150" y="171"/>
                      </a:lnTo>
                      <a:lnTo>
                        <a:pt x="145" y="164"/>
                      </a:lnTo>
                      <a:lnTo>
                        <a:pt x="140" y="155"/>
                      </a:lnTo>
                      <a:lnTo>
                        <a:pt x="136" y="146"/>
                      </a:lnTo>
                      <a:lnTo>
                        <a:pt x="133" y="136"/>
                      </a:lnTo>
                      <a:lnTo>
                        <a:pt x="123" y="135"/>
                      </a:lnTo>
                      <a:lnTo>
                        <a:pt x="112" y="132"/>
                      </a:lnTo>
                      <a:lnTo>
                        <a:pt x="102" y="128"/>
                      </a:lnTo>
                      <a:lnTo>
                        <a:pt x="91" y="121"/>
                      </a:lnTo>
                      <a:lnTo>
                        <a:pt x="80" y="113"/>
                      </a:lnTo>
                      <a:lnTo>
                        <a:pt x="69" y="104"/>
                      </a:lnTo>
                      <a:lnTo>
                        <a:pt x="59" y="95"/>
                      </a:lnTo>
                      <a:lnTo>
                        <a:pt x="49" y="85"/>
                      </a:lnTo>
                      <a:lnTo>
                        <a:pt x="39" y="74"/>
                      </a:lnTo>
                      <a:lnTo>
                        <a:pt x="31" y="62"/>
                      </a:lnTo>
                      <a:lnTo>
                        <a:pt x="23" y="51"/>
                      </a:lnTo>
                      <a:lnTo>
                        <a:pt x="16" y="40"/>
                      </a:lnTo>
                      <a:lnTo>
                        <a:pt x="10" y="29"/>
                      </a:lnTo>
                      <a:lnTo>
                        <a:pt x="5" y="19"/>
                      </a:lnTo>
                      <a:lnTo>
                        <a:pt x="2" y="9"/>
                      </a:lnTo>
                      <a:lnTo>
                        <a:pt x="0" y="0"/>
                      </a:lnTo>
                      <a:lnTo>
                        <a:pt x="10" y="4"/>
                      </a:lnTo>
                      <a:lnTo>
                        <a:pt x="20" y="7"/>
                      </a:lnTo>
                      <a:lnTo>
                        <a:pt x="28" y="10"/>
                      </a:lnTo>
                      <a:lnTo>
                        <a:pt x="37" y="13"/>
                      </a:lnTo>
                      <a:lnTo>
                        <a:pt x="54" y="15"/>
                      </a:lnTo>
                      <a:lnTo>
                        <a:pt x="69" y="16"/>
                      </a:lnTo>
                      <a:lnTo>
                        <a:pt x="84" y="16"/>
                      </a:lnTo>
                      <a:lnTo>
                        <a:pt x="100" y="17"/>
                      </a:lnTo>
                      <a:lnTo>
                        <a:pt x="108" y="19"/>
                      </a:lnTo>
                      <a:lnTo>
                        <a:pt x="116" y="20"/>
                      </a:lnTo>
                      <a:lnTo>
                        <a:pt x="124" y="22"/>
                      </a:lnTo>
                      <a:lnTo>
                        <a:pt x="133" y="25"/>
                      </a:lnTo>
                      <a:lnTo>
                        <a:pt x="138" y="27"/>
                      </a:lnTo>
                      <a:lnTo>
                        <a:pt x="144" y="31"/>
                      </a:lnTo>
                      <a:lnTo>
                        <a:pt x="149" y="36"/>
                      </a:lnTo>
                      <a:lnTo>
                        <a:pt x="156" y="42"/>
                      </a:lnTo>
                      <a:lnTo>
                        <a:pt x="169" y="57"/>
                      </a:lnTo>
                      <a:lnTo>
                        <a:pt x="181" y="76"/>
                      </a:lnTo>
                      <a:lnTo>
                        <a:pt x="204" y="109"/>
                      </a:lnTo>
                      <a:lnTo>
                        <a:pt x="220" y="130"/>
                      </a:lnTo>
                      <a:lnTo>
                        <a:pt x="237" y="147"/>
                      </a:lnTo>
                      <a:lnTo>
                        <a:pt x="254" y="163"/>
                      </a:lnTo>
                      <a:lnTo>
                        <a:pt x="271" y="181"/>
                      </a:lnTo>
                      <a:lnTo>
                        <a:pt x="289" y="196"/>
                      </a:lnTo>
                      <a:lnTo>
                        <a:pt x="299" y="202"/>
                      </a:lnTo>
                      <a:lnTo>
                        <a:pt x="308" y="209"/>
                      </a:lnTo>
                      <a:lnTo>
                        <a:pt x="318" y="214"/>
                      </a:lnTo>
                      <a:lnTo>
                        <a:pt x="329" y="219"/>
                      </a:lnTo>
                      <a:lnTo>
                        <a:pt x="341" y="223"/>
                      </a:lnTo>
                      <a:lnTo>
                        <a:pt x="353" y="226"/>
                      </a:lnTo>
                      <a:lnTo>
                        <a:pt x="366" y="227"/>
                      </a:lnTo>
                      <a:lnTo>
                        <a:pt x="379" y="228"/>
                      </a:lnTo>
                      <a:lnTo>
                        <a:pt x="383" y="229"/>
                      </a:lnTo>
                      <a:lnTo>
                        <a:pt x="388" y="230"/>
                      </a:lnTo>
                      <a:lnTo>
                        <a:pt x="392" y="231"/>
                      </a:lnTo>
                      <a:lnTo>
                        <a:pt x="395" y="235"/>
                      </a:lnTo>
                      <a:lnTo>
                        <a:pt x="401" y="241"/>
                      </a:lnTo>
                      <a:lnTo>
                        <a:pt x="405" y="247"/>
                      </a:lnTo>
                      <a:lnTo>
                        <a:pt x="411" y="254"/>
                      </a:lnTo>
                      <a:lnTo>
                        <a:pt x="416" y="260"/>
                      </a:lnTo>
                      <a:lnTo>
                        <a:pt x="419" y="262"/>
                      </a:lnTo>
                      <a:lnTo>
                        <a:pt x="423" y="264"/>
                      </a:lnTo>
                      <a:lnTo>
                        <a:pt x="427" y="265"/>
                      </a:lnTo>
                      <a:lnTo>
                        <a:pt x="433" y="265"/>
                      </a:lnTo>
                    </a:path>
                  </a:pathLst>
                </a:custGeom>
                <a:grpFill/>
                <a:ln w="9525" cap="flat" cmpd="sng">
                  <a:solidFill>
                    <a:srgbClr val="FFFFFF"/>
                  </a:solidFill>
                  <a:prstDash val="solid"/>
                  <a:round/>
                  <a:headEnd type="none" w="med" len="med"/>
                  <a:tailEnd type="none" w="med" len="med"/>
                </a:ln>
                <a:effectLst/>
              </p:spPr>
              <p:txBody>
                <a:bodyPr/>
                <a:lstStyle/>
                <a:p>
                  <a:endParaRPr lang="en-GB" sz="1637"/>
                </a:p>
              </p:txBody>
            </p:sp>
            <p:sp>
              <p:nvSpPr>
                <p:cNvPr id="365" name="Freeform 333"/>
                <p:cNvSpPr>
                  <a:spLocks/>
                </p:cNvSpPr>
                <p:nvPr>
                  <p:custDataLst>
                    <p:tags r:id="rId237"/>
                  </p:custDataLst>
                </p:nvPr>
              </p:nvSpPr>
              <p:spPr bwMode="auto">
                <a:xfrm>
                  <a:off x="6870791" y="3815366"/>
                  <a:ext cx="277277" cy="290136"/>
                </a:xfrm>
                <a:custGeom>
                  <a:avLst/>
                  <a:gdLst>
                    <a:gd name="T0" fmla="*/ 224041 w 585"/>
                    <a:gd name="T1" fmla="*/ 14606 h 493"/>
                    <a:gd name="T2" fmla="*/ 214923 w 585"/>
                    <a:gd name="T3" fmla="*/ 28691 h 493"/>
                    <a:gd name="T4" fmla="*/ 222304 w 585"/>
                    <a:gd name="T5" fmla="*/ 48514 h 493"/>
                    <a:gd name="T6" fmla="*/ 231856 w 585"/>
                    <a:gd name="T7" fmla="*/ 67815 h 493"/>
                    <a:gd name="T8" fmla="*/ 248790 w 585"/>
                    <a:gd name="T9" fmla="*/ 92333 h 493"/>
                    <a:gd name="T10" fmla="*/ 251829 w 585"/>
                    <a:gd name="T11" fmla="*/ 106939 h 493"/>
                    <a:gd name="T12" fmla="*/ 237501 w 585"/>
                    <a:gd name="T13" fmla="*/ 106417 h 493"/>
                    <a:gd name="T14" fmla="*/ 224041 w 585"/>
                    <a:gd name="T15" fmla="*/ 121545 h 493"/>
                    <a:gd name="T16" fmla="*/ 219699 w 585"/>
                    <a:gd name="T17" fmla="*/ 128327 h 493"/>
                    <a:gd name="T18" fmla="*/ 224909 w 585"/>
                    <a:gd name="T19" fmla="*/ 141368 h 493"/>
                    <a:gd name="T20" fmla="*/ 227949 w 585"/>
                    <a:gd name="T21" fmla="*/ 153366 h 493"/>
                    <a:gd name="T22" fmla="*/ 219265 w 585"/>
                    <a:gd name="T23" fmla="*/ 160669 h 493"/>
                    <a:gd name="T24" fmla="*/ 199292 w 585"/>
                    <a:gd name="T25" fmla="*/ 168494 h 493"/>
                    <a:gd name="T26" fmla="*/ 192345 w 585"/>
                    <a:gd name="T27" fmla="*/ 184665 h 493"/>
                    <a:gd name="T28" fmla="*/ 193214 w 585"/>
                    <a:gd name="T29" fmla="*/ 216486 h 493"/>
                    <a:gd name="T30" fmla="*/ 186701 w 585"/>
                    <a:gd name="T31" fmla="*/ 236831 h 493"/>
                    <a:gd name="T32" fmla="*/ 173675 w 585"/>
                    <a:gd name="T33" fmla="*/ 246220 h 493"/>
                    <a:gd name="T34" fmla="*/ 160650 w 585"/>
                    <a:gd name="T35" fmla="*/ 254567 h 493"/>
                    <a:gd name="T36" fmla="*/ 148058 w 585"/>
                    <a:gd name="T37" fmla="*/ 257175 h 493"/>
                    <a:gd name="T38" fmla="*/ 142848 w 585"/>
                    <a:gd name="T39" fmla="*/ 254045 h 493"/>
                    <a:gd name="T40" fmla="*/ 141979 w 585"/>
                    <a:gd name="T41" fmla="*/ 245699 h 493"/>
                    <a:gd name="T42" fmla="*/ 131993 w 585"/>
                    <a:gd name="T43" fmla="*/ 235266 h 493"/>
                    <a:gd name="T44" fmla="*/ 108981 w 585"/>
                    <a:gd name="T45" fmla="*/ 236831 h 493"/>
                    <a:gd name="T46" fmla="*/ 95087 w 585"/>
                    <a:gd name="T47" fmla="*/ 241004 h 493"/>
                    <a:gd name="T48" fmla="*/ 76417 w 585"/>
                    <a:gd name="T49" fmla="*/ 229527 h 493"/>
                    <a:gd name="T50" fmla="*/ 52971 w 585"/>
                    <a:gd name="T51" fmla="*/ 227441 h 493"/>
                    <a:gd name="T52" fmla="*/ 41248 w 585"/>
                    <a:gd name="T53" fmla="*/ 223789 h 493"/>
                    <a:gd name="T54" fmla="*/ 35169 w 585"/>
                    <a:gd name="T55" fmla="*/ 190925 h 493"/>
                    <a:gd name="T56" fmla="*/ 25183 w 585"/>
                    <a:gd name="T57" fmla="*/ 161712 h 493"/>
                    <a:gd name="T58" fmla="*/ 15197 w 585"/>
                    <a:gd name="T59" fmla="*/ 152323 h 493"/>
                    <a:gd name="T60" fmla="*/ 5210 w 585"/>
                    <a:gd name="T61" fmla="*/ 135630 h 493"/>
                    <a:gd name="T62" fmla="*/ 2171 w 585"/>
                    <a:gd name="T63" fmla="*/ 106417 h 493"/>
                    <a:gd name="T64" fmla="*/ 13460 w 585"/>
                    <a:gd name="T65" fmla="*/ 79813 h 493"/>
                    <a:gd name="T66" fmla="*/ 23446 w 585"/>
                    <a:gd name="T67" fmla="*/ 73553 h 493"/>
                    <a:gd name="T68" fmla="*/ 32564 w 585"/>
                    <a:gd name="T69" fmla="*/ 79291 h 493"/>
                    <a:gd name="T70" fmla="*/ 42116 w 585"/>
                    <a:gd name="T71" fmla="*/ 97549 h 493"/>
                    <a:gd name="T72" fmla="*/ 56010 w 585"/>
                    <a:gd name="T73" fmla="*/ 111634 h 493"/>
                    <a:gd name="T74" fmla="*/ 73812 w 585"/>
                    <a:gd name="T75" fmla="*/ 111112 h 493"/>
                    <a:gd name="T76" fmla="*/ 95956 w 585"/>
                    <a:gd name="T77" fmla="*/ 98592 h 493"/>
                    <a:gd name="T78" fmla="*/ 101166 w 585"/>
                    <a:gd name="T79" fmla="*/ 89724 h 493"/>
                    <a:gd name="T80" fmla="*/ 125046 w 585"/>
                    <a:gd name="T81" fmla="*/ 92854 h 493"/>
                    <a:gd name="T82" fmla="*/ 141545 w 585"/>
                    <a:gd name="T83" fmla="*/ 94419 h 493"/>
                    <a:gd name="T84" fmla="*/ 146321 w 585"/>
                    <a:gd name="T85" fmla="*/ 88681 h 493"/>
                    <a:gd name="T86" fmla="*/ 157176 w 585"/>
                    <a:gd name="T87" fmla="*/ 82421 h 493"/>
                    <a:gd name="T88" fmla="*/ 166294 w 585"/>
                    <a:gd name="T89" fmla="*/ 70945 h 493"/>
                    <a:gd name="T90" fmla="*/ 180188 w 585"/>
                    <a:gd name="T91" fmla="*/ 41211 h 493"/>
                    <a:gd name="T92" fmla="*/ 185398 w 585"/>
                    <a:gd name="T93" fmla="*/ 13041 h 493"/>
                    <a:gd name="T94" fmla="*/ 194082 w 585"/>
                    <a:gd name="T95" fmla="*/ 3130 h 493"/>
                    <a:gd name="T96" fmla="*/ 207976 w 585"/>
                    <a:gd name="T97" fmla="*/ 1043 h 4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85" h="493">
                      <a:moveTo>
                        <a:pt x="525" y="12"/>
                      </a:moveTo>
                      <a:lnTo>
                        <a:pt x="524" y="17"/>
                      </a:lnTo>
                      <a:lnTo>
                        <a:pt x="520" y="22"/>
                      </a:lnTo>
                      <a:lnTo>
                        <a:pt x="516" y="28"/>
                      </a:lnTo>
                      <a:lnTo>
                        <a:pt x="510" y="33"/>
                      </a:lnTo>
                      <a:lnTo>
                        <a:pt x="497" y="45"/>
                      </a:lnTo>
                      <a:lnTo>
                        <a:pt x="485" y="55"/>
                      </a:lnTo>
                      <a:lnTo>
                        <a:pt x="495" y="55"/>
                      </a:lnTo>
                      <a:lnTo>
                        <a:pt x="505" y="55"/>
                      </a:lnTo>
                      <a:lnTo>
                        <a:pt x="506" y="68"/>
                      </a:lnTo>
                      <a:lnTo>
                        <a:pt x="508" y="81"/>
                      </a:lnTo>
                      <a:lnTo>
                        <a:pt x="512" y="93"/>
                      </a:lnTo>
                      <a:lnTo>
                        <a:pt x="516" y="103"/>
                      </a:lnTo>
                      <a:lnTo>
                        <a:pt x="520" y="112"/>
                      </a:lnTo>
                      <a:lnTo>
                        <a:pt x="527" y="121"/>
                      </a:lnTo>
                      <a:lnTo>
                        <a:pt x="534" y="130"/>
                      </a:lnTo>
                      <a:lnTo>
                        <a:pt x="540" y="138"/>
                      </a:lnTo>
                      <a:lnTo>
                        <a:pt x="553" y="155"/>
                      </a:lnTo>
                      <a:lnTo>
                        <a:pt x="566" y="170"/>
                      </a:lnTo>
                      <a:lnTo>
                        <a:pt x="573" y="177"/>
                      </a:lnTo>
                      <a:lnTo>
                        <a:pt x="577" y="185"/>
                      </a:lnTo>
                      <a:lnTo>
                        <a:pt x="582" y="194"/>
                      </a:lnTo>
                      <a:lnTo>
                        <a:pt x="585" y="204"/>
                      </a:lnTo>
                      <a:lnTo>
                        <a:pt x="580" y="205"/>
                      </a:lnTo>
                      <a:lnTo>
                        <a:pt x="574" y="206"/>
                      </a:lnTo>
                      <a:lnTo>
                        <a:pt x="568" y="206"/>
                      </a:lnTo>
                      <a:lnTo>
                        <a:pt x="561" y="206"/>
                      </a:lnTo>
                      <a:lnTo>
                        <a:pt x="547" y="204"/>
                      </a:lnTo>
                      <a:lnTo>
                        <a:pt x="531" y="204"/>
                      </a:lnTo>
                      <a:lnTo>
                        <a:pt x="524" y="217"/>
                      </a:lnTo>
                      <a:lnTo>
                        <a:pt x="518" y="229"/>
                      </a:lnTo>
                      <a:lnTo>
                        <a:pt x="516" y="233"/>
                      </a:lnTo>
                      <a:lnTo>
                        <a:pt x="513" y="237"/>
                      </a:lnTo>
                      <a:lnTo>
                        <a:pt x="509" y="239"/>
                      </a:lnTo>
                      <a:lnTo>
                        <a:pt x="505" y="240"/>
                      </a:lnTo>
                      <a:lnTo>
                        <a:pt x="506" y="246"/>
                      </a:lnTo>
                      <a:lnTo>
                        <a:pt x="508" y="253"/>
                      </a:lnTo>
                      <a:lnTo>
                        <a:pt x="512" y="259"/>
                      </a:lnTo>
                      <a:lnTo>
                        <a:pt x="515" y="265"/>
                      </a:lnTo>
                      <a:lnTo>
                        <a:pt x="518" y="271"/>
                      </a:lnTo>
                      <a:lnTo>
                        <a:pt x="521" y="277"/>
                      </a:lnTo>
                      <a:lnTo>
                        <a:pt x="524" y="283"/>
                      </a:lnTo>
                      <a:lnTo>
                        <a:pt x="525" y="289"/>
                      </a:lnTo>
                      <a:lnTo>
                        <a:pt x="525" y="294"/>
                      </a:lnTo>
                      <a:lnTo>
                        <a:pt x="523" y="297"/>
                      </a:lnTo>
                      <a:lnTo>
                        <a:pt x="519" y="301"/>
                      </a:lnTo>
                      <a:lnTo>
                        <a:pt x="516" y="304"/>
                      </a:lnTo>
                      <a:lnTo>
                        <a:pt x="505" y="308"/>
                      </a:lnTo>
                      <a:lnTo>
                        <a:pt x="494" y="312"/>
                      </a:lnTo>
                      <a:lnTo>
                        <a:pt x="481" y="316"/>
                      </a:lnTo>
                      <a:lnTo>
                        <a:pt x="469" y="319"/>
                      </a:lnTo>
                      <a:lnTo>
                        <a:pt x="459" y="323"/>
                      </a:lnTo>
                      <a:lnTo>
                        <a:pt x="452" y="327"/>
                      </a:lnTo>
                      <a:lnTo>
                        <a:pt x="448" y="334"/>
                      </a:lnTo>
                      <a:lnTo>
                        <a:pt x="446" y="344"/>
                      </a:lnTo>
                      <a:lnTo>
                        <a:pt x="443" y="354"/>
                      </a:lnTo>
                      <a:lnTo>
                        <a:pt x="443" y="365"/>
                      </a:lnTo>
                      <a:lnTo>
                        <a:pt x="445" y="386"/>
                      </a:lnTo>
                      <a:lnTo>
                        <a:pt x="446" y="400"/>
                      </a:lnTo>
                      <a:lnTo>
                        <a:pt x="445" y="415"/>
                      </a:lnTo>
                      <a:lnTo>
                        <a:pt x="442" y="428"/>
                      </a:lnTo>
                      <a:lnTo>
                        <a:pt x="439" y="439"/>
                      </a:lnTo>
                      <a:lnTo>
                        <a:pt x="436" y="447"/>
                      </a:lnTo>
                      <a:lnTo>
                        <a:pt x="430" y="454"/>
                      </a:lnTo>
                      <a:lnTo>
                        <a:pt x="425" y="459"/>
                      </a:lnTo>
                      <a:lnTo>
                        <a:pt x="419" y="464"/>
                      </a:lnTo>
                      <a:lnTo>
                        <a:pt x="413" y="467"/>
                      </a:lnTo>
                      <a:lnTo>
                        <a:pt x="400" y="472"/>
                      </a:lnTo>
                      <a:lnTo>
                        <a:pt x="386" y="477"/>
                      </a:lnTo>
                      <a:lnTo>
                        <a:pt x="380" y="480"/>
                      </a:lnTo>
                      <a:lnTo>
                        <a:pt x="374" y="484"/>
                      </a:lnTo>
                      <a:lnTo>
                        <a:pt x="370" y="488"/>
                      </a:lnTo>
                      <a:lnTo>
                        <a:pt x="366" y="493"/>
                      </a:lnTo>
                      <a:lnTo>
                        <a:pt x="356" y="493"/>
                      </a:lnTo>
                      <a:lnTo>
                        <a:pt x="346" y="493"/>
                      </a:lnTo>
                      <a:lnTo>
                        <a:pt x="341" y="493"/>
                      </a:lnTo>
                      <a:lnTo>
                        <a:pt x="337" y="492"/>
                      </a:lnTo>
                      <a:lnTo>
                        <a:pt x="334" y="491"/>
                      </a:lnTo>
                      <a:lnTo>
                        <a:pt x="331" y="489"/>
                      </a:lnTo>
                      <a:lnTo>
                        <a:pt x="329" y="487"/>
                      </a:lnTo>
                      <a:lnTo>
                        <a:pt x="328" y="484"/>
                      </a:lnTo>
                      <a:lnTo>
                        <a:pt x="327" y="482"/>
                      </a:lnTo>
                      <a:lnTo>
                        <a:pt x="326" y="478"/>
                      </a:lnTo>
                      <a:lnTo>
                        <a:pt x="327" y="471"/>
                      </a:lnTo>
                      <a:lnTo>
                        <a:pt x="328" y="464"/>
                      </a:lnTo>
                      <a:lnTo>
                        <a:pt x="330" y="457"/>
                      </a:lnTo>
                      <a:lnTo>
                        <a:pt x="333" y="450"/>
                      </a:lnTo>
                      <a:lnTo>
                        <a:pt x="304" y="451"/>
                      </a:lnTo>
                      <a:lnTo>
                        <a:pt x="279" y="454"/>
                      </a:lnTo>
                      <a:lnTo>
                        <a:pt x="267" y="455"/>
                      </a:lnTo>
                      <a:lnTo>
                        <a:pt x="257" y="455"/>
                      </a:lnTo>
                      <a:lnTo>
                        <a:pt x="251" y="454"/>
                      </a:lnTo>
                      <a:lnTo>
                        <a:pt x="247" y="453"/>
                      </a:lnTo>
                      <a:lnTo>
                        <a:pt x="244" y="452"/>
                      </a:lnTo>
                      <a:lnTo>
                        <a:pt x="239" y="450"/>
                      </a:lnTo>
                      <a:lnTo>
                        <a:pt x="219" y="462"/>
                      </a:lnTo>
                      <a:lnTo>
                        <a:pt x="207" y="455"/>
                      </a:lnTo>
                      <a:lnTo>
                        <a:pt x="192" y="447"/>
                      </a:lnTo>
                      <a:lnTo>
                        <a:pt x="183" y="444"/>
                      </a:lnTo>
                      <a:lnTo>
                        <a:pt x="176" y="440"/>
                      </a:lnTo>
                      <a:lnTo>
                        <a:pt x="168" y="438"/>
                      </a:lnTo>
                      <a:lnTo>
                        <a:pt x="159" y="438"/>
                      </a:lnTo>
                      <a:lnTo>
                        <a:pt x="144" y="437"/>
                      </a:lnTo>
                      <a:lnTo>
                        <a:pt x="122" y="436"/>
                      </a:lnTo>
                      <a:lnTo>
                        <a:pt x="111" y="435"/>
                      </a:lnTo>
                      <a:lnTo>
                        <a:pt x="102" y="432"/>
                      </a:lnTo>
                      <a:lnTo>
                        <a:pt x="98" y="431"/>
                      </a:lnTo>
                      <a:lnTo>
                        <a:pt x="95" y="429"/>
                      </a:lnTo>
                      <a:lnTo>
                        <a:pt x="93" y="428"/>
                      </a:lnTo>
                      <a:lnTo>
                        <a:pt x="93" y="424"/>
                      </a:lnTo>
                      <a:lnTo>
                        <a:pt x="87" y="393"/>
                      </a:lnTo>
                      <a:lnTo>
                        <a:pt x="81" y="366"/>
                      </a:lnTo>
                      <a:lnTo>
                        <a:pt x="75" y="346"/>
                      </a:lnTo>
                      <a:lnTo>
                        <a:pt x="69" y="331"/>
                      </a:lnTo>
                      <a:lnTo>
                        <a:pt x="64" y="320"/>
                      </a:lnTo>
                      <a:lnTo>
                        <a:pt x="58" y="310"/>
                      </a:lnTo>
                      <a:lnTo>
                        <a:pt x="53" y="304"/>
                      </a:lnTo>
                      <a:lnTo>
                        <a:pt x="47" y="300"/>
                      </a:lnTo>
                      <a:lnTo>
                        <a:pt x="41" y="296"/>
                      </a:lnTo>
                      <a:lnTo>
                        <a:pt x="35" y="292"/>
                      </a:lnTo>
                      <a:lnTo>
                        <a:pt x="30" y="288"/>
                      </a:lnTo>
                      <a:lnTo>
                        <a:pt x="24" y="281"/>
                      </a:lnTo>
                      <a:lnTo>
                        <a:pt x="19" y="272"/>
                      </a:lnTo>
                      <a:lnTo>
                        <a:pt x="12" y="260"/>
                      </a:lnTo>
                      <a:lnTo>
                        <a:pt x="6" y="243"/>
                      </a:lnTo>
                      <a:lnTo>
                        <a:pt x="0" y="222"/>
                      </a:lnTo>
                      <a:lnTo>
                        <a:pt x="2" y="215"/>
                      </a:lnTo>
                      <a:lnTo>
                        <a:pt x="5" y="204"/>
                      </a:lnTo>
                      <a:lnTo>
                        <a:pt x="11" y="191"/>
                      </a:lnTo>
                      <a:lnTo>
                        <a:pt x="17" y="177"/>
                      </a:lnTo>
                      <a:lnTo>
                        <a:pt x="24" y="164"/>
                      </a:lnTo>
                      <a:lnTo>
                        <a:pt x="31" y="153"/>
                      </a:lnTo>
                      <a:lnTo>
                        <a:pt x="36" y="144"/>
                      </a:lnTo>
                      <a:lnTo>
                        <a:pt x="41" y="141"/>
                      </a:lnTo>
                      <a:lnTo>
                        <a:pt x="46" y="141"/>
                      </a:lnTo>
                      <a:lnTo>
                        <a:pt x="54" y="141"/>
                      </a:lnTo>
                      <a:lnTo>
                        <a:pt x="64" y="141"/>
                      </a:lnTo>
                      <a:lnTo>
                        <a:pt x="73" y="141"/>
                      </a:lnTo>
                      <a:lnTo>
                        <a:pt x="73" y="146"/>
                      </a:lnTo>
                      <a:lnTo>
                        <a:pt x="75" y="152"/>
                      </a:lnTo>
                      <a:lnTo>
                        <a:pt x="77" y="158"/>
                      </a:lnTo>
                      <a:lnTo>
                        <a:pt x="80" y="164"/>
                      </a:lnTo>
                      <a:lnTo>
                        <a:pt x="88" y="176"/>
                      </a:lnTo>
                      <a:lnTo>
                        <a:pt x="97" y="187"/>
                      </a:lnTo>
                      <a:lnTo>
                        <a:pt x="107" y="198"/>
                      </a:lnTo>
                      <a:lnTo>
                        <a:pt x="118" y="208"/>
                      </a:lnTo>
                      <a:lnTo>
                        <a:pt x="124" y="211"/>
                      </a:lnTo>
                      <a:lnTo>
                        <a:pt x="129" y="214"/>
                      </a:lnTo>
                      <a:lnTo>
                        <a:pt x="135" y="215"/>
                      </a:lnTo>
                      <a:lnTo>
                        <a:pt x="139" y="216"/>
                      </a:lnTo>
                      <a:lnTo>
                        <a:pt x="155" y="215"/>
                      </a:lnTo>
                      <a:lnTo>
                        <a:pt x="170" y="213"/>
                      </a:lnTo>
                      <a:lnTo>
                        <a:pt x="184" y="209"/>
                      </a:lnTo>
                      <a:lnTo>
                        <a:pt x="199" y="204"/>
                      </a:lnTo>
                      <a:lnTo>
                        <a:pt x="211" y="196"/>
                      </a:lnTo>
                      <a:lnTo>
                        <a:pt x="221" y="189"/>
                      </a:lnTo>
                      <a:lnTo>
                        <a:pt x="225" y="185"/>
                      </a:lnTo>
                      <a:lnTo>
                        <a:pt x="228" y="181"/>
                      </a:lnTo>
                      <a:lnTo>
                        <a:pt x="230" y="177"/>
                      </a:lnTo>
                      <a:lnTo>
                        <a:pt x="233" y="172"/>
                      </a:lnTo>
                      <a:lnTo>
                        <a:pt x="256" y="175"/>
                      </a:lnTo>
                      <a:lnTo>
                        <a:pt x="273" y="176"/>
                      </a:lnTo>
                      <a:lnTo>
                        <a:pt x="281" y="177"/>
                      </a:lnTo>
                      <a:lnTo>
                        <a:pt x="288" y="178"/>
                      </a:lnTo>
                      <a:lnTo>
                        <a:pt x="294" y="181"/>
                      </a:lnTo>
                      <a:lnTo>
                        <a:pt x="300" y="184"/>
                      </a:lnTo>
                      <a:lnTo>
                        <a:pt x="326" y="184"/>
                      </a:lnTo>
                      <a:lnTo>
                        <a:pt x="326" y="181"/>
                      </a:lnTo>
                      <a:lnTo>
                        <a:pt x="327" y="178"/>
                      </a:lnTo>
                      <a:lnTo>
                        <a:pt x="329" y="176"/>
                      </a:lnTo>
                      <a:lnTo>
                        <a:pt x="331" y="174"/>
                      </a:lnTo>
                      <a:lnTo>
                        <a:pt x="337" y="170"/>
                      </a:lnTo>
                      <a:lnTo>
                        <a:pt x="344" y="167"/>
                      </a:lnTo>
                      <a:lnTo>
                        <a:pt x="350" y="164"/>
                      </a:lnTo>
                      <a:lnTo>
                        <a:pt x="357" y="162"/>
                      </a:lnTo>
                      <a:lnTo>
                        <a:pt x="362" y="158"/>
                      </a:lnTo>
                      <a:lnTo>
                        <a:pt x="366" y="154"/>
                      </a:lnTo>
                      <a:lnTo>
                        <a:pt x="372" y="149"/>
                      </a:lnTo>
                      <a:lnTo>
                        <a:pt x="378" y="143"/>
                      </a:lnTo>
                      <a:lnTo>
                        <a:pt x="383" y="136"/>
                      </a:lnTo>
                      <a:lnTo>
                        <a:pt x="389" y="129"/>
                      </a:lnTo>
                      <a:lnTo>
                        <a:pt x="400" y="114"/>
                      </a:lnTo>
                      <a:lnTo>
                        <a:pt x="408" y="97"/>
                      </a:lnTo>
                      <a:lnTo>
                        <a:pt x="415" y="79"/>
                      </a:lnTo>
                      <a:lnTo>
                        <a:pt x="420" y="62"/>
                      </a:lnTo>
                      <a:lnTo>
                        <a:pt x="424" y="46"/>
                      </a:lnTo>
                      <a:lnTo>
                        <a:pt x="426" y="30"/>
                      </a:lnTo>
                      <a:lnTo>
                        <a:pt x="427" y="25"/>
                      </a:lnTo>
                      <a:lnTo>
                        <a:pt x="429" y="20"/>
                      </a:lnTo>
                      <a:lnTo>
                        <a:pt x="435" y="15"/>
                      </a:lnTo>
                      <a:lnTo>
                        <a:pt x="440" y="11"/>
                      </a:lnTo>
                      <a:lnTo>
                        <a:pt x="447" y="6"/>
                      </a:lnTo>
                      <a:lnTo>
                        <a:pt x="453" y="3"/>
                      </a:lnTo>
                      <a:lnTo>
                        <a:pt x="460" y="1"/>
                      </a:lnTo>
                      <a:lnTo>
                        <a:pt x="465" y="0"/>
                      </a:lnTo>
                      <a:lnTo>
                        <a:pt x="479" y="2"/>
                      </a:lnTo>
                      <a:lnTo>
                        <a:pt x="495" y="6"/>
                      </a:lnTo>
                      <a:lnTo>
                        <a:pt x="512" y="10"/>
                      </a:lnTo>
                      <a:lnTo>
                        <a:pt x="525" y="12"/>
                      </a:lnTo>
                    </a:path>
                  </a:pathLst>
                </a:custGeom>
                <a:grpFill/>
                <a:ln w="9525" cap="flat" cmpd="sng">
                  <a:solidFill>
                    <a:srgbClr val="FFFFFF"/>
                  </a:solidFill>
                  <a:prstDash val="solid"/>
                  <a:round/>
                  <a:headEnd type="none" w="med" len="med"/>
                  <a:tailEnd type="none" w="med" len="med"/>
                </a:ln>
                <a:effectLst/>
              </p:spPr>
              <p:txBody>
                <a:bodyPr/>
                <a:lstStyle/>
                <a:p>
                  <a:endParaRPr lang="en-GB" sz="1637"/>
                </a:p>
              </p:txBody>
            </p:sp>
            <p:sp>
              <p:nvSpPr>
                <p:cNvPr id="366" name="Freeform 334"/>
                <p:cNvSpPr>
                  <a:spLocks/>
                </p:cNvSpPr>
                <p:nvPr>
                  <p:custDataLst>
                    <p:tags r:id="rId238"/>
                  </p:custDataLst>
                </p:nvPr>
              </p:nvSpPr>
              <p:spPr bwMode="auto">
                <a:xfrm>
                  <a:off x="7258979" y="4273853"/>
                  <a:ext cx="100513" cy="64475"/>
                </a:xfrm>
                <a:custGeom>
                  <a:avLst/>
                  <a:gdLst>
                    <a:gd name="T0" fmla="*/ 0 w 212"/>
                    <a:gd name="T1" fmla="*/ 57150 h 105"/>
                    <a:gd name="T2" fmla="*/ 6949 w 212"/>
                    <a:gd name="T3" fmla="*/ 46264 h 105"/>
                    <a:gd name="T4" fmla="*/ 15201 w 212"/>
                    <a:gd name="T5" fmla="*/ 37011 h 105"/>
                    <a:gd name="T6" fmla="*/ 19110 w 212"/>
                    <a:gd name="T7" fmla="*/ 32657 h 105"/>
                    <a:gd name="T8" fmla="*/ 23453 w 212"/>
                    <a:gd name="T9" fmla="*/ 28847 h 105"/>
                    <a:gd name="T10" fmla="*/ 27796 w 212"/>
                    <a:gd name="T11" fmla="*/ 25037 h 105"/>
                    <a:gd name="T12" fmla="*/ 31705 w 212"/>
                    <a:gd name="T13" fmla="*/ 20683 h 105"/>
                    <a:gd name="T14" fmla="*/ 36048 w 212"/>
                    <a:gd name="T15" fmla="*/ 17417 h 105"/>
                    <a:gd name="T16" fmla="*/ 40826 w 212"/>
                    <a:gd name="T17" fmla="*/ 14696 h 105"/>
                    <a:gd name="T18" fmla="*/ 46038 w 212"/>
                    <a:gd name="T19" fmla="*/ 11430 h 105"/>
                    <a:gd name="T20" fmla="*/ 51249 w 212"/>
                    <a:gd name="T21" fmla="*/ 8709 h 105"/>
                    <a:gd name="T22" fmla="*/ 62542 w 212"/>
                    <a:gd name="T23" fmla="*/ 4354 h 105"/>
                    <a:gd name="T24" fmla="*/ 74702 w 212"/>
                    <a:gd name="T25" fmla="*/ 0 h 105"/>
                    <a:gd name="T26" fmla="*/ 92075 w 212"/>
                    <a:gd name="T27" fmla="*/ 0 h 105"/>
                    <a:gd name="T28" fmla="*/ 87732 w 212"/>
                    <a:gd name="T29" fmla="*/ 4899 h 105"/>
                    <a:gd name="T30" fmla="*/ 82520 w 212"/>
                    <a:gd name="T31" fmla="*/ 9797 h 105"/>
                    <a:gd name="T32" fmla="*/ 77308 w 212"/>
                    <a:gd name="T33" fmla="*/ 14696 h 105"/>
                    <a:gd name="T34" fmla="*/ 71662 w 212"/>
                    <a:gd name="T35" fmla="*/ 19050 h 105"/>
                    <a:gd name="T36" fmla="*/ 59501 w 212"/>
                    <a:gd name="T37" fmla="*/ 28303 h 105"/>
                    <a:gd name="T38" fmla="*/ 47340 w 212"/>
                    <a:gd name="T39" fmla="*/ 35923 h 105"/>
                    <a:gd name="T40" fmla="*/ 34311 w 212"/>
                    <a:gd name="T41" fmla="*/ 42999 h 105"/>
                    <a:gd name="T42" fmla="*/ 21716 w 212"/>
                    <a:gd name="T43" fmla="*/ 48986 h 105"/>
                    <a:gd name="T44" fmla="*/ 9989 w 212"/>
                    <a:gd name="T45" fmla="*/ 53884 h 105"/>
                    <a:gd name="T46" fmla="*/ 0 w 212"/>
                    <a:gd name="T47" fmla="*/ 57150 h 10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12" h="105">
                      <a:moveTo>
                        <a:pt x="0" y="105"/>
                      </a:moveTo>
                      <a:lnTo>
                        <a:pt x="16" y="85"/>
                      </a:lnTo>
                      <a:lnTo>
                        <a:pt x="35" y="68"/>
                      </a:lnTo>
                      <a:lnTo>
                        <a:pt x="44" y="60"/>
                      </a:lnTo>
                      <a:lnTo>
                        <a:pt x="54" y="53"/>
                      </a:lnTo>
                      <a:lnTo>
                        <a:pt x="64" y="46"/>
                      </a:lnTo>
                      <a:lnTo>
                        <a:pt x="73" y="38"/>
                      </a:lnTo>
                      <a:lnTo>
                        <a:pt x="83" y="32"/>
                      </a:lnTo>
                      <a:lnTo>
                        <a:pt x="94" y="27"/>
                      </a:lnTo>
                      <a:lnTo>
                        <a:pt x="106" y="21"/>
                      </a:lnTo>
                      <a:lnTo>
                        <a:pt x="118" y="16"/>
                      </a:lnTo>
                      <a:lnTo>
                        <a:pt x="144" y="8"/>
                      </a:lnTo>
                      <a:lnTo>
                        <a:pt x="172" y="0"/>
                      </a:lnTo>
                      <a:lnTo>
                        <a:pt x="212" y="0"/>
                      </a:lnTo>
                      <a:lnTo>
                        <a:pt x="202" y="9"/>
                      </a:lnTo>
                      <a:lnTo>
                        <a:pt x="190" y="18"/>
                      </a:lnTo>
                      <a:lnTo>
                        <a:pt x="178" y="27"/>
                      </a:lnTo>
                      <a:lnTo>
                        <a:pt x="165" y="35"/>
                      </a:lnTo>
                      <a:lnTo>
                        <a:pt x="137" y="52"/>
                      </a:lnTo>
                      <a:lnTo>
                        <a:pt x="109" y="66"/>
                      </a:lnTo>
                      <a:lnTo>
                        <a:pt x="79" y="79"/>
                      </a:lnTo>
                      <a:lnTo>
                        <a:pt x="50" y="90"/>
                      </a:lnTo>
                      <a:lnTo>
                        <a:pt x="23" y="99"/>
                      </a:lnTo>
                      <a:lnTo>
                        <a:pt x="0" y="105"/>
                      </a:lnTo>
                    </a:path>
                  </a:pathLst>
                </a:custGeom>
                <a:grpFill/>
                <a:ln w="9525" cap="flat" cmpd="sng">
                  <a:solidFill>
                    <a:srgbClr val="FFFFFF"/>
                  </a:solidFill>
                  <a:prstDash val="solid"/>
                  <a:round/>
                  <a:headEnd type="none" w="med" len="med"/>
                  <a:tailEnd type="none" w="med" len="med"/>
                </a:ln>
                <a:effectLst/>
              </p:spPr>
              <p:txBody>
                <a:bodyPr/>
                <a:lstStyle/>
                <a:p>
                  <a:endParaRPr lang="en-GB" sz="1637"/>
                </a:p>
              </p:txBody>
            </p:sp>
            <p:sp>
              <p:nvSpPr>
                <p:cNvPr id="367" name="Freeform 335"/>
                <p:cNvSpPr>
                  <a:spLocks/>
                </p:cNvSpPr>
                <p:nvPr>
                  <p:custDataLst>
                    <p:tags r:id="rId239"/>
                  </p:custDataLst>
                </p:nvPr>
              </p:nvSpPr>
              <p:spPr bwMode="auto">
                <a:xfrm>
                  <a:off x="7385487" y="3897750"/>
                  <a:ext cx="46790" cy="100294"/>
                </a:xfrm>
                <a:custGeom>
                  <a:avLst/>
                  <a:gdLst>
                    <a:gd name="T0" fmla="*/ 0 w 92"/>
                    <a:gd name="T1" fmla="*/ 43379 h 166"/>
                    <a:gd name="T2" fmla="*/ 0 w 92"/>
                    <a:gd name="T3" fmla="*/ 79260 h 166"/>
                    <a:gd name="T4" fmla="*/ 2329 w 92"/>
                    <a:gd name="T5" fmla="*/ 77118 h 166"/>
                    <a:gd name="T6" fmla="*/ 5591 w 92"/>
                    <a:gd name="T7" fmla="*/ 74440 h 166"/>
                    <a:gd name="T8" fmla="*/ 6522 w 92"/>
                    <a:gd name="T9" fmla="*/ 73369 h 166"/>
                    <a:gd name="T10" fmla="*/ 7920 w 92"/>
                    <a:gd name="T11" fmla="*/ 72298 h 166"/>
                    <a:gd name="T12" fmla="*/ 8386 w 92"/>
                    <a:gd name="T13" fmla="*/ 70692 h 166"/>
                    <a:gd name="T14" fmla="*/ 8852 w 92"/>
                    <a:gd name="T15" fmla="*/ 69620 h 166"/>
                    <a:gd name="T16" fmla="*/ 9318 w 92"/>
                    <a:gd name="T17" fmla="*/ 73905 h 166"/>
                    <a:gd name="T18" fmla="*/ 11181 w 92"/>
                    <a:gd name="T19" fmla="*/ 79260 h 166"/>
                    <a:gd name="T20" fmla="*/ 12579 w 92"/>
                    <a:gd name="T21" fmla="*/ 82473 h 166"/>
                    <a:gd name="T22" fmla="*/ 13977 w 92"/>
                    <a:gd name="T23" fmla="*/ 85151 h 166"/>
                    <a:gd name="T24" fmla="*/ 16306 w 92"/>
                    <a:gd name="T25" fmla="*/ 87293 h 166"/>
                    <a:gd name="T26" fmla="*/ 18170 w 92"/>
                    <a:gd name="T27" fmla="*/ 88900 h 166"/>
                    <a:gd name="T28" fmla="*/ 19102 w 92"/>
                    <a:gd name="T29" fmla="*/ 84616 h 166"/>
                    <a:gd name="T30" fmla="*/ 19102 w 92"/>
                    <a:gd name="T31" fmla="*/ 79260 h 166"/>
                    <a:gd name="T32" fmla="*/ 19102 w 92"/>
                    <a:gd name="T33" fmla="*/ 73369 h 166"/>
                    <a:gd name="T34" fmla="*/ 19102 w 92"/>
                    <a:gd name="T35" fmla="*/ 67478 h 166"/>
                    <a:gd name="T36" fmla="*/ 18636 w 92"/>
                    <a:gd name="T37" fmla="*/ 57303 h 166"/>
                    <a:gd name="T38" fmla="*/ 18170 w 92"/>
                    <a:gd name="T39" fmla="*/ 53019 h 166"/>
                    <a:gd name="T40" fmla="*/ 22363 w 92"/>
                    <a:gd name="T41" fmla="*/ 53554 h 166"/>
                    <a:gd name="T42" fmla="*/ 26556 w 92"/>
                    <a:gd name="T43" fmla="*/ 54625 h 166"/>
                    <a:gd name="T44" fmla="*/ 29817 w 92"/>
                    <a:gd name="T45" fmla="*/ 56232 h 166"/>
                    <a:gd name="T46" fmla="*/ 33078 w 92"/>
                    <a:gd name="T47" fmla="*/ 57839 h 166"/>
                    <a:gd name="T48" fmla="*/ 35408 w 92"/>
                    <a:gd name="T49" fmla="*/ 59445 h 166"/>
                    <a:gd name="T50" fmla="*/ 38203 w 92"/>
                    <a:gd name="T51" fmla="*/ 61052 h 166"/>
                    <a:gd name="T52" fmla="*/ 40533 w 92"/>
                    <a:gd name="T53" fmla="*/ 62123 h 166"/>
                    <a:gd name="T54" fmla="*/ 42862 w 92"/>
                    <a:gd name="T55" fmla="*/ 63194 h 166"/>
                    <a:gd name="T56" fmla="*/ 39601 w 92"/>
                    <a:gd name="T57" fmla="*/ 55161 h 166"/>
                    <a:gd name="T58" fmla="*/ 37737 w 92"/>
                    <a:gd name="T59" fmla="*/ 47663 h 166"/>
                    <a:gd name="T60" fmla="*/ 35408 w 92"/>
                    <a:gd name="T61" fmla="*/ 40166 h 166"/>
                    <a:gd name="T62" fmla="*/ 34010 w 92"/>
                    <a:gd name="T63" fmla="*/ 32133 h 166"/>
                    <a:gd name="T64" fmla="*/ 32612 w 92"/>
                    <a:gd name="T65" fmla="*/ 25170 h 166"/>
                    <a:gd name="T66" fmla="*/ 31215 w 92"/>
                    <a:gd name="T67" fmla="*/ 18208 h 166"/>
                    <a:gd name="T68" fmla="*/ 29351 w 92"/>
                    <a:gd name="T69" fmla="*/ 12317 h 166"/>
                    <a:gd name="T70" fmla="*/ 27488 w 92"/>
                    <a:gd name="T71" fmla="*/ 6962 h 166"/>
                    <a:gd name="T72" fmla="*/ 27488 w 92"/>
                    <a:gd name="T73" fmla="*/ 10175 h 166"/>
                    <a:gd name="T74" fmla="*/ 27488 w 92"/>
                    <a:gd name="T75" fmla="*/ 13389 h 166"/>
                    <a:gd name="T76" fmla="*/ 23295 w 92"/>
                    <a:gd name="T77" fmla="*/ 12317 h 166"/>
                    <a:gd name="T78" fmla="*/ 19567 w 92"/>
                    <a:gd name="T79" fmla="*/ 10175 h 166"/>
                    <a:gd name="T80" fmla="*/ 16306 w 92"/>
                    <a:gd name="T81" fmla="*/ 8033 h 166"/>
                    <a:gd name="T82" fmla="*/ 13511 w 92"/>
                    <a:gd name="T83" fmla="*/ 5891 h 166"/>
                    <a:gd name="T84" fmla="*/ 10716 w 92"/>
                    <a:gd name="T85" fmla="*/ 3749 h 166"/>
                    <a:gd name="T86" fmla="*/ 7454 w 92"/>
                    <a:gd name="T87" fmla="*/ 1607 h 166"/>
                    <a:gd name="T88" fmla="*/ 3727 w 92"/>
                    <a:gd name="T89" fmla="*/ 536 h 166"/>
                    <a:gd name="T90" fmla="*/ 0 w 92"/>
                    <a:gd name="T91" fmla="*/ 0 h 166"/>
                    <a:gd name="T92" fmla="*/ 0 w 92"/>
                    <a:gd name="T93" fmla="*/ 5355 h 166"/>
                    <a:gd name="T94" fmla="*/ 0 w 92"/>
                    <a:gd name="T95" fmla="*/ 10175 h 166"/>
                    <a:gd name="T96" fmla="*/ 0 w 92"/>
                    <a:gd name="T97" fmla="*/ 17673 h 166"/>
                    <a:gd name="T98" fmla="*/ 0 w 92"/>
                    <a:gd name="T99" fmla="*/ 27848 h 166"/>
                    <a:gd name="T100" fmla="*/ 0 w 92"/>
                    <a:gd name="T101" fmla="*/ 37488 h 166"/>
                    <a:gd name="T102" fmla="*/ 0 w 92"/>
                    <a:gd name="T103" fmla="*/ 43379 h 16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2" h="166">
                      <a:moveTo>
                        <a:pt x="0" y="81"/>
                      </a:moveTo>
                      <a:lnTo>
                        <a:pt x="0" y="148"/>
                      </a:lnTo>
                      <a:lnTo>
                        <a:pt x="5" y="144"/>
                      </a:lnTo>
                      <a:lnTo>
                        <a:pt x="12" y="139"/>
                      </a:lnTo>
                      <a:lnTo>
                        <a:pt x="14" y="137"/>
                      </a:lnTo>
                      <a:lnTo>
                        <a:pt x="17" y="135"/>
                      </a:lnTo>
                      <a:lnTo>
                        <a:pt x="18" y="132"/>
                      </a:lnTo>
                      <a:lnTo>
                        <a:pt x="19" y="130"/>
                      </a:lnTo>
                      <a:lnTo>
                        <a:pt x="20" y="138"/>
                      </a:lnTo>
                      <a:lnTo>
                        <a:pt x="24" y="148"/>
                      </a:lnTo>
                      <a:lnTo>
                        <a:pt x="27" y="154"/>
                      </a:lnTo>
                      <a:lnTo>
                        <a:pt x="30" y="159"/>
                      </a:lnTo>
                      <a:lnTo>
                        <a:pt x="35" y="163"/>
                      </a:lnTo>
                      <a:lnTo>
                        <a:pt x="39" y="166"/>
                      </a:lnTo>
                      <a:lnTo>
                        <a:pt x="41" y="158"/>
                      </a:lnTo>
                      <a:lnTo>
                        <a:pt x="41" y="148"/>
                      </a:lnTo>
                      <a:lnTo>
                        <a:pt x="41" y="137"/>
                      </a:lnTo>
                      <a:lnTo>
                        <a:pt x="41" y="126"/>
                      </a:lnTo>
                      <a:lnTo>
                        <a:pt x="40" y="107"/>
                      </a:lnTo>
                      <a:lnTo>
                        <a:pt x="39" y="99"/>
                      </a:lnTo>
                      <a:lnTo>
                        <a:pt x="48" y="100"/>
                      </a:lnTo>
                      <a:lnTo>
                        <a:pt x="57" y="102"/>
                      </a:lnTo>
                      <a:lnTo>
                        <a:pt x="64" y="105"/>
                      </a:lnTo>
                      <a:lnTo>
                        <a:pt x="71" y="108"/>
                      </a:lnTo>
                      <a:lnTo>
                        <a:pt x="76" y="111"/>
                      </a:lnTo>
                      <a:lnTo>
                        <a:pt x="82" y="114"/>
                      </a:lnTo>
                      <a:lnTo>
                        <a:pt x="87" y="116"/>
                      </a:lnTo>
                      <a:lnTo>
                        <a:pt x="92" y="118"/>
                      </a:lnTo>
                      <a:lnTo>
                        <a:pt x="85" y="103"/>
                      </a:lnTo>
                      <a:lnTo>
                        <a:pt x="81" y="89"/>
                      </a:lnTo>
                      <a:lnTo>
                        <a:pt x="76" y="75"/>
                      </a:lnTo>
                      <a:lnTo>
                        <a:pt x="73" y="60"/>
                      </a:lnTo>
                      <a:lnTo>
                        <a:pt x="70" y="47"/>
                      </a:lnTo>
                      <a:lnTo>
                        <a:pt x="67" y="34"/>
                      </a:lnTo>
                      <a:lnTo>
                        <a:pt x="63" y="23"/>
                      </a:lnTo>
                      <a:lnTo>
                        <a:pt x="59" y="13"/>
                      </a:lnTo>
                      <a:lnTo>
                        <a:pt x="59" y="19"/>
                      </a:lnTo>
                      <a:lnTo>
                        <a:pt x="59" y="25"/>
                      </a:lnTo>
                      <a:lnTo>
                        <a:pt x="50" y="23"/>
                      </a:lnTo>
                      <a:lnTo>
                        <a:pt x="42" y="19"/>
                      </a:lnTo>
                      <a:lnTo>
                        <a:pt x="35" y="15"/>
                      </a:lnTo>
                      <a:lnTo>
                        <a:pt x="29" y="11"/>
                      </a:lnTo>
                      <a:lnTo>
                        <a:pt x="23" y="7"/>
                      </a:lnTo>
                      <a:lnTo>
                        <a:pt x="16" y="3"/>
                      </a:lnTo>
                      <a:lnTo>
                        <a:pt x="8" y="1"/>
                      </a:lnTo>
                      <a:lnTo>
                        <a:pt x="0" y="0"/>
                      </a:lnTo>
                      <a:lnTo>
                        <a:pt x="0" y="10"/>
                      </a:lnTo>
                      <a:lnTo>
                        <a:pt x="0" y="19"/>
                      </a:lnTo>
                      <a:lnTo>
                        <a:pt x="0" y="33"/>
                      </a:lnTo>
                      <a:lnTo>
                        <a:pt x="0" y="52"/>
                      </a:lnTo>
                      <a:lnTo>
                        <a:pt x="0" y="70"/>
                      </a:lnTo>
                      <a:lnTo>
                        <a:pt x="0" y="81"/>
                      </a:lnTo>
                    </a:path>
                  </a:pathLst>
                </a:custGeom>
                <a:grpFill/>
                <a:ln w="9525" cap="flat" cmpd="sng">
                  <a:solidFill>
                    <a:srgbClr val="FFFFFF"/>
                  </a:solidFill>
                  <a:prstDash val="solid"/>
                  <a:round/>
                  <a:headEnd type="none" w="med" len="med"/>
                  <a:tailEnd type="none" w="med" len="med"/>
                </a:ln>
                <a:effectLst/>
              </p:spPr>
              <p:txBody>
                <a:bodyPr/>
                <a:lstStyle/>
                <a:p>
                  <a:endParaRPr lang="en-GB" sz="1637"/>
                </a:p>
              </p:txBody>
            </p:sp>
            <p:sp>
              <p:nvSpPr>
                <p:cNvPr id="368" name="Freeform 336"/>
                <p:cNvSpPr>
                  <a:spLocks/>
                </p:cNvSpPr>
                <p:nvPr>
                  <p:custDataLst>
                    <p:tags r:id="rId240"/>
                  </p:custDataLst>
                </p:nvPr>
              </p:nvSpPr>
              <p:spPr bwMode="auto">
                <a:xfrm>
                  <a:off x="7399350" y="4060729"/>
                  <a:ext cx="77984" cy="62683"/>
                </a:xfrm>
                <a:custGeom>
                  <a:avLst/>
                  <a:gdLst>
                    <a:gd name="T0" fmla="*/ 3012 w 166"/>
                    <a:gd name="T1" fmla="*/ 0 h 62"/>
                    <a:gd name="T2" fmla="*/ 6025 w 166"/>
                    <a:gd name="T3" fmla="*/ 2688 h 62"/>
                    <a:gd name="T4" fmla="*/ 9468 w 166"/>
                    <a:gd name="T5" fmla="*/ 5377 h 62"/>
                    <a:gd name="T6" fmla="*/ 12910 w 166"/>
                    <a:gd name="T7" fmla="*/ 6273 h 62"/>
                    <a:gd name="T8" fmla="*/ 15492 w 166"/>
                    <a:gd name="T9" fmla="*/ 7169 h 62"/>
                    <a:gd name="T10" fmla="*/ 20656 w 166"/>
                    <a:gd name="T11" fmla="*/ 7169 h 62"/>
                    <a:gd name="T12" fmla="*/ 24960 w 166"/>
                    <a:gd name="T13" fmla="*/ 6273 h 62"/>
                    <a:gd name="T14" fmla="*/ 29694 w 166"/>
                    <a:gd name="T15" fmla="*/ 4481 h 62"/>
                    <a:gd name="T16" fmla="*/ 34427 w 166"/>
                    <a:gd name="T17" fmla="*/ 2688 h 62"/>
                    <a:gd name="T18" fmla="*/ 39592 w 166"/>
                    <a:gd name="T19" fmla="*/ 896 h 62"/>
                    <a:gd name="T20" fmla="*/ 45616 w 166"/>
                    <a:gd name="T21" fmla="*/ 0 h 62"/>
                    <a:gd name="T22" fmla="*/ 47768 w 166"/>
                    <a:gd name="T23" fmla="*/ 896 h 62"/>
                    <a:gd name="T24" fmla="*/ 49489 w 166"/>
                    <a:gd name="T25" fmla="*/ 1792 h 62"/>
                    <a:gd name="T26" fmla="*/ 51641 w 166"/>
                    <a:gd name="T27" fmla="*/ 4481 h 62"/>
                    <a:gd name="T28" fmla="*/ 53363 w 166"/>
                    <a:gd name="T29" fmla="*/ 7169 h 62"/>
                    <a:gd name="T30" fmla="*/ 56805 w 166"/>
                    <a:gd name="T31" fmla="*/ 15235 h 62"/>
                    <a:gd name="T32" fmla="*/ 59387 w 166"/>
                    <a:gd name="T33" fmla="*/ 23300 h 62"/>
                    <a:gd name="T34" fmla="*/ 62400 w 166"/>
                    <a:gd name="T35" fmla="*/ 32262 h 62"/>
                    <a:gd name="T36" fmla="*/ 64982 w 166"/>
                    <a:gd name="T37" fmla="*/ 40327 h 62"/>
                    <a:gd name="T38" fmla="*/ 66703 w 166"/>
                    <a:gd name="T39" fmla="*/ 43912 h 62"/>
                    <a:gd name="T40" fmla="*/ 67994 w 166"/>
                    <a:gd name="T41" fmla="*/ 46600 h 62"/>
                    <a:gd name="T42" fmla="*/ 69716 w 166"/>
                    <a:gd name="T43" fmla="*/ 48393 h 62"/>
                    <a:gd name="T44" fmla="*/ 71437 w 166"/>
                    <a:gd name="T45" fmla="*/ 50185 h 62"/>
                    <a:gd name="T46" fmla="*/ 68425 w 166"/>
                    <a:gd name="T47" fmla="*/ 51081 h 62"/>
                    <a:gd name="T48" fmla="*/ 64982 w 166"/>
                    <a:gd name="T49" fmla="*/ 52874 h 62"/>
                    <a:gd name="T50" fmla="*/ 61539 w 166"/>
                    <a:gd name="T51" fmla="*/ 54666 h 62"/>
                    <a:gd name="T52" fmla="*/ 57236 w 166"/>
                    <a:gd name="T53" fmla="*/ 55562 h 62"/>
                    <a:gd name="T54" fmla="*/ 53793 w 166"/>
                    <a:gd name="T55" fmla="*/ 54666 h 62"/>
                    <a:gd name="T56" fmla="*/ 51211 w 166"/>
                    <a:gd name="T57" fmla="*/ 51977 h 62"/>
                    <a:gd name="T58" fmla="*/ 48198 w 166"/>
                    <a:gd name="T59" fmla="*/ 48393 h 62"/>
                    <a:gd name="T60" fmla="*/ 45616 w 166"/>
                    <a:gd name="T61" fmla="*/ 44808 h 62"/>
                    <a:gd name="T62" fmla="*/ 43034 w 166"/>
                    <a:gd name="T63" fmla="*/ 40327 h 62"/>
                    <a:gd name="T64" fmla="*/ 40022 w 166"/>
                    <a:gd name="T65" fmla="*/ 36743 h 62"/>
                    <a:gd name="T66" fmla="*/ 37440 w 166"/>
                    <a:gd name="T67" fmla="*/ 34950 h 62"/>
                    <a:gd name="T68" fmla="*/ 33997 w 166"/>
                    <a:gd name="T69" fmla="*/ 34054 h 62"/>
                    <a:gd name="T70" fmla="*/ 24099 w 166"/>
                    <a:gd name="T71" fmla="*/ 34054 h 62"/>
                    <a:gd name="T72" fmla="*/ 15062 w 166"/>
                    <a:gd name="T73" fmla="*/ 34950 h 62"/>
                    <a:gd name="T74" fmla="*/ 11189 w 166"/>
                    <a:gd name="T75" fmla="*/ 36743 h 62"/>
                    <a:gd name="T76" fmla="*/ 8177 w 166"/>
                    <a:gd name="T77" fmla="*/ 38535 h 62"/>
                    <a:gd name="T78" fmla="*/ 5164 w 166"/>
                    <a:gd name="T79" fmla="*/ 41223 h 62"/>
                    <a:gd name="T80" fmla="*/ 3012 w 166"/>
                    <a:gd name="T81" fmla="*/ 44808 h 62"/>
                    <a:gd name="T82" fmla="*/ 861 w 166"/>
                    <a:gd name="T83" fmla="*/ 40327 h 62"/>
                    <a:gd name="T84" fmla="*/ 430 w 166"/>
                    <a:gd name="T85" fmla="*/ 35846 h 62"/>
                    <a:gd name="T86" fmla="*/ 0 w 166"/>
                    <a:gd name="T87" fmla="*/ 30469 h 62"/>
                    <a:gd name="T88" fmla="*/ 430 w 166"/>
                    <a:gd name="T89" fmla="*/ 25093 h 62"/>
                    <a:gd name="T90" fmla="*/ 1721 w 166"/>
                    <a:gd name="T91" fmla="*/ 13442 h 62"/>
                    <a:gd name="T92" fmla="*/ 3012 w 166"/>
                    <a:gd name="T93" fmla="*/ 0 h 6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66" h="62">
                      <a:moveTo>
                        <a:pt x="7" y="0"/>
                      </a:moveTo>
                      <a:lnTo>
                        <a:pt x="14" y="3"/>
                      </a:lnTo>
                      <a:lnTo>
                        <a:pt x="22" y="6"/>
                      </a:lnTo>
                      <a:lnTo>
                        <a:pt x="30" y="7"/>
                      </a:lnTo>
                      <a:lnTo>
                        <a:pt x="36" y="8"/>
                      </a:lnTo>
                      <a:lnTo>
                        <a:pt x="48" y="8"/>
                      </a:lnTo>
                      <a:lnTo>
                        <a:pt x="58" y="7"/>
                      </a:lnTo>
                      <a:lnTo>
                        <a:pt x="69" y="5"/>
                      </a:lnTo>
                      <a:lnTo>
                        <a:pt x="80" y="3"/>
                      </a:lnTo>
                      <a:lnTo>
                        <a:pt x="92" y="1"/>
                      </a:lnTo>
                      <a:lnTo>
                        <a:pt x="106" y="0"/>
                      </a:lnTo>
                      <a:lnTo>
                        <a:pt x="111" y="1"/>
                      </a:lnTo>
                      <a:lnTo>
                        <a:pt x="115" y="2"/>
                      </a:lnTo>
                      <a:lnTo>
                        <a:pt x="120" y="5"/>
                      </a:lnTo>
                      <a:lnTo>
                        <a:pt x="124" y="8"/>
                      </a:lnTo>
                      <a:lnTo>
                        <a:pt x="132" y="17"/>
                      </a:lnTo>
                      <a:lnTo>
                        <a:pt x="138" y="26"/>
                      </a:lnTo>
                      <a:lnTo>
                        <a:pt x="145" y="36"/>
                      </a:lnTo>
                      <a:lnTo>
                        <a:pt x="151" y="45"/>
                      </a:lnTo>
                      <a:lnTo>
                        <a:pt x="155" y="49"/>
                      </a:lnTo>
                      <a:lnTo>
                        <a:pt x="158" y="52"/>
                      </a:lnTo>
                      <a:lnTo>
                        <a:pt x="162" y="54"/>
                      </a:lnTo>
                      <a:lnTo>
                        <a:pt x="166" y="56"/>
                      </a:lnTo>
                      <a:lnTo>
                        <a:pt x="159" y="57"/>
                      </a:lnTo>
                      <a:lnTo>
                        <a:pt x="151" y="59"/>
                      </a:lnTo>
                      <a:lnTo>
                        <a:pt x="143" y="61"/>
                      </a:lnTo>
                      <a:lnTo>
                        <a:pt x="133" y="62"/>
                      </a:lnTo>
                      <a:lnTo>
                        <a:pt x="125" y="61"/>
                      </a:lnTo>
                      <a:lnTo>
                        <a:pt x="119" y="58"/>
                      </a:lnTo>
                      <a:lnTo>
                        <a:pt x="112" y="54"/>
                      </a:lnTo>
                      <a:lnTo>
                        <a:pt x="106" y="50"/>
                      </a:lnTo>
                      <a:lnTo>
                        <a:pt x="100" y="45"/>
                      </a:lnTo>
                      <a:lnTo>
                        <a:pt x="93" y="41"/>
                      </a:lnTo>
                      <a:lnTo>
                        <a:pt x="87" y="39"/>
                      </a:lnTo>
                      <a:lnTo>
                        <a:pt x="79" y="38"/>
                      </a:lnTo>
                      <a:lnTo>
                        <a:pt x="56" y="38"/>
                      </a:lnTo>
                      <a:lnTo>
                        <a:pt x="35" y="39"/>
                      </a:lnTo>
                      <a:lnTo>
                        <a:pt x="26" y="41"/>
                      </a:lnTo>
                      <a:lnTo>
                        <a:pt x="19" y="43"/>
                      </a:lnTo>
                      <a:lnTo>
                        <a:pt x="12" y="46"/>
                      </a:lnTo>
                      <a:lnTo>
                        <a:pt x="7" y="50"/>
                      </a:lnTo>
                      <a:lnTo>
                        <a:pt x="2" y="45"/>
                      </a:lnTo>
                      <a:lnTo>
                        <a:pt x="1" y="40"/>
                      </a:lnTo>
                      <a:lnTo>
                        <a:pt x="0" y="34"/>
                      </a:lnTo>
                      <a:lnTo>
                        <a:pt x="1" y="28"/>
                      </a:lnTo>
                      <a:lnTo>
                        <a:pt x="4" y="15"/>
                      </a:lnTo>
                      <a:lnTo>
                        <a:pt x="7" y="0"/>
                      </a:lnTo>
                    </a:path>
                  </a:pathLst>
                </a:custGeom>
                <a:grpFill/>
                <a:ln w="9525" cap="flat" cmpd="sng">
                  <a:solidFill>
                    <a:srgbClr val="FFFFFF"/>
                  </a:solidFill>
                  <a:prstDash val="solid"/>
                  <a:round/>
                  <a:headEnd type="none" w="med" len="med"/>
                  <a:tailEnd type="none" w="med" len="med"/>
                </a:ln>
                <a:effectLst/>
              </p:spPr>
              <p:txBody>
                <a:bodyPr/>
                <a:lstStyle/>
                <a:p>
                  <a:endParaRPr lang="en-GB" sz="1637"/>
                </a:p>
              </p:txBody>
            </p:sp>
            <p:sp>
              <p:nvSpPr>
                <p:cNvPr id="369" name="Freeform 337"/>
                <p:cNvSpPr>
                  <a:spLocks/>
                </p:cNvSpPr>
                <p:nvPr>
                  <p:custDataLst>
                    <p:tags r:id="rId241"/>
                  </p:custDataLst>
                </p:nvPr>
              </p:nvSpPr>
              <p:spPr bwMode="auto">
                <a:xfrm>
                  <a:off x="7482533" y="3974762"/>
                  <a:ext cx="93581" cy="71639"/>
                </a:xfrm>
                <a:custGeom>
                  <a:avLst/>
                  <a:gdLst>
                    <a:gd name="T0" fmla="*/ 14658 w 193"/>
                    <a:gd name="T1" fmla="*/ 18368 h 121"/>
                    <a:gd name="T2" fmla="*/ 21320 w 193"/>
                    <a:gd name="T3" fmla="*/ 13120 h 121"/>
                    <a:gd name="T4" fmla="*/ 30204 w 193"/>
                    <a:gd name="T5" fmla="*/ 6298 h 121"/>
                    <a:gd name="T6" fmla="*/ 37310 w 193"/>
                    <a:gd name="T7" fmla="*/ 2099 h 121"/>
                    <a:gd name="T8" fmla="*/ 41752 w 193"/>
                    <a:gd name="T9" fmla="*/ 525 h 121"/>
                    <a:gd name="T10" fmla="*/ 46638 w 193"/>
                    <a:gd name="T11" fmla="*/ 525 h 121"/>
                    <a:gd name="T12" fmla="*/ 51524 w 193"/>
                    <a:gd name="T13" fmla="*/ 1574 h 121"/>
                    <a:gd name="T14" fmla="*/ 58186 w 193"/>
                    <a:gd name="T15" fmla="*/ 5248 h 121"/>
                    <a:gd name="T16" fmla="*/ 65737 w 193"/>
                    <a:gd name="T17" fmla="*/ 11021 h 121"/>
                    <a:gd name="T18" fmla="*/ 71956 w 193"/>
                    <a:gd name="T19" fmla="*/ 14694 h 121"/>
                    <a:gd name="T20" fmla="*/ 76842 w 193"/>
                    <a:gd name="T21" fmla="*/ 15744 h 121"/>
                    <a:gd name="T22" fmla="*/ 79507 w 193"/>
                    <a:gd name="T23" fmla="*/ 25190 h 121"/>
                    <a:gd name="T24" fmla="*/ 79062 w 193"/>
                    <a:gd name="T25" fmla="*/ 34636 h 121"/>
                    <a:gd name="T26" fmla="*/ 80839 w 193"/>
                    <a:gd name="T27" fmla="*/ 39360 h 121"/>
                    <a:gd name="T28" fmla="*/ 83060 w 193"/>
                    <a:gd name="T29" fmla="*/ 46707 h 121"/>
                    <a:gd name="T30" fmla="*/ 83504 w 193"/>
                    <a:gd name="T31" fmla="*/ 53529 h 121"/>
                    <a:gd name="T32" fmla="*/ 84837 w 193"/>
                    <a:gd name="T33" fmla="*/ 57202 h 121"/>
                    <a:gd name="T34" fmla="*/ 83504 w 193"/>
                    <a:gd name="T35" fmla="*/ 59826 h 121"/>
                    <a:gd name="T36" fmla="*/ 78618 w 193"/>
                    <a:gd name="T37" fmla="*/ 61926 h 121"/>
                    <a:gd name="T38" fmla="*/ 70623 w 193"/>
                    <a:gd name="T39" fmla="*/ 63500 h 121"/>
                    <a:gd name="T40" fmla="*/ 51524 w 193"/>
                    <a:gd name="T41" fmla="*/ 62450 h 121"/>
                    <a:gd name="T42" fmla="*/ 31980 w 193"/>
                    <a:gd name="T43" fmla="*/ 60876 h 121"/>
                    <a:gd name="T44" fmla="*/ 27983 w 193"/>
                    <a:gd name="T45" fmla="*/ 57727 h 121"/>
                    <a:gd name="T46" fmla="*/ 24874 w 193"/>
                    <a:gd name="T47" fmla="*/ 52479 h 121"/>
                    <a:gd name="T48" fmla="*/ 23985 w 193"/>
                    <a:gd name="T49" fmla="*/ 45657 h 121"/>
                    <a:gd name="T50" fmla="*/ 20876 w 193"/>
                    <a:gd name="T51" fmla="*/ 41459 h 121"/>
                    <a:gd name="T52" fmla="*/ 13769 w 193"/>
                    <a:gd name="T53" fmla="*/ 39360 h 121"/>
                    <a:gd name="T54" fmla="*/ 5774 w 193"/>
                    <a:gd name="T55" fmla="*/ 36211 h 121"/>
                    <a:gd name="T56" fmla="*/ 1333 w 193"/>
                    <a:gd name="T57" fmla="*/ 32537 h 121"/>
                    <a:gd name="T58" fmla="*/ 0 w 193"/>
                    <a:gd name="T59" fmla="*/ 30438 h 121"/>
                    <a:gd name="T60" fmla="*/ 444 w 193"/>
                    <a:gd name="T61" fmla="*/ 26764 h 121"/>
                    <a:gd name="T62" fmla="*/ 3109 w 193"/>
                    <a:gd name="T63" fmla="*/ 23616 h 121"/>
                    <a:gd name="T64" fmla="*/ 8883 w 193"/>
                    <a:gd name="T65" fmla="*/ 19942 h 12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93" h="121">
                      <a:moveTo>
                        <a:pt x="26" y="36"/>
                      </a:moveTo>
                      <a:lnTo>
                        <a:pt x="33" y="35"/>
                      </a:lnTo>
                      <a:lnTo>
                        <a:pt x="39" y="31"/>
                      </a:lnTo>
                      <a:lnTo>
                        <a:pt x="48" y="25"/>
                      </a:lnTo>
                      <a:lnTo>
                        <a:pt x="58" y="18"/>
                      </a:lnTo>
                      <a:lnTo>
                        <a:pt x="68" y="12"/>
                      </a:lnTo>
                      <a:lnTo>
                        <a:pt x="79" y="6"/>
                      </a:lnTo>
                      <a:lnTo>
                        <a:pt x="84" y="4"/>
                      </a:lnTo>
                      <a:lnTo>
                        <a:pt x="90" y="2"/>
                      </a:lnTo>
                      <a:lnTo>
                        <a:pt x="94" y="1"/>
                      </a:lnTo>
                      <a:lnTo>
                        <a:pt x="100" y="0"/>
                      </a:lnTo>
                      <a:lnTo>
                        <a:pt x="105" y="1"/>
                      </a:lnTo>
                      <a:lnTo>
                        <a:pt x="111" y="1"/>
                      </a:lnTo>
                      <a:lnTo>
                        <a:pt x="116" y="3"/>
                      </a:lnTo>
                      <a:lnTo>
                        <a:pt x="122" y="5"/>
                      </a:lnTo>
                      <a:lnTo>
                        <a:pt x="131" y="10"/>
                      </a:lnTo>
                      <a:lnTo>
                        <a:pt x="139" y="15"/>
                      </a:lnTo>
                      <a:lnTo>
                        <a:pt x="148" y="21"/>
                      </a:lnTo>
                      <a:lnTo>
                        <a:pt x="158" y="26"/>
                      </a:lnTo>
                      <a:lnTo>
                        <a:pt x="162" y="28"/>
                      </a:lnTo>
                      <a:lnTo>
                        <a:pt x="168" y="29"/>
                      </a:lnTo>
                      <a:lnTo>
                        <a:pt x="173" y="30"/>
                      </a:lnTo>
                      <a:lnTo>
                        <a:pt x="179" y="30"/>
                      </a:lnTo>
                      <a:lnTo>
                        <a:pt x="179" y="48"/>
                      </a:lnTo>
                      <a:lnTo>
                        <a:pt x="178" y="60"/>
                      </a:lnTo>
                      <a:lnTo>
                        <a:pt x="178" y="66"/>
                      </a:lnTo>
                      <a:lnTo>
                        <a:pt x="179" y="71"/>
                      </a:lnTo>
                      <a:lnTo>
                        <a:pt x="182" y="75"/>
                      </a:lnTo>
                      <a:lnTo>
                        <a:pt x="187" y="80"/>
                      </a:lnTo>
                      <a:lnTo>
                        <a:pt x="187" y="89"/>
                      </a:lnTo>
                      <a:lnTo>
                        <a:pt x="187" y="97"/>
                      </a:lnTo>
                      <a:lnTo>
                        <a:pt x="188" y="102"/>
                      </a:lnTo>
                      <a:lnTo>
                        <a:pt x="189" y="106"/>
                      </a:lnTo>
                      <a:lnTo>
                        <a:pt x="191" y="109"/>
                      </a:lnTo>
                      <a:lnTo>
                        <a:pt x="193" y="111"/>
                      </a:lnTo>
                      <a:lnTo>
                        <a:pt x="188" y="114"/>
                      </a:lnTo>
                      <a:lnTo>
                        <a:pt x="182" y="117"/>
                      </a:lnTo>
                      <a:lnTo>
                        <a:pt x="177" y="118"/>
                      </a:lnTo>
                      <a:lnTo>
                        <a:pt x="171" y="120"/>
                      </a:lnTo>
                      <a:lnTo>
                        <a:pt x="159" y="121"/>
                      </a:lnTo>
                      <a:lnTo>
                        <a:pt x="146" y="121"/>
                      </a:lnTo>
                      <a:lnTo>
                        <a:pt x="116" y="119"/>
                      </a:lnTo>
                      <a:lnTo>
                        <a:pt x="80" y="117"/>
                      </a:lnTo>
                      <a:lnTo>
                        <a:pt x="72" y="116"/>
                      </a:lnTo>
                      <a:lnTo>
                        <a:pt x="67" y="114"/>
                      </a:lnTo>
                      <a:lnTo>
                        <a:pt x="63" y="110"/>
                      </a:lnTo>
                      <a:lnTo>
                        <a:pt x="59" y="106"/>
                      </a:lnTo>
                      <a:lnTo>
                        <a:pt x="56" y="100"/>
                      </a:lnTo>
                      <a:lnTo>
                        <a:pt x="55" y="93"/>
                      </a:lnTo>
                      <a:lnTo>
                        <a:pt x="54" y="87"/>
                      </a:lnTo>
                      <a:lnTo>
                        <a:pt x="54" y="80"/>
                      </a:lnTo>
                      <a:lnTo>
                        <a:pt x="47" y="79"/>
                      </a:lnTo>
                      <a:lnTo>
                        <a:pt x="39" y="78"/>
                      </a:lnTo>
                      <a:lnTo>
                        <a:pt x="31" y="75"/>
                      </a:lnTo>
                      <a:lnTo>
                        <a:pt x="22" y="72"/>
                      </a:lnTo>
                      <a:lnTo>
                        <a:pt x="13" y="69"/>
                      </a:lnTo>
                      <a:lnTo>
                        <a:pt x="7" y="65"/>
                      </a:lnTo>
                      <a:lnTo>
                        <a:pt x="3" y="62"/>
                      </a:lnTo>
                      <a:lnTo>
                        <a:pt x="2" y="60"/>
                      </a:lnTo>
                      <a:lnTo>
                        <a:pt x="0" y="58"/>
                      </a:lnTo>
                      <a:lnTo>
                        <a:pt x="0" y="56"/>
                      </a:lnTo>
                      <a:lnTo>
                        <a:pt x="1" y="51"/>
                      </a:lnTo>
                      <a:lnTo>
                        <a:pt x="3" y="48"/>
                      </a:lnTo>
                      <a:lnTo>
                        <a:pt x="7" y="45"/>
                      </a:lnTo>
                      <a:lnTo>
                        <a:pt x="11" y="41"/>
                      </a:lnTo>
                      <a:lnTo>
                        <a:pt x="20" y="38"/>
                      </a:lnTo>
                      <a:lnTo>
                        <a:pt x="26" y="36"/>
                      </a:lnTo>
                    </a:path>
                  </a:pathLst>
                </a:custGeom>
                <a:grpFill/>
                <a:ln w="9525" cap="flat" cmpd="sng">
                  <a:solidFill>
                    <a:srgbClr val="FFFFFF"/>
                  </a:solidFill>
                  <a:prstDash val="solid"/>
                  <a:round/>
                  <a:headEnd type="none" w="med" len="med"/>
                  <a:tailEnd type="none" w="med" len="med"/>
                </a:ln>
                <a:effectLst/>
              </p:spPr>
              <p:txBody>
                <a:bodyPr/>
                <a:lstStyle/>
                <a:p>
                  <a:endParaRPr lang="en-GB" sz="1637"/>
                </a:p>
              </p:txBody>
            </p:sp>
            <p:sp>
              <p:nvSpPr>
                <p:cNvPr id="370" name="Freeform 338"/>
                <p:cNvSpPr>
                  <a:spLocks/>
                </p:cNvSpPr>
                <p:nvPr>
                  <p:custDataLst>
                    <p:tags r:id="rId242"/>
                  </p:custDataLst>
                </p:nvPr>
              </p:nvSpPr>
              <p:spPr bwMode="auto">
                <a:xfrm>
                  <a:off x="7142870" y="3904914"/>
                  <a:ext cx="181962" cy="259690"/>
                </a:xfrm>
                <a:custGeom>
                  <a:avLst/>
                  <a:gdLst>
                    <a:gd name="T0" fmla="*/ 16273 w 379"/>
                    <a:gd name="T1" fmla="*/ 220707 h 437"/>
                    <a:gd name="T2" fmla="*/ 20231 w 379"/>
                    <a:gd name="T3" fmla="*/ 214386 h 437"/>
                    <a:gd name="T4" fmla="*/ 10555 w 379"/>
                    <a:gd name="T5" fmla="*/ 163818 h 437"/>
                    <a:gd name="T6" fmla="*/ 880 w 379"/>
                    <a:gd name="T7" fmla="*/ 154863 h 437"/>
                    <a:gd name="T8" fmla="*/ 6597 w 379"/>
                    <a:gd name="T9" fmla="*/ 142221 h 437"/>
                    <a:gd name="T10" fmla="*/ 13634 w 379"/>
                    <a:gd name="T11" fmla="*/ 116411 h 437"/>
                    <a:gd name="T12" fmla="*/ 17152 w 379"/>
                    <a:gd name="T13" fmla="*/ 90600 h 437"/>
                    <a:gd name="T14" fmla="*/ 25069 w 379"/>
                    <a:gd name="T15" fmla="*/ 83753 h 437"/>
                    <a:gd name="T16" fmla="*/ 28587 w 379"/>
                    <a:gd name="T17" fmla="*/ 68477 h 437"/>
                    <a:gd name="T18" fmla="*/ 33425 w 379"/>
                    <a:gd name="T19" fmla="*/ 41086 h 437"/>
                    <a:gd name="T20" fmla="*/ 39583 w 379"/>
                    <a:gd name="T21" fmla="*/ 26864 h 437"/>
                    <a:gd name="T22" fmla="*/ 50578 w 379"/>
                    <a:gd name="T23" fmla="*/ 16329 h 437"/>
                    <a:gd name="T24" fmla="*/ 67291 w 379"/>
                    <a:gd name="T25" fmla="*/ 13169 h 437"/>
                    <a:gd name="T26" fmla="*/ 95438 w 379"/>
                    <a:gd name="T27" fmla="*/ 20016 h 437"/>
                    <a:gd name="T28" fmla="*/ 115230 w 379"/>
                    <a:gd name="T29" fmla="*/ 25284 h 437"/>
                    <a:gd name="T30" fmla="*/ 133262 w 379"/>
                    <a:gd name="T31" fmla="*/ 23704 h 437"/>
                    <a:gd name="T32" fmla="*/ 144697 w 379"/>
                    <a:gd name="T33" fmla="*/ 16329 h 437"/>
                    <a:gd name="T34" fmla="*/ 156571 w 379"/>
                    <a:gd name="T35" fmla="*/ 3687 h 437"/>
                    <a:gd name="T36" fmla="*/ 164488 w 379"/>
                    <a:gd name="T37" fmla="*/ 4741 h 437"/>
                    <a:gd name="T38" fmla="*/ 163608 w 379"/>
                    <a:gd name="T39" fmla="*/ 18436 h 437"/>
                    <a:gd name="T40" fmla="*/ 144697 w 379"/>
                    <a:gd name="T41" fmla="*/ 42140 h 437"/>
                    <a:gd name="T42" fmla="*/ 128424 w 379"/>
                    <a:gd name="T43" fmla="*/ 51094 h 437"/>
                    <a:gd name="T44" fmla="*/ 119188 w 379"/>
                    <a:gd name="T45" fmla="*/ 49514 h 437"/>
                    <a:gd name="T46" fmla="*/ 104674 w 379"/>
                    <a:gd name="T47" fmla="*/ 36345 h 437"/>
                    <a:gd name="T48" fmla="*/ 93239 w 379"/>
                    <a:gd name="T49" fmla="*/ 29498 h 437"/>
                    <a:gd name="T50" fmla="*/ 77846 w 379"/>
                    <a:gd name="T51" fmla="*/ 29498 h 437"/>
                    <a:gd name="T52" fmla="*/ 60693 w 379"/>
                    <a:gd name="T53" fmla="*/ 32132 h 437"/>
                    <a:gd name="T54" fmla="*/ 50138 w 379"/>
                    <a:gd name="T55" fmla="*/ 41613 h 437"/>
                    <a:gd name="T56" fmla="*/ 34745 w 379"/>
                    <a:gd name="T57" fmla="*/ 84806 h 437"/>
                    <a:gd name="T58" fmla="*/ 52337 w 379"/>
                    <a:gd name="T59" fmla="*/ 89020 h 437"/>
                    <a:gd name="T60" fmla="*/ 58494 w 379"/>
                    <a:gd name="T61" fmla="*/ 100608 h 437"/>
                    <a:gd name="T62" fmla="*/ 68170 w 379"/>
                    <a:gd name="T63" fmla="*/ 88493 h 437"/>
                    <a:gd name="T64" fmla="*/ 75647 w 379"/>
                    <a:gd name="T65" fmla="*/ 80592 h 437"/>
                    <a:gd name="T66" fmla="*/ 97197 w 379"/>
                    <a:gd name="T67" fmla="*/ 79012 h 437"/>
                    <a:gd name="T68" fmla="*/ 109952 w 379"/>
                    <a:gd name="T69" fmla="*/ 77432 h 437"/>
                    <a:gd name="T70" fmla="*/ 120067 w 379"/>
                    <a:gd name="T71" fmla="*/ 91127 h 437"/>
                    <a:gd name="T72" fmla="*/ 122706 w 379"/>
                    <a:gd name="T73" fmla="*/ 106929 h 437"/>
                    <a:gd name="T74" fmla="*/ 108193 w 379"/>
                    <a:gd name="T75" fmla="*/ 101135 h 437"/>
                    <a:gd name="T76" fmla="*/ 95878 w 379"/>
                    <a:gd name="T77" fmla="*/ 97448 h 437"/>
                    <a:gd name="T78" fmla="*/ 84443 w 379"/>
                    <a:gd name="T79" fmla="*/ 102715 h 437"/>
                    <a:gd name="T80" fmla="*/ 81804 w 379"/>
                    <a:gd name="T81" fmla="*/ 110090 h 437"/>
                    <a:gd name="T82" fmla="*/ 84443 w 379"/>
                    <a:gd name="T83" fmla="*/ 122732 h 437"/>
                    <a:gd name="T84" fmla="*/ 96758 w 379"/>
                    <a:gd name="T85" fmla="*/ 143275 h 437"/>
                    <a:gd name="T86" fmla="*/ 98957 w 379"/>
                    <a:gd name="T87" fmla="*/ 155917 h 437"/>
                    <a:gd name="T88" fmla="*/ 94559 w 379"/>
                    <a:gd name="T89" fmla="*/ 169612 h 437"/>
                    <a:gd name="T90" fmla="*/ 90161 w 379"/>
                    <a:gd name="T91" fmla="*/ 181727 h 437"/>
                    <a:gd name="T92" fmla="*/ 92360 w 379"/>
                    <a:gd name="T93" fmla="*/ 187522 h 437"/>
                    <a:gd name="T94" fmla="*/ 103795 w 379"/>
                    <a:gd name="T95" fmla="*/ 193843 h 437"/>
                    <a:gd name="T96" fmla="*/ 110831 w 379"/>
                    <a:gd name="T97" fmla="*/ 210698 h 437"/>
                    <a:gd name="T98" fmla="*/ 105114 w 379"/>
                    <a:gd name="T99" fmla="*/ 225974 h 437"/>
                    <a:gd name="T100" fmla="*/ 97197 w 379"/>
                    <a:gd name="T101" fmla="*/ 221760 h 437"/>
                    <a:gd name="T102" fmla="*/ 88841 w 379"/>
                    <a:gd name="T103" fmla="*/ 219653 h 437"/>
                    <a:gd name="T104" fmla="*/ 77846 w 379"/>
                    <a:gd name="T105" fmla="*/ 210698 h 437"/>
                    <a:gd name="T106" fmla="*/ 67291 w 379"/>
                    <a:gd name="T107" fmla="*/ 187522 h 437"/>
                    <a:gd name="T108" fmla="*/ 60254 w 379"/>
                    <a:gd name="T109" fmla="*/ 160131 h 437"/>
                    <a:gd name="T110" fmla="*/ 50138 w 379"/>
                    <a:gd name="T111" fmla="*/ 138534 h 437"/>
                    <a:gd name="T112" fmla="*/ 42661 w 379"/>
                    <a:gd name="T113" fmla="*/ 136427 h 437"/>
                    <a:gd name="T114" fmla="*/ 46180 w 379"/>
                    <a:gd name="T115" fmla="*/ 200690 h 437"/>
                    <a:gd name="T116" fmla="*/ 40902 w 379"/>
                    <a:gd name="T117" fmla="*/ 212805 h 437"/>
                    <a:gd name="T118" fmla="*/ 25069 w 379"/>
                    <a:gd name="T119" fmla="*/ 224394 h 437"/>
                    <a:gd name="T120" fmla="*/ 25949 w 379"/>
                    <a:gd name="T121" fmla="*/ 230188 h 43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379" h="437">
                      <a:moveTo>
                        <a:pt x="59" y="437"/>
                      </a:moveTo>
                      <a:lnTo>
                        <a:pt x="33" y="437"/>
                      </a:lnTo>
                      <a:lnTo>
                        <a:pt x="34" y="430"/>
                      </a:lnTo>
                      <a:lnTo>
                        <a:pt x="37" y="419"/>
                      </a:lnTo>
                      <a:lnTo>
                        <a:pt x="38" y="415"/>
                      </a:lnTo>
                      <a:lnTo>
                        <a:pt x="41" y="410"/>
                      </a:lnTo>
                      <a:lnTo>
                        <a:pt x="44" y="408"/>
                      </a:lnTo>
                      <a:lnTo>
                        <a:pt x="46" y="407"/>
                      </a:lnTo>
                      <a:lnTo>
                        <a:pt x="46" y="320"/>
                      </a:lnTo>
                      <a:lnTo>
                        <a:pt x="38" y="317"/>
                      </a:lnTo>
                      <a:lnTo>
                        <a:pt x="32" y="314"/>
                      </a:lnTo>
                      <a:lnTo>
                        <a:pt x="24" y="311"/>
                      </a:lnTo>
                      <a:lnTo>
                        <a:pt x="18" y="307"/>
                      </a:lnTo>
                      <a:lnTo>
                        <a:pt x="12" y="303"/>
                      </a:lnTo>
                      <a:lnTo>
                        <a:pt x="7" y="299"/>
                      </a:lnTo>
                      <a:lnTo>
                        <a:pt x="2" y="294"/>
                      </a:lnTo>
                      <a:lnTo>
                        <a:pt x="0" y="290"/>
                      </a:lnTo>
                      <a:lnTo>
                        <a:pt x="5" y="284"/>
                      </a:lnTo>
                      <a:lnTo>
                        <a:pt x="11" y="278"/>
                      </a:lnTo>
                      <a:lnTo>
                        <a:pt x="15" y="270"/>
                      </a:lnTo>
                      <a:lnTo>
                        <a:pt x="19" y="264"/>
                      </a:lnTo>
                      <a:lnTo>
                        <a:pt x="24" y="250"/>
                      </a:lnTo>
                      <a:lnTo>
                        <a:pt x="28" y="236"/>
                      </a:lnTo>
                      <a:lnTo>
                        <a:pt x="31" y="221"/>
                      </a:lnTo>
                      <a:lnTo>
                        <a:pt x="32" y="204"/>
                      </a:lnTo>
                      <a:lnTo>
                        <a:pt x="33" y="189"/>
                      </a:lnTo>
                      <a:lnTo>
                        <a:pt x="33" y="173"/>
                      </a:lnTo>
                      <a:lnTo>
                        <a:pt x="39" y="172"/>
                      </a:lnTo>
                      <a:lnTo>
                        <a:pt x="45" y="170"/>
                      </a:lnTo>
                      <a:lnTo>
                        <a:pt x="50" y="168"/>
                      </a:lnTo>
                      <a:lnTo>
                        <a:pt x="54" y="164"/>
                      </a:lnTo>
                      <a:lnTo>
                        <a:pt x="57" y="159"/>
                      </a:lnTo>
                      <a:lnTo>
                        <a:pt x="59" y="154"/>
                      </a:lnTo>
                      <a:lnTo>
                        <a:pt x="61" y="149"/>
                      </a:lnTo>
                      <a:lnTo>
                        <a:pt x="63" y="143"/>
                      </a:lnTo>
                      <a:lnTo>
                        <a:pt x="65" y="130"/>
                      </a:lnTo>
                      <a:lnTo>
                        <a:pt x="66" y="115"/>
                      </a:lnTo>
                      <a:lnTo>
                        <a:pt x="69" y="100"/>
                      </a:lnTo>
                      <a:lnTo>
                        <a:pt x="72" y="86"/>
                      </a:lnTo>
                      <a:lnTo>
                        <a:pt x="76" y="78"/>
                      </a:lnTo>
                      <a:lnTo>
                        <a:pt x="78" y="71"/>
                      </a:lnTo>
                      <a:lnTo>
                        <a:pt x="81" y="64"/>
                      </a:lnTo>
                      <a:lnTo>
                        <a:pt x="86" y="57"/>
                      </a:lnTo>
                      <a:lnTo>
                        <a:pt x="90" y="51"/>
                      </a:lnTo>
                      <a:lnTo>
                        <a:pt x="95" y="44"/>
                      </a:lnTo>
                      <a:lnTo>
                        <a:pt x="101" y="39"/>
                      </a:lnTo>
                      <a:lnTo>
                        <a:pt x="108" y="35"/>
                      </a:lnTo>
                      <a:lnTo>
                        <a:pt x="115" y="31"/>
                      </a:lnTo>
                      <a:lnTo>
                        <a:pt x="123" y="29"/>
                      </a:lnTo>
                      <a:lnTo>
                        <a:pt x="132" y="27"/>
                      </a:lnTo>
                      <a:lnTo>
                        <a:pt x="142" y="25"/>
                      </a:lnTo>
                      <a:lnTo>
                        <a:pt x="153" y="25"/>
                      </a:lnTo>
                      <a:lnTo>
                        <a:pt x="165" y="26"/>
                      </a:lnTo>
                      <a:lnTo>
                        <a:pt x="178" y="28"/>
                      </a:lnTo>
                      <a:lnTo>
                        <a:pt x="192" y="30"/>
                      </a:lnTo>
                      <a:lnTo>
                        <a:pt x="217" y="38"/>
                      </a:lnTo>
                      <a:lnTo>
                        <a:pt x="237" y="44"/>
                      </a:lnTo>
                      <a:lnTo>
                        <a:pt x="246" y="46"/>
                      </a:lnTo>
                      <a:lnTo>
                        <a:pt x="254" y="47"/>
                      </a:lnTo>
                      <a:lnTo>
                        <a:pt x="262" y="48"/>
                      </a:lnTo>
                      <a:lnTo>
                        <a:pt x="272" y="50"/>
                      </a:lnTo>
                      <a:lnTo>
                        <a:pt x="283" y="48"/>
                      </a:lnTo>
                      <a:lnTo>
                        <a:pt x="294" y="47"/>
                      </a:lnTo>
                      <a:lnTo>
                        <a:pt x="303" y="45"/>
                      </a:lnTo>
                      <a:lnTo>
                        <a:pt x="311" y="42"/>
                      </a:lnTo>
                      <a:lnTo>
                        <a:pt x="317" y="39"/>
                      </a:lnTo>
                      <a:lnTo>
                        <a:pt x="324" y="35"/>
                      </a:lnTo>
                      <a:lnTo>
                        <a:pt x="329" y="31"/>
                      </a:lnTo>
                      <a:lnTo>
                        <a:pt x="334" y="27"/>
                      </a:lnTo>
                      <a:lnTo>
                        <a:pt x="343" y="18"/>
                      </a:lnTo>
                      <a:lnTo>
                        <a:pt x="351" y="10"/>
                      </a:lnTo>
                      <a:lnTo>
                        <a:pt x="356" y="7"/>
                      </a:lnTo>
                      <a:lnTo>
                        <a:pt x="360" y="4"/>
                      </a:lnTo>
                      <a:lnTo>
                        <a:pt x="366" y="2"/>
                      </a:lnTo>
                      <a:lnTo>
                        <a:pt x="371" y="0"/>
                      </a:lnTo>
                      <a:lnTo>
                        <a:pt x="374" y="9"/>
                      </a:lnTo>
                      <a:lnTo>
                        <a:pt x="379" y="18"/>
                      </a:lnTo>
                      <a:lnTo>
                        <a:pt x="378" y="23"/>
                      </a:lnTo>
                      <a:lnTo>
                        <a:pt x="375" y="29"/>
                      </a:lnTo>
                      <a:lnTo>
                        <a:pt x="372" y="35"/>
                      </a:lnTo>
                      <a:lnTo>
                        <a:pt x="369" y="41"/>
                      </a:lnTo>
                      <a:lnTo>
                        <a:pt x="358" y="55"/>
                      </a:lnTo>
                      <a:lnTo>
                        <a:pt x="344" y="68"/>
                      </a:lnTo>
                      <a:lnTo>
                        <a:pt x="329" y="80"/>
                      </a:lnTo>
                      <a:lnTo>
                        <a:pt x="314" y="89"/>
                      </a:lnTo>
                      <a:lnTo>
                        <a:pt x="306" y="93"/>
                      </a:lnTo>
                      <a:lnTo>
                        <a:pt x="299" y="96"/>
                      </a:lnTo>
                      <a:lnTo>
                        <a:pt x="292" y="97"/>
                      </a:lnTo>
                      <a:lnTo>
                        <a:pt x="285" y="98"/>
                      </a:lnTo>
                      <a:lnTo>
                        <a:pt x="280" y="98"/>
                      </a:lnTo>
                      <a:lnTo>
                        <a:pt x="276" y="96"/>
                      </a:lnTo>
                      <a:lnTo>
                        <a:pt x="271" y="94"/>
                      </a:lnTo>
                      <a:lnTo>
                        <a:pt x="266" y="91"/>
                      </a:lnTo>
                      <a:lnTo>
                        <a:pt x="257" y="85"/>
                      </a:lnTo>
                      <a:lnTo>
                        <a:pt x="248" y="77"/>
                      </a:lnTo>
                      <a:lnTo>
                        <a:pt x="238" y="69"/>
                      </a:lnTo>
                      <a:lnTo>
                        <a:pt x="228" y="62"/>
                      </a:lnTo>
                      <a:lnTo>
                        <a:pt x="223" y="60"/>
                      </a:lnTo>
                      <a:lnTo>
                        <a:pt x="217" y="57"/>
                      </a:lnTo>
                      <a:lnTo>
                        <a:pt x="212" y="56"/>
                      </a:lnTo>
                      <a:lnTo>
                        <a:pt x="205" y="56"/>
                      </a:lnTo>
                      <a:lnTo>
                        <a:pt x="199" y="56"/>
                      </a:lnTo>
                      <a:lnTo>
                        <a:pt x="190" y="56"/>
                      </a:lnTo>
                      <a:lnTo>
                        <a:pt x="177" y="56"/>
                      </a:lnTo>
                      <a:lnTo>
                        <a:pt x="159" y="56"/>
                      </a:lnTo>
                      <a:lnTo>
                        <a:pt x="151" y="56"/>
                      </a:lnTo>
                      <a:lnTo>
                        <a:pt x="145" y="58"/>
                      </a:lnTo>
                      <a:lnTo>
                        <a:pt x="138" y="61"/>
                      </a:lnTo>
                      <a:lnTo>
                        <a:pt x="132" y="64"/>
                      </a:lnTo>
                      <a:lnTo>
                        <a:pt x="125" y="69"/>
                      </a:lnTo>
                      <a:lnTo>
                        <a:pt x="120" y="74"/>
                      </a:lnTo>
                      <a:lnTo>
                        <a:pt x="114" y="79"/>
                      </a:lnTo>
                      <a:lnTo>
                        <a:pt x="109" y="85"/>
                      </a:lnTo>
                      <a:lnTo>
                        <a:pt x="92" y="110"/>
                      </a:lnTo>
                      <a:lnTo>
                        <a:pt x="79" y="129"/>
                      </a:lnTo>
                      <a:lnTo>
                        <a:pt x="79" y="161"/>
                      </a:lnTo>
                      <a:lnTo>
                        <a:pt x="91" y="161"/>
                      </a:lnTo>
                      <a:lnTo>
                        <a:pt x="102" y="163"/>
                      </a:lnTo>
                      <a:lnTo>
                        <a:pt x="111" y="165"/>
                      </a:lnTo>
                      <a:lnTo>
                        <a:pt x="119" y="169"/>
                      </a:lnTo>
                      <a:lnTo>
                        <a:pt x="124" y="173"/>
                      </a:lnTo>
                      <a:lnTo>
                        <a:pt x="128" y="178"/>
                      </a:lnTo>
                      <a:lnTo>
                        <a:pt x="132" y="184"/>
                      </a:lnTo>
                      <a:lnTo>
                        <a:pt x="133" y="191"/>
                      </a:lnTo>
                      <a:lnTo>
                        <a:pt x="139" y="186"/>
                      </a:lnTo>
                      <a:lnTo>
                        <a:pt x="145" y="180"/>
                      </a:lnTo>
                      <a:lnTo>
                        <a:pt x="150" y="174"/>
                      </a:lnTo>
                      <a:lnTo>
                        <a:pt x="155" y="168"/>
                      </a:lnTo>
                      <a:lnTo>
                        <a:pt x="159" y="163"/>
                      </a:lnTo>
                      <a:lnTo>
                        <a:pt x="164" y="157"/>
                      </a:lnTo>
                      <a:lnTo>
                        <a:pt x="168" y="155"/>
                      </a:lnTo>
                      <a:lnTo>
                        <a:pt x="172" y="153"/>
                      </a:lnTo>
                      <a:lnTo>
                        <a:pt x="184" y="150"/>
                      </a:lnTo>
                      <a:lnTo>
                        <a:pt x="196" y="149"/>
                      </a:lnTo>
                      <a:lnTo>
                        <a:pt x="209" y="149"/>
                      </a:lnTo>
                      <a:lnTo>
                        <a:pt x="221" y="150"/>
                      </a:lnTo>
                      <a:lnTo>
                        <a:pt x="232" y="150"/>
                      </a:lnTo>
                      <a:lnTo>
                        <a:pt x="242" y="149"/>
                      </a:lnTo>
                      <a:lnTo>
                        <a:pt x="246" y="148"/>
                      </a:lnTo>
                      <a:lnTo>
                        <a:pt x="250" y="147"/>
                      </a:lnTo>
                      <a:lnTo>
                        <a:pt x="255" y="144"/>
                      </a:lnTo>
                      <a:lnTo>
                        <a:pt x="259" y="141"/>
                      </a:lnTo>
                      <a:lnTo>
                        <a:pt x="268" y="158"/>
                      </a:lnTo>
                      <a:lnTo>
                        <a:pt x="273" y="173"/>
                      </a:lnTo>
                      <a:lnTo>
                        <a:pt x="276" y="179"/>
                      </a:lnTo>
                      <a:lnTo>
                        <a:pt x="278" y="187"/>
                      </a:lnTo>
                      <a:lnTo>
                        <a:pt x="278" y="194"/>
                      </a:lnTo>
                      <a:lnTo>
                        <a:pt x="279" y="203"/>
                      </a:lnTo>
                      <a:lnTo>
                        <a:pt x="268" y="200"/>
                      </a:lnTo>
                      <a:lnTo>
                        <a:pt x="259" y="198"/>
                      </a:lnTo>
                      <a:lnTo>
                        <a:pt x="252" y="195"/>
                      </a:lnTo>
                      <a:lnTo>
                        <a:pt x="246" y="192"/>
                      </a:lnTo>
                      <a:lnTo>
                        <a:pt x="240" y="189"/>
                      </a:lnTo>
                      <a:lnTo>
                        <a:pt x="235" y="187"/>
                      </a:lnTo>
                      <a:lnTo>
                        <a:pt x="227" y="185"/>
                      </a:lnTo>
                      <a:lnTo>
                        <a:pt x="218" y="185"/>
                      </a:lnTo>
                      <a:lnTo>
                        <a:pt x="210" y="186"/>
                      </a:lnTo>
                      <a:lnTo>
                        <a:pt x="202" y="188"/>
                      </a:lnTo>
                      <a:lnTo>
                        <a:pt x="196" y="191"/>
                      </a:lnTo>
                      <a:lnTo>
                        <a:pt x="192" y="195"/>
                      </a:lnTo>
                      <a:lnTo>
                        <a:pt x="189" y="199"/>
                      </a:lnTo>
                      <a:lnTo>
                        <a:pt x="187" y="203"/>
                      </a:lnTo>
                      <a:lnTo>
                        <a:pt x="186" y="206"/>
                      </a:lnTo>
                      <a:lnTo>
                        <a:pt x="186" y="209"/>
                      </a:lnTo>
                      <a:lnTo>
                        <a:pt x="186" y="215"/>
                      </a:lnTo>
                      <a:lnTo>
                        <a:pt x="188" y="223"/>
                      </a:lnTo>
                      <a:lnTo>
                        <a:pt x="189" y="228"/>
                      </a:lnTo>
                      <a:lnTo>
                        <a:pt x="192" y="233"/>
                      </a:lnTo>
                      <a:lnTo>
                        <a:pt x="198" y="243"/>
                      </a:lnTo>
                      <a:lnTo>
                        <a:pt x="205" y="252"/>
                      </a:lnTo>
                      <a:lnTo>
                        <a:pt x="213" y="261"/>
                      </a:lnTo>
                      <a:lnTo>
                        <a:pt x="220" y="272"/>
                      </a:lnTo>
                      <a:lnTo>
                        <a:pt x="222" y="277"/>
                      </a:lnTo>
                      <a:lnTo>
                        <a:pt x="224" y="283"/>
                      </a:lnTo>
                      <a:lnTo>
                        <a:pt x="225" y="289"/>
                      </a:lnTo>
                      <a:lnTo>
                        <a:pt x="225" y="296"/>
                      </a:lnTo>
                      <a:lnTo>
                        <a:pt x="225" y="302"/>
                      </a:lnTo>
                      <a:lnTo>
                        <a:pt x="222" y="309"/>
                      </a:lnTo>
                      <a:lnTo>
                        <a:pt x="220" y="316"/>
                      </a:lnTo>
                      <a:lnTo>
                        <a:pt x="215" y="322"/>
                      </a:lnTo>
                      <a:lnTo>
                        <a:pt x="212" y="329"/>
                      </a:lnTo>
                      <a:lnTo>
                        <a:pt x="209" y="335"/>
                      </a:lnTo>
                      <a:lnTo>
                        <a:pt x="206" y="340"/>
                      </a:lnTo>
                      <a:lnTo>
                        <a:pt x="205" y="345"/>
                      </a:lnTo>
                      <a:lnTo>
                        <a:pt x="205" y="348"/>
                      </a:lnTo>
                      <a:lnTo>
                        <a:pt x="206" y="351"/>
                      </a:lnTo>
                      <a:lnTo>
                        <a:pt x="209" y="354"/>
                      </a:lnTo>
                      <a:lnTo>
                        <a:pt x="210" y="356"/>
                      </a:lnTo>
                      <a:lnTo>
                        <a:pt x="215" y="361"/>
                      </a:lnTo>
                      <a:lnTo>
                        <a:pt x="222" y="364"/>
                      </a:lnTo>
                      <a:lnTo>
                        <a:pt x="228" y="366"/>
                      </a:lnTo>
                      <a:lnTo>
                        <a:pt x="236" y="368"/>
                      </a:lnTo>
                      <a:lnTo>
                        <a:pt x="244" y="369"/>
                      </a:lnTo>
                      <a:lnTo>
                        <a:pt x="252" y="369"/>
                      </a:lnTo>
                      <a:lnTo>
                        <a:pt x="252" y="390"/>
                      </a:lnTo>
                      <a:lnTo>
                        <a:pt x="252" y="400"/>
                      </a:lnTo>
                      <a:lnTo>
                        <a:pt x="252" y="411"/>
                      </a:lnTo>
                      <a:lnTo>
                        <a:pt x="252" y="431"/>
                      </a:lnTo>
                      <a:lnTo>
                        <a:pt x="245" y="430"/>
                      </a:lnTo>
                      <a:lnTo>
                        <a:pt x="239" y="429"/>
                      </a:lnTo>
                      <a:lnTo>
                        <a:pt x="234" y="427"/>
                      </a:lnTo>
                      <a:lnTo>
                        <a:pt x="229" y="425"/>
                      </a:lnTo>
                      <a:lnTo>
                        <a:pt x="225" y="423"/>
                      </a:lnTo>
                      <a:lnTo>
                        <a:pt x="221" y="421"/>
                      </a:lnTo>
                      <a:lnTo>
                        <a:pt x="217" y="419"/>
                      </a:lnTo>
                      <a:lnTo>
                        <a:pt x="212" y="419"/>
                      </a:lnTo>
                      <a:lnTo>
                        <a:pt x="207" y="418"/>
                      </a:lnTo>
                      <a:lnTo>
                        <a:pt x="202" y="417"/>
                      </a:lnTo>
                      <a:lnTo>
                        <a:pt x="198" y="416"/>
                      </a:lnTo>
                      <a:lnTo>
                        <a:pt x="193" y="414"/>
                      </a:lnTo>
                      <a:lnTo>
                        <a:pt x="186" y="408"/>
                      </a:lnTo>
                      <a:lnTo>
                        <a:pt x="177" y="400"/>
                      </a:lnTo>
                      <a:lnTo>
                        <a:pt x="170" y="391"/>
                      </a:lnTo>
                      <a:lnTo>
                        <a:pt x="164" y="379"/>
                      </a:lnTo>
                      <a:lnTo>
                        <a:pt x="158" y="368"/>
                      </a:lnTo>
                      <a:lnTo>
                        <a:pt x="153" y="356"/>
                      </a:lnTo>
                      <a:lnTo>
                        <a:pt x="148" y="343"/>
                      </a:lnTo>
                      <a:lnTo>
                        <a:pt x="144" y="330"/>
                      </a:lnTo>
                      <a:lnTo>
                        <a:pt x="140" y="317"/>
                      </a:lnTo>
                      <a:lnTo>
                        <a:pt x="137" y="304"/>
                      </a:lnTo>
                      <a:lnTo>
                        <a:pt x="134" y="282"/>
                      </a:lnTo>
                      <a:lnTo>
                        <a:pt x="133" y="264"/>
                      </a:lnTo>
                      <a:lnTo>
                        <a:pt x="122" y="264"/>
                      </a:lnTo>
                      <a:lnTo>
                        <a:pt x="114" y="263"/>
                      </a:lnTo>
                      <a:lnTo>
                        <a:pt x="109" y="261"/>
                      </a:lnTo>
                      <a:lnTo>
                        <a:pt x="104" y="260"/>
                      </a:lnTo>
                      <a:lnTo>
                        <a:pt x="101" y="259"/>
                      </a:lnTo>
                      <a:lnTo>
                        <a:pt x="97" y="259"/>
                      </a:lnTo>
                      <a:lnTo>
                        <a:pt x="92" y="261"/>
                      </a:lnTo>
                      <a:lnTo>
                        <a:pt x="86" y="264"/>
                      </a:lnTo>
                      <a:lnTo>
                        <a:pt x="86" y="296"/>
                      </a:lnTo>
                      <a:lnTo>
                        <a:pt x="105" y="381"/>
                      </a:lnTo>
                      <a:lnTo>
                        <a:pt x="104" y="389"/>
                      </a:lnTo>
                      <a:lnTo>
                        <a:pt x="101" y="394"/>
                      </a:lnTo>
                      <a:lnTo>
                        <a:pt x="98" y="399"/>
                      </a:lnTo>
                      <a:lnTo>
                        <a:pt x="93" y="404"/>
                      </a:lnTo>
                      <a:lnTo>
                        <a:pt x="83" y="411"/>
                      </a:lnTo>
                      <a:lnTo>
                        <a:pt x="72" y="416"/>
                      </a:lnTo>
                      <a:lnTo>
                        <a:pt x="64" y="421"/>
                      </a:lnTo>
                      <a:lnTo>
                        <a:pt x="57" y="426"/>
                      </a:lnTo>
                      <a:lnTo>
                        <a:pt x="56" y="428"/>
                      </a:lnTo>
                      <a:lnTo>
                        <a:pt x="55" y="431"/>
                      </a:lnTo>
                      <a:lnTo>
                        <a:pt x="56" y="434"/>
                      </a:lnTo>
                      <a:lnTo>
                        <a:pt x="59" y="437"/>
                      </a:lnTo>
                    </a:path>
                  </a:pathLst>
                </a:custGeom>
                <a:grpFill/>
                <a:ln w="9525" cap="flat" cmpd="sng">
                  <a:solidFill>
                    <a:srgbClr val="FFFFFF"/>
                  </a:solidFill>
                  <a:prstDash val="solid"/>
                  <a:round/>
                  <a:headEnd type="none" w="med" len="med"/>
                  <a:tailEnd type="none" w="med" len="med"/>
                </a:ln>
                <a:effectLst/>
              </p:spPr>
              <p:txBody>
                <a:bodyPr/>
                <a:lstStyle/>
                <a:p>
                  <a:endParaRPr lang="en-GB" sz="1637"/>
                </a:p>
              </p:txBody>
            </p:sp>
            <p:sp>
              <p:nvSpPr>
                <p:cNvPr id="371" name="Freeform 339"/>
                <p:cNvSpPr>
                  <a:spLocks/>
                </p:cNvSpPr>
                <p:nvPr>
                  <p:custDataLst>
                    <p:tags r:id="rId243"/>
                  </p:custDataLst>
                </p:nvPr>
              </p:nvSpPr>
              <p:spPr bwMode="auto">
                <a:xfrm>
                  <a:off x="6777210" y="4177141"/>
                  <a:ext cx="273811" cy="107458"/>
                </a:xfrm>
                <a:custGeom>
                  <a:avLst/>
                  <a:gdLst>
                    <a:gd name="T0" fmla="*/ 4773 w 578"/>
                    <a:gd name="T1" fmla="*/ 25883 h 184"/>
                    <a:gd name="T2" fmla="*/ 10415 w 578"/>
                    <a:gd name="T3" fmla="*/ 16565 h 184"/>
                    <a:gd name="T4" fmla="*/ 17792 w 578"/>
                    <a:gd name="T5" fmla="*/ 3624 h 184"/>
                    <a:gd name="T6" fmla="*/ 23433 w 578"/>
                    <a:gd name="T7" fmla="*/ 0 h 184"/>
                    <a:gd name="T8" fmla="*/ 34282 w 578"/>
                    <a:gd name="T9" fmla="*/ 1035 h 184"/>
                    <a:gd name="T10" fmla="*/ 41226 w 578"/>
                    <a:gd name="T11" fmla="*/ 1035 h 184"/>
                    <a:gd name="T12" fmla="*/ 43829 w 578"/>
                    <a:gd name="T13" fmla="*/ 2588 h 184"/>
                    <a:gd name="T14" fmla="*/ 49905 w 578"/>
                    <a:gd name="T15" fmla="*/ 7765 h 184"/>
                    <a:gd name="T16" fmla="*/ 63791 w 578"/>
                    <a:gd name="T17" fmla="*/ 13977 h 184"/>
                    <a:gd name="T18" fmla="*/ 72904 w 578"/>
                    <a:gd name="T19" fmla="*/ 19154 h 184"/>
                    <a:gd name="T20" fmla="*/ 77244 w 578"/>
                    <a:gd name="T21" fmla="*/ 27436 h 184"/>
                    <a:gd name="T22" fmla="*/ 83319 w 578"/>
                    <a:gd name="T23" fmla="*/ 31577 h 184"/>
                    <a:gd name="T24" fmla="*/ 100243 w 578"/>
                    <a:gd name="T25" fmla="*/ 31060 h 184"/>
                    <a:gd name="T26" fmla="*/ 120205 w 578"/>
                    <a:gd name="T27" fmla="*/ 26401 h 184"/>
                    <a:gd name="T28" fmla="*/ 129752 w 578"/>
                    <a:gd name="T29" fmla="*/ 20189 h 184"/>
                    <a:gd name="T30" fmla="*/ 136261 w 578"/>
                    <a:gd name="T31" fmla="*/ 17601 h 184"/>
                    <a:gd name="T32" fmla="*/ 141903 w 578"/>
                    <a:gd name="T33" fmla="*/ 18118 h 184"/>
                    <a:gd name="T34" fmla="*/ 147110 w 578"/>
                    <a:gd name="T35" fmla="*/ 16048 h 184"/>
                    <a:gd name="T36" fmla="*/ 158827 w 578"/>
                    <a:gd name="T37" fmla="*/ 17601 h 184"/>
                    <a:gd name="T38" fmla="*/ 173147 w 578"/>
                    <a:gd name="T39" fmla="*/ 30542 h 184"/>
                    <a:gd name="T40" fmla="*/ 185732 w 578"/>
                    <a:gd name="T41" fmla="*/ 46072 h 184"/>
                    <a:gd name="T42" fmla="*/ 197883 w 578"/>
                    <a:gd name="T43" fmla="*/ 54355 h 184"/>
                    <a:gd name="T44" fmla="*/ 207864 w 578"/>
                    <a:gd name="T45" fmla="*/ 55390 h 184"/>
                    <a:gd name="T46" fmla="*/ 213939 w 578"/>
                    <a:gd name="T47" fmla="*/ 55908 h 184"/>
                    <a:gd name="T48" fmla="*/ 219146 w 578"/>
                    <a:gd name="T49" fmla="*/ 64708 h 184"/>
                    <a:gd name="T50" fmla="*/ 226524 w 578"/>
                    <a:gd name="T51" fmla="*/ 72473 h 184"/>
                    <a:gd name="T52" fmla="*/ 231731 w 578"/>
                    <a:gd name="T53" fmla="*/ 71955 h 184"/>
                    <a:gd name="T54" fmla="*/ 236938 w 578"/>
                    <a:gd name="T55" fmla="*/ 66261 h 184"/>
                    <a:gd name="T56" fmla="*/ 242146 w 578"/>
                    <a:gd name="T57" fmla="*/ 69367 h 184"/>
                    <a:gd name="T58" fmla="*/ 247787 w 578"/>
                    <a:gd name="T59" fmla="*/ 75061 h 184"/>
                    <a:gd name="T60" fmla="*/ 250825 w 578"/>
                    <a:gd name="T61" fmla="*/ 82826 h 184"/>
                    <a:gd name="T62" fmla="*/ 249523 w 578"/>
                    <a:gd name="T63" fmla="*/ 89556 h 184"/>
                    <a:gd name="T64" fmla="*/ 246052 w 578"/>
                    <a:gd name="T65" fmla="*/ 94215 h 184"/>
                    <a:gd name="T66" fmla="*/ 239108 w 578"/>
                    <a:gd name="T67" fmla="*/ 92144 h 184"/>
                    <a:gd name="T68" fmla="*/ 228259 w 578"/>
                    <a:gd name="T69" fmla="*/ 88003 h 184"/>
                    <a:gd name="T70" fmla="*/ 213071 w 578"/>
                    <a:gd name="T71" fmla="*/ 89038 h 184"/>
                    <a:gd name="T72" fmla="*/ 200486 w 578"/>
                    <a:gd name="T73" fmla="*/ 88003 h 184"/>
                    <a:gd name="T74" fmla="*/ 195713 w 578"/>
                    <a:gd name="T75" fmla="*/ 82826 h 184"/>
                    <a:gd name="T76" fmla="*/ 190072 w 578"/>
                    <a:gd name="T77" fmla="*/ 79720 h 184"/>
                    <a:gd name="T78" fmla="*/ 184864 w 578"/>
                    <a:gd name="T79" fmla="*/ 82826 h 184"/>
                    <a:gd name="T80" fmla="*/ 180525 w 578"/>
                    <a:gd name="T81" fmla="*/ 88003 h 184"/>
                    <a:gd name="T82" fmla="*/ 172713 w 578"/>
                    <a:gd name="T83" fmla="*/ 88520 h 184"/>
                    <a:gd name="T84" fmla="*/ 142337 w 578"/>
                    <a:gd name="T85" fmla="*/ 79202 h 184"/>
                    <a:gd name="T86" fmla="*/ 120205 w 578"/>
                    <a:gd name="T87" fmla="*/ 68332 h 184"/>
                    <a:gd name="T88" fmla="*/ 115432 w 578"/>
                    <a:gd name="T89" fmla="*/ 63673 h 184"/>
                    <a:gd name="T90" fmla="*/ 99809 w 578"/>
                    <a:gd name="T91" fmla="*/ 61602 h 184"/>
                    <a:gd name="T92" fmla="*/ 87225 w 578"/>
                    <a:gd name="T93" fmla="*/ 58496 h 184"/>
                    <a:gd name="T94" fmla="*/ 72904 w 578"/>
                    <a:gd name="T95" fmla="*/ 57461 h 184"/>
                    <a:gd name="T96" fmla="*/ 63357 w 578"/>
                    <a:gd name="T97" fmla="*/ 57461 h 184"/>
                    <a:gd name="T98" fmla="*/ 53810 w 578"/>
                    <a:gd name="T99" fmla="*/ 54355 h 184"/>
                    <a:gd name="T100" fmla="*/ 52074 w 578"/>
                    <a:gd name="T101" fmla="*/ 51249 h 184"/>
                    <a:gd name="T102" fmla="*/ 29943 w 578"/>
                    <a:gd name="T103" fmla="*/ 50213 h 184"/>
                    <a:gd name="T104" fmla="*/ 19962 w 578"/>
                    <a:gd name="T105" fmla="*/ 45554 h 184"/>
                    <a:gd name="T106" fmla="*/ 0 w 578"/>
                    <a:gd name="T107" fmla="*/ 28471 h 18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578" h="184">
                      <a:moveTo>
                        <a:pt x="0" y="55"/>
                      </a:moveTo>
                      <a:lnTo>
                        <a:pt x="6" y="53"/>
                      </a:lnTo>
                      <a:lnTo>
                        <a:pt x="11" y="50"/>
                      </a:lnTo>
                      <a:lnTo>
                        <a:pt x="14" y="46"/>
                      </a:lnTo>
                      <a:lnTo>
                        <a:pt x="19" y="42"/>
                      </a:lnTo>
                      <a:lnTo>
                        <a:pt x="24" y="32"/>
                      </a:lnTo>
                      <a:lnTo>
                        <a:pt x="30" y="23"/>
                      </a:lnTo>
                      <a:lnTo>
                        <a:pt x="35" y="14"/>
                      </a:lnTo>
                      <a:lnTo>
                        <a:pt x="41" y="7"/>
                      </a:lnTo>
                      <a:lnTo>
                        <a:pt x="44" y="4"/>
                      </a:lnTo>
                      <a:lnTo>
                        <a:pt x="48" y="2"/>
                      </a:lnTo>
                      <a:lnTo>
                        <a:pt x="54" y="0"/>
                      </a:lnTo>
                      <a:lnTo>
                        <a:pt x="59" y="0"/>
                      </a:lnTo>
                      <a:lnTo>
                        <a:pt x="69" y="1"/>
                      </a:lnTo>
                      <a:lnTo>
                        <a:pt x="79" y="2"/>
                      </a:lnTo>
                      <a:lnTo>
                        <a:pt x="85" y="3"/>
                      </a:lnTo>
                      <a:lnTo>
                        <a:pt x="89" y="3"/>
                      </a:lnTo>
                      <a:lnTo>
                        <a:pt x="95" y="2"/>
                      </a:lnTo>
                      <a:lnTo>
                        <a:pt x="99" y="0"/>
                      </a:lnTo>
                      <a:lnTo>
                        <a:pt x="100" y="2"/>
                      </a:lnTo>
                      <a:lnTo>
                        <a:pt x="101" y="5"/>
                      </a:lnTo>
                      <a:lnTo>
                        <a:pt x="103" y="7"/>
                      </a:lnTo>
                      <a:lnTo>
                        <a:pt x="107" y="10"/>
                      </a:lnTo>
                      <a:lnTo>
                        <a:pt x="115" y="15"/>
                      </a:lnTo>
                      <a:lnTo>
                        <a:pt x="125" y="20"/>
                      </a:lnTo>
                      <a:lnTo>
                        <a:pt x="136" y="24"/>
                      </a:lnTo>
                      <a:lnTo>
                        <a:pt x="147" y="27"/>
                      </a:lnTo>
                      <a:lnTo>
                        <a:pt x="157" y="29"/>
                      </a:lnTo>
                      <a:lnTo>
                        <a:pt x="166" y="30"/>
                      </a:lnTo>
                      <a:lnTo>
                        <a:pt x="168" y="37"/>
                      </a:lnTo>
                      <a:lnTo>
                        <a:pt x="171" y="44"/>
                      </a:lnTo>
                      <a:lnTo>
                        <a:pt x="174" y="49"/>
                      </a:lnTo>
                      <a:lnTo>
                        <a:pt x="178" y="53"/>
                      </a:lnTo>
                      <a:lnTo>
                        <a:pt x="181" y="57"/>
                      </a:lnTo>
                      <a:lnTo>
                        <a:pt x="187" y="59"/>
                      </a:lnTo>
                      <a:lnTo>
                        <a:pt x="192" y="61"/>
                      </a:lnTo>
                      <a:lnTo>
                        <a:pt x="199" y="61"/>
                      </a:lnTo>
                      <a:lnTo>
                        <a:pt x="214" y="61"/>
                      </a:lnTo>
                      <a:lnTo>
                        <a:pt x="231" y="60"/>
                      </a:lnTo>
                      <a:lnTo>
                        <a:pt x="247" y="58"/>
                      </a:lnTo>
                      <a:lnTo>
                        <a:pt x="263" y="55"/>
                      </a:lnTo>
                      <a:lnTo>
                        <a:pt x="277" y="51"/>
                      </a:lnTo>
                      <a:lnTo>
                        <a:pt x="289" y="46"/>
                      </a:lnTo>
                      <a:lnTo>
                        <a:pt x="294" y="43"/>
                      </a:lnTo>
                      <a:lnTo>
                        <a:pt x="299" y="39"/>
                      </a:lnTo>
                      <a:lnTo>
                        <a:pt x="302" y="35"/>
                      </a:lnTo>
                      <a:lnTo>
                        <a:pt x="305" y="30"/>
                      </a:lnTo>
                      <a:lnTo>
                        <a:pt x="314" y="34"/>
                      </a:lnTo>
                      <a:lnTo>
                        <a:pt x="320" y="35"/>
                      </a:lnTo>
                      <a:lnTo>
                        <a:pt x="324" y="36"/>
                      </a:lnTo>
                      <a:lnTo>
                        <a:pt x="327" y="35"/>
                      </a:lnTo>
                      <a:lnTo>
                        <a:pt x="331" y="33"/>
                      </a:lnTo>
                      <a:lnTo>
                        <a:pt x="334" y="32"/>
                      </a:lnTo>
                      <a:lnTo>
                        <a:pt x="339" y="31"/>
                      </a:lnTo>
                      <a:lnTo>
                        <a:pt x="345" y="30"/>
                      </a:lnTo>
                      <a:lnTo>
                        <a:pt x="356" y="31"/>
                      </a:lnTo>
                      <a:lnTo>
                        <a:pt x="366" y="34"/>
                      </a:lnTo>
                      <a:lnTo>
                        <a:pt x="375" y="39"/>
                      </a:lnTo>
                      <a:lnTo>
                        <a:pt x="383" y="45"/>
                      </a:lnTo>
                      <a:lnTo>
                        <a:pt x="399" y="59"/>
                      </a:lnTo>
                      <a:lnTo>
                        <a:pt x="413" y="74"/>
                      </a:lnTo>
                      <a:lnTo>
                        <a:pt x="421" y="82"/>
                      </a:lnTo>
                      <a:lnTo>
                        <a:pt x="428" y="89"/>
                      </a:lnTo>
                      <a:lnTo>
                        <a:pt x="437" y="96"/>
                      </a:lnTo>
                      <a:lnTo>
                        <a:pt x="446" y="101"/>
                      </a:lnTo>
                      <a:lnTo>
                        <a:pt x="456" y="105"/>
                      </a:lnTo>
                      <a:lnTo>
                        <a:pt x="467" y="107"/>
                      </a:lnTo>
                      <a:lnTo>
                        <a:pt x="472" y="107"/>
                      </a:lnTo>
                      <a:lnTo>
                        <a:pt x="479" y="107"/>
                      </a:lnTo>
                      <a:lnTo>
                        <a:pt x="484" y="106"/>
                      </a:lnTo>
                      <a:lnTo>
                        <a:pt x="491" y="105"/>
                      </a:lnTo>
                      <a:lnTo>
                        <a:pt x="493" y="108"/>
                      </a:lnTo>
                      <a:lnTo>
                        <a:pt x="495" y="113"/>
                      </a:lnTo>
                      <a:lnTo>
                        <a:pt x="500" y="119"/>
                      </a:lnTo>
                      <a:lnTo>
                        <a:pt x="505" y="125"/>
                      </a:lnTo>
                      <a:lnTo>
                        <a:pt x="511" y="131"/>
                      </a:lnTo>
                      <a:lnTo>
                        <a:pt x="516" y="136"/>
                      </a:lnTo>
                      <a:lnTo>
                        <a:pt x="522" y="140"/>
                      </a:lnTo>
                      <a:lnTo>
                        <a:pt x="525" y="141"/>
                      </a:lnTo>
                      <a:lnTo>
                        <a:pt x="529" y="141"/>
                      </a:lnTo>
                      <a:lnTo>
                        <a:pt x="534" y="139"/>
                      </a:lnTo>
                      <a:lnTo>
                        <a:pt x="537" y="137"/>
                      </a:lnTo>
                      <a:lnTo>
                        <a:pt x="540" y="134"/>
                      </a:lnTo>
                      <a:lnTo>
                        <a:pt x="546" y="128"/>
                      </a:lnTo>
                      <a:lnTo>
                        <a:pt x="551" y="123"/>
                      </a:lnTo>
                      <a:lnTo>
                        <a:pt x="555" y="129"/>
                      </a:lnTo>
                      <a:lnTo>
                        <a:pt x="558" y="134"/>
                      </a:lnTo>
                      <a:lnTo>
                        <a:pt x="562" y="138"/>
                      </a:lnTo>
                      <a:lnTo>
                        <a:pt x="567" y="141"/>
                      </a:lnTo>
                      <a:lnTo>
                        <a:pt x="571" y="145"/>
                      </a:lnTo>
                      <a:lnTo>
                        <a:pt x="574" y="150"/>
                      </a:lnTo>
                      <a:lnTo>
                        <a:pt x="577" y="154"/>
                      </a:lnTo>
                      <a:lnTo>
                        <a:pt x="578" y="160"/>
                      </a:lnTo>
                      <a:lnTo>
                        <a:pt x="578" y="165"/>
                      </a:lnTo>
                      <a:lnTo>
                        <a:pt x="577" y="169"/>
                      </a:lnTo>
                      <a:lnTo>
                        <a:pt x="575" y="173"/>
                      </a:lnTo>
                      <a:lnTo>
                        <a:pt x="573" y="177"/>
                      </a:lnTo>
                      <a:lnTo>
                        <a:pt x="570" y="180"/>
                      </a:lnTo>
                      <a:lnTo>
                        <a:pt x="567" y="182"/>
                      </a:lnTo>
                      <a:lnTo>
                        <a:pt x="562" y="184"/>
                      </a:lnTo>
                      <a:lnTo>
                        <a:pt x="558" y="184"/>
                      </a:lnTo>
                      <a:lnTo>
                        <a:pt x="551" y="178"/>
                      </a:lnTo>
                      <a:lnTo>
                        <a:pt x="545" y="172"/>
                      </a:lnTo>
                      <a:lnTo>
                        <a:pt x="535" y="171"/>
                      </a:lnTo>
                      <a:lnTo>
                        <a:pt x="526" y="170"/>
                      </a:lnTo>
                      <a:lnTo>
                        <a:pt x="517" y="170"/>
                      </a:lnTo>
                      <a:lnTo>
                        <a:pt x="509" y="170"/>
                      </a:lnTo>
                      <a:lnTo>
                        <a:pt x="491" y="172"/>
                      </a:lnTo>
                      <a:lnTo>
                        <a:pt x="471" y="172"/>
                      </a:lnTo>
                      <a:lnTo>
                        <a:pt x="467" y="172"/>
                      </a:lnTo>
                      <a:lnTo>
                        <a:pt x="462" y="170"/>
                      </a:lnTo>
                      <a:lnTo>
                        <a:pt x="459" y="167"/>
                      </a:lnTo>
                      <a:lnTo>
                        <a:pt x="455" y="163"/>
                      </a:lnTo>
                      <a:lnTo>
                        <a:pt x="451" y="160"/>
                      </a:lnTo>
                      <a:lnTo>
                        <a:pt x="447" y="157"/>
                      </a:lnTo>
                      <a:lnTo>
                        <a:pt x="443" y="155"/>
                      </a:lnTo>
                      <a:lnTo>
                        <a:pt x="438" y="154"/>
                      </a:lnTo>
                      <a:lnTo>
                        <a:pt x="434" y="155"/>
                      </a:lnTo>
                      <a:lnTo>
                        <a:pt x="429" y="157"/>
                      </a:lnTo>
                      <a:lnTo>
                        <a:pt x="426" y="160"/>
                      </a:lnTo>
                      <a:lnTo>
                        <a:pt x="423" y="163"/>
                      </a:lnTo>
                      <a:lnTo>
                        <a:pt x="420" y="167"/>
                      </a:lnTo>
                      <a:lnTo>
                        <a:pt x="416" y="170"/>
                      </a:lnTo>
                      <a:lnTo>
                        <a:pt x="414" y="172"/>
                      </a:lnTo>
                      <a:lnTo>
                        <a:pt x="412" y="172"/>
                      </a:lnTo>
                      <a:lnTo>
                        <a:pt x="398" y="171"/>
                      </a:lnTo>
                      <a:lnTo>
                        <a:pt x="378" y="167"/>
                      </a:lnTo>
                      <a:lnTo>
                        <a:pt x="354" y="160"/>
                      </a:lnTo>
                      <a:lnTo>
                        <a:pt x="328" y="153"/>
                      </a:lnTo>
                      <a:lnTo>
                        <a:pt x="304" y="144"/>
                      </a:lnTo>
                      <a:lnTo>
                        <a:pt x="285" y="136"/>
                      </a:lnTo>
                      <a:lnTo>
                        <a:pt x="277" y="132"/>
                      </a:lnTo>
                      <a:lnTo>
                        <a:pt x="270" y="129"/>
                      </a:lnTo>
                      <a:lnTo>
                        <a:pt x="267" y="126"/>
                      </a:lnTo>
                      <a:lnTo>
                        <a:pt x="266" y="123"/>
                      </a:lnTo>
                      <a:lnTo>
                        <a:pt x="252" y="122"/>
                      </a:lnTo>
                      <a:lnTo>
                        <a:pt x="240" y="121"/>
                      </a:lnTo>
                      <a:lnTo>
                        <a:pt x="230" y="119"/>
                      </a:lnTo>
                      <a:lnTo>
                        <a:pt x="220" y="117"/>
                      </a:lnTo>
                      <a:lnTo>
                        <a:pt x="211" y="115"/>
                      </a:lnTo>
                      <a:lnTo>
                        <a:pt x="201" y="113"/>
                      </a:lnTo>
                      <a:lnTo>
                        <a:pt x="191" y="111"/>
                      </a:lnTo>
                      <a:lnTo>
                        <a:pt x="179" y="111"/>
                      </a:lnTo>
                      <a:lnTo>
                        <a:pt x="168" y="111"/>
                      </a:lnTo>
                      <a:lnTo>
                        <a:pt x="157" y="111"/>
                      </a:lnTo>
                      <a:lnTo>
                        <a:pt x="149" y="111"/>
                      </a:lnTo>
                      <a:lnTo>
                        <a:pt x="146" y="111"/>
                      </a:lnTo>
                      <a:lnTo>
                        <a:pt x="136" y="110"/>
                      </a:lnTo>
                      <a:lnTo>
                        <a:pt x="128" y="107"/>
                      </a:lnTo>
                      <a:lnTo>
                        <a:pt x="124" y="105"/>
                      </a:lnTo>
                      <a:lnTo>
                        <a:pt x="122" y="103"/>
                      </a:lnTo>
                      <a:lnTo>
                        <a:pt x="120" y="101"/>
                      </a:lnTo>
                      <a:lnTo>
                        <a:pt x="120" y="99"/>
                      </a:lnTo>
                      <a:lnTo>
                        <a:pt x="79" y="99"/>
                      </a:lnTo>
                      <a:lnTo>
                        <a:pt x="75" y="98"/>
                      </a:lnTo>
                      <a:lnTo>
                        <a:pt x="69" y="97"/>
                      </a:lnTo>
                      <a:lnTo>
                        <a:pt x="64" y="96"/>
                      </a:lnTo>
                      <a:lnTo>
                        <a:pt x="57" y="94"/>
                      </a:lnTo>
                      <a:lnTo>
                        <a:pt x="46" y="88"/>
                      </a:lnTo>
                      <a:lnTo>
                        <a:pt x="34" y="81"/>
                      </a:lnTo>
                      <a:lnTo>
                        <a:pt x="14" y="67"/>
                      </a:lnTo>
                      <a:lnTo>
                        <a:pt x="0" y="55"/>
                      </a:lnTo>
                    </a:path>
                  </a:pathLst>
                </a:custGeom>
                <a:grpFill/>
                <a:ln w="9525" cap="flat" cmpd="sng">
                  <a:solidFill>
                    <a:srgbClr val="FFFFFF"/>
                  </a:solidFill>
                  <a:prstDash val="solid"/>
                  <a:round/>
                  <a:headEnd type="none" w="med" len="med"/>
                  <a:tailEnd type="none" w="med" len="med"/>
                </a:ln>
                <a:effectLst/>
              </p:spPr>
              <p:txBody>
                <a:bodyPr/>
                <a:lstStyle/>
                <a:p>
                  <a:endParaRPr lang="en-GB" sz="1637"/>
                </a:p>
              </p:txBody>
            </p:sp>
            <p:sp>
              <p:nvSpPr>
                <p:cNvPr id="372" name="Freeform 340"/>
                <p:cNvSpPr>
                  <a:spLocks/>
                </p:cNvSpPr>
                <p:nvPr>
                  <p:custDataLst>
                    <p:tags r:id="rId244"/>
                  </p:custDataLst>
                </p:nvPr>
              </p:nvSpPr>
              <p:spPr bwMode="auto">
                <a:xfrm>
                  <a:off x="7520659" y="4015954"/>
                  <a:ext cx="233952" cy="284764"/>
                </a:xfrm>
                <a:custGeom>
                  <a:avLst/>
                  <a:gdLst>
                    <a:gd name="T0" fmla="*/ 210384 w 491"/>
                    <a:gd name="T1" fmla="*/ 251363 h 481"/>
                    <a:gd name="T2" fmla="*/ 199472 w 491"/>
                    <a:gd name="T3" fmla="*/ 244017 h 481"/>
                    <a:gd name="T4" fmla="*/ 184195 w 491"/>
                    <a:gd name="T5" fmla="*/ 227749 h 481"/>
                    <a:gd name="T6" fmla="*/ 179830 w 491"/>
                    <a:gd name="T7" fmla="*/ 218828 h 481"/>
                    <a:gd name="T8" fmla="*/ 164117 w 491"/>
                    <a:gd name="T9" fmla="*/ 215155 h 481"/>
                    <a:gd name="T10" fmla="*/ 157133 w 491"/>
                    <a:gd name="T11" fmla="*/ 213055 h 481"/>
                    <a:gd name="T12" fmla="*/ 152768 w 491"/>
                    <a:gd name="T13" fmla="*/ 207808 h 481"/>
                    <a:gd name="T14" fmla="*/ 151022 w 491"/>
                    <a:gd name="T15" fmla="*/ 196263 h 481"/>
                    <a:gd name="T16" fmla="*/ 149276 w 491"/>
                    <a:gd name="T17" fmla="*/ 174223 h 481"/>
                    <a:gd name="T18" fmla="*/ 142729 w 491"/>
                    <a:gd name="T19" fmla="*/ 159004 h 481"/>
                    <a:gd name="T20" fmla="*/ 139237 w 491"/>
                    <a:gd name="T21" fmla="*/ 145361 h 481"/>
                    <a:gd name="T22" fmla="*/ 137055 w 491"/>
                    <a:gd name="T23" fmla="*/ 128043 h 481"/>
                    <a:gd name="T24" fmla="*/ 127452 w 491"/>
                    <a:gd name="T25" fmla="*/ 117023 h 481"/>
                    <a:gd name="T26" fmla="*/ 113485 w 491"/>
                    <a:gd name="T27" fmla="*/ 107577 h 481"/>
                    <a:gd name="T28" fmla="*/ 96462 w 491"/>
                    <a:gd name="T29" fmla="*/ 99706 h 481"/>
                    <a:gd name="T30" fmla="*/ 77694 w 491"/>
                    <a:gd name="T31" fmla="*/ 94983 h 481"/>
                    <a:gd name="T32" fmla="*/ 58052 w 491"/>
                    <a:gd name="T33" fmla="*/ 93409 h 481"/>
                    <a:gd name="T34" fmla="*/ 58052 w 491"/>
                    <a:gd name="T35" fmla="*/ 81864 h 481"/>
                    <a:gd name="T36" fmla="*/ 48013 w 491"/>
                    <a:gd name="T37" fmla="*/ 76091 h 481"/>
                    <a:gd name="T38" fmla="*/ 37101 w 491"/>
                    <a:gd name="T39" fmla="*/ 68220 h 481"/>
                    <a:gd name="T40" fmla="*/ 28808 w 491"/>
                    <a:gd name="T41" fmla="*/ 58249 h 481"/>
                    <a:gd name="T42" fmla="*/ 31863 w 491"/>
                    <a:gd name="T43" fmla="*/ 69794 h 481"/>
                    <a:gd name="T44" fmla="*/ 23570 w 491"/>
                    <a:gd name="T45" fmla="*/ 77141 h 481"/>
                    <a:gd name="T46" fmla="*/ 17459 w 491"/>
                    <a:gd name="T47" fmla="*/ 93409 h 481"/>
                    <a:gd name="T48" fmla="*/ 10476 w 491"/>
                    <a:gd name="T49" fmla="*/ 115449 h 481"/>
                    <a:gd name="T50" fmla="*/ 5674 w 491"/>
                    <a:gd name="T51" fmla="*/ 139063 h 481"/>
                    <a:gd name="T52" fmla="*/ 6111 w 491"/>
                    <a:gd name="T53" fmla="*/ 124370 h 481"/>
                    <a:gd name="T54" fmla="*/ 10039 w 491"/>
                    <a:gd name="T55" fmla="*/ 109676 h 481"/>
                    <a:gd name="T56" fmla="*/ 13967 w 491"/>
                    <a:gd name="T57" fmla="*/ 94983 h 481"/>
                    <a:gd name="T58" fmla="*/ 13094 w 491"/>
                    <a:gd name="T59" fmla="*/ 75042 h 481"/>
                    <a:gd name="T60" fmla="*/ 7420 w 491"/>
                    <a:gd name="T61" fmla="*/ 58249 h 481"/>
                    <a:gd name="T62" fmla="*/ 0 w 491"/>
                    <a:gd name="T63" fmla="*/ 38308 h 481"/>
                    <a:gd name="T64" fmla="*/ 14840 w 491"/>
                    <a:gd name="T65" fmla="*/ 30961 h 481"/>
                    <a:gd name="T66" fmla="*/ 25752 w 491"/>
                    <a:gd name="T67" fmla="*/ 28862 h 481"/>
                    <a:gd name="T68" fmla="*/ 36664 w 491"/>
                    <a:gd name="T69" fmla="*/ 30436 h 481"/>
                    <a:gd name="T70" fmla="*/ 44521 w 491"/>
                    <a:gd name="T71" fmla="*/ 34635 h 481"/>
                    <a:gd name="T72" fmla="*/ 52814 w 491"/>
                    <a:gd name="T73" fmla="*/ 43031 h 481"/>
                    <a:gd name="T74" fmla="*/ 61107 w 491"/>
                    <a:gd name="T75" fmla="*/ 58249 h 481"/>
                    <a:gd name="T76" fmla="*/ 79876 w 491"/>
                    <a:gd name="T77" fmla="*/ 54051 h 481"/>
                    <a:gd name="T78" fmla="*/ 85550 w 491"/>
                    <a:gd name="T79" fmla="*/ 50378 h 481"/>
                    <a:gd name="T80" fmla="*/ 87296 w 491"/>
                    <a:gd name="T81" fmla="*/ 47229 h 481"/>
                    <a:gd name="T82" fmla="*/ 90351 w 491"/>
                    <a:gd name="T83" fmla="*/ 38308 h 481"/>
                    <a:gd name="T84" fmla="*/ 101264 w 491"/>
                    <a:gd name="T85" fmla="*/ 28337 h 481"/>
                    <a:gd name="T86" fmla="*/ 110866 w 491"/>
                    <a:gd name="T87" fmla="*/ 25714 h 481"/>
                    <a:gd name="T88" fmla="*/ 114794 w 491"/>
                    <a:gd name="T89" fmla="*/ 15743 h 481"/>
                    <a:gd name="T90" fmla="*/ 122215 w 491"/>
                    <a:gd name="T91" fmla="*/ 4723 h 481"/>
                    <a:gd name="T92" fmla="*/ 130944 w 491"/>
                    <a:gd name="T93" fmla="*/ 525 h 481"/>
                    <a:gd name="T94" fmla="*/ 140983 w 491"/>
                    <a:gd name="T95" fmla="*/ 0 h 481"/>
                    <a:gd name="T96" fmla="*/ 153205 w 491"/>
                    <a:gd name="T97" fmla="*/ 4198 h 481"/>
                    <a:gd name="T98" fmla="*/ 174156 w 491"/>
                    <a:gd name="T99" fmla="*/ 19941 h 481"/>
                    <a:gd name="T100" fmla="*/ 186814 w 491"/>
                    <a:gd name="T101" fmla="*/ 27813 h 481"/>
                    <a:gd name="T102" fmla="*/ 200345 w 491"/>
                    <a:gd name="T103" fmla="*/ 31486 h 481"/>
                    <a:gd name="T104" fmla="*/ 214312 w 491"/>
                    <a:gd name="T105" fmla="*/ 35159 h 481"/>
                    <a:gd name="T106" fmla="*/ 214312 w 491"/>
                    <a:gd name="T107" fmla="*/ 171074 h 48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491" h="481">
                      <a:moveTo>
                        <a:pt x="491" y="481"/>
                      </a:moveTo>
                      <a:lnTo>
                        <a:pt x="488" y="480"/>
                      </a:lnTo>
                      <a:lnTo>
                        <a:pt x="482" y="479"/>
                      </a:lnTo>
                      <a:lnTo>
                        <a:pt x="477" y="477"/>
                      </a:lnTo>
                      <a:lnTo>
                        <a:pt x="470" y="473"/>
                      </a:lnTo>
                      <a:lnTo>
                        <a:pt x="457" y="465"/>
                      </a:lnTo>
                      <a:lnTo>
                        <a:pt x="444" y="455"/>
                      </a:lnTo>
                      <a:lnTo>
                        <a:pt x="432" y="445"/>
                      </a:lnTo>
                      <a:lnTo>
                        <a:pt x="422" y="434"/>
                      </a:lnTo>
                      <a:lnTo>
                        <a:pt x="417" y="428"/>
                      </a:lnTo>
                      <a:lnTo>
                        <a:pt x="414" y="423"/>
                      </a:lnTo>
                      <a:lnTo>
                        <a:pt x="412" y="417"/>
                      </a:lnTo>
                      <a:lnTo>
                        <a:pt x="412" y="412"/>
                      </a:lnTo>
                      <a:lnTo>
                        <a:pt x="392" y="412"/>
                      </a:lnTo>
                      <a:lnTo>
                        <a:pt x="376" y="410"/>
                      </a:lnTo>
                      <a:lnTo>
                        <a:pt x="370" y="409"/>
                      </a:lnTo>
                      <a:lnTo>
                        <a:pt x="365" y="408"/>
                      </a:lnTo>
                      <a:lnTo>
                        <a:pt x="360" y="406"/>
                      </a:lnTo>
                      <a:lnTo>
                        <a:pt x="356" y="403"/>
                      </a:lnTo>
                      <a:lnTo>
                        <a:pt x="353" y="400"/>
                      </a:lnTo>
                      <a:lnTo>
                        <a:pt x="350" y="396"/>
                      </a:lnTo>
                      <a:lnTo>
                        <a:pt x="348" y="392"/>
                      </a:lnTo>
                      <a:lnTo>
                        <a:pt x="347" y="387"/>
                      </a:lnTo>
                      <a:lnTo>
                        <a:pt x="346" y="374"/>
                      </a:lnTo>
                      <a:lnTo>
                        <a:pt x="345" y="357"/>
                      </a:lnTo>
                      <a:lnTo>
                        <a:pt x="344" y="344"/>
                      </a:lnTo>
                      <a:lnTo>
                        <a:pt x="342" y="332"/>
                      </a:lnTo>
                      <a:lnTo>
                        <a:pt x="337" y="322"/>
                      </a:lnTo>
                      <a:lnTo>
                        <a:pt x="332" y="313"/>
                      </a:lnTo>
                      <a:lnTo>
                        <a:pt x="327" y="303"/>
                      </a:lnTo>
                      <a:lnTo>
                        <a:pt x="323" y="294"/>
                      </a:lnTo>
                      <a:lnTo>
                        <a:pt x="320" y="286"/>
                      </a:lnTo>
                      <a:lnTo>
                        <a:pt x="319" y="277"/>
                      </a:lnTo>
                      <a:lnTo>
                        <a:pt x="319" y="267"/>
                      </a:lnTo>
                      <a:lnTo>
                        <a:pt x="319" y="252"/>
                      </a:lnTo>
                      <a:lnTo>
                        <a:pt x="314" y="244"/>
                      </a:lnTo>
                      <a:lnTo>
                        <a:pt x="309" y="237"/>
                      </a:lnTo>
                      <a:lnTo>
                        <a:pt x="301" y="229"/>
                      </a:lnTo>
                      <a:lnTo>
                        <a:pt x="292" y="223"/>
                      </a:lnTo>
                      <a:lnTo>
                        <a:pt x="282" y="216"/>
                      </a:lnTo>
                      <a:lnTo>
                        <a:pt x="272" y="210"/>
                      </a:lnTo>
                      <a:lnTo>
                        <a:pt x="260" y="205"/>
                      </a:lnTo>
                      <a:lnTo>
                        <a:pt x="248" y="200"/>
                      </a:lnTo>
                      <a:lnTo>
                        <a:pt x="235" y="194"/>
                      </a:lnTo>
                      <a:lnTo>
                        <a:pt x="221" y="190"/>
                      </a:lnTo>
                      <a:lnTo>
                        <a:pt x="208" y="187"/>
                      </a:lnTo>
                      <a:lnTo>
                        <a:pt x="192" y="184"/>
                      </a:lnTo>
                      <a:lnTo>
                        <a:pt x="178" y="181"/>
                      </a:lnTo>
                      <a:lnTo>
                        <a:pt x="163" y="180"/>
                      </a:lnTo>
                      <a:lnTo>
                        <a:pt x="147" y="179"/>
                      </a:lnTo>
                      <a:lnTo>
                        <a:pt x="133" y="178"/>
                      </a:lnTo>
                      <a:lnTo>
                        <a:pt x="133" y="170"/>
                      </a:lnTo>
                      <a:lnTo>
                        <a:pt x="133" y="163"/>
                      </a:lnTo>
                      <a:lnTo>
                        <a:pt x="133" y="156"/>
                      </a:lnTo>
                      <a:lnTo>
                        <a:pt x="133" y="148"/>
                      </a:lnTo>
                      <a:lnTo>
                        <a:pt x="121" y="147"/>
                      </a:lnTo>
                      <a:lnTo>
                        <a:pt x="110" y="145"/>
                      </a:lnTo>
                      <a:lnTo>
                        <a:pt x="100" y="140"/>
                      </a:lnTo>
                      <a:lnTo>
                        <a:pt x="92" y="136"/>
                      </a:lnTo>
                      <a:lnTo>
                        <a:pt x="85" y="130"/>
                      </a:lnTo>
                      <a:lnTo>
                        <a:pt x="77" y="124"/>
                      </a:lnTo>
                      <a:lnTo>
                        <a:pt x="71" y="117"/>
                      </a:lnTo>
                      <a:lnTo>
                        <a:pt x="66" y="111"/>
                      </a:lnTo>
                      <a:lnTo>
                        <a:pt x="92" y="111"/>
                      </a:lnTo>
                      <a:lnTo>
                        <a:pt x="82" y="121"/>
                      </a:lnTo>
                      <a:lnTo>
                        <a:pt x="73" y="133"/>
                      </a:lnTo>
                      <a:lnTo>
                        <a:pt x="66" y="139"/>
                      </a:lnTo>
                      <a:lnTo>
                        <a:pt x="60" y="144"/>
                      </a:lnTo>
                      <a:lnTo>
                        <a:pt x="54" y="147"/>
                      </a:lnTo>
                      <a:lnTo>
                        <a:pt x="46" y="148"/>
                      </a:lnTo>
                      <a:lnTo>
                        <a:pt x="43" y="163"/>
                      </a:lnTo>
                      <a:lnTo>
                        <a:pt x="40" y="178"/>
                      </a:lnTo>
                      <a:lnTo>
                        <a:pt x="34" y="192"/>
                      </a:lnTo>
                      <a:lnTo>
                        <a:pt x="30" y="206"/>
                      </a:lnTo>
                      <a:lnTo>
                        <a:pt x="24" y="220"/>
                      </a:lnTo>
                      <a:lnTo>
                        <a:pt x="20" y="234"/>
                      </a:lnTo>
                      <a:lnTo>
                        <a:pt x="17" y="249"/>
                      </a:lnTo>
                      <a:lnTo>
                        <a:pt x="13" y="265"/>
                      </a:lnTo>
                      <a:lnTo>
                        <a:pt x="13" y="256"/>
                      </a:lnTo>
                      <a:lnTo>
                        <a:pt x="13" y="246"/>
                      </a:lnTo>
                      <a:lnTo>
                        <a:pt x="14" y="237"/>
                      </a:lnTo>
                      <a:lnTo>
                        <a:pt x="17" y="228"/>
                      </a:lnTo>
                      <a:lnTo>
                        <a:pt x="20" y="219"/>
                      </a:lnTo>
                      <a:lnTo>
                        <a:pt x="23" y="209"/>
                      </a:lnTo>
                      <a:lnTo>
                        <a:pt x="26" y="200"/>
                      </a:lnTo>
                      <a:lnTo>
                        <a:pt x="30" y="190"/>
                      </a:lnTo>
                      <a:lnTo>
                        <a:pt x="32" y="181"/>
                      </a:lnTo>
                      <a:lnTo>
                        <a:pt x="33" y="172"/>
                      </a:lnTo>
                      <a:lnTo>
                        <a:pt x="32" y="156"/>
                      </a:lnTo>
                      <a:lnTo>
                        <a:pt x="30" y="143"/>
                      </a:lnTo>
                      <a:lnTo>
                        <a:pt x="26" y="130"/>
                      </a:lnTo>
                      <a:lnTo>
                        <a:pt x="21" y="120"/>
                      </a:lnTo>
                      <a:lnTo>
                        <a:pt x="17" y="111"/>
                      </a:lnTo>
                      <a:lnTo>
                        <a:pt x="11" y="101"/>
                      </a:lnTo>
                      <a:lnTo>
                        <a:pt x="4" y="89"/>
                      </a:lnTo>
                      <a:lnTo>
                        <a:pt x="0" y="73"/>
                      </a:lnTo>
                      <a:lnTo>
                        <a:pt x="13" y="68"/>
                      </a:lnTo>
                      <a:lnTo>
                        <a:pt x="28" y="62"/>
                      </a:lnTo>
                      <a:lnTo>
                        <a:pt x="34" y="59"/>
                      </a:lnTo>
                      <a:lnTo>
                        <a:pt x="42" y="57"/>
                      </a:lnTo>
                      <a:lnTo>
                        <a:pt x="51" y="56"/>
                      </a:lnTo>
                      <a:lnTo>
                        <a:pt x="59" y="55"/>
                      </a:lnTo>
                      <a:lnTo>
                        <a:pt x="68" y="56"/>
                      </a:lnTo>
                      <a:lnTo>
                        <a:pt x="76" y="57"/>
                      </a:lnTo>
                      <a:lnTo>
                        <a:pt x="84" y="58"/>
                      </a:lnTo>
                      <a:lnTo>
                        <a:pt x="90" y="60"/>
                      </a:lnTo>
                      <a:lnTo>
                        <a:pt x="96" y="63"/>
                      </a:lnTo>
                      <a:lnTo>
                        <a:pt x="102" y="66"/>
                      </a:lnTo>
                      <a:lnTo>
                        <a:pt x="107" y="70"/>
                      </a:lnTo>
                      <a:lnTo>
                        <a:pt x="112" y="73"/>
                      </a:lnTo>
                      <a:lnTo>
                        <a:pt x="121" y="82"/>
                      </a:lnTo>
                      <a:lnTo>
                        <a:pt x="127" y="92"/>
                      </a:lnTo>
                      <a:lnTo>
                        <a:pt x="134" y="101"/>
                      </a:lnTo>
                      <a:lnTo>
                        <a:pt x="140" y="111"/>
                      </a:lnTo>
                      <a:lnTo>
                        <a:pt x="179" y="111"/>
                      </a:lnTo>
                      <a:lnTo>
                        <a:pt x="180" y="107"/>
                      </a:lnTo>
                      <a:lnTo>
                        <a:pt x="183" y="103"/>
                      </a:lnTo>
                      <a:lnTo>
                        <a:pt x="187" y="101"/>
                      </a:lnTo>
                      <a:lnTo>
                        <a:pt x="191" y="99"/>
                      </a:lnTo>
                      <a:lnTo>
                        <a:pt x="196" y="96"/>
                      </a:lnTo>
                      <a:lnTo>
                        <a:pt x="199" y="94"/>
                      </a:lnTo>
                      <a:lnTo>
                        <a:pt x="200" y="92"/>
                      </a:lnTo>
                      <a:lnTo>
                        <a:pt x="200" y="90"/>
                      </a:lnTo>
                      <a:lnTo>
                        <a:pt x="200" y="89"/>
                      </a:lnTo>
                      <a:lnTo>
                        <a:pt x="199" y="85"/>
                      </a:lnTo>
                      <a:lnTo>
                        <a:pt x="207" y="73"/>
                      </a:lnTo>
                      <a:lnTo>
                        <a:pt x="215" y="64"/>
                      </a:lnTo>
                      <a:lnTo>
                        <a:pt x="223" y="58"/>
                      </a:lnTo>
                      <a:lnTo>
                        <a:pt x="232" y="54"/>
                      </a:lnTo>
                      <a:lnTo>
                        <a:pt x="239" y="51"/>
                      </a:lnTo>
                      <a:lnTo>
                        <a:pt x="247" y="50"/>
                      </a:lnTo>
                      <a:lnTo>
                        <a:pt x="254" y="49"/>
                      </a:lnTo>
                      <a:lnTo>
                        <a:pt x="259" y="49"/>
                      </a:lnTo>
                      <a:lnTo>
                        <a:pt x="260" y="40"/>
                      </a:lnTo>
                      <a:lnTo>
                        <a:pt x="263" y="30"/>
                      </a:lnTo>
                      <a:lnTo>
                        <a:pt x="267" y="22"/>
                      </a:lnTo>
                      <a:lnTo>
                        <a:pt x="273" y="15"/>
                      </a:lnTo>
                      <a:lnTo>
                        <a:pt x="280" y="9"/>
                      </a:lnTo>
                      <a:lnTo>
                        <a:pt x="290" y="4"/>
                      </a:lnTo>
                      <a:lnTo>
                        <a:pt x="294" y="2"/>
                      </a:lnTo>
                      <a:lnTo>
                        <a:pt x="300" y="1"/>
                      </a:lnTo>
                      <a:lnTo>
                        <a:pt x="306" y="0"/>
                      </a:lnTo>
                      <a:lnTo>
                        <a:pt x="312" y="0"/>
                      </a:lnTo>
                      <a:lnTo>
                        <a:pt x="323" y="0"/>
                      </a:lnTo>
                      <a:lnTo>
                        <a:pt x="333" y="2"/>
                      </a:lnTo>
                      <a:lnTo>
                        <a:pt x="343" y="5"/>
                      </a:lnTo>
                      <a:lnTo>
                        <a:pt x="351" y="8"/>
                      </a:lnTo>
                      <a:lnTo>
                        <a:pt x="368" y="17"/>
                      </a:lnTo>
                      <a:lnTo>
                        <a:pt x="383" y="27"/>
                      </a:lnTo>
                      <a:lnTo>
                        <a:pt x="399" y="38"/>
                      </a:lnTo>
                      <a:lnTo>
                        <a:pt x="413" y="47"/>
                      </a:lnTo>
                      <a:lnTo>
                        <a:pt x="421" y="50"/>
                      </a:lnTo>
                      <a:lnTo>
                        <a:pt x="428" y="53"/>
                      </a:lnTo>
                      <a:lnTo>
                        <a:pt x="436" y="55"/>
                      </a:lnTo>
                      <a:lnTo>
                        <a:pt x="445" y="55"/>
                      </a:lnTo>
                      <a:lnTo>
                        <a:pt x="459" y="60"/>
                      </a:lnTo>
                      <a:lnTo>
                        <a:pt x="471" y="64"/>
                      </a:lnTo>
                      <a:lnTo>
                        <a:pt x="481" y="66"/>
                      </a:lnTo>
                      <a:lnTo>
                        <a:pt x="491" y="67"/>
                      </a:lnTo>
                      <a:lnTo>
                        <a:pt x="491" y="289"/>
                      </a:lnTo>
                      <a:lnTo>
                        <a:pt x="471" y="301"/>
                      </a:lnTo>
                      <a:lnTo>
                        <a:pt x="491" y="326"/>
                      </a:lnTo>
                      <a:lnTo>
                        <a:pt x="491" y="474"/>
                      </a:lnTo>
                      <a:lnTo>
                        <a:pt x="491" y="481"/>
                      </a:lnTo>
                    </a:path>
                  </a:pathLst>
                </a:custGeom>
                <a:grpFill/>
                <a:ln w="9525" cap="flat" cmpd="sng">
                  <a:solidFill>
                    <a:srgbClr val="FFFFFF"/>
                  </a:solidFill>
                  <a:prstDash val="solid"/>
                  <a:round/>
                  <a:headEnd type="none" w="med" len="med"/>
                  <a:tailEnd type="none" w="med" len="med"/>
                </a:ln>
                <a:effectLst/>
              </p:spPr>
              <p:txBody>
                <a:bodyPr/>
                <a:lstStyle/>
                <a:p>
                  <a:endParaRPr lang="en-GB" sz="1637"/>
                </a:p>
              </p:txBody>
            </p:sp>
            <p:sp>
              <p:nvSpPr>
                <p:cNvPr id="373" name="Freeform 341"/>
                <p:cNvSpPr>
                  <a:spLocks/>
                </p:cNvSpPr>
                <p:nvPr>
                  <p:custDataLst>
                    <p:tags r:id="rId245"/>
                  </p:custDataLst>
                </p:nvPr>
              </p:nvSpPr>
              <p:spPr bwMode="auto">
                <a:xfrm>
                  <a:off x="5917653" y="2697804"/>
                  <a:ext cx="58921" cy="68057"/>
                </a:xfrm>
                <a:custGeom>
                  <a:avLst/>
                  <a:gdLst>
                    <a:gd name="T0" fmla="*/ 0 w 133"/>
                    <a:gd name="T1" fmla="*/ 9796 h 117"/>
                    <a:gd name="T2" fmla="*/ 29220 w 133"/>
                    <a:gd name="T3" fmla="*/ 0 h 117"/>
                    <a:gd name="T4" fmla="*/ 32872 w 133"/>
                    <a:gd name="T5" fmla="*/ 3094 h 117"/>
                    <a:gd name="T6" fmla="*/ 36930 w 133"/>
                    <a:gd name="T7" fmla="*/ 7218 h 117"/>
                    <a:gd name="T8" fmla="*/ 40989 w 133"/>
                    <a:gd name="T9" fmla="*/ 12890 h 117"/>
                    <a:gd name="T10" fmla="*/ 44235 w 133"/>
                    <a:gd name="T11" fmla="*/ 19077 h 117"/>
                    <a:gd name="T12" fmla="*/ 47888 w 133"/>
                    <a:gd name="T13" fmla="*/ 25264 h 117"/>
                    <a:gd name="T14" fmla="*/ 51134 w 133"/>
                    <a:gd name="T15" fmla="*/ 31967 h 117"/>
                    <a:gd name="T16" fmla="*/ 51946 w 133"/>
                    <a:gd name="T17" fmla="*/ 35061 h 117"/>
                    <a:gd name="T18" fmla="*/ 52758 w 133"/>
                    <a:gd name="T19" fmla="*/ 38154 h 117"/>
                    <a:gd name="T20" fmla="*/ 53163 w 133"/>
                    <a:gd name="T21" fmla="*/ 41248 h 117"/>
                    <a:gd name="T22" fmla="*/ 53975 w 133"/>
                    <a:gd name="T23" fmla="*/ 44341 h 117"/>
                    <a:gd name="T24" fmla="*/ 53163 w 133"/>
                    <a:gd name="T25" fmla="*/ 47435 h 117"/>
                    <a:gd name="T26" fmla="*/ 51946 w 133"/>
                    <a:gd name="T27" fmla="*/ 50013 h 117"/>
                    <a:gd name="T28" fmla="*/ 50323 w 133"/>
                    <a:gd name="T29" fmla="*/ 52591 h 117"/>
                    <a:gd name="T30" fmla="*/ 47888 w 133"/>
                    <a:gd name="T31" fmla="*/ 55169 h 117"/>
                    <a:gd name="T32" fmla="*/ 45858 w 133"/>
                    <a:gd name="T33" fmla="*/ 57231 h 117"/>
                    <a:gd name="T34" fmla="*/ 43423 w 133"/>
                    <a:gd name="T35" fmla="*/ 58778 h 117"/>
                    <a:gd name="T36" fmla="*/ 41800 w 133"/>
                    <a:gd name="T37" fmla="*/ 60325 h 117"/>
                    <a:gd name="T38" fmla="*/ 40583 w 133"/>
                    <a:gd name="T39" fmla="*/ 60325 h 117"/>
                    <a:gd name="T40" fmla="*/ 29220 w 133"/>
                    <a:gd name="T41" fmla="*/ 48982 h 117"/>
                    <a:gd name="T42" fmla="*/ 18262 w 133"/>
                    <a:gd name="T43" fmla="*/ 36092 h 117"/>
                    <a:gd name="T44" fmla="*/ 12986 w 133"/>
                    <a:gd name="T45" fmla="*/ 29905 h 117"/>
                    <a:gd name="T46" fmla="*/ 7305 w 133"/>
                    <a:gd name="T47" fmla="*/ 23718 h 117"/>
                    <a:gd name="T48" fmla="*/ 3247 w 133"/>
                    <a:gd name="T49" fmla="*/ 17015 h 117"/>
                    <a:gd name="T50" fmla="*/ 0 w 133"/>
                    <a:gd name="T51" fmla="*/ 9796 h 11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33" h="117">
                      <a:moveTo>
                        <a:pt x="0" y="19"/>
                      </a:moveTo>
                      <a:lnTo>
                        <a:pt x="72" y="0"/>
                      </a:lnTo>
                      <a:lnTo>
                        <a:pt x="81" y="6"/>
                      </a:lnTo>
                      <a:lnTo>
                        <a:pt x="91" y="14"/>
                      </a:lnTo>
                      <a:lnTo>
                        <a:pt x="101" y="25"/>
                      </a:lnTo>
                      <a:lnTo>
                        <a:pt x="109" y="37"/>
                      </a:lnTo>
                      <a:lnTo>
                        <a:pt x="118" y="49"/>
                      </a:lnTo>
                      <a:lnTo>
                        <a:pt x="126" y="62"/>
                      </a:lnTo>
                      <a:lnTo>
                        <a:pt x="128" y="68"/>
                      </a:lnTo>
                      <a:lnTo>
                        <a:pt x="130" y="74"/>
                      </a:lnTo>
                      <a:lnTo>
                        <a:pt x="131" y="80"/>
                      </a:lnTo>
                      <a:lnTo>
                        <a:pt x="133" y="86"/>
                      </a:lnTo>
                      <a:lnTo>
                        <a:pt x="131" y="92"/>
                      </a:lnTo>
                      <a:lnTo>
                        <a:pt x="128" y="97"/>
                      </a:lnTo>
                      <a:lnTo>
                        <a:pt x="124" y="102"/>
                      </a:lnTo>
                      <a:lnTo>
                        <a:pt x="118" y="107"/>
                      </a:lnTo>
                      <a:lnTo>
                        <a:pt x="113" y="111"/>
                      </a:lnTo>
                      <a:lnTo>
                        <a:pt x="107" y="114"/>
                      </a:lnTo>
                      <a:lnTo>
                        <a:pt x="103" y="117"/>
                      </a:lnTo>
                      <a:lnTo>
                        <a:pt x="100" y="117"/>
                      </a:lnTo>
                      <a:lnTo>
                        <a:pt x="72" y="95"/>
                      </a:lnTo>
                      <a:lnTo>
                        <a:pt x="45" y="70"/>
                      </a:lnTo>
                      <a:lnTo>
                        <a:pt x="32" y="58"/>
                      </a:lnTo>
                      <a:lnTo>
                        <a:pt x="18" y="46"/>
                      </a:lnTo>
                      <a:lnTo>
                        <a:pt x="8" y="33"/>
                      </a:lnTo>
                      <a:lnTo>
                        <a:pt x="0" y="19"/>
                      </a:lnTo>
                    </a:path>
                  </a:pathLst>
                </a:custGeom>
                <a:grpFill/>
                <a:ln w="9525" cmpd="sng">
                  <a:solidFill>
                    <a:srgbClr val="FFFFFF"/>
                  </a:solidFill>
                  <a:prstDash val="solid"/>
                  <a:round/>
                  <a:headEnd/>
                  <a:tailEnd/>
                </a:ln>
              </p:spPr>
              <p:txBody>
                <a:bodyPr/>
                <a:lstStyle/>
                <a:p>
                  <a:endParaRPr lang="en-GB" sz="1637"/>
                </a:p>
              </p:txBody>
            </p:sp>
            <p:sp>
              <p:nvSpPr>
                <p:cNvPr id="374" name="Freeform 350"/>
                <p:cNvSpPr>
                  <a:spLocks/>
                </p:cNvSpPr>
                <p:nvPr>
                  <p:custDataLst>
                    <p:tags r:id="rId246"/>
                  </p:custDataLst>
                </p:nvPr>
              </p:nvSpPr>
              <p:spPr bwMode="auto">
                <a:xfrm>
                  <a:off x="5600518" y="2522289"/>
                  <a:ext cx="227020" cy="137905"/>
                </a:xfrm>
                <a:custGeom>
                  <a:avLst/>
                  <a:gdLst>
                    <a:gd name="T0" fmla="*/ 46802 w 471"/>
                    <a:gd name="T1" fmla="*/ 35000 h 234"/>
                    <a:gd name="T2" fmla="*/ 73294 w 471"/>
                    <a:gd name="T3" fmla="*/ 44925 h 234"/>
                    <a:gd name="T4" fmla="*/ 120097 w 471"/>
                    <a:gd name="T5" fmla="*/ 54850 h 234"/>
                    <a:gd name="T6" fmla="*/ 164250 w 471"/>
                    <a:gd name="T7" fmla="*/ 44925 h 234"/>
                    <a:gd name="T8" fmla="*/ 169107 w 471"/>
                    <a:gd name="T9" fmla="*/ 49627 h 234"/>
                    <a:gd name="T10" fmla="*/ 172639 w 471"/>
                    <a:gd name="T11" fmla="*/ 59552 h 234"/>
                    <a:gd name="T12" fmla="*/ 179262 w 471"/>
                    <a:gd name="T13" fmla="*/ 64776 h 234"/>
                    <a:gd name="T14" fmla="*/ 187210 w 471"/>
                    <a:gd name="T15" fmla="*/ 67388 h 234"/>
                    <a:gd name="T16" fmla="*/ 191184 w 471"/>
                    <a:gd name="T17" fmla="*/ 70000 h 234"/>
                    <a:gd name="T18" fmla="*/ 194716 w 471"/>
                    <a:gd name="T19" fmla="*/ 73656 h 234"/>
                    <a:gd name="T20" fmla="*/ 197807 w 471"/>
                    <a:gd name="T21" fmla="*/ 78880 h 234"/>
                    <a:gd name="T22" fmla="*/ 200897 w 471"/>
                    <a:gd name="T23" fmla="*/ 88805 h 234"/>
                    <a:gd name="T24" fmla="*/ 207962 w 471"/>
                    <a:gd name="T25" fmla="*/ 99253 h 234"/>
                    <a:gd name="T26" fmla="*/ 154537 w 471"/>
                    <a:gd name="T27" fmla="*/ 105522 h 234"/>
                    <a:gd name="T28" fmla="*/ 145706 w 471"/>
                    <a:gd name="T29" fmla="*/ 117014 h 234"/>
                    <a:gd name="T30" fmla="*/ 139966 w 471"/>
                    <a:gd name="T31" fmla="*/ 121716 h 234"/>
                    <a:gd name="T32" fmla="*/ 135109 w 471"/>
                    <a:gd name="T33" fmla="*/ 121716 h 234"/>
                    <a:gd name="T34" fmla="*/ 131577 w 471"/>
                    <a:gd name="T35" fmla="*/ 120148 h 234"/>
                    <a:gd name="T36" fmla="*/ 128928 w 471"/>
                    <a:gd name="T37" fmla="*/ 117014 h 234"/>
                    <a:gd name="T38" fmla="*/ 127603 w 471"/>
                    <a:gd name="T39" fmla="*/ 112835 h 234"/>
                    <a:gd name="T40" fmla="*/ 125395 w 471"/>
                    <a:gd name="T41" fmla="*/ 103955 h 234"/>
                    <a:gd name="T42" fmla="*/ 122746 w 471"/>
                    <a:gd name="T43" fmla="*/ 90895 h 234"/>
                    <a:gd name="T44" fmla="*/ 118772 w 471"/>
                    <a:gd name="T45" fmla="*/ 80970 h 234"/>
                    <a:gd name="T46" fmla="*/ 113915 w 471"/>
                    <a:gd name="T47" fmla="*/ 77313 h 234"/>
                    <a:gd name="T48" fmla="*/ 108617 w 471"/>
                    <a:gd name="T49" fmla="*/ 73656 h 234"/>
                    <a:gd name="T50" fmla="*/ 104202 w 471"/>
                    <a:gd name="T51" fmla="*/ 69477 h 234"/>
                    <a:gd name="T52" fmla="*/ 98903 w 471"/>
                    <a:gd name="T53" fmla="*/ 73134 h 234"/>
                    <a:gd name="T54" fmla="*/ 91397 w 471"/>
                    <a:gd name="T55" fmla="*/ 84626 h 234"/>
                    <a:gd name="T56" fmla="*/ 88307 w 471"/>
                    <a:gd name="T57" fmla="*/ 92462 h 234"/>
                    <a:gd name="T58" fmla="*/ 83008 w 471"/>
                    <a:gd name="T59" fmla="*/ 99253 h 234"/>
                    <a:gd name="T60" fmla="*/ 73736 w 471"/>
                    <a:gd name="T61" fmla="*/ 104999 h 234"/>
                    <a:gd name="T62" fmla="*/ 64905 w 471"/>
                    <a:gd name="T63" fmla="*/ 111268 h 234"/>
                    <a:gd name="T64" fmla="*/ 57399 w 471"/>
                    <a:gd name="T65" fmla="*/ 114402 h 234"/>
                    <a:gd name="T66" fmla="*/ 50335 w 471"/>
                    <a:gd name="T67" fmla="*/ 115969 h 234"/>
                    <a:gd name="T68" fmla="*/ 42829 w 471"/>
                    <a:gd name="T69" fmla="*/ 115447 h 234"/>
                    <a:gd name="T70" fmla="*/ 36206 w 471"/>
                    <a:gd name="T71" fmla="*/ 113357 h 234"/>
                    <a:gd name="T72" fmla="*/ 27817 w 471"/>
                    <a:gd name="T73" fmla="*/ 107089 h 234"/>
                    <a:gd name="T74" fmla="*/ 26050 w 471"/>
                    <a:gd name="T75" fmla="*/ 102910 h 234"/>
                    <a:gd name="T76" fmla="*/ 26050 w 471"/>
                    <a:gd name="T77" fmla="*/ 70522 h 234"/>
                    <a:gd name="T78" fmla="*/ 0 w 471"/>
                    <a:gd name="T79" fmla="*/ 51194 h 234"/>
                    <a:gd name="T80" fmla="*/ 23401 w 471"/>
                    <a:gd name="T81" fmla="*/ 41791 h 234"/>
                    <a:gd name="T82" fmla="*/ 37972 w 471"/>
                    <a:gd name="T83" fmla="*/ 15672 h 234"/>
                    <a:gd name="T84" fmla="*/ 58724 w 471"/>
                    <a:gd name="T85" fmla="*/ 0 h 234"/>
                    <a:gd name="T86" fmla="*/ 73294 w 471"/>
                    <a:gd name="T87" fmla="*/ 21940 h 23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71" h="234">
                      <a:moveTo>
                        <a:pt x="159" y="30"/>
                      </a:moveTo>
                      <a:lnTo>
                        <a:pt x="106" y="67"/>
                      </a:lnTo>
                      <a:lnTo>
                        <a:pt x="126" y="86"/>
                      </a:lnTo>
                      <a:lnTo>
                        <a:pt x="166" y="86"/>
                      </a:lnTo>
                      <a:lnTo>
                        <a:pt x="218" y="98"/>
                      </a:lnTo>
                      <a:lnTo>
                        <a:pt x="272" y="105"/>
                      </a:lnTo>
                      <a:lnTo>
                        <a:pt x="325" y="92"/>
                      </a:lnTo>
                      <a:lnTo>
                        <a:pt x="372" y="86"/>
                      </a:lnTo>
                      <a:lnTo>
                        <a:pt x="379" y="86"/>
                      </a:lnTo>
                      <a:lnTo>
                        <a:pt x="383" y="95"/>
                      </a:lnTo>
                      <a:lnTo>
                        <a:pt x="388" y="105"/>
                      </a:lnTo>
                      <a:lnTo>
                        <a:pt x="391" y="114"/>
                      </a:lnTo>
                      <a:lnTo>
                        <a:pt x="392" y="123"/>
                      </a:lnTo>
                      <a:lnTo>
                        <a:pt x="406" y="124"/>
                      </a:lnTo>
                      <a:lnTo>
                        <a:pt x="418" y="126"/>
                      </a:lnTo>
                      <a:lnTo>
                        <a:pt x="424" y="129"/>
                      </a:lnTo>
                      <a:lnTo>
                        <a:pt x="428" y="131"/>
                      </a:lnTo>
                      <a:lnTo>
                        <a:pt x="433" y="134"/>
                      </a:lnTo>
                      <a:lnTo>
                        <a:pt x="437" y="137"/>
                      </a:lnTo>
                      <a:lnTo>
                        <a:pt x="441" y="141"/>
                      </a:lnTo>
                      <a:lnTo>
                        <a:pt x="445" y="146"/>
                      </a:lnTo>
                      <a:lnTo>
                        <a:pt x="448" y="151"/>
                      </a:lnTo>
                      <a:lnTo>
                        <a:pt x="450" y="156"/>
                      </a:lnTo>
                      <a:lnTo>
                        <a:pt x="455" y="170"/>
                      </a:lnTo>
                      <a:lnTo>
                        <a:pt x="458" y="184"/>
                      </a:lnTo>
                      <a:lnTo>
                        <a:pt x="471" y="190"/>
                      </a:lnTo>
                      <a:lnTo>
                        <a:pt x="359" y="190"/>
                      </a:lnTo>
                      <a:lnTo>
                        <a:pt x="350" y="202"/>
                      </a:lnTo>
                      <a:lnTo>
                        <a:pt x="338" y="217"/>
                      </a:lnTo>
                      <a:lnTo>
                        <a:pt x="330" y="224"/>
                      </a:lnTo>
                      <a:lnTo>
                        <a:pt x="324" y="229"/>
                      </a:lnTo>
                      <a:lnTo>
                        <a:pt x="317" y="233"/>
                      </a:lnTo>
                      <a:lnTo>
                        <a:pt x="312" y="234"/>
                      </a:lnTo>
                      <a:lnTo>
                        <a:pt x="306" y="233"/>
                      </a:lnTo>
                      <a:lnTo>
                        <a:pt x="302" y="232"/>
                      </a:lnTo>
                      <a:lnTo>
                        <a:pt x="298" y="230"/>
                      </a:lnTo>
                      <a:lnTo>
                        <a:pt x="294" y="228"/>
                      </a:lnTo>
                      <a:lnTo>
                        <a:pt x="292" y="224"/>
                      </a:lnTo>
                      <a:lnTo>
                        <a:pt x="290" y="220"/>
                      </a:lnTo>
                      <a:lnTo>
                        <a:pt x="289" y="216"/>
                      </a:lnTo>
                      <a:lnTo>
                        <a:pt x="287" y="210"/>
                      </a:lnTo>
                      <a:lnTo>
                        <a:pt x="284" y="199"/>
                      </a:lnTo>
                      <a:lnTo>
                        <a:pt x="282" y="187"/>
                      </a:lnTo>
                      <a:lnTo>
                        <a:pt x="278" y="174"/>
                      </a:lnTo>
                      <a:lnTo>
                        <a:pt x="272" y="160"/>
                      </a:lnTo>
                      <a:lnTo>
                        <a:pt x="269" y="155"/>
                      </a:lnTo>
                      <a:lnTo>
                        <a:pt x="265" y="151"/>
                      </a:lnTo>
                      <a:lnTo>
                        <a:pt x="258" y="148"/>
                      </a:lnTo>
                      <a:lnTo>
                        <a:pt x="253" y="144"/>
                      </a:lnTo>
                      <a:lnTo>
                        <a:pt x="246" y="141"/>
                      </a:lnTo>
                      <a:lnTo>
                        <a:pt x="240" y="137"/>
                      </a:lnTo>
                      <a:lnTo>
                        <a:pt x="236" y="133"/>
                      </a:lnTo>
                      <a:lnTo>
                        <a:pt x="233" y="129"/>
                      </a:lnTo>
                      <a:lnTo>
                        <a:pt x="224" y="140"/>
                      </a:lnTo>
                      <a:lnTo>
                        <a:pt x="213" y="154"/>
                      </a:lnTo>
                      <a:lnTo>
                        <a:pt x="207" y="162"/>
                      </a:lnTo>
                      <a:lnTo>
                        <a:pt x="203" y="170"/>
                      </a:lnTo>
                      <a:lnTo>
                        <a:pt x="200" y="177"/>
                      </a:lnTo>
                      <a:lnTo>
                        <a:pt x="199" y="184"/>
                      </a:lnTo>
                      <a:lnTo>
                        <a:pt x="188" y="190"/>
                      </a:lnTo>
                      <a:lnTo>
                        <a:pt x="177" y="195"/>
                      </a:lnTo>
                      <a:lnTo>
                        <a:pt x="167" y="201"/>
                      </a:lnTo>
                      <a:lnTo>
                        <a:pt x="157" y="207"/>
                      </a:lnTo>
                      <a:lnTo>
                        <a:pt x="147" y="213"/>
                      </a:lnTo>
                      <a:lnTo>
                        <a:pt x="135" y="218"/>
                      </a:lnTo>
                      <a:lnTo>
                        <a:pt x="130" y="219"/>
                      </a:lnTo>
                      <a:lnTo>
                        <a:pt x="122" y="221"/>
                      </a:lnTo>
                      <a:lnTo>
                        <a:pt x="114" y="222"/>
                      </a:lnTo>
                      <a:lnTo>
                        <a:pt x="106" y="222"/>
                      </a:lnTo>
                      <a:lnTo>
                        <a:pt x="97" y="221"/>
                      </a:lnTo>
                      <a:lnTo>
                        <a:pt x="89" y="220"/>
                      </a:lnTo>
                      <a:lnTo>
                        <a:pt x="82" y="217"/>
                      </a:lnTo>
                      <a:lnTo>
                        <a:pt x="76" y="213"/>
                      </a:lnTo>
                      <a:lnTo>
                        <a:pt x="63" y="205"/>
                      </a:lnTo>
                      <a:lnTo>
                        <a:pt x="46" y="197"/>
                      </a:lnTo>
                      <a:lnTo>
                        <a:pt x="59" y="197"/>
                      </a:lnTo>
                      <a:lnTo>
                        <a:pt x="72" y="166"/>
                      </a:lnTo>
                      <a:lnTo>
                        <a:pt x="59" y="135"/>
                      </a:lnTo>
                      <a:lnTo>
                        <a:pt x="39" y="117"/>
                      </a:lnTo>
                      <a:lnTo>
                        <a:pt x="0" y="98"/>
                      </a:lnTo>
                      <a:lnTo>
                        <a:pt x="13" y="86"/>
                      </a:lnTo>
                      <a:lnTo>
                        <a:pt x="53" y="80"/>
                      </a:lnTo>
                      <a:lnTo>
                        <a:pt x="66" y="49"/>
                      </a:lnTo>
                      <a:lnTo>
                        <a:pt x="86" y="30"/>
                      </a:lnTo>
                      <a:lnTo>
                        <a:pt x="93" y="6"/>
                      </a:lnTo>
                      <a:lnTo>
                        <a:pt x="133" y="0"/>
                      </a:lnTo>
                      <a:lnTo>
                        <a:pt x="153" y="12"/>
                      </a:lnTo>
                      <a:lnTo>
                        <a:pt x="166" y="42"/>
                      </a:lnTo>
                      <a:lnTo>
                        <a:pt x="159" y="30"/>
                      </a:lnTo>
                    </a:path>
                  </a:pathLst>
                </a:custGeom>
                <a:grpFill/>
                <a:ln w="9525" cmpd="sng">
                  <a:solidFill>
                    <a:srgbClr val="FFFFFF"/>
                  </a:solidFill>
                  <a:prstDash val="solid"/>
                  <a:round/>
                  <a:headEnd/>
                  <a:tailEnd/>
                </a:ln>
              </p:spPr>
              <p:txBody>
                <a:bodyPr/>
                <a:lstStyle/>
                <a:p>
                  <a:endParaRPr lang="en-GB" sz="1637"/>
                </a:p>
              </p:txBody>
            </p:sp>
            <p:sp>
              <p:nvSpPr>
                <p:cNvPr id="375" name="Freeform 351"/>
                <p:cNvSpPr>
                  <a:spLocks/>
                </p:cNvSpPr>
                <p:nvPr>
                  <p:custDataLst>
                    <p:tags r:id="rId247"/>
                  </p:custDataLst>
                </p:nvPr>
              </p:nvSpPr>
              <p:spPr bwMode="auto">
                <a:xfrm>
                  <a:off x="5654240" y="2441696"/>
                  <a:ext cx="246083" cy="141486"/>
                </a:xfrm>
                <a:custGeom>
                  <a:avLst/>
                  <a:gdLst>
                    <a:gd name="T0" fmla="*/ 45514 w 525"/>
                    <a:gd name="T1" fmla="*/ 96271 h 241"/>
                    <a:gd name="T2" fmla="*/ 74283 w 525"/>
                    <a:gd name="T3" fmla="*/ 77016 h 241"/>
                    <a:gd name="T4" fmla="*/ 39932 w 525"/>
                    <a:gd name="T5" fmla="*/ 54640 h 241"/>
                    <a:gd name="T6" fmla="*/ 20181 w 525"/>
                    <a:gd name="T7" fmla="*/ 60885 h 241"/>
                    <a:gd name="T8" fmla="*/ 28339 w 525"/>
                    <a:gd name="T9" fmla="*/ 31743 h 241"/>
                    <a:gd name="T10" fmla="*/ 17175 w 525"/>
                    <a:gd name="T11" fmla="*/ 22376 h 241"/>
                    <a:gd name="T12" fmla="*/ 48091 w 525"/>
                    <a:gd name="T13" fmla="*/ 13010 h 241"/>
                    <a:gd name="T14" fmla="*/ 79865 w 525"/>
                    <a:gd name="T15" fmla="*/ 0 h 241"/>
                    <a:gd name="T16" fmla="*/ 133967 w 525"/>
                    <a:gd name="T17" fmla="*/ 9887 h 241"/>
                    <a:gd name="T18" fmla="*/ 188498 w 525"/>
                    <a:gd name="T19" fmla="*/ 13010 h 241"/>
                    <a:gd name="T20" fmla="*/ 225425 w 525"/>
                    <a:gd name="T21" fmla="*/ 28621 h 241"/>
                    <a:gd name="T22" fmla="*/ 222849 w 525"/>
                    <a:gd name="T23" fmla="*/ 35906 h 241"/>
                    <a:gd name="T24" fmla="*/ 218984 w 525"/>
                    <a:gd name="T25" fmla="*/ 42671 h 241"/>
                    <a:gd name="T26" fmla="*/ 214261 w 525"/>
                    <a:gd name="T27" fmla="*/ 47875 h 241"/>
                    <a:gd name="T28" fmla="*/ 208250 w 525"/>
                    <a:gd name="T29" fmla="*/ 51518 h 241"/>
                    <a:gd name="T30" fmla="*/ 189786 w 525"/>
                    <a:gd name="T31" fmla="*/ 53599 h 241"/>
                    <a:gd name="T32" fmla="*/ 179481 w 525"/>
                    <a:gd name="T33" fmla="*/ 55681 h 241"/>
                    <a:gd name="T34" fmla="*/ 174758 w 525"/>
                    <a:gd name="T35" fmla="*/ 57762 h 241"/>
                    <a:gd name="T36" fmla="*/ 171323 w 525"/>
                    <a:gd name="T37" fmla="*/ 60885 h 241"/>
                    <a:gd name="T38" fmla="*/ 166170 w 525"/>
                    <a:gd name="T39" fmla="*/ 70772 h 241"/>
                    <a:gd name="T40" fmla="*/ 162306 w 525"/>
                    <a:gd name="T41" fmla="*/ 76496 h 241"/>
                    <a:gd name="T42" fmla="*/ 156724 w 525"/>
                    <a:gd name="T43" fmla="*/ 80139 h 241"/>
                    <a:gd name="T44" fmla="*/ 130961 w 525"/>
                    <a:gd name="T45" fmla="*/ 86383 h 241"/>
                    <a:gd name="T46" fmla="*/ 117221 w 525"/>
                    <a:gd name="T47" fmla="*/ 90026 h 241"/>
                    <a:gd name="T48" fmla="*/ 111639 w 525"/>
                    <a:gd name="T49" fmla="*/ 92628 h 241"/>
                    <a:gd name="T50" fmla="*/ 112068 w 525"/>
                    <a:gd name="T51" fmla="*/ 99913 h 241"/>
                    <a:gd name="T52" fmla="*/ 112927 w 525"/>
                    <a:gd name="T53" fmla="*/ 105637 h 241"/>
                    <a:gd name="T54" fmla="*/ 117221 w 525"/>
                    <a:gd name="T55" fmla="*/ 115525 h 241"/>
                    <a:gd name="T56" fmla="*/ 94034 w 525"/>
                    <a:gd name="T57" fmla="*/ 118647 h 241"/>
                    <a:gd name="T58" fmla="*/ 48091 w 525"/>
                    <a:gd name="T59" fmla="*/ 121769 h 241"/>
                    <a:gd name="T60" fmla="*/ 8588 w 525"/>
                    <a:gd name="T61" fmla="*/ 115525 h 241"/>
                    <a:gd name="T62" fmla="*/ 22757 w 525"/>
                    <a:gd name="T63" fmla="*/ 86383 h 24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525" h="241">
                      <a:moveTo>
                        <a:pt x="60" y="178"/>
                      </a:moveTo>
                      <a:lnTo>
                        <a:pt x="106" y="185"/>
                      </a:lnTo>
                      <a:lnTo>
                        <a:pt x="140" y="178"/>
                      </a:lnTo>
                      <a:lnTo>
                        <a:pt x="173" y="148"/>
                      </a:lnTo>
                      <a:lnTo>
                        <a:pt x="133" y="123"/>
                      </a:lnTo>
                      <a:lnTo>
                        <a:pt x="93" y="105"/>
                      </a:lnTo>
                      <a:lnTo>
                        <a:pt x="73" y="123"/>
                      </a:lnTo>
                      <a:lnTo>
                        <a:pt x="47" y="117"/>
                      </a:lnTo>
                      <a:lnTo>
                        <a:pt x="33" y="93"/>
                      </a:lnTo>
                      <a:lnTo>
                        <a:pt x="66" y="61"/>
                      </a:lnTo>
                      <a:lnTo>
                        <a:pt x="40" y="55"/>
                      </a:lnTo>
                      <a:lnTo>
                        <a:pt x="40" y="43"/>
                      </a:lnTo>
                      <a:lnTo>
                        <a:pt x="66" y="19"/>
                      </a:lnTo>
                      <a:lnTo>
                        <a:pt x="112" y="25"/>
                      </a:lnTo>
                      <a:lnTo>
                        <a:pt x="173" y="49"/>
                      </a:lnTo>
                      <a:lnTo>
                        <a:pt x="186" y="0"/>
                      </a:lnTo>
                      <a:lnTo>
                        <a:pt x="232" y="12"/>
                      </a:lnTo>
                      <a:lnTo>
                        <a:pt x="312" y="19"/>
                      </a:lnTo>
                      <a:lnTo>
                        <a:pt x="372" y="25"/>
                      </a:lnTo>
                      <a:lnTo>
                        <a:pt x="439" y="25"/>
                      </a:lnTo>
                      <a:lnTo>
                        <a:pt x="519" y="49"/>
                      </a:lnTo>
                      <a:lnTo>
                        <a:pt x="525" y="55"/>
                      </a:lnTo>
                      <a:lnTo>
                        <a:pt x="522" y="62"/>
                      </a:lnTo>
                      <a:lnTo>
                        <a:pt x="519" y="69"/>
                      </a:lnTo>
                      <a:lnTo>
                        <a:pt x="514" y="76"/>
                      </a:lnTo>
                      <a:lnTo>
                        <a:pt x="510" y="82"/>
                      </a:lnTo>
                      <a:lnTo>
                        <a:pt x="504" y="87"/>
                      </a:lnTo>
                      <a:lnTo>
                        <a:pt x="499" y="92"/>
                      </a:lnTo>
                      <a:lnTo>
                        <a:pt x="492" y="96"/>
                      </a:lnTo>
                      <a:lnTo>
                        <a:pt x="485" y="99"/>
                      </a:lnTo>
                      <a:lnTo>
                        <a:pt x="466" y="101"/>
                      </a:lnTo>
                      <a:lnTo>
                        <a:pt x="442" y="103"/>
                      </a:lnTo>
                      <a:lnTo>
                        <a:pt x="430" y="105"/>
                      </a:lnTo>
                      <a:lnTo>
                        <a:pt x="418" y="107"/>
                      </a:lnTo>
                      <a:lnTo>
                        <a:pt x="412" y="109"/>
                      </a:lnTo>
                      <a:lnTo>
                        <a:pt x="407" y="111"/>
                      </a:lnTo>
                      <a:lnTo>
                        <a:pt x="402" y="114"/>
                      </a:lnTo>
                      <a:lnTo>
                        <a:pt x="399" y="117"/>
                      </a:lnTo>
                      <a:lnTo>
                        <a:pt x="394" y="124"/>
                      </a:lnTo>
                      <a:lnTo>
                        <a:pt x="387" y="136"/>
                      </a:lnTo>
                      <a:lnTo>
                        <a:pt x="383" y="142"/>
                      </a:lnTo>
                      <a:lnTo>
                        <a:pt x="378" y="147"/>
                      </a:lnTo>
                      <a:lnTo>
                        <a:pt x="373" y="151"/>
                      </a:lnTo>
                      <a:lnTo>
                        <a:pt x="365" y="154"/>
                      </a:lnTo>
                      <a:lnTo>
                        <a:pt x="341" y="160"/>
                      </a:lnTo>
                      <a:lnTo>
                        <a:pt x="305" y="166"/>
                      </a:lnTo>
                      <a:lnTo>
                        <a:pt x="287" y="170"/>
                      </a:lnTo>
                      <a:lnTo>
                        <a:pt x="273" y="173"/>
                      </a:lnTo>
                      <a:lnTo>
                        <a:pt x="263" y="176"/>
                      </a:lnTo>
                      <a:lnTo>
                        <a:pt x="260" y="178"/>
                      </a:lnTo>
                      <a:lnTo>
                        <a:pt x="260" y="186"/>
                      </a:lnTo>
                      <a:lnTo>
                        <a:pt x="261" y="192"/>
                      </a:lnTo>
                      <a:lnTo>
                        <a:pt x="262" y="197"/>
                      </a:lnTo>
                      <a:lnTo>
                        <a:pt x="263" y="203"/>
                      </a:lnTo>
                      <a:lnTo>
                        <a:pt x="267" y="212"/>
                      </a:lnTo>
                      <a:lnTo>
                        <a:pt x="273" y="222"/>
                      </a:lnTo>
                      <a:lnTo>
                        <a:pt x="266" y="222"/>
                      </a:lnTo>
                      <a:lnTo>
                        <a:pt x="219" y="228"/>
                      </a:lnTo>
                      <a:lnTo>
                        <a:pt x="166" y="241"/>
                      </a:lnTo>
                      <a:lnTo>
                        <a:pt x="112" y="234"/>
                      </a:lnTo>
                      <a:lnTo>
                        <a:pt x="60" y="222"/>
                      </a:lnTo>
                      <a:lnTo>
                        <a:pt x="20" y="222"/>
                      </a:lnTo>
                      <a:lnTo>
                        <a:pt x="0" y="203"/>
                      </a:lnTo>
                      <a:lnTo>
                        <a:pt x="53" y="166"/>
                      </a:lnTo>
                      <a:lnTo>
                        <a:pt x="60" y="178"/>
                      </a:lnTo>
                    </a:path>
                  </a:pathLst>
                </a:custGeom>
                <a:grpFill/>
                <a:ln w="9525" cmpd="sng">
                  <a:solidFill>
                    <a:srgbClr val="FFFFFF"/>
                  </a:solidFill>
                  <a:prstDash val="solid"/>
                  <a:round/>
                  <a:headEnd/>
                  <a:tailEnd/>
                </a:ln>
              </p:spPr>
              <p:txBody>
                <a:bodyPr/>
                <a:lstStyle/>
                <a:p>
                  <a:endParaRPr lang="en-GB" sz="1637"/>
                </a:p>
              </p:txBody>
            </p:sp>
            <p:sp>
              <p:nvSpPr>
                <p:cNvPr id="376" name="Freeform 352"/>
                <p:cNvSpPr>
                  <a:spLocks/>
                </p:cNvSpPr>
                <p:nvPr>
                  <p:custDataLst>
                    <p:tags r:id="rId248"/>
                  </p:custDataLst>
                </p:nvPr>
              </p:nvSpPr>
              <p:spPr bwMode="auto">
                <a:xfrm>
                  <a:off x="5224461" y="2459606"/>
                  <a:ext cx="374323" cy="256107"/>
                </a:xfrm>
                <a:custGeom>
                  <a:avLst/>
                  <a:gdLst>
                    <a:gd name="T0" fmla="*/ 335902 w 784"/>
                    <a:gd name="T1" fmla="*/ 154157 h 430"/>
                    <a:gd name="T2" fmla="*/ 328467 w 784"/>
                    <a:gd name="T3" fmla="*/ 154685 h 430"/>
                    <a:gd name="T4" fmla="*/ 319719 w 784"/>
                    <a:gd name="T5" fmla="*/ 159436 h 430"/>
                    <a:gd name="T6" fmla="*/ 316220 w 784"/>
                    <a:gd name="T7" fmla="*/ 162604 h 430"/>
                    <a:gd name="T8" fmla="*/ 313596 w 784"/>
                    <a:gd name="T9" fmla="*/ 175274 h 430"/>
                    <a:gd name="T10" fmla="*/ 311847 w 784"/>
                    <a:gd name="T11" fmla="*/ 190057 h 430"/>
                    <a:gd name="T12" fmla="*/ 307910 w 784"/>
                    <a:gd name="T13" fmla="*/ 198504 h 430"/>
                    <a:gd name="T14" fmla="*/ 293477 w 784"/>
                    <a:gd name="T15" fmla="*/ 212230 h 430"/>
                    <a:gd name="T16" fmla="*/ 276857 w 784"/>
                    <a:gd name="T17" fmla="*/ 221733 h 430"/>
                    <a:gd name="T18" fmla="*/ 267672 w 784"/>
                    <a:gd name="T19" fmla="*/ 223844 h 430"/>
                    <a:gd name="T20" fmla="*/ 256738 w 784"/>
                    <a:gd name="T21" fmla="*/ 226484 h 430"/>
                    <a:gd name="T22" fmla="*/ 247990 w 784"/>
                    <a:gd name="T23" fmla="*/ 225956 h 430"/>
                    <a:gd name="T24" fmla="*/ 238368 w 784"/>
                    <a:gd name="T25" fmla="*/ 204839 h 430"/>
                    <a:gd name="T26" fmla="*/ 225247 w 784"/>
                    <a:gd name="T27" fmla="*/ 181610 h 430"/>
                    <a:gd name="T28" fmla="*/ 209064 w 784"/>
                    <a:gd name="T29" fmla="*/ 176330 h 430"/>
                    <a:gd name="T30" fmla="*/ 195943 w 784"/>
                    <a:gd name="T31" fmla="*/ 166299 h 430"/>
                    <a:gd name="T32" fmla="*/ 182384 w 784"/>
                    <a:gd name="T33" fmla="*/ 155213 h 430"/>
                    <a:gd name="T34" fmla="*/ 163140 w 784"/>
                    <a:gd name="T35" fmla="*/ 144654 h 430"/>
                    <a:gd name="T36" fmla="*/ 133836 w 784"/>
                    <a:gd name="T37" fmla="*/ 136207 h 430"/>
                    <a:gd name="T38" fmla="*/ 79602 w 784"/>
                    <a:gd name="T39" fmla="*/ 149406 h 430"/>
                    <a:gd name="T40" fmla="*/ 66043 w 784"/>
                    <a:gd name="T41" fmla="*/ 161548 h 430"/>
                    <a:gd name="T42" fmla="*/ 55546 w 784"/>
                    <a:gd name="T43" fmla="*/ 162604 h 430"/>
                    <a:gd name="T44" fmla="*/ 28867 w 784"/>
                    <a:gd name="T45" fmla="*/ 133040 h 430"/>
                    <a:gd name="T46" fmla="*/ 28867 w 784"/>
                    <a:gd name="T47" fmla="*/ 107699 h 430"/>
                    <a:gd name="T48" fmla="*/ 17495 w 784"/>
                    <a:gd name="T49" fmla="*/ 94500 h 430"/>
                    <a:gd name="T50" fmla="*/ 18370 w 784"/>
                    <a:gd name="T51" fmla="*/ 105059 h 430"/>
                    <a:gd name="T52" fmla="*/ 15745 w 784"/>
                    <a:gd name="T53" fmla="*/ 115090 h 430"/>
                    <a:gd name="T54" fmla="*/ 13121 w 784"/>
                    <a:gd name="T55" fmla="*/ 116674 h 430"/>
                    <a:gd name="T56" fmla="*/ 13559 w 784"/>
                    <a:gd name="T57" fmla="*/ 107171 h 430"/>
                    <a:gd name="T58" fmla="*/ 11809 w 784"/>
                    <a:gd name="T59" fmla="*/ 91861 h 430"/>
                    <a:gd name="T60" fmla="*/ 14433 w 784"/>
                    <a:gd name="T61" fmla="*/ 86053 h 430"/>
                    <a:gd name="T62" fmla="*/ 17495 w 784"/>
                    <a:gd name="T63" fmla="*/ 80246 h 430"/>
                    <a:gd name="T64" fmla="*/ 11809 w 784"/>
                    <a:gd name="T65" fmla="*/ 68104 h 430"/>
                    <a:gd name="T66" fmla="*/ 3062 w 784"/>
                    <a:gd name="T67" fmla="*/ 66520 h 430"/>
                    <a:gd name="T68" fmla="*/ 0 w 784"/>
                    <a:gd name="T69" fmla="*/ 61768 h 430"/>
                    <a:gd name="T70" fmla="*/ 1312 w 784"/>
                    <a:gd name="T71" fmla="*/ 54905 h 430"/>
                    <a:gd name="T72" fmla="*/ 4811 w 784"/>
                    <a:gd name="T73" fmla="*/ 49626 h 430"/>
                    <a:gd name="T74" fmla="*/ 11809 w 784"/>
                    <a:gd name="T75" fmla="*/ 48570 h 430"/>
                    <a:gd name="T76" fmla="*/ 17932 w 784"/>
                    <a:gd name="T77" fmla="*/ 52266 h 430"/>
                    <a:gd name="T78" fmla="*/ 24930 w 784"/>
                    <a:gd name="T79" fmla="*/ 54905 h 430"/>
                    <a:gd name="T80" fmla="*/ 31053 w 784"/>
                    <a:gd name="T81" fmla="*/ 48570 h 430"/>
                    <a:gd name="T82" fmla="*/ 36302 w 784"/>
                    <a:gd name="T83" fmla="*/ 40651 h 430"/>
                    <a:gd name="T84" fmla="*/ 38051 w 784"/>
                    <a:gd name="T85" fmla="*/ 33788 h 430"/>
                    <a:gd name="T86" fmla="*/ 34115 w 784"/>
                    <a:gd name="T87" fmla="*/ 29036 h 430"/>
                    <a:gd name="T88" fmla="*/ 24055 w 784"/>
                    <a:gd name="T89" fmla="*/ 25869 h 430"/>
                    <a:gd name="T90" fmla="*/ 20557 w 784"/>
                    <a:gd name="T91" fmla="*/ 21117 h 430"/>
                    <a:gd name="T92" fmla="*/ 17932 w 784"/>
                    <a:gd name="T93" fmla="*/ 14782 h 430"/>
                    <a:gd name="T94" fmla="*/ 46799 w 784"/>
                    <a:gd name="T95" fmla="*/ 22701 h 430"/>
                    <a:gd name="T96" fmla="*/ 95785 w 784"/>
                    <a:gd name="T97" fmla="*/ 39067 h 430"/>
                    <a:gd name="T98" fmla="*/ 119403 w 784"/>
                    <a:gd name="T99" fmla="*/ 0 h 430"/>
                    <a:gd name="T100" fmla="*/ 163140 w 784"/>
                    <a:gd name="T101" fmla="*/ 22701 h 430"/>
                    <a:gd name="T102" fmla="*/ 203378 w 784"/>
                    <a:gd name="T103" fmla="*/ 48570 h 430"/>
                    <a:gd name="T104" fmla="*/ 258487 w 784"/>
                    <a:gd name="T105" fmla="*/ 110866 h 430"/>
                    <a:gd name="T106" fmla="*/ 316658 w 784"/>
                    <a:gd name="T107" fmla="*/ 139903 h 430"/>
                    <a:gd name="T108" fmla="*/ 340276 w 784"/>
                    <a:gd name="T109" fmla="*/ 155741 h 43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84" h="430">
                      <a:moveTo>
                        <a:pt x="778" y="295"/>
                      </a:moveTo>
                      <a:lnTo>
                        <a:pt x="772" y="294"/>
                      </a:lnTo>
                      <a:lnTo>
                        <a:pt x="768" y="292"/>
                      </a:lnTo>
                      <a:lnTo>
                        <a:pt x="762" y="292"/>
                      </a:lnTo>
                      <a:lnTo>
                        <a:pt x="757" y="292"/>
                      </a:lnTo>
                      <a:lnTo>
                        <a:pt x="751" y="293"/>
                      </a:lnTo>
                      <a:lnTo>
                        <a:pt x="745" y="295"/>
                      </a:lnTo>
                      <a:lnTo>
                        <a:pt x="738" y="298"/>
                      </a:lnTo>
                      <a:lnTo>
                        <a:pt x="731" y="302"/>
                      </a:lnTo>
                      <a:lnTo>
                        <a:pt x="727" y="303"/>
                      </a:lnTo>
                      <a:lnTo>
                        <a:pt x="725" y="305"/>
                      </a:lnTo>
                      <a:lnTo>
                        <a:pt x="723" y="308"/>
                      </a:lnTo>
                      <a:lnTo>
                        <a:pt x="721" y="312"/>
                      </a:lnTo>
                      <a:lnTo>
                        <a:pt x="718" y="322"/>
                      </a:lnTo>
                      <a:lnTo>
                        <a:pt x="717" y="332"/>
                      </a:lnTo>
                      <a:lnTo>
                        <a:pt x="716" y="343"/>
                      </a:lnTo>
                      <a:lnTo>
                        <a:pt x="714" y="354"/>
                      </a:lnTo>
                      <a:lnTo>
                        <a:pt x="713" y="360"/>
                      </a:lnTo>
                      <a:lnTo>
                        <a:pt x="711" y="365"/>
                      </a:lnTo>
                      <a:lnTo>
                        <a:pt x="708" y="370"/>
                      </a:lnTo>
                      <a:lnTo>
                        <a:pt x="704" y="376"/>
                      </a:lnTo>
                      <a:lnTo>
                        <a:pt x="694" y="385"/>
                      </a:lnTo>
                      <a:lnTo>
                        <a:pt x="683" y="394"/>
                      </a:lnTo>
                      <a:lnTo>
                        <a:pt x="671" y="402"/>
                      </a:lnTo>
                      <a:lnTo>
                        <a:pt x="659" y="409"/>
                      </a:lnTo>
                      <a:lnTo>
                        <a:pt x="647" y="416"/>
                      </a:lnTo>
                      <a:lnTo>
                        <a:pt x="633" y="420"/>
                      </a:lnTo>
                      <a:lnTo>
                        <a:pt x="626" y="422"/>
                      </a:lnTo>
                      <a:lnTo>
                        <a:pt x="620" y="424"/>
                      </a:lnTo>
                      <a:lnTo>
                        <a:pt x="612" y="424"/>
                      </a:lnTo>
                      <a:lnTo>
                        <a:pt x="604" y="425"/>
                      </a:lnTo>
                      <a:lnTo>
                        <a:pt x="596" y="426"/>
                      </a:lnTo>
                      <a:lnTo>
                        <a:pt x="587" y="429"/>
                      </a:lnTo>
                      <a:lnTo>
                        <a:pt x="581" y="430"/>
                      </a:lnTo>
                      <a:lnTo>
                        <a:pt x="575" y="430"/>
                      </a:lnTo>
                      <a:lnTo>
                        <a:pt x="567" y="428"/>
                      </a:lnTo>
                      <a:lnTo>
                        <a:pt x="558" y="425"/>
                      </a:lnTo>
                      <a:lnTo>
                        <a:pt x="553" y="406"/>
                      </a:lnTo>
                      <a:lnTo>
                        <a:pt x="545" y="388"/>
                      </a:lnTo>
                      <a:lnTo>
                        <a:pt x="537" y="367"/>
                      </a:lnTo>
                      <a:lnTo>
                        <a:pt x="532" y="345"/>
                      </a:lnTo>
                      <a:lnTo>
                        <a:pt x="515" y="344"/>
                      </a:lnTo>
                      <a:lnTo>
                        <a:pt x="501" y="342"/>
                      </a:lnTo>
                      <a:lnTo>
                        <a:pt x="489" y="339"/>
                      </a:lnTo>
                      <a:lnTo>
                        <a:pt x="478" y="334"/>
                      </a:lnTo>
                      <a:lnTo>
                        <a:pt x="467" y="329"/>
                      </a:lnTo>
                      <a:lnTo>
                        <a:pt x="458" y="323"/>
                      </a:lnTo>
                      <a:lnTo>
                        <a:pt x="448" y="315"/>
                      </a:lnTo>
                      <a:lnTo>
                        <a:pt x="439" y="308"/>
                      </a:lnTo>
                      <a:lnTo>
                        <a:pt x="429" y="301"/>
                      </a:lnTo>
                      <a:lnTo>
                        <a:pt x="417" y="294"/>
                      </a:lnTo>
                      <a:lnTo>
                        <a:pt x="404" y="287"/>
                      </a:lnTo>
                      <a:lnTo>
                        <a:pt x="389" y="280"/>
                      </a:lnTo>
                      <a:lnTo>
                        <a:pt x="373" y="274"/>
                      </a:lnTo>
                      <a:lnTo>
                        <a:pt x="354" y="268"/>
                      </a:lnTo>
                      <a:lnTo>
                        <a:pt x="331" y="262"/>
                      </a:lnTo>
                      <a:lnTo>
                        <a:pt x="306" y="258"/>
                      </a:lnTo>
                      <a:lnTo>
                        <a:pt x="212" y="258"/>
                      </a:lnTo>
                      <a:lnTo>
                        <a:pt x="204" y="267"/>
                      </a:lnTo>
                      <a:lnTo>
                        <a:pt x="182" y="283"/>
                      </a:lnTo>
                      <a:lnTo>
                        <a:pt x="171" y="292"/>
                      </a:lnTo>
                      <a:lnTo>
                        <a:pt x="160" y="300"/>
                      </a:lnTo>
                      <a:lnTo>
                        <a:pt x="151" y="306"/>
                      </a:lnTo>
                      <a:lnTo>
                        <a:pt x="146" y="308"/>
                      </a:lnTo>
                      <a:lnTo>
                        <a:pt x="137" y="308"/>
                      </a:lnTo>
                      <a:lnTo>
                        <a:pt x="127" y="308"/>
                      </a:lnTo>
                      <a:lnTo>
                        <a:pt x="119" y="308"/>
                      </a:lnTo>
                      <a:lnTo>
                        <a:pt x="113" y="308"/>
                      </a:lnTo>
                      <a:lnTo>
                        <a:pt x="66" y="252"/>
                      </a:lnTo>
                      <a:lnTo>
                        <a:pt x="66" y="237"/>
                      </a:lnTo>
                      <a:lnTo>
                        <a:pt x="66" y="223"/>
                      </a:lnTo>
                      <a:lnTo>
                        <a:pt x="66" y="204"/>
                      </a:lnTo>
                      <a:lnTo>
                        <a:pt x="66" y="179"/>
                      </a:lnTo>
                      <a:lnTo>
                        <a:pt x="53" y="179"/>
                      </a:lnTo>
                      <a:lnTo>
                        <a:pt x="40" y="179"/>
                      </a:lnTo>
                      <a:lnTo>
                        <a:pt x="42" y="185"/>
                      </a:lnTo>
                      <a:lnTo>
                        <a:pt x="42" y="192"/>
                      </a:lnTo>
                      <a:lnTo>
                        <a:pt x="42" y="199"/>
                      </a:lnTo>
                      <a:lnTo>
                        <a:pt x="41" y="205"/>
                      </a:lnTo>
                      <a:lnTo>
                        <a:pt x="39" y="212"/>
                      </a:lnTo>
                      <a:lnTo>
                        <a:pt x="36" y="218"/>
                      </a:lnTo>
                      <a:lnTo>
                        <a:pt x="31" y="223"/>
                      </a:lnTo>
                      <a:lnTo>
                        <a:pt x="27" y="228"/>
                      </a:lnTo>
                      <a:lnTo>
                        <a:pt x="30" y="221"/>
                      </a:lnTo>
                      <a:lnTo>
                        <a:pt x="32" y="215"/>
                      </a:lnTo>
                      <a:lnTo>
                        <a:pt x="32" y="208"/>
                      </a:lnTo>
                      <a:lnTo>
                        <a:pt x="31" y="203"/>
                      </a:lnTo>
                      <a:lnTo>
                        <a:pt x="29" y="191"/>
                      </a:lnTo>
                      <a:lnTo>
                        <a:pt x="27" y="179"/>
                      </a:lnTo>
                      <a:lnTo>
                        <a:pt x="27" y="174"/>
                      </a:lnTo>
                      <a:lnTo>
                        <a:pt x="29" y="170"/>
                      </a:lnTo>
                      <a:lnTo>
                        <a:pt x="31" y="167"/>
                      </a:lnTo>
                      <a:lnTo>
                        <a:pt x="33" y="163"/>
                      </a:lnTo>
                      <a:lnTo>
                        <a:pt x="36" y="160"/>
                      </a:lnTo>
                      <a:lnTo>
                        <a:pt x="38" y="156"/>
                      </a:lnTo>
                      <a:lnTo>
                        <a:pt x="40" y="152"/>
                      </a:lnTo>
                      <a:lnTo>
                        <a:pt x="40" y="147"/>
                      </a:lnTo>
                      <a:lnTo>
                        <a:pt x="31" y="136"/>
                      </a:lnTo>
                      <a:lnTo>
                        <a:pt x="27" y="129"/>
                      </a:lnTo>
                      <a:lnTo>
                        <a:pt x="20" y="129"/>
                      </a:lnTo>
                      <a:lnTo>
                        <a:pt x="11" y="128"/>
                      </a:lnTo>
                      <a:lnTo>
                        <a:pt x="7" y="126"/>
                      </a:lnTo>
                      <a:lnTo>
                        <a:pt x="4" y="124"/>
                      </a:lnTo>
                      <a:lnTo>
                        <a:pt x="1" y="121"/>
                      </a:lnTo>
                      <a:lnTo>
                        <a:pt x="0" y="117"/>
                      </a:lnTo>
                      <a:lnTo>
                        <a:pt x="0" y="113"/>
                      </a:lnTo>
                      <a:lnTo>
                        <a:pt x="1" y="108"/>
                      </a:lnTo>
                      <a:lnTo>
                        <a:pt x="3" y="104"/>
                      </a:lnTo>
                      <a:lnTo>
                        <a:pt x="5" y="100"/>
                      </a:lnTo>
                      <a:lnTo>
                        <a:pt x="8" y="96"/>
                      </a:lnTo>
                      <a:lnTo>
                        <a:pt x="11" y="94"/>
                      </a:lnTo>
                      <a:lnTo>
                        <a:pt x="16" y="92"/>
                      </a:lnTo>
                      <a:lnTo>
                        <a:pt x="20" y="92"/>
                      </a:lnTo>
                      <a:lnTo>
                        <a:pt x="27" y="92"/>
                      </a:lnTo>
                      <a:lnTo>
                        <a:pt x="32" y="94"/>
                      </a:lnTo>
                      <a:lnTo>
                        <a:pt x="37" y="96"/>
                      </a:lnTo>
                      <a:lnTo>
                        <a:pt x="41" y="99"/>
                      </a:lnTo>
                      <a:lnTo>
                        <a:pt x="45" y="101"/>
                      </a:lnTo>
                      <a:lnTo>
                        <a:pt x="51" y="103"/>
                      </a:lnTo>
                      <a:lnTo>
                        <a:pt x="57" y="104"/>
                      </a:lnTo>
                      <a:lnTo>
                        <a:pt x="66" y="105"/>
                      </a:lnTo>
                      <a:lnTo>
                        <a:pt x="67" y="99"/>
                      </a:lnTo>
                      <a:lnTo>
                        <a:pt x="71" y="92"/>
                      </a:lnTo>
                      <a:lnTo>
                        <a:pt x="75" y="87"/>
                      </a:lnTo>
                      <a:lnTo>
                        <a:pt x="79" y="82"/>
                      </a:lnTo>
                      <a:lnTo>
                        <a:pt x="83" y="77"/>
                      </a:lnTo>
                      <a:lnTo>
                        <a:pt x="86" y="71"/>
                      </a:lnTo>
                      <a:lnTo>
                        <a:pt x="87" y="67"/>
                      </a:lnTo>
                      <a:lnTo>
                        <a:pt x="87" y="64"/>
                      </a:lnTo>
                      <a:lnTo>
                        <a:pt x="87" y="60"/>
                      </a:lnTo>
                      <a:lnTo>
                        <a:pt x="86" y="56"/>
                      </a:lnTo>
                      <a:lnTo>
                        <a:pt x="78" y="55"/>
                      </a:lnTo>
                      <a:lnTo>
                        <a:pt x="71" y="54"/>
                      </a:lnTo>
                      <a:lnTo>
                        <a:pt x="63" y="52"/>
                      </a:lnTo>
                      <a:lnTo>
                        <a:pt x="55" y="49"/>
                      </a:lnTo>
                      <a:lnTo>
                        <a:pt x="52" y="47"/>
                      </a:lnTo>
                      <a:lnTo>
                        <a:pt x="50" y="44"/>
                      </a:lnTo>
                      <a:lnTo>
                        <a:pt x="47" y="40"/>
                      </a:lnTo>
                      <a:lnTo>
                        <a:pt x="44" y="37"/>
                      </a:lnTo>
                      <a:lnTo>
                        <a:pt x="42" y="33"/>
                      </a:lnTo>
                      <a:lnTo>
                        <a:pt x="41" y="28"/>
                      </a:lnTo>
                      <a:lnTo>
                        <a:pt x="40" y="24"/>
                      </a:lnTo>
                      <a:lnTo>
                        <a:pt x="40" y="18"/>
                      </a:lnTo>
                      <a:lnTo>
                        <a:pt x="107" y="43"/>
                      </a:lnTo>
                      <a:lnTo>
                        <a:pt x="133" y="80"/>
                      </a:lnTo>
                      <a:lnTo>
                        <a:pt x="179" y="86"/>
                      </a:lnTo>
                      <a:lnTo>
                        <a:pt x="219" y="74"/>
                      </a:lnTo>
                      <a:lnTo>
                        <a:pt x="212" y="43"/>
                      </a:lnTo>
                      <a:lnTo>
                        <a:pt x="253" y="24"/>
                      </a:lnTo>
                      <a:lnTo>
                        <a:pt x="273" y="0"/>
                      </a:lnTo>
                      <a:lnTo>
                        <a:pt x="306" y="6"/>
                      </a:lnTo>
                      <a:lnTo>
                        <a:pt x="339" y="24"/>
                      </a:lnTo>
                      <a:lnTo>
                        <a:pt x="373" y="43"/>
                      </a:lnTo>
                      <a:lnTo>
                        <a:pt x="386" y="80"/>
                      </a:lnTo>
                      <a:lnTo>
                        <a:pt x="425" y="92"/>
                      </a:lnTo>
                      <a:lnTo>
                        <a:pt x="465" y="92"/>
                      </a:lnTo>
                      <a:lnTo>
                        <a:pt x="512" y="141"/>
                      </a:lnTo>
                      <a:lnTo>
                        <a:pt x="545" y="179"/>
                      </a:lnTo>
                      <a:lnTo>
                        <a:pt x="591" y="210"/>
                      </a:lnTo>
                      <a:lnTo>
                        <a:pt x="632" y="222"/>
                      </a:lnTo>
                      <a:lnTo>
                        <a:pt x="678" y="252"/>
                      </a:lnTo>
                      <a:lnTo>
                        <a:pt x="724" y="265"/>
                      </a:lnTo>
                      <a:lnTo>
                        <a:pt x="758" y="277"/>
                      </a:lnTo>
                      <a:lnTo>
                        <a:pt x="784" y="289"/>
                      </a:lnTo>
                      <a:lnTo>
                        <a:pt x="778" y="295"/>
                      </a:lnTo>
                    </a:path>
                  </a:pathLst>
                </a:custGeom>
                <a:grpFill/>
                <a:ln w="9525" cmpd="sng">
                  <a:solidFill>
                    <a:srgbClr val="FFFFFF"/>
                  </a:solidFill>
                  <a:prstDash val="solid"/>
                  <a:round/>
                  <a:headEnd/>
                  <a:tailEnd/>
                </a:ln>
              </p:spPr>
              <p:txBody>
                <a:bodyPr/>
                <a:lstStyle/>
                <a:p>
                  <a:endParaRPr lang="en-GB" sz="1637"/>
                </a:p>
              </p:txBody>
            </p:sp>
            <p:sp>
              <p:nvSpPr>
                <p:cNvPr id="377" name="Freeform 464"/>
                <p:cNvSpPr>
                  <a:spLocks/>
                </p:cNvSpPr>
                <p:nvPr>
                  <p:custDataLst>
                    <p:tags r:id="rId249"/>
                  </p:custDataLst>
                </p:nvPr>
              </p:nvSpPr>
              <p:spPr bwMode="auto">
                <a:xfrm>
                  <a:off x="5727025" y="2701386"/>
                  <a:ext cx="755579" cy="986822"/>
                </a:xfrm>
                <a:custGeom>
                  <a:avLst/>
                  <a:gdLst>
                    <a:gd name="T0" fmla="*/ 207124 w 1594"/>
                    <a:gd name="T1" fmla="*/ 56044 h 1670"/>
                    <a:gd name="T2" fmla="*/ 210598 w 1594"/>
                    <a:gd name="T3" fmla="*/ 96899 h 1670"/>
                    <a:gd name="T4" fmla="*/ 250980 w 1594"/>
                    <a:gd name="T5" fmla="*/ 150325 h 1670"/>
                    <a:gd name="T6" fmla="*/ 304390 w 1594"/>
                    <a:gd name="T7" fmla="*/ 240415 h 1670"/>
                    <a:gd name="T8" fmla="*/ 345207 w 1594"/>
                    <a:gd name="T9" fmla="*/ 261366 h 1670"/>
                    <a:gd name="T10" fmla="*/ 380813 w 1594"/>
                    <a:gd name="T11" fmla="*/ 258224 h 1670"/>
                    <a:gd name="T12" fmla="*/ 403827 w 1594"/>
                    <a:gd name="T13" fmla="*/ 281270 h 1670"/>
                    <a:gd name="T14" fmla="*/ 478513 w 1594"/>
                    <a:gd name="T15" fmla="*/ 296983 h 1670"/>
                    <a:gd name="T16" fmla="*/ 486763 w 1594"/>
                    <a:gd name="T17" fmla="*/ 241463 h 1670"/>
                    <a:gd name="T18" fmla="*/ 511948 w 1594"/>
                    <a:gd name="T19" fmla="*/ 282318 h 1670"/>
                    <a:gd name="T20" fmla="*/ 539738 w 1594"/>
                    <a:gd name="T21" fmla="*/ 293841 h 1670"/>
                    <a:gd name="T22" fmla="*/ 564054 w 1594"/>
                    <a:gd name="T23" fmla="*/ 260843 h 1670"/>
                    <a:gd name="T24" fmla="*/ 609648 w 1594"/>
                    <a:gd name="T25" fmla="*/ 214226 h 1670"/>
                    <a:gd name="T26" fmla="*/ 672610 w 1594"/>
                    <a:gd name="T27" fmla="*/ 224178 h 1670"/>
                    <a:gd name="T28" fmla="*/ 685637 w 1594"/>
                    <a:gd name="T29" fmla="*/ 260843 h 1670"/>
                    <a:gd name="T30" fmla="*/ 653070 w 1594"/>
                    <a:gd name="T31" fmla="*/ 283889 h 1670"/>
                    <a:gd name="T32" fmla="*/ 644820 w 1594"/>
                    <a:gd name="T33" fmla="*/ 355647 h 1670"/>
                    <a:gd name="T34" fmla="*/ 620503 w 1594"/>
                    <a:gd name="T35" fmla="*/ 368741 h 1670"/>
                    <a:gd name="T36" fmla="*/ 611385 w 1594"/>
                    <a:gd name="T37" fmla="*/ 426357 h 1670"/>
                    <a:gd name="T38" fmla="*/ 573607 w 1594"/>
                    <a:gd name="T39" fmla="*/ 394930 h 1670"/>
                    <a:gd name="T40" fmla="*/ 574476 w 1594"/>
                    <a:gd name="T41" fmla="*/ 365599 h 1670"/>
                    <a:gd name="T42" fmla="*/ 531922 w 1594"/>
                    <a:gd name="T43" fmla="*/ 334172 h 1670"/>
                    <a:gd name="T44" fmla="*/ 515422 w 1594"/>
                    <a:gd name="T45" fmla="*/ 307983 h 1670"/>
                    <a:gd name="T46" fmla="*/ 491105 w 1594"/>
                    <a:gd name="T47" fmla="*/ 301174 h 1670"/>
                    <a:gd name="T48" fmla="*/ 489368 w 1594"/>
                    <a:gd name="T49" fmla="*/ 327363 h 1670"/>
                    <a:gd name="T50" fmla="*/ 485026 w 1594"/>
                    <a:gd name="T51" fmla="*/ 357742 h 1670"/>
                    <a:gd name="T52" fmla="*/ 503698 w 1594"/>
                    <a:gd name="T53" fmla="*/ 384978 h 1670"/>
                    <a:gd name="T54" fmla="*/ 498921 w 1594"/>
                    <a:gd name="T55" fmla="*/ 441547 h 1670"/>
                    <a:gd name="T56" fmla="*/ 466789 w 1594"/>
                    <a:gd name="T57" fmla="*/ 452546 h 1670"/>
                    <a:gd name="T58" fmla="*/ 455499 w 1594"/>
                    <a:gd name="T59" fmla="*/ 490782 h 1670"/>
                    <a:gd name="T60" fmla="*/ 414248 w 1594"/>
                    <a:gd name="T61" fmla="*/ 524304 h 1670"/>
                    <a:gd name="T62" fmla="*/ 396011 w 1594"/>
                    <a:gd name="T63" fmla="*/ 549969 h 1670"/>
                    <a:gd name="T64" fmla="*/ 338693 w 1594"/>
                    <a:gd name="T65" fmla="*/ 622251 h 1670"/>
                    <a:gd name="T66" fmla="*/ 313943 w 1594"/>
                    <a:gd name="T67" fmla="*/ 645821 h 1670"/>
                    <a:gd name="T68" fmla="*/ 323061 w 1594"/>
                    <a:gd name="T69" fmla="*/ 703961 h 1670"/>
                    <a:gd name="T70" fmla="*/ 309166 w 1594"/>
                    <a:gd name="T71" fmla="*/ 756862 h 1670"/>
                    <a:gd name="T72" fmla="*/ 313508 w 1594"/>
                    <a:gd name="T73" fmla="*/ 798241 h 1670"/>
                    <a:gd name="T74" fmla="*/ 300916 w 1594"/>
                    <a:gd name="T75" fmla="*/ 825478 h 1670"/>
                    <a:gd name="T76" fmla="*/ 258362 w 1594"/>
                    <a:gd name="T77" fmla="*/ 871047 h 1670"/>
                    <a:gd name="T78" fmla="*/ 224059 w 1594"/>
                    <a:gd name="T79" fmla="*/ 800860 h 1670"/>
                    <a:gd name="T80" fmla="*/ 181939 w 1594"/>
                    <a:gd name="T81" fmla="*/ 698723 h 1670"/>
                    <a:gd name="T82" fmla="*/ 130701 w 1594"/>
                    <a:gd name="T83" fmla="*/ 583491 h 1670"/>
                    <a:gd name="T84" fmla="*/ 112464 w 1594"/>
                    <a:gd name="T85" fmla="*/ 450975 h 1670"/>
                    <a:gd name="T86" fmla="*/ 99871 w 1594"/>
                    <a:gd name="T87" fmla="*/ 426357 h 1670"/>
                    <a:gd name="T88" fmla="*/ 71212 w 1594"/>
                    <a:gd name="T89" fmla="*/ 471402 h 1670"/>
                    <a:gd name="T90" fmla="*/ 39080 w 1594"/>
                    <a:gd name="T91" fmla="*/ 458831 h 1670"/>
                    <a:gd name="T92" fmla="*/ 22145 w 1594"/>
                    <a:gd name="T93" fmla="*/ 417977 h 1670"/>
                    <a:gd name="T94" fmla="*/ 13027 w 1594"/>
                    <a:gd name="T95" fmla="*/ 403835 h 1670"/>
                    <a:gd name="T96" fmla="*/ 13895 w 1594"/>
                    <a:gd name="T97" fmla="*/ 370836 h 1670"/>
                    <a:gd name="T98" fmla="*/ 69041 w 1594"/>
                    <a:gd name="T99" fmla="*/ 345171 h 1670"/>
                    <a:gd name="T100" fmla="*/ 39948 w 1594"/>
                    <a:gd name="T101" fmla="*/ 298031 h 1670"/>
                    <a:gd name="T102" fmla="*/ 25619 w 1594"/>
                    <a:gd name="T103" fmla="*/ 261890 h 1670"/>
                    <a:gd name="T104" fmla="*/ 70344 w 1594"/>
                    <a:gd name="T105" fmla="*/ 240415 h 1670"/>
                    <a:gd name="T106" fmla="*/ 117240 w 1594"/>
                    <a:gd name="T107" fmla="*/ 153991 h 1670"/>
                    <a:gd name="T108" fmla="*/ 118977 w 1594"/>
                    <a:gd name="T109" fmla="*/ 120469 h 1670"/>
                    <a:gd name="T110" fmla="*/ 98568 w 1594"/>
                    <a:gd name="T111" fmla="*/ 74377 h 1670"/>
                    <a:gd name="T112" fmla="*/ 139820 w 1594"/>
                    <a:gd name="T113" fmla="*/ 28284 h 16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594" h="1670">
                      <a:moveTo>
                        <a:pt x="385" y="0"/>
                      </a:moveTo>
                      <a:lnTo>
                        <a:pt x="400" y="16"/>
                      </a:lnTo>
                      <a:lnTo>
                        <a:pt x="415" y="33"/>
                      </a:lnTo>
                      <a:lnTo>
                        <a:pt x="427" y="48"/>
                      </a:lnTo>
                      <a:lnTo>
                        <a:pt x="437" y="63"/>
                      </a:lnTo>
                      <a:lnTo>
                        <a:pt x="448" y="76"/>
                      </a:lnTo>
                      <a:lnTo>
                        <a:pt x="459" y="90"/>
                      </a:lnTo>
                      <a:lnTo>
                        <a:pt x="464" y="96"/>
                      </a:lnTo>
                      <a:lnTo>
                        <a:pt x="471" y="101"/>
                      </a:lnTo>
                      <a:lnTo>
                        <a:pt x="477" y="107"/>
                      </a:lnTo>
                      <a:lnTo>
                        <a:pt x="485" y="111"/>
                      </a:lnTo>
                      <a:lnTo>
                        <a:pt x="492" y="118"/>
                      </a:lnTo>
                      <a:lnTo>
                        <a:pt x="499" y="126"/>
                      </a:lnTo>
                      <a:lnTo>
                        <a:pt x="506" y="134"/>
                      </a:lnTo>
                      <a:lnTo>
                        <a:pt x="512" y="144"/>
                      </a:lnTo>
                      <a:lnTo>
                        <a:pt x="519" y="153"/>
                      </a:lnTo>
                      <a:lnTo>
                        <a:pt x="523" y="163"/>
                      </a:lnTo>
                      <a:lnTo>
                        <a:pt x="528" y="174"/>
                      </a:lnTo>
                      <a:lnTo>
                        <a:pt x="531" y="185"/>
                      </a:lnTo>
                      <a:lnTo>
                        <a:pt x="485" y="185"/>
                      </a:lnTo>
                      <a:lnTo>
                        <a:pt x="485" y="216"/>
                      </a:lnTo>
                      <a:lnTo>
                        <a:pt x="490" y="229"/>
                      </a:lnTo>
                      <a:lnTo>
                        <a:pt x="497" y="240"/>
                      </a:lnTo>
                      <a:lnTo>
                        <a:pt x="505" y="250"/>
                      </a:lnTo>
                      <a:lnTo>
                        <a:pt x="514" y="257"/>
                      </a:lnTo>
                      <a:lnTo>
                        <a:pt x="523" y="264"/>
                      </a:lnTo>
                      <a:lnTo>
                        <a:pt x="534" y="269"/>
                      </a:lnTo>
                      <a:lnTo>
                        <a:pt x="544" y="274"/>
                      </a:lnTo>
                      <a:lnTo>
                        <a:pt x="556" y="278"/>
                      </a:lnTo>
                      <a:lnTo>
                        <a:pt x="578" y="287"/>
                      </a:lnTo>
                      <a:lnTo>
                        <a:pt x="600" y="296"/>
                      </a:lnTo>
                      <a:lnTo>
                        <a:pt x="610" y="302"/>
                      </a:lnTo>
                      <a:lnTo>
                        <a:pt x="620" y="310"/>
                      </a:lnTo>
                      <a:lnTo>
                        <a:pt x="629" y="318"/>
                      </a:lnTo>
                      <a:lnTo>
                        <a:pt x="638" y="327"/>
                      </a:lnTo>
                      <a:lnTo>
                        <a:pt x="631" y="420"/>
                      </a:lnTo>
                      <a:lnTo>
                        <a:pt x="643" y="429"/>
                      </a:lnTo>
                      <a:lnTo>
                        <a:pt x="660" y="440"/>
                      </a:lnTo>
                      <a:lnTo>
                        <a:pt x="679" y="450"/>
                      </a:lnTo>
                      <a:lnTo>
                        <a:pt x="701" y="459"/>
                      </a:lnTo>
                      <a:lnTo>
                        <a:pt x="723" y="468"/>
                      </a:lnTo>
                      <a:lnTo>
                        <a:pt x="744" y="475"/>
                      </a:lnTo>
                      <a:lnTo>
                        <a:pt x="753" y="478"/>
                      </a:lnTo>
                      <a:lnTo>
                        <a:pt x="762" y="480"/>
                      </a:lnTo>
                      <a:lnTo>
                        <a:pt x="770" y="481"/>
                      </a:lnTo>
                      <a:lnTo>
                        <a:pt x="777" y="481"/>
                      </a:lnTo>
                      <a:lnTo>
                        <a:pt x="779" y="488"/>
                      </a:lnTo>
                      <a:lnTo>
                        <a:pt x="784" y="494"/>
                      </a:lnTo>
                      <a:lnTo>
                        <a:pt x="789" y="497"/>
                      </a:lnTo>
                      <a:lnTo>
                        <a:pt x="795" y="499"/>
                      </a:lnTo>
                      <a:lnTo>
                        <a:pt x="800" y="501"/>
                      </a:lnTo>
                      <a:lnTo>
                        <a:pt x="807" y="501"/>
                      </a:lnTo>
                      <a:lnTo>
                        <a:pt x="814" y="500"/>
                      </a:lnTo>
                      <a:lnTo>
                        <a:pt x="822" y="499"/>
                      </a:lnTo>
                      <a:lnTo>
                        <a:pt x="836" y="496"/>
                      </a:lnTo>
                      <a:lnTo>
                        <a:pt x="852" y="492"/>
                      </a:lnTo>
                      <a:lnTo>
                        <a:pt x="858" y="492"/>
                      </a:lnTo>
                      <a:lnTo>
                        <a:pt x="865" y="491"/>
                      </a:lnTo>
                      <a:lnTo>
                        <a:pt x="871" y="492"/>
                      </a:lnTo>
                      <a:lnTo>
                        <a:pt x="877" y="493"/>
                      </a:lnTo>
                      <a:lnTo>
                        <a:pt x="886" y="499"/>
                      </a:lnTo>
                      <a:lnTo>
                        <a:pt x="892" y="504"/>
                      </a:lnTo>
                      <a:lnTo>
                        <a:pt x="898" y="511"/>
                      </a:lnTo>
                      <a:lnTo>
                        <a:pt x="903" y="517"/>
                      </a:lnTo>
                      <a:lnTo>
                        <a:pt x="908" y="523"/>
                      </a:lnTo>
                      <a:lnTo>
                        <a:pt x="914" y="529"/>
                      </a:lnTo>
                      <a:lnTo>
                        <a:pt x="918" y="532"/>
                      </a:lnTo>
                      <a:lnTo>
                        <a:pt x="921" y="534"/>
                      </a:lnTo>
                      <a:lnTo>
                        <a:pt x="925" y="536"/>
                      </a:lnTo>
                      <a:lnTo>
                        <a:pt x="930" y="537"/>
                      </a:lnTo>
                      <a:lnTo>
                        <a:pt x="946" y="540"/>
                      </a:lnTo>
                      <a:lnTo>
                        <a:pt x="968" y="546"/>
                      </a:lnTo>
                      <a:lnTo>
                        <a:pt x="993" y="552"/>
                      </a:lnTo>
                      <a:lnTo>
                        <a:pt x="1021" y="559"/>
                      </a:lnTo>
                      <a:lnTo>
                        <a:pt x="1047" y="564"/>
                      </a:lnTo>
                      <a:lnTo>
                        <a:pt x="1071" y="568"/>
                      </a:lnTo>
                      <a:lnTo>
                        <a:pt x="1082" y="569"/>
                      </a:lnTo>
                      <a:lnTo>
                        <a:pt x="1090" y="570"/>
                      </a:lnTo>
                      <a:lnTo>
                        <a:pt x="1098" y="569"/>
                      </a:lnTo>
                      <a:lnTo>
                        <a:pt x="1102" y="567"/>
                      </a:lnTo>
                      <a:lnTo>
                        <a:pt x="1098" y="560"/>
                      </a:lnTo>
                      <a:lnTo>
                        <a:pt x="1093" y="552"/>
                      </a:lnTo>
                      <a:lnTo>
                        <a:pt x="1090" y="544"/>
                      </a:lnTo>
                      <a:lnTo>
                        <a:pt x="1088" y="535"/>
                      </a:lnTo>
                      <a:lnTo>
                        <a:pt x="1083" y="520"/>
                      </a:lnTo>
                      <a:lnTo>
                        <a:pt x="1082" y="512"/>
                      </a:lnTo>
                      <a:lnTo>
                        <a:pt x="1082" y="481"/>
                      </a:lnTo>
                      <a:lnTo>
                        <a:pt x="1082" y="450"/>
                      </a:lnTo>
                      <a:lnTo>
                        <a:pt x="1115" y="450"/>
                      </a:lnTo>
                      <a:lnTo>
                        <a:pt x="1121" y="461"/>
                      </a:lnTo>
                      <a:lnTo>
                        <a:pt x="1125" y="468"/>
                      </a:lnTo>
                      <a:lnTo>
                        <a:pt x="1131" y="474"/>
                      </a:lnTo>
                      <a:lnTo>
                        <a:pt x="1136" y="481"/>
                      </a:lnTo>
                      <a:lnTo>
                        <a:pt x="1135" y="497"/>
                      </a:lnTo>
                      <a:lnTo>
                        <a:pt x="1132" y="507"/>
                      </a:lnTo>
                      <a:lnTo>
                        <a:pt x="1130" y="515"/>
                      </a:lnTo>
                      <a:lnTo>
                        <a:pt x="1128" y="524"/>
                      </a:lnTo>
                      <a:lnTo>
                        <a:pt x="1149" y="530"/>
                      </a:lnTo>
                      <a:lnTo>
                        <a:pt x="1169" y="536"/>
                      </a:lnTo>
                      <a:lnTo>
                        <a:pt x="1179" y="539"/>
                      </a:lnTo>
                      <a:lnTo>
                        <a:pt x="1189" y="541"/>
                      </a:lnTo>
                      <a:lnTo>
                        <a:pt x="1199" y="542"/>
                      </a:lnTo>
                      <a:lnTo>
                        <a:pt x="1209" y="543"/>
                      </a:lnTo>
                      <a:lnTo>
                        <a:pt x="1210" y="547"/>
                      </a:lnTo>
                      <a:lnTo>
                        <a:pt x="1212" y="551"/>
                      </a:lnTo>
                      <a:lnTo>
                        <a:pt x="1215" y="554"/>
                      </a:lnTo>
                      <a:lnTo>
                        <a:pt x="1220" y="557"/>
                      </a:lnTo>
                      <a:lnTo>
                        <a:pt x="1228" y="560"/>
                      </a:lnTo>
                      <a:lnTo>
                        <a:pt x="1235" y="561"/>
                      </a:lnTo>
                      <a:lnTo>
                        <a:pt x="1243" y="561"/>
                      </a:lnTo>
                      <a:lnTo>
                        <a:pt x="1249" y="559"/>
                      </a:lnTo>
                      <a:lnTo>
                        <a:pt x="1256" y="556"/>
                      </a:lnTo>
                      <a:lnTo>
                        <a:pt x="1261" y="553"/>
                      </a:lnTo>
                      <a:lnTo>
                        <a:pt x="1267" y="549"/>
                      </a:lnTo>
                      <a:lnTo>
                        <a:pt x="1272" y="544"/>
                      </a:lnTo>
                      <a:lnTo>
                        <a:pt x="1277" y="539"/>
                      </a:lnTo>
                      <a:lnTo>
                        <a:pt x="1281" y="534"/>
                      </a:lnTo>
                      <a:lnTo>
                        <a:pt x="1289" y="521"/>
                      </a:lnTo>
                      <a:lnTo>
                        <a:pt x="1294" y="509"/>
                      </a:lnTo>
                      <a:lnTo>
                        <a:pt x="1299" y="498"/>
                      </a:lnTo>
                      <a:lnTo>
                        <a:pt x="1302" y="487"/>
                      </a:lnTo>
                      <a:lnTo>
                        <a:pt x="1312" y="476"/>
                      </a:lnTo>
                      <a:lnTo>
                        <a:pt x="1322" y="465"/>
                      </a:lnTo>
                      <a:lnTo>
                        <a:pt x="1333" y="456"/>
                      </a:lnTo>
                      <a:lnTo>
                        <a:pt x="1344" y="446"/>
                      </a:lnTo>
                      <a:lnTo>
                        <a:pt x="1356" y="438"/>
                      </a:lnTo>
                      <a:lnTo>
                        <a:pt x="1367" y="430"/>
                      </a:lnTo>
                      <a:lnTo>
                        <a:pt x="1379" y="423"/>
                      </a:lnTo>
                      <a:lnTo>
                        <a:pt x="1391" y="416"/>
                      </a:lnTo>
                      <a:lnTo>
                        <a:pt x="1404" y="409"/>
                      </a:lnTo>
                      <a:lnTo>
                        <a:pt x="1417" y="403"/>
                      </a:lnTo>
                      <a:lnTo>
                        <a:pt x="1430" y="398"/>
                      </a:lnTo>
                      <a:lnTo>
                        <a:pt x="1444" y="393"/>
                      </a:lnTo>
                      <a:lnTo>
                        <a:pt x="1472" y="384"/>
                      </a:lnTo>
                      <a:lnTo>
                        <a:pt x="1501" y="377"/>
                      </a:lnTo>
                      <a:lnTo>
                        <a:pt x="1507" y="385"/>
                      </a:lnTo>
                      <a:lnTo>
                        <a:pt x="1515" y="395"/>
                      </a:lnTo>
                      <a:lnTo>
                        <a:pt x="1526" y="406"/>
                      </a:lnTo>
                      <a:lnTo>
                        <a:pt x="1537" y="418"/>
                      </a:lnTo>
                      <a:lnTo>
                        <a:pt x="1549" y="428"/>
                      </a:lnTo>
                      <a:lnTo>
                        <a:pt x="1562" y="436"/>
                      </a:lnTo>
                      <a:lnTo>
                        <a:pt x="1568" y="440"/>
                      </a:lnTo>
                      <a:lnTo>
                        <a:pt x="1574" y="442"/>
                      </a:lnTo>
                      <a:lnTo>
                        <a:pt x="1581" y="444"/>
                      </a:lnTo>
                      <a:lnTo>
                        <a:pt x="1587" y="444"/>
                      </a:lnTo>
                      <a:lnTo>
                        <a:pt x="1594" y="432"/>
                      </a:lnTo>
                      <a:lnTo>
                        <a:pt x="1590" y="453"/>
                      </a:lnTo>
                      <a:lnTo>
                        <a:pt x="1585" y="477"/>
                      </a:lnTo>
                      <a:lnTo>
                        <a:pt x="1583" y="488"/>
                      </a:lnTo>
                      <a:lnTo>
                        <a:pt x="1579" y="498"/>
                      </a:lnTo>
                      <a:lnTo>
                        <a:pt x="1576" y="502"/>
                      </a:lnTo>
                      <a:lnTo>
                        <a:pt x="1574" y="506"/>
                      </a:lnTo>
                      <a:lnTo>
                        <a:pt x="1571" y="509"/>
                      </a:lnTo>
                      <a:lnTo>
                        <a:pt x="1568" y="512"/>
                      </a:lnTo>
                      <a:lnTo>
                        <a:pt x="1554" y="515"/>
                      </a:lnTo>
                      <a:lnTo>
                        <a:pt x="1531" y="523"/>
                      </a:lnTo>
                      <a:lnTo>
                        <a:pt x="1520" y="530"/>
                      </a:lnTo>
                      <a:lnTo>
                        <a:pt x="1511" y="536"/>
                      </a:lnTo>
                      <a:lnTo>
                        <a:pt x="1506" y="539"/>
                      </a:lnTo>
                      <a:lnTo>
                        <a:pt x="1504" y="542"/>
                      </a:lnTo>
                      <a:lnTo>
                        <a:pt x="1502" y="546"/>
                      </a:lnTo>
                      <a:lnTo>
                        <a:pt x="1501" y="549"/>
                      </a:lnTo>
                      <a:lnTo>
                        <a:pt x="1502" y="584"/>
                      </a:lnTo>
                      <a:lnTo>
                        <a:pt x="1501" y="624"/>
                      </a:lnTo>
                      <a:lnTo>
                        <a:pt x="1498" y="634"/>
                      </a:lnTo>
                      <a:lnTo>
                        <a:pt x="1497" y="645"/>
                      </a:lnTo>
                      <a:lnTo>
                        <a:pt x="1495" y="654"/>
                      </a:lnTo>
                      <a:lnTo>
                        <a:pt x="1493" y="663"/>
                      </a:lnTo>
                      <a:lnTo>
                        <a:pt x="1490" y="671"/>
                      </a:lnTo>
                      <a:lnTo>
                        <a:pt x="1485" y="679"/>
                      </a:lnTo>
                      <a:lnTo>
                        <a:pt x="1480" y="685"/>
                      </a:lnTo>
                      <a:lnTo>
                        <a:pt x="1474" y="690"/>
                      </a:lnTo>
                      <a:lnTo>
                        <a:pt x="1471" y="693"/>
                      </a:lnTo>
                      <a:lnTo>
                        <a:pt x="1464" y="694"/>
                      </a:lnTo>
                      <a:lnTo>
                        <a:pt x="1457" y="695"/>
                      </a:lnTo>
                      <a:lnTo>
                        <a:pt x="1449" y="696"/>
                      </a:lnTo>
                      <a:lnTo>
                        <a:pt x="1441" y="697"/>
                      </a:lnTo>
                      <a:lnTo>
                        <a:pt x="1434" y="700"/>
                      </a:lnTo>
                      <a:lnTo>
                        <a:pt x="1431" y="701"/>
                      </a:lnTo>
                      <a:lnTo>
                        <a:pt x="1429" y="704"/>
                      </a:lnTo>
                      <a:lnTo>
                        <a:pt x="1428" y="706"/>
                      </a:lnTo>
                      <a:lnTo>
                        <a:pt x="1428" y="709"/>
                      </a:lnTo>
                      <a:lnTo>
                        <a:pt x="1427" y="721"/>
                      </a:lnTo>
                      <a:lnTo>
                        <a:pt x="1427" y="735"/>
                      </a:lnTo>
                      <a:lnTo>
                        <a:pt x="1425" y="750"/>
                      </a:lnTo>
                      <a:lnTo>
                        <a:pt x="1423" y="764"/>
                      </a:lnTo>
                      <a:lnTo>
                        <a:pt x="1420" y="778"/>
                      </a:lnTo>
                      <a:lnTo>
                        <a:pt x="1417" y="791"/>
                      </a:lnTo>
                      <a:lnTo>
                        <a:pt x="1413" y="803"/>
                      </a:lnTo>
                      <a:lnTo>
                        <a:pt x="1408" y="814"/>
                      </a:lnTo>
                      <a:lnTo>
                        <a:pt x="1361" y="733"/>
                      </a:lnTo>
                      <a:lnTo>
                        <a:pt x="1359" y="737"/>
                      </a:lnTo>
                      <a:lnTo>
                        <a:pt x="1354" y="746"/>
                      </a:lnTo>
                      <a:lnTo>
                        <a:pt x="1349" y="751"/>
                      </a:lnTo>
                      <a:lnTo>
                        <a:pt x="1345" y="755"/>
                      </a:lnTo>
                      <a:lnTo>
                        <a:pt x="1340" y="758"/>
                      </a:lnTo>
                      <a:lnTo>
                        <a:pt x="1335" y="759"/>
                      </a:lnTo>
                      <a:lnTo>
                        <a:pt x="1329" y="758"/>
                      </a:lnTo>
                      <a:lnTo>
                        <a:pt x="1325" y="757"/>
                      </a:lnTo>
                      <a:lnTo>
                        <a:pt x="1321" y="754"/>
                      </a:lnTo>
                      <a:lnTo>
                        <a:pt x="1316" y="751"/>
                      </a:lnTo>
                      <a:lnTo>
                        <a:pt x="1313" y="746"/>
                      </a:lnTo>
                      <a:lnTo>
                        <a:pt x="1311" y="742"/>
                      </a:lnTo>
                      <a:lnTo>
                        <a:pt x="1308" y="738"/>
                      </a:lnTo>
                      <a:lnTo>
                        <a:pt x="1308" y="733"/>
                      </a:lnTo>
                      <a:lnTo>
                        <a:pt x="1308" y="727"/>
                      </a:lnTo>
                      <a:lnTo>
                        <a:pt x="1311" y="721"/>
                      </a:lnTo>
                      <a:lnTo>
                        <a:pt x="1313" y="715"/>
                      </a:lnTo>
                      <a:lnTo>
                        <a:pt x="1315" y="709"/>
                      </a:lnTo>
                      <a:lnTo>
                        <a:pt x="1323" y="698"/>
                      </a:lnTo>
                      <a:lnTo>
                        <a:pt x="1332" y="687"/>
                      </a:lnTo>
                      <a:lnTo>
                        <a:pt x="1340" y="677"/>
                      </a:lnTo>
                      <a:lnTo>
                        <a:pt x="1348" y="666"/>
                      </a:lnTo>
                      <a:lnTo>
                        <a:pt x="1350" y="660"/>
                      </a:lnTo>
                      <a:lnTo>
                        <a:pt x="1352" y="655"/>
                      </a:lnTo>
                      <a:lnTo>
                        <a:pt x="1355" y="648"/>
                      </a:lnTo>
                      <a:lnTo>
                        <a:pt x="1355" y="642"/>
                      </a:lnTo>
                      <a:lnTo>
                        <a:pt x="1235" y="642"/>
                      </a:lnTo>
                      <a:lnTo>
                        <a:pt x="1231" y="641"/>
                      </a:lnTo>
                      <a:lnTo>
                        <a:pt x="1225" y="638"/>
                      </a:lnTo>
                      <a:lnTo>
                        <a:pt x="1221" y="632"/>
                      </a:lnTo>
                      <a:lnTo>
                        <a:pt x="1217" y="626"/>
                      </a:lnTo>
                      <a:lnTo>
                        <a:pt x="1214" y="618"/>
                      </a:lnTo>
                      <a:lnTo>
                        <a:pt x="1211" y="610"/>
                      </a:lnTo>
                      <a:lnTo>
                        <a:pt x="1210" y="601"/>
                      </a:lnTo>
                      <a:lnTo>
                        <a:pt x="1209" y="592"/>
                      </a:lnTo>
                      <a:lnTo>
                        <a:pt x="1203" y="592"/>
                      </a:lnTo>
                      <a:lnTo>
                        <a:pt x="1198" y="591"/>
                      </a:lnTo>
                      <a:lnTo>
                        <a:pt x="1192" y="590"/>
                      </a:lnTo>
                      <a:lnTo>
                        <a:pt x="1187" y="588"/>
                      </a:lnTo>
                      <a:lnTo>
                        <a:pt x="1182" y="585"/>
                      </a:lnTo>
                      <a:lnTo>
                        <a:pt x="1179" y="582"/>
                      </a:lnTo>
                      <a:lnTo>
                        <a:pt x="1177" y="577"/>
                      </a:lnTo>
                      <a:lnTo>
                        <a:pt x="1176" y="573"/>
                      </a:lnTo>
                      <a:lnTo>
                        <a:pt x="1167" y="573"/>
                      </a:lnTo>
                      <a:lnTo>
                        <a:pt x="1159" y="573"/>
                      </a:lnTo>
                      <a:lnTo>
                        <a:pt x="1151" y="573"/>
                      </a:lnTo>
                      <a:lnTo>
                        <a:pt x="1143" y="573"/>
                      </a:lnTo>
                      <a:lnTo>
                        <a:pt x="1136" y="574"/>
                      </a:lnTo>
                      <a:lnTo>
                        <a:pt x="1131" y="575"/>
                      </a:lnTo>
                      <a:lnTo>
                        <a:pt x="1124" y="578"/>
                      </a:lnTo>
                      <a:lnTo>
                        <a:pt x="1117" y="582"/>
                      </a:lnTo>
                      <a:lnTo>
                        <a:pt x="1112" y="587"/>
                      </a:lnTo>
                      <a:lnTo>
                        <a:pt x="1106" y="592"/>
                      </a:lnTo>
                      <a:lnTo>
                        <a:pt x="1103" y="598"/>
                      </a:lnTo>
                      <a:lnTo>
                        <a:pt x="1102" y="604"/>
                      </a:lnTo>
                      <a:lnTo>
                        <a:pt x="1104" y="608"/>
                      </a:lnTo>
                      <a:lnTo>
                        <a:pt x="1110" y="613"/>
                      </a:lnTo>
                      <a:lnTo>
                        <a:pt x="1117" y="619"/>
                      </a:lnTo>
                      <a:lnTo>
                        <a:pt x="1127" y="625"/>
                      </a:lnTo>
                      <a:lnTo>
                        <a:pt x="1137" y="631"/>
                      </a:lnTo>
                      <a:lnTo>
                        <a:pt x="1147" y="636"/>
                      </a:lnTo>
                      <a:lnTo>
                        <a:pt x="1156" y="640"/>
                      </a:lnTo>
                      <a:lnTo>
                        <a:pt x="1162" y="642"/>
                      </a:lnTo>
                      <a:lnTo>
                        <a:pt x="1149" y="652"/>
                      </a:lnTo>
                      <a:lnTo>
                        <a:pt x="1134" y="664"/>
                      </a:lnTo>
                      <a:lnTo>
                        <a:pt x="1127" y="670"/>
                      </a:lnTo>
                      <a:lnTo>
                        <a:pt x="1121" y="677"/>
                      </a:lnTo>
                      <a:lnTo>
                        <a:pt x="1119" y="680"/>
                      </a:lnTo>
                      <a:lnTo>
                        <a:pt x="1117" y="683"/>
                      </a:lnTo>
                      <a:lnTo>
                        <a:pt x="1116" y="687"/>
                      </a:lnTo>
                      <a:lnTo>
                        <a:pt x="1115" y="690"/>
                      </a:lnTo>
                      <a:lnTo>
                        <a:pt x="1116" y="695"/>
                      </a:lnTo>
                      <a:lnTo>
                        <a:pt x="1117" y="698"/>
                      </a:lnTo>
                      <a:lnTo>
                        <a:pt x="1120" y="702"/>
                      </a:lnTo>
                      <a:lnTo>
                        <a:pt x="1122" y="706"/>
                      </a:lnTo>
                      <a:lnTo>
                        <a:pt x="1130" y="714"/>
                      </a:lnTo>
                      <a:lnTo>
                        <a:pt x="1139" y="722"/>
                      </a:lnTo>
                      <a:lnTo>
                        <a:pt x="1149" y="729"/>
                      </a:lnTo>
                      <a:lnTo>
                        <a:pt x="1160" y="735"/>
                      </a:lnTo>
                      <a:lnTo>
                        <a:pt x="1166" y="737"/>
                      </a:lnTo>
                      <a:lnTo>
                        <a:pt x="1171" y="738"/>
                      </a:lnTo>
                      <a:lnTo>
                        <a:pt x="1177" y="739"/>
                      </a:lnTo>
                      <a:lnTo>
                        <a:pt x="1182" y="740"/>
                      </a:lnTo>
                      <a:lnTo>
                        <a:pt x="1209" y="844"/>
                      </a:lnTo>
                      <a:lnTo>
                        <a:pt x="1194" y="844"/>
                      </a:lnTo>
                      <a:lnTo>
                        <a:pt x="1180" y="844"/>
                      </a:lnTo>
                      <a:lnTo>
                        <a:pt x="1167" y="844"/>
                      </a:lnTo>
                      <a:lnTo>
                        <a:pt x="1156" y="844"/>
                      </a:lnTo>
                      <a:lnTo>
                        <a:pt x="1149" y="843"/>
                      </a:lnTo>
                      <a:lnTo>
                        <a:pt x="1142" y="838"/>
                      </a:lnTo>
                      <a:lnTo>
                        <a:pt x="1137" y="836"/>
                      </a:lnTo>
                      <a:lnTo>
                        <a:pt x="1132" y="834"/>
                      </a:lnTo>
                      <a:lnTo>
                        <a:pt x="1127" y="833"/>
                      </a:lnTo>
                      <a:lnTo>
                        <a:pt x="1122" y="832"/>
                      </a:lnTo>
                      <a:lnTo>
                        <a:pt x="1117" y="834"/>
                      </a:lnTo>
                      <a:lnTo>
                        <a:pt x="1109" y="839"/>
                      </a:lnTo>
                      <a:lnTo>
                        <a:pt x="1099" y="846"/>
                      </a:lnTo>
                      <a:lnTo>
                        <a:pt x="1087" y="854"/>
                      </a:lnTo>
                      <a:lnTo>
                        <a:pt x="1075" y="864"/>
                      </a:lnTo>
                      <a:lnTo>
                        <a:pt x="1065" y="872"/>
                      </a:lnTo>
                      <a:lnTo>
                        <a:pt x="1058" y="878"/>
                      </a:lnTo>
                      <a:lnTo>
                        <a:pt x="1056" y="882"/>
                      </a:lnTo>
                      <a:lnTo>
                        <a:pt x="1076" y="894"/>
                      </a:lnTo>
                      <a:lnTo>
                        <a:pt x="1075" y="900"/>
                      </a:lnTo>
                      <a:lnTo>
                        <a:pt x="1072" y="907"/>
                      </a:lnTo>
                      <a:lnTo>
                        <a:pt x="1069" y="912"/>
                      </a:lnTo>
                      <a:lnTo>
                        <a:pt x="1066" y="919"/>
                      </a:lnTo>
                      <a:lnTo>
                        <a:pt x="1058" y="928"/>
                      </a:lnTo>
                      <a:lnTo>
                        <a:pt x="1049" y="937"/>
                      </a:lnTo>
                      <a:lnTo>
                        <a:pt x="1039" y="945"/>
                      </a:lnTo>
                      <a:lnTo>
                        <a:pt x="1027" y="952"/>
                      </a:lnTo>
                      <a:lnTo>
                        <a:pt x="1016" y="958"/>
                      </a:lnTo>
                      <a:lnTo>
                        <a:pt x="1004" y="964"/>
                      </a:lnTo>
                      <a:lnTo>
                        <a:pt x="992" y="972"/>
                      </a:lnTo>
                      <a:lnTo>
                        <a:pt x="981" y="978"/>
                      </a:lnTo>
                      <a:lnTo>
                        <a:pt x="971" y="985"/>
                      </a:lnTo>
                      <a:lnTo>
                        <a:pt x="962" y="993"/>
                      </a:lnTo>
                      <a:lnTo>
                        <a:pt x="957" y="997"/>
                      </a:lnTo>
                      <a:lnTo>
                        <a:pt x="954" y="1001"/>
                      </a:lnTo>
                      <a:lnTo>
                        <a:pt x="951" y="1006"/>
                      </a:lnTo>
                      <a:lnTo>
                        <a:pt x="948" y="1011"/>
                      </a:lnTo>
                      <a:lnTo>
                        <a:pt x="946" y="1017"/>
                      </a:lnTo>
                      <a:lnTo>
                        <a:pt x="944" y="1022"/>
                      </a:lnTo>
                      <a:lnTo>
                        <a:pt x="943" y="1029"/>
                      </a:lnTo>
                      <a:lnTo>
                        <a:pt x="943" y="1036"/>
                      </a:lnTo>
                      <a:lnTo>
                        <a:pt x="934" y="1039"/>
                      </a:lnTo>
                      <a:lnTo>
                        <a:pt x="926" y="1042"/>
                      </a:lnTo>
                      <a:lnTo>
                        <a:pt x="919" y="1046"/>
                      </a:lnTo>
                      <a:lnTo>
                        <a:pt x="912" y="1050"/>
                      </a:lnTo>
                      <a:lnTo>
                        <a:pt x="898" y="1060"/>
                      </a:lnTo>
                      <a:lnTo>
                        <a:pt x="886" y="1072"/>
                      </a:lnTo>
                      <a:lnTo>
                        <a:pt x="864" y="1099"/>
                      </a:lnTo>
                      <a:lnTo>
                        <a:pt x="843" y="1128"/>
                      </a:lnTo>
                      <a:lnTo>
                        <a:pt x="832" y="1143"/>
                      </a:lnTo>
                      <a:lnTo>
                        <a:pt x="821" y="1156"/>
                      </a:lnTo>
                      <a:lnTo>
                        <a:pt x="809" y="1168"/>
                      </a:lnTo>
                      <a:lnTo>
                        <a:pt x="796" y="1179"/>
                      </a:lnTo>
                      <a:lnTo>
                        <a:pt x="788" y="1184"/>
                      </a:lnTo>
                      <a:lnTo>
                        <a:pt x="780" y="1188"/>
                      </a:lnTo>
                      <a:lnTo>
                        <a:pt x="773" y="1192"/>
                      </a:lnTo>
                      <a:lnTo>
                        <a:pt x="764" y="1196"/>
                      </a:lnTo>
                      <a:lnTo>
                        <a:pt x="754" y="1199"/>
                      </a:lnTo>
                      <a:lnTo>
                        <a:pt x="745" y="1201"/>
                      </a:lnTo>
                      <a:lnTo>
                        <a:pt x="734" y="1202"/>
                      </a:lnTo>
                      <a:lnTo>
                        <a:pt x="723" y="1202"/>
                      </a:lnTo>
                      <a:lnTo>
                        <a:pt x="723" y="1211"/>
                      </a:lnTo>
                      <a:lnTo>
                        <a:pt x="723" y="1220"/>
                      </a:lnTo>
                      <a:lnTo>
                        <a:pt x="723" y="1227"/>
                      </a:lnTo>
                      <a:lnTo>
                        <a:pt x="723" y="1233"/>
                      </a:lnTo>
                      <a:lnTo>
                        <a:pt x="723" y="1244"/>
                      </a:lnTo>
                      <a:lnTo>
                        <a:pt x="723" y="1261"/>
                      </a:lnTo>
                      <a:lnTo>
                        <a:pt x="723" y="1279"/>
                      </a:lnTo>
                      <a:lnTo>
                        <a:pt x="725" y="1298"/>
                      </a:lnTo>
                      <a:lnTo>
                        <a:pt x="727" y="1308"/>
                      </a:lnTo>
                      <a:lnTo>
                        <a:pt x="729" y="1317"/>
                      </a:lnTo>
                      <a:lnTo>
                        <a:pt x="731" y="1325"/>
                      </a:lnTo>
                      <a:lnTo>
                        <a:pt x="735" y="1332"/>
                      </a:lnTo>
                      <a:lnTo>
                        <a:pt x="739" y="1339"/>
                      </a:lnTo>
                      <a:lnTo>
                        <a:pt x="744" y="1344"/>
                      </a:lnTo>
                      <a:lnTo>
                        <a:pt x="750" y="1348"/>
                      </a:lnTo>
                      <a:lnTo>
                        <a:pt x="757" y="1350"/>
                      </a:lnTo>
                      <a:lnTo>
                        <a:pt x="751" y="1366"/>
                      </a:lnTo>
                      <a:lnTo>
                        <a:pt x="744" y="1380"/>
                      </a:lnTo>
                      <a:lnTo>
                        <a:pt x="736" y="1393"/>
                      </a:lnTo>
                      <a:lnTo>
                        <a:pt x="729" y="1405"/>
                      </a:lnTo>
                      <a:lnTo>
                        <a:pt x="721" y="1419"/>
                      </a:lnTo>
                      <a:lnTo>
                        <a:pt x="716" y="1432"/>
                      </a:lnTo>
                      <a:lnTo>
                        <a:pt x="713" y="1438"/>
                      </a:lnTo>
                      <a:lnTo>
                        <a:pt x="712" y="1445"/>
                      </a:lnTo>
                      <a:lnTo>
                        <a:pt x="711" y="1453"/>
                      </a:lnTo>
                      <a:lnTo>
                        <a:pt x="710" y="1460"/>
                      </a:lnTo>
                      <a:lnTo>
                        <a:pt x="711" y="1463"/>
                      </a:lnTo>
                      <a:lnTo>
                        <a:pt x="712" y="1465"/>
                      </a:lnTo>
                      <a:lnTo>
                        <a:pt x="714" y="1467"/>
                      </a:lnTo>
                      <a:lnTo>
                        <a:pt x="718" y="1469"/>
                      </a:lnTo>
                      <a:lnTo>
                        <a:pt x="724" y="1473"/>
                      </a:lnTo>
                      <a:lnTo>
                        <a:pt x="730" y="1474"/>
                      </a:lnTo>
                      <a:lnTo>
                        <a:pt x="730" y="1510"/>
                      </a:lnTo>
                      <a:lnTo>
                        <a:pt x="722" y="1524"/>
                      </a:lnTo>
                      <a:lnTo>
                        <a:pt x="716" y="1539"/>
                      </a:lnTo>
                      <a:lnTo>
                        <a:pt x="711" y="1545"/>
                      </a:lnTo>
                      <a:lnTo>
                        <a:pt x="706" y="1549"/>
                      </a:lnTo>
                      <a:lnTo>
                        <a:pt x="702" y="1551"/>
                      </a:lnTo>
                      <a:lnTo>
                        <a:pt x="699" y="1552"/>
                      </a:lnTo>
                      <a:lnTo>
                        <a:pt x="695" y="1553"/>
                      </a:lnTo>
                      <a:lnTo>
                        <a:pt x="690" y="1553"/>
                      </a:lnTo>
                      <a:lnTo>
                        <a:pt x="690" y="1561"/>
                      </a:lnTo>
                      <a:lnTo>
                        <a:pt x="691" y="1571"/>
                      </a:lnTo>
                      <a:lnTo>
                        <a:pt x="693" y="1576"/>
                      </a:lnTo>
                      <a:lnTo>
                        <a:pt x="694" y="1580"/>
                      </a:lnTo>
                      <a:lnTo>
                        <a:pt x="695" y="1583"/>
                      </a:lnTo>
                      <a:lnTo>
                        <a:pt x="697" y="1584"/>
                      </a:lnTo>
                      <a:lnTo>
                        <a:pt x="671" y="1605"/>
                      </a:lnTo>
                      <a:lnTo>
                        <a:pt x="649" y="1622"/>
                      </a:lnTo>
                      <a:lnTo>
                        <a:pt x="639" y="1632"/>
                      </a:lnTo>
                      <a:lnTo>
                        <a:pt x="630" y="1643"/>
                      </a:lnTo>
                      <a:lnTo>
                        <a:pt x="620" y="1656"/>
                      </a:lnTo>
                      <a:lnTo>
                        <a:pt x="611" y="1670"/>
                      </a:lnTo>
                      <a:lnTo>
                        <a:pt x="595" y="1663"/>
                      </a:lnTo>
                      <a:lnTo>
                        <a:pt x="584" y="1656"/>
                      </a:lnTo>
                      <a:lnTo>
                        <a:pt x="575" y="1649"/>
                      </a:lnTo>
                      <a:lnTo>
                        <a:pt x="568" y="1641"/>
                      </a:lnTo>
                      <a:lnTo>
                        <a:pt x="563" y="1631"/>
                      </a:lnTo>
                      <a:lnTo>
                        <a:pt x="560" y="1621"/>
                      </a:lnTo>
                      <a:lnTo>
                        <a:pt x="555" y="1609"/>
                      </a:lnTo>
                      <a:lnTo>
                        <a:pt x="551" y="1597"/>
                      </a:lnTo>
                      <a:lnTo>
                        <a:pt x="542" y="1574"/>
                      </a:lnTo>
                      <a:lnTo>
                        <a:pt x="530" y="1552"/>
                      </a:lnTo>
                      <a:lnTo>
                        <a:pt x="516" y="1529"/>
                      </a:lnTo>
                      <a:lnTo>
                        <a:pt x="501" y="1505"/>
                      </a:lnTo>
                      <a:lnTo>
                        <a:pt x="486" y="1483"/>
                      </a:lnTo>
                      <a:lnTo>
                        <a:pt x="473" y="1461"/>
                      </a:lnTo>
                      <a:lnTo>
                        <a:pt x="461" y="1441"/>
                      </a:lnTo>
                      <a:lnTo>
                        <a:pt x="451" y="1424"/>
                      </a:lnTo>
                      <a:lnTo>
                        <a:pt x="442" y="1405"/>
                      </a:lnTo>
                      <a:lnTo>
                        <a:pt x="436" y="1388"/>
                      </a:lnTo>
                      <a:lnTo>
                        <a:pt x="430" y="1370"/>
                      </a:lnTo>
                      <a:lnTo>
                        <a:pt x="425" y="1352"/>
                      </a:lnTo>
                      <a:lnTo>
                        <a:pt x="419" y="1334"/>
                      </a:lnTo>
                      <a:lnTo>
                        <a:pt x="414" y="1316"/>
                      </a:lnTo>
                      <a:lnTo>
                        <a:pt x="407" y="1296"/>
                      </a:lnTo>
                      <a:lnTo>
                        <a:pt x="398" y="1276"/>
                      </a:lnTo>
                      <a:lnTo>
                        <a:pt x="376" y="1244"/>
                      </a:lnTo>
                      <a:lnTo>
                        <a:pt x="352" y="1214"/>
                      </a:lnTo>
                      <a:lnTo>
                        <a:pt x="341" y="1200"/>
                      </a:lnTo>
                      <a:lnTo>
                        <a:pt x="330" y="1184"/>
                      </a:lnTo>
                      <a:lnTo>
                        <a:pt x="320" y="1169"/>
                      </a:lnTo>
                      <a:lnTo>
                        <a:pt x="312" y="1153"/>
                      </a:lnTo>
                      <a:lnTo>
                        <a:pt x="301" y="1114"/>
                      </a:lnTo>
                      <a:lnTo>
                        <a:pt x="292" y="1078"/>
                      </a:lnTo>
                      <a:lnTo>
                        <a:pt x="284" y="1043"/>
                      </a:lnTo>
                      <a:lnTo>
                        <a:pt x="280" y="1008"/>
                      </a:lnTo>
                      <a:lnTo>
                        <a:pt x="275" y="974"/>
                      </a:lnTo>
                      <a:lnTo>
                        <a:pt x="273" y="938"/>
                      </a:lnTo>
                      <a:lnTo>
                        <a:pt x="272" y="901"/>
                      </a:lnTo>
                      <a:lnTo>
                        <a:pt x="272" y="864"/>
                      </a:lnTo>
                      <a:lnTo>
                        <a:pt x="268" y="863"/>
                      </a:lnTo>
                      <a:lnTo>
                        <a:pt x="263" y="862"/>
                      </a:lnTo>
                      <a:lnTo>
                        <a:pt x="259" y="861"/>
                      </a:lnTo>
                      <a:lnTo>
                        <a:pt x="256" y="857"/>
                      </a:lnTo>
                      <a:lnTo>
                        <a:pt x="252" y="855"/>
                      </a:lnTo>
                      <a:lnTo>
                        <a:pt x="250" y="852"/>
                      </a:lnTo>
                      <a:lnTo>
                        <a:pt x="247" y="848"/>
                      </a:lnTo>
                      <a:lnTo>
                        <a:pt x="246" y="844"/>
                      </a:lnTo>
                      <a:lnTo>
                        <a:pt x="242" y="836"/>
                      </a:lnTo>
                      <a:lnTo>
                        <a:pt x="240" y="827"/>
                      </a:lnTo>
                      <a:lnTo>
                        <a:pt x="239" y="817"/>
                      </a:lnTo>
                      <a:lnTo>
                        <a:pt x="239" y="808"/>
                      </a:lnTo>
                      <a:lnTo>
                        <a:pt x="230" y="814"/>
                      </a:lnTo>
                      <a:lnTo>
                        <a:pt x="224" y="821"/>
                      </a:lnTo>
                      <a:lnTo>
                        <a:pt x="217" y="828"/>
                      </a:lnTo>
                      <a:lnTo>
                        <a:pt x="210" y="836"/>
                      </a:lnTo>
                      <a:lnTo>
                        <a:pt x="201" y="852"/>
                      </a:lnTo>
                      <a:lnTo>
                        <a:pt x="192" y="869"/>
                      </a:lnTo>
                      <a:lnTo>
                        <a:pt x="186" y="876"/>
                      </a:lnTo>
                      <a:lnTo>
                        <a:pt x="182" y="883"/>
                      </a:lnTo>
                      <a:lnTo>
                        <a:pt x="176" y="890"/>
                      </a:lnTo>
                      <a:lnTo>
                        <a:pt x="171" y="895"/>
                      </a:lnTo>
                      <a:lnTo>
                        <a:pt x="164" y="900"/>
                      </a:lnTo>
                      <a:lnTo>
                        <a:pt x="157" y="903"/>
                      </a:lnTo>
                      <a:lnTo>
                        <a:pt x="148" y="905"/>
                      </a:lnTo>
                      <a:lnTo>
                        <a:pt x="139" y="906"/>
                      </a:lnTo>
                      <a:lnTo>
                        <a:pt x="134" y="905"/>
                      </a:lnTo>
                      <a:lnTo>
                        <a:pt x="127" y="903"/>
                      </a:lnTo>
                      <a:lnTo>
                        <a:pt x="120" y="900"/>
                      </a:lnTo>
                      <a:lnTo>
                        <a:pt x="113" y="895"/>
                      </a:lnTo>
                      <a:lnTo>
                        <a:pt x="105" y="889"/>
                      </a:lnTo>
                      <a:lnTo>
                        <a:pt x="97" y="883"/>
                      </a:lnTo>
                      <a:lnTo>
                        <a:pt x="90" y="876"/>
                      </a:lnTo>
                      <a:lnTo>
                        <a:pt x="82" y="868"/>
                      </a:lnTo>
                      <a:lnTo>
                        <a:pt x="75" y="860"/>
                      </a:lnTo>
                      <a:lnTo>
                        <a:pt x="69" y="851"/>
                      </a:lnTo>
                      <a:lnTo>
                        <a:pt x="62" y="842"/>
                      </a:lnTo>
                      <a:lnTo>
                        <a:pt x="57" y="833"/>
                      </a:lnTo>
                      <a:lnTo>
                        <a:pt x="52" y="825"/>
                      </a:lnTo>
                      <a:lnTo>
                        <a:pt x="49" y="817"/>
                      </a:lnTo>
                      <a:lnTo>
                        <a:pt x="47" y="809"/>
                      </a:lnTo>
                      <a:lnTo>
                        <a:pt x="46" y="801"/>
                      </a:lnTo>
                      <a:lnTo>
                        <a:pt x="51" y="798"/>
                      </a:lnTo>
                      <a:lnTo>
                        <a:pt x="63" y="792"/>
                      </a:lnTo>
                      <a:lnTo>
                        <a:pt x="77" y="786"/>
                      </a:lnTo>
                      <a:lnTo>
                        <a:pt x="85" y="783"/>
                      </a:lnTo>
                      <a:lnTo>
                        <a:pt x="77" y="783"/>
                      </a:lnTo>
                      <a:lnTo>
                        <a:pt x="67" y="782"/>
                      </a:lnTo>
                      <a:lnTo>
                        <a:pt x="59" y="780"/>
                      </a:lnTo>
                      <a:lnTo>
                        <a:pt x="51" y="779"/>
                      </a:lnTo>
                      <a:lnTo>
                        <a:pt x="44" y="776"/>
                      </a:lnTo>
                      <a:lnTo>
                        <a:pt x="37" y="774"/>
                      </a:lnTo>
                      <a:lnTo>
                        <a:pt x="30" y="771"/>
                      </a:lnTo>
                      <a:lnTo>
                        <a:pt x="25" y="767"/>
                      </a:lnTo>
                      <a:lnTo>
                        <a:pt x="21" y="763"/>
                      </a:lnTo>
                      <a:lnTo>
                        <a:pt x="16" y="759"/>
                      </a:lnTo>
                      <a:lnTo>
                        <a:pt x="12" y="754"/>
                      </a:lnTo>
                      <a:lnTo>
                        <a:pt x="8" y="750"/>
                      </a:lnTo>
                      <a:lnTo>
                        <a:pt x="3" y="738"/>
                      </a:lnTo>
                      <a:lnTo>
                        <a:pt x="0" y="727"/>
                      </a:lnTo>
                      <a:lnTo>
                        <a:pt x="10" y="719"/>
                      </a:lnTo>
                      <a:lnTo>
                        <a:pt x="21" y="713"/>
                      </a:lnTo>
                      <a:lnTo>
                        <a:pt x="32" y="708"/>
                      </a:lnTo>
                      <a:lnTo>
                        <a:pt x="44" y="704"/>
                      </a:lnTo>
                      <a:lnTo>
                        <a:pt x="67" y="699"/>
                      </a:lnTo>
                      <a:lnTo>
                        <a:pt x="90" y="695"/>
                      </a:lnTo>
                      <a:lnTo>
                        <a:pt x="102" y="693"/>
                      </a:lnTo>
                      <a:lnTo>
                        <a:pt x="113" y="689"/>
                      </a:lnTo>
                      <a:lnTo>
                        <a:pt x="123" y="686"/>
                      </a:lnTo>
                      <a:lnTo>
                        <a:pt x="133" y="681"/>
                      </a:lnTo>
                      <a:lnTo>
                        <a:pt x="142" y="676"/>
                      </a:lnTo>
                      <a:lnTo>
                        <a:pt x="151" y="668"/>
                      </a:lnTo>
                      <a:lnTo>
                        <a:pt x="159" y="659"/>
                      </a:lnTo>
                      <a:lnTo>
                        <a:pt x="165" y="648"/>
                      </a:lnTo>
                      <a:lnTo>
                        <a:pt x="161" y="646"/>
                      </a:lnTo>
                      <a:lnTo>
                        <a:pt x="157" y="643"/>
                      </a:lnTo>
                      <a:lnTo>
                        <a:pt x="151" y="639"/>
                      </a:lnTo>
                      <a:lnTo>
                        <a:pt x="145" y="633"/>
                      </a:lnTo>
                      <a:lnTo>
                        <a:pt x="131" y="621"/>
                      </a:lnTo>
                      <a:lnTo>
                        <a:pt x="118" y="607"/>
                      </a:lnTo>
                      <a:lnTo>
                        <a:pt x="106" y="592"/>
                      </a:lnTo>
                      <a:lnTo>
                        <a:pt x="95" y="576"/>
                      </a:lnTo>
                      <a:lnTo>
                        <a:pt x="92" y="569"/>
                      </a:lnTo>
                      <a:lnTo>
                        <a:pt x="89" y="562"/>
                      </a:lnTo>
                      <a:lnTo>
                        <a:pt x="86" y="555"/>
                      </a:lnTo>
                      <a:lnTo>
                        <a:pt x="85" y="549"/>
                      </a:lnTo>
                      <a:lnTo>
                        <a:pt x="81" y="548"/>
                      </a:lnTo>
                      <a:lnTo>
                        <a:pt x="77" y="547"/>
                      </a:lnTo>
                      <a:lnTo>
                        <a:pt x="73" y="545"/>
                      </a:lnTo>
                      <a:lnTo>
                        <a:pt x="70" y="541"/>
                      </a:lnTo>
                      <a:lnTo>
                        <a:pt x="64" y="534"/>
                      </a:lnTo>
                      <a:lnTo>
                        <a:pt x="59" y="524"/>
                      </a:lnTo>
                      <a:lnTo>
                        <a:pt x="59" y="500"/>
                      </a:lnTo>
                      <a:lnTo>
                        <a:pt x="73" y="499"/>
                      </a:lnTo>
                      <a:lnTo>
                        <a:pt x="86" y="498"/>
                      </a:lnTo>
                      <a:lnTo>
                        <a:pt x="98" y="496"/>
                      </a:lnTo>
                      <a:lnTo>
                        <a:pt x="109" y="492"/>
                      </a:lnTo>
                      <a:lnTo>
                        <a:pt x="119" y="489"/>
                      </a:lnTo>
                      <a:lnTo>
                        <a:pt x="129" y="484"/>
                      </a:lnTo>
                      <a:lnTo>
                        <a:pt x="138" y="479"/>
                      </a:lnTo>
                      <a:lnTo>
                        <a:pt x="147" y="473"/>
                      </a:lnTo>
                      <a:lnTo>
                        <a:pt x="154" y="466"/>
                      </a:lnTo>
                      <a:lnTo>
                        <a:pt x="162" y="459"/>
                      </a:lnTo>
                      <a:lnTo>
                        <a:pt x="169" y="452"/>
                      </a:lnTo>
                      <a:lnTo>
                        <a:pt x="175" y="444"/>
                      </a:lnTo>
                      <a:lnTo>
                        <a:pt x="186" y="428"/>
                      </a:lnTo>
                      <a:lnTo>
                        <a:pt x="197" y="410"/>
                      </a:lnTo>
                      <a:lnTo>
                        <a:pt x="216" y="374"/>
                      </a:lnTo>
                      <a:lnTo>
                        <a:pt x="235" y="338"/>
                      </a:lnTo>
                      <a:lnTo>
                        <a:pt x="246" y="322"/>
                      </a:lnTo>
                      <a:lnTo>
                        <a:pt x="257" y="308"/>
                      </a:lnTo>
                      <a:lnTo>
                        <a:pt x="263" y="300"/>
                      </a:lnTo>
                      <a:lnTo>
                        <a:pt x="270" y="294"/>
                      </a:lnTo>
                      <a:lnTo>
                        <a:pt x="277" y="289"/>
                      </a:lnTo>
                      <a:lnTo>
                        <a:pt x="285" y="284"/>
                      </a:lnTo>
                      <a:lnTo>
                        <a:pt x="279" y="272"/>
                      </a:lnTo>
                      <a:lnTo>
                        <a:pt x="274" y="261"/>
                      </a:lnTo>
                      <a:lnTo>
                        <a:pt x="273" y="256"/>
                      </a:lnTo>
                      <a:lnTo>
                        <a:pt x="272" y="251"/>
                      </a:lnTo>
                      <a:lnTo>
                        <a:pt x="272" y="245"/>
                      </a:lnTo>
                      <a:lnTo>
                        <a:pt x="272" y="240"/>
                      </a:lnTo>
                      <a:lnTo>
                        <a:pt x="273" y="235"/>
                      </a:lnTo>
                      <a:lnTo>
                        <a:pt x="274" y="230"/>
                      </a:lnTo>
                      <a:lnTo>
                        <a:pt x="276" y="226"/>
                      </a:lnTo>
                      <a:lnTo>
                        <a:pt x="280" y="222"/>
                      </a:lnTo>
                      <a:lnTo>
                        <a:pt x="283" y="219"/>
                      </a:lnTo>
                      <a:lnTo>
                        <a:pt x="287" y="216"/>
                      </a:lnTo>
                      <a:lnTo>
                        <a:pt x="293" y="213"/>
                      </a:lnTo>
                      <a:lnTo>
                        <a:pt x="298" y="210"/>
                      </a:lnTo>
                      <a:lnTo>
                        <a:pt x="269" y="183"/>
                      </a:lnTo>
                      <a:lnTo>
                        <a:pt x="247" y="163"/>
                      </a:lnTo>
                      <a:lnTo>
                        <a:pt x="237" y="153"/>
                      </a:lnTo>
                      <a:lnTo>
                        <a:pt x="227" y="142"/>
                      </a:lnTo>
                      <a:lnTo>
                        <a:pt x="217" y="128"/>
                      </a:lnTo>
                      <a:lnTo>
                        <a:pt x="205" y="111"/>
                      </a:lnTo>
                      <a:lnTo>
                        <a:pt x="205" y="68"/>
                      </a:lnTo>
                      <a:lnTo>
                        <a:pt x="229" y="68"/>
                      </a:lnTo>
                      <a:lnTo>
                        <a:pt x="256" y="66"/>
                      </a:lnTo>
                      <a:lnTo>
                        <a:pt x="270" y="65"/>
                      </a:lnTo>
                      <a:lnTo>
                        <a:pt x="283" y="63"/>
                      </a:lnTo>
                      <a:lnTo>
                        <a:pt x="297" y="60"/>
                      </a:lnTo>
                      <a:lnTo>
                        <a:pt x="310" y="57"/>
                      </a:lnTo>
                      <a:lnTo>
                        <a:pt x="322" y="54"/>
                      </a:lnTo>
                      <a:lnTo>
                        <a:pt x="335" y="49"/>
                      </a:lnTo>
                      <a:lnTo>
                        <a:pt x="347" y="44"/>
                      </a:lnTo>
                      <a:lnTo>
                        <a:pt x="357" y="37"/>
                      </a:lnTo>
                      <a:lnTo>
                        <a:pt x="366" y="30"/>
                      </a:lnTo>
                      <a:lnTo>
                        <a:pt x="374" y="21"/>
                      </a:lnTo>
                      <a:lnTo>
                        <a:pt x="381" y="11"/>
                      </a:lnTo>
                      <a:lnTo>
                        <a:pt x="385" y="0"/>
                      </a:lnTo>
                    </a:path>
                  </a:pathLst>
                </a:custGeom>
                <a:grpFill/>
                <a:ln w="9525" cmpd="sng">
                  <a:solidFill>
                    <a:srgbClr val="FFFFFF"/>
                  </a:solidFill>
                  <a:prstDash val="solid"/>
                  <a:round/>
                  <a:headEnd/>
                  <a:tailEnd/>
                </a:ln>
              </p:spPr>
              <p:txBody>
                <a:bodyPr/>
                <a:lstStyle/>
                <a:p>
                  <a:endParaRPr lang="en-GB" sz="1637"/>
                </a:p>
              </p:txBody>
            </p:sp>
            <p:grpSp>
              <p:nvGrpSpPr>
                <p:cNvPr id="378" name="Group 524"/>
                <p:cNvGrpSpPr>
                  <a:grpSpLocks/>
                </p:cNvGrpSpPr>
                <p:nvPr>
                  <p:custDataLst>
                    <p:tags r:id="rId250"/>
                  </p:custDataLst>
                </p:nvPr>
              </p:nvGrpSpPr>
              <p:grpSpPr bwMode="auto">
                <a:xfrm>
                  <a:off x="5851792" y="1967192"/>
                  <a:ext cx="754867" cy="444074"/>
                  <a:chOff x="4115" y="1545"/>
                  <a:chExt cx="519" cy="250"/>
                </a:xfrm>
                <a:grpFill/>
              </p:grpSpPr>
              <p:sp>
                <p:nvSpPr>
                  <p:cNvPr id="382" name="Freeform 525"/>
                  <p:cNvSpPr>
                    <a:spLocks/>
                  </p:cNvSpPr>
                  <p:nvPr/>
                </p:nvSpPr>
                <p:spPr bwMode="auto">
                  <a:xfrm>
                    <a:off x="4555" y="1545"/>
                    <a:ext cx="79" cy="86"/>
                  </a:xfrm>
                  <a:custGeom>
                    <a:avLst/>
                    <a:gdLst>
                      <a:gd name="T0" fmla="*/ 4 w 240"/>
                      <a:gd name="T1" fmla="*/ 82 h 259"/>
                      <a:gd name="T2" fmla="*/ 26 w 240"/>
                      <a:gd name="T3" fmla="*/ 86 h 259"/>
                      <a:gd name="T4" fmla="*/ 40 w 240"/>
                      <a:gd name="T5" fmla="*/ 80 h 259"/>
                      <a:gd name="T6" fmla="*/ 44 w 240"/>
                      <a:gd name="T7" fmla="*/ 70 h 259"/>
                      <a:gd name="T8" fmla="*/ 63 w 240"/>
                      <a:gd name="T9" fmla="*/ 53 h 259"/>
                      <a:gd name="T10" fmla="*/ 70 w 240"/>
                      <a:gd name="T11" fmla="*/ 37 h 259"/>
                      <a:gd name="T12" fmla="*/ 79 w 240"/>
                      <a:gd name="T13" fmla="*/ 9 h 259"/>
                      <a:gd name="T14" fmla="*/ 70 w 240"/>
                      <a:gd name="T15" fmla="*/ 0 h 259"/>
                      <a:gd name="T16" fmla="*/ 68 w 240"/>
                      <a:gd name="T17" fmla="*/ 11 h 259"/>
                      <a:gd name="T18" fmla="*/ 66 w 240"/>
                      <a:gd name="T19" fmla="*/ 25 h 259"/>
                      <a:gd name="T20" fmla="*/ 55 w 240"/>
                      <a:gd name="T21" fmla="*/ 35 h 259"/>
                      <a:gd name="T22" fmla="*/ 44 w 240"/>
                      <a:gd name="T23" fmla="*/ 49 h 259"/>
                      <a:gd name="T24" fmla="*/ 37 w 240"/>
                      <a:gd name="T25" fmla="*/ 59 h 259"/>
                      <a:gd name="T26" fmla="*/ 31 w 240"/>
                      <a:gd name="T27" fmla="*/ 72 h 259"/>
                      <a:gd name="T28" fmla="*/ 7 w 240"/>
                      <a:gd name="T29" fmla="*/ 74 h 259"/>
                      <a:gd name="T30" fmla="*/ 0 w 240"/>
                      <a:gd name="T31" fmla="*/ 74 h 259"/>
                      <a:gd name="T32" fmla="*/ 4 w 240"/>
                      <a:gd name="T33" fmla="*/ 82 h 25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40" h="259">
                        <a:moveTo>
                          <a:pt x="13" y="247"/>
                        </a:moveTo>
                        <a:lnTo>
                          <a:pt x="79" y="259"/>
                        </a:lnTo>
                        <a:lnTo>
                          <a:pt x="120" y="240"/>
                        </a:lnTo>
                        <a:lnTo>
                          <a:pt x="133" y="210"/>
                        </a:lnTo>
                        <a:lnTo>
                          <a:pt x="192" y="161"/>
                        </a:lnTo>
                        <a:lnTo>
                          <a:pt x="212" y="111"/>
                        </a:lnTo>
                        <a:lnTo>
                          <a:pt x="240" y="26"/>
                        </a:lnTo>
                        <a:lnTo>
                          <a:pt x="212" y="0"/>
                        </a:lnTo>
                        <a:lnTo>
                          <a:pt x="206" y="32"/>
                        </a:lnTo>
                        <a:lnTo>
                          <a:pt x="199" y="74"/>
                        </a:lnTo>
                        <a:lnTo>
                          <a:pt x="166" y="105"/>
                        </a:lnTo>
                        <a:lnTo>
                          <a:pt x="133" y="149"/>
                        </a:lnTo>
                        <a:lnTo>
                          <a:pt x="113" y="179"/>
                        </a:lnTo>
                        <a:lnTo>
                          <a:pt x="93" y="216"/>
                        </a:lnTo>
                        <a:lnTo>
                          <a:pt x="20" y="222"/>
                        </a:lnTo>
                        <a:lnTo>
                          <a:pt x="0" y="222"/>
                        </a:lnTo>
                        <a:lnTo>
                          <a:pt x="13" y="247"/>
                        </a:lnTo>
                      </a:path>
                    </a:pathLst>
                  </a:custGeom>
                  <a:grpFill/>
                  <a:ln w="9525" cmpd="sng">
                    <a:solidFill>
                      <a:srgbClr val="FFFFFF"/>
                    </a:solidFill>
                    <a:prstDash val="solid"/>
                    <a:round/>
                    <a:headEnd/>
                    <a:tailEnd/>
                  </a:ln>
                </p:spPr>
                <p:txBody>
                  <a:bodyPr/>
                  <a:lstStyle/>
                  <a:p>
                    <a:endParaRPr lang="en-GB" sz="1637"/>
                  </a:p>
                </p:txBody>
              </p:sp>
              <p:sp>
                <p:nvSpPr>
                  <p:cNvPr id="383" name="Freeform 526"/>
                  <p:cNvSpPr>
                    <a:spLocks/>
                  </p:cNvSpPr>
                  <p:nvPr/>
                </p:nvSpPr>
                <p:spPr bwMode="auto">
                  <a:xfrm>
                    <a:off x="4115" y="1761"/>
                    <a:ext cx="84" cy="34"/>
                  </a:xfrm>
                  <a:custGeom>
                    <a:avLst/>
                    <a:gdLst>
                      <a:gd name="T0" fmla="*/ 11 w 259"/>
                      <a:gd name="T1" fmla="*/ 34 h 104"/>
                      <a:gd name="T2" fmla="*/ 8 w 259"/>
                      <a:gd name="T3" fmla="*/ 28 h 104"/>
                      <a:gd name="T4" fmla="*/ 17 w 259"/>
                      <a:gd name="T5" fmla="*/ 20 h 104"/>
                      <a:gd name="T6" fmla="*/ 23 w 259"/>
                      <a:gd name="T7" fmla="*/ 16 h 104"/>
                      <a:gd name="T8" fmla="*/ 41 w 259"/>
                      <a:gd name="T9" fmla="*/ 14 h 104"/>
                      <a:gd name="T10" fmla="*/ 56 w 259"/>
                      <a:gd name="T11" fmla="*/ 14 h 104"/>
                      <a:gd name="T12" fmla="*/ 80 w 259"/>
                      <a:gd name="T13" fmla="*/ 10 h 104"/>
                      <a:gd name="T14" fmla="*/ 84 w 259"/>
                      <a:gd name="T15" fmla="*/ 2 h 104"/>
                      <a:gd name="T16" fmla="*/ 80 w 259"/>
                      <a:gd name="T17" fmla="*/ 0 h 104"/>
                      <a:gd name="T18" fmla="*/ 66 w 259"/>
                      <a:gd name="T19" fmla="*/ 4 h 104"/>
                      <a:gd name="T20" fmla="*/ 49 w 259"/>
                      <a:gd name="T21" fmla="*/ 2 h 104"/>
                      <a:gd name="T22" fmla="*/ 34 w 259"/>
                      <a:gd name="T23" fmla="*/ 4 h 104"/>
                      <a:gd name="T24" fmla="*/ 17 w 259"/>
                      <a:gd name="T25" fmla="*/ 6 h 104"/>
                      <a:gd name="T26" fmla="*/ 8 w 259"/>
                      <a:gd name="T27" fmla="*/ 14 h 104"/>
                      <a:gd name="T28" fmla="*/ 0 w 259"/>
                      <a:gd name="T29" fmla="*/ 22 h 104"/>
                      <a:gd name="T30" fmla="*/ 0 w 259"/>
                      <a:gd name="T31" fmla="*/ 34 h 104"/>
                      <a:gd name="T32" fmla="*/ 11 w 259"/>
                      <a:gd name="T33" fmla="*/ 34 h 10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59" h="104">
                        <a:moveTo>
                          <a:pt x="33" y="104"/>
                        </a:moveTo>
                        <a:lnTo>
                          <a:pt x="26" y="86"/>
                        </a:lnTo>
                        <a:lnTo>
                          <a:pt x="52" y="62"/>
                        </a:lnTo>
                        <a:lnTo>
                          <a:pt x="72" y="49"/>
                        </a:lnTo>
                        <a:lnTo>
                          <a:pt x="126" y="43"/>
                        </a:lnTo>
                        <a:lnTo>
                          <a:pt x="172" y="43"/>
                        </a:lnTo>
                        <a:lnTo>
                          <a:pt x="246" y="31"/>
                        </a:lnTo>
                        <a:lnTo>
                          <a:pt x="259" y="7"/>
                        </a:lnTo>
                        <a:lnTo>
                          <a:pt x="246" y="0"/>
                        </a:lnTo>
                        <a:lnTo>
                          <a:pt x="205" y="13"/>
                        </a:lnTo>
                        <a:lnTo>
                          <a:pt x="152" y="7"/>
                        </a:lnTo>
                        <a:lnTo>
                          <a:pt x="106" y="13"/>
                        </a:lnTo>
                        <a:lnTo>
                          <a:pt x="52" y="19"/>
                        </a:lnTo>
                        <a:lnTo>
                          <a:pt x="26" y="43"/>
                        </a:lnTo>
                        <a:lnTo>
                          <a:pt x="0" y="68"/>
                        </a:lnTo>
                        <a:lnTo>
                          <a:pt x="0" y="104"/>
                        </a:lnTo>
                        <a:lnTo>
                          <a:pt x="33" y="104"/>
                        </a:lnTo>
                      </a:path>
                    </a:pathLst>
                  </a:custGeom>
                  <a:grpFill/>
                  <a:ln w="9525" cmpd="sng">
                    <a:solidFill>
                      <a:srgbClr val="FFFFFF"/>
                    </a:solidFill>
                    <a:prstDash val="solid"/>
                    <a:round/>
                    <a:headEnd/>
                    <a:tailEnd/>
                  </a:ln>
                </p:spPr>
                <p:txBody>
                  <a:bodyPr/>
                  <a:lstStyle/>
                  <a:p>
                    <a:endParaRPr lang="en-GB" sz="1637"/>
                  </a:p>
                </p:txBody>
              </p:sp>
            </p:grpSp>
            <p:sp>
              <p:nvSpPr>
                <p:cNvPr id="379" name="Freeform 534"/>
                <p:cNvSpPr>
                  <a:spLocks/>
                </p:cNvSpPr>
                <p:nvPr>
                  <p:custDataLst>
                    <p:tags r:id="rId251"/>
                  </p:custDataLst>
                </p:nvPr>
              </p:nvSpPr>
              <p:spPr bwMode="auto">
                <a:xfrm>
                  <a:off x="7101278" y="3073906"/>
                  <a:ext cx="46790" cy="89548"/>
                </a:xfrm>
                <a:custGeom>
                  <a:avLst/>
                  <a:gdLst>
                    <a:gd name="T0" fmla="*/ 42862 w 100"/>
                    <a:gd name="T1" fmla="*/ 512 h 155"/>
                    <a:gd name="T2" fmla="*/ 42862 w 100"/>
                    <a:gd name="T3" fmla="*/ 15363 h 155"/>
                    <a:gd name="T4" fmla="*/ 42862 w 100"/>
                    <a:gd name="T5" fmla="*/ 28165 h 155"/>
                    <a:gd name="T6" fmla="*/ 42862 w 100"/>
                    <a:gd name="T7" fmla="*/ 39944 h 155"/>
                    <a:gd name="T8" fmla="*/ 42862 w 100"/>
                    <a:gd name="T9" fmla="*/ 50698 h 155"/>
                    <a:gd name="T10" fmla="*/ 42005 w 100"/>
                    <a:gd name="T11" fmla="*/ 55819 h 155"/>
                    <a:gd name="T12" fmla="*/ 40290 w 100"/>
                    <a:gd name="T13" fmla="*/ 60427 h 155"/>
                    <a:gd name="T14" fmla="*/ 38147 w 100"/>
                    <a:gd name="T15" fmla="*/ 65548 h 155"/>
                    <a:gd name="T16" fmla="*/ 35147 w 100"/>
                    <a:gd name="T17" fmla="*/ 70157 h 155"/>
                    <a:gd name="T18" fmla="*/ 31289 w 100"/>
                    <a:gd name="T19" fmla="*/ 73742 h 155"/>
                    <a:gd name="T20" fmla="*/ 26574 w 100"/>
                    <a:gd name="T21" fmla="*/ 76815 h 155"/>
                    <a:gd name="T22" fmla="*/ 24431 w 100"/>
                    <a:gd name="T23" fmla="*/ 77839 h 155"/>
                    <a:gd name="T24" fmla="*/ 21860 w 100"/>
                    <a:gd name="T25" fmla="*/ 78863 h 155"/>
                    <a:gd name="T26" fmla="*/ 19717 w 100"/>
                    <a:gd name="T27" fmla="*/ 79375 h 155"/>
                    <a:gd name="T28" fmla="*/ 16716 w 100"/>
                    <a:gd name="T29" fmla="*/ 79375 h 155"/>
                    <a:gd name="T30" fmla="*/ 15002 w 100"/>
                    <a:gd name="T31" fmla="*/ 78863 h 155"/>
                    <a:gd name="T32" fmla="*/ 12859 w 100"/>
                    <a:gd name="T33" fmla="*/ 78351 h 155"/>
                    <a:gd name="T34" fmla="*/ 11144 w 100"/>
                    <a:gd name="T35" fmla="*/ 77327 h 155"/>
                    <a:gd name="T36" fmla="*/ 9430 w 100"/>
                    <a:gd name="T37" fmla="*/ 76302 h 155"/>
                    <a:gd name="T38" fmla="*/ 6429 w 100"/>
                    <a:gd name="T39" fmla="*/ 72718 h 155"/>
                    <a:gd name="T40" fmla="*/ 3858 w 100"/>
                    <a:gd name="T41" fmla="*/ 68621 h 155"/>
                    <a:gd name="T42" fmla="*/ 2143 w 100"/>
                    <a:gd name="T43" fmla="*/ 63500 h 155"/>
                    <a:gd name="T44" fmla="*/ 857 w 100"/>
                    <a:gd name="T45" fmla="*/ 57867 h 155"/>
                    <a:gd name="T46" fmla="*/ 0 w 100"/>
                    <a:gd name="T47" fmla="*/ 52746 h 155"/>
                    <a:gd name="T48" fmla="*/ 0 w 100"/>
                    <a:gd name="T49" fmla="*/ 47625 h 155"/>
                    <a:gd name="T50" fmla="*/ 0 w 100"/>
                    <a:gd name="T51" fmla="*/ 39431 h 155"/>
                    <a:gd name="T52" fmla="*/ 0 w 100"/>
                    <a:gd name="T53" fmla="*/ 33286 h 155"/>
                    <a:gd name="T54" fmla="*/ 0 w 100"/>
                    <a:gd name="T55" fmla="*/ 28677 h 155"/>
                    <a:gd name="T56" fmla="*/ 0 w 100"/>
                    <a:gd name="T57" fmla="*/ 25605 h 155"/>
                    <a:gd name="T58" fmla="*/ 6429 w 100"/>
                    <a:gd name="T59" fmla="*/ 25605 h 155"/>
                    <a:gd name="T60" fmla="*/ 11144 w 100"/>
                    <a:gd name="T61" fmla="*/ 25605 h 155"/>
                    <a:gd name="T62" fmla="*/ 11144 w 100"/>
                    <a:gd name="T63" fmla="*/ 20484 h 155"/>
                    <a:gd name="T64" fmla="*/ 11573 w 100"/>
                    <a:gd name="T65" fmla="*/ 15875 h 155"/>
                    <a:gd name="T66" fmla="*/ 12430 w 100"/>
                    <a:gd name="T67" fmla="*/ 11778 h 155"/>
                    <a:gd name="T68" fmla="*/ 13287 w 100"/>
                    <a:gd name="T69" fmla="*/ 8706 h 155"/>
                    <a:gd name="T70" fmla="*/ 15002 w 100"/>
                    <a:gd name="T71" fmla="*/ 6145 h 155"/>
                    <a:gd name="T72" fmla="*/ 16716 w 100"/>
                    <a:gd name="T73" fmla="*/ 3585 h 155"/>
                    <a:gd name="T74" fmla="*/ 18002 w 100"/>
                    <a:gd name="T75" fmla="*/ 2048 h 155"/>
                    <a:gd name="T76" fmla="*/ 20574 w 100"/>
                    <a:gd name="T77" fmla="*/ 1024 h 155"/>
                    <a:gd name="T78" fmla="*/ 25289 w 100"/>
                    <a:gd name="T79" fmla="*/ 0 h 155"/>
                    <a:gd name="T80" fmla="*/ 30432 w 100"/>
                    <a:gd name="T81" fmla="*/ 0 h 155"/>
                    <a:gd name="T82" fmla="*/ 36004 w 100"/>
                    <a:gd name="T83" fmla="*/ 0 h 155"/>
                    <a:gd name="T84" fmla="*/ 42862 w 100"/>
                    <a:gd name="T85" fmla="*/ 512 h 15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00" h="155">
                      <a:moveTo>
                        <a:pt x="100" y="1"/>
                      </a:moveTo>
                      <a:lnTo>
                        <a:pt x="100" y="30"/>
                      </a:lnTo>
                      <a:lnTo>
                        <a:pt x="100" y="55"/>
                      </a:lnTo>
                      <a:lnTo>
                        <a:pt x="100" y="78"/>
                      </a:lnTo>
                      <a:lnTo>
                        <a:pt x="100" y="99"/>
                      </a:lnTo>
                      <a:lnTo>
                        <a:pt x="98" y="109"/>
                      </a:lnTo>
                      <a:lnTo>
                        <a:pt x="94" y="118"/>
                      </a:lnTo>
                      <a:lnTo>
                        <a:pt x="89" y="128"/>
                      </a:lnTo>
                      <a:lnTo>
                        <a:pt x="82" y="137"/>
                      </a:lnTo>
                      <a:lnTo>
                        <a:pt x="73" y="144"/>
                      </a:lnTo>
                      <a:lnTo>
                        <a:pt x="62" y="150"/>
                      </a:lnTo>
                      <a:lnTo>
                        <a:pt x="57" y="152"/>
                      </a:lnTo>
                      <a:lnTo>
                        <a:pt x="51" y="154"/>
                      </a:lnTo>
                      <a:lnTo>
                        <a:pt x="46" y="155"/>
                      </a:lnTo>
                      <a:lnTo>
                        <a:pt x="39" y="155"/>
                      </a:lnTo>
                      <a:lnTo>
                        <a:pt x="35" y="154"/>
                      </a:lnTo>
                      <a:lnTo>
                        <a:pt x="30" y="153"/>
                      </a:lnTo>
                      <a:lnTo>
                        <a:pt x="26" y="151"/>
                      </a:lnTo>
                      <a:lnTo>
                        <a:pt x="22" y="149"/>
                      </a:lnTo>
                      <a:lnTo>
                        <a:pt x="15" y="142"/>
                      </a:lnTo>
                      <a:lnTo>
                        <a:pt x="9" y="134"/>
                      </a:lnTo>
                      <a:lnTo>
                        <a:pt x="5" y="124"/>
                      </a:lnTo>
                      <a:lnTo>
                        <a:pt x="2" y="113"/>
                      </a:lnTo>
                      <a:lnTo>
                        <a:pt x="0" y="103"/>
                      </a:lnTo>
                      <a:lnTo>
                        <a:pt x="0" y="93"/>
                      </a:lnTo>
                      <a:lnTo>
                        <a:pt x="0" y="77"/>
                      </a:lnTo>
                      <a:lnTo>
                        <a:pt x="0" y="65"/>
                      </a:lnTo>
                      <a:lnTo>
                        <a:pt x="0" y="56"/>
                      </a:lnTo>
                      <a:lnTo>
                        <a:pt x="0" y="50"/>
                      </a:lnTo>
                      <a:lnTo>
                        <a:pt x="15" y="50"/>
                      </a:lnTo>
                      <a:lnTo>
                        <a:pt x="26" y="50"/>
                      </a:lnTo>
                      <a:lnTo>
                        <a:pt x="26" y="40"/>
                      </a:lnTo>
                      <a:lnTo>
                        <a:pt x="27" y="31"/>
                      </a:lnTo>
                      <a:lnTo>
                        <a:pt x="29" y="23"/>
                      </a:lnTo>
                      <a:lnTo>
                        <a:pt x="31" y="17"/>
                      </a:lnTo>
                      <a:lnTo>
                        <a:pt x="35" y="12"/>
                      </a:lnTo>
                      <a:lnTo>
                        <a:pt x="39" y="7"/>
                      </a:lnTo>
                      <a:lnTo>
                        <a:pt x="42" y="4"/>
                      </a:lnTo>
                      <a:lnTo>
                        <a:pt x="48" y="2"/>
                      </a:lnTo>
                      <a:lnTo>
                        <a:pt x="59" y="0"/>
                      </a:lnTo>
                      <a:lnTo>
                        <a:pt x="71" y="0"/>
                      </a:lnTo>
                      <a:lnTo>
                        <a:pt x="84" y="0"/>
                      </a:lnTo>
                      <a:lnTo>
                        <a:pt x="100" y="1"/>
                      </a:lnTo>
                    </a:path>
                  </a:pathLst>
                </a:custGeom>
                <a:grpFill/>
                <a:ln w="9525" cmpd="sng">
                  <a:solidFill>
                    <a:srgbClr val="FFFFFF"/>
                  </a:solidFill>
                  <a:prstDash val="solid"/>
                  <a:round/>
                  <a:headEnd/>
                  <a:tailEnd/>
                </a:ln>
              </p:spPr>
              <p:txBody>
                <a:bodyPr/>
                <a:lstStyle/>
                <a:p>
                  <a:endParaRPr lang="en-GB" sz="1637"/>
                </a:p>
              </p:txBody>
            </p:sp>
            <p:sp>
              <p:nvSpPr>
                <p:cNvPr id="380" name="Freeform 542"/>
                <p:cNvSpPr>
                  <a:spLocks/>
                </p:cNvSpPr>
                <p:nvPr>
                  <p:custDataLst>
                    <p:tags r:id="rId252"/>
                  </p:custDataLst>
                </p:nvPr>
              </p:nvSpPr>
              <p:spPr bwMode="auto">
                <a:xfrm>
                  <a:off x="6643772" y="3138381"/>
                  <a:ext cx="227020" cy="517589"/>
                </a:xfrm>
                <a:custGeom>
                  <a:avLst/>
                  <a:gdLst>
                    <a:gd name="T0" fmla="*/ 124864 w 478"/>
                    <a:gd name="T1" fmla="*/ 57152 h 875"/>
                    <a:gd name="T2" fmla="*/ 108767 w 478"/>
                    <a:gd name="T3" fmla="*/ 72357 h 875"/>
                    <a:gd name="T4" fmla="*/ 86578 w 478"/>
                    <a:gd name="T5" fmla="*/ 103293 h 875"/>
                    <a:gd name="T6" fmla="*/ 86143 w 478"/>
                    <a:gd name="T7" fmla="*/ 111682 h 875"/>
                    <a:gd name="T8" fmla="*/ 89624 w 478"/>
                    <a:gd name="T9" fmla="*/ 125315 h 875"/>
                    <a:gd name="T10" fmla="*/ 96150 w 478"/>
                    <a:gd name="T11" fmla="*/ 138947 h 875"/>
                    <a:gd name="T12" fmla="*/ 104416 w 478"/>
                    <a:gd name="T13" fmla="*/ 151007 h 875"/>
                    <a:gd name="T14" fmla="*/ 112682 w 478"/>
                    <a:gd name="T15" fmla="*/ 157823 h 875"/>
                    <a:gd name="T16" fmla="*/ 121384 w 478"/>
                    <a:gd name="T17" fmla="*/ 172504 h 875"/>
                    <a:gd name="T18" fmla="*/ 128345 w 478"/>
                    <a:gd name="T19" fmla="*/ 189283 h 875"/>
                    <a:gd name="T20" fmla="*/ 132695 w 478"/>
                    <a:gd name="T21" fmla="*/ 193477 h 875"/>
                    <a:gd name="T22" fmla="*/ 190559 w 478"/>
                    <a:gd name="T23" fmla="*/ 261640 h 875"/>
                    <a:gd name="T24" fmla="*/ 204917 w 478"/>
                    <a:gd name="T25" fmla="*/ 308830 h 875"/>
                    <a:gd name="T26" fmla="*/ 207962 w 478"/>
                    <a:gd name="T27" fmla="*/ 339241 h 875"/>
                    <a:gd name="T28" fmla="*/ 207092 w 478"/>
                    <a:gd name="T29" fmla="*/ 360214 h 875"/>
                    <a:gd name="T30" fmla="*/ 207962 w 478"/>
                    <a:gd name="T31" fmla="*/ 371225 h 875"/>
                    <a:gd name="T32" fmla="*/ 194475 w 478"/>
                    <a:gd name="T33" fmla="*/ 376468 h 875"/>
                    <a:gd name="T34" fmla="*/ 182728 w 478"/>
                    <a:gd name="T35" fmla="*/ 384333 h 875"/>
                    <a:gd name="T36" fmla="*/ 170111 w 478"/>
                    <a:gd name="T37" fmla="*/ 396393 h 875"/>
                    <a:gd name="T38" fmla="*/ 158799 w 478"/>
                    <a:gd name="T39" fmla="*/ 413696 h 875"/>
                    <a:gd name="T40" fmla="*/ 151403 w 478"/>
                    <a:gd name="T41" fmla="*/ 411598 h 875"/>
                    <a:gd name="T42" fmla="*/ 138786 w 478"/>
                    <a:gd name="T43" fmla="*/ 413696 h 875"/>
                    <a:gd name="T44" fmla="*/ 136176 w 478"/>
                    <a:gd name="T45" fmla="*/ 421561 h 875"/>
                    <a:gd name="T46" fmla="*/ 125734 w 478"/>
                    <a:gd name="T47" fmla="*/ 439388 h 875"/>
                    <a:gd name="T48" fmla="*/ 111377 w 478"/>
                    <a:gd name="T49" fmla="*/ 455118 h 875"/>
                    <a:gd name="T50" fmla="*/ 103981 w 478"/>
                    <a:gd name="T51" fmla="*/ 458788 h 875"/>
                    <a:gd name="T52" fmla="*/ 100936 w 478"/>
                    <a:gd name="T53" fmla="*/ 455118 h 875"/>
                    <a:gd name="T54" fmla="*/ 97890 w 478"/>
                    <a:gd name="T55" fmla="*/ 442534 h 875"/>
                    <a:gd name="T56" fmla="*/ 100500 w 478"/>
                    <a:gd name="T57" fmla="*/ 419463 h 875"/>
                    <a:gd name="T58" fmla="*/ 110072 w 478"/>
                    <a:gd name="T59" fmla="*/ 406355 h 875"/>
                    <a:gd name="T60" fmla="*/ 120514 w 478"/>
                    <a:gd name="T61" fmla="*/ 398490 h 875"/>
                    <a:gd name="T62" fmla="*/ 128345 w 478"/>
                    <a:gd name="T63" fmla="*/ 394820 h 875"/>
                    <a:gd name="T64" fmla="*/ 132695 w 478"/>
                    <a:gd name="T65" fmla="*/ 389577 h 875"/>
                    <a:gd name="T66" fmla="*/ 136611 w 478"/>
                    <a:gd name="T67" fmla="*/ 374371 h 875"/>
                    <a:gd name="T68" fmla="*/ 143572 w 478"/>
                    <a:gd name="T69" fmla="*/ 359690 h 875"/>
                    <a:gd name="T70" fmla="*/ 158799 w 478"/>
                    <a:gd name="T71" fmla="*/ 337144 h 875"/>
                    <a:gd name="T72" fmla="*/ 161410 w 478"/>
                    <a:gd name="T73" fmla="*/ 281040 h 875"/>
                    <a:gd name="T74" fmla="*/ 158364 w 478"/>
                    <a:gd name="T75" fmla="*/ 249056 h 875"/>
                    <a:gd name="T76" fmla="*/ 148358 w 478"/>
                    <a:gd name="T77" fmla="*/ 223889 h 875"/>
                    <a:gd name="T78" fmla="*/ 129215 w 478"/>
                    <a:gd name="T79" fmla="*/ 197672 h 875"/>
                    <a:gd name="T80" fmla="*/ 95280 w 478"/>
                    <a:gd name="T81" fmla="*/ 161493 h 875"/>
                    <a:gd name="T82" fmla="*/ 70046 w 478"/>
                    <a:gd name="T83" fmla="*/ 133704 h 875"/>
                    <a:gd name="T84" fmla="*/ 46987 w 478"/>
                    <a:gd name="T85" fmla="*/ 103817 h 875"/>
                    <a:gd name="T86" fmla="*/ 31325 w 478"/>
                    <a:gd name="T87" fmla="*/ 76552 h 875"/>
                    <a:gd name="T88" fmla="*/ 18273 w 478"/>
                    <a:gd name="T89" fmla="*/ 54530 h 875"/>
                    <a:gd name="T90" fmla="*/ 20013 w 478"/>
                    <a:gd name="T91" fmla="*/ 21497 h 875"/>
                    <a:gd name="T92" fmla="*/ 56124 w 478"/>
                    <a:gd name="T93" fmla="*/ 9962 h 875"/>
                    <a:gd name="T94" fmla="*/ 64390 w 478"/>
                    <a:gd name="T95" fmla="*/ 2622 h 875"/>
                    <a:gd name="T96" fmla="*/ 76137 w 478"/>
                    <a:gd name="T97" fmla="*/ 8389 h 875"/>
                    <a:gd name="T98" fmla="*/ 96150 w 478"/>
                    <a:gd name="T99" fmla="*/ 18352 h 875"/>
                    <a:gd name="T100" fmla="*/ 117033 w 478"/>
                    <a:gd name="T101" fmla="*/ 35130 h 87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478" h="875">
                      <a:moveTo>
                        <a:pt x="299" y="104"/>
                      </a:moveTo>
                      <a:lnTo>
                        <a:pt x="295" y="106"/>
                      </a:lnTo>
                      <a:lnTo>
                        <a:pt x="287" y="109"/>
                      </a:lnTo>
                      <a:lnTo>
                        <a:pt x="277" y="116"/>
                      </a:lnTo>
                      <a:lnTo>
                        <a:pt x="264" y="126"/>
                      </a:lnTo>
                      <a:lnTo>
                        <a:pt x="250" y="138"/>
                      </a:lnTo>
                      <a:lnTo>
                        <a:pt x="233" y="154"/>
                      </a:lnTo>
                      <a:lnTo>
                        <a:pt x="217" y="173"/>
                      </a:lnTo>
                      <a:lnTo>
                        <a:pt x="199" y="197"/>
                      </a:lnTo>
                      <a:lnTo>
                        <a:pt x="197" y="201"/>
                      </a:lnTo>
                      <a:lnTo>
                        <a:pt x="197" y="207"/>
                      </a:lnTo>
                      <a:lnTo>
                        <a:pt x="198" y="213"/>
                      </a:lnTo>
                      <a:lnTo>
                        <a:pt x="199" y="221"/>
                      </a:lnTo>
                      <a:lnTo>
                        <a:pt x="202" y="229"/>
                      </a:lnTo>
                      <a:lnTo>
                        <a:pt x="206" y="239"/>
                      </a:lnTo>
                      <a:lnTo>
                        <a:pt x="210" y="248"/>
                      </a:lnTo>
                      <a:lnTo>
                        <a:pt x="214" y="256"/>
                      </a:lnTo>
                      <a:lnTo>
                        <a:pt x="221" y="265"/>
                      </a:lnTo>
                      <a:lnTo>
                        <a:pt x="226" y="273"/>
                      </a:lnTo>
                      <a:lnTo>
                        <a:pt x="233" y="281"/>
                      </a:lnTo>
                      <a:lnTo>
                        <a:pt x="240" y="288"/>
                      </a:lnTo>
                      <a:lnTo>
                        <a:pt x="246" y="294"/>
                      </a:lnTo>
                      <a:lnTo>
                        <a:pt x="253" y="298"/>
                      </a:lnTo>
                      <a:lnTo>
                        <a:pt x="259" y="301"/>
                      </a:lnTo>
                      <a:lnTo>
                        <a:pt x="266" y="302"/>
                      </a:lnTo>
                      <a:lnTo>
                        <a:pt x="271" y="314"/>
                      </a:lnTo>
                      <a:lnTo>
                        <a:pt x="279" y="329"/>
                      </a:lnTo>
                      <a:lnTo>
                        <a:pt x="286" y="346"/>
                      </a:lnTo>
                      <a:lnTo>
                        <a:pt x="292" y="357"/>
                      </a:lnTo>
                      <a:lnTo>
                        <a:pt x="295" y="361"/>
                      </a:lnTo>
                      <a:lnTo>
                        <a:pt x="298" y="365"/>
                      </a:lnTo>
                      <a:lnTo>
                        <a:pt x="302" y="367"/>
                      </a:lnTo>
                      <a:lnTo>
                        <a:pt x="305" y="369"/>
                      </a:lnTo>
                      <a:lnTo>
                        <a:pt x="313" y="372"/>
                      </a:lnTo>
                      <a:lnTo>
                        <a:pt x="319" y="376"/>
                      </a:lnTo>
                      <a:lnTo>
                        <a:pt x="438" y="499"/>
                      </a:lnTo>
                      <a:lnTo>
                        <a:pt x="453" y="535"/>
                      </a:lnTo>
                      <a:lnTo>
                        <a:pt x="466" y="571"/>
                      </a:lnTo>
                      <a:lnTo>
                        <a:pt x="471" y="589"/>
                      </a:lnTo>
                      <a:lnTo>
                        <a:pt x="475" y="607"/>
                      </a:lnTo>
                      <a:lnTo>
                        <a:pt x="477" y="627"/>
                      </a:lnTo>
                      <a:lnTo>
                        <a:pt x="478" y="647"/>
                      </a:lnTo>
                      <a:lnTo>
                        <a:pt x="477" y="666"/>
                      </a:lnTo>
                      <a:lnTo>
                        <a:pt x="476" y="680"/>
                      </a:lnTo>
                      <a:lnTo>
                        <a:pt x="476" y="687"/>
                      </a:lnTo>
                      <a:lnTo>
                        <a:pt x="476" y="693"/>
                      </a:lnTo>
                      <a:lnTo>
                        <a:pt x="476" y="700"/>
                      </a:lnTo>
                      <a:lnTo>
                        <a:pt x="478" y="708"/>
                      </a:lnTo>
                      <a:lnTo>
                        <a:pt x="467" y="711"/>
                      </a:lnTo>
                      <a:lnTo>
                        <a:pt x="457" y="714"/>
                      </a:lnTo>
                      <a:lnTo>
                        <a:pt x="447" y="718"/>
                      </a:lnTo>
                      <a:lnTo>
                        <a:pt x="437" y="722"/>
                      </a:lnTo>
                      <a:lnTo>
                        <a:pt x="428" y="727"/>
                      </a:lnTo>
                      <a:lnTo>
                        <a:pt x="420" y="733"/>
                      </a:lnTo>
                      <a:lnTo>
                        <a:pt x="412" y="739"/>
                      </a:lnTo>
                      <a:lnTo>
                        <a:pt x="404" y="744"/>
                      </a:lnTo>
                      <a:lnTo>
                        <a:pt x="391" y="756"/>
                      </a:lnTo>
                      <a:lnTo>
                        <a:pt x="380" y="767"/>
                      </a:lnTo>
                      <a:lnTo>
                        <a:pt x="371" y="778"/>
                      </a:lnTo>
                      <a:lnTo>
                        <a:pt x="365" y="789"/>
                      </a:lnTo>
                      <a:lnTo>
                        <a:pt x="360" y="786"/>
                      </a:lnTo>
                      <a:lnTo>
                        <a:pt x="354" y="785"/>
                      </a:lnTo>
                      <a:lnTo>
                        <a:pt x="348" y="785"/>
                      </a:lnTo>
                      <a:lnTo>
                        <a:pt x="342" y="786"/>
                      </a:lnTo>
                      <a:lnTo>
                        <a:pt x="330" y="788"/>
                      </a:lnTo>
                      <a:lnTo>
                        <a:pt x="319" y="789"/>
                      </a:lnTo>
                      <a:lnTo>
                        <a:pt x="318" y="793"/>
                      </a:lnTo>
                      <a:lnTo>
                        <a:pt x="316" y="798"/>
                      </a:lnTo>
                      <a:lnTo>
                        <a:pt x="313" y="804"/>
                      </a:lnTo>
                      <a:lnTo>
                        <a:pt x="310" y="810"/>
                      </a:lnTo>
                      <a:lnTo>
                        <a:pt x="300" y="824"/>
                      </a:lnTo>
                      <a:lnTo>
                        <a:pt x="289" y="838"/>
                      </a:lnTo>
                      <a:lnTo>
                        <a:pt x="276" y="853"/>
                      </a:lnTo>
                      <a:lnTo>
                        <a:pt x="263" y="864"/>
                      </a:lnTo>
                      <a:lnTo>
                        <a:pt x="256" y="868"/>
                      </a:lnTo>
                      <a:lnTo>
                        <a:pt x="250" y="872"/>
                      </a:lnTo>
                      <a:lnTo>
                        <a:pt x="244" y="874"/>
                      </a:lnTo>
                      <a:lnTo>
                        <a:pt x="239" y="875"/>
                      </a:lnTo>
                      <a:lnTo>
                        <a:pt x="236" y="874"/>
                      </a:lnTo>
                      <a:lnTo>
                        <a:pt x="234" y="872"/>
                      </a:lnTo>
                      <a:lnTo>
                        <a:pt x="232" y="868"/>
                      </a:lnTo>
                      <a:lnTo>
                        <a:pt x="230" y="864"/>
                      </a:lnTo>
                      <a:lnTo>
                        <a:pt x="226" y="854"/>
                      </a:lnTo>
                      <a:lnTo>
                        <a:pt x="225" y="844"/>
                      </a:lnTo>
                      <a:lnTo>
                        <a:pt x="226" y="830"/>
                      </a:lnTo>
                      <a:lnTo>
                        <a:pt x="229" y="816"/>
                      </a:lnTo>
                      <a:lnTo>
                        <a:pt x="231" y="800"/>
                      </a:lnTo>
                      <a:lnTo>
                        <a:pt x="232" y="782"/>
                      </a:lnTo>
                      <a:lnTo>
                        <a:pt x="244" y="779"/>
                      </a:lnTo>
                      <a:lnTo>
                        <a:pt x="253" y="775"/>
                      </a:lnTo>
                      <a:lnTo>
                        <a:pt x="262" y="770"/>
                      </a:lnTo>
                      <a:lnTo>
                        <a:pt x="269" y="765"/>
                      </a:lnTo>
                      <a:lnTo>
                        <a:pt x="277" y="760"/>
                      </a:lnTo>
                      <a:lnTo>
                        <a:pt x="285" y="756"/>
                      </a:lnTo>
                      <a:lnTo>
                        <a:pt x="289" y="754"/>
                      </a:lnTo>
                      <a:lnTo>
                        <a:pt x="295" y="753"/>
                      </a:lnTo>
                      <a:lnTo>
                        <a:pt x="300" y="752"/>
                      </a:lnTo>
                      <a:lnTo>
                        <a:pt x="305" y="752"/>
                      </a:lnTo>
                      <a:lnTo>
                        <a:pt x="305" y="743"/>
                      </a:lnTo>
                      <a:lnTo>
                        <a:pt x="308" y="733"/>
                      </a:lnTo>
                      <a:lnTo>
                        <a:pt x="311" y="723"/>
                      </a:lnTo>
                      <a:lnTo>
                        <a:pt x="314" y="714"/>
                      </a:lnTo>
                      <a:lnTo>
                        <a:pt x="319" y="705"/>
                      </a:lnTo>
                      <a:lnTo>
                        <a:pt x="324" y="695"/>
                      </a:lnTo>
                      <a:lnTo>
                        <a:pt x="330" y="686"/>
                      </a:lnTo>
                      <a:lnTo>
                        <a:pt x="336" y="677"/>
                      </a:lnTo>
                      <a:lnTo>
                        <a:pt x="349" y="659"/>
                      </a:lnTo>
                      <a:lnTo>
                        <a:pt x="365" y="643"/>
                      </a:lnTo>
                      <a:lnTo>
                        <a:pt x="378" y="629"/>
                      </a:lnTo>
                      <a:lnTo>
                        <a:pt x="392" y="616"/>
                      </a:lnTo>
                      <a:lnTo>
                        <a:pt x="371" y="536"/>
                      </a:lnTo>
                      <a:lnTo>
                        <a:pt x="371" y="514"/>
                      </a:lnTo>
                      <a:lnTo>
                        <a:pt x="368" y="493"/>
                      </a:lnTo>
                      <a:lnTo>
                        <a:pt x="364" y="475"/>
                      </a:lnTo>
                      <a:lnTo>
                        <a:pt x="357" y="458"/>
                      </a:lnTo>
                      <a:lnTo>
                        <a:pt x="349" y="442"/>
                      </a:lnTo>
                      <a:lnTo>
                        <a:pt x="341" y="427"/>
                      </a:lnTo>
                      <a:lnTo>
                        <a:pt x="331" y="414"/>
                      </a:lnTo>
                      <a:lnTo>
                        <a:pt x="321" y="402"/>
                      </a:lnTo>
                      <a:lnTo>
                        <a:pt x="297" y="377"/>
                      </a:lnTo>
                      <a:lnTo>
                        <a:pt x="271" y="355"/>
                      </a:lnTo>
                      <a:lnTo>
                        <a:pt x="245" y="332"/>
                      </a:lnTo>
                      <a:lnTo>
                        <a:pt x="219" y="308"/>
                      </a:lnTo>
                      <a:lnTo>
                        <a:pt x="199" y="292"/>
                      </a:lnTo>
                      <a:lnTo>
                        <a:pt x="179" y="273"/>
                      </a:lnTo>
                      <a:lnTo>
                        <a:pt x="161" y="255"/>
                      </a:lnTo>
                      <a:lnTo>
                        <a:pt x="142" y="237"/>
                      </a:lnTo>
                      <a:lnTo>
                        <a:pt x="124" y="217"/>
                      </a:lnTo>
                      <a:lnTo>
                        <a:pt x="108" y="198"/>
                      </a:lnTo>
                      <a:lnTo>
                        <a:pt x="92" y="179"/>
                      </a:lnTo>
                      <a:lnTo>
                        <a:pt x="79" y="160"/>
                      </a:lnTo>
                      <a:lnTo>
                        <a:pt x="72" y="146"/>
                      </a:lnTo>
                      <a:lnTo>
                        <a:pt x="63" y="133"/>
                      </a:lnTo>
                      <a:lnTo>
                        <a:pt x="53" y="118"/>
                      </a:lnTo>
                      <a:lnTo>
                        <a:pt x="42" y="104"/>
                      </a:lnTo>
                      <a:lnTo>
                        <a:pt x="21" y="77"/>
                      </a:lnTo>
                      <a:lnTo>
                        <a:pt x="0" y="49"/>
                      </a:lnTo>
                      <a:lnTo>
                        <a:pt x="46" y="41"/>
                      </a:lnTo>
                      <a:lnTo>
                        <a:pt x="91" y="32"/>
                      </a:lnTo>
                      <a:lnTo>
                        <a:pt x="111" y="26"/>
                      </a:lnTo>
                      <a:lnTo>
                        <a:pt x="129" y="19"/>
                      </a:lnTo>
                      <a:lnTo>
                        <a:pt x="136" y="15"/>
                      </a:lnTo>
                      <a:lnTo>
                        <a:pt x="143" y="11"/>
                      </a:lnTo>
                      <a:lnTo>
                        <a:pt x="148" y="5"/>
                      </a:lnTo>
                      <a:lnTo>
                        <a:pt x="153" y="0"/>
                      </a:lnTo>
                      <a:lnTo>
                        <a:pt x="163" y="9"/>
                      </a:lnTo>
                      <a:lnTo>
                        <a:pt x="175" y="16"/>
                      </a:lnTo>
                      <a:lnTo>
                        <a:pt x="186" y="21"/>
                      </a:lnTo>
                      <a:lnTo>
                        <a:pt x="198" y="26"/>
                      </a:lnTo>
                      <a:lnTo>
                        <a:pt x="221" y="35"/>
                      </a:lnTo>
                      <a:lnTo>
                        <a:pt x="239" y="43"/>
                      </a:lnTo>
                      <a:lnTo>
                        <a:pt x="256" y="55"/>
                      </a:lnTo>
                      <a:lnTo>
                        <a:pt x="269" y="67"/>
                      </a:lnTo>
                      <a:lnTo>
                        <a:pt x="282" y="82"/>
                      </a:lnTo>
                      <a:lnTo>
                        <a:pt x="299" y="104"/>
                      </a:lnTo>
                    </a:path>
                  </a:pathLst>
                </a:custGeom>
                <a:grpFill/>
                <a:ln w="9525" cmpd="sng">
                  <a:solidFill>
                    <a:srgbClr val="FFFFFF"/>
                  </a:solidFill>
                  <a:prstDash val="solid"/>
                  <a:round/>
                  <a:headEnd/>
                  <a:tailEnd/>
                </a:ln>
              </p:spPr>
              <p:txBody>
                <a:bodyPr/>
                <a:lstStyle/>
                <a:p>
                  <a:endParaRPr lang="en-GB" sz="1637"/>
                </a:p>
              </p:txBody>
            </p:sp>
            <p:sp>
              <p:nvSpPr>
                <p:cNvPr id="381" name="Freeform 543"/>
                <p:cNvSpPr>
                  <a:spLocks/>
                </p:cNvSpPr>
                <p:nvPr>
                  <p:custDataLst>
                    <p:tags r:id="rId253"/>
                  </p:custDataLst>
                </p:nvPr>
              </p:nvSpPr>
              <p:spPr bwMode="auto">
                <a:xfrm>
                  <a:off x="6739085" y="3912078"/>
                  <a:ext cx="27728" cy="64475"/>
                </a:xfrm>
                <a:custGeom>
                  <a:avLst/>
                  <a:gdLst>
                    <a:gd name="T0" fmla="*/ 25400 w 59"/>
                    <a:gd name="T1" fmla="*/ 11061 h 31"/>
                    <a:gd name="T2" fmla="*/ 24539 w 59"/>
                    <a:gd name="T3" fmla="*/ 20279 h 31"/>
                    <a:gd name="T4" fmla="*/ 22817 w 59"/>
                    <a:gd name="T5" fmla="*/ 27653 h 31"/>
                    <a:gd name="T6" fmla="*/ 21095 w 59"/>
                    <a:gd name="T7" fmla="*/ 35027 h 31"/>
                    <a:gd name="T8" fmla="*/ 19373 w 59"/>
                    <a:gd name="T9" fmla="*/ 44245 h 31"/>
                    <a:gd name="T10" fmla="*/ 17220 w 59"/>
                    <a:gd name="T11" fmla="*/ 49776 h 31"/>
                    <a:gd name="T12" fmla="*/ 15498 w 59"/>
                    <a:gd name="T13" fmla="*/ 53463 h 31"/>
                    <a:gd name="T14" fmla="*/ 12915 w 59"/>
                    <a:gd name="T15" fmla="*/ 57150 h 31"/>
                    <a:gd name="T16" fmla="*/ 11193 w 59"/>
                    <a:gd name="T17" fmla="*/ 57150 h 31"/>
                    <a:gd name="T18" fmla="*/ 9041 w 59"/>
                    <a:gd name="T19" fmla="*/ 57150 h 31"/>
                    <a:gd name="T20" fmla="*/ 7319 w 59"/>
                    <a:gd name="T21" fmla="*/ 55306 h 31"/>
                    <a:gd name="T22" fmla="*/ 6027 w 59"/>
                    <a:gd name="T23" fmla="*/ 53463 h 31"/>
                    <a:gd name="T24" fmla="*/ 4736 w 59"/>
                    <a:gd name="T25" fmla="*/ 49776 h 31"/>
                    <a:gd name="T26" fmla="*/ 1722 w 59"/>
                    <a:gd name="T27" fmla="*/ 36871 h 31"/>
                    <a:gd name="T28" fmla="*/ 0 w 59"/>
                    <a:gd name="T29" fmla="*/ 22123 h 31"/>
                    <a:gd name="T30" fmla="*/ 431 w 59"/>
                    <a:gd name="T31" fmla="*/ 16592 h 31"/>
                    <a:gd name="T32" fmla="*/ 1292 w 59"/>
                    <a:gd name="T33" fmla="*/ 11061 h 31"/>
                    <a:gd name="T34" fmla="*/ 2153 w 59"/>
                    <a:gd name="T35" fmla="*/ 7374 h 31"/>
                    <a:gd name="T36" fmla="*/ 3444 w 59"/>
                    <a:gd name="T37" fmla="*/ 5531 h 31"/>
                    <a:gd name="T38" fmla="*/ 6888 w 59"/>
                    <a:gd name="T39" fmla="*/ 1844 h 31"/>
                    <a:gd name="T40" fmla="*/ 10332 w 59"/>
                    <a:gd name="T41" fmla="*/ 0 h 31"/>
                    <a:gd name="T42" fmla="*/ 14637 w 59"/>
                    <a:gd name="T43" fmla="*/ 0 h 31"/>
                    <a:gd name="T44" fmla="*/ 18081 w 59"/>
                    <a:gd name="T45" fmla="*/ 3687 h 31"/>
                    <a:gd name="T46" fmla="*/ 21956 w 59"/>
                    <a:gd name="T47" fmla="*/ 7374 h 31"/>
                    <a:gd name="T48" fmla="*/ 25400 w 59"/>
                    <a:gd name="T49" fmla="*/ 11061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grpFill/>
                <a:ln w="9525" cmpd="sng">
                  <a:solidFill>
                    <a:srgbClr val="FFFFFF"/>
                  </a:solidFill>
                  <a:prstDash val="solid"/>
                  <a:round/>
                  <a:headEnd/>
                  <a:tailEnd/>
                </a:ln>
              </p:spPr>
              <p:txBody>
                <a:bodyPr/>
                <a:lstStyle/>
                <a:p>
                  <a:endParaRPr lang="en-GB" sz="1637"/>
                </a:p>
              </p:txBody>
            </p:sp>
          </p:grpSp>
        </p:grpSp>
        <p:grpSp>
          <p:nvGrpSpPr>
            <p:cNvPr id="17" name="Group 208"/>
            <p:cNvGrpSpPr/>
            <p:nvPr/>
          </p:nvGrpSpPr>
          <p:grpSpPr>
            <a:xfrm>
              <a:off x="269875" y="1196975"/>
              <a:ext cx="2627196" cy="1900215"/>
              <a:chOff x="269875" y="1196975"/>
              <a:chExt cx="2627196" cy="1900215"/>
            </a:xfrm>
            <a:grpFill/>
          </p:grpSpPr>
          <p:sp>
            <p:nvSpPr>
              <p:cNvPr id="274" name="Freeform 5"/>
              <p:cNvSpPr>
                <a:spLocks/>
              </p:cNvSpPr>
              <p:nvPr>
                <p:custDataLst>
                  <p:tags r:id="rId189"/>
                </p:custDataLst>
              </p:nvPr>
            </p:nvSpPr>
            <p:spPr bwMode="auto">
              <a:xfrm>
                <a:off x="269875" y="1533676"/>
                <a:ext cx="856092" cy="503262"/>
              </a:xfrm>
              <a:custGeom>
                <a:avLst/>
                <a:gdLst>
                  <a:gd name="T0" fmla="*/ 605085 w 1808"/>
                  <a:gd name="T1" fmla="*/ 423521 h 850"/>
                  <a:gd name="T2" fmla="*/ 604651 w 1808"/>
                  <a:gd name="T3" fmla="*/ 395181 h 850"/>
                  <a:gd name="T4" fmla="*/ 595543 w 1808"/>
                  <a:gd name="T5" fmla="*/ 340076 h 850"/>
                  <a:gd name="T6" fmla="*/ 573855 w 1808"/>
                  <a:gd name="T7" fmla="*/ 336403 h 850"/>
                  <a:gd name="T8" fmla="*/ 548263 w 1808"/>
                  <a:gd name="T9" fmla="*/ 335353 h 850"/>
                  <a:gd name="T10" fmla="*/ 491876 w 1808"/>
                  <a:gd name="T11" fmla="*/ 305439 h 850"/>
                  <a:gd name="T12" fmla="*/ 422041 w 1808"/>
                  <a:gd name="T13" fmla="*/ 281823 h 850"/>
                  <a:gd name="T14" fmla="*/ 409029 w 1808"/>
                  <a:gd name="T15" fmla="*/ 264504 h 850"/>
                  <a:gd name="T16" fmla="*/ 390811 w 1808"/>
                  <a:gd name="T17" fmla="*/ 270802 h 850"/>
                  <a:gd name="T18" fmla="*/ 368256 w 1808"/>
                  <a:gd name="T19" fmla="*/ 299141 h 850"/>
                  <a:gd name="T20" fmla="*/ 292783 w 1808"/>
                  <a:gd name="T21" fmla="*/ 324857 h 850"/>
                  <a:gd name="T22" fmla="*/ 294084 w 1808"/>
                  <a:gd name="T23" fmla="*/ 303340 h 850"/>
                  <a:gd name="T24" fmla="*/ 312736 w 1808"/>
                  <a:gd name="T25" fmla="*/ 287596 h 850"/>
                  <a:gd name="T26" fmla="*/ 340930 w 1808"/>
                  <a:gd name="T27" fmla="*/ 286021 h 850"/>
                  <a:gd name="T28" fmla="*/ 314037 w 1808"/>
                  <a:gd name="T29" fmla="*/ 277099 h 850"/>
                  <a:gd name="T30" fmla="*/ 250709 w 1808"/>
                  <a:gd name="T31" fmla="*/ 309113 h 850"/>
                  <a:gd name="T32" fmla="*/ 237263 w 1808"/>
                  <a:gd name="T33" fmla="*/ 328006 h 850"/>
                  <a:gd name="T34" fmla="*/ 228154 w 1808"/>
                  <a:gd name="T35" fmla="*/ 341126 h 850"/>
                  <a:gd name="T36" fmla="*/ 196056 w 1808"/>
                  <a:gd name="T37" fmla="*/ 343225 h 850"/>
                  <a:gd name="T38" fmla="*/ 166127 w 1808"/>
                  <a:gd name="T39" fmla="*/ 368416 h 850"/>
                  <a:gd name="T40" fmla="*/ 109306 w 1808"/>
                  <a:gd name="T41" fmla="*/ 393607 h 850"/>
                  <a:gd name="T42" fmla="*/ 45544 w 1808"/>
                  <a:gd name="T43" fmla="*/ 423521 h 850"/>
                  <a:gd name="T44" fmla="*/ 1735 w 1808"/>
                  <a:gd name="T45" fmla="*/ 426670 h 850"/>
                  <a:gd name="T46" fmla="*/ 6073 w 1808"/>
                  <a:gd name="T47" fmla="*/ 414075 h 850"/>
                  <a:gd name="T48" fmla="*/ 55087 w 1808"/>
                  <a:gd name="T49" fmla="*/ 399380 h 850"/>
                  <a:gd name="T50" fmla="*/ 114944 w 1808"/>
                  <a:gd name="T51" fmla="*/ 365267 h 850"/>
                  <a:gd name="T52" fmla="*/ 130126 w 1808"/>
                  <a:gd name="T53" fmla="*/ 328531 h 850"/>
                  <a:gd name="T54" fmla="*/ 109739 w 1808"/>
                  <a:gd name="T55" fmla="*/ 344800 h 850"/>
                  <a:gd name="T56" fmla="*/ 65063 w 1808"/>
                  <a:gd name="T57" fmla="*/ 337452 h 850"/>
                  <a:gd name="T58" fmla="*/ 74605 w 1808"/>
                  <a:gd name="T59" fmla="*/ 320134 h 850"/>
                  <a:gd name="T60" fmla="*/ 104101 w 1808"/>
                  <a:gd name="T61" fmla="*/ 287071 h 850"/>
                  <a:gd name="T62" fmla="*/ 65930 w 1808"/>
                  <a:gd name="T63" fmla="*/ 301765 h 850"/>
                  <a:gd name="T64" fmla="*/ 62027 w 1808"/>
                  <a:gd name="T65" fmla="*/ 281298 h 850"/>
                  <a:gd name="T66" fmla="*/ 150078 w 1808"/>
                  <a:gd name="T67" fmla="*/ 199428 h 850"/>
                  <a:gd name="T68" fmla="*/ 192586 w 1808"/>
                  <a:gd name="T69" fmla="*/ 200477 h 850"/>
                  <a:gd name="T70" fmla="*/ 246805 w 1808"/>
                  <a:gd name="T71" fmla="*/ 183158 h 850"/>
                  <a:gd name="T72" fmla="*/ 256782 w 1808"/>
                  <a:gd name="T73" fmla="*/ 160592 h 850"/>
                  <a:gd name="T74" fmla="*/ 219479 w 1808"/>
                  <a:gd name="T75" fmla="*/ 173712 h 850"/>
                  <a:gd name="T76" fmla="*/ 189984 w 1808"/>
                  <a:gd name="T77" fmla="*/ 166889 h 850"/>
                  <a:gd name="T78" fmla="*/ 204731 w 1808"/>
                  <a:gd name="T79" fmla="*/ 150620 h 850"/>
                  <a:gd name="T80" fmla="*/ 308398 w 1808"/>
                  <a:gd name="T81" fmla="*/ 124905 h 850"/>
                  <a:gd name="T82" fmla="*/ 324881 w 1808"/>
                  <a:gd name="T83" fmla="*/ 110210 h 850"/>
                  <a:gd name="T84" fmla="*/ 296687 w 1808"/>
                  <a:gd name="T85" fmla="*/ 92366 h 850"/>
                  <a:gd name="T86" fmla="*/ 320543 w 1808"/>
                  <a:gd name="T87" fmla="*/ 57204 h 850"/>
                  <a:gd name="T88" fmla="*/ 428548 w 1808"/>
                  <a:gd name="T89" fmla="*/ 14170 h 850"/>
                  <a:gd name="T90" fmla="*/ 501852 w 1808"/>
                  <a:gd name="T91" fmla="*/ 4723 h 850"/>
                  <a:gd name="T92" fmla="*/ 553902 w 1808"/>
                  <a:gd name="T93" fmla="*/ 1050 h 850"/>
                  <a:gd name="T94" fmla="*/ 587301 w 1808"/>
                  <a:gd name="T95" fmla="*/ 5248 h 850"/>
                  <a:gd name="T96" fmla="*/ 657569 w 1808"/>
                  <a:gd name="T97" fmla="*/ 17844 h 850"/>
                  <a:gd name="T98" fmla="*/ 763839 w 1808"/>
                  <a:gd name="T99" fmla="*/ 21517 h 850"/>
                  <a:gd name="T100" fmla="*/ 558240 w 1808"/>
                  <a:gd name="T101" fmla="*/ 283397 h 850"/>
                  <a:gd name="T102" fmla="*/ 572987 w 1808"/>
                  <a:gd name="T103" fmla="*/ 299666 h 850"/>
                  <a:gd name="T104" fmla="*/ 575590 w 1808"/>
                  <a:gd name="T105" fmla="*/ 315410 h 850"/>
                  <a:gd name="T106" fmla="*/ 599446 w 1808"/>
                  <a:gd name="T107" fmla="*/ 314361 h 850"/>
                  <a:gd name="T108" fmla="*/ 619833 w 1808"/>
                  <a:gd name="T109" fmla="*/ 302815 h 850"/>
                  <a:gd name="T110" fmla="*/ 639785 w 1808"/>
                  <a:gd name="T111" fmla="*/ 350048 h 850"/>
                  <a:gd name="T112" fmla="*/ 634147 w 1808"/>
                  <a:gd name="T113" fmla="*/ 370515 h 850"/>
                  <a:gd name="T114" fmla="*/ 628508 w 1808"/>
                  <a:gd name="T115" fmla="*/ 389409 h 850"/>
                  <a:gd name="T116" fmla="*/ 640653 w 1808"/>
                  <a:gd name="T117" fmla="*/ 410926 h 850"/>
                  <a:gd name="T118" fmla="*/ 640653 w 1808"/>
                  <a:gd name="T119" fmla="*/ 425620 h 850"/>
                  <a:gd name="T120" fmla="*/ 618531 w 1808"/>
                  <a:gd name="T121" fmla="*/ 445038 h 85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808" h="850">
                    <a:moveTo>
                      <a:pt x="1410" y="842"/>
                    </a:moveTo>
                    <a:lnTo>
                      <a:pt x="1405" y="841"/>
                    </a:lnTo>
                    <a:lnTo>
                      <a:pt x="1403" y="838"/>
                    </a:lnTo>
                    <a:lnTo>
                      <a:pt x="1401" y="834"/>
                    </a:lnTo>
                    <a:lnTo>
                      <a:pt x="1399" y="830"/>
                    </a:lnTo>
                    <a:lnTo>
                      <a:pt x="1396" y="819"/>
                    </a:lnTo>
                    <a:lnTo>
                      <a:pt x="1395" y="807"/>
                    </a:lnTo>
                    <a:lnTo>
                      <a:pt x="1396" y="795"/>
                    </a:lnTo>
                    <a:lnTo>
                      <a:pt x="1398" y="784"/>
                    </a:lnTo>
                    <a:lnTo>
                      <a:pt x="1400" y="775"/>
                    </a:lnTo>
                    <a:lnTo>
                      <a:pt x="1402" y="769"/>
                    </a:lnTo>
                    <a:lnTo>
                      <a:pt x="1399" y="764"/>
                    </a:lnTo>
                    <a:lnTo>
                      <a:pt x="1396" y="760"/>
                    </a:lnTo>
                    <a:lnTo>
                      <a:pt x="1394" y="753"/>
                    </a:lnTo>
                    <a:lnTo>
                      <a:pt x="1392" y="746"/>
                    </a:lnTo>
                    <a:lnTo>
                      <a:pt x="1390" y="729"/>
                    </a:lnTo>
                    <a:lnTo>
                      <a:pt x="1389" y="708"/>
                    </a:lnTo>
                    <a:lnTo>
                      <a:pt x="1389" y="670"/>
                    </a:lnTo>
                    <a:lnTo>
                      <a:pt x="1389" y="645"/>
                    </a:lnTo>
                    <a:lnTo>
                      <a:pt x="1382" y="647"/>
                    </a:lnTo>
                    <a:lnTo>
                      <a:pt x="1373" y="648"/>
                    </a:lnTo>
                    <a:lnTo>
                      <a:pt x="1362" y="648"/>
                    </a:lnTo>
                    <a:lnTo>
                      <a:pt x="1351" y="648"/>
                    </a:lnTo>
                    <a:lnTo>
                      <a:pt x="1340" y="647"/>
                    </a:lnTo>
                    <a:lnTo>
                      <a:pt x="1332" y="645"/>
                    </a:lnTo>
                    <a:lnTo>
                      <a:pt x="1327" y="644"/>
                    </a:lnTo>
                    <a:lnTo>
                      <a:pt x="1325" y="642"/>
                    </a:lnTo>
                    <a:lnTo>
                      <a:pt x="1323" y="641"/>
                    </a:lnTo>
                    <a:lnTo>
                      <a:pt x="1323" y="638"/>
                    </a:lnTo>
                    <a:lnTo>
                      <a:pt x="1290" y="682"/>
                    </a:lnTo>
                    <a:lnTo>
                      <a:pt x="1284" y="668"/>
                    </a:lnTo>
                    <a:lnTo>
                      <a:pt x="1279" y="659"/>
                    </a:lnTo>
                    <a:lnTo>
                      <a:pt x="1273" y="650"/>
                    </a:lnTo>
                    <a:lnTo>
                      <a:pt x="1268" y="645"/>
                    </a:lnTo>
                    <a:lnTo>
                      <a:pt x="1264" y="639"/>
                    </a:lnTo>
                    <a:lnTo>
                      <a:pt x="1259" y="631"/>
                    </a:lnTo>
                    <a:lnTo>
                      <a:pt x="1257" y="622"/>
                    </a:lnTo>
                    <a:lnTo>
                      <a:pt x="1256" y="608"/>
                    </a:lnTo>
                    <a:lnTo>
                      <a:pt x="1226" y="602"/>
                    </a:lnTo>
                    <a:lnTo>
                      <a:pt x="1195" y="595"/>
                    </a:lnTo>
                    <a:lnTo>
                      <a:pt x="1165" y="588"/>
                    </a:lnTo>
                    <a:lnTo>
                      <a:pt x="1134" y="582"/>
                    </a:lnTo>
                    <a:lnTo>
                      <a:pt x="1104" y="576"/>
                    </a:lnTo>
                    <a:lnTo>
                      <a:pt x="1074" y="569"/>
                    </a:lnTo>
                    <a:lnTo>
                      <a:pt x="1045" y="561"/>
                    </a:lnTo>
                    <a:lnTo>
                      <a:pt x="1018" y="553"/>
                    </a:lnTo>
                    <a:lnTo>
                      <a:pt x="984" y="553"/>
                    </a:lnTo>
                    <a:lnTo>
                      <a:pt x="977" y="546"/>
                    </a:lnTo>
                    <a:lnTo>
                      <a:pt x="973" y="537"/>
                    </a:lnTo>
                    <a:lnTo>
                      <a:pt x="969" y="528"/>
                    </a:lnTo>
                    <a:lnTo>
                      <a:pt x="966" y="521"/>
                    </a:lnTo>
                    <a:lnTo>
                      <a:pt x="962" y="514"/>
                    </a:lnTo>
                    <a:lnTo>
                      <a:pt x="956" y="508"/>
                    </a:lnTo>
                    <a:lnTo>
                      <a:pt x="952" y="506"/>
                    </a:lnTo>
                    <a:lnTo>
                      <a:pt x="948" y="505"/>
                    </a:lnTo>
                    <a:lnTo>
                      <a:pt x="943" y="504"/>
                    </a:lnTo>
                    <a:lnTo>
                      <a:pt x="937" y="503"/>
                    </a:lnTo>
                    <a:lnTo>
                      <a:pt x="929" y="504"/>
                    </a:lnTo>
                    <a:lnTo>
                      <a:pt x="922" y="505"/>
                    </a:lnTo>
                    <a:lnTo>
                      <a:pt x="916" y="507"/>
                    </a:lnTo>
                    <a:lnTo>
                      <a:pt x="910" y="509"/>
                    </a:lnTo>
                    <a:lnTo>
                      <a:pt x="906" y="512"/>
                    </a:lnTo>
                    <a:lnTo>
                      <a:pt x="901" y="516"/>
                    </a:lnTo>
                    <a:lnTo>
                      <a:pt x="898" y="519"/>
                    </a:lnTo>
                    <a:lnTo>
                      <a:pt x="895" y="523"/>
                    </a:lnTo>
                    <a:lnTo>
                      <a:pt x="886" y="539"/>
                    </a:lnTo>
                    <a:lnTo>
                      <a:pt x="877" y="553"/>
                    </a:lnTo>
                    <a:lnTo>
                      <a:pt x="870" y="559"/>
                    </a:lnTo>
                    <a:lnTo>
                      <a:pt x="861" y="564"/>
                    </a:lnTo>
                    <a:lnTo>
                      <a:pt x="849" y="570"/>
                    </a:lnTo>
                    <a:lnTo>
                      <a:pt x="835" y="576"/>
                    </a:lnTo>
                    <a:lnTo>
                      <a:pt x="806" y="587"/>
                    </a:lnTo>
                    <a:lnTo>
                      <a:pt x="772" y="597"/>
                    </a:lnTo>
                    <a:lnTo>
                      <a:pt x="738" y="607"/>
                    </a:lnTo>
                    <a:lnTo>
                      <a:pt x="705" y="614"/>
                    </a:lnTo>
                    <a:lnTo>
                      <a:pt x="689" y="617"/>
                    </a:lnTo>
                    <a:lnTo>
                      <a:pt x="675" y="619"/>
                    </a:lnTo>
                    <a:lnTo>
                      <a:pt x="663" y="620"/>
                    </a:lnTo>
                    <a:lnTo>
                      <a:pt x="652" y="620"/>
                    </a:lnTo>
                    <a:lnTo>
                      <a:pt x="656" y="614"/>
                    </a:lnTo>
                    <a:lnTo>
                      <a:pt x="667" y="597"/>
                    </a:lnTo>
                    <a:lnTo>
                      <a:pt x="673" y="589"/>
                    </a:lnTo>
                    <a:lnTo>
                      <a:pt x="677" y="581"/>
                    </a:lnTo>
                    <a:lnTo>
                      <a:pt x="678" y="578"/>
                    </a:lnTo>
                    <a:lnTo>
                      <a:pt x="679" y="575"/>
                    </a:lnTo>
                    <a:lnTo>
                      <a:pt x="679" y="572"/>
                    </a:lnTo>
                    <a:lnTo>
                      <a:pt x="678" y="571"/>
                    </a:lnTo>
                    <a:lnTo>
                      <a:pt x="689" y="562"/>
                    </a:lnTo>
                    <a:lnTo>
                      <a:pt x="700" y="555"/>
                    </a:lnTo>
                    <a:lnTo>
                      <a:pt x="711" y="551"/>
                    </a:lnTo>
                    <a:lnTo>
                      <a:pt x="721" y="548"/>
                    </a:lnTo>
                    <a:lnTo>
                      <a:pt x="732" y="546"/>
                    </a:lnTo>
                    <a:lnTo>
                      <a:pt x="742" y="546"/>
                    </a:lnTo>
                    <a:lnTo>
                      <a:pt x="751" y="546"/>
                    </a:lnTo>
                    <a:lnTo>
                      <a:pt x="761" y="546"/>
                    </a:lnTo>
                    <a:lnTo>
                      <a:pt x="769" y="546"/>
                    </a:lnTo>
                    <a:lnTo>
                      <a:pt x="778" y="546"/>
                    </a:lnTo>
                    <a:lnTo>
                      <a:pt x="786" y="545"/>
                    </a:lnTo>
                    <a:lnTo>
                      <a:pt x="794" y="543"/>
                    </a:lnTo>
                    <a:lnTo>
                      <a:pt x="800" y="538"/>
                    </a:lnTo>
                    <a:lnTo>
                      <a:pt x="807" y="533"/>
                    </a:lnTo>
                    <a:lnTo>
                      <a:pt x="812" y="525"/>
                    </a:lnTo>
                    <a:lnTo>
                      <a:pt x="818" y="515"/>
                    </a:lnTo>
                    <a:lnTo>
                      <a:pt x="744" y="515"/>
                    </a:lnTo>
                    <a:lnTo>
                      <a:pt x="724" y="528"/>
                    </a:lnTo>
                    <a:lnTo>
                      <a:pt x="705" y="540"/>
                    </a:lnTo>
                    <a:lnTo>
                      <a:pt x="685" y="551"/>
                    </a:lnTo>
                    <a:lnTo>
                      <a:pt x="664" y="560"/>
                    </a:lnTo>
                    <a:lnTo>
                      <a:pt x="643" y="568"/>
                    </a:lnTo>
                    <a:lnTo>
                      <a:pt x="622" y="575"/>
                    </a:lnTo>
                    <a:lnTo>
                      <a:pt x="600" y="582"/>
                    </a:lnTo>
                    <a:lnTo>
                      <a:pt x="578" y="589"/>
                    </a:lnTo>
                    <a:lnTo>
                      <a:pt x="573" y="592"/>
                    </a:lnTo>
                    <a:lnTo>
                      <a:pt x="567" y="594"/>
                    </a:lnTo>
                    <a:lnTo>
                      <a:pt x="564" y="599"/>
                    </a:lnTo>
                    <a:lnTo>
                      <a:pt x="560" y="602"/>
                    </a:lnTo>
                    <a:lnTo>
                      <a:pt x="554" y="609"/>
                    </a:lnTo>
                    <a:lnTo>
                      <a:pt x="550" y="617"/>
                    </a:lnTo>
                    <a:lnTo>
                      <a:pt x="547" y="625"/>
                    </a:lnTo>
                    <a:lnTo>
                      <a:pt x="543" y="633"/>
                    </a:lnTo>
                    <a:lnTo>
                      <a:pt x="541" y="636"/>
                    </a:lnTo>
                    <a:lnTo>
                      <a:pt x="539" y="639"/>
                    </a:lnTo>
                    <a:lnTo>
                      <a:pt x="536" y="642"/>
                    </a:lnTo>
                    <a:lnTo>
                      <a:pt x="532" y="645"/>
                    </a:lnTo>
                    <a:lnTo>
                      <a:pt x="529" y="648"/>
                    </a:lnTo>
                    <a:lnTo>
                      <a:pt x="526" y="650"/>
                    </a:lnTo>
                    <a:lnTo>
                      <a:pt x="521" y="652"/>
                    </a:lnTo>
                    <a:lnTo>
                      <a:pt x="517" y="654"/>
                    </a:lnTo>
                    <a:lnTo>
                      <a:pt x="507" y="655"/>
                    </a:lnTo>
                    <a:lnTo>
                      <a:pt x="496" y="655"/>
                    </a:lnTo>
                    <a:lnTo>
                      <a:pt x="474" y="652"/>
                    </a:lnTo>
                    <a:lnTo>
                      <a:pt x="459" y="651"/>
                    </a:lnTo>
                    <a:lnTo>
                      <a:pt x="452" y="654"/>
                    </a:lnTo>
                    <a:lnTo>
                      <a:pt x="444" y="657"/>
                    </a:lnTo>
                    <a:lnTo>
                      <a:pt x="438" y="661"/>
                    </a:lnTo>
                    <a:lnTo>
                      <a:pt x="430" y="665"/>
                    </a:lnTo>
                    <a:lnTo>
                      <a:pt x="417" y="674"/>
                    </a:lnTo>
                    <a:lnTo>
                      <a:pt x="405" y="684"/>
                    </a:lnTo>
                    <a:lnTo>
                      <a:pt x="394" y="694"/>
                    </a:lnTo>
                    <a:lnTo>
                      <a:pt x="383" y="702"/>
                    </a:lnTo>
                    <a:lnTo>
                      <a:pt x="374" y="708"/>
                    </a:lnTo>
                    <a:lnTo>
                      <a:pt x="367" y="713"/>
                    </a:lnTo>
                    <a:lnTo>
                      <a:pt x="335" y="722"/>
                    </a:lnTo>
                    <a:lnTo>
                      <a:pt x="309" y="729"/>
                    </a:lnTo>
                    <a:lnTo>
                      <a:pt x="287" y="737"/>
                    </a:lnTo>
                    <a:lnTo>
                      <a:pt x="270" y="743"/>
                    </a:lnTo>
                    <a:lnTo>
                      <a:pt x="252" y="750"/>
                    </a:lnTo>
                    <a:lnTo>
                      <a:pt x="235" y="757"/>
                    </a:lnTo>
                    <a:lnTo>
                      <a:pt x="216" y="766"/>
                    </a:lnTo>
                    <a:lnTo>
                      <a:pt x="193" y="775"/>
                    </a:lnTo>
                    <a:lnTo>
                      <a:pt x="168" y="786"/>
                    </a:lnTo>
                    <a:lnTo>
                      <a:pt x="145" y="795"/>
                    </a:lnTo>
                    <a:lnTo>
                      <a:pt x="124" y="802"/>
                    </a:lnTo>
                    <a:lnTo>
                      <a:pt x="105" y="807"/>
                    </a:lnTo>
                    <a:lnTo>
                      <a:pt x="87" y="812"/>
                    </a:lnTo>
                    <a:lnTo>
                      <a:pt x="68" y="818"/>
                    </a:lnTo>
                    <a:lnTo>
                      <a:pt x="48" y="826"/>
                    </a:lnTo>
                    <a:lnTo>
                      <a:pt x="27" y="836"/>
                    </a:lnTo>
                    <a:lnTo>
                      <a:pt x="1" y="824"/>
                    </a:lnTo>
                    <a:lnTo>
                      <a:pt x="4" y="817"/>
                    </a:lnTo>
                    <a:lnTo>
                      <a:pt x="4" y="813"/>
                    </a:lnTo>
                    <a:lnTo>
                      <a:pt x="3" y="810"/>
                    </a:lnTo>
                    <a:lnTo>
                      <a:pt x="2" y="808"/>
                    </a:lnTo>
                    <a:lnTo>
                      <a:pt x="0" y="806"/>
                    </a:lnTo>
                    <a:lnTo>
                      <a:pt x="0" y="803"/>
                    </a:lnTo>
                    <a:lnTo>
                      <a:pt x="2" y="799"/>
                    </a:lnTo>
                    <a:lnTo>
                      <a:pt x="7" y="793"/>
                    </a:lnTo>
                    <a:lnTo>
                      <a:pt x="14" y="789"/>
                    </a:lnTo>
                    <a:lnTo>
                      <a:pt x="21" y="785"/>
                    </a:lnTo>
                    <a:lnTo>
                      <a:pt x="28" y="782"/>
                    </a:lnTo>
                    <a:lnTo>
                      <a:pt x="36" y="779"/>
                    </a:lnTo>
                    <a:lnTo>
                      <a:pt x="52" y="774"/>
                    </a:lnTo>
                    <a:lnTo>
                      <a:pt x="70" y="771"/>
                    </a:lnTo>
                    <a:lnTo>
                      <a:pt x="102" y="766"/>
                    </a:lnTo>
                    <a:lnTo>
                      <a:pt x="127" y="761"/>
                    </a:lnTo>
                    <a:lnTo>
                      <a:pt x="143" y="757"/>
                    </a:lnTo>
                    <a:lnTo>
                      <a:pt x="158" y="751"/>
                    </a:lnTo>
                    <a:lnTo>
                      <a:pt x="173" y="746"/>
                    </a:lnTo>
                    <a:lnTo>
                      <a:pt x="188" y="739"/>
                    </a:lnTo>
                    <a:lnTo>
                      <a:pt x="215" y="726"/>
                    </a:lnTo>
                    <a:lnTo>
                      <a:pt x="240" y="712"/>
                    </a:lnTo>
                    <a:lnTo>
                      <a:pt x="265" y="696"/>
                    </a:lnTo>
                    <a:lnTo>
                      <a:pt x="291" y="681"/>
                    </a:lnTo>
                    <a:lnTo>
                      <a:pt x="315" y="666"/>
                    </a:lnTo>
                    <a:lnTo>
                      <a:pt x="339" y="651"/>
                    </a:lnTo>
                    <a:lnTo>
                      <a:pt x="327" y="643"/>
                    </a:lnTo>
                    <a:lnTo>
                      <a:pt x="317" y="636"/>
                    </a:lnTo>
                    <a:lnTo>
                      <a:pt x="308" y="631"/>
                    </a:lnTo>
                    <a:lnTo>
                      <a:pt x="300" y="626"/>
                    </a:lnTo>
                    <a:lnTo>
                      <a:pt x="292" y="629"/>
                    </a:lnTo>
                    <a:lnTo>
                      <a:pt x="285" y="634"/>
                    </a:lnTo>
                    <a:lnTo>
                      <a:pt x="280" y="639"/>
                    </a:lnTo>
                    <a:lnTo>
                      <a:pt x="273" y="644"/>
                    </a:lnTo>
                    <a:lnTo>
                      <a:pt x="267" y="649"/>
                    </a:lnTo>
                    <a:lnTo>
                      <a:pt x="260" y="654"/>
                    </a:lnTo>
                    <a:lnTo>
                      <a:pt x="253" y="657"/>
                    </a:lnTo>
                    <a:lnTo>
                      <a:pt x="247" y="658"/>
                    </a:lnTo>
                    <a:lnTo>
                      <a:pt x="225" y="657"/>
                    </a:lnTo>
                    <a:lnTo>
                      <a:pt x="192" y="652"/>
                    </a:lnTo>
                    <a:lnTo>
                      <a:pt x="174" y="650"/>
                    </a:lnTo>
                    <a:lnTo>
                      <a:pt x="160" y="646"/>
                    </a:lnTo>
                    <a:lnTo>
                      <a:pt x="155" y="645"/>
                    </a:lnTo>
                    <a:lnTo>
                      <a:pt x="150" y="643"/>
                    </a:lnTo>
                    <a:lnTo>
                      <a:pt x="148" y="641"/>
                    </a:lnTo>
                    <a:lnTo>
                      <a:pt x="147" y="638"/>
                    </a:lnTo>
                    <a:lnTo>
                      <a:pt x="148" y="635"/>
                    </a:lnTo>
                    <a:lnTo>
                      <a:pt x="150" y="631"/>
                    </a:lnTo>
                    <a:lnTo>
                      <a:pt x="155" y="626"/>
                    </a:lnTo>
                    <a:lnTo>
                      <a:pt x="159" y="621"/>
                    </a:lnTo>
                    <a:lnTo>
                      <a:pt x="172" y="610"/>
                    </a:lnTo>
                    <a:lnTo>
                      <a:pt x="189" y="597"/>
                    </a:lnTo>
                    <a:lnTo>
                      <a:pt x="204" y="584"/>
                    </a:lnTo>
                    <a:lnTo>
                      <a:pt x="219" y="571"/>
                    </a:lnTo>
                    <a:lnTo>
                      <a:pt x="226" y="565"/>
                    </a:lnTo>
                    <a:lnTo>
                      <a:pt x="231" y="559"/>
                    </a:lnTo>
                    <a:lnTo>
                      <a:pt x="237" y="553"/>
                    </a:lnTo>
                    <a:lnTo>
                      <a:pt x="240" y="547"/>
                    </a:lnTo>
                    <a:lnTo>
                      <a:pt x="223" y="550"/>
                    </a:lnTo>
                    <a:lnTo>
                      <a:pt x="207" y="556"/>
                    </a:lnTo>
                    <a:lnTo>
                      <a:pt x="191" y="562"/>
                    </a:lnTo>
                    <a:lnTo>
                      <a:pt x="175" y="568"/>
                    </a:lnTo>
                    <a:lnTo>
                      <a:pt x="168" y="571"/>
                    </a:lnTo>
                    <a:lnTo>
                      <a:pt x="160" y="573"/>
                    </a:lnTo>
                    <a:lnTo>
                      <a:pt x="152" y="575"/>
                    </a:lnTo>
                    <a:lnTo>
                      <a:pt x="144" y="576"/>
                    </a:lnTo>
                    <a:lnTo>
                      <a:pt x="135" y="576"/>
                    </a:lnTo>
                    <a:lnTo>
                      <a:pt x="126" y="575"/>
                    </a:lnTo>
                    <a:lnTo>
                      <a:pt x="116" y="574"/>
                    </a:lnTo>
                    <a:lnTo>
                      <a:pt x="107" y="571"/>
                    </a:lnTo>
                    <a:lnTo>
                      <a:pt x="107" y="565"/>
                    </a:lnTo>
                    <a:lnTo>
                      <a:pt x="143" y="536"/>
                    </a:lnTo>
                    <a:lnTo>
                      <a:pt x="182" y="508"/>
                    </a:lnTo>
                    <a:lnTo>
                      <a:pt x="223" y="476"/>
                    </a:lnTo>
                    <a:lnTo>
                      <a:pt x="267" y="442"/>
                    </a:lnTo>
                    <a:lnTo>
                      <a:pt x="286" y="426"/>
                    </a:lnTo>
                    <a:lnTo>
                      <a:pt x="306" y="411"/>
                    </a:lnTo>
                    <a:lnTo>
                      <a:pt x="326" y="395"/>
                    </a:lnTo>
                    <a:lnTo>
                      <a:pt x="346" y="380"/>
                    </a:lnTo>
                    <a:lnTo>
                      <a:pt x="386" y="411"/>
                    </a:lnTo>
                    <a:lnTo>
                      <a:pt x="393" y="405"/>
                    </a:lnTo>
                    <a:lnTo>
                      <a:pt x="399" y="400"/>
                    </a:lnTo>
                    <a:lnTo>
                      <a:pt x="406" y="396"/>
                    </a:lnTo>
                    <a:lnTo>
                      <a:pt x="414" y="393"/>
                    </a:lnTo>
                    <a:lnTo>
                      <a:pt x="428" y="386"/>
                    </a:lnTo>
                    <a:lnTo>
                      <a:pt x="444" y="382"/>
                    </a:lnTo>
                    <a:lnTo>
                      <a:pt x="476" y="374"/>
                    </a:lnTo>
                    <a:lnTo>
                      <a:pt x="509" y="370"/>
                    </a:lnTo>
                    <a:lnTo>
                      <a:pt x="524" y="367"/>
                    </a:lnTo>
                    <a:lnTo>
                      <a:pt x="539" y="363"/>
                    </a:lnTo>
                    <a:lnTo>
                      <a:pt x="552" y="359"/>
                    </a:lnTo>
                    <a:lnTo>
                      <a:pt x="563" y="353"/>
                    </a:lnTo>
                    <a:lnTo>
                      <a:pt x="569" y="349"/>
                    </a:lnTo>
                    <a:lnTo>
                      <a:pt x="574" y="345"/>
                    </a:lnTo>
                    <a:lnTo>
                      <a:pt x="578" y="340"/>
                    </a:lnTo>
                    <a:lnTo>
                      <a:pt x="582" y="335"/>
                    </a:lnTo>
                    <a:lnTo>
                      <a:pt x="585" y="329"/>
                    </a:lnTo>
                    <a:lnTo>
                      <a:pt x="588" y="322"/>
                    </a:lnTo>
                    <a:lnTo>
                      <a:pt x="590" y="314"/>
                    </a:lnTo>
                    <a:lnTo>
                      <a:pt x="592" y="306"/>
                    </a:lnTo>
                    <a:lnTo>
                      <a:pt x="559" y="306"/>
                    </a:lnTo>
                    <a:lnTo>
                      <a:pt x="548" y="312"/>
                    </a:lnTo>
                    <a:lnTo>
                      <a:pt x="535" y="321"/>
                    </a:lnTo>
                    <a:lnTo>
                      <a:pt x="528" y="325"/>
                    </a:lnTo>
                    <a:lnTo>
                      <a:pt x="520" y="328"/>
                    </a:lnTo>
                    <a:lnTo>
                      <a:pt x="513" y="330"/>
                    </a:lnTo>
                    <a:lnTo>
                      <a:pt x="506" y="331"/>
                    </a:lnTo>
                    <a:lnTo>
                      <a:pt x="495" y="330"/>
                    </a:lnTo>
                    <a:lnTo>
                      <a:pt x="485" y="327"/>
                    </a:lnTo>
                    <a:lnTo>
                      <a:pt x="474" y="324"/>
                    </a:lnTo>
                    <a:lnTo>
                      <a:pt x="463" y="321"/>
                    </a:lnTo>
                    <a:lnTo>
                      <a:pt x="453" y="318"/>
                    </a:lnTo>
                    <a:lnTo>
                      <a:pt x="443" y="317"/>
                    </a:lnTo>
                    <a:lnTo>
                      <a:pt x="438" y="318"/>
                    </a:lnTo>
                    <a:lnTo>
                      <a:pt x="433" y="319"/>
                    </a:lnTo>
                    <a:lnTo>
                      <a:pt x="430" y="322"/>
                    </a:lnTo>
                    <a:lnTo>
                      <a:pt x="426" y="325"/>
                    </a:lnTo>
                    <a:lnTo>
                      <a:pt x="432" y="316"/>
                    </a:lnTo>
                    <a:lnTo>
                      <a:pt x="443" y="307"/>
                    </a:lnTo>
                    <a:lnTo>
                      <a:pt x="457" y="297"/>
                    </a:lnTo>
                    <a:lnTo>
                      <a:pt x="472" y="287"/>
                    </a:lnTo>
                    <a:lnTo>
                      <a:pt x="506" y="265"/>
                    </a:lnTo>
                    <a:lnTo>
                      <a:pt x="539" y="244"/>
                    </a:lnTo>
                    <a:lnTo>
                      <a:pt x="698" y="250"/>
                    </a:lnTo>
                    <a:lnTo>
                      <a:pt x="701" y="246"/>
                    </a:lnTo>
                    <a:lnTo>
                      <a:pt x="704" y="243"/>
                    </a:lnTo>
                    <a:lnTo>
                      <a:pt x="708" y="240"/>
                    </a:lnTo>
                    <a:lnTo>
                      <a:pt x="711" y="238"/>
                    </a:lnTo>
                    <a:lnTo>
                      <a:pt x="719" y="236"/>
                    </a:lnTo>
                    <a:lnTo>
                      <a:pt x="728" y="234"/>
                    </a:lnTo>
                    <a:lnTo>
                      <a:pt x="745" y="234"/>
                    </a:lnTo>
                    <a:lnTo>
                      <a:pt x="758" y="232"/>
                    </a:lnTo>
                    <a:lnTo>
                      <a:pt x="756" y="224"/>
                    </a:lnTo>
                    <a:lnTo>
                      <a:pt x="753" y="216"/>
                    </a:lnTo>
                    <a:lnTo>
                      <a:pt x="749" y="210"/>
                    </a:lnTo>
                    <a:lnTo>
                      <a:pt x="742" y="204"/>
                    </a:lnTo>
                    <a:lnTo>
                      <a:pt x="737" y="199"/>
                    </a:lnTo>
                    <a:lnTo>
                      <a:pt x="729" y="195"/>
                    </a:lnTo>
                    <a:lnTo>
                      <a:pt x="721" y="191"/>
                    </a:lnTo>
                    <a:lnTo>
                      <a:pt x="713" y="188"/>
                    </a:lnTo>
                    <a:lnTo>
                      <a:pt x="698" y="182"/>
                    </a:lnTo>
                    <a:lnTo>
                      <a:pt x="684" y="176"/>
                    </a:lnTo>
                    <a:lnTo>
                      <a:pt x="678" y="172"/>
                    </a:lnTo>
                    <a:lnTo>
                      <a:pt x="673" y="168"/>
                    </a:lnTo>
                    <a:lnTo>
                      <a:pt x="668" y="164"/>
                    </a:lnTo>
                    <a:lnTo>
                      <a:pt x="665" y="159"/>
                    </a:lnTo>
                    <a:lnTo>
                      <a:pt x="687" y="143"/>
                    </a:lnTo>
                    <a:lnTo>
                      <a:pt x="712" y="127"/>
                    </a:lnTo>
                    <a:lnTo>
                      <a:pt x="739" y="109"/>
                    </a:lnTo>
                    <a:lnTo>
                      <a:pt x="765" y="90"/>
                    </a:lnTo>
                    <a:lnTo>
                      <a:pt x="812" y="78"/>
                    </a:lnTo>
                    <a:lnTo>
                      <a:pt x="858" y="65"/>
                    </a:lnTo>
                    <a:lnTo>
                      <a:pt x="902" y="52"/>
                    </a:lnTo>
                    <a:lnTo>
                      <a:pt x="945" y="38"/>
                    </a:lnTo>
                    <a:lnTo>
                      <a:pt x="966" y="33"/>
                    </a:lnTo>
                    <a:lnTo>
                      <a:pt x="988" y="27"/>
                    </a:lnTo>
                    <a:lnTo>
                      <a:pt x="1010" y="22"/>
                    </a:lnTo>
                    <a:lnTo>
                      <a:pt x="1033" y="18"/>
                    </a:lnTo>
                    <a:lnTo>
                      <a:pt x="1056" y="15"/>
                    </a:lnTo>
                    <a:lnTo>
                      <a:pt x="1080" y="12"/>
                    </a:lnTo>
                    <a:lnTo>
                      <a:pt x="1104" y="11"/>
                    </a:lnTo>
                    <a:lnTo>
                      <a:pt x="1130" y="10"/>
                    </a:lnTo>
                    <a:lnTo>
                      <a:pt x="1157" y="9"/>
                    </a:lnTo>
                    <a:lnTo>
                      <a:pt x="1176" y="7"/>
                    </a:lnTo>
                    <a:lnTo>
                      <a:pt x="1192" y="5"/>
                    </a:lnTo>
                    <a:lnTo>
                      <a:pt x="1216" y="4"/>
                    </a:lnTo>
                    <a:lnTo>
                      <a:pt x="1241" y="3"/>
                    </a:lnTo>
                    <a:lnTo>
                      <a:pt x="1262" y="0"/>
                    </a:lnTo>
                    <a:lnTo>
                      <a:pt x="1270" y="0"/>
                    </a:lnTo>
                    <a:lnTo>
                      <a:pt x="1277" y="2"/>
                    </a:lnTo>
                    <a:lnTo>
                      <a:pt x="1280" y="3"/>
                    </a:lnTo>
                    <a:lnTo>
                      <a:pt x="1281" y="5"/>
                    </a:lnTo>
                    <a:lnTo>
                      <a:pt x="1282" y="7"/>
                    </a:lnTo>
                    <a:lnTo>
                      <a:pt x="1283" y="10"/>
                    </a:lnTo>
                    <a:lnTo>
                      <a:pt x="1306" y="10"/>
                    </a:lnTo>
                    <a:lnTo>
                      <a:pt x="1333" y="10"/>
                    </a:lnTo>
                    <a:lnTo>
                      <a:pt x="1354" y="10"/>
                    </a:lnTo>
                    <a:lnTo>
                      <a:pt x="1362" y="10"/>
                    </a:lnTo>
                    <a:lnTo>
                      <a:pt x="1380" y="11"/>
                    </a:lnTo>
                    <a:lnTo>
                      <a:pt x="1399" y="12"/>
                    </a:lnTo>
                    <a:lnTo>
                      <a:pt x="1417" y="15"/>
                    </a:lnTo>
                    <a:lnTo>
                      <a:pt x="1437" y="18"/>
                    </a:lnTo>
                    <a:lnTo>
                      <a:pt x="1475" y="26"/>
                    </a:lnTo>
                    <a:lnTo>
                      <a:pt x="1516" y="34"/>
                    </a:lnTo>
                    <a:lnTo>
                      <a:pt x="1557" y="44"/>
                    </a:lnTo>
                    <a:lnTo>
                      <a:pt x="1597" y="52"/>
                    </a:lnTo>
                    <a:lnTo>
                      <a:pt x="1617" y="55"/>
                    </a:lnTo>
                    <a:lnTo>
                      <a:pt x="1637" y="58"/>
                    </a:lnTo>
                    <a:lnTo>
                      <a:pt x="1656" y="59"/>
                    </a:lnTo>
                    <a:lnTo>
                      <a:pt x="1675" y="60"/>
                    </a:lnTo>
                    <a:lnTo>
                      <a:pt x="1761" y="41"/>
                    </a:lnTo>
                    <a:lnTo>
                      <a:pt x="1772" y="46"/>
                    </a:lnTo>
                    <a:lnTo>
                      <a:pt x="1784" y="51"/>
                    </a:lnTo>
                    <a:lnTo>
                      <a:pt x="1797" y="55"/>
                    </a:lnTo>
                    <a:lnTo>
                      <a:pt x="1808" y="60"/>
                    </a:lnTo>
                    <a:lnTo>
                      <a:pt x="1223" y="540"/>
                    </a:lnTo>
                    <a:lnTo>
                      <a:pt x="1258" y="540"/>
                    </a:lnTo>
                    <a:lnTo>
                      <a:pt x="1287" y="540"/>
                    </a:lnTo>
                    <a:lnTo>
                      <a:pt x="1309" y="540"/>
                    </a:lnTo>
                    <a:lnTo>
                      <a:pt x="1329" y="540"/>
                    </a:lnTo>
                    <a:lnTo>
                      <a:pt x="1328" y="547"/>
                    </a:lnTo>
                    <a:lnTo>
                      <a:pt x="1327" y="553"/>
                    </a:lnTo>
                    <a:lnTo>
                      <a:pt x="1325" y="559"/>
                    </a:lnTo>
                    <a:lnTo>
                      <a:pt x="1323" y="565"/>
                    </a:lnTo>
                    <a:lnTo>
                      <a:pt x="1321" y="571"/>
                    </a:lnTo>
                    <a:lnTo>
                      <a:pt x="1318" y="576"/>
                    </a:lnTo>
                    <a:lnTo>
                      <a:pt x="1316" y="583"/>
                    </a:lnTo>
                    <a:lnTo>
                      <a:pt x="1316" y="589"/>
                    </a:lnTo>
                    <a:lnTo>
                      <a:pt x="1317" y="592"/>
                    </a:lnTo>
                    <a:lnTo>
                      <a:pt x="1320" y="595"/>
                    </a:lnTo>
                    <a:lnTo>
                      <a:pt x="1323" y="599"/>
                    </a:lnTo>
                    <a:lnTo>
                      <a:pt x="1327" y="601"/>
                    </a:lnTo>
                    <a:lnTo>
                      <a:pt x="1336" y="606"/>
                    </a:lnTo>
                    <a:lnTo>
                      <a:pt x="1343" y="608"/>
                    </a:lnTo>
                    <a:lnTo>
                      <a:pt x="1351" y="608"/>
                    </a:lnTo>
                    <a:lnTo>
                      <a:pt x="1358" y="607"/>
                    </a:lnTo>
                    <a:lnTo>
                      <a:pt x="1365" y="605"/>
                    </a:lnTo>
                    <a:lnTo>
                      <a:pt x="1371" y="604"/>
                    </a:lnTo>
                    <a:lnTo>
                      <a:pt x="1382" y="599"/>
                    </a:lnTo>
                    <a:lnTo>
                      <a:pt x="1391" y="592"/>
                    </a:lnTo>
                    <a:lnTo>
                      <a:pt x="1400" y="587"/>
                    </a:lnTo>
                    <a:lnTo>
                      <a:pt x="1409" y="582"/>
                    </a:lnTo>
                    <a:lnTo>
                      <a:pt x="1413" y="580"/>
                    </a:lnTo>
                    <a:lnTo>
                      <a:pt x="1417" y="578"/>
                    </a:lnTo>
                    <a:lnTo>
                      <a:pt x="1423" y="577"/>
                    </a:lnTo>
                    <a:lnTo>
                      <a:pt x="1429" y="577"/>
                    </a:lnTo>
                    <a:lnTo>
                      <a:pt x="1441" y="596"/>
                    </a:lnTo>
                    <a:lnTo>
                      <a:pt x="1457" y="617"/>
                    </a:lnTo>
                    <a:lnTo>
                      <a:pt x="1465" y="629"/>
                    </a:lnTo>
                    <a:lnTo>
                      <a:pt x="1470" y="643"/>
                    </a:lnTo>
                    <a:lnTo>
                      <a:pt x="1472" y="650"/>
                    </a:lnTo>
                    <a:lnTo>
                      <a:pt x="1474" y="659"/>
                    </a:lnTo>
                    <a:lnTo>
                      <a:pt x="1475" y="667"/>
                    </a:lnTo>
                    <a:lnTo>
                      <a:pt x="1475" y="676"/>
                    </a:lnTo>
                    <a:lnTo>
                      <a:pt x="1475" y="681"/>
                    </a:lnTo>
                    <a:lnTo>
                      <a:pt x="1474" y="686"/>
                    </a:lnTo>
                    <a:lnTo>
                      <a:pt x="1473" y="690"/>
                    </a:lnTo>
                    <a:lnTo>
                      <a:pt x="1471" y="694"/>
                    </a:lnTo>
                    <a:lnTo>
                      <a:pt x="1467" y="700"/>
                    </a:lnTo>
                    <a:lnTo>
                      <a:pt x="1462" y="706"/>
                    </a:lnTo>
                    <a:lnTo>
                      <a:pt x="1457" y="713"/>
                    </a:lnTo>
                    <a:lnTo>
                      <a:pt x="1454" y="719"/>
                    </a:lnTo>
                    <a:lnTo>
                      <a:pt x="1451" y="723"/>
                    </a:lnTo>
                    <a:lnTo>
                      <a:pt x="1450" y="727"/>
                    </a:lnTo>
                    <a:lnTo>
                      <a:pt x="1449" y="732"/>
                    </a:lnTo>
                    <a:lnTo>
                      <a:pt x="1449" y="737"/>
                    </a:lnTo>
                    <a:lnTo>
                      <a:pt x="1449" y="742"/>
                    </a:lnTo>
                    <a:lnTo>
                      <a:pt x="1450" y="746"/>
                    </a:lnTo>
                    <a:lnTo>
                      <a:pt x="1452" y="750"/>
                    </a:lnTo>
                    <a:lnTo>
                      <a:pt x="1455" y="754"/>
                    </a:lnTo>
                    <a:lnTo>
                      <a:pt x="1459" y="761"/>
                    </a:lnTo>
                    <a:lnTo>
                      <a:pt x="1466" y="769"/>
                    </a:lnTo>
                    <a:lnTo>
                      <a:pt x="1471" y="775"/>
                    </a:lnTo>
                    <a:lnTo>
                      <a:pt x="1477" y="783"/>
                    </a:lnTo>
                    <a:lnTo>
                      <a:pt x="1479" y="786"/>
                    </a:lnTo>
                    <a:lnTo>
                      <a:pt x="1481" y="790"/>
                    </a:lnTo>
                    <a:lnTo>
                      <a:pt x="1482" y="794"/>
                    </a:lnTo>
                    <a:lnTo>
                      <a:pt x="1482" y="799"/>
                    </a:lnTo>
                    <a:lnTo>
                      <a:pt x="1482" y="802"/>
                    </a:lnTo>
                    <a:lnTo>
                      <a:pt x="1480" y="807"/>
                    </a:lnTo>
                    <a:lnTo>
                      <a:pt x="1477" y="811"/>
                    </a:lnTo>
                    <a:lnTo>
                      <a:pt x="1473" y="816"/>
                    </a:lnTo>
                    <a:lnTo>
                      <a:pt x="1463" y="826"/>
                    </a:lnTo>
                    <a:lnTo>
                      <a:pt x="1452" y="835"/>
                    </a:lnTo>
                    <a:lnTo>
                      <a:pt x="1446" y="839"/>
                    </a:lnTo>
                    <a:lnTo>
                      <a:pt x="1439" y="843"/>
                    </a:lnTo>
                    <a:lnTo>
                      <a:pt x="1433" y="846"/>
                    </a:lnTo>
                    <a:lnTo>
                      <a:pt x="1426" y="848"/>
                    </a:lnTo>
                    <a:lnTo>
                      <a:pt x="1419" y="850"/>
                    </a:lnTo>
                    <a:lnTo>
                      <a:pt x="1414" y="850"/>
                    </a:lnTo>
                    <a:lnTo>
                      <a:pt x="1407" y="850"/>
                    </a:lnTo>
                    <a:lnTo>
                      <a:pt x="1402" y="848"/>
                    </a:lnTo>
                    <a:lnTo>
                      <a:pt x="1410" y="842"/>
                    </a:lnTo>
                  </a:path>
                </a:pathLst>
              </a:custGeom>
              <a:grpFill/>
              <a:ln w="9525" cap="flat" cmpd="sng">
                <a:solidFill>
                  <a:schemeClr val="bg1"/>
                </a:solidFill>
                <a:prstDash val="solid"/>
                <a:round/>
                <a:headEnd type="none" w="med" len="med"/>
                <a:tailEnd type="none" w="med" len="med"/>
              </a:ln>
              <a:effectLst/>
            </p:spPr>
            <p:txBody>
              <a:bodyPr/>
              <a:lstStyle/>
              <a:p>
                <a:endParaRPr lang="en-GB" sz="1637"/>
              </a:p>
            </p:txBody>
          </p:sp>
          <p:sp>
            <p:nvSpPr>
              <p:cNvPr id="275" name="Freeform 6"/>
              <p:cNvSpPr>
                <a:spLocks/>
              </p:cNvSpPr>
              <p:nvPr>
                <p:custDataLst>
                  <p:tags r:id="rId190"/>
                </p:custDataLst>
              </p:nvPr>
            </p:nvSpPr>
            <p:spPr bwMode="auto">
              <a:xfrm>
                <a:off x="772439" y="2228571"/>
                <a:ext cx="1507692" cy="868619"/>
              </a:xfrm>
              <a:custGeom>
                <a:avLst/>
                <a:gdLst>
                  <a:gd name="T0" fmla="*/ 1273680 w 3175"/>
                  <a:gd name="T1" fmla="*/ 184639 h 1472"/>
                  <a:gd name="T2" fmla="*/ 1259760 w 3175"/>
                  <a:gd name="T3" fmla="*/ 230145 h 1472"/>
                  <a:gd name="T4" fmla="*/ 1236705 w 3175"/>
                  <a:gd name="T5" fmla="*/ 241652 h 1472"/>
                  <a:gd name="T6" fmla="*/ 1160145 w 3175"/>
                  <a:gd name="T7" fmla="*/ 296050 h 1472"/>
                  <a:gd name="T8" fmla="*/ 1128825 w 3175"/>
                  <a:gd name="T9" fmla="*/ 305988 h 1472"/>
                  <a:gd name="T10" fmla="*/ 1117950 w 3175"/>
                  <a:gd name="T11" fmla="*/ 354109 h 1472"/>
                  <a:gd name="T12" fmla="*/ 1093590 w 3175"/>
                  <a:gd name="T13" fmla="*/ 324818 h 1472"/>
                  <a:gd name="T14" fmla="*/ 1087065 w 3175"/>
                  <a:gd name="T15" fmla="*/ 360908 h 1472"/>
                  <a:gd name="T16" fmla="*/ 1072275 w 3175"/>
                  <a:gd name="T17" fmla="*/ 389153 h 1472"/>
                  <a:gd name="T18" fmla="*/ 1074885 w 3175"/>
                  <a:gd name="T19" fmla="*/ 430475 h 1472"/>
                  <a:gd name="T20" fmla="*/ 1014420 w 3175"/>
                  <a:gd name="T21" fmla="*/ 485396 h 1472"/>
                  <a:gd name="T22" fmla="*/ 941775 w 3175"/>
                  <a:gd name="T23" fmla="*/ 546593 h 1472"/>
                  <a:gd name="T24" fmla="*/ 918720 w 3175"/>
                  <a:gd name="T25" fmla="*/ 625052 h 1472"/>
                  <a:gd name="T26" fmla="*/ 914805 w 3175"/>
                  <a:gd name="T27" fmla="*/ 762092 h 1472"/>
                  <a:gd name="T28" fmla="*/ 881310 w 3175"/>
                  <a:gd name="T29" fmla="*/ 739601 h 1472"/>
                  <a:gd name="T30" fmla="*/ 866955 w 3175"/>
                  <a:gd name="T31" fmla="*/ 693572 h 1472"/>
                  <a:gd name="T32" fmla="*/ 852165 w 3175"/>
                  <a:gd name="T33" fmla="*/ 619298 h 1472"/>
                  <a:gd name="T34" fmla="*/ 796920 w 3175"/>
                  <a:gd name="T35" fmla="*/ 610929 h 1472"/>
                  <a:gd name="T36" fmla="*/ 719055 w 3175"/>
                  <a:gd name="T37" fmla="*/ 597853 h 1472"/>
                  <a:gd name="T38" fmla="*/ 702960 w 3175"/>
                  <a:gd name="T39" fmla="*/ 620344 h 1472"/>
                  <a:gd name="T40" fmla="*/ 673380 w 3175"/>
                  <a:gd name="T41" fmla="*/ 647543 h 1472"/>
                  <a:gd name="T42" fmla="*/ 624660 w 3175"/>
                  <a:gd name="T43" fmla="*/ 623482 h 1472"/>
                  <a:gd name="T44" fmla="*/ 535485 w 3175"/>
                  <a:gd name="T45" fmla="*/ 665327 h 1472"/>
                  <a:gd name="T46" fmla="*/ 504600 w 3175"/>
                  <a:gd name="T47" fmla="*/ 728094 h 1472"/>
                  <a:gd name="T48" fmla="*/ 469800 w 3175"/>
                  <a:gd name="T49" fmla="*/ 722863 h 1472"/>
                  <a:gd name="T50" fmla="*/ 451095 w 3175"/>
                  <a:gd name="T51" fmla="*/ 641789 h 1472"/>
                  <a:gd name="T52" fmla="*/ 408900 w 3175"/>
                  <a:gd name="T53" fmla="*/ 622436 h 1472"/>
                  <a:gd name="T54" fmla="*/ 377145 w 3175"/>
                  <a:gd name="T55" fmla="*/ 637605 h 1472"/>
                  <a:gd name="T56" fmla="*/ 340170 w 3175"/>
                  <a:gd name="T57" fmla="*/ 568562 h 1472"/>
                  <a:gd name="T58" fmla="*/ 291450 w 3175"/>
                  <a:gd name="T59" fmla="*/ 557054 h 1472"/>
                  <a:gd name="T60" fmla="*/ 200970 w 3175"/>
                  <a:gd name="T61" fmla="*/ 557054 h 1472"/>
                  <a:gd name="T62" fmla="*/ 95700 w 3175"/>
                  <a:gd name="T63" fmla="*/ 531425 h 1472"/>
                  <a:gd name="T64" fmla="*/ 38280 w 3175"/>
                  <a:gd name="T65" fmla="*/ 481211 h 1472"/>
                  <a:gd name="T66" fmla="*/ 16965 w 3175"/>
                  <a:gd name="T67" fmla="*/ 443551 h 1472"/>
                  <a:gd name="T68" fmla="*/ 12615 w 3175"/>
                  <a:gd name="T69" fmla="*/ 346263 h 1472"/>
                  <a:gd name="T70" fmla="*/ 0 w 3175"/>
                  <a:gd name="T71" fmla="*/ 315926 h 1472"/>
                  <a:gd name="T72" fmla="*/ 61335 w 3175"/>
                  <a:gd name="T73" fmla="*/ 175747 h 1472"/>
                  <a:gd name="T74" fmla="*/ 107445 w 3175"/>
                  <a:gd name="T75" fmla="*/ 92058 h 1472"/>
                  <a:gd name="T76" fmla="*/ 154425 w 3175"/>
                  <a:gd name="T77" fmla="*/ 53352 h 1472"/>
                  <a:gd name="T78" fmla="*/ 163560 w 3175"/>
                  <a:gd name="T79" fmla="*/ 62767 h 1472"/>
                  <a:gd name="T80" fmla="*/ 794745 w 3175"/>
                  <a:gd name="T81" fmla="*/ 0 h 1472"/>
                  <a:gd name="T82" fmla="*/ 837810 w 3175"/>
                  <a:gd name="T83" fmla="*/ 28768 h 1472"/>
                  <a:gd name="T84" fmla="*/ 876525 w 3175"/>
                  <a:gd name="T85" fmla="*/ 36091 h 1472"/>
                  <a:gd name="T86" fmla="*/ 839115 w 3175"/>
                  <a:gd name="T87" fmla="*/ 66951 h 1472"/>
                  <a:gd name="T88" fmla="*/ 859995 w 3175"/>
                  <a:gd name="T89" fmla="*/ 86827 h 1472"/>
                  <a:gd name="T90" fmla="*/ 910890 w 3175"/>
                  <a:gd name="T91" fmla="*/ 81074 h 1472"/>
                  <a:gd name="T92" fmla="*/ 993540 w 3175"/>
                  <a:gd name="T93" fmla="*/ 100950 h 1472"/>
                  <a:gd name="T94" fmla="*/ 964395 w 3175"/>
                  <a:gd name="T95" fmla="*/ 106703 h 1472"/>
                  <a:gd name="T96" fmla="*/ 907845 w 3175"/>
                  <a:gd name="T97" fmla="*/ 138087 h 1472"/>
                  <a:gd name="T98" fmla="*/ 879135 w 3175"/>
                  <a:gd name="T99" fmla="*/ 185685 h 1472"/>
                  <a:gd name="T100" fmla="*/ 875220 w 3175"/>
                  <a:gd name="T101" fmla="*/ 235898 h 1472"/>
                  <a:gd name="T102" fmla="*/ 903060 w 3175"/>
                  <a:gd name="T103" fmla="*/ 218114 h 1472"/>
                  <a:gd name="T104" fmla="*/ 959175 w 3175"/>
                  <a:gd name="T105" fmla="*/ 131810 h 1472"/>
                  <a:gd name="T106" fmla="*/ 986145 w 3175"/>
                  <a:gd name="T107" fmla="*/ 158486 h 1472"/>
                  <a:gd name="T108" fmla="*/ 1000065 w 3175"/>
                  <a:gd name="T109" fmla="*/ 206084 h 1472"/>
                  <a:gd name="T110" fmla="*/ 959610 w 3175"/>
                  <a:gd name="T111" fmla="*/ 237467 h 1472"/>
                  <a:gd name="T112" fmla="*/ 1007895 w 3175"/>
                  <a:gd name="T113" fmla="*/ 239036 h 1472"/>
                  <a:gd name="T114" fmla="*/ 1117950 w 3175"/>
                  <a:gd name="T115" fmla="*/ 195100 h 1472"/>
                  <a:gd name="T116" fmla="*/ 1187550 w 3175"/>
                  <a:gd name="T117" fmla="*/ 131810 h 1472"/>
                  <a:gd name="T118" fmla="*/ 1311960 w 3175"/>
                  <a:gd name="T119" fmla="*/ 106180 h 1472"/>
                  <a:gd name="T120" fmla="*/ 1364160 w 3175"/>
                  <a:gd name="T121" fmla="*/ 61721 h 1472"/>
                  <a:gd name="T122" fmla="*/ 1369815 w 3175"/>
                  <a:gd name="T123" fmla="*/ 96242 h 147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175" h="1472">
                    <a:moveTo>
                      <a:pt x="3155" y="258"/>
                    </a:moveTo>
                    <a:lnTo>
                      <a:pt x="3129" y="270"/>
                    </a:lnTo>
                    <a:lnTo>
                      <a:pt x="3104" y="281"/>
                    </a:lnTo>
                    <a:lnTo>
                      <a:pt x="3079" y="291"/>
                    </a:lnTo>
                    <a:lnTo>
                      <a:pt x="3055" y="300"/>
                    </a:lnTo>
                    <a:lnTo>
                      <a:pt x="3032" y="309"/>
                    </a:lnTo>
                    <a:lnTo>
                      <a:pt x="3008" y="317"/>
                    </a:lnTo>
                    <a:lnTo>
                      <a:pt x="2983" y="326"/>
                    </a:lnTo>
                    <a:lnTo>
                      <a:pt x="2956" y="333"/>
                    </a:lnTo>
                    <a:lnTo>
                      <a:pt x="2948" y="337"/>
                    </a:lnTo>
                    <a:lnTo>
                      <a:pt x="2940" y="341"/>
                    </a:lnTo>
                    <a:lnTo>
                      <a:pt x="2933" y="347"/>
                    </a:lnTo>
                    <a:lnTo>
                      <a:pt x="2928" y="353"/>
                    </a:lnTo>
                    <a:lnTo>
                      <a:pt x="2917" y="366"/>
                    </a:lnTo>
                    <a:lnTo>
                      <a:pt x="2909" y="382"/>
                    </a:lnTo>
                    <a:lnTo>
                      <a:pt x="2900" y="397"/>
                    </a:lnTo>
                    <a:lnTo>
                      <a:pt x="2894" y="410"/>
                    </a:lnTo>
                    <a:lnTo>
                      <a:pt x="2889" y="416"/>
                    </a:lnTo>
                    <a:lnTo>
                      <a:pt x="2885" y="422"/>
                    </a:lnTo>
                    <a:lnTo>
                      <a:pt x="2881" y="427"/>
                    </a:lnTo>
                    <a:lnTo>
                      <a:pt x="2876" y="431"/>
                    </a:lnTo>
                    <a:lnTo>
                      <a:pt x="2876" y="436"/>
                    </a:lnTo>
                    <a:lnTo>
                      <a:pt x="2877" y="440"/>
                    </a:lnTo>
                    <a:lnTo>
                      <a:pt x="2880" y="445"/>
                    </a:lnTo>
                    <a:lnTo>
                      <a:pt x="2883" y="450"/>
                    </a:lnTo>
                    <a:lnTo>
                      <a:pt x="2896" y="440"/>
                    </a:lnTo>
                    <a:lnTo>
                      <a:pt x="2909" y="431"/>
                    </a:lnTo>
                    <a:lnTo>
                      <a:pt x="2910" y="438"/>
                    </a:lnTo>
                    <a:lnTo>
                      <a:pt x="2910" y="443"/>
                    </a:lnTo>
                    <a:lnTo>
                      <a:pt x="2909" y="448"/>
                    </a:lnTo>
                    <a:lnTo>
                      <a:pt x="2907" y="451"/>
                    </a:lnTo>
                    <a:lnTo>
                      <a:pt x="2905" y="455"/>
                    </a:lnTo>
                    <a:lnTo>
                      <a:pt x="2902" y="457"/>
                    </a:lnTo>
                    <a:lnTo>
                      <a:pt x="2898" y="459"/>
                    </a:lnTo>
                    <a:lnTo>
                      <a:pt x="2894" y="460"/>
                    </a:lnTo>
                    <a:lnTo>
                      <a:pt x="2883" y="462"/>
                    </a:lnTo>
                    <a:lnTo>
                      <a:pt x="2871" y="462"/>
                    </a:lnTo>
                    <a:lnTo>
                      <a:pt x="2858" y="462"/>
                    </a:lnTo>
                    <a:lnTo>
                      <a:pt x="2843" y="462"/>
                    </a:lnTo>
                    <a:lnTo>
                      <a:pt x="2820" y="463"/>
                    </a:lnTo>
                    <a:lnTo>
                      <a:pt x="2796" y="466"/>
                    </a:lnTo>
                    <a:lnTo>
                      <a:pt x="2773" y="470"/>
                    </a:lnTo>
                    <a:lnTo>
                      <a:pt x="2750" y="476"/>
                    </a:lnTo>
                    <a:lnTo>
                      <a:pt x="2728" y="483"/>
                    </a:lnTo>
                    <a:lnTo>
                      <a:pt x="2708" y="491"/>
                    </a:lnTo>
                    <a:lnTo>
                      <a:pt x="2691" y="498"/>
                    </a:lnTo>
                    <a:lnTo>
                      <a:pt x="2678" y="505"/>
                    </a:lnTo>
                    <a:lnTo>
                      <a:pt x="2678" y="542"/>
                    </a:lnTo>
                    <a:lnTo>
                      <a:pt x="2675" y="549"/>
                    </a:lnTo>
                    <a:lnTo>
                      <a:pt x="2673" y="555"/>
                    </a:lnTo>
                    <a:lnTo>
                      <a:pt x="2670" y="561"/>
                    </a:lnTo>
                    <a:lnTo>
                      <a:pt x="2667" y="566"/>
                    </a:lnTo>
                    <a:lnTo>
                      <a:pt x="2658" y="575"/>
                    </a:lnTo>
                    <a:lnTo>
                      <a:pt x="2649" y="584"/>
                    </a:lnTo>
                    <a:lnTo>
                      <a:pt x="2639" y="592"/>
                    </a:lnTo>
                    <a:lnTo>
                      <a:pt x="2628" y="602"/>
                    </a:lnTo>
                    <a:lnTo>
                      <a:pt x="2619" y="611"/>
                    </a:lnTo>
                    <a:lnTo>
                      <a:pt x="2611" y="622"/>
                    </a:lnTo>
                    <a:lnTo>
                      <a:pt x="2611" y="613"/>
                    </a:lnTo>
                    <a:lnTo>
                      <a:pt x="2611" y="604"/>
                    </a:lnTo>
                    <a:lnTo>
                      <a:pt x="2606" y="603"/>
                    </a:lnTo>
                    <a:lnTo>
                      <a:pt x="2602" y="600"/>
                    </a:lnTo>
                    <a:lnTo>
                      <a:pt x="2598" y="595"/>
                    </a:lnTo>
                    <a:lnTo>
                      <a:pt x="2596" y="590"/>
                    </a:lnTo>
                    <a:lnTo>
                      <a:pt x="2595" y="585"/>
                    </a:lnTo>
                    <a:lnTo>
                      <a:pt x="2595" y="580"/>
                    </a:lnTo>
                    <a:lnTo>
                      <a:pt x="2595" y="576"/>
                    </a:lnTo>
                    <a:lnTo>
                      <a:pt x="2597" y="573"/>
                    </a:lnTo>
                    <a:lnTo>
                      <a:pt x="2578" y="573"/>
                    </a:lnTo>
                    <a:lnTo>
                      <a:pt x="2575" y="587"/>
                    </a:lnTo>
                    <a:lnTo>
                      <a:pt x="2574" y="600"/>
                    </a:lnTo>
                    <a:lnTo>
                      <a:pt x="2574" y="610"/>
                    </a:lnTo>
                    <a:lnTo>
                      <a:pt x="2574" y="619"/>
                    </a:lnTo>
                    <a:lnTo>
                      <a:pt x="2577" y="633"/>
                    </a:lnTo>
                    <a:lnTo>
                      <a:pt x="2578" y="646"/>
                    </a:lnTo>
                    <a:lnTo>
                      <a:pt x="2577" y="658"/>
                    </a:lnTo>
                    <a:lnTo>
                      <a:pt x="2574" y="668"/>
                    </a:lnTo>
                    <a:lnTo>
                      <a:pt x="2570" y="677"/>
                    </a:lnTo>
                    <a:lnTo>
                      <a:pt x="2564" y="685"/>
                    </a:lnTo>
                    <a:lnTo>
                      <a:pt x="2559" y="693"/>
                    </a:lnTo>
                    <a:lnTo>
                      <a:pt x="2552" y="700"/>
                    </a:lnTo>
                    <a:lnTo>
                      <a:pt x="2545" y="707"/>
                    </a:lnTo>
                    <a:lnTo>
                      <a:pt x="2537" y="715"/>
                    </a:lnTo>
                    <a:lnTo>
                      <a:pt x="2538" y="684"/>
                    </a:lnTo>
                    <a:lnTo>
                      <a:pt x="2538" y="657"/>
                    </a:lnTo>
                    <a:lnTo>
                      <a:pt x="2540" y="630"/>
                    </a:lnTo>
                    <a:lnTo>
                      <a:pt x="2544" y="604"/>
                    </a:lnTo>
                    <a:lnTo>
                      <a:pt x="2535" y="607"/>
                    </a:lnTo>
                    <a:lnTo>
                      <a:pt x="2527" y="611"/>
                    </a:lnTo>
                    <a:lnTo>
                      <a:pt x="2519" y="615"/>
                    </a:lnTo>
                    <a:lnTo>
                      <a:pt x="2514" y="621"/>
                    </a:lnTo>
                    <a:lnTo>
                      <a:pt x="2510" y="628"/>
                    </a:lnTo>
                    <a:lnTo>
                      <a:pt x="2506" y="635"/>
                    </a:lnTo>
                    <a:lnTo>
                      <a:pt x="2505" y="643"/>
                    </a:lnTo>
                    <a:lnTo>
                      <a:pt x="2504" y="653"/>
                    </a:lnTo>
                    <a:lnTo>
                      <a:pt x="2491" y="653"/>
                    </a:lnTo>
                    <a:lnTo>
                      <a:pt x="2478" y="653"/>
                    </a:lnTo>
                    <a:lnTo>
                      <a:pt x="2478" y="658"/>
                    </a:lnTo>
                    <a:lnTo>
                      <a:pt x="2479" y="662"/>
                    </a:lnTo>
                    <a:lnTo>
                      <a:pt x="2480" y="666"/>
                    </a:lnTo>
                    <a:lnTo>
                      <a:pt x="2482" y="670"/>
                    </a:lnTo>
                    <a:lnTo>
                      <a:pt x="2486" y="678"/>
                    </a:lnTo>
                    <a:lnTo>
                      <a:pt x="2493" y="684"/>
                    </a:lnTo>
                    <a:lnTo>
                      <a:pt x="2499" y="690"/>
                    </a:lnTo>
                    <a:lnTo>
                      <a:pt x="2505" y="695"/>
                    </a:lnTo>
                    <a:lnTo>
                      <a:pt x="2512" y="699"/>
                    </a:lnTo>
                    <a:lnTo>
                      <a:pt x="2517" y="702"/>
                    </a:lnTo>
                    <a:lnTo>
                      <a:pt x="2517" y="727"/>
                    </a:lnTo>
                    <a:lnTo>
                      <a:pt x="2496" y="730"/>
                    </a:lnTo>
                    <a:lnTo>
                      <a:pt x="2479" y="730"/>
                    </a:lnTo>
                    <a:lnTo>
                      <a:pt x="2472" y="730"/>
                    </a:lnTo>
                    <a:lnTo>
                      <a:pt x="2466" y="730"/>
                    </a:lnTo>
                    <a:lnTo>
                      <a:pt x="2458" y="731"/>
                    </a:lnTo>
                    <a:lnTo>
                      <a:pt x="2451" y="733"/>
                    </a:lnTo>
                    <a:lnTo>
                      <a:pt x="2455" y="737"/>
                    </a:lnTo>
                    <a:lnTo>
                      <a:pt x="2459" y="741"/>
                    </a:lnTo>
                    <a:lnTo>
                      <a:pt x="2465" y="744"/>
                    </a:lnTo>
                    <a:lnTo>
                      <a:pt x="2471" y="747"/>
                    </a:lnTo>
                    <a:lnTo>
                      <a:pt x="2483" y="750"/>
                    </a:lnTo>
                    <a:lnTo>
                      <a:pt x="2491" y="751"/>
                    </a:lnTo>
                    <a:lnTo>
                      <a:pt x="2492" y="756"/>
                    </a:lnTo>
                    <a:lnTo>
                      <a:pt x="2493" y="760"/>
                    </a:lnTo>
                    <a:lnTo>
                      <a:pt x="2495" y="765"/>
                    </a:lnTo>
                    <a:lnTo>
                      <a:pt x="2499" y="769"/>
                    </a:lnTo>
                    <a:lnTo>
                      <a:pt x="2505" y="777"/>
                    </a:lnTo>
                    <a:lnTo>
                      <a:pt x="2511" y="782"/>
                    </a:lnTo>
                    <a:lnTo>
                      <a:pt x="2500" y="792"/>
                    </a:lnTo>
                    <a:lnTo>
                      <a:pt x="2489" y="802"/>
                    </a:lnTo>
                    <a:lnTo>
                      <a:pt x="2480" y="812"/>
                    </a:lnTo>
                    <a:lnTo>
                      <a:pt x="2471" y="823"/>
                    </a:lnTo>
                    <a:lnTo>
                      <a:pt x="2456" y="841"/>
                    </a:lnTo>
                    <a:lnTo>
                      <a:pt x="2441" y="859"/>
                    </a:lnTo>
                    <a:lnTo>
                      <a:pt x="2434" y="867"/>
                    </a:lnTo>
                    <a:lnTo>
                      <a:pt x="2425" y="876"/>
                    </a:lnTo>
                    <a:lnTo>
                      <a:pt x="2416" y="884"/>
                    </a:lnTo>
                    <a:lnTo>
                      <a:pt x="2406" y="892"/>
                    </a:lnTo>
                    <a:lnTo>
                      <a:pt x="2395" y="899"/>
                    </a:lnTo>
                    <a:lnTo>
                      <a:pt x="2382" y="905"/>
                    </a:lnTo>
                    <a:lnTo>
                      <a:pt x="2368" y="912"/>
                    </a:lnTo>
                    <a:lnTo>
                      <a:pt x="2351" y="917"/>
                    </a:lnTo>
                    <a:lnTo>
                      <a:pt x="2346" y="919"/>
                    </a:lnTo>
                    <a:lnTo>
                      <a:pt x="2339" y="923"/>
                    </a:lnTo>
                    <a:lnTo>
                      <a:pt x="2332" y="928"/>
                    </a:lnTo>
                    <a:lnTo>
                      <a:pt x="2324" y="935"/>
                    </a:lnTo>
                    <a:lnTo>
                      <a:pt x="2307" y="950"/>
                    </a:lnTo>
                    <a:lnTo>
                      <a:pt x="2289" y="967"/>
                    </a:lnTo>
                    <a:lnTo>
                      <a:pt x="2271" y="984"/>
                    </a:lnTo>
                    <a:lnTo>
                      <a:pt x="2255" y="999"/>
                    </a:lnTo>
                    <a:lnTo>
                      <a:pt x="2248" y="1006"/>
                    </a:lnTo>
                    <a:lnTo>
                      <a:pt x="2242" y="1011"/>
                    </a:lnTo>
                    <a:lnTo>
                      <a:pt x="2236" y="1014"/>
                    </a:lnTo>
                    <a:lnTo>
                      <a:pt x="2232" y="1016"/>
                    </a:lnTo>
                    <a:lnTo>
                      <a:pt x="2208" y="1025"/>
                    </a:lnTo>
                    <a:lnTo>
                      <a:pt x="2186" y="1034"/>
                    </a:lnTo>
                    <a:lnTo>
                      <a:pt x="2175" y="1039"/>
                    </a:lnTo>
                    <a:lnTo>
                      <a:pt x="2165" y="1045"/>
                    </a:lnTo>
                    <a:lnTo>
                      <a:pt x="2156" y="1051"/>
                    </a:lnTo>
                    <a:lnTo>
                      <a:pt x="2147" y="1057"/>
                    </a:lnTo>
                    <a:lnTo>
                      <a:pt x="2140" y="1064"/>
                    </a:lnTo>
                    <a:lnTo>
                      <a:pt x="2133" y="1072"/>
                    </a:lnTo>
                    <a:lnTo>
                      <a:pt x="2126" y="1080"/>
                    </a:lnTo>
                    <a:lnTo>
                      <a:pt x="2122" y="1090"/>
                    </a:lnTo>
                    <a:lnTo>
                      <a:pt x="2118" y="1101"/>
                    </a:lnTo>
                    <a:lnTo>
                      <a:pt x="2114" y="1113"/>
                    </a:lnTo>
                    <a:lnTo>
                      <a:pt x="2113" y="1125"/>
                    </a:lnTo>
                    <a:lnTo>
                      <a:pt x="2112" y="1139"/>
                    </a:lnTo>
                    <a:lnTo>
                      <a:pt x="2112" y="1151"/>
                    </a:lnTo>
                    <a:lnTo>
                      <a:pt x="2112" y="1174"/>
                    </a:lnTo>
                    <a:lnTo>
                      <a:pt x="2112" y="1195"/>
                    </a:lnTo>
                    <a:lnTo>
                      <a:pt x="2112" y="1207"/>
                    </a:lnTo>
                    <a:lnTo>
                      <a:pt x="2114" y="1223"/>
                    </a:lnTo>
                    <a:lnTo>
                      <a:pt x="2118" y="1240"/>
                    </a:lnTo>
                    <a:lnTo>
                      <a:pt x="2120" y="1249"/>
                    </a:lnTo>
                    <a:lnTo>
                      <a:pt x="2121" y="1259"/>
                    </a:lnTo>
                    <a:lnTo>
                      <a:pt x="2121" y="1270"/>
                    </a:lnTo>
                    <a:lnTo>
                      <a:pt x="2119" y="1281"/>
                    </a:lnTo>
                    <a:lnTo>
                      <a:pt x="2132" y="1343"/>
                    </a:lnTo>
                    <a:lnTo>
                      <a:pt x="2126" y="1379"/>
                    </a:lnTo>
                    <a:lnTo>
                      <a:pt x="2118" y="1417"/>
                    </a:lnTo>
                    <a:lnTo>
                      <a:pt x="2112" y="1435"/>
                    </a:lnTo>
                    <a:lnTo>
                      <a:pt x="2105" y="1450"/>
                    </a:lnTo>
                    <a:lnTo>
                      <a:pt x="2103" y="1457"/>
                    </a:lnTo>
                    <a:lnTo>
                      <a:pt x="2100" y="1463"/>
                    </a:lnTo>
                    <a:lnTo>
                      <a:pt x="2096" y="1468"/>
                    </a:lnTo>
                    <a:lnTo>
                      <a:pt x="2092" y="1472"/>
                    </a:lnTo>
                    <a:lnTo>
                      <a:pt x="2059" y="1472"/>
                    </a:lnTo>
                    <a:lnTo>
                      <a:pt x="2058" y="1464"/>
                    </a:lnTo>
                    <a:lnTo>
                      <a:pt x="2057" y="1456"/>
                    </a:lnTo>
                    <a:lnTo>
                      <a:pt x="2055" y="1450"/>
                    </a:lnTo>
                    <a:lnTo>
                      <a:pt x="2053" y="1445"/>
                    </a:lnTo>
                    <a:lnTo>
                      <a:pt x="2047" y="1437"/>
                    </a:lnTo>
                    <a:lnTo>
                      <a:pt x="2040" y="1430"/>
                    </a:lnTo>
                    <a:lnTo>
                      <a:pt x="2033" y="1425"/>
                    </a:lnTo>
                    <a:lnTo>
                      <a:pt x="2029" y="1418"/>
                    </a:lnTo>
                    <a:lnTo>
                      <a:pt x="2026" y="1414"/>
                    </a:lnTo>
                    <a:lnTo>
                      <a:pt x="2025" y="1410"/>
                    </a:lnTo>
                    <a:lnTo>
                      <a:pt x="2025" y="1405"/>
                    </a:lnTo>
                    <a:lnTo>
                      <a:pt x="2026" y="1398"/>
                    </a:lnTo>
                    <a:lnTo>
                      <a:pt x="2026" y="1373"/>
                    </a:lnTo>
                    <a:lnTo>
                      <a:pt x="2022" y="1373"/>
                    </a:lnTo>
                    <a:lnTo>
                      <a:pt x="2019" y="1372"/>
                    </a:lnTo>
                    <a:lnTo>
                      <a:pt x="2015" y="1370"/>
                    </a:lnTo>
                    <a:lnTo>
                      <a:pt x="2012" y="1367"/>
                    </a:lnTo>
                    <a:lnTo>
                      <a:pt x="2007" y="1361"/>
                    </a:lnTo>
                    <a:lnTo>
                      <a:pt x="2002" y="1353"/>
                    </a:lnTo>
                    <a:lnTo>
                      <a:pt x="1998" y="1344"/>
                    </a:lnTo>
                    <a:lnTo>
                      <a:pt x="1995" y="1335"/>
                    </a:lnTo>
                    <a:lnTo>
                      <a:pt x="1993" y="1326"/>
                    </a:lnTo>
                    <a:lnTo>
                      <a:pt x="1992" y="1318"/>
                    </a:lnTo>
                    <a:lnTo>
                      <a:pt x="1992" y="1298"/>
                    </a:lnTo>
                    <a:lnTo>
                      <a:pt x="1992" y="1281"/>
                    </a:lnTo>
                    <a:lnTo>
                      <a:pt x="1992" y="1265"/>
                    </a:lnTo>
                    <a:lnTo>
                      <a:pt x="1992" y="1244"/>
                    </a:lnTo>
                    <a:lnTo>
                      <a:pt x="1991" y="1234"/>
                    </a:lnTo>
                    <a:lnTo>
                      <a:pt x="1989" y="1224"/>
                    </a:lnTo>
                    <a:lnTo>
                      <a:pt x="1985" y="1212"/>
                    </a:lnTo>
                    <a:lnTo>
                      <a:pt x="1978" y="1201"/>
                    </a:lnTo>
                    <a:lnTo>
                      <a:pt x="1974" y="1196"/>
                    </a:lnTo>
                    <a:lnTo>
                      <a:pt x="1969" y="1191"/>
                    </a:lnTo>
                    <a:lnTo>
                      <a:pt x="1964" y="1187"/>
                    </a:lnTo>
                    <a:lnTo>
                      <a:pt x="1959" y="1184"/>
                    </a:lnTo>
                    <a:lnTo>
                      <a:pt x="1953" y="1181"/>
                    </a:lnTo>
                    <a:lnTo>
                      <a:pt x="1947" y="1178"/>
                    </a:lnTo>
                    <a:lnTo>
                      <a:pt x="1940" y="1177"/>
                    </a:lnTo>
                    <a:lnTo>
                      <a:pt x="1933" y="1177"/>
                    </a:lnTo>
                    <a:lnTo>
                      <a:pt x="1918" y="1177"/>
                    </a:lnTo>
                    <a:lnTo>
                      <a:pt x="1906" y="1177"/>
                    </a:lnTo>
                    <a:lnTo>
                      <a:pt x="1897" y="1177"/>
                    </a:lnTo>
                    <a:lnTo>
                      <a:pt x="1894" y="1177"/>
                    </a:lnTo>
                    <a:lnTo>
                      <a:pt x="1880" y="1176"/>
                    </a:lnTo>
                    <a:lnTo>
                      <a:pt x="1869" y="1175"/>
                    </a:lnTo>
                    <a:lnTo>
                      <a:pt x="1857" y="1173"/>
                    </a:lnTo>
                    <a:lnTo>
                      <a:pt x="1845" y="1171"/>
                    </a:lnTo>
                    <a:lnTo>
                      <a:pt x="1832" y="1168"/>
                    </a:lnTo>
                    <a:lnTo>
                      <a:pt x="1818" y="1166"/>
                    </a:lnTo>
                    <a:lnTo>
                      <a:pt x="1804" y="1165"/>
                    </a:lnTo>
                    <a:lnTo>
                      <a:pt x="1787" y="1164"/>
                    </a:lnTo>
                    <a:lnTo>
                      <a:pt x="1773" y="1164"/>
                    </a:lnTo>
                    <a:lnTo>
                      <a:pt x="1762" y="1162"/>
                    </a:lnTo>
                    <a:lnTo>
                      <a:pt x="1753" y="1159"/>
                    </a:lnTo>
                    <a:lnTo>
                      <a:pt x="1745" y="1155"/>
                    </a:lnTo>
                    <a:lnTo>
                      <a:pt x="1738" y="1151"/>
                    </a:lnTo>
                    <a:lnTo>
                      <a:pt x="1731" y="1148"/>
                    </a:lnTo>
                    <a:lnTo>
                      <a:pt x="1722" y="1146"/>
                    </a:lnTo>
                    <a:lnTo>
                      <a:pt x="1713" y="1145"/>
                    </a:lnTo>
                    <a:lnTo>
                      <a:pt x="1688" y="1144"/>
                    </a:lnTo>
                    <a:lnTo>
                      <a:pt x="1653" y="1143"/>
                    </a:lnTo>
                    <a:lnTo>
                      <a:pt x="1644" y="1144"/>
                    </a:lnTo>
                    <a:lnTo>
                      <a:pt x="1636" y="1144"/>
                    </a:lnTo>
                    <a:lnTo>
                      <a:pt x="1628" y="1146"/>
                    </a:lnTo>
                    <a:lnTo>
                      <a:pt x="1621" y="1148"/>
                    </a:lnTo>
                    <a:lnTo>
                      <a:pt x="1616" y="1151"/>
                    </a:lnTo>
                    <a:lnTo>
                      <a:pt x="1611" y="1155"/>
                    </a:lnTo>
                    <a:lnTo>
                      <a:pt x="1608" y="1159"/>
                    </a:lnTo>
                    <a:lnTo>
                      <a:pt x="1607" y="1164"/>
                    </a:lnTo>
                    <a:lnTo>
                      <a:pt x="1608" y="1169"/>
                    </a:lnTo>
                    <a:lnTo>
                      <a:pt x="1608" y="1173"/>
                    </a:lnTo>
                    <a:lnTo>
                      <a:pt x="1610" y="1176"/>
                    </a:lnTo>
                    <a:lnTo>
                      <a:pt x="1611" y="1180"/>
                    </a:lnTo>
                    <a:lnTo>
                      <a:pt x="1616" y="1186"/>
                    </a:lnTo>
                    <a:lnTo>
                      <a:pt x="1621" y="1192"/>
                    </a:lnTo>
                    <a:lnTo>
                      <a:pt x="1627" y="1197"/>
                    </a:lnTo>
                    <a:lnTo>
                      <a:pt x="1632" y="1204"/>
                    </a:lnTo>
                    <a:lnTo>
                      <a:pt x="1638" y="1212"/>
                    </a:lnTo>
                    <a:lnTo>
                      <a:pt x="1641" y="1220"/>
                    </a:lnTo>
                    <a:lnTo>
                      <a:pt x="1628" y="1221"/>
                    </a:lnTo>
                    <a:lnTo>
                      <a:pt x="1615" y="1223"/>
                    </a:lnTo>
                    <a:lnTo>
                      <a:pt x="1601" y="1226"/>
                    </a:lnTo>
                    <a:lnTo>
                      <a:pt x="1589" y="1229"/>
                    </a:lnTo>
                    <a:lnTo>
                      <a:pt x="1577" y="1232"/>
                    </a:lnTo>
                    <a:lnTo>
                      <a:pt x="1565" y="1235"/>
                    </a:lnTo>
                    <a:lnTo>
                      <a:pt x="1555" y="1237"/>
                    </a:lnTo>
                    <a:lnTo>
                      <a:pt x="1548" y="1238"/>
                    </a:lnTo>
                    <a:lnTo>
                      <a:pt x="1544" y="1237"/>
                    </a:lnTo>
                    <a:lnTo>
                      <a:pt x="1539" y="1233"/>
                    </a:lnTo>
                    <a:lnTo>
                      <a:pt x="1533" y="1228"/>
                    </a:lnTo>
                    <a:lnTo>
                      <a:pt x="1528" y="1222"/>
                    </a:lnTo>
                    <a:lnTo>
                      <a:pt x="1516" y="1210"/>
                    </a:lnTo>
                    <a:lnTo>
                      <a:pt x="1508" y="1201"/>
                    </a:lnTo>
                    <a:lnTo>
                      <a:pt x="1474" y="1214"/>
                    </a:lnTo>
                    <a:lnTo>
                      <a:pt x="1468" y="1213"/>
                    </a:lnTo>
                    <a:lnTo>
                      <a:pt x="1461" y="1210"/>
                    </a:lnTo>
                    <a:lnTo>
                      <a:pt x="1454" y="1205"/>
                    </a:lnTo>
                    <a:lnTo>
                      <a:pt x="1448" y="1201"/>
                    </a:lnTo>
                    <a:lnTo>
                      <a:pt x="1441" y="1196"/>
                    </a:lnTo>
                    <a:lnTo>
                      <a:pt x="1436" y="1192"/>
                    </a:lnTo>
                    <a:lnTo>
                      <a:pt x="1428" y="1190"/>
                    </a:lnTo>
                    <a:lnTo>
                      <a:pt x="1421" y="1189"/>
                    </a:lnTo>
                    <a:lnTo>
                      <a:pt x="1406" y="1190"/>
                    </a:lnTo>
                    <a:lnTo>
                      <a:pt x="1390" y="1192"/>
                    </a:lnTo>
                    <a:lnTo>
                      <a:pt x="1372" y="1197"/>
                    </a:lnTo>
                    <a:lnTo>
                      <a:pt x="1354" y="1203"/>
                    </a:lnTo>
                    <a:lnTo>
                      <a:pt x="1337" y="1211"/>
                    </a:lnTo>
                    <a:lnTo>
                      <a:pt x="1318" y="1219"/>
                    </a:lnTo>
                    <a:lnTo>
                      <a:pt x="1301" y="1228"/>
                    </a:lnTo>
                    <a:lnTo>
                      <a:pt x="1283" y="1238"/>
                    </a:lnTo>
                    <a:lnTo>
                      <a:pt x="1265" y="1249"/>
                    </a:lnTo>
                    <a:lnTo>
                      <a:pt x="1248" y="1259"/>
                    </a:lnTo>
                    <a:lnTo>
                      <a:pt x="1231" y="1272"/>
                    </a:lnTo>
                    <a:lnTo>
                      <a:pt x="1217" y="1283"/>
                    </a:lnTo>
                    <a:lnTo>
                      <a:pt x="1203" y="1294"/>
                    </a:lnTo>
                    <a:lnTo>
                      <a:pt x="1190" y="1304"/>
                    </a:lnTo>
                    <a:lnTo>
                      <a:pt x="1179" y="1314"/>
                    </a:lnTo>
                    <a:lnTo>
                      <a:pt x="1169" y="1325"/>
                    </a:lnTo>
                    <a:lnTo>
                      <a:pt x="1166" y="1328"/>
                    </a:lnTo>
                    <a:lnTo>
                      <a:pt x="1163" y="1333"/>
                    </a:lnTo>
                    <a:lnTo>
                      <a:pt x="1162" y="1337"/>
                    </a:lnTo>
                    <a:lnTo>
                      <a:pt x="1161" y="1342"/>
                    </a:lnTo>
                    <a:lnTo>
                      <a:pt x="1161" y="1354"/>
                    </a:lnTo>
                    <a:lnTo>
                      <a:pt x="1161" y="1366"/>
                    </a:lnTo>
                    <a:lnTo>
                      <a:pt x="1161" y="1379"/>
                    </a:lnTo>
                    <a:lnTo>
                      <a:pt x="1160" y="1392"/>
                    </a:lnTo>
                    <a:lnTo>
                      <a:pt x="1159" y="1399"/>
                    </a:lnTo>
                    <a:lnTo>
                      <a:pt x="1157" y="1405"/>
                    </a:lnTo>
                    <a:lnTo>
                      <a:pt x="1153" y="1411"/>
                    </a:lnTo>
                    <a:lnTo>
                      <a:pt x="1149" y="1417"/>
                    </a:lnTo>
                    <a:lnTo>
                      <a:pt x="1143" y="1416"/>
                    </a:lnTo>
                    <a:lnTo>
                      <a:pt x="1136" y="1415"/>
                    </a:lnTo>
                    <a:lnTo>
                      <a:pt x="1129" y="1414"/>
                    </a:lnTo>
                    <a:lnTo>
                      <a:pt x="1124" y="1412"/>
                    </a:lnTo>
                    <a:lnTo>
                      <a:pt x="1111" y="1408"/>
                    </a:lnTo>
                    <a:lnTo>
                      <a:pt x="1100" y="1401"/>
                    </a:lnTo>
                    <a:lnTo>
                      <a:pt x="1090" y="1394"/>
                    </a:lnTo>
                    <a:lnTo>
                      <a:pt x="1082" y="1386"/>
                    </a:lnTo>
                    <a:lnTo>
                      <a:pt x="1080" y="1382"/>
                    </a:lnTo>
                    <a:lnTo>
                      <a:pt x="1078" y="1377"/>
                    </a:lnTo>
                    <a:lnTo>
                      <a:pt x="1077" y="1372"/>
                    </a:lnTo>
                    <a:lnTo>
                      <a:pt x="1076" y="1367"/>
                    </a:lnTo>
                    <a:lnTo>
                      <a:pt x="1076" y="1356"/>
                    </a:lnTo>
                    <a:lnTo>
                      <a:pt x="1074" y="1344"/>
                    </a:lnTo>
                    <a:lnTo>
                      <a:pt x="1072" y="1330"/>
                    </a:lnTo>
                    <a:lnTo>
                      <a:pt x="1070" y="1315"/>
                    </a:lnTo>
                    <a:lnTo>
                      <a:pt x="1066" y="1300"/>
                    </a:lnTo>
                    <a:lnTo>
                      <a:pt x="1061" y="1285"/>
                    </a:lnTo>
                    <a:lnTo>
                      <a:pt x="1057" y="1270"/>
                    </a:lnTo>
                    <a:lnTo>
                      <a:pt x="1051" y="1254"/>
                    </a:lnTo>
                    <a:lnTo>
                      <a:pt x="1044" y="1240"/>
                    </a:lnTo>
                    <a:lnTo>
                      <a:pt x="1037" y="1227"/>
                    </a:lnTo>
                    <a:lnTo>
                      <a:pt x="1028" y="1215"/>
                    </a:lnTo>
                    <a:lnTo>
                      <a:pt x="1020" y="1203"/>
                    </a:lnTo>
                    <a:lnTo>
                      <a:pt x="1015" y="1199"/>
                    </a:lnTo>
                    <a:lnTo>
                      <a:pt x="1010" y="1195"/>
                    </a:lnTo>
                    <a:lnTo>
                      <a:pt x="1005" y="1191"/>
                    </a:lnTo>
                    <a:lnTo>
                      <a:pt x="1000" y="1188"/>
                    </a:lnTo>
                    <a:lnTo>
                      <a:pt x="994" y="1186"/>
                    </a:lnTo>
                    <a:lnTo>
                      <a:pt x="988" y="1184"/>
                    </a:lnTo>
                    <a:lnTo>
                      <a:pt x="982" y="1183"/>
                    </a:lnTo>
                    <a:lnTo>
                      <a:pt x="977" y="1183"/>
                    </a:lnTo>
                    <a:lnTo>
                      <a:pt x="964" y="1183"/>
                    </a:lnTo>
                    <a:lnTo>
                      <a:pt x="951" y="1186"/>
                    </a:lnTo>
                    <a:lnTo>
                      <a:pt x="940" y="1190"/>
                    </a:lnTo>
                    <a:lnTo>
                      <a:pt x="931" y="1195"/>
                    </a:lnTo>
                    <a:lnTo>
                      <a:pt x="926" y="1199"/>
                    </a:lnTo>
                    <a:lnTo>
                      <a:pt x="922" y="1202"/>
                    </a:lnTo>
                    <a:lnTo>
                      <a:pt x="919" y="1206"/>
                    </a:lnTo>
                    <a:lnTo>
                      <a:pt x="915" y="1212"/>
                    </a:lnTo>
                    <a:lnTo>
                      <a:pt x="913" y="1216"/>
                    </a:lnTo>
                    <a:lnTo>
                      <a:pt x="911" y="1221"/>
                    </a:lnTo>
                    <a:lnTo>
                      <a:pt x="910" y="1227"/>
                    </a:lnTo>
                    <a:lnTo>
                      <a:pt x="910" y="1232"/>
                    </a:lnTo>
                    <a:lnTo>
                      <a:pt x="883" y="1232"/>
                    </a:lnTo>
                    <a:lnTo>
                      <a:pt x="878" y="1229"/>
                    </a:lnTo>
                    <a:lnTo>
                      <a:pt x="872" y="1225"/>
                    </a:lnTo>
                    <a:lnTo>
                      <a:pt x="867" y="1219"/>
                    </a:lnTo>
                    <a:lnTo>
                      <a:pt x="861" y="1212"/>
                    </a:lnTo>
                    <a:lnTo>
                      <a:pt x="850" y="1196"/>
                    </a:lnTo>
                    <a:lnTo>
                      <a:pt x="839" y="1179"/>
                    </a:lnTo>
                    <a:lnTo>
                      <a:pt x="830" y="1161"/>
                    </a:lnTo>
                    <a:lnTo>
                      <a:pt x="821" y="1144"/>
                    </a:lnTo>
                    <a:lnTo>
                      <a:pt x="814" y="1131"/>
                    </a:lnTo>
                    <a:lnTo>
                      <a:pt x="810" y="1121"/>
                    </a:lnTo>
                    <a:lnTo>
                      <a:pt x="805" y="1120"/>
                    </a:lnTo>
                    <a:lnTo>
                      <a:pt x="801" y="1118"/>
                    </a:lnTo>
                    <a:lnTo>
                      <a:pt x="798" y="1115"/>
                    </a:lnTo>
                    <a:lnTo>
                      <a:pt x="794" y="1111"/>
                    </a:lnTo>
                    <a:lnTo>
                      <a:pt x="789" y="1100"/>
                    </a:lnTo>
                    <a:lnTo>
                      <a:pt x="782" y="1087"/>
                    </a:lnTo>
                    <a:lnTo>
                      <a:pt x="779" y="1081"/>
                    </a:lnTo>
                    <a:lnTo>
                      <a:pt x="775" y="1075"/>
                    </a:lnTo>
                    <a:lnTo>
                      <a:pt x="770" y="1069"/>
                    </a:lnTo>
                    <a:lnTo>
                      <a:pt x="765" y="1064"/>
                    </a:lnTo>
                    <a:lnTo>
                      <a:pt x="757" y="1060"/>
                    </a:lnTo>
                    <a:lnTo>
                      <a:pt x="749" y="1056"/>
                    </a:lnTo>
                    <a:lnTo>
                      <a:pt x="741" y="1054"/>
                    </a:lnTo>
                    <a:lnTo>
                      <a:pt x="731" y="1054"/>
                    </a:lnTo>
                    <a:lnTo>
                      <a:pt x="718" y="1054"/>
                    </a:lnTo>
                    <a:lnTo>
                      <a:pt x="706" y="1055"/>
                    </a:lnTo>
                    <a:lnTo>
                      <a:pt x="696" y="1057"/>
                    </a:lnTo>
                    <a:lnTo>
                      <a:pt x="687" y="1059"/>
                    </a:lnTo>
                    <a:lnTo>
                      <a:pt x="670" y="1065"/>
                    </a:lnTo>
                    <a:lnTo>
                      <a:pt x="656" y="1072"/>
                    </a:lnTo>
                    <a:lnTo>
                      <a:pt x="642" y="1078"/>
                    </a:lnTo>
                    <a:lnTo>
                      <a:pt x="624" y="1084"/>
                    </a:lnTo>
                    <a:lnTo>
                      <a:pt x="615" y="1087"/>
                    </a:lnTo>
                    <a:lnTo>
                      <a:pt x="604" y="1088"/>
                    </a:lnTo>
                    <a:lnTo>
                      <a:pt x="591" y="1089"/>
                    </a:lnTo>
                    <a:lnTo>
                      <a:pt x="577" y="1090"/>
                    </a:lnTo>
                    <a:lnTo>
                      <a:pt x="555" y="1089"/>
                    </a:lnTo>
                    <a:lnTo>
                      <a:pt x="533" y="1086"/>
                    </a:lnTo>
                    <a:lnTo>
                      <a:pt x="514" y="1083"/>
                    </a:lnTo>
                    <a:lnTo>
                      <a:pt x="496" y="1078"/>
                    </a:lnTo>
                    <a:lnTo>
                      <a:pt x="478" y="1072"/>
                    </a:lnTo>
                    <a:lnTo>
                      <a:pt x="462" y="1065"/>
                    </a:lnTo>
                    <a:lnTo>
                      <a:pt x="445" y="1058"/>
                    </a:lnTo>
                    <a:lnTo>
                      <a:pt x="430" y="1051"/>
                    </a:lnTo>
                    <a:lnTo>
                      <a:pt x="415" y="1043"/>
                    </a:lnTo>
                    <a:lnTo>
                      <a:pt x="398" y="1035"/>
                    </a:lnTo>
                    <a:lnTo>
                      <a:pt x="383" y="1028"/>
                    </a:lnTo>
                    <a:lnTo>
                      <a:pt x="366" y="1023"/>
                    </a:lnTo>
                    <a:lnTo>
                      <a:pt x="350" y="1017"/>
                    </a:lnTo>
                    <a:lnTo>
                      <a:pt x="331" y="1014"/>
                    </a:lnTo>
                    <a:lnTo>
                      <a:pt x="312" y="1011"/>
                    </a:lnTo>
                    <a:lnTo>
                      <a:pt x="292" y="1010"/>
                    </a:lnTo>
                    <a:lnTo>
                      <a:pt x="263" y="1012"/>
                    </a:lnTo>
                    <a:lnTo>
                      <a:pt x="234" y="1015"/>
                    </a:lnTo>
                    <a:lnTo>
                      <a:pt x="220" y="1016"/>
                    </a:lnTo>
                    <a:lnTo>
                      <a:pt x="205" y="1015"/>
                    </a:lnTo>
                    <a:lnTo>
                      <a:pt x="189" y="1014"/>
                    </a:lnTo>
                    <a:lnTo>
                      <a:pt x="172" y="1010"/>
                    </a:lnTo>
                    <a:lnTo>
                      <a:pt x="173" y="998"/>
                    </a:lnTo>
                    <a:lnTo>
                      <a:pt x="175" y="988"/>
                    </a:lnTo>
                    <a:lnTo>
                      <a:pt x="175" y="982"/>
                    </a:lnTo>
                    <a:lnTo>
                      <a:pt x="175" y="979"/>
                    </a:lnTo>
                    <a:lnTo>
                      <a:pt x="174" y="975"/>
                    </a:lnTo>
                    <a:lnTo>
                      <a:pt x="172" y="973"/>
                    </a:lnTo>
                    <a:lnTo>
                      <a:pt x="141" y="952"/>
                    </a:lnTo>
                    <a:lnTo>
                      <a:pt x="107" y="931"/>
                    </a:lnTo>
                    <a:lnTo>
                      <a:pt x="97" y="925"/>
                    </a:lnTo>
                    <a:lnTo>
                      <a:pt x="88" y="920"/>
                    </a:lnTo>
                    <a:lnTo>
                      <a:pt x="79" y="916"/>
                    </a:lnTo>
                    <a:lnTo>
                      <a:pt x="69" y="912"/>
                    </a:lnTo>
                    <a:lnTo>
                      <a:pt x="59" y="909"/>
                    </a:lnTo>
                    <a:lnTo>
                      <a:pt x="48" y="907"/>
                    </a:lnTo>
                    <a:lnTo>
                      <a:pt x="37" y="906"/>
                    </a:lnTo>
                    <a:lnTo>
                      <a:pt x="26" y="905"/>
                    </a:lnTo>
                    <a:lnTo>
                      <a:pt x="27" y="899"/>
                    </a:lnTo>
                    <a:lnTo>
                      <a:pt x="28" y="893"/>
                    </a:lnTo>
                    <a:lnTo>
                      <a:pt x="30" y="888"/>
                    </a:lnTo>
                    <a:lnTo>
                      <a:pt x="32" y="883"/>
                    </a:lnTo>
                    <a:lnTo>
                      <a:pt x="37" y="874"/>
                    </a:lnTo>
                    <a:lnTo>
                      <a:pt x="39" y="868"/>
                    </a:lnTo>
                    <a:lnTo>
                      <a:pt x="39" y="848"/>
                    </a:lnTo>
                    <a:lnTo>
                      <a:pt x="36" y="826"/>
                    </a:lnTo>
                    <a:lnTo>
                      <a:pt x="32" y="801"/>
                    </a:lnTo>
                    <a:lnTo>
                      <a:pt x="29" y="777"/>
                    </a:lnTo>
                    <a:lnTo>
                      <a:pt x="24" y="752"/>
                    </a:lnTo>
                    <a:lnTo>
                      <a:pt x="19" y="729"/>
                    </a:lnTo>
                    <a:lnTo>
                      <a:pt x="16" y="707"/>
                    </a:lnTo>
                    <a:lnTo>
                      <a:pt x="13" y="690"/>
                    </a:lnTo>
                    <a:lnTo>
                      <a:pt x="17" y="687"/>
                    </a:lnTo>
                    <a:lnTo>
                      <a:pt x="25" y="680"/>
                    </a:lnTo>
                    <a:lnTo>
                      <a:pt x="28" y="675"/>
                    </a:lnTo>
                    <a:lnTo>
                      <a:pt x="29" y="669"/>
                    </a:lnTo>
                    <a:lnTo>
                      <a:pt x="30" y="666"/>
                    </a:lnTo>
                    <a:lnTo>
                      <a:pt x="29" y="662"/>
                    </a:lnTo>
                    <a:lnTo>
                      <a:pt x="28" y="658"/>
                    </a:lnTo>
                    <a:lnTo>
                      <a:pt x="26" y="653"/>
                    </a:lnTo>
                    <a:lnTo>
                      <a:pt x="21" y="658"/>
                    </a:lnTo>
                    <a:lnTo>
                      <a:pt x="16" y="663"/>
                    </a:lnTo>
                    <a:lnTo>
                      <a:pt x="12" y="669"/>
                    </a:lnTo>
                    <a:lnTo>
                      <a:pt x="6" y="677"/>
                    </a:lnTo>
                    <a:lnTo>
                      <a:pt x="4" y="672"/>
                    </a:lnTo>
                    <a:lnTo>
                      <a:pt x="3" y="667"/>
                    </a:lnTo>
                    <a:lnTo>
                      <a:pt x="2" y="660"/>
                    </a:lnTo>
                    <a:lnTo>
                      <a:pt x="1" y="653"/>
                    </a:lnTo>
                    <a:lnTo>
                      <a:pt x="0" y="639"/>
                    </a:lnTo>
                    <a:lnTo>
                      <a:pt x="0" y="628"/>
                    </a:lnTo>
                    <a:lnTo>
                      <a:pt x="0" y="604"/>
                    </a:lnTo>
                    <a:lnTo>
                      <a:pt x="2" y="581"/>
                    </a:lnTo>
                    <a:lnTo>
                      <a:pt x="3" y="570"/>
                    </a:lnTo>
                    <a:lnTo>
                      <a:pt x="5" y="558"/>
                    </a:lnTo>
                    <a:lnTo>
                      <a:pt x="8" y="545"/>
                    </a:lnTo>
                    <a:lnTo>
                      <a:pt x="13" y="529"/>
                    </a:lnTo>
                    <a:lnTo>
                      <a:pt x="26" y="514"/>
                    </a:lnTo>
                    <a:lnTo>
                      <a:pt x="38" y="499"/>
                    </a:lnTo>
                    <a:lnTo>
                      <a:pt x="50" y="482"/>
                    </a:lnTo>
                    <a:lnTo>
                      <a:pt x="61" y="467"/>
                    </a:lnTo>
                    <a:lnTo>
                      <a:pt x="81" y="434"/>
                    </a:lnTo>
                    <a:lnTo>
                      <a:pt x="101" y="401"/>
                    </a:lnTo>
                    <a:lnTo>
                      <a:pt x="119" y="368"/>
                    </a:lnTo>
                    <a:lnTo>
                      <a:pt x="141" y="336"/>
                    </a:lnTo>
                    <a:lnTo>
                      <a:pt x="152" y="321"/>
                    </a:lnTo>
                    <a:lnTo>
                      <a:pt x="164" y="305"/>
                    </a:lnTo>
                    <a:lnTo>
                      <a:pt x="177" y="291"/>
                    </a:lnTo>
                    <a:lnTo>
                      <a:pt x="193" y="277"/>
                    </a:lnTo>
                    <a:lnTo>
                      <a:pt x="198" y="271"/>
                    </a:lnTo>
                    <a:lnTo>
                      <a:pt x="204" y="265"/>
                    </a:lnTo>
                    <a:lnTo>
                      <a:pt x="208" y="257"/>
                    </a:lnTo>
                    <a:lnTo>
                      <a:pt x="213" y="250"/>
                    </a:lnTo>
                    <a:lnTo>
                      <a:pt x="219" y="234"/>
                    </a:lnTo>
                    <a:lnTo>
                      <a:pt x="227" y="218"/>
                    </a:lnTo>
                    <a:lnTo>
                      <a:pt x="233" y="200"/>
                    </a:lnTo>
                    <a:lnTo>
                      <a:pt x="242" y="184"/>
                    </a:lnTo>
                    <a:lnTo>
                      <a:pt x="247" y="176"/>
                    </a:lnTo>
                    <a:lnTo>
                      <a:pt x="252" y="169"/>
                    </a:lnTo>
                    <a:lnTo>
                      <a:pt x="259" y="161"/>
                    </a:lnTo>
                    <a:lnTo>
                      <a:pt x="265" y="154"/>
                    </a:lnTo>
                    <a:lnTo>
                      <a:pt x="266" y="131"/>
                    </a:lnTo>
                    <a:lnTo>
                      <a:pt x="270" y="109"/>
                    </a:lnTo>
                    <a:lnTo>
                      <a:pt x="274" y="89"/>
                    </a:lnTo>
                    <a:lnTo>
                      <a:pt x="278" y="73"/>
                    </a:lnTo>
                    <a:lnTo>
                      <a:pt x="299" y="74"/>
                    </a:lnTo>
                    <a:lnTo>
                      <a:pt x="326" y="77"/>
                    </a:lnTo>
                    <a:lnTo>
                      <a:pt x="349" y="79"/>
                    </a:lnTo>
                    <a:lnTo>
                      <a:pt x="359" y="80"/>
                    </a:lnTo>
                    <a:lnTo>
                      <a:pt x="357" y="91"/>
                    </a:lnTo>
                    <a:lnTo>
                      <a:pt x="355" y="102"/>
                    </a:lnTo>
                    <a:lnTo>
                      <a:pt x="352" y="112"/>
                    </a:lnTo>
                    <a:lnTo>
                      <a:pt x="349" y="121"/>
                    </a:lnTo>
                    <a:lnTo>
                      <a:pt x="344" y="130"/>
                    </a:lnTo>
                    <a:lnTo>
                      <a:pt x="341" y="138"/>
                    </a:lnTo>
                    <a:lnTo>
                      <a:pt x="339" y="146"/>
                    </a:lnTo>
                    <a:lnTo>
                      <a:pt x="339" y="154"/>
                    </a:lnTo>
                    <a:lnTo>
                      <a:pt x="343" y="153"/>
                    </a:lnTo>
                    <a:lnTo>
                      <a:pt x="348" y="150"/>
                    </a:lnTo>
                    <a:lnTo>
                      <a:pt x="352" y="147"/>
                    </a:lnTo>
                    <a:lnTo>
                      <a:pt x="356" y="144"/>
                    </a:lnTo>
                    <a:lnTo>
                      <a:pt x="364" y="137"/>
                    </a:lnTo>
                    <a:lnTo>
                      <a:pt x="371" y="129"/>
                    </a:lnTo>
                    <a:lnTo>
                      <a:pt x="376" y="120"/>
                    </a:lnTo>
                    <a:lnTo>
                      <a:pt x="381" y="110"/>
                    </a:lnTo>
                    <a:lnTo>
                      <a:pt x="385" y="99"/>
                    </a:lnTo>
                    <a:lnTo>
                      <a:pt x="388" y="87"/>
                    </a:lnTo>
                    <a:lnTo>
                      <a:pt x="394" y="66"/>
                    </a:lnTo>
                    <a:lnTo>
                      <a:pt x="396" y="48"/>
                    </a:lnTo>
                    <a:lnTo>
                      <a:pt x="398" y="35"/>
                    </a:lnTo>
                    <a:lnTo>
                      <a:pt x="398" y="30"/>
                    </a:lnTo>
                    <a:lnTo>
                      <a:pt x="1827" y="30"/>
                    </a:lnTo>
                    <a:lnTo>
                      <a:pt x="1825" y="21"/>
                    </a:lnTo>
                    <a:lnTo>
                      <a:pt x="1823" y="13"/>
                    </a:lnTo>
                    <a:lnTo>
                      <a:pt x="1821" y="5"/>
                    </a:lnTo>
                    <a:lnTo>
                      <a:pt x="1820" y="0"/>
                    </a:lnTo>
                    <a:lnTo>
                      <a:pt x="1827" y="0"/>
                    </a:lnTo>
                    <a:lnTo>
                      <a:pt x="1853" y="0"/>
                    </a:lnTo>
                    <a:lnTo>
                      <a:pt x="1854" y="11"/>
                    </a:lnTo>
                    <a:lnTo>
                      <a:pt x="1856" y="21"/>
                    </a:lnTo>
                    <a:lnTo>
                      <a:pt x="1861" y="30"/>
                    </a:lnTo>
                    <a:lnTo>
                      <a:pt x="1866" y="38"/>
                    </a:lnTo>
                    <a:lnTo>
                      <a:pt x="1873" y="46"/>
                    </a:lnTo>
                    <a:lnTo>
                      <a:pt x="1881" y="51"/>
                    </a:lnTo>
                    <a:lnTo>
                      <a:pt x="1886" y="53"/>
                    </a:lnTo>
                    <a:lnTo>
                      <a:pt x="1890" y="54"/>
                    </a:lnTo>
                    <a:lnTo>
                      <a:pt x="1895" y="55"/>
                    </a:lnTo>
                    <a:lnTo>
                      <a:pt x="1900" y="55"/>
                    </a:lnTo>
                    <a:lnTo>
                      <a:pt x="1910" y="55"/>
                    </a:lnTo>
                    <a:lnTo>
                      <a:pt x="1926" y="55"/>
                    </a:lnTo>
                    <a:lnTo>
                      <a:pt x="1935" y="56"/>
                    </a:lnTo>
                    <a:lnTo>
                      <a:pt x="1944" y="58"/>
                    </a:lnTo>
                    <a:lnTo>
                      <a:pt x="1952" y="61"/>
                    </a:lnTo>
                    <a:lnTo>
                      <a:pt x="1958" y="64"/>
                    </a:lnTo>
                    <a:lnTo>
                      <a:pt x="1965" y="68"/>
                    </a:lnTo>
                    <a:lnTo>
                      <a:pt x="1972" y="71"/>
                    </a:lnTo>
                    <a:lnTo>
                      <a:pt x="1979" y="73"/>
                    </a:lnTo>
                    <a:lnTo>
                      <a:pt x="1986" y="73"/>
                    </a:lnTo>
                    <a:lnTo>
                      <a:pt x="1992" y="72"/>
                    </a:lnTo>
                    <a:lnTo>
                      <a:pt x="1999" y="67"/>
                    </a:lnTo>
                    <a:lnTo>
                      <a:pt x="2003" y="63"/>
                    </a:lnTo>
                    <a:lnTo>
                      <a:pt x="2006" y="61"/>
                    </a:lnTo>
                    <a:lnTo>
                      <a:pt x="2015" y="69"/>
                    </a:lnTo>
                    <a:lnTo>
                      <a:pt x="2024" y="75"/>
                    </a:lnTo>
                    <a:lnTo>
                      <a:pt x="2035" y="81"/>
                    </a:lnTo>
                    <a:lnTo>
                      <a:pt x="2046" y="86"/>
                    </a:lnTo>
                    <a:lnTo>
                      <a:pt x="2038" y="93"/>
                    </a:lnTo>
                    <a:lnTo>
                      <a:pt x="2031" y="100"/>
                    </a:lnTo>
                    <a:lnTo>
                      <a:pt x="2021" y="104"/>
                    </a:lnTo>
                    <a:lnTo>
                      <a:pt x="2011" y="108"/>
                    </a:lnTo>
                    <a:lnTo>
                      <a:pt x="1989" y="114"/>
                    </a:lnTo>
                    <a:lnTo>
                      <a:pt x="1967" y="118"/>
                    </a:lnTo>
                    <a:lnTo>
                      <a:pt x="1956" y="120"/>
                    </a:lnTo>
                    <a:lnTo>
                      <a:pt x="1946" y="122"/>
                    </a:lnTo>
                    <a:lnTo>
                      <a:pt x="1937" y="125"/>
                    </a:lnTo>
                    <a:lnTo>
                      <a:pt x="1929" y="128"/>
                    </a:lnTo>
                    <a:lnTo>
                      <a:pt x="1922" y="133"/>
                    </a:lnTo>
                    <a:lnTo>
                      <a:pt x="1918" y="138"/>
                    </a:lnTo>
                    <a:lnTo>
                      <a:pt x="1916" y="141"/>
                    </a:lnTo>
                    <a:lnTo>
                      <a:pt x="1914" y="145"/>
                    </a:lnTo>
                    <a:lnTo>
                      <a:pt x="1913" y="149"/>
                    </a:lnTo>
                    <a:lnTo>
                      <a:pt x="1913" y="154"/>
                    </a:lnTo>
                    <a:lnTo>
                      <a:pt x="1926" y="155"/>
                    </a:lnTo>
                    <a:lnTo>
                      <a:pt x="1937" y="156"/>
                    </a:lnTo>
                    <a:lnTo>
                      <a:pt x="1946" y="158"/>
                    </a:lnTo>
                    <a:lnTo>
                      <a:pt x="1954" y="160"/>
                    </a:lnTo>
                    <a:lnTo>
                      <a:pt x="1962" y="162"/>
                    </a:lnTo>
                    <a:lnTo>
                      <a:pt x="1969" y="164"/>
                    </a:lnTo>
                    <a:lnTo>
                      <a:pt x="1977" y="166"/>
                    </a:lnTo>
                    <a:lnTo>
                      <a:pt x="1986" y="166"/>
                    </a:lnTo>
                    <a:lnTo>
                      <a:pt x="1996" y="165"/>
                    </a:lnTo>
                    <a:lnTo>
                      <a:pt x="2011" y="161"/>
                    </a:lnTo>
                    <a:lnTo>
                      <a:pt x="2028" y="155"/>
                    </a:lnTo>
                    <a:lnTo>
                      <a:pt x="2047" y="147"/>
                    </a:lnTo>
                    <a:lnTo>
                      <a:pt x="2067" y="140"/>
                    </a:lnTo>
                    <a:lnTo>
                      <a:pt x="2087" y="135"/>
                    </a:lnTo>
                    <a:lnTo>
                      <a:pt x="2104" y="130"/>
                    </a:lnTo>
                    <a:lnTo>
                      <a:pt x="2119" y="129"/>
                    </a:lnTo>
                    <a:lnTo>
                      <a:pt x="2109" y="140"/>
                    </a:lnTo>
                    <a:lnTo>
                      <a:pt x="2101" y="147"/>
                    </a:lnTo>
                    <a:lnTo>
                      <a:pt x="2097" y="151"/>
                    </a:lnTo>
                    <a:lnTo>
                      <a:pt x="2094" y="155"/>
                    </a:lnTo>
                    <a:lnTo>
                      <a:pt x="2093" y="160"/>
                    </a:lnTo>
                    <a:lnTo>
                      <a:pt x="2092" y="166"/>
                    </a:lnTo>
                    <a:lnTo>
                      <a:pt x="2102" y="166"/>
                    </a:lnTo>
                    <a:lnTo>
                      <a:pt x="2112" y="166"/>
                    </a:lnTo>
                    <a:lnTo>
                      <a:pt x="2121" y="167"/>
                    </a:lnTo>
                    <a:lnTo>
                      <a:pt x="2138" y="169"/>
                    </a:lnTo>
                    <a:lnTo>
                      <a:pt x="2163" y="172"/>
                    </a:lnTo>
                    <a:lnTo>
                      <a:pt x="2191" y="175"/>
                    </a:lnTo>
                    <a:lnTo>
                      <a:pt x="2221" y="179"/>
                    </a:lnTo>
                    <a:lnTo>
                      <a:pt x="2248" y="182"/>
                    </a:lnTo>
                    <a:lnTo>
                      <a:pt x="2270" y="184"/>
                    </a:lnTo>
                    <a:lnTo>
                      <a:pt x="2286" y="184"/>
                    </a:lnTo>
                    <a:lnTo>
                      <a:pt x="2284" y="193"/>
                    </a:lnTo>
                    <a:lnTo>
                      <a:pt x="2282" y="199"/>
                    </a:lnTo>
                    <a:lnTo>
                      <a:pt x="2279" y="205"/>
                    </a:lnTo>
                    <a:lnTo>
                      <a:pt x="2275" y="210"/>
                    </a:lnTo>
                    <a:lnTo>
                      <a:pt x="2269" y="212"/>
                    </a:lnTo>
                    <a:lnTo>
                      <a:pt x="2262" y="214"/>
                    </a:lnTo>
                    <a:lnTo>
                      <a:pt x="2255" y="215"/>
                    </a:lnTo>
                    <a:lnTo>
                      <a:pt x="2245" y="216"/>
                    </a:lnTo>
                    <a:lnTo>
                      <a:pt x="2238" y="215"/>
                    </a:lnTo>
                    <a:lnTo>
                      <a:pt x="2233" y="214"/>
                    </a:lnTo>
                    <a:lnTo>
                      <a:pt x="2228" y="212"/>
                    </a:lnTo>
                    <a:lnTo>
                      <a:pt x="2225" y="210"/>
                    </a:lnTo>
                    <a:lnTo>
                      <a:pt x="2222" y="206"/>
                    </a:lnTo>
                    <a:lnTo>
                      <a:pt x="2217" y="204"/>
                    </a:lnTo>
                    <a:lnTo>
                      <a:pt x="2212" y="203"/>
                    </a:lnTo>
                    <a:lnTo>
                      <a:pt x="2205" y="203"/>
                    </a:lnTo>
                    <a:lnTo>
                      <a:pt x="2194" y="203"/>
                    </a:lnTo>
                    <a:lnTo>
                      <a:pt x="2185" y="205"/>
                    </a:lnTo>
                    <a:lnTo>
                      <a:pt x="2175" y="209"/>
                    </a:lnTo>
                    <a:lnTo>
                      <a:pt x="2166" y="213"/>
                    </a:lnTo>
                    <a:lnTo>
                      <a:pt x="2149" y="223"/>
                    </a:lnTo>
                    <a:lnTo>
                      <a:pt x="2135" y="234"/>
                    </a:lnTo>
                    <a:lnTo>
                      <a:pt x="2121" y="245"/>
                    </a:lnTo>
                    <a:lnTo>
                      <a:pt x="2108" y="255"/>
                    </a:lnTo>
                    <a:lnTo>
                      <a:pt x="2100" y="258"/>
                    </a:lnTo>
                    <a:lnTo>
                      <a:pt x="2093" y="261"/>
                    </a:lnTo>
                    <a:lnTo>
                      <a:pt x="2087" y="264"/>
                    </a:lnTo>
                    <a:lnTo>
                      <a:pt x="2079" y="265"/>
                    </a:lnTo>
                    <a:lnTo>
                      <a:pt x="2073" y="266"/>
                    </a:lnTo>
                    <a:lnTo>
                      <a:pt x="2068" y="268"/>
                    </a:lnTo>
                    <a:lnTo>
                      <a:pt x="2066" y="271"/>
                    </a:lnTo>
                    <a:lnTo>
                      <a:pt x="2064" y="276"/>
                    </a:lnTo>
                    <a:lnTo>
                      <a:pt x="2063" y="285"/>
                    </a:lnTo>
                    <a:lnTo>
                      <a:pt x="2059" y="295"/>
                    </a:lnTo>
                    <a:lnTo>
                      <a:pt x="2056" y="304"/>
                    </a:lnTo>
                    <a:lnTo>
                      <a:pt x="2053" y="312"/>
                    </a:lnTo>
                    <a:lnTo>
                      <a:pt x="2048" y="321"/>
                    </a:lnTo>
                    <a:lnTo>
                      <a:pt x="2043" y="328"/>
                    </a:lnTo>
                    <a:lnTo>
                      <a:pt x="2032" y="342"/>
                    </a:lnTo>
                    <a:lnTo>
                      <a:pt x="2021" y="355"/>
                    </a:lnTo>
                    <a:lnTo>
                      <a:pt x="2015" y="362"/>
                    </a:lnTo>
                    <a:lnTo>
                      <a:pt x="2010" y="369"/>
                    </a:lnTo>
                    <a:lnTo>
                      <a:pt x="2006" y="378"/>
                    </a:lnTo>
                    <a:lnTo>
                      <a:pt x="2001" y="386"/>
                    </a:lnTo>
                    <a:lnTo>
                      <a:pt x="1998" y="394"/>
                    </a:lnTo>
                    <a:lnTo>
                      <a:pt x="1995" y="404"/>
                    </a:lnTo>
                    <a:lnTo>
                      <a:pt x="1993" y="414"/>
                    </a:lnTo>
                    <a:lnTo>
                      <a:pt x="1992" y="424"/>
                    </a:lnTo>
                    <a:lnTo>
                      <a:pt x="1993" y="432"/>
                    </a:lnTo>
                    <a:lnTo>
                      <a:pt x="1997" y="438"/>
                    </a:lnTo>
                    <a:lnTo>
                      <a:pt x="2001" y="443"/>
                    </a:lnTo>
                    <a:lnTo>
                      <a:pt x="2007" y="447"/>
                    </a:lnTo>
                    <a:lnTo>
                      <a:pt x="2012" y="451"/>
                    </a:lnTo>
                    <a:lnTo>
                      <a:pt x="2018" y="453"/>
                    </a:lnTo>
                    <a:lnTo>
                      <a:pt x="2022" y="455"/>
                    </a:lnTo>
                    <a:lnTo>
                      <a:pt x="2026" y="456"/>
                    </a:lnTo>
                    <a:lnTo>
                      <a:pt x="2032" y="455"/>
                    </a:lnTo>
                    <a:lnTo>
                      <a:pt x="2037" y="454"/>
                    </a:lnTo>
                    <a:lnTo>
                      <a:pt x="2043" y="453"/>
                    </a:lnTo>
                    <a:lnTo>
                      <a:pt x="2047" y="451"/>
                    </a:lnTo>
                    <a:lnTo>
                      <a:pt x="2052" y="448"/>
                    </a:lnTo>
                    <a:lnTo>
                      <a:pt x="2056" y="445"/>
                    </a:lnTo>
                    <a:lnTo>
                      <a:pt x="2060" y="441"/>
                    </a:lnTo>
                    <a:lnTo>
                      <a:pt x="2064" y="437"/>
                    </a:lnTo>
                    <a:lnTo>
                      <a:pt x="2070" y="427"/>
                    </a:lnTo>
                    <a:lnTo>
                      <a:pt x="2076" y="417"/>
                    </a:lnTo>
                    <a:lnTo>
                      <a:pt x="2080" y="405"/>
                    </a:lnTo>
                    <a:lnTo>
                      <a:pt x="2085" y="393"/>
                    </a:lnTo>
                    <a:lnTo>
                      <a:pt x="2092" y="368"/>
                    </a:lnTo>
                    <a:lnTo>
                      <a:pt x="2100" y="344"/>
                    </a:lnTo>
                    <a:lnTo>
                      <a:pt x="2103" y="333"/>
                    </a:lnTo>
                    <a:lnTo>
                      <a:pt x="2108" y="323"/>
                    </a:lnTo>
                    <a:lnTo>
                      <a:pt x="2113" y="314"/>
                    </a:lnTo>
                    <a:lnTo>
                      <a:pt x="2119" y="307"/>
                    </a:lnTo>
                    <a:lnTo>
                      <a:pt x="2135" y="295"/>
                    </a:lnTo>
                    <a:lnTo>
                      <a:pt x="2152" y="283"/>
                    </a:lnTo>
                    <a:lnTo>
                      <a:pt x="2169" y="273"/>
                    </a:lnTo>
                    <a:lnTo>
                      <a:pt x="2188" y="262"/>
                    </a:lnTo>
                    <a:lnTo>
                      <a:pt x="2205" y="252"/>
                    </a:lnTo>
                    <a:lnTo>
                      <a:pt x="2223" y="243"/>
                    </a:lnTo>
                    <a:lnTo>
                      <a:pt x="2238" y="233"/>
                    </a:lnTo>
                    <a:lnTo>
                      <a:pt x="2251" y="222"/>
                    </a:lnTo>
                    <a:lnTo>
                      <a:pt x="2266" y="237"/>
                    </a:lnTo>
                    <a:lnTo>
                      <a:pt x="2278" y="249"/>
                    </a:lnTo>
                    <a:lnTo>
                      <a:pt x="2283" y="255"/>
                    </a:lnTo>
                    <a:lnTo>
                      <a:pt x="2288" y="261"/>
                    </a:lnTo>
                    <a:lnTo>
                      <a:pt x="2293" y="269"/>
                    </a:lnTo>
                    <a:lnTo>
                      <a:pt x="2299" y="277"/>
                    </a:lnTo>
                    <a:lnTo>
                      <a:pt x="2289" y="284"/>
                    </a:lnTo>
                    <a:lnTo>
                      <a:pt x="2281" y="290"/>
                    </a:lnTo>
                    <a:lnTo>
                      <a:pt x="2273" y="296"/>
                    </a:lnTo>
                    <a:lnTo>
                      <a:pt x="2267" y="303"/>
                    </a:lnTo>
                    <a:lnTo>
                      <a:pt x="2260" y="310"/>
                    </a:lnTo>
                    <a:lnTo>
                      <a:pt x="2255" y="318"/>
                    </a:lnTo>
                    <a:lnTo>
                      <a:pt x="2250" y="328"/>
                    </a:lnTo>
                    <a:lnTo>
                      <a:pt x="2245" y="339"/>
                    </a:lnTo>
                    <a:lnTo>
                      <a:pt x="2259" y="338"/>
                    </a:lnTo>
                    <a:lnTo>
                      <a:pt x="2271" y="336"/>
                    </a:lnTo>
                    <a:lnTo>
                      <a:pt x="2284" y="334"/>
                    </a:lnTo>
                    <a:lnTo>
                      <a:pt x="2299" y="333"/>
                    </a:lnTo>
                    <a:lnTo>
                      <a:pt x="2299" y="347"/>
                    </a:lnTo>
                    <a:lnTo>
                      <a:pt x="2299" y="363"/>
                    </a:lnTo>
                    <a:lnTo>
                      <a:pt x="2299" y="380"/>
                    </a:lnTo>
                    <a:lnTo>
                      <a:pt x="2299" y="394"/>
                    </a:lnTo>
                    <a:lnTo>
                      <a:pt x="2293" y="399"/>
                    </a:lnTo>
                    <a:lnTo>
                      <a:pt x="2288" y="404"/>
                    </a:lnTo>
                    <a:lnTo>
                      <a:pt x="2281" y="411"/>
                    </a:lnTo>
                    <a:lnTo>
                      <a:pt x="2276" y="418"/>
                    </a:lnTo>
                    <a:lnTo>
                      <a:pt x="2250" y="426"/>
                    </a:lnTo>
                    <a:lnTo>
                      <a:pt x="2228" y="435"/>
                    </a:lnTo>
                    <a:lnTo>
                      <a:pt x="2219" y="439"/>
                    </a:lnTo>
                    <a:lnTo>
                      <a:pt x="2212" y="443"/>
                    </a:lnTo>
                    <a:lnTo>
                      <a:pt x="2206" y="446"/>
                    </a:lnTo>
                    <a:lnTo>
                      <a:pt x="2205" y="450"/>
                    </a:lnTo>
                    <a:lnTo>
                      <a:pt x="2205" y="452"/>
                    </a:lnTo>
                    <a:lnTo>
                      <a:pt x="2206" y="454"/>
                    </a:lnTo>
                    <a:lnTo>
                      <a:pt x="2209" y="456"/>
                    </a:lnTo>
                    <a:lnTo>
                      <a:pt x="2212" y="458"/>
                    </a:lnTo>
                    <a:lnTo>
                      <a:pt x="2219" y="463"/>
                    </a:lnTo>
                    <a:lnTo>
                      <a:pt x="2227" y="466"/>
                    </a:lnTo>
                    <a:lnTo>
                      <a:pt x="2236" y="469"/>
                    </a:lnTo>
                    <a:lnTo>
                      <a:pt x="2245" y="472"/>
                    </a:lnTo>
                    <a:lnTo>
                      <a:pt x="2253" y="473"/>
                    </a:lnTo>
                    <a:lnTo>
                      <a:pt x="2258" y="474"/>
                    </a:lnTo>
                    <a:lnTo>
                      <a:pt x="2265" y="473"/>
                    </a:lnTo>
                    <a:lnTo>
                      <a:pt x="2273" y="472"/>
                    </a:lnTo>
                    <a:lnTo>
                      <a:pt x="2283" y="469"/>
                    </a:lnTo>
                    <a:lnTo>
                      <a:pt x="2293" y="466"/>
                    </a:lnTo>
                    <a:lnTo>
                      <a:pt x="2317" y="457"/>
                    </a:lnTo>
                    <a:lnTo>
                      <a:pt x="2343" y="447"/>
                    </a:lnTo>
                    <a:lnTo>
                      <a:pt x="2369" y="436"/>
                    </a:lnTo>
                    <a:lnTo>
                      <a:pt x="2393" y="425"/>
                    </a:lnTo>
                    <a:lnTo>
                      <a:pt x="2415" y="415"/>
                    </a:lnTo>
                    <a:lnTo>
                      <a:pt x="2433" y="408"/>
                    </a:lnTo>
                    <a:lnTo>
                      <a:pt x="2439" y="407"/>
                    </a:lnTo>
                    <a:lnTo>
                      <a:pt x="2446" y="405"/>
                    </a:lnTo>
                    <a:lnTo>
                      <a:pt x="2452" y="403"/>
                    </a:lnTo>
                    <a:lnTo>
                      <a:pt x="2458" y="400"/>
                    </a:lnTo>
                    <a:lnTo>
                      <a:pt x="2530" y="382"/>
                    </a:lnTo>
                    <a:lnTo>
                      <a:pt x="2544" y="380"/>
                    </a:lnTo>
                    <a:lnTo>
                      <a:pt x="2557" y="378"/>
                    </a:lnTo>
                    <a:lnTo>
                      <a:pt x="2570" y="373"/>
                    </a:lnTo>
                    <a:lnTo>
                      <a:pt x="2583" y="369"/>
                    </a:lnTo>
                    <a:lnTo>
                      <a:pt x="2597" y="364"/>
                    </a:lnTo>
                    <a:lnTo>
                      <a:pt x="2611" y="357"/>
                    </a:lnTo>
                    <a:lnTo>
                      <a:pt x="2625" y="350"/>
                    </a:lnTo>
                    <a:lnTo>
                      <a:pt x="2638" y="342"/>
                    </a:lnTo>
                    <a:lnTo>
                      <a:pt x="2651" y="334"/>
                    </a:lnTo>
                    <a:lnTo>
                      <a:pt x="2664" y="324"/>
                    </a:lnTo>
                    <a:lnTo>
                      <a:pt x="2676" y="313"/>
                    </a:lnTo>
                    <a:lnTo>
                      <a:pt x="2689" y="303"/>
                    </a:lnTo>
                    <a:lnTo>
                      <a:pt x="2701" y="291"/>
                    </a:lnTo>
                    <a:lnTo>
                      <a:pt x="2710" y="279"/>
                    </a:lnTo>
                    <a:lnTo>
                      <a:pt x="2721" y="266"/>
                    </a:lnTo>
                    <a:lnTo>
                      <a:pt x="2730" y="252"/>
                    </a:lnTo>
                    <a:lnTo>
                      <a:pt x="2817" y="252"/>
                    </a:lnTo>
                    <a:lnTo>
                      <a:pt x="2850" y="248"/>
                    </a:lnTo>
                    <a:lnTo>
                      <a:pt x="2880" y="246"/>
                    </a:lnTo>
                    <a:lnTo>
                      <a:pt x="2906" y="244"/>
                    </a:lnTo>
                    <a:lnTo>
                      <a:pt x="2931" y="241"/>
                    </a:lnTo>
                    <a:lnTo>
                      <a:pt x="2942" y="239"/>
                    </a:lnTo>
                    <a:lnTo>
                      <a:pt x="2954" y="237"/>
                    </a:lnTo>
                    <a:lnTo>
                      <a:pt x="2965" y="234"/>
                    </a:lnTo>
                    <a:lnTo>
                      <a:pt x="2975" y="230"/>
                    </a:lnTo>
                    <a:lnTo>
                      <a:pt x="2986" y="225"/>
                    </a:lnTo>
                    <a:lnTo>
                      <a:pt x="2996" y="219"/>
                    </a:lnTo>
                    <a:lnTo>
                      <a:pt x="3006" y="212"/>
                    </a:lnTo>
                    <a:lnTo>
                      <a:pt x="3016" y="203"/>
                    </a:lnTo>
                    <a:lnTo>
                      <a:pt x="3028" y="190"/>
                    </a:lnTo>
                    <a:lnTo>
                      <a:pt x="3038" y="177"/>
                    </a:lnTo>
                    <a:lnTo>
                      <a:pt x="3048" y="162"/>
                    </a:lnTo>
                    <a:lnTo>
                      <a:pt x="3059" y="148"/>
                    </a:lnTo>
                    <a:lnTo>
                      <a:pt x="3064" y="142"/>
                    </a:lnTo>
                    <a:lnTo>
                      <a:pt x="3070" y="136"/>
                    </a:lnTo>
                    <a:lnTo>
                      <a:pt x="3075" y="130"/>
                    </a:lnTo>
                    <a:lnTo>
                      <a:pt x="3082" y="126"/>
                    </a:lnTo>
                    <a:lnTo>
                      <a:pt x="3089" y="122"/>
                    </a:lnTo>
                    <a:lnTo>
                      <a:pt x="3097" y="119"/>
                    </a:lnTo>
                    <a:lnTo>
                      <a:pt x="3106" y="117"/>
                    </a:lnTo>
                    <a:lnTo>
                      <a:pt x="3116" y="117"/>
                    </a:lnTo>
                    <a:lnTo>
                      <a:pt x="3136" y="118"/>
                    </a:lnTo>
                    <a:lnTo>
                      <a:pt x="3153" y="119"/>
                    </a:lnTo>
                    <a:lnTo>
                      <a:pt x="3160" y="120"/>
                    </a:lnTo>
                    <a:lnTo>
                      <a:pt x="3165" y="119"/>
                    </a:lnTo>
                    <a:lnTo>
                      <a:pt x="3171" y="119"/>
                    </a:lnTo>
                    <a:lnTo>
                      <a:pt x="3175" y="117"/>
                    </a:lnTo>
                    <a:lnTo>
                      <a:pt x="3175" y="125"/>
                    </a:lnTo>
                    <a:lnTo>
                      <a:pt x="3172" y="134"/>
                    </a:lnTo>
                    <a:lnTo>
                      <a:pt x="3168" y="144"/>
                    </a:lnTo>
                    <a:lnTo>
                      <a:pt x="3164" y="156"/>
                    </a:lnTo>
                    <a:lnTo>
                      <a:pt x="3160" y="165"/>
                    </a:lnTo>
                    <a:lnTo>
                      <a:pt x="3155" y="174"/>
                    </a:lnTo>
                    <a:lnTo>
                      <a:pt x="3152" y="181"/>
                    </a:lnTo>
                    <a:lnTo>
                      <a:pt x="3149" y="184"/>
                    </a:lnTo>
                    <a:lnTo>
                      <a:pt x="3149" y="252"/>
                    </a:lnTo>
                    <a:lnTo>
                      <a:pt x="3155" y="258"/>
                    </a:lnTo>
                  </a:path>
                </a:pathLst>
              </a:custGeom>
              <a:grpFill/>
              <a:ln w="9525" cmpd="sng">
                <a:solidFill>
                  <a:schemeClr val="bg1"/>
                </a:solidFill>
                <a:prstDash val="solid"/>
                <a:round/>
                <a:headEnd/>
                <a:tailEnd/>
              </a:ln>
            </p:spPr>
            <p:txBody>
              <a:bodyPr/>
              <a:lstStyle/>
              <a:p>
                <a:endParaRPr lang="en-GB" sz="1637"/>
              </a:p>
            </p:txBody>
          </p:sp>
          <p:grpSp>
            <p:nvGrpSpPr>
              <p:cNvPr id="276" name="Group 391"/>
              <p:cNvGrpSpPr>
                <a:grpSpLocks/>
              </p:cNvGrpSpPr>
              <p:nvPr>
                <p:custDataLst>
                  <p:tags r:id="rId191"/>
                </p:custDataLst>
              </p:nvPr>
            </p:nvGrpSpPr>
            <p:grpSpPr bwMode="auto">
              <a:xfrm>
                <a:off x="826161" y="1196975"/>
                <a:ext cx="2070910" cy="1278749"/>
                <a:chOff x="527" y="1110"/>
                <a:chExt cx="1410" cy="709"/>
              </a:xfrm>
              <a:grpFill/>
            </p:grpSpPr>
            <p:sp>
              <p:nvSpPr>
                <p:cNvPr id="277" name="Freeform 392"/>
                <p:cNvSpPr>
                  <a:spLocks/>
                </p:cNvSpPr>
                <p:nvPr/>
              </p:nvSpPr>
              <p:spPr bwMode="auto">
                <a:xfrm>
                  <a:off x="1401" y="1427"/>
                  <a:ext cx="31" cy="17"/>
                </a:xfrm>
                <a:custGeom>
                  <a:avLst/>
                  <a:gdLst>
                    <a:gd name="T0" fmla="*/ 0 w 98"/>
                    <a:gd name="T1" fmla="*/ 13 h 54"/>
                    <a:gd name="T2" fmla="*/ 2 w 98"/>
                    <a:gd name="T3" fmla="*/ 14 h 54"/>
                    <a:gd name="T4" fmla="*/ 4 w 98"/>
                    <a:gd name="T5" fmla="*/ 16 h 54"/>
                    <a:gd name="T6" fmla="*/ 7 w 98"/>
                    <a:gd name="T7" fmla="*/ 17 h 54"/>
                    <a:gd name="T8" fmla="*/ 10 w 98"/>
                    <a:gd name="T9" fmla="*/ 17 h 54"/>
                    <a:gd name="T10" fmla="*/ 12 w 98"/>
                    <a:gd name="T11" fmla="*/ 17 h 54"/>
                    <a:gd name="T12" fmla="*/ 14 w 98"/>
                    <a:gd name="T13" fmla="*/ 17 h 54"/>
                    <a:gd name="T14" fmla="*/ 16 w 98"/>
                    <a:gd name="T15" fmla="*/ 16 h 54"/>
                    <a:gd name="T16" fmla="*/ 18 w 98"/>
                    <a:gd name="T17" fmla="*/ 15 h 54"/>
                    <a:gd name="T18" fmla="*/ 21 w 98"/>
                    <a:gd name="T19" fmla="*/ 13 h 54"/>
                    <a:gd name="T20" fmla="*/ 24 w 98"/>
                    <a:gd name="T21" fmla="*/ 11 h 54"/>
                    <a:gd name="T22" fmla="*/ 27 w 98"/>
                    <a:gd name="T23" fmla="*/ 9 h 54"/>
                    <a:gd name="T24" fmla="*/ 29 w 98"/>
                    <a:gd name="T25" fmla="*/ 6 h 54"/>
                    <a:gd name="T26" fmla="*/ 30 w 98"/>
                    <a:gd name="T27" fmla="*/ 4 h 54"/>
                    <a:gd name="T28" fmla="*/ 31 w 98"/>
                    <a:gd name="T29" fmla="*/ 1 h 54"/>
                    <a:gd name="T30" fmla="*/ 29 w 98"/>
                    <a:gd name="T31" fmla="*/ 1 h 54"/>
                    <a:gd name="T32" fmla="*/ 26 w 98"/>
                    <a:gd name="T33" fmla="*/ 0 h 54"/>
                    <a:gd name="T34" fmla="*/ 24 w 98"/>
                    <a:gd name="T35" fmla="*/ 0 h 54"/>
                    <a:gd name="T36" fmla="*/ 22 w 98"/>
                    <a:gd name="T37" fmla="*/ 0 h 54"/>
                    <a:gd name="T38" fmla="*/ 19 w 98"/>
                    <a:gd name="T39" fmla="*/ 0 h 54"/>
                    <a:gd name="T40" fmla="*/ 16 w 98"/>
                    <a:gd name="T41" fmla="*/ 1 h 54"/>
                    <a:gd name="T42" fmla="*/ 14 w 98"/>
                    <a:gd name="T43" fmla="*/ 2 h 54"/>
                    <a:gd name="T44" fmla="*/ 12 w 98"/>
                    <a:gd name="T45" fmla="*/ 3 h 54"/>
                    <a:gd name="T46" fmla="*/ 7 w 98"/>
                    <a:gd name="T47" fmla="*/ 5 h 54"/>
                    <a:gd name="T48" fmla="*/ 4 w 98"/>
                    <a:gd name="T49" fmla="*/ 8 h 54"/>
                    <a:gd name="T50" fmla="*/ 2 w 98"/>
                    <a:gd name="T51" fmla="*/ 9 h 54"/>
                    <a:gd name="T52" fmla="*/ 1 w 98"/>
                    <a:gd name="T53" fmla="*/ 10 h 54"/>
                    <a:gd name="T54" fmla="*/ 0 w 98"/>
                    <a:gd name="T55" fmla="*/ 12 h 54"/>
                    <a:gd name="T56" fmla="*/ 0 w 98"/>
                    <a:gd name="T57" fmla="*/ 13 h 5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98" h="54">
                      <a:moveTo>
                        <a:pt x="0" y="41"/>
                      </a:moveTo>
                      <a:lnTo>
                        <a:pt x="5" y="46"/>
                      </a:lnTo>
                      <a:lnTo>
                        <a:pt x="13" y="50"/>
                      </a:lnTo>
                      <a:lnTo>
                        <a:pt x="23" y="53"/>
                      </a:lnTo>
                      <a:lnTo>
                        <a:pt x="32" y="54"/>
                      </a:lnTo>
                      <a:lnTo>
                        <a:pt x="38" y="54"/>
                      </a:lnTo>
                      <a:lnTo>
                        <a:pt x="45" y="53"/>
                      </a:lnTo>
                      <a:lnTo>
                        <a:pt x="50" y="51"/>
                      </a:lnTo>
                      <a:lnTo>
                        <a:pt x="56" y="49"/>
                      </a:lnTo>
                      <a:lnTo>
                        <a:pt x="67" y="42"/>
                      </a:lnTo>
                      <a:lnTo>
                        <a:pt x="75" y="35"/>
                      </a:lnTo>
                      <a:lnTo>
                        <a:pt x="84" y="28"/>
                      </a:lnTo>
                      <a:lnTo>
                        <a:pt x="91" y="20"/>
                      </a:lnTo>
                      <a:lnTo>
                        <a:pt x="95" y="12"/>
                      </a:lnTo>
                      <a:lnTo>
                        <a:pt x="98" y="4"/>
                      </a:lnTo>
                      <a:lnTo>
                        <a:pt x="91" y="2"/>
                      </a:lnTo>
                      <a:lnTo>
                        <a:pt x="83" y="0"/>
                      </a:lnTo>
                      <a:lnTo>
                        <a:pt x="75" y="0"/>
                      </a:lnTo>
                      <a:lnTo>
                        <a:pt x="68" y="0"/>
                      </a:lnTo>
                      <a:lnTo>
                        <a:pt x="59" y="1"/>
                      </a:lnTo>
                      <a:lnTo>
                        <a:pt x="51" y="3"/>
                      </a:lnTo>
                      <a:lnTo>
                        <a:pt x="43" y="6"/>
                      </a:lnTo>
                      <a:lnTo>
                        <a:pt x="37" y="9"/>
                      </a:lnTo>
                      <a:lnTo>
                        <a:pt x="23" y="17"/>
                      </a:lnTo>
                      <a:lnTo>
                        <a:pt x="12" y="25"/>
                      </a:lnTo>
                      <a:lnTo>
                        <a:pt x="7" y="29"/>
                      </a:lnTo>
                      <a:lnTo>
                        <a:pt x="4" y="33"/>
                      </a:lnTo>
                      <a:lnTo>
                        <a:pt x="1" y="37"/>
                      </a:lnTo>
                      <a:lnTo>
                        <a:pt x="0" y="41"/>
                      </a:lnTo>
                    </a:path>
                  </a:pathLst>
                </a:custGeom>
                <a:grpFill/>
                <a:ln w="9525" cap="flat" cmpd="sng">
                  <a:solidFill>
                    <a:schemeClr val="bg1"/>
                  </a:solidFill>
                  <a:prstDash val="solid"/>
                  <a:round/>
                  <a:headEnd type="none" w="med" len="med"/>
                  <a:tailEnd type="none" w="med" len="med"/>
                </a:ln>
                <a:effectLst/>
              </p:spPr>
              <p:txBody>
                <a:bodyPr/>
                <a:lstStyle/>
                <a:p>
                  <a:endParaRPr lang="en-GB" sz="1637"/>
                </a:p>
              </p:txBody>
            </p:sp>
            <p:sp>
              <p:nvSpPr>
                <p:cNvPr id="278" name="Freeform 393"/>
                <p:cNvSpPr>
                  <a:spLocks/>
                </p:cNvSpPr>
                <p:nvPr/>
              </p:nvSpPr>
              <p:spPr bwMode="auto">
                <a:xfrm>
                  <a:off x="1387" y="1551"/>
                  <a:ext cx="21" cy="8"/>
                </a:xfrm>
                <a:custGeom>
                  <a:avLst/>
                  <a:gdLst>
                    <a:gd name="T0" fmla="*/ 0 w 67"/>
                    <a:gd name="T1" fmla="*/ 8 h 28"/>
                    <a:gd name="T2" fmla="*/ 3 w 67"/>
                    <a:gd name="T3" fmla="*/ 8 h 28"/>
                    <a:gd name="T4" fmla="*/ 7 w 67"/>
                    <a:gd name="T5" fmla="*/ 8 h 28"/>
                    <a:gd name="T6" fmla="*/ 10 w 67"/>
                    <a:gd name="T7" fmla="*/ 7 h 28"/>
                    <a:gd name="T8" fmla="*/ 13 w 67"/>
                    <a:gd name="T9" fmla="*/ 6 h 28"/>
                    <a:gd name="T10" fmla="*/ 15 w 67"/>
                    <a:gd name="T11" fmla="*/ 5 h 28"/>
                    <a:gd name="T12" fmla="*/ 18 w 67"/>
                    <a:gd name="T13" fmla="*/ 3 h 28"/>
                    <a:gd name="T14" fmla="*/ 20 w 67"/>
                    <a:gd name="T15" fmla="*/ 2 h 28"/>
                    <a:gd name="T16" fmla="*/ 21 w 67"/>
                    <a:gd name="T17" fmla="*/ 1 h 28"/>
                    <a:gd name="T18" fmla="*/ 18 w 67"/>
                    <a:gd name="T19" fmla="*/ 0 h 28"/>
                    <a:gd name="T20" fmla="*/ 14 w 67"/>
                    <a:gd name="T21" fmla="*/ 0 h 28"/>
                    <a:gd name="T22" fmla="*/ 11 w 67"/>
                    <a:gd name="T23" fmla="*/ 0 h 28"/>
                    <a:gd name="T24" fmla="*/ 8 w 67"/>
                    <a:gd name="T25" fmla="*/ 1 h 28"/>
                    <a:gd name="T26" fmla="*/ 5 w 67"/>
                    <a:gd name="T27" fmla="*/ 2 h 28"/>
                    <a:gd name="T28" fmla="*/ 3 w 67"/>
                    <a:gd name="T29" fmla="*/ 3 h 28"/>
                    <a:gd name="T30" fmla="*/ 2 w 67"/>
                    <a:gd name="T31" fmla="*/ 4 h 28"/>
                    <a:gd name="T32" fmla="*/ 1 w 67"/>
                    <a:gd name="T33" fmla="*/ 5 h 28"/>
                    <a:gd name="T34" fmla="*/ 1 w 67"/>
                    <a:gd name="T35" fmla="*/ 6 h 28"/>
                    <a:gd name="T36" fmla="*/ 0 w 67"/>
                    <a:gd name="T37" fmla="*/ 8 h 2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7" h="28">
                      <a:moveTo>
                        <a:pt x="0" y="27"/>
                      </a:moveTo>
                      <a:lnTo>
                        <a:pt x="11" y="28"/>
                      </a:lnTo>
                      <a:lnTo>
                        <a:pt x="21" y="27"/>
                      </a:lnTo>
                      <a:lnTo>
                        <a:pt x="31" y="25"/>
                      </a:lnTo>
                      <a:lnTo>
                        <a:pt x="41" y="21"/>
                      </a:lnTo>
                      <a:lnTo>
                        <a:pt x="49" y="17"/>
                      </a:lnTo>
                      <a:lnTo>
                        <a:pt x="57" y="12"/>
                      </a:lnTo>
                      <a:lnTo>
                        <a:pt x="63" y="7"/>
                      </a:lnTo>
                      <a:lnTo>
                        <a:pt x="67" y="3"/>
                      </a:lnTo>
                      <a:lnTo>
                        <a:pt x="57" y="1"/>
                      </a:lnTo>
                      <a:lnTo>
                        <a:pt x="46" y="0"/>
                      </a:lnTo>
                      <a:lnTo>
                        <a:pt x="36" y="1"/>
                      </a:lnTo>
                      <a:lnTo>
                        <a:pt x="26" y="3"/>
                      </a:lnTo>
                      <a:lnTo>
                        <a:pt x="17" y="7"/>
                      </a:lnTo>
                      <a:lnTo>
                        <a:pt x="10" y="12"/>
                      </a:lnTo>
                      <a:lnTo>
                        <a:pt x="7" y="15"/>
                      </a:lnTo>
                      <a:lnTo>
                        <a:pt x="4" y="19"/>
                      </a:lnTo>
                      <a:lnTo>
                        <a:pt x="2" y="22"/>
                      </a:lnTo>
                      <a:lnTo>
                        <a:pt x="0" y="27"/>
                      </a:lnTo>
                    </a:path>
                  </a:pathLst>
                </a:custGeom>
                <a:grpFill/>
                <a:ln w="9525" cap="flat" cmpd="sng">
                  <a:solidFill>
                    <a:schemeClr val="bg1"/>
                  </a:solidFill>
                  <a:prstDash val="solid"/>
                  <a:round/>
                  <a:headEnd type="none" w="med" len="med"/>
                  <a:tailEnd type="none" w="med" len="med"/>
                </a:ln>
                <a:effectLst/>
              </p:spPr>
              <p:txBody>
                <a:bodyPr/>
                <a:lstStyle/>
                <a:p>
                  <a:endParaRPr lang="en-GB" sz="1637"/>
                </a:p>
              </p:txBody>
            </p:sp>
            <p:sp>
              <p:nvSpPr>
                <p:cNvPr id="279" name="Freeform 394"/>
                <p:cNvSpPr>
                  <a:spLocks/>
                </p:cNvSpPr>
                <p:nvPr/>
              </p:nvSpPr>
              <p:spPr bwMode="auto">
                <a:xfrm>
                  <a:off x="1332" y="1608"/>
                  <a:ext cx="11" cy="11"/>
                </a:xfrm>
                <a:custGeom>
                  <a:avLst/>
                  <a:gdLst>
                    <a:gd name="T0" fmla="*/ 0 w 32"/>
                    <a:gd name="T1" fmla="*/ 6 h 36"/>
                    <a:gd name="T2" fmla="*/ 0 w 32"/>
                    <a:gd name="T3" fmla="*/ 7 h 36"/>
                    <a:gd name="T4" fmla="*/ 1 w 32"/>
                    <a:gd name="T5" fmla="*/ 9 h 36"/>
                    <a:gd name="T6" fmla="*/ 2 w 32"/>
                    <a:gd name="T7" fmla="*/ 10 h 36"/>
                    <a:gd name="T8" fmla="*/ 3 w 32"/>
                    <a:gd name="T9" fmla="*/ 10 h 36"/>
                    <a:gd name="T10" fmla="*/ 4 w 32"/>
                    <a:gd name="T11" fmla="*/ 11 h 36"/>
                    <a:gd name="T12" fmla="*/ 4 w 32"/>
                    <a:gd name="T13" fmla="*/ 11 h 36"/>
                    <a:gd name="T14" fmla="*/ 11 w 32"/>
                    <a:gd name="T15" fmla="*/ 11 h 36"/>
                    <a:gd name="T16" fmla="*/ 11 w 32"/>
                    <a:gd name="T17" fmla="*/ 7 h 36"/>
                    <a:gd name="T18" fmla="*/ 11 w 32"/>
                    <a:gd name="T19" fmla="*/ 4 h 36"/>
                    <a:gd name="T20" fmla="*/ 10 w 32"/>
                    <a:gd name="T21" fmla="*/ 2 h 36"/>
                    <a:gd name="T22" fmla="*/ 9 w 32"/>
                    <a:gd name="T23" fmla="*/ 0 h 36"/>
                    <a:gd name="T24" fmla="*/ 7 w 32"/>
                    <a:gd name="T25" fmla="*/ 1 h 36"/>
                    <a:gd name="T26" fmla="*/ 4 w 32"/>
                    <a:gd name="T27" fmla="*/ 2 h 36"/>
                    <a:gd name="T28" fmla="*/ 2 w 32"/>
                    <a:gd name="T29" fmla="*/ 3 h 36"/>
                    <a:gd name="T30" fmla="*/ 1 w 32"/>
                    <a:gd name="T31" fmla="*/ 4 h 36"/>
                    <a:gd name="T32" fmla="*/ 0 w 32"/>
                    <a:gd name="T33" fmla="*/ 5 h 36"/>
                    <a:gd name="T34" fmla="*/ 0 w 32"/>
                    <a:gd name="T35" fmla="*/ 6 h 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2" h="36">
                      <a:moveTo>
                        <a:pt x="0" y="18"/>
                      </a:moveTo>
                      <a:lnTo>
                        <a:pt x="1" y="24"/>
                      </a:lnTo>
                      <a:lnTo>
                        <a:pt x="4" y="29"/>
                      </a:lnTo>
                      <a:lnTo>
                        <a:pt x="6" y="32"/>
                      </a:lnTo>
                      <a:lnTo>
                        <a:pt x="8" y="34"/>
                      </a:lnTo>
                      <a:lnTo>
                        <a:pt x="11" y="36"/>
                      </a:lnTo>
                      <a:lnTo>
                        <a:pt x="13" y="36"/>
                      </a:lnTo>
                      <a:lnTo>
                        <a:pt x="32" y="36"/>
                      </a:lnTo>
                      <a:lnTo>
                        <a:pt x="32" y="22"/>
                      </a:lnTo>
                      <a:lnTo>
                        <a:pt x="31" y="14"/>
                      </a:lnTo>
                      <a:lnTo>
                        <a:pt x="30" y="7"/>
                      </a:lnTo>
                      <a:lnTo>
                        <a:pt x="26" y="0"/>
                      </a:lnTo>
                      <a:lnTo>
                        <a:pt x="19" y="2"/>
                      </a:lnTo>
                      <a:lnTo>
                        <a:pt x="11" y="7"/>
                      </a:lnTo>
                      <a:lnTo>
                        <a:pt x="6" y="10"/>
                      </a:lnTo>
                      <a:lnTo>
                        <a:pt x="3" y="13"/>
                      </a:lnTo>
                      <a:lnTo>
                        <a:pt x="1" y="16"/>
                      </a:lnTo>
                      <a:lnTo>
                        <a:pt x="0" y="18"/>
                      </a:lnTo>
                    </a:path>
                  </a:pathLst>
                </a:custGeom>
                <a:grpFill/>
                <a:ln w="9525" cap="flat" cmpd="sng">
                  <a:solidFill>
                    <a:schemeClr val="bg1"/>
                  </a:solidFill>
                  <a:prstDash val="solid"/>
                  <a:round/>
                  <a:headEnd type="none" w="med" len="med"/>
                  <a:tailEnd type="none" w="med" len="med"/>
                </a:ln>
                <a:effectLst/>
              </p:spPr>
              <p:txBody>
                <a:bodyPr/>
                <a:lstStyle/>
                <a:p>
                  <a:endParaRPr lang="en-GB" sz="1637"/>
                </a:p>
              </p:txBody>
            </p:sp>
            <p:sp>
              <p:nvSpPr>
                <p:cNvPr id="280" name="Freeform 395"/>
                <p:cNvSpPr>
                  <a:spLocks/>
                </p:cNvSpPr>
                <p:nvPr/>
              </p:nvSpPr>
              <p:spPr bwMode="auto">
                <a:xfrm>
                  <a:off x="1279" y="1314"/>
                  <a:ext cx="46" cy="17"/>
                </a:xfrm>
                <a:custGeom>
                  <a:avLst/>
                  <a:gdLst>
                    <a:gd name="T0" fmla="*/ 0 w 146"/>
                    <a:gd name="T1" fmla="*/ 14 h 52"/>
                    <a:gd name="T2" fmla="*/ 3 w 146"/>
                    <a:gd name="T3" fmla="*/ 15 h 52"/>
                    <a:gd name="T4" fmla="*/ 7 w 146"/>
                    <a:gd name="T5" fmla="*/ 16 h 52"/>
                    <a:gd name="T6" fmla="*/ 10 w 146"/>
                    <a:gd name="T7" fmla="*/ 17 h 52"/>
                    <a:gd name="T8" fmla="*/ 14 w 146"/>
                    <a:gd name="T9" fmla="*/ 17 h 52"/>
                    <a:gd name="T10" fmla="*/ 20 w 146"/>
                    <a:gd name="T11" fmla="*/ 17 h 52"/>
                    <a:gd name="T12" fmla="*/ 26 w 146"/>
                    <a:gd name="T13" fmla="*/ 17 h 52"/>
                    <a:gd name="T14" fmla="*/ 37 w 146"/>
                    <a:gd name="T15" fmla="*/ 15 h 52"/>
                    <a:gd name="T16" fmla="*/ 46 w 146"/>
                    <a:gd name="T17" fmla="*/ 14 h 52"/>
                    <a:gd name="T18" fmla="*/ 45 w 146"/>
                    <a:gd name="T19" fmla="*/ 12 h 52"/>
                    <a:gd name="T20" fmla="*/ 45 w 146"/>
                    <a:gd name="T21" fmla="*/ 10 h 52"/>
                    <a:gd name="T22" fmla="*/ 44 w 146"/>
                    <a:gd name="T23" fmla="*/ 8 h 52"/>
                    <a:gd name="T24" fmla="*/ 43 w 146"/>
                    <a:gd name="T25" fmla="*/ 6 h 52"/>
                    <a:gd name="T26" fmla="*/ 42 w 146"/>
                    <a:gd name="T27" fmla="*/ 5 h 52"/>
                    <a:gd name="T28" fmla="*/ 41 w 146"/>
                    <a:gd name="T29" fmla="*/ 4 h 52"/>
                    <a:gd name="T30" fmla="*/ 39 w 146"/>
                    <a:gd name="T31" fmla="*/ 3 h 52"/>
                    <a:gd name="T32" fmla="*/ 38 w 146"/>
                    <a:gd name="T33" fmla="*/ 2 h 52"/>
                    <a:gd name="T34" fmla="*/ 35 w 146"/>
                    <a:gd name="T35" fmla="*/ 1 h 52"/>
                    <a:gd name="T36" fmla="*/ 32 w 146"/>
                    <a:gd name="T37" fmla="*/ 0 h 52"/>
                    <a:gd name="T38" fmla="*/ 28 w 146"/>
                    <a:gd name="T39" fmla="*/ 0 h 52"/>
                    <a:gd name="T40" fmla="*/ 25 w 146"/>
                    <a:gd name="T41" fmla="*/ 1 h 52"/>
                    <a:gd name="T42" fmla="*/ 21 w 146"/>
                    <a:gd name="T43" fmla="*/ 2 h 52"/>
                    <a:gd name="T44" fmla="*/ 17 w 146"/>
                    <a:gd name="T45" fmla="*/ 3 h 52"/>
                    <a:gd name="T46" fmla="*/ 14 w 146"/>
                    <a:gd name="T47" fmla="*/ 5 h 52"/>
                    <a:gd name="T48" fmla="*/ 10 w 146"/>
                    <a:gd name="T49" fmla="*/ 6 h 52"/>
                    <a:gd name="T50" fmla="*/ 7 w 146"/>
                    <a:gd name="T51" fmla="*/ 8 h 52"/>
                    <a:gd name="T52" fmla="*/ 4 w 146"/>
                    <a:gd name="T53" fmla="*/ 10 h 52"/>
                    <a:gd name="T54" fmla="*/ 2 w 146"/>
                    <a:gd name="T55" fmla="*/ 12 h 52"/>
                    <a:gd name="T56" fmla="*/ 0 w 146"/>
                    <a:gd name="T57" fmla="*/ 14 h 5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46" h="52">
                      <a:moveTo>
                        <a:pt x="0" y="43"/>
                      </a:moveTo>
                      <a:lnTo>
                        <a:pt x="11" y="46"/>
                      </a:lnTo>
                      <a:lnTo>
                        <a:pt x="22" y="48"/>
                      </a:lnTo>
                      <a:lnTo>
                        <a:pt x="33" y="51"/>
                      </a:lnTo>
                      <a:lnTo>
                        <a:pt x="43" y="52"/>
                      </a:lnTo>
                      <a:lnTo>
                        <a:pt x="63" y="52"/>
                      </a:lnTo>
                      <a:lnTo>
                        <a:pt x="82" y="51"/>
                      </a:lnTo>
                      <a:lnTo>
                        <a:pt x="117" y="46"/>
                      </a:lnTo>
                      <a:lnTo>
                        <a:pt x="146" y="43"/>
                      </a:lnTo>
                      <a:lnTo>
                        <a:pt x="144" y="36"/>
                      </a:lnTo>
                      <a:lnTo>
                        <a:pt x="142" y="30"/>
                      </a:lnTo>
                      <a:lnTo>
                        <a:pt x="139" y="24"/>
                      </a:lnTo>
                      <a:lnTo>
                        <a:pt x="137" y="19"/>
                      </a:lnTo>
                      <a:lnTo>
                        <a:pt x="134" y="15"/>
                      </a:lnTo>
                      <a:lnTo>
                        <a:pt x="129" y="11"/>
                      </a:lnTo>
                      <a:lnTo>
                        <a:pt x="125" y="8"/>
                      </a:lnTo>
                      <a:lnTo>
                        <a:pt x="121" y="6"/>
                      </a:lnTo>
                      <a:lnTo>
                        <a:pt x="111" y="2"/>
                      </a:lnTo>
                      <a:lnTo>
                        <a:pt x="101" y="0"/>
                      </a:lnTo>
                      <a:lnTo>
                        <a:pt x="89" y="1"/>
                      </a:lnTo>
                      <a:lnTo>
                        <a:pt x="78" y="2"/>
                      </a:lnTo>
                      <a:lnTo>
                        <a:pt x="66" y="5"/>
                      </a:lnTo>
                      <a:lnTo>
                        <a:pt x="54" y="9"/>
                      </a:lnTo>
                      <a:lnTo>
                        <a:pt x="43" y="14"/>
                      </a:lnTo>
                      <a:lnTo>
                        <a:pt x="32" y="19"/>
                      </a:lnTo>
                      <a:lnTo>
                        <a:pt x="22" y="25"/>
                      </a:lnTo>
                      <a:lnTo>
                        <a:pt x="13" y="31"/>
                      </a:lnTo>
                      <a:lnTo>
                        <a:pt x="5" y="37"/>
                      </a:lnTo>
                      <a:lnTo>
                        <a:pt x="0" y="43"/>
                      </a:lnTo>
                    </a:path>
                  </a:pathLst>
                </a:custGeom>
                <a:grpFill/>
                <a:ln w="9525" cap="flat" cmpd="sng">
                  <a:solidFill>
                    <a:schemeClr val="bg1"/>
                  </a:solidFill>
                  <a:prstDash val="solid"/>
                  <a:round/>
                  <a:headEnd type="none" w="med" len="med"/>
                  <a:tailEnd type="none" w="med" len="med"/>
                </a:ln>
                <a:effectLst/>
              </p:spPr>
              <p:txBody>
                <a:bodyPr/>
                <a:lstStyle/>
                <a:p>
                  <a:endParaRPr lang="en-GB" sz="1637"/>
                </a:p>
              </p:txBody>
            </p:sp>
            <p:sp>
              <p:nvSpPr>
                <p:cNvPr id="281" name="Freeform 396"/>
                <p:cNvSpPr>
                  <a:spLocks/>
                </p:cNvSpPr>
                <p:nvPr/>
              </p:nvSpPr>
              <p:spPr bwMode="auto">
                <a:xfrm>
                  <a:off x="1261" y="1252"/>
                  <a:ext cx="20" cy="10"/>
                </a:xfrm>
                <a:custGeom>
                  <a:avLst/>
                  <a:gdLst>
                    <a:gd name="T0" fmla="*/ 20 w 60"/>
                    <a:gd name="T1" fmla="*/ 0 h 31"/>
                    <a:gd name="T2" fmla="*/ 16 w 60"/>
                    <a:gd name="T3" fmla="*/ 0 h 31"/>
                    <a:gd name="T4" fmla="*/ 13 w 60"/>
                    <a:gd name="T5" fmla="*/ 0 h 31"/>
                    <a:gd name="T6" fmla="*/ 10 w 60"/>
                    <a:gd name="T7" fmla="*/ 0 h 31"/>
                    <a:gd name="T8" fmla="*/ 9 w 60"/>
                    <a:gd name="T9" fmla="*/ 0 h 31"/>
                    <a:gd name="T10" fmla="*/ 6 w 60"/>
                    <a:gd name="T11" fmla="*/ 0 h 31"/>
                    <a:gd name="T12" fmla="*/ 3 w 60"/>
                    <a:gd name="T13" fmla="*/ 1 h 31"/>
                    <a:gd name="T14" fmla="*/ 2 w 60"/>
                    <a:gd name="T15" fmla="*/ 1 h 31"/>
                    <a:gd name="T16" fmla="*/ 1 w 60"/>
                    <a:gd name="T17" fmla="*/ 2 h 31"/>
                    <a:gd name="T18" fmla="*/ 0 w 60"/>
                    <a:gd name="T19" fmla="*/ 3 h 31"/>
                    <a:gd name="T20" fmla="*/ 0 w 60"/>
                    <a:gd name="T21" fmla="*/ 4 h 31"/>
                    <a:gd name="T22" fmla="*/ 0 w 60"/>
                    <a:gd name="T23" fmla="*/ 5 h 31"/>
                    <a:gd name="T24" fmla="*/ 1 w 60"/>
                    <a:gd name="T25" fmla="*/ 6 h 31"/>
                    <a:gd name="T26" fmla="*/ 2 w 60"/>
                    <a:gd name="T27" fmla="*/ 7 h 31"/>
                    <a:gd name="T28" fmla="*/ 3 w 60"/>
                    <a:gd name="T29" fmla="*/ 8 h 31"/>
                    <a:gd name="T30" fmla="*/ 4 w 60"/>
                    <a:gd name="T31" fmla="*/ 9 h 31"/>
                    <a:gd name="T32" fmla="*/ 6 w 60"/>
                    <a:gd name="T33" fmla="*/ 9 h 31"/>
                    <a:gd name="T34" fmla="*/ 7 w 60"/>
                    <a:gd name="T35" fmla="*/ 10 h 31"/>
                    <a:gd name="T36" fmla="*/ 9 w 60"/>
                    <a:gd name="T37" fmla="*/ 10 h 31"/>
                    <a:gd name="T38" fmla="*/ 11 w 60"/>
                    <a:gd name="T39" fmla="*/ 10 h 31"/>
                    <a:gd name="T40" fmla="*/ 12 w 60"/>
                    <a:gd name="T41" fmla="*/ 9 h 31"/>
                    <a:gd name="T42" fmla="*/ 14 w 60"/>
                    <a:gd name="T43" fmla="*/ 8 h 31"/>
                    <a:gd name="T44" fmla="*/ 16 w 60"/>
                    <a:gd name="T45" fmla="*/ 6 h 31"/>
                    <a:gd name="T46" fmla="*/ 19 w 60"/>
                    <a:gd name="T47" fmla="*/ 3 h 31"/>
                    <a:gd name="T48" fmla="*/ 20 w 60"/>
                    <a:gd name="T49" fmla="*/ 2 h 31"/>
                    <a:gd name="T50" fmla="*/ 20 w 60"/>
                    <a:gd name="T51" fmla="*/ 0 h 3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60" h="31">
                      <a:moveTo>
                        <a:pt x="60" y="0"/>
                      </a:moveTo>
                      <a:lnTo>
                        <a:pt x="49" y="0"/>
                      </a:lnTo>
                      <a:lnTo>
                        <a:pt x="38" y="0"/>
                      </a:lnTo>
                      <a:lnTo>
                        <a:pt x="31" y="0"/>
                      </a:lnTo>
                      <a:lnTo>
                        <a:pt x="27" y="0"/>
                      </a:lnTo>
                      <a:lnTo>
                        <a:pt x="18" y="0"/>
                      </a:lnTo>
                      <a:lnTo>
                        <a:pt x="9" y="2"/>
                      </a:lnTo>
                      <a:lnTo>
                        <a:pt x="5" y="3"/>
                      </a:lnTo>
                      <a:lnTo>
                        <a:pt x="2" y="5"/>
                      </a:lnTo>
                      <a:lnTo>
                        <a:pt x="1" y="8"/>
                      </a:lnTo>
                      <a:lnTo>
                        <a:pt x="0" y="12"/>
                      </a:lnTo>
                      <a:lnTo>
                        <a:pt x="1" y="15"/>
                      </a:lnTo>
                      <a:lnTo>
                        <a:pt x="2" y="18"/>
                      </a:lnTo>
                      <a:lnTo>
                        <a:pt x="5" y="22"/>
                      </a:lnTo>
                      <a:lnTo>
                        <a:pt x="9" y="24"/>
                      </a:lnTo>
                      <a:lnTo>
                        <a:pt x="12" y="27"/>
                      </a:lnTo>
                      <a:lnTo>
                        <a:pt x="18" y="29"/>
                      </a:lnTo>
                      <a:lnTo>
                        <a:pt x="22" y="31"/>
                      </a:lnTo>
                      <a:lnTo>
                        <a:pt x="27" y="31"/>
                      </a:lnTo>
                      <a:lnTo>
                        <a:pt x="32" y="30"/>
                      </a:lnTo>
                      <a:lnTo>
                        <a:pt x="37" y="28"/>
                      </a:lnTo>
                      <a:lnTo>
                        <a:pt x="43" y="24"/>
                      </a:lnTo>
                      <a:lnTo>
                        <a:pt x="48" y="18"/>
                      </a:lnTo>
                      <a:lnTo>
                        <a:pt x="57" y="10"/>
                      </a:lnTo>
                      <a:lnTo>
                        <a:pt x="60" y="6"/>
                      </a:lnTo>
                      <a:lnTo>
                        <a:pt x="60" y="0"/>
                      </a:lnTo>
                    </a:path>
                  </a:pathLst>
                </a:custGeom>
                <a:grpFill/>
                <a:ln w="9525" cap="flat" cmpd="sng">
                  <a:solidFill>
                    <a:schemeClr val="bg1"/>
                  </a:solidFill>
                  <a:prstDash val="solid"/>
                  <a:round/>
                  <a:headEnd type="none" w="med" len="med"/>
                  <a:tailEnd type="none" w="med" len="med"/>
                </a:ln>
                <a:effectLst/>
              </p:spPr>
              <p:txBody>
                <a:bodyPr/>
                <a:lstStyle/>
                <a:p>
                  <a:endParaRPr lang="en-GB" sz="1637"/>
                </a:p>
              </p:txBody>
            </p:sp>
            <p:sp>
              <p:nvSpPr>
                <p:cNvPr id="282" name="Freeform 397"/>
                <p:cNvSpPr>
                  <a:spLocks/>
                </p:cNvSpPr>
                <p:nvPr/>
              </p:nvSpPr>
              <p:spPr bwMode="auto">
                <a:xfrm>
                  <a:off x="1730" y="1713"/>
                  <a:ext cx="26" cy="20"/>
                </a:xfrm>
                <a:custGeom>
                  <a:avLst/>
                  <a:gdLst>
                    <a:gd name="T0" fmla="*/ 0 w 80"/>
                    <a:gd name="T1" fmla="*/ 14 h 62"/>
                    <a:gd name="T2" fmla="*/ 0 w 80"/>
                    <a:gd name="T3" fmla="*/ 15 h 62"/>
                    <a:gd name="T4" fmla="*/ 0 w 80"/>
                    <a:gd name="T5" fmla="*/ 16 h 62"/>
                    <a:gd name="T6" fmla="*/ 1 w 80"/>
                    <a:gd name="T7" fmla="*/ 16 h 62"/>
                    <a:gd name="T8" fmla="*/ 1 w 80"/>
                    <a:gd name="T9" fmla="*/ 17 h 62"/>
                    <a:gd name="T10" fmla="*/ 3 w 80"/>
                    <a:gd name="T11" fmla="*/ 18 h 62"/>
                    <a:gd name="T12" fmla="*/ 5 w 80"/>
                    <a:gd name="T13" fmla="*/ 19 h 62"/>
                    <a:gd name="T14" fmla="*/ 9 w 80"/>
                    <a:gd name="T15" fmla="*/ 20 h 62"/>
                    <a:gd name="T16" fmla="*/ 13 w 80"/>
                    <a:gd name="T17" fmla="*/ 20 h 62"/>
                    <a:gd name="T18" fmla="*/ 15 w 80"/>
                    <a:gd name="T19" fmla="*/ 20 h 62"/>
                    <a:gd name="T20" fmla="*/ 16 w 80"/>
                    <a:gd name="T21" fmla="*/ 19 h 62"/>
                    <a:gd name="T22" fmla="*/ 18 w 80"/>
                    <a:gd name="T23" fmla="*/ 18 h 62"/>
                    <a:gd name="T24" fmla="*/ 19 w 80"/>
                    <a:gd name="T25" fmla="*/ 17 h 62"/>
                    <a:gd name="T26" fmla="*/ 21 w 80"/>
                    <a:gd name="T27" fmla="*/ 15 h 62"/>
                    <a:gd name="T28" fmla="*/ 23 w 80"/>
                    <a:gd name="T29" fmla="*/ 12 h 62"/>
                    <a:gd name="T30" fmla="*/ 24 w 80"/>
                    <a:gd name="T31" fmla="*/ 9 h 62"/>
                    <a:gd name="T32" fmla="*/ 25 w 80"/>
                    <a:gd name="T33" fmla="*/ 6 h 62"/>
                    <a:gd name="T34" fmla="*/ 26 w 80"/>
                    <a:gd name="T35" fmla="*/ 3 h 62"/>
                    <a:gd name="T36" fmla="*/ 26 w 80"/>
                    <a:gd name="T37" fmla="*/ 0 h 62"/>
                    <a:gd name="T38" fmla="*/ 23 w 80"/>
                    <a:gd name="T39" fmla="*/ 0 h 62"/>
                    <a:gd name="T40" fmla="*/ 19 w 80"/>
                    <a:gd name="T41" fmla="*/ 1 h 62"/>
                    <a:gd name="T42" fmla="*/ 15 w 80"/>
                    <a:gd name="T43" fmla="*/ 3 h 62"/>
                    <a:gd name="T44" fmla="*/ 11 w 80"/>
                    <a:gd name="T45" fmla="*/ 4 h 62"/>
                    <a:gd name="T46" fmla="*/ 7 w 80"/>
                    <a:gd name="T47" fmla="*/ 6 h 62"/>
                    <a:gd name="T48" fmla="*/ 3 w 80"/>
                    <a:gd name="T49" fmla="*/ 8 h 62"/>
                    <a:gd name="T50" fmla="*/ 2 w 80"/>
                    <a:gd name="T51" fmla="*/ 10 h 62"/>
                    <a:gd name="T52" fmla="*/ 1 w 80"/>
                    <a:gd name="T53" fmla="*/ 11 h 62"/>
                    <a:gd name="T54" fmla="*/ 0 w 80"/>
                    <a:gd name="T55" fmla="*/ 13 h 62"/>
                    <a:gd name="T56" fmla="*/ 0 w 80"/>
                    <a:gd name="T57" fmla="*/ 14 h 6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0" h="62">
                      <a:moveTo>
                        <a:pt x="0" y="43"/>
                      </a:moveTo>
                      <a:lnTo>
                        <a:pt x="1" y="46"/>
                      </a:lnTo>
                      <a:lnTo>
                        <a:pt x="1" y="49"/>
                      </a:lnTo>
                      <a:lnTo>
                        <a:pt x="3" y="51"/>
                      </a:lnTo>
                      <a:lnTo>
                        <a:pt x="4" y="53"/>
                      </a:lnTo>
                      <a:lnTo>
                        <a:pt x="10" y="57"/>
                      </a:lnTo>
                      <a:lnTo>
                        <a:pt x="15" y="59"/>
                      </a:lnTo>
                      <a:lnTo>
                        <a:pt x="28" y="62"/>
                      </a:lnTo>
                      <a:lnTo>
                        <a:pt x="40" y="62"/>
                      </a:lnTo>
                      <a:lnTo>
                        <a:pt x="45" y="62"/>
                      </a:lnTo>
                      <a:lnTo>
                        <a:pt x="49" y="59"/>
                      </a:lnTo>
                      <a:lnTo>
                        <a:pt x="54" y="57"/>
                      </a:lnTo>
                      <a:lnTo>
                        <a:pt x="58" y="54"/>
                      </a:lnTo>
                      <a:lnTo>
                        <a:pt x="65" y="47"/>
                      </a:lnTo>
                      <a:lnTo>
                        <a:pt x="70" y="38"/>
                      </a:lnTo>
                      <a:lnTo>
                        <a:pt x="74" y="28"/>
                      </a:lnTo>
                      <a:lnTo>
                        <a:pt x="78" y="18"/>
                      </a:lnTo>
                      <a:lnTo>
                        <a:pt x="79" y="8"/>
                      </a:lnTo>
                      <a:lnTo>
                        <a:pt x="80" y="0"/>
                      </a:lnTo>
                      <a:lnTo>
                        <a:pt x="71" y="0"/>
                      </a:lnTo>
                      <a:lnTo>
                        <a:pt x="59" y="3"/>
                      </a:lnTo>
                      <a:lnTo>
                        <a:pt x="46" y="8"/>
                      </a:lnTo>
                      <a:lnTo>
                        <a:pt x="33" y="13"/>
                      </a:lnTo>
                      <a:lnTo>
                        <a:pt x="21" y="19"/>
                      </a:lnTo>
                      <a:lnTo>
                        <a:pt x="10" y="26"/>
                      </a:lnTo>
                      <a:lnTo>
                        <a:pt x="6" y="30"/>
                      </a:lnTo>
                      <a:lnTo>
                        <a:pt x="3" y="34"/>
                      </a:lnTo>
                      <a:lnTo>
                        <a:pt x="1" y="39"/>
                      </a:lnTo>
                      <a:lnTo>
                        <a:pt x="0" y="43"/>
                      </a:lnTo>
                    </a:path>
                  </a:pathLst>
                </a:custGeom>
                <a:grpFill/>
                <a:ln w="9525" cap="flat" cmpd="sng">
                  <a:solidFill>
                    <a:schemeClr val="bg1"/>
                  </a:solidFill>
                  <a:prstDash val="solid"/>
                  <a:round/>
                  <a:headEnd type="none" w="med" len="med"/>
                  <a:tailEnd type="none" w="med" len="med"/>
                </a:ln>
                <a:effectLst/>
              </p:spPr>
              <p:txBody>
                <a:bodyPr/>
                <a:lstStyle/>
                <a:p>
                  <a:endParaRPr lang="en-GB" sz="1637"/>
                </a:p>
              </p:txBody>
            </p:sp>
            <p:sp>
              <p:nvSpPr>
                <p:cNvPr id="283" name="Freeform 398"/>
                <p:cNvSpPr>
                  <a:spLocks/>
                </p:cNvSpPr>
                <p:nvPr/>
              </p:nvSpPr>
              <p:spPr bwMode="auto">
                <a:xfrm>
                  <a:off x="1583" y="1674"/>
                  <a:ext cx="33" cy="16"/>
                </a:xfrm>
                <a:custGeom>
                  <a:avLst/>
                  <a:gdLst>
                    <a:gd name="T0" fmla="*/ 25 w 106"/>
                    <a:gd name="T1" fmla="*/ 4 h 49"/>
                    <a:gd name="T2" fmla="*/ 22 w 106"/>
                    <a:gd name="T3" fmla="*/ 4 h 49"/>
                    <a:gd name="T4" fmla="*/ 21 w 106"/>
                    <a:gd name="T5" fmla="*/ 4 h 49"/>
                    <a:gd name="T6" fmla="*/ 18 w 106"/>
                    <a:gd name="T7" fmla="*/ 3 h 49"/>
                    <a:gd name="T8" fmla="*/ 17 w 106"/>
                    <a:gd name="T9" fmla="*/ 2 h 49"/>
                    <a:gd name="T10" fmla="*/ 15 w 106"/>
                    <a:gd name="T11" fmla="*/ 1 h 49"/>
                    <a:gd name="T12" fmla="*/ 13 w 106"/>
                    <a:gd name="T13" fmla="*/ 1 h 49"/>
                    <a:gd name="T14" fmla="*/ 11 w 106"/>
                    <a:gd name="T15" fmla="*/ 0 h 49"/>
                    <a:gd name="T16" fmla="*/ 8 w 106"/>
                    <a:gd name="T17" fmla="*/ 0 h 49"/>
                    <a:gd name="T18" fmla="*/ 5 w 106"/>
                    <a:gd name="T19" fmla="*/ 0 h 49"/>
                    <a:gd name="T20" fmla="*/ 0 w 106"/>
                    <a:gd name="T21" fmla="*/ 0 h 49"/>
                    <a:gd name="T22" fmla="*/ 3 w 106"/>
                    <a:gd name="T23" fmla="*/ 4 h 49"/>
                    <a:gd name="T24" fmla="*/ 5 w 106"/>
                    <a:gd name="T25" fmla="*/ 7 h 49"/>
                    <a:gd name="T26" fmla="*/ 8 w 106"/>
                    <a:gd name="T27" fmla="*/ 9 h 49"/>
                    <a:gd name="T28" fmla="*/ 11 w 106"/>
                    <a:gd name="T29" fmla="*/ 12 h 49"/>
                    <a:gd name="T30" fmla="*/ 13 w 106"/>
                    <a:gd name="T31" fmla="*/ 14 h 49"/>
                    <a:gd name="T32" fmla="*/ 16 w 106"/>
                    <a:gd name="T33" fmla="*/ 15 h 49"/>
                    <a:gd name="T34" fmla="*/ 19 w 106"/>
                    <a:gd name="T35" fmla="*/ 16 h 49"/>
                    <a:gd name="T36" fmla="*/ 22 w 106"/>
                    <a:gd name="T37" fmla="*/ 16 h 49"/>
                    <a:gd name="T38" fmla="*/ 25 w 106"/>
                    <a:gd name="T39" fmla="*/ 16 h 49"/>
                    <a:gd name="T40" fmla="*/ 27 w 106"/>
                    <a:gd name="T41" fmla="*/ 15 h 49"/>
                    <a:gd name="T42" fmla="*/ 30 w 106"/>
                    <a:gd name="T43" fmla="*/ 13 h 49"/>
                    <a:gd name="T44" fmla="*/ 33 w 106"/>
                    <a:gd name="T45" fmla="*/ 10 h 49"/>
                    <a:gd name="T46" fmla="*/ 31 w 106"/>
                    <a:gd name="T47" fmla="*/ 10 h 49"/>
                    <a:gd name="T48" fmla="*/ 31 w 106"/>
                    <a:gd name="T49" fmla="*/ 9 h 49"/>
                    <a:gd name="T50" fmla="*/ 29 w 106"/>
                    <a:gd name="T51" fmla="*/ 8 h 49"/>
                    <a:gd name="T52" fmla="*/ 28 w 106"/>
                    <a:gd name="T53" fmla="*/ 7 h 49"/>
                    <a:gd name="T54" fmla="*/ 27 w 106"/>
                    <a:gd name="T55" fmla="*/ 6 h 49"/>
                    <a:gd name="T56" fmla="*/ 26 w 106"/>
                    <a:gd name="T57" fmla="*/ 5 h 49"/>
                    <a:gd name="T58" fmla="*/ 26 w 106"/>
                    <a:gd name="T59" fmla="*/ 5 h 49"/>
                    <a:gd name="T60" fmla="*/ 25 w 106"/>
                    <a:gd name="T61" fmla="*/ 4 h 4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06" h="49">
                      <a:moveTo>
                        <a:pt x="80" y="13"/>
                      </a:moveTo>
                      <a:lnTo>
                        <a:pt x="72" y="12"/>
                      </a:lnTo>
                      <a:lnTo>
                        <a:pt x="66" y="11"/>
                      </a:lnTo>
                      <a:lnTo>
                        <a:pt x="59" y="8"/>
                      </a:lnTo>
                      <a:lnTo>
                        <a:pt x="53" y="6"/>
                      </a:lnTo>
                      <a:lnTo>
                        <a:pt x="47" y="4"/>
                      </a:lnTo>
                      <a:lnTo>
                        <a:pt x="41" y="2"/>
                      </a:lnTo>
                      <a:lnTo>
                        <a:pt x="34" y="0"/>
                      </a:lnTo>
                      <a:lnTo>
                        <a:pt x="26" y="0"/>
                      </a:lnTo>
                      <a:lnTo>
                        <a:pt x="15" y="0"/>
                      </a:lnTo>
                      <a:lnTo>
                        <a:pt x="0" y="0"/>
                      </a:lnTo>
                      <a:lnTo>
                        <a:pt x="9" y="11"/>
                      </a:lnTo>
                      <a:lnTo>
                        <a:pt x="17" y="21"/>
                      </a:lnTo>
                      <a:lnTo>
                        <a:pt x="26" y="29"/>
                      </a:lnTo>
                      <a:lnTo>
                        <a:pt x="34" y="36"/>
                      </a:lnTo>
                      <a:lnTo>
                        <a:pt x="42" y="42"/>
                      </a:lnTo>
                      <a:lnTo>
                        <a:pt x="52" y="46"/>
                      </a:lnTo>
                      <a:lnTo>
                        <a:pt x="61" y="48"/>
                      </a:lnTo>
                      <a:lnTo>
                        <a:pt x="72" y="49"/>
                      </a:lnTo>
                      <a:lnTo>
                        <a:pt x="79" y="48"/>
                      </a:lnTo>
                      <a:lnTo>
                        <a:pt x="87" y="45"/>
                      </a:lnTo>
                      <a:lnTo>
                        <a:pt x="97" y="39"/>
                      </a:lnTo>
                      <a:lnTo>
                        <a:pt x="106" y="31"/>
                      </a:lnTo>
                      <a:lnTo>
                        <a:pt x="101" y="30"/>
                      </a:lnTo>
                      <a:lnTo>
                        <a:pt x="98" y="28"/>
                      </a:lnTo>
                      <a:lnTo>
                        <a:pt x="93" y="25"/>
                      </a:lnTo>
                      <a:lnTo>
                        <a:pt x="90" y="22"/>
                      </a:lnTo>
                      <a:lnTo>
                        <a:pt x="88" y="19"/>
                      </a:lnTo>
                      <a:lnTo>
                        <a:pt x="84" y="16"/>
                      </a:lnTo>
                      <a:lnTo>
                        <a:pt x="82" y="14"/>
                      </a:lnTo>
                      <a:lnTo>
                        <a:pt x="80" y="13"/>
                      </a:lnTo>
                    </a:path>
                  </a:pathLst>
                </a:custGeom>
                <a:grpFill/>
                <a:ln w="9525" cap="flat" cmpd="sng">
                  <a:solidFill>
                    <a:schemeClr val="bg1"/>
                  </a:solidFill>
                  <a:prstDash val="solid"/>
                  <a:round/>
                  <a:headEnd type="none" w="med" len="med"/>
                  <a:tailEnd type="none" w="med" len="med"/>
                </a:ln>
                <a:effectLst/>
              </p:spPr>
              <p:txBody>
                <a:bodyPr/>
                <a:lstStyle/>
                <a:p>
                  <a:endParaRPr lang="en-GB" sz="1637"/>
                </a:p>
              </p:txBody>
            </p:sp>
            <p:sp>
              <p:nvSpPr>
                <p:cNvPr id="284" name="Freeform 399"/>
                <p:cNvSpPr>
                  <a:spLocks/>
                </p:cNvSpPr>
                <p:nvPr/>
              </p:nvSpPr>
              <p:spPr bwMode="auto">
                <a:xfrm>
                  <a:off x="1599" y="1713"/>
                  <a:ext cx="15" cy="7"/>
                </a:xfrm>
                <a:custGeom>
                  <a:avLst/>
                  <a:gdLst>
                    <a:gd name="T0" fmla="*/ 0 w 47"/>
                    <a:gd name="T1" fmla="*/ 6 h 22"/>
                    <a:gd name="T2" fmla="*/ 2 w 47"/>
                    <a:gd name="T3" fmla="*/ 7 h 22"/>
                    <a:gd name="T4" fmla="*/ 4 w 47"/>
                    <a:gd name="T5" fmla="*/ 7 h 22"/>
                    <a:gd name="T6" fmla="*/ 6 w 47"/>
                    <a:gd name="T7" fmla="*/ 7 h 22"/>
                    <a:gd name="T8" fmla="*/ 8 w 47"/>
                    <a:gd name="T9" fmla="*/ 7 h 22"/>
                    <a:gd name="T10" fmla="*/ 11 w 47"/>
                    <a:gd name="T11" fmla="*/ 6 h 22"/>
                    <a:gd name="T12" fmla="*/ 12 w 47"/>
                    <a:gd name="T13" fmla="*/ 5 h 22"/>
                    <a:gd name="T14" fmla="*/ 13 w 47"/>
                    <a:gd name="T15" fmla="*/ 4 h 22"/>
                    <a:gd name="T16" fmla="*/ 14 w 47"/>
                    <a:gd name="T17" fmla="*/ 3 h 22"/>
                    <a:gd name="T18" fmla="*/ 14 w 47"/>
                    <a:gd name="T19" fmla="*/ 2 h 22"/>
                    <a:gd name="T20" fmla="*/ 15 w 47"/>
                    <a:gd name="T21" fmla="*/ 0 h 22"/>
                    <a:gd name="T22" fmla="*/ 0 w 47"/>
                    <a:gd name="T23" fmla="*/ 6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7" h="22">
                      <a:moveTo>
                        <a:pt x="0" y="19"/>
                      </a:moveTo>
                      <a:lnTo>
                        <a:pt x="5" y="21"/>
                      </a:lnTo>
                      <a:lnTo>
                        <a:pt x="12" y="22"/>
                      </a:lnTo>
                      <a:lnTo>
                        <a:pt x="18" y="22"/>
                      </a:lnTo>
                      <a:lnTo>
                        <a:pt x="26" y="21"/>
                      </a:lnTo>
                      <a:lnTo>
                        <a:pt x="33" y="19"/>
                      </a:lnTo>
                      <a:lnTo>
                        <a:pt x="38" y="15"/>
                      </a:lnTo>
                      <a:lnTo>
                        <a:pt x="41" y="12"/>
                      </a:lnTo>
                      <a:lnTo>
                        <a:pt x="44" y="9"/>
                      </a:lnTo>
                      <a:lnTo>
                        <a:pt x="45" y="5"/>
                      </a:lnTo>
                      <a:lnTo>
                        <a:pt x="47" y="0"/>
                      </a:lnTo>
                      <a:lnTo>
                        <a:pt x="0" y="19"/>
                      </a:lnTo>
                    </a:path>
                  </a:pathLst>
                </a:custGeom>
                <a:grpFill/>
                <a:ln w="9525" cap="flat" cmpd="sng">
                  <a:solidFill>
                    <a:schemeClr val="bg1"/>
                  </a:solidFill>
                  <a:prstDash val="solid"/>
                  <a:round/>
                  <a:headEnd type="none" w="med" len="med"/>
                  <a:tailEnd type="none" w="med" len="med"/>
                </a:ln>
                <a:effectLst/>
              </p:spPr>
              <p:txBody>
                <a:bodyPr/>
                <a:lstStyle/>
                <a:p>
                  <a:endParaRPr lang="en-GB" sz="1637"/>
                </a:p>
              </p:txBody>
            </p:sp>
            <p:sp>
              <p:nvSpPr>
                <p:cNvPr id="285" name="Freeform 400"/>
                <p:cNvSpPr>
                  <a:spLocks/>
                </p:cNvSpPr>
                <p:nvPr/>
              </p:nvSpPr>
              <p:spPr bwMode="auto">
                <a:xfrm>
                  <a:off x="1608" y="1742"/>
                  <a:ext cx="17" cy="11"/>
                </a:xfrm>
                <a:custGeom>
                  <a:avLst/>
                  <a:gdLst>
                    <a:gd name="T0" fmla="*/ 17 w 53"/>
                    <a:gd name="T1" fmla="*/ 0 h 32"/>
                    <a:gd name="T2" fmla="*/ 12 w 53"/>
                    <a:gd name="T3" fmla="*/ 3 h 32"/>
                    <a:gd name="T4" fmla="*/ 7 w 53"/>
                    <a:gd name="T5" fmla="*/ 6 h 32"/>
                    <a:gd name="T6" fmla="*/ 4 w 53"/>
                    <a:gd name="T7" fmla="*/ 9 h 32"/>
                    <a:gd name="T8" fmla="*/ 0 w 53"/>
                    <a:gd name="T9" fmla="*/ 11 h 32"/>
                    <a:gd name="T10" fmla="*/ 4 w 53"/>
                    <a:gd name="T11" fmla="*/ 11 h 32"/>
                    <a:gd name="T12" fmla="*/ 8 w 53"/>
                    <a:gd name="T13" fmla="*/ 11 h 32"/>
                    <a:gd name="T14" fmla="*/ 13 w 53"/>
                    <a:gd name="T15" fmla="*/ 11 h 32"/>
                    <a:gd name="T16" fmla="*/ 17 w 53"/>
                    <a:gd name="T17" fmla="*/ 11 h 32"/>
                    <a:gd name="T18" fmla="*/ 17 w 53"/>
                    <a:gd name="T19" fmla="*/ 8 h 32"/>
                    <a:gd name="T20" fmla="*/ 17 w 53"/>
                    <a:gd name="T21" fmla="*/ 6 h 32"/>
                    <a:gd name="T22" fmla="*/ 17 w 53"/>
                    <a:gd name="T23" fmla="*/ 3 h 32"/>
                    <a:gd name="T24" fmla="*/ 17 w 53"/>
                    <a:gd name="T25" fmla="*/ 0 h 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3" h="32">
                      <a:moveTo>
                        <a:pt x="53" y="0"/>
                      </a:moveTo>
                      <a:lnTo>
                        <a:pt x="37" y="9"/>
                      </a:lnTo>
                      <a:lnTo>
                        <a:pt x="23" y="18"/>
                      </a:lnTo>
                      <a:lnTo>
                        <a:pt x="11" y="26"/>
                      </a:lnTo>
                      <a:lnTo>
                        <a:pt x="0" y="32"/>
                      </a:lnTo>
                      <a:lnTo>
                        <a:pt x="13" y="32"/>
                      </a:lnTo>
                      <a:lnTo>
                        <a:pt x="26" y="32"/>
                      </a:lnTo>
                      <a:lnTo>
                        <a:pt x="39" y="32"/>
                      </a:lnTo>
                      <a:lnTo>
                        <a:pt x="53" y="32"/>
                      </a:lnTo>
                      <a:lnTo>
                        <a:pt x="53" y="24"/>
                      </a:lnTo>
                      <a:lnTo>
                        <a:pt x="53" y="16"/>
                      </a:lnTo>
                      <a:lnTo>
                        <a:pt x="53" y="9"/>
                      </a:lnTo>
                      <a:lnTo>
                        <a:pt x="53" y="0"/>
                      </a:lnTo>
                    </a:path>
                  </a:pathLst>
                </a:custGeom>
                <a:grpFill/>
                <a:ln w="9525" cap="flat" cmpd="sng">
                  <a:solidFill>
                    <a:schemeClr val="bg1"/>
                  </a:solidFill>
                  <a:prstDash val="solid"/>
                  <a:round/>
                  <a:headEnd type="none" w="med" len="med"/>
                  <a:tailEnd type="none" w="med" len="med"/>
                </a:ln>
                <a:effectLst/>
              </p:spPr>
              <p:txBody>
                <a:bodyPr/>
                <a:lstStyle/>
                <a:p>
                  <a:endParaRPr lang="en-GB" sz="1637"/>
                </a:p>
              </p:txBody>
            </p:sp>
            <p:sp>
              <p:nvSpPr>
                <p:cNvPr id="286" name="Freeform 401"/>
                <p:cNvSpPr>
                  <a:spLocks/>
                </p:cNvSpPr>
                <p:nvPr/>
              </p:nvSpPr>
              <p:spPr bwMode="auto">
                <a:xfrm>
                  <a:off x="1450" y="1438"/>
                  <a:ext cx="14" cy="12"/>
                </a:xfrm>
                <a:custGeom>
                  <a:avLst/>
                  <a:gdLst>
                    <a:gd name="T0" fmla="*/ 8 w 46"/>
                    <a:gd name="T1" fmla="*/ 1 h 34"/>
                    <a:gd name="T2" fmla="*/ 0 w 46"/>
                    <a:gd name="T3" fmla="*/ 6 h 34"/>
                    <a:gd name="T4" fmla="*/ 0 w 46"/>
                    <a:gd name="T5" fmla="*/ 12 h 34"/>
                    <a:gd name="T6" fmla="*/ 8 w 46"/>
                    <a:gd name="T7" fmla="*/ 12 h 34"/>
                    <a:gd name="T8" fmla="*/ 9 w 46"/>
                    <a:gd name="T9" fmla="*/ 11 h 34"/>
                    <a:gd name="T10" fmla="*/ 11 w 46"/>
                    <a:gd name="T11" fmla="*/ 10 h 34"/>
                    <a:gd name="T12" fmla="*/ 12 w 46"/>
                    <a:gd name="T13" fmla="*/ 9 h 34"/>
                    <a:gd name="T14" fmla="*/ 13 w 46"/>
                    <a:gd name="T15" fmla="*/ 7 h 34"/>
                    <a:gd name="T16" fmla="*/ 13 w 46"/>
                    <a:gd name="T17" fmla="*/ 6 h 34"/>
                    <a:gd name="T18" fmla="*/ 14 w 46"/>
                    <a:gd name="T19" fmla="*/ 5 h 34"/>
                    <a:gd name="T20" fmla="*/ 14 w 46"/>
                    <a:gd name="T21" fmla="*/ 3 h 34"/>
                    <a:gd name="T22" fmla="*/ 14 w 46"/>
                    <a:gd name="T23" fmla="*/ 1 h 34"/>
                    <a:gd name="T24" fmla="*/ 14 w 46"/>
                    <a:gd name="T25" fmla="*/ 0 h 34"/>
                    <a:gd name="T26" fmla="*/ 13 w 46"/>
                    <a:gd name="T27" fmla="*/ 0 h 34"/>
                    <a:gd name="T28" fmla="*/ 13 w 46"/>
                    <a:gd name="T29" fmla="*/ 0 h 34"/>
                    <a:gd name="T30" fmla="*/ 12 w 46"/>
                    <a:gd name="T31" fmla="*/ 0 h 34"/>
                    <a:gd name="T32" fmla="*/ 10 w 46"/>
                    <a:gd name="T33" fmla="*/ 1 h 34"/>
                    <a:gd name="T34" fmla="*/ 8 w 46"/>
                    <a:gd name="T35" fmla="*/ 1 h 3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6" h="34">
                      <a:moveTo>
                        <a:pt x="27" y="3"/>
                      </a:moveTo>
                      <a:lnTo>
                        <a:pt x="0" y="16"/>
                      </a:lnTo>
                      <a:lnTo>
                        <a:pt x="0" y="34"/>
                      </a:lnTo>
                      <a:lnTo>
                        <a:pt x="27" y="34"/>
                      </a:lnTo>
                      <a:lnTo>
                        <a:pt x="31" y="32"/>
                      </a:lnTo>
                      <a:lnTo>
                        <a:pt x="35" y="28"/>
                      </a:lnTo>
                      <a:lnTo>
                        <a:pt x="39" y="25"/>
                      </a:lnTo>
                      <a:lnTo>
                        <a:pt x="42" y="21"/>
                      </a:lnTo>
                      <a:lnTo>
                        <a:pt x="44" y="17"/>
                      </a:lnTo>
                      <a:lnTo>
                        <a:pt x="45" y="13"/>
                      </a:lnTo>
                      <a:lnTo>
                        <a:pt x="46" y="8"/>
                      </a:lnTo>
                      <a:lnTo>
                        <a:pt x="46" y="3"/>
                      </a:lnTo>
                      <a:lnTo>
                        <a:pt x="46" y="1"/>
                      </a:lnTo>
                      <a:lnTo>
                        <a:pt x="44" y="0"/>
                      </a:lnTo>
                      <a:lnTo>
                        <a:pt x="42" y="0"/>
                      </a:lnTo>
                      <a:lnTo>
                        <a:pt x="39" y="0"/>
                      </a:lnTo>
                      <a:lnTo>
                        <a:pt x="32" y="2"/>
                      </a:lnTo>
                      <a:lnTo>
                        <a:pt x="27" y="3"/>
                      </a:lnTo>
                    </a:path>
                  </a:pathLst>
                </a:custGeom>
                <a:grpFill/>
                <a:ln w="9525" cap="flat" cmpd="sng">
                  <a:solidFill>
                    <a:schemeClr val="bg1"/>
                  </a:solidFill>
                  <a:prstDash val="solid"/>
                  <a:round/>
                  <a:headEnd type="none" w="med" len="med"/>
                  <a:tailEnd type="none" w="med" len="med"/>
                </a:ln>
                <a:effectLst/>
              </p:spPr>
              <p:txBody>
                <a:bodyPr/>
                <a:lstStyle/>
                <a:p>
                  <a:endParaRPr lang="en-GB" sz="1637"/>
                </a:p>
              </p:txBody>
            </p:sp>
            <p:sp>
              <p:nvSpPr>
                <p:cNvPr id="287" name="Freeform 402"/>
                <p:cNvSpPr>
                  <a:spLocks/>
                </p:cNvSpPr>
                <p:nvPr/>
              </p:nvSpPr>
              <p:spPr bwMode="auto">
                <a:xfrm>
                  <a:off x="1305" y="1224"/>
                  <a:ext cx="16" cy="8"/>
                </a:xfrm>
                <a:custGeom>
                  <a:avLst/>
                  <a:gdLst>
                    <a:gd name="T0" fmla="*/ 0 w 48"/>
                    <a:gd name="T1" fmla="*/ 8 h 25"/>
                    <a:gd name="T2" fmla="*/ 5 w 48"/>
                    <a:gd name="T3" fmla="*/ 8 h 25"/>
                    <a:gd name="T4" fmla="*/ 9 w 48"/>
                    <a:gd name="T5" fmla="*/ 8 h 25"/>
                    <a:gd name="T6" fmla="*/ 10 w 48"/>
                    <a:gd name="T7" fmla="*/ 8 h 25"/>
                    <a:gd name="T8" fmla="*/ 11 w 48"/>
                    <a:gd name="T9" fmla="*/ 7 h 25"/>
                    <a:gd name="T10" fmla="*/ 12 w 48"/>
                    <a:gd name="T11" fmla="*/ 6 h 25"/>
                    <a:gd name="T12" fmla="*/ 13 w 48"/>
                    <a:gd name="T13" fmla="*/ 5 h 25"/>
                    <a:gd name="T14" fmla="*/ 15 w 48"/>
                    <a:gd name="T15" fmla="*/ 2 h 25"/>
                    <a:gd name="T16" fmla="*/ 16 w 48"/>
                    <a:gd name="T17" fmla="*/ 0 h 25"/>
                    <a:gd name="T18" fmla="*/ 13 w 48"/>
                    <a:gd name="T19" fmla="*/ 0 h 25"/>
                    <a:gd name="T20" fmla="*/ 11 w 48"/>
                    <a:gd name="T21" fmla="*/ 1 h 25"/>
                    <a:gd name="T22" fmla="*/ 9 w 48"/>
                    <a:gd name="T23" fmla="*/ 2 h 25"/>
                    <a:gd name="T24" fmla="*/ 7 w 48"/>
                    <a:gd name="T25" fmla="*/ 3 h 25"/>
                    <a:gd name="T26" fmla="*/ 4 w 48"/>
                    <a:gd name="T27" fmla="*/ 5 h 25"/>
                    <a:gd name="T28" fmla="*/ 0 w 48"/>
                    <a:gd name="T29" fmla="*/ 8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8" h="25">
                      <a:moveTo>
                        <a:pt x="0" y="25"/>
                      </a:moveTo>
                      <a:lnTo>
                        <a:pt x="14" y="25"/>
                      </a:lnTo>
                      <a:lnTo>
                        <a:pt x="28" y="25"/>
                      </a:lnTo>
                      <a:lnTo>
                        <a:pt x="30" y="24"/>
                      </a:lnTo>
                      <a:lnTo>
                        <a:pt x="33" y="22"/>
                      </a:lnTo>
                      <a:lnTo>
                        <a:pt x="37" y="18"/>
                      </a:lnTo>
                      <a:lnTo>
                        <a:pt x="40" y="15"/>
                      </a:lnTo>
                      <a:lnTo>
                        <a:pt x="45" y="7"/>
                      </a:lnTo>
                      <a:lnTo>
                        <a:pt x="48" y="0"/>
                      </a:lnTo>
                      <a:lnTo>
                        <a:pt x="40" y="1"/>
                      </a:lnTo>
                      <a:lnTo>
                        <a:pt x="33" y="2"/>
                      </a:lnTo>
                      <a:lnTo>
                        <a:pt x="28" y="5"/>
                      </a:lnTo>
                      <a:lnTo>
                        <a:pt x="21" y="8"/>
                      </a:lnTo>
                      <a:lnTo>
                        <a:pt x="11" y="16"/>
                      </a:lnTo>
                      <a:lnTo>
                        <a:pt x="0" y="25"/>
                      </a:lnTo>
                    </a:path>
                  </a:pathLst>
                </a:custGeom>
                <a:grpFill/>
                <a:ln w="9525" cap="flat" cmpd="sng">
                  <a:solidFill>
                    <a:schemeClr val="bg1"/>
                  </a:solidFill>
                  <a:prstDash val="solid"/>
                  <a:round/>
                  <a:headEnd type="none" w="med" len="med"/>
                  <a:tailEnd type="none" w="med" len="med"/>
                </a:ln>
                <a:effectLst/>
              </p:spPr>
              <p:txBody>
                <a:bodyPr/>
                <a:lstStyle/>
                <a:p>
                  <a:endParaRPr lang="en-GB" sz="1637"/>
                </a:p>
              </p:txBody>
            </p:sp>
            <p:sp>
              <p:nvSpPr>
                <p:cNvPr id="288" name="Freeform 403"/>
                <p:cNvSpPr>
                  <a:spLocks/>
                </p:cNvSpPr>
                <p:nvPr/>
              </p:nvSpPr>
              <p:spPr bwMode="auto">
                <a:xfrm>
                  <a:off x="1343" y="1188"/>
                  <a:ext cx="8" cy="11"/>
                </a:xfrm>
                <a:custGeom>
                  <a:avLst/>
                  <a:gdLst>
                    <a:gd name="T0" fmla="*/ 0 w 30"/>
                    <a:gd name="T1" fmla="*/ 0 h 37"/>
                    <a:gd name="T2" fmla="*/ 0 w 30"/>
                    <a:gd name="T3" fmla="*/ 11 h 37"/>
                    <a:gd name="T4" fmla="*/ 3 w 30"/>
                    <a:gd name="T5" fmla="*/ 11 h 37"/>
                    <a:gd name="T6" fmla="*/ 5 w 30"/>
                    <a:gd name="T7" fmla="*/ 10 h 37"/>
                    <a:gd name="T8" fmla="*/ 6 w 30"/>
                    <a:gd name="T9" fmla="*/ 10 h 37"/>
                    <a:gd name="T10" fmla="*/ 7 w 30"/>
                    <a:gd name="T11" fmla="*/ 10 h 37"/>
                    <a:gd name="T12" fmla="*/ 7 w 30"/>
                    <a:gd name="T13" fmla="*/ 9 h 37"/>
                    <a:gd name="T14" fmla="*/ 8 w 30"/>
                    <a:gd name="T15" fmla="*/ 8 h 37"/>
                    <a:gd name="T16" fmla="*/ 8 w 30"/>
                    <a:gd name="T17" fmla="*/ 7 h 37"/>
                    <a:gd name="T18" fmla="*/ 8 w 30"/>
                    <a:gd name="T19" fmla="*/ 5 h 37"/>
                    <a:gd name="T20" fmla="*/ 8 w 30"/>
                    <a:gd name="T21" fmla="*/ 3 h 37"/>
                    <a:gd name="T22" fmla="*/ 7 w 30"/>
                    <a:gd name="T23" fmla="*/ 0 h 37"/>
                    <a:gd name="T24" fmla="*/ 0 w 30"/>
                    <a:gd name="T25" fmla="*/ 0 h 3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0" h="37">
                      <a:moveTo>
                        <a:pt x="0" y="0"/>
                      </a:moveTo>
                      <a:lnTo>
                        <a:pt x="0" y="37"/>
                      </a:lnTo>
                      <a:lnTo>
                        <a:pt x="11" y="36"/>
                      </a:lnTo>
                      <a:lnTo>
                        <a:pt x="20" y="34"/>
                      </a:lnTo>
                      <a:lnTo>
                        <a:pt x="22" y="33"/>
                      </a:lnTo>
                      <a:lnTo>
                        <a:pt x="26" y="32"/>
                      </a:lnTo>
                      <a:lnTo>
                        <a:pt x="28" y="30"/>
                      </a:lnTo>
                      <a:lnTo>
                        <a:pt x="29" y="28"/>
                      </a:lnTo>
                      <a:lnTo>
                        <a:pt x="30" y="23"/>
                      </a:lnTo>
                      <a:lnTo>
                        <a:pt x="30" y="16"/>
                      </a:lnTo>
                      <a:lnTo>
                        <a:pt x="29" y="9"/>
                      </a:lnTo>
                      <a:lnTo>
                        <a:pt x="27" y="0"/>
                      </a:lnTo>
                      <a:lnTo>
                        <a:pt x="0" y="0"/>
                      </a:lnTo>
                    </a:path>
                  </a:pathLst>
                </a:custGeom>
                <a:grpFill/>
                <a:ln w="9525" cap="flat" cmpd="sng">
                  <a:solidFill>
                    <a:schemeClr val="bg1"/>
                  </a:solidFill>
                  <a:prstDash val="solid"/>
                  <a:round/>
                  <a:headEnd type="none" w="med" len="med"/>
                  <a:tailEnd type="none" w="med" len="med"/>
                </a:ln>
                <a:effectLst/>
              </p:spPr>
              <p:txBody>
                <a:bodyPr/>
                <a:lstStyle/>
                <a:p>
                  <a:endParaRPr lang="en-GB" sz="1637"/>
                </a:p>
              </p:txBody>
            </p:sp>
            <p:sp>
              <p:nvSpPr>
                <p:cNvPr id="289" name="Freeform 404"/>
                <p:cNvSpPr>
                  <a:spLocks/>
                </p:cNvSpPr>
                <p:nvPr/>
              </p:nvSpPr>
              <p:spPr bwMode="auto">
                <a:xfrm>
                  <a:off x="1334" y="1208"/>
                  <a:ext cx="36" cy="16"/>
                </a:xfrm>
                <a:custGeom>
                  <a:avLst/>
                  <a:gdLst>
                    <a:gd name="T0" fmla="*/ 11 w 113"/>
                    <a:gd name="T1" fmla="*/ 1 h 46"/>
                    <a:gd name="T2" fmla="*/ 7 w 113"/>
                    <a:gd name="T3" fmla="*/ 1 h 46"/>
                    <a:gd name="T4" fmla="*/ 4 w 113"/>
                    <a:gd name="T5" fmla="*/ 2 h 46"/>
                    <a:gd name="T6" fmla="*/ 2 w 113"/>
                    <a:gd name="T7" fmla="*/ 2 h 46"/>
                    <a:gd name="T8" fmla="*/ 1 w 113"/>
                    <a:gd name="T9" fmla="*/ 4 h 46"/>
                    <a:gd name="T10" fmla="*/ 0 w 113"/>
                    <a:gd name="T11" fmla="*/ 5 h 46"/>
                    <a:gd name="T12" fmla="*/ 0 w 113"/>
                    <a:gd name="T13" fmla="*/ 7 h 46"/>
                    <a:gd name="T14" fmla="*/ 2 w 113"/>
                    <a:gd name="T15" fmla="*/ 9 h 46"/>
                    <a:gd name="T16" fmla="*/ 3 w 113"/>
                    <a:gd name="T17" fmla="*/ 11 h 46"/>
                    <a:gd name="T18" fmla="*/ 5 w 113"/>
                    <a:gd name="T19" fmla="*/ 13 h 46"/>
                    <a:gd name="T20" fmla="*/ 6 w 113"/>
                    <a:gd name="T21" fmla="*/ 14 h 46"/>
                    <a:gd name="T22" fmla="*/ 8 w 113"/>
                    <a:gd name="T23" fmla="*/ 15 h 46"/>
                    <a:gd name="T24" fmla="*/ 10 w 113"/>
                    <a:gd name="T25" fmla="*/ 16 h 46"/>
                    <a:gd name="T26" fmla="*/ 11 w 113"/>
                    <a:gd name="T27" fmla="*/ 16 h 46"/>
                    <a:gd name="T28" fmla="*/ 13 w 113"/>
                    <a:gd name="T29" fmla="*/ 16 h 46"/>
                    <a:gd name="T30" fmla="*/ 18 w 113"/>
                    <a:gd name="T31" fmla="*/ 16 h 46"/>
                    <a:gd name="T32" fmla="*/ 22 w 113"/>
                    <a:gd name="T33" fmla="*/ 15 h 46"/>
                    <a:gd name="T34" fmla="*/ 24 w 113"/>
                    <a:gd name="T35" fmla="*/ 14 h 46"/>
                    <a:gd name="T36" fmla="*/ 26 w 113"/>
                    <a:gd name="T37" fmla="*/ 13 h 46"/>
                    <a:gd name="T38" fmla="*/ 28 w 113"/>
                    <a:gd name="T39" fmla="*/ 13 h 46"/>
                    <a:gd name="T40" fmla="*/ 29 w 113"/>
                    <a:gd name="T41" fmla="*/ 11 h 46"/>
                    <a:gd name="T42" fmla="*/ 32 w 113"/>
                    <a:gd name="T43" fmla="*/ 9 h 46"/>
                    <a:gd name="T44" fmla="*/ 34 w 113"/>
                    <a:gd name="T45" fmla="*/ 7 h 46"/>
                    <a:gd name="T46" fmla="*/ 35 w 113"/>
                    <a:gd name="T47" fmla="*/ 4 h 46"/>
                    <a:gd name="T48" fmla="*/ 36 w 113"/>
                    <a:gd name="T49" fmla="*/ 1 h 46"/>
                    <a:gd name="T50" fmla="*/ 32 w 113"/>
                    <a:gd name="T51" fmla="*/ 0 h 46"/>
                    <a:gd name="T52" fmla="*/ 28 w 113"/>
                    <a:gd name="T53" fmla="*/ 0 h 46"/>
                    <a:gd name="T54" fmla="*/ 24 w 113"/>
                    <a:gd name="T55" fmla="*/ 0 h 46"/>
                    <a:gd name="T56" fmla="*/ 21 w 113"/>
                    <a:gd name="T57" fmla="*/ 0 h 46"/>
                    <a:gd name="T58" fmla="*/ 15 w 113"/>
                    <a:gd name="T59" fmla="*/ 1 h 46"/>
                    <a:gd name="T60" fmla="*/ 11 w 113"/>
                    <a:gd name="T61" fmla="*/ 1 h 4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13" h="46">
                      <a:moveTo>
                        <a:pt x="33" y="3"/>
                      </a:moveTo>
                      <a:lnTo>
                        <a:pt x="22" y="3"/>
                      </a:lnTo>
                      <a:lnTo>
                        <a:pt x="12" y="5"/>
                      </a:lnTo>
                      <a:lnTo>
                        <a:pt x="7" y="7"/>
                      </a:lnTo>
                      <a:lnTo>
                        <a:pt x="3" y="11"/>
                      </a:lnTo>
                      <a:lnTo>
                        <a:pt x="1" y="15"/>
                      </a:lnTo>
                      <a:lnTo>
                        <a:pt x="0" y="21"/>
                      </a:lnTo>
                      <a:lnTo>
                        <a:pt x="6" y="27"/>
                      </a:lnTo>
                      <a:lnTo>
                        <a:pt x="10" y="33"/>
                      </a:lnTo>
                      <a:lnTo>
                        <a:pt x="16" y="37"/>
                      </a:lnTo>
                      <a:lnTo>
                        <a:pt x="20" y="41"/>
                      </a:lnTo>
                      <a:lnTo>
                        <a:pt x="25" y="43"/>
                      </a:lnTo>
                      <a:lnTo>
                        <a:pt x="30" y="45"/>
                      </a:lnTo>
                      <a:lnTo>
                        <a:pt x="35" y="46"/>
                      </a:lnTo>
                      <a:lnTo>
                        <a:pt x="40" y="46"/>
                      </a:lnTo>
                      <a:lnTo>
                        <a:pt x="56" y="46"/>
                      </a:lnTo>
                      <a:lnTo>
                        <a:pt x="70" y="43"/>
                      </a:lnTo>
                      <a:lnTo>
                        <a:pt x="76" y="41"/>
                      </a:lnTo>
                      <a:lnTo>
                        <a:pt x="81" y="38"/>
                      </a:lnTo>
                      <a:lnTo>
                        <a:pt x="87" y="36"/>
                      </a:lnTo>
                      <a:lnTo>
                        <a:pt x="91" y="33"/>
                      </a:lnTo>
                      <a:lnTo>
                        <a:pt x="99" y="27"/>
                      </a:lnTo>
                      <a:lnTo>
                        <a:pt x="106" y="20"/>
                      </a:lnTo>
                      <a:lnTo>
                        <a:pt x="110" y="12"/>
                      </a:lnTo>
                      <a:lnTo>
                        <a:pt x="113" y="3"/>
                      </a:lnTo>
                      <a:lnTo>
                        <a:pt x="99" y="1"/>
                      </a:lnTo>
                      <a:lnTo>
                        <a:pt x="87" y="0"/>
                      </a:lnTo>
                      <a:lnTo>
                        <a:pt x="76" y="0"/>
                      </a:lnTo>
                      <a:lnTo>
                        <a:pt x="66" y="1"/>
                      </a:lnTo>
                      <a:lnTo>
                        <a:pt x="48" y="2"/>
                      </a:lnTo>
                      <a:lnTo>
                        <a:pt x="33" y="3"/>
                      </a:lnTo>
                    </a:path>
                  </a:pathLst>
                </a:custGeom>
                <a:grpFill/>
                <a:ln w="9525" cap="flat" cmpd="sng">
                  <a:solidFill>
                    <a:schemeClr val="bg1"/>
                  </a:solidFill>
                  <a:prstDash val="solid"/>
                  <a:round/>
                  <a:headEnd type="none" w="med" len="med"/>
                  <a:tailEnd type="none" w="med" len="med"/>
                </a:ln>
                <a:effectLst/>
              </p:spPr>
              <p:txBody>
                <a:bodyPr/>
                <a:lstStyle/>
                <a:p>
                  <a:endParaRPr lang="en-GB" sz="1637"/>
                </a:p>
              </p:txBody>
            </p:sp>
            <p:sp>
              <p:nvSpPr>
                <p:cNvPr id="290" name="Freeform 405"/>
                <p:cNvSpPr>
                  <a:spLocks/>
                </p:cNvSpPr>
                <p:nvPr/>
              </p:nvSpPr>
              <p:spPr bwMode="auto">
                <a:xfrm>
                  <a:off x="1365" y="1201"/>
                  <a:ext cx="49" cy="28"/>
                </a:xfrm>
                <a:custGeom>
                  <a:avLst/>
                  <a:gdLst>
                    <a:gd name="T0" fmla="*/ 0 w 153"/>
                    <a:gd name="T1" fmla="*/ 27 h 82"/>
                    <a:gd name="T2" fmla="*/ 1 w 153"/>
                    <a:gd name="T3" fmla="*/ 28 h 82"/>
                    <a:gd name="T4" fmla="*/ 2 w 153"/>
                    <a:gd name="T5" fmla="*/ 28 h 82"/>
                    <a:gd name="T6" fmla="*/ 3 w 153"/>
                    <a:gd name="T7" fmla="*/ 28 h 82"/>
                    <a:gd name="T8" fmla="*/ 4 w 153"/>
                    <a:gd name="T9" fmla="*/ 28 h 82"/>
                    <a:gd name="T10" fmla="*/ 7 w 153"/>
                    <a:gd name="T11" fmla="*/ 27 h 82"/>
                    <a:gd name="T12" fmla="*/ 11 w 153"/>
                    <a:gd name="T13" fmla="*/ 27 h 82"/>
                    <a:gd name="T14" fmla="*/ 13 w 153"/>
                    <a:gd name="T15" fmla="*/ 27 h 82"/>
                    <a:gd name="T16" fmla="*/ 15 w 153"/>
                    <a:gd name="T17" fmla="*/ 27 h 82"/>
                    <a:gd name="T18" fmla="*/ 18 w 153"/>
                    <a:gd name="T19" fmla="*/ 26 h 82"/>
                    <a:gd name="T20" fmla="*/ 21 w 153"/>
                    <a:gd name="T21" fmla="*/ 25 h 82"/>
                    <a:gd name="T22" fmla="*/ 27 w 153"/>
                    <a:gd name="T23" fmla="*/ 23 h 82"/>
                    <a:gd name="T24" fmla="*/ 33 w 153"/>
                    <a:gd name="T25" fmla="*/ 20 h 82"/>
                    <a:gd name="T26" fmla="*/ 36 w 153"/>
                    <a:gd name="T27" fmla="*/ 18 h 82"/>
                    <a:gd name="T28" fmla="*/ 39 w 153"/>
                    <a:gd name="T29" fmla="*/ 17 h 82"/>
                    <a:gd name="T30" fmla="*/ 41 w 153"/>
                    <a:gd name="T31" fmla="*/ 15 h 82"/>
                    <a:gd name="T32" fmla="*/ 44 w 153"/>
                    <a:gd name="T33" fmla="*/ 13 h 82"/>
                    <a:gd name="T34" fmla="*/ 45 w 153"/>
                    <a:gd name="T35" fmla="*/ 11 h 82"/>
                    <a:gd name="T36" fmla="*/ 47 w 153"/>
                    <a:gd name="T37" fmla="*/ 9 h 82"/>
                    <a:gd name="T38" fmla="*/ 48 w 153"/>
                    <a:gd name="T39" fmla="*/ 6 h 82"/>
                    <a:gd name="T40" fmla="*/ 49 w 153"/>
                    <a:gd name="T41" fmla="*/ 4 h 82"/>
                    <a:gd name="T42" fmla="*/ 43 w 153"/>
                    <a:gd name="T43" fmla="*/ 3 h 82"/>
                    <a:gd name="T44" fmla="*/ 37 w 153"/>
                    <a:gd name="T45" fmla="*/ 1 h 82"/>
                    <a:gd name="T46" fmla="*/ 31 w 153"/>
                    <a:gd name="T47" fmla="*/ 0 h 82"/>
                    <a:gd name="T48" fmla="*/ 25 w 153"/>
                    <a:gd name="T49" fmla="*/ 0 h 82"/>
                    <a:gd name="T50" fmla="*/ 22 w 153"/>
                    <a:gd name="T51" fmla="*/ 0 h 82"/>
                    <a:gd name="T52" fmla="*/ 19 w 153"/>
                    <a:gd name="T53" fmla="*/ 0 h 82"/>
                    <a:gd name="T54" fmla="*/ 17 w 153"/>
                    <a:gd name="T55" fmla="*/ 1 h 82"/>
                    <a:gd name="T56" fmla="*/ 14 w 153"/>
                    <a:gd name="T57" fmla="*/ 1 h 82"/>
                    <a:gd name="T58" fmla="*/ 12 w 153"/>
                    <a:gd name="T59" fmla="*/ 2 h 82"/>
                    <a:gd name="T60" fmla="*/ 11 w 153"/>
                    <a:gd name="T61" fmla="*/ 3 h 82"/>
                    <a:gd name="T62" fmla="*/ 10 w 153"/>
                    <a:gd name="T63" fmla="*/ 5 h 82"/>
                    <a:gd name="T64" fmla="*/ 8 w 153"/>
                    <a:gd name="T65" fmla="*/ 6 h 82"/>
                    <a:gd name="T66" fmla="*/ 10 w 153"/>
                    <a:gd name="T67" fmla="*/ 8 h 82"/>
                    <a:gd name="T68" fmla="*/ 12 w 153"/>
                    <a:gd name="T69" fmla="*/ 10 h 82"/>
                    <a:gd name="T70" fmla="*/ 12 w 153"/>
                    <a:gd name="T71" fmla="*/ 11 h 82"/>
                    <a:gd name="T72" fmla="*/ 13 w 153"/>
                    <a:gd name="T73" fmla="*/ 12 h 82"/>
                    <a:gd name="T74" fmla="*/ 14 w 153"/>
                    <a:gd name="T75" fmla="*/ 12 h 82"/>
                    <a:gd name="T76" fmla="*/ 15 w 153"/>
                    <a:gd name="T77" fmla="*/ 12 h 82"/>
                    <a:gd name="T78" fmla="*/ 13 w 153"/>
                    <a:gd name="T79" fmla="*/ 14 h 82"/>
                    <a:gd name="T80" fmla="*/ 11 w 153"/>
                    <a:gd name="T81" fmla="*/ 16 h 82"/>
                    <a:gd name="T82" fmla="*/ 9 w 153"/>
                    <a:gd name="T83" fmla="*/ 18 h 82"/>
                    <a:gd name="T84" fmla="*/ 7 w 153"/>
                    <a:gd name="T85" fmla="*/ 19 h 82"/>
                    <a:gd name="T86" fmla="*/ 6 w 153"/>
                    <a:gd name="T87" fmla="*/ 22 h 82"/>
                    <a:gd name="T88" fmla="*/ 4 w 153"/>
                    <a:gd name="T89" fmla="*/ 24 h 82"/>
                    <a:gd name="T90" fmla="*/ 2 w 153"/>
                    <a:gd name="T91" fmla="*/ 26 h 82"/>
                    <a:gd name="T92" fmla="*/ 0 w 153"/>
                    <a:gd name="T93" fmla="*/ 27 h 8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53" h="82">
                      <a:moveTo>
                        <a:pt x="0" y="79"/>
                      </a:moveTo>
                      <a:lnTo>
                        <a:pt x="2" y="81"/>
                      </a:lnTo>
                      <a:lnTo>
                        <a:pt x="6" y="82"/>
                      </a:lnTo>
                      <a:lnTo>
                        <a:pt x="10" y="82"/>
                      </a:lnTo>
                      <a:lnTo>
                        <a:pt x="14" y="82"/>
                      </a:lnTo>
                      <a:lnTo>
                        <a:pt x="23" y="80"/>
                      </a:lnTo>
                      <a:lnTo>
                        <a:pt x="33" y="79"/>
                      </a:lnTo>
                      <a:lnTo>
                        <a:pt x="40" y="79"/>
                      </a:lnTo>
                      <a:lnTo>
                        <a:pt x="47" y="78"/>
                      </a:lnTo>
                      <a:lnTo>
                        <a:pt x="56" y="76"/>
                      </a:lnTo>
                      <a:lnTo>
                        <a:pt x="65" y="74"/>
                      </a:lnTo>
                      <a:lnTo>
                        <a:pt x="83" y="68"/>
                      </a:lnTo>
                      <a:lnTo>
                        <a:pt x="103" y="59"/>
                      </a:lnTo>
                      <a:lnTo>
                        <a:pt x="112" y="54"/>
                      </a:lnTo>
                      <a:lnTo>
                        <a:pt x="121" y="49"/>
                      </a:lnTo>
                      <a:lnTo>
                        <a:pt x="129" y="43"/>
                      </a:lnTo>
                      <a:lnTo>
                        <a:pt x="136" y="38"/>
                      </a:lnTo>
                      <a:lnTo>
                        <a:pt x="142" y="32"/>
                      </a:lnTo>
                      <a:lnTo>
                        <a:pt x="147" y="25"/>
                      </a:lnTo>
                      <a:lnTo>
                        <a:pt x="150" y="19"/>
                      </a:lnTo>
                      <a:lnTo>
                        <a:pt x="153" y="12"/>
                      </a:lnTo>
                      <a:lnTo>
                        <a:pt x="134" y="8"/>
                      </a:lnTo>
                      <a:lnTo>
                        <a:pt x="115" y="3"/>
                      </a:lnTo>
                      <a:lnTo>
                        <a:pt x="96" y="1"/>
                      </a:lnTo>
                      <a:lnTo>
                        <a:pt x="77" y="0"/>
                      </a:lnTo>
                      <a:lnTo>
                        <a:pt x="68" y="1"/>
                      </a:lnTo>
                      <a:lnTo>
                        <a:pt x="60" y="1"/>
                      </a:lnTo>
                      <a:lnTo>
                        <a:pt x="52" y="2"/>
                      </a:lnTo>
                      <a:lnTo>
                        <a:pt x="45" y="4"/>
                      </a:lnTo>
                      <a:lnTo>
                        <a:pt x="38" y="7"/>
                      </a:lnTo>
                      <a:lnTo>
                        <a:pt x="34" y="10"/>
                      </a:lnTo>
                      <a:lnTo>
                        <a:pt x="30" y="14"/>
                      </a:lnTo>
                      <a:lnTo>
                        <a:pt x="26" y="18"/>
                      </a:lnTo>
                      <a:lnTo>
                        <a:pt x="32" y="23"/>
                      </a:lnTo>
                      <a:lnTo>
                        <a:pt x="36" y="29"/>
                      </a:lnTo>
                      <a:lnTo>
                        <a:pt x="38" y="32"/>
                      </a:lnTo>
                      <a:lnTo>
                        <a:pt x="42" y="34"/>
                      </a:lnTo>
                      <a:lnTo>
                        <a:pt x="44" y="36"/>
                      </a:lnTo>
                      <a:lnTo>
                        <a:pt x="46" y="36"/>
                      </a:lnTo>
                      <a:lnTo>
                        <a:pt x="40" y="41"/>
                      </a:lnTo>
                      <a:lnTo>
                        <a:pt x="33" y="46"/>
                      </a:lnTo>
                      <a:lnTo>
                        <a:pt x="29" y="52"/>
                      </a:lnTo>
                      <a:lnTo>
                        <a:pt x="23" y="57"/>
                      </a:lnTo>
                      <a:lnTo>
                        <a:pt x="18" y="64"/>
                      </a:lnTo>
                      <a:lnTo>
                        <a:pt x="13" y="69"/>
                      </a:lnTo>
                      <a:lnTo>
                        <a:pt x="7" y="75"/>
                      </a:lnTo>
                      <a:lnTo>
                        <a:pt x="0" y="79"/>
                      </a:lnTo>
                    </a:path>
                  </a:pathLst>
                </a:custGeom>
                <a:grpFill/>
                <a:ln w="9525" cap="flat" cmpd="sng">
                  <a:solidFill>
                    <a:schemeClr val="bg1"/>
                  </a:solidFill>
                  <a:prstDash val="solid"/>
                  <a:round/>
                  <a:headEnd type="none" w="med" len="med"/>
                  <a:tailEnd type="none" w="med" len="med"/>
                </a:ln>
                <a:effectLst/>
              </p:spPr>
              <p:txBody>
                <a:bodyPr/>
                <a:lstStyle/>
                <a:p>
                  <a:endParaRPr lang="en-GB" sz="1637"/>
                </a:p>
              </p:txBody>
            </p:sp>
            <p:sp>
              <p:nvSpPr>
                <p:cNvPr id="291" name="Freeform 406"/>
                <p:cNvSpPr>
                  <a:spLocks/>
                </p:cNvSpPr>
                <p:nvPr/>
              </p:nvSpPr>
              <p:spPr bwMode="auto">
                <a:xfrm>
                  <a:off x="1414" y="1217"/>
                  <a:ext cx="29" cy="17"/>
                </a:xfrm>
                <a:custGeom>
                  <a:avLst/>
                  <a:gdLst>
                    <a:gd name="T0" fmla="*/ 0 w 86"/>
                    <a:gd name="T1" fmla="*/ 13 h 50"/>
                    <a:gd name="T2" fmla="*/ 2 w 86"/>
                    <a:gd name="T3" fmla="*/ 14 h 50"/>
                    <a:gd name="T4" fmla="*/ 4 w 86"/>
                    <a:gd name="T5" fmla="*/ 15 h 50"/>
                    <a:gd name="T6" fmla="*/ 5 w 86"/>
                    <a:gd name="T7" fmla="*/ 16 h 50"/>
                    <a:gd name="T8" fmla="*/ 8 w 86"/>
                    <a:gd name="T9" fmla="*/ 16 h 50"/>
                    <a:gd name="T10" fmla="*/ 12 w 86"/>
                    <a:gd name="T11" fmla="*/ 17 h 50"/>
                    <a:gd name="T12" fmla="*/ 16 w 86"/>
                    <a:gd name="T13" fmla="*/ 17 h 50"/>
                    <a:gd name="T14" fmla="*/ 20 w 86"/>
                    <a:gd name="T15" fmla="*/ 17 h 50"/>
                    <a:gd name="T16" fmla="*/ 23 w 86"/>
                    <a:gd name="T17" fmla="*/ 16 h 50"/>
                    <a:gd name="T18" fmla="*/ 25 w 86"/>
                    <a:gd name="T19" fmla="*/ 16 h 50"/>
                    <a:gd name="T20" fmla="*/ 27 w 86"/>
                    <a:gd name="T21" fmla="*/ 15 h 50"/>
                    <a:gd name="T22" fmla="*/ 28 w 86"/>
                    <a:gd name="T23" fmla="*/ 14 h 50"/>
                    <a:gd name="T24" fmla="*/ 28 w 86"/>
                    <a:gd name="T25" fmla="*/ 13 h 50"/>
                    <a:gd name="T26" fmla="*/ 29 w 86"/>
                    <a:gd name="T27" fmla="*/ 11 h 50"/>
                    <a:gd name="T28" fmla="*/ 29 w 86"/>
                    <a:gd name="T29" fmla="*/ 9 h 50"/>
                    <a:gd name="T30" fmla="*/ 29 w 86"/>
                    <a:gd name="T31" fmla="*/ 6 h 50"/>
                    <a:gd name="T32" fmla="*/ 28 w 86"/>
                    <a:gd name="T33" fmla="*/ 3 h 50"/>
                    <a:gd name="T34" fmla="*/ 28 w 86"/>
                    <a:gd name="T35" fmla="*/ 2 h 50"/>
                    <a:gd name="T36" fmla="*/ 27 w 86"/>
                    <a:gd name="T37" fmla="*/ 2 h 50"/>
                    <a:gd name="T38" fmla="*/ 26 w 86"/>
                    <a:gd name="T39" fmla="*/ 1 h 50"/>
                    <a:gd name="T40" fmla="*/ 25 w 86"/>
                    <a:gd name="T41" fmla="*/ 0 h 50"/>
                    <a:gd name="T42" fmla="*/ 0 w 86"/>
                    <a:gd name="T43" fmla="*/ 13 h 5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86" h="50">
                      <a:moveTo>
                        <a:pt x="0" y="37"/>
                      </a:moveTo>
                      <a:lnTo>
                        <a:pt x="5" y="41"/>
                      </a:lnTo>
                      <a:lnTo>
                        <a:pt x="11" y="44"/>
                      </a:lnTo>
                      <a:lnTo>
                        <a:pt x="16" y="47"/>
                      </a:lnTo>
                      <a:lnTo>
                        <a:pt x="23" y="48"/>
                      </a:lnTo>
                      <a:lnTo>
                        <a:pt x="35" y="49"/>
                      </a:lnTo>
                      <a:lnTo>
                        <a:pt x="46" y="50"/>
                      </a:lnTo>
                      <a:lnTo>
                        <a:pt x="58" y="49"/>
                      </a:lnTo>
                      <a:lnTo>
                        <a:pt x="67" y="48"/>
                      </a:lnTo>
                      <a:lnTo>
                        <a:pt x="73" y="47"/>
                      </a:lnTo>
                      <a:lnTo>
                        <a:pt x="79" y="44"/>
                      </a:lnTo>
                      <a:lnTo>
                        <a:pt x="82" y="41"/>
                      </a:lnTo>
                      <a:lnTo>
                        <a:pt x="84" y="37"/>
                      </a:lnTo>
                      <a:lnTo>
                        <a:pt x="85" y="32"/>
                      </a:lnTo>
                      <a:lnTo>
                        <a:pt x="86" y="25"/>
                      </a:lnTo>
                      <a:lnTo>
                        <a:pt x="85" y="17"/>
                      </a:lnTo>
                      <a:lnTo>
                        <a:pt x="84" y="10"/>
                      </a:lnTo>
                      <a:lnTo>
                        <a:pt x="83" y="7"/>
                      </a:lnTo>
                      <a:lnTo>
                        <a:pt x="81" y="5"/>
                      </a:lnTo>
                      <a:lnTo>
                        <a:pt x="77" y="2"/>
                      </a:lnTo>
                      <a:lnTo>
                        <a:pt x="73" y="0"/>
                      </a:lnTo>
                      <a:lnTo>
                        <a:pt x="0" y="37"/>
                      </a:lnTo>
                    </a:path>
                  </a:pathLst>
                </a:custGeom>
                <a:grpFill/>
                <a:ln w="9525" cap="flat" cmpd="sng">
                  <a:solidFill>
                    <a:schemeClr val="bg1"/>
                  </a:solidFill>
                  <a:prstDash val="solid"/>
                  <a:round/>
                  <a:headEnd type="none" w="med" len="med"/>
                  <a:tailEnd type="none" w="med" len="med"/>
                </a:ln>
                <a:effectLst/>
              </p:spPr>
              <p:txBody>
                <a:bodyPr/>
                <a:lstStyle/>
                <a:p>
                  <a:endParaRPr lang="en-GB" sz="1637"/>
                </a:p>
              </p:txBody>
            </p:sp>
            <p:sp>
              <p:nvSpPr>
                <p:cNvPr id="292" name="Freeform 407"/>
                <p:cNvSpPr>
                  <a:spLocks/>
                </p:cNvSpPr>
                <p:nvPr/>
              </p:nvSpPr>
              <p:spPr bwMode="auto">
                <a:xfrm>
                  <a:off x="1379" y="1163"/>
                  <a:ext cx="55" cy="25"/>
                </a:xfrm>
                <a:custGeom>
                  <a:avLst/>
                  <a:gdLst>
                    <a:gd name="T0" fmla="*/ 38 w 172"/>
                    <a:gd name="T1" fmla="*/ 21 h 74"/>
                    <a:gd name="T2" fmla="*/ 35 w 172"/>
                    <a:gd name="T3" fmla="*/ 21 h 74"/>
                    <a:gd name="T4" fmla="*/ 32 w 172"/>
                    <a:gd name="T5" fmla="*/ 21 h 74"/>
                    <a:gd name="T6" fmla="*/ 29 w 172"/>
                    <a:gd name="T7" fmla="*/ 21 h 74"/>
                    <a:gd name="T8" fmla="*/ 26 w 172"/>
                    <a:gd name="T9" fmla="*/ 21 h 74"/>
                    <a:gd name="T10" fmla="*/ 19 w 172"/>
                    <a:gd name="T11" fmla="*/ 25 h 74"/>
                    <a:gd name="T12" fmla="*/ 11 w 172"/>
                    <a:gd name="T13" fmla="*/ 25 h 74"/>
                    <a:gd name="T14" fmla="*/ 12 w 172"/>
                    <a:gd name="T15" fmla="*/ 21 h 74"/>
                    <a:gd name="T16" fmla="*/ 12 w 172"/>
                    <a:gd name="T17" fmla="*/ 17 h 74"/>
                    <a:gd name="T18" fmla="*/ 10 w 172"/>
                    <a:gd name="T19" fmla="*/ 17 h 74"/>
                    <a:gd name="T20" fmla="*/ 7 w 172"/>
                    <a:gd name="T21" fmla="*/ 16 h 74"/>
                    <a:gd name="T22" fmla="*/ 5 w 172"/>
                    <a:gd name="T23" fmla="*/ 16 h 74"/>
                    <a:gd name="T24" fmla="*/ 3 w 172"/>
                    <a:gd name="T25" fmla="*/ 15 h 74"/>
                    <a:gd name="T26" fmla="*/ 2 w 172"/>
                    <a:gd name="T27" fmla="*/ 14 h 74"/>
                    <a:gd name="T28" fmla="*/ 1 w 172"/>
                    <a:gd name="T29" fmla="*/ 13 h 74"/>
                    <a:gd name="T30" fmla="*/ 0 w 172"/>
                    <a:gd name="T31" fmla="*/ 12 h 74"/>
                    <a:gd name="T32" fmla="*/ 0 w 172"/>
                    <a:gd name="T33" fmla="*/ 10 h 74"/>
                    <a:gd name="T34" fmla="*/ 0 w 172"/>
                    <a:gd name="T35" fmla="*/ 9 h 74"/>
                    <a:gd name="T36" fmla="*/ 1 w 172"/>
                    <a:gd name="T37" fmla="*/ 7 h 74"/>
                    <a:gd name="T38" fmla="*/ 2 w 172"/>
                    <a:gd name="T39" fmla="*/ 6 h 74"/>
                    <a:gd name="T40" fmla="*/ 3 w 172"/>
                    <a:gd name="T41" fmla="*/ 5 h 74"/>
                    <a:gd name="T42" fmla="*/ 4 w 172"/>
                    <a:gd name="T43" fmla="*/ 3 h 74"/>
                    <a:gd name="T44" fmla="*/ 6 w 172"/>
                    <a:gd name="T45" fmla="*/ 2 h 74"/>
                    <a:gd name="T46" fmla="*/ 8 w 172"/>
                    <a:gd name="T47" fmla="*/ 2 h 74"/>
                    <a:gd name="T48" fmla="*/ 9 w 172"/>
                    <a:gd name="T49" fmla="*/ 1 h 74"/>
                    <a:gd name="T50" fmla="*/ 13 w 172"/>
                    <a:gd name="T51" fmla="*/ 0 h 74"/>
                    <a:gd name="T52" fmla="*/ 18 w 172"/>
                    <a:gd name="T53" fmla="*/ 0 h 74"/>
                    <a:gd name="T54" fmla="*/ 22 w 172"/>
                    <a:gd name="T55" fmla="*/ 0 h 74"/>
                    <a:gd name="T56" fmla="*/ 26 w 172"/>
                    <a:gd name="T57" fmla="*/ 0 h 74"/>
                    <a:gd name="T58" fmla="*/ 30 w 172"/>
                    <a:gd name="T59" fmla="*/ 0 h 74"/>
                    <a:gd name="T60" fmla="*/ 34 w 172"/>
                    <a:gd name="T61" fmla="*/ 1 h 74"/>
                    <a:gd name="T62" fmla="*/ 37 w 172"/>
                    <a:gd name="T63" fmla="*/ 2 h 74"/>
                    <a:gd name="T64" fmla="*/ 41 w 172"/>
                    <a:gd name="T65" fmla="*/ 4 h 74"/>
                    <a:gd name="T66" fmla="*/ 44 w 172"/>
                    <a:gd name="T67" fmla="*/ 6 h 74"/>
                    <a:gd name="T68" fmla="*/ 48 w 172"/>
                    <a:gd name="T69" fmla="*/ 7 h 74"/>
                    <a:gd name="T70" fmla="*/ 51 w 172"/>
                    <a:gd name="T71" fmla="*/ 8 h 74"/>
                    <a:gd name="T72" fmla="*/ 55 w 172"/>
                    <a:gd name="T73" fmla="*/ 8 h 74"/>
                    <a:gd name="T74" fmla="*/ 55 w 172"/>
                    <a:gd name="T75" fmla="*/ 15 h 74"/>
                    <a:gd name="T76" fmla="*/ 54 w 172"/>
                    <a:gd name="T77" fmla="*/ 16 h 74"/>
                    <a:gd name="T78" fmla="*/ 53 w 172"/>
                    <a:gd name="T79" fmla="*/ 18 h 74"/>
                    <a:gd name="T80" fmla="*/ 51 w 172"/>
                    <a:gd name="T81" fmla="*/ 19 h 74"/>
                    <a:gd name="T82" fmla="*/ 51 w 172"/>
                    <a:gd name="T83" fmla="*/ 20 h 74"/>
                    <a:gd name="T84" fmla="*/ 49 w 172"/>
                    <a:gd name="T85" fmla="*/ 21 h 74"/>
                    <a:gd name="T86" fmla="*/ 48 w 172"/>
                    <a:gd name="T87" fmla="*/ 21 h 74"/>
                    <a:gd name="T88" fmla="*/ 47 w 172"/>
                    <a:gd name="T89" fmla="*/ 22 h 74"/>
                    <a:gd name="T90" fmla="*/ 45 w 172"/>
                    <a:gd name="T91" fmla="*/ 22 h 74"/>
                    <a:gd name="T92" fmla="*/ 42 w 172"/>
                    <a:gd name="T93" fmla="*/ 22 h 74"/>
                    <a:gd name="T94" fmla="*/ 39 w 172"/>
                    <a:gd name="T95" fmla="*/ 21 h 74"/>
                    <a:gd name="T96" fmla="*/ 36 w 172"/>
                    <a:gd name="T97" fmla="*/ 20 h 74"/>
                    <a:gd name="T98" fmla="*/ 32 w 172"/>
                    <a:gd name="T99" fmla="*/ 19 h 74"/>
                    <a:gd name="T100" fmla="*/ 34 w 172"/>
                    <a:gd name="T101" fmla="*/ 19 h 74"/>
                    <a:gd name="T102" fmla="*/ 38 w 172"/>
                    <a:gd name="T103" fmla="*/ 21 h 7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72" h="74">
                      <a:moveTo>
                        <a:pt x="119" y="61"/>
                      </a:moveTo>
                      <a:lnTo>
                        <a:pt x="109" y="61"/>
                      </a:lnTo>
                      <a:lnTo>
                        <a:pt x="99" y="61"/>
                      </a:lnTo>
                      <a:lnTo>
                        <a:pt x="90" y="61"/>
                      </a:lnTo>
                      <a:lnTo>
                        <a:pt x="80" y="61"/>
                      </a:lnTo>
                      <a:lnTo>
                        <a:pt x="60" y="74"/>
                      </a:lnTo>
                      <a:lnTo>
                        <a:pt x="33" y="74"/>
                      </a:lnTo>
                      <a:lnTo>
                        <a:pt x="36" y="61"/>
                      </a:lnTo>
                      <a:lnTo>
                        <a:pt x="39" y="49"/>
                      </a:lnTo>
                      <a:lnTo>
                        <a:pt x="30" y="49"/>
                      </a:lnTo>
                      <a:lnTo>
                        <a:pt x="23" y="48"/>
                      </a:lnTo>
                      <a:lnTo>
                        <a:pt x="15" y="47"/>
                      </a:lnTo>
                      <a:lnTo>
                        <a:pt x="9" y="45"/>
                      </a:lnTo>
                      <a:lnTo>
                        <a:pt x="5" y="42"/>
                      </a:lnTo>
                      <a:lnTo>
                        <a:pt x="2" y="39"/>
                      </a:lnTo>
                      <a:lnTo>
                        <a:pt x="1" y="35"/>
                      </a:lnTo>
                      <a:lnTo>
                        <a:pt x="0" y="31"/>
                      </a:lnTo>
                      <a:lnTo>
                        <a:pt x="1" y="26"/>
                      </a:lnTo>
                      <a:lnTo>
                        <a:pt x="2" y="21"/>
                      </a:lnTo>
                      <a:lnTo>
                        <a:pt x="5" y="17"/>
                      </a:lnTo>
                      <a:lnTo>
                        <a:pt x="8" y="14"/>
                      </a:lnTo>
                      <a:lnTo>
                        <a:pt x="13" y="10"/>
                      </a:lnTo>
                      <a:lnTo>
                        <a:pt x="18" y="7"/>
                      </a:lnTo>
                      <a:lnTo>
                        <a:pt x="24" y="5"/>
                      </a:lnTo>
                      <a:lnTo>
                        <a:pt x="29" y="4"/>
                      </a:lnTo>
                      <a:lnTo>
                        <a:pt x="42" y="1"/>
                      </a:lnTo>
                      <a:lnTo>
                        <a:pt x="56" y="0"/>
                      </a:lnTo>
                      <a:lnTo>
                        <a:pt x="69" y="0"/>
                      </a:lnTo>
                      <a:lnTo>
                        <a:pt x="80" y="0"/>
                      </a:lnTo>
                      <a:lnTo>
                        <a:pt x="94" y="1"/>
                      </a:lnTo>
                      <a:lnTo>
                        <a:pt x="106" y="4"/>
                      </a:lnTo>
                      <a:lnTo>
                        <a:pt x="117" y="7"/>
                      </a:lnTo>
                      <a:lnTo>
                        <a:pt x="128" y="13"/>
                      </a:lnTo>
                      <a:lnTo>
                        <a:pt x="139" y="17"/>
                      </a:lnTo>
                      <a:lnTo>
                        <a:pt x="150" y="21"/>
                      </a:lnTo>
                      <a:lnTo>
                        <a:pt x="161" y="24"/>
                      </a:lnTo>
                      <a:lnTo>
                        <a:pt x="172" y="25"/>
                      </a:lnTo>
                      <a:lnTo>
                        <a:pt x="172" y="43"/>
                      </a:lnTo>
                      <a:lnTo>
                        <a:pt x="169" y="48"/>
                      </a:lnTo>
                      <a:lnTo>
                        <a:pt x="165" y="53"/>
                      </a:lnTo>
                      <a:lnTo>
                        <a:pt x="161" y="57"/>
                      </a:lnTo>
                      <a:lnTo>
                        <a:pt x="158" y="60"/>
                      </a:lnTo>
                      <a:lnTo>
                        <a:pt x="153" y="62"/>
                      </a:lnTo>
                      <a:lnTo>
                        <a:pt x="149" y="63"/>
                      </a:lnTo>
                      <a:lnTo>
                        <a:pt x="146" y="65"/>
                      </a:lnTo>
                      <a:lnTo>
                        <a:pt x="141" y="65"/>
                      </a:lnTo>
                      <a:lnTo>
                        <a:pt x="131" y="65"/>
                      </a:lnTo>
                      <a:lnTo>
                        <a:pt x="121" y="63"/>
                      </a:lnTo>
                      <a:lnTo>
                        <a:pt x="112" y="59"/>
                      </a:lnTo>
                      <a:lnTo>
                        <a:pt x="99" y="55"/>
                      </a:lnTo>
                      <a:lnTo>
                        <a:pt x="106" y="55"/>
                      </a:lnTo>
                      <a:lnTo>
                        <a:pt x="119" y="61"/>
                      </a:lnTo>
                    </a:path>
                  </a:pathLst>
                </a:custGeom>
                <a:grpFill/>
                <a:ln w="9525" cap="flat" cmpd="sng">
                  <a:solidFill>
                    <a:schemeClr val="bg1"/>
                  </a:solidFill>
                  <a:prstDash val="solid"/>
                  <a:round/>
                  <a:headEnd type="none" w="med" len="med"/>
                  <a:tailEnd type="none" w="med" len="med"/>
                </a:ln>
                <a:effectLst/>
              </p:spPr>
              <p:txBody>
                <a:bodyPr/>
                <a:lstStyle/>
                <a:p>
                  <a:endParaRPr lang="en-GB" sz="1637"/>
                </a:p>
              </p:txBody>
            </p:sp>
            <p:sp>
              <p:nvSpPr>
                <p:cNvPr id="293" name="Freeform 408"/>
                <p:cNvSpPr>
                  <a:spLocks/>
                </p:cNvSpPr>
                <p:nvPr/>
              </p:nvSpPr>
              <p:spPr bwMode="auto">
                <a:xfrm>
                  <a:off x="1450" y="1171"/>
                  <a:ext cx="38" cy="17"/>
                </a:xfrm>
                <a:custGeom>
                  <a:avLst/>
                  <a:gdLst>
                    <a:gd name="T0" fmla="*/ 9 w 120"/>
                    <a:gd name="T1" fmla="*/ 17 h 49"/>
                    <a:gd name="T2" fmla="*/ 15 w 120"/>
                    <a:gd name="T3" fmla="*/ 17 h 49"/>
                    <a:gd name="T4" fmla="*/ 20 w 120"/>
                    <a:gd name="T5" fmla="*/ 17 h 49"/>
                    <a:gd name="T6" fmla="*/ 25 w 120"/>
                    <a:gd name="T7" fmla="*/ 16 h 49"/>
                    <a:gd name="T8" fmla="*/ 29 w 120"/>
                    <a:gd name="T9" fmla="*/ 15 h 49"/>
                    <a:gd name="T10" fmla="*/ 30 w 120"/>
                    <a:gd name="T11" fmla="*/ 14 h 49"/>
                    <a:gd name="T12" fmla="*/ 32 w 120"/>
                    <a:gd name="T13" fmla="*/ 13 h 49"/>
                    <a:gd name="T14" fmla="*/ 33 w 120"/>
                    <a:gd name="T15" fmla="*/ 12 h 49"/>
                    <a:gd name="T16" fmla="*/ 34 w 120"/>
                    <a:gd name="T17" fmla="*/ 11 h 49"/>
                    <a:gd name="T18" fmla="*/ 36 w 120"/>
                    <a:gd name="T19" fmla="*/ 8 h 49"/>
                    <a:gd name="T20" fmla="*/ 38 w 120"/>
                    <a:gd name="T21" fmla="*/ 4 h 49"/>
                    <a:gd name="T22" fmla="*/ 32 w 120"/>
                    <a:gd name="T23" fmla="*/ 2 h 49"/>
                    <a:gd name="T24" fmla="*/ 27 w 120"/>
                    <a:gd name="T25" fmla="*/ 1 h 49"/>
                    <a:gd name="T26" fmla="*/ 21 w 120"/>
                    <a:gd name="T27" fmla="*/ 0 h 49"/>
                    <a:gd name="T28" fmla="*/ 16 w 120"/>
                    <a:gd name="T29" fmla="*/ 0 h 49"/>
                    <a:gd name="T30" fmla="*/ 11 w 120"/>
                    <a:gd name="T31" fmla="*/ 0 h 49"/>
                    <a:gd name="T32" fmla="*/ 6 w 120"/>
                    <a:gd name="T33" fmla="*/ 1 h 49"/>
                    <a:gd name="T34" fmla="*/ 3 w 120"/>
                    <a:gd name="T35" fmla="*/ 1 h 49"/>
                    <a:gd name="T36" fmla="*/ 0 w 120"/>
                    <a:gd name="T37" fmla="*/ 2 h 49"/>
                    <a:gd name="T38" fmla="*/ 0 w 120"/>
                    <a:gd name="T39" fmla="*/ 10 h 49"/>
                    <a:gd name="T40" fmla="*/ 1 w 120"/>
                    <a:gd name="T41" fmla="*/ 12 h 49"/>
                    <a:gd name="T42" fmla="*/ 2 w 120"/>
                    <a:gd name="T43" fmla="*/ 13 h 49"/>
                    <a:gd name="T44" fmla="*/ 3 w 120"/>
                    <a:gd name="T45" fmla="*/ 14 h 49"/>
                    <a:gd name="T46" fmla="*/ 4 w 120"/>
                    <a:gd name="T47" fmla="*/ 16 h 49"/>
                    <a:gd name="T48" fmla="*/ 6 w 120"/>
                    <a:gd name="T49" fmla="*/ 17 h 49"/>
                    <a:gd name="T50" fmla="*/ 9 w 120"/>
                    <a:gd name="T51" fmla="*/ 17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20" h="49">
                      <a:moveTo>
                        <a:pt x="27" y="49"/>
                      </a:moveTo>
                      <a:lnTo>
                        <a:pt x="47" y="49"/>
                      </a:lnTo>
                      <a:lnTo>
                        <a:pt x="64" y="48"/>
                      </a:lnTo>
                      <a:lnTo>
                        <a:pt x="78" y="46"/>
                      </a:lnTo>
                      <a:lnTo>
                        <a:pt x="90" y="43"/>
                      </a:lnTo>
                      <a:lnTo>
                        <a:pt x="96" y="39"/>
                      </a:lnTo>
                      <a:lnTo>
                        <a:pt x="100" y="37"/>
                      </a:lnTo>
                      <a:lnTo>
                        <a:pt x="104" y="34"/>
                      </a:lnTo>
                      <a:lnTo>
                        <a:pt x="108" y="31"/>
                      </a:lnTo>
                      <a:lnTo>
                        <a:pt x="114" y="22"/>
                      </a:lnTo>
                      <a:lnTo>
                        <a:pt x="120" y="12"/>
                      </a:lnTo>
                      <a:lnTo>
                        <a:pt x="102" y="6"/>
                      </a:lnTo>
                      <a:lnTo>
                        <a:pt x="84" y="3"/>
                      </a:lnTo>
                      <a:lnTo>
                        <a:pt x="66" y="1"/>
                      </a:lnTo>
                      <a:lnTo>
                        <a:pt x="50" y="0"/>
                      </a:lnTo>
                      <a:lnTo>
                        <a:pt x="34" y="1"/>
                      </a:lnTo>
                      <a:lnTo>
                        <a:pt x="20" y="2"/>
                      </a:lnTo>
                      <a:lnTo>
                        <a:pt x="9" y="4"/>
                      </a:lnTo>
                      <a:lnTo>
                        <a:pt x="0" y="6"/>
                      </a:lnTo>
                      <a:lnTo>
                        <a:pt x="0" y="30"/>
                      </a:lnTo>
                      <a:lnTo>
                        <a:pt x="2" y="35"/>
                      </a:lnTo>
                      <a:lnTo>
                        <a:pt x="6" y="38"/>
                      </a:lnTo>
                      <a:lnTo>
                        <a:pt x="9" y="41"/>
                      </a:lnTo>
                      <a:lnTo>
                        <a:pt x="13" y="45"/>
                      </a:lnTo>
                      <a:lnTo>
                        <a:pt x="20" y="48"/>
                      </a:lnTo>
                      <a:lnTo>
                        <a:pt x="27" y="49"/>
                      </a:lnTo>
                    </a:path>
                  </a:pathLst>
                </a:custGeom>
                <a:grpFill/>
                <a:ln w="9525" cap="flat" cmpd="sng">
                  <a:solidFill>
                    <a:schemeClr val="bg1"/>
                  </a:solidFill>
                  <a:prstDash val="solid"/>
                  <a:round/>
                  <a:headEnd type="none" w="med" len="med"/>
                  <a:tailEnd type="none" w="med" len="med"/>
                </a:ln>
                <a:effectLst/>
              </p:spPr>
              <p:txBody>
                <a:bodyPr/>
                <a:lstStyle/>
                <a:p>
                  <a:endParaRPr lang="en-GB" sz="1637"/>
                </a:p>
              </p:txBody>
            </p:sp>
            <p:sp>
              <p:nvSpPr>
                <p:cNvPr id="294" name="Freeform 409"/>
                <p:cNvSpPr>
                  <a:spLocks/>
                </p:cNvSpPr>
                <p:nvPr/>
              </p:nvSpPr>
              <p:spPr bwMode="auto">
                <a:xfrm>
                  <a:off x="1441" y="1194"/>
                  <a:ext cx="26" cy="19"/>
                </a:xfrm>
                <a:custGeom>
                  <a:avLst/>
                  <a:gdLst>
                    <a:gd name="T0" fmla="*/ 10 w 85"/>
                    <a:gd name="T1" fmla="*/ 0 h 61"/>
                    <a:gd name="T2" fmla="*/ 7 w 85"/>
                    <a:gd name="T3" fmla="*/ 2 h 61"/>
                    <a:gd name="T4" fmla="*/ 3 w 85"/>
                    <a:gd name="T5" fmla="*/ 4 h 61"/>
                    <a:gd name="T6" fmla="*/ 2 w 85"/>
                    <a:gd name="T7" fmla="*/ 5 h 61"/>
                    <a:gd name="T8" fmla="*/ 1 w 85"/>
                    <a:gd name="T9" fmla="*/ 7 h 61"/>
                    <a:gd name="T10" fmla="*/ 0 w 85"/>
                    <a:gd name="T11" fmla="*/ 8 h 61"/>
                    <a:gd name="T12" fmla="*/ 0 w 85"/>
                    <a:gd name="T13" fmla="*/ 10 h 61"/>
                    <a:gd name="T14" fmla="*/ 0 w 85"/>
                    <a:gd name="T15" fmla="*/ 11 h 61"/>
                    <a:gd name="T16" fmla="*/ 0 w 85"/>
                    <a:gd name="T17" fmla="*/ 12 h 61"/>
                    <a:gd name="T18" fmla="*/ 1 w 85"/>
                    <a:gd name="T19" fmla="*/ 12 h 61"/>
                    <a:gd name="T20" fmla="*/ 2 w 85"/>
                    <a:gd name="T21" fmla="*/ 13 h 61"/>
                    <a:gd name="T22" fmla="*/ 3 w 85"/>
                    <a:gd name="T23" fmla="*/ 15 h 61"/>
                    <a:gd name="T24" fmla="*/ 6 w 85"/>
                    <a:gd name="T25" fmla="*/ 17 h 61"/>
                    <a:gd name="T26" fmla="*/ 8 w 85"/>
                    <a:gd name="T27" fmla="*/ 17 h 61"/>
                    <a:gd name="T28" fmla="*/ 11 w 85"/>
                    <a:gd name="T29" fmla="*/ 18 h 61"/>
                    <a:gd name="T30" fmla="*/ 14 w 85"/>
                    <a:gd name="T31" fmla="*/ 19 h 61"/>
                    <a:gd name="T32" fmla="*/ 16 w 85"/>
                    <a:gd name="T33" fmla="*/ 19 h 61"/>
                    <a:gd name="T34" fmla="*/ 17 w 85"/>
                    <a:gd name="T35" fmla="*/ 19 h 61"/>
                    <a:gd name="T36" fmla="*/ 18 w 85"/>
                    <a:gd name="T37" fmla="*/ 19 h 61"/>
                    <a:gd name="T38" fmla="*/ 19 w 85"/>
                    <a:gd name="T39" fmla="*/ 18 h 61"/>
                    <a:gd name="T40" fmla="*/ 20 w 85"/>
                    <a:gd name="T41" fmla="*/ 18 h 61"/>
                    <a:gd name="T42" fmla="*/ 22 w 85"/>
                    <a:gd name="T43" fmla="*/ 16 h 61"/>
                    <a:gd name="T44" fmla="*/ 24 w 85"/>
                    <a:gd name="T45" fmla="*/ 15 h 61"/>
                    <a:gd name="T46" fmla="*/ 24 w 85"/>
                    <a:gd name="T47" fmla="*/ 12 h 61"/>
                    <a:gd name="T48" fmla="*/ 25 w 85"/>
                    <a:gd name="T49" fmla="*/ 10 h 61"/>
                    <a:gd name="T50" fmla="*/ 26 w 85"/>
                    <a:gd name="T51" fmla="*/ 8 h 61"/>
                    <a:gd name="T52" fmla="*/ 26 w 85"/>
                    <a:gd name="T53" fmla="*/ 6 h 61"/>
                    <a:gd name="T54" fmla="*/ 10 w 85"/>
                    <a:gd name="T55" fmla="*/ 0 h 6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85" h="61">
                      <a:moveTo>
                        <a:pt x="33" y="0"/>
                      </a:moveTo>
                      <a:lnTo>
                        <a:pt x="22" y="5"/>
                      </a:lnTo>
                      <a:lnTo>
                        <a:pt x="11" y="12"/>
                      </a:lnTo>
                      <a:lnTo>
                        <a:pt x="6" y="17"/>
                      </a:lnTo>
                      <a:lnTo>
                        <a:pt x="3" y="21"/>
                      </a:lnTo>
                      <a:lnTo>
                        <a:pt x="0" y="25"/>
                      </a:lnTo>
                      <a:lnTo>
                        <a:pt x="0" y="31"/>
                      </a:lnTo>
                      <a:lnTo>
                        <a:pt x="0" y="34"/>
                      </a:lnTo>
                      <a:lnTo>
                        <a:pt x="1" y="37"/>
                      </a:lnTo>
                      <a:lnTo>
                        <a:pt x="2" y="40"/>
                      </a:lnTo>
                      <a:lnTo>
                        <a:pt x="5" y="43"/>
                      </a:lnTo>
                      <a:lnTo>
                        <a:pt x="11" y="48"/>
                      </a:lnTo>
                      <a:lnTo>
                        <a:pt x="18" y="53"/>
                      </a:lnTo>
                      <a:lnTo>
                        <a:pt x="27" y="56"/>
                      </a:lnTo>
                      <a:lnTo>
                        <a:pt x="36" y="59"/>
                      </a:lnTo>
                      <a:lnTo>
                        <a:pt x="45" y="61"/>
                      </a:lnTo>
                      <a:lnTo>
                        <a:pt x="53" y="61"/>
                      </a:lnTo>
                      <a:lnTo>
                        <a:pt x="56" y="61"/>
                      </a:lnTo>
                      <a:lnTo>
                        <a:pt x="59" y="60"/>
                      </a:lnTo>
                      <a:lnTo>
                        <a:pt x="62" y="59"/>
                      </a:lnTo>
                      <a:lnTo>
                        <a:pt x="66" y="57"/>
                      </a:lnTo>
                      <a:lnTo>
                        <a:pt x="72" y="52"/>
                      </a:lnTo>
                      <a:lnTo>
                        <a:pt x="77" y="47"/>
                      </a:lnTo>
                      <a:lnTo>
                        <a:pt x="80" y="40"/>
                      </a:lnTo>
                      <a:lnTo>
                        <a:pt x="83" y="33"/>
                      </a:lnTo>
                      <a:lnTo>
                        <a:pt x="85" y="25"/>
                      </a:lnTo>
                      <a:lnTo>
                        <a:pt x="85" y="18"/>
                      </a:lnTo>
                      <a:lnTo>
                        <a:pt x="33" y="0"/>
                      </a:lnTo>
                    </a:path>
                  </a:pathLst>
                </a:custGeom>
                <a:grpFill/>
                <a:ln w="9525" cap="flat" cmpd="sng">
                  <a:solidFill>
                    <a:schemeClr val="bg1"/>
                  </a:solidFill>
                  <a:prstDash val="solid"/>
                  <a:round/>
                  <a:headEnd type="none" w="med" len="med"/>
                  <a:tailEnd type="none" w="med" len="med"/>
                </a:ln>
                <a:effectLst/>
              </p:spPr>
              <p:txBody>
                <a:bodyPr/>
                <a:lstStyle/>
                <a:p>
                  <a:endParaRPr lang="en-GB" sz="1637"/>
                </a:p>
              </p:txBody>
            </p:sp>
            <p:sp>
              <p:nvSpPr>
                <p:cNvPr id="295" name="Freeform 410"/>
                <p:cNvSpPr>
                  <a:spLocks/>
                </p:cNvSpPr>
                <p:nvPr/>
              </p:nvSpPr>
              <p:spPr bwMode="auto">
                <a:xfrm>
                  <a:off x="1254" y="1188"/>
                  <a:ext cx="31" cy="6"/>
                </a:xfrm>
                <a:custGeom>
                  <a:avLst/>
                  <a:gdLst>
                    <a:gd name="T0" fmla="*/ 0 w 100"/>
                    <a:gd name="T1" fmla="*/ 2 h 19"/>
                    <a:gd name="T2" fmla="*/ 2 w 100"/>
                    <a:gd name="T3" fmla="*/ 3 h 19"/>
                    <a:gd name="T4" fmla="*/ 4 w 100"/>
                    <a:gd name="T5" fmla="*/ 5 h 19"/>
                    <a:gd name="T6" fmla="*/ 7 w 100"/>
                    <a:gd name="T7" fmla="*/ 6 h 19"/>
                    <a:gd name="T8" fmla="*/ 8 w 100"/>
                    <a:gd name="T9" fmla="*/ 6 h 19"/>
                    <a:gd name="T10" fmla="*/ 31 w 100"/>
                    <a:gd name="T11" fmla="*/ 2 h 19"/>
                    <a:gd name="T12" fmla="*/ 23 w 100"/>
                    <a:gd name="T13" fmla="*/ 1 h 19"/>
                    <a:gd name="T14" fmla="*/ 15 w 100"/>
                    <a:gd name="T15" fmla="*/ 0 h 19"/>
                    <a:gd name="T16" fmla="*/ 11 w 100"/>
                    <a:gd name="T17" fmla="*/ 0 h 19"/>
                    <a:gd name="T18" fmla="*/ 7 w 100"/>
                    <a:gd name="T19" fmla="*/ 0 h 19"/>
                    <a:gd name="T20" fmla="*/ 4 w 100"/>
                    <a:gd name="T21" fmla="*/ 1 h 19"/>
                    <a:gd name="T22" fmla="*/ 0 w 100"/>
                    <a:gd name="T23" fmla="*/ 2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00" h="19">
                      <a:moveTo>
                        <a:pt x="0" y="6"/>
                      </a:moveTo>
                      <a:lnTo>
                        <a:pt x="7" y="11"/>
                      </a:lnTo>
                      <a:lnTo>
                        <a:pt x="13" y="15"/>
                      </a:lnTo>
                      <a:lnTo>
                        <a:pt x="21" y="18"/>
                      </a:lnTo>
                      <a:lnTo>
                        <a:pt x="27" y="19"/>
                      </a:lnTo>
                      <a:lnTo>
                        <a:pt x="100" y="6"/>
                      </a:lnTo>
                      <a:lnTo>
                        <a:pt x="73" y="2"/>
                      </a:lnTo>
                      <a:lnTo>
                        <a:pt x="47" y="0"/>
                      </a:lnTo>
                      <a:lnTo>
                        <a:pt x="36" y="0"/>
                      </a:lnTo>
                      <a:lnTo>
                        <a:pt x="24" y="1"/>
                      </a:lnTo>
                      <a:lnTo>
                        <a:pt x="12" y="3"/>
                      </a:lnTo>
                      <a:lnTo>
                        <a:pt x="0" y="6"/>
                      </a:lnTo>
                    </a:path>
                  </a:pathLst>
                </a:custGeom>
                <a:grpFill/>
                <a:ln w="9525" cap="flat" cmpd="sng">
                  <a:solidFill>
                    <a:schemeClr val="bg1"/>
                  </a:solidFill>
                  <a:prstDash val="solid"/>
                  <a:round/>
                  <a:headEnd type="none" w="med" len="med"/>
                  <a:tailEnd type="none" w="med" len="med"/>
                </a:ln>
                <a:effectLst/>
              </p:spPr>
              <p:txBody>
                <a:bodyPr/>
                <a:lstStyle/>
                <a:p>
                  <a:endParaRPr lang="en-GB" sz="1637"/>
                </a:p>
              </p:txBody>
            </p:sp>
            <p:sp>
              <p:nvSpPr>
                <p:cNvPr id="296" name="Freeform 411"/>
                <p:cNvSpPr>
                  <a:spLocks/>
                </p:cNvSpPr>
                <p:nvPr/>
              </p:nvSpPr>
              <p:spPr bwMode="auto">
                <a:xfrm>
                  <a:off x="1272" y="1168"/>
                  <a:ext cx="53" cy="15"/>
                </a:xfrm>
                <a:custGeom>
                  <a:avLst/>
                  <a:gdLst>
                    <a:gd name="T0" fmla="*/ 0 w 166"/>
                    <a:gd name="T1" fmla="*/ 9 h 45"/>
                    <a:gd name="T2" fmla="*/ 0 w 166"/>
                    <a:gd name="T3" fmla="*/ 10 h 45"/>
                    <a:gd name="T4" fmla="*/ 1 w 166"/>
                    <a:gd name="T5" fmla="*/ 10 h 45"/>
                    <a:gd name="T6" fmla="*/ 3 w 166"/>
                    <a:gd name="T7" fmla="*/ 11 h 45"/>
                    <a:gd name="T8" fmla="*/ 4 w 166"/>
                    <a:gd name="T9" fmla="*/ 12 h 45"/>
                    <a:gd name="T10" fmla="*/ 9 w 166"/>
                    <a:gd name="T11" fmla="*/ 13 h 45"/>
                    <a:gd name="T12" fmla="*/ 14 w 166"/>
                    <a:gd name="T13" fmla="*/ 14 h 45"/>
                    <a:gd name="T14" fmla="*/ 24 w 166"/>
                    <a:gd name="T15" fmla="*/ 15 h 45"/>
                    <a:gd name="T16" fmla="*/ 29 w 166"/>
                    <a:gd name="T17" fmla="*/ 15 h 45"/>
                    <a:gd name="T18" fmla="*/ 53 w 166"/>
                    <a:gd name="T19" fmla="*/ 9 h 45"/>
                    <a:gd name="T20" fmla="*/ 50 w 166"/>
                    <a:gd name="T21" fmla="*/ 8 h 45"/>
                    <a:gd name="T22" fmla="*/ 44 w 166"/>
                    <a:gd name="T23" fmla="*/ 6 h 45"/>
                    <a:gd name="T24" fmla="*/ 35 w 166"/>
                    <a:gd name="T25" fmla="*/ 4 h 45"/>
                    <a:gd name="T26" fmla="*/ 26 w 166"/>
                    <a:gd name="T27" fmla="*/ 1 h 45"/>
                    <a:gd name="T28" fmla="*/ 21 w 166"/>
                    <a:gd name="T29" fmla="*/ 1 h 45"/>
                    <a:gd name="T30" fmla="*/ 16 w 166"/>
                    <a:gd name="T31" fmla="*/ 0 h 45"/>
                    <a:gd name="T32" fmla="*/ 11 w 166"/>
                    <a:gd name="T33" fmla="*/ 0 h 45"/>
                    <a:gd name="T34" fmla="*/ 8 w 166"/>
                    <a:gd name="T35" fmla="*/ 1 h 45"/>
                    <a:gd name="T36" fmla="*/ 6 w 166"/>
                    <a:gd name="T37" fmla="*/ 1 h 45"/>
                    <a:gd name="T38" fmla="*/ 4 w 166"/>
                    <a:gd name="T39" fmla="*/ 2 h 45"/>
                    <a:gd name="T40" fmla="*/ 3 w 166"/>
                    <a:gd name="T41" fmla="*/ 2 h 45"/>
                    <a:gd name="T42" fmla="*/ 2 w 166"/>
                    <a:gd name="T43" fmla="*/ 3 h 45"/>
                    <a:gd name="T44" fmla="*/ 1 w 166"/>
                    <a:gd name="T45" fmla="*/ 4 h 45"/>
                    <a:gd name="T46" fmla="*/ 0 w 166"/>
                    <a:gd name="T47" fmla="*/ 6 h 45"/>
                    <a:gd name="T48" fmla="*/ 0 w 166"/>
                    <a:gd name="T49" fmla="*/ 7 h 45"/>
                    <a:gd name="T50" fmla="*/ 0 w 166"/>
                    <a:gd name="T51" fmla="*/ 9 h 4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66" h="45">
                      <a:moveTo>
                        <a:pt x="0" y="27"/>
                      </a:moveTo>
                      <a:lnTo>
                        <a:pt x="0" y="29"/>
                      </a:lnTo>
                      <a:lnTo>
                        <a:pt x="3" y="31"/>
                      </a:lnTo>
                      <a:lnTo>
                        <a:pt x="8" y="33"/>
                      </a:lnTo>
                      <a:lnTo>
                        <a:pt x="13" y="35"/>
                      </a:lnTo>
                      <a:lnTo>
                        <a:pt x="27" y="38"/>
                      </a:lnTo>
                      <a:lnTo>
                        <a:pt x="44" y="41"/>
                      </a:lnTo>
                      <a:lnTo>
                        <a:pt x="75" y="44"/>
                      </a:lnTo>
                      <a:lnTo>
                        <a:pt x="92" y="45"/>
                      </a:lnTo>
                      <a:lnTo>
                        <a:pt x="166" y="27"/>
                      </a:lnTo>
                      <a:lnTo>
                        <a:pt x="157" y="25"/>
                      </a:lnTo>
                      <a:lnTo>
                        <a:pt x="137" y="19"/>
                      </a:lnTo>
                      <a:lnTo>
                        <a:pt x="110" y="11"/>
                      </a:lnTo>
                      <a:lnTo>
                        <a:pt x="80" y="4"/>
                      </a:lnTo>
                      <a:lnTo>
                        <a:pt x="65" y="2"/>
                      </a:lnTo>
                      <a:lnTo>
                        <a:pt x="50" y="1"/>
                      </a:lnTo>
                      <a:lnTo>
                        <a:pt x="36" y="0"/>
                      </a:lnTo>
                      <a:lnTo>
                        <a:pt x="24" y="2"/>
                      </a:lnTo>
                      <a:lnTo>
                        <a:pt x="19" y="3"/>
                      </a:lnTo>
                      <a:lnTo>
                        <a:pt x="14" y="5"/>
                      </a:lnTo>
                      <a:lnTo>
                        <a:pt x="10" y="7"/>
                      </a:lnTo>
                      <a:lnTo>
                        <a:pt x="7" y="10"/>
                      </a:lnTo>
                      <a:lnTo>
                        <a:pt x="3" y="13"/>
                      </a:lnTo>
                      <a:lnTo>
                        <a:pt x="1" y="17"/>
                      </a:lnTo>
                      <a:lnTo>
                        <a:pt x="0" y="22"/>
                      </a:lnTo>
                      <a:lnTo>
                        <a:pt x="0" y="27"/>
                      </a:lnTo>
                    </a:path>
                  </a:pathLst>
                </a:custGeom>
                <a:grpFill/>
                <a:ln w="9525" cap="flat" cmpd="sng">
                  <a:solidFill>
                    <a:schemeClr val="bg1"/>
                  </a:solidFill>
                  <a:prstDash val="solid"/>
                  <a:round/>
                  <a:headEnd type="none" w="med" len="med"/>
                  <a:tailEnd type="none" w="med" len="med"/>
                </a:ln>
                <a:effectLst/>
              </p:spPr>
              <p:txBody>
                <a:bodyPr/>
                <a:lstStyle/>
                <a:p>
                  <a:endParaRPr lang="en-GB" sz="1637"/>
                </a:p>
              </p:txBody>
            </p:sp>
            <p:sp>
              <p:nvSpPr>
                <p:cNvPr id="297" name="Freeform 412"/>
                <p:cNvSpPr>
                  <a:spLocks/>
                </p:cNvSpPr>
                <p:nvPr/>
              </p:nvSpPr>
              <p:spPr bwMode="auto">
                <a:xfrm>
                  <a:off x="1488" y="1422"/>
                  <a:ext cx="11" cy="8"/>
                </a:xfrm>
                <a:custGeom>
                  <a:avLst/>
                  <a:gdLst>
                    <a:gd name="T0" fmla="*/ 0 w 33"/>
                    <a:gd name="T1" fmla="*/ 0 h 25"/>
                    <a:gd name="T2" fmla="*/ 0 w 33"/>
                    <a:gd name="T3" fmla="*/ 3 h 25"/>
                    <a:gd name="T4" fmla="*/ 1 w 33"/>
                    <a:gd name="T5" fmla="*/ 5 h 25"/>
                    <a:gd name="T6" fmla="*/ 2 w 33"/>
                    <a:gd name="T7" fmla="*/ 6 h 25"/>
                    <a:gd name="T8" fmla="*/ 4 w 33"/>
                    <a:gd name="T9" fmla="*/ 7 h 25"/>
                    <a:gd name="T10" fmla="*/ 5 w 33"/>
                    <a:gd name="T11" fmla="*/ 8 h 25"/>
                    <a:gd name="T12" fmla="*/ 7 w 33"/>
                    <a:gd name="T13" fmla="*/ 8 h 25"/>
                    <a:gd name="T14" fmla="*/ 9 w 33"/>
                    <a:gd name="T15" fmla="*/ 8 h 25"/>
                    <a:gd name="T16" fmla="*/ 11 w 33"/>
                    <a:gd name="T17" fmla="*/ 8 h 25"/>
                    <a:gd name="T18" fmla="*/ 11 w 33"/>
                    <a:gd name="T19" fmla="*/ 0 h 25"/>
                    <a:gd name="T20" fmla="*/ 8 w 33"/>
                    <a:gd name="T21" fmla="*/ 0 h 25"/>
                    <a:gd name="T22" fmla="*/ 5 w 33"/>
                    <a:gd name="T23" fmla="*/ 0 h 25"/>
                    <a:gd name="T24" fmla="*/ 3 w 33"/>
                    <a:gd name="T25" fmla="*/ 0 h 25"/>
                    <a:gd name="T26" fmla="*/ 0 w 33"/>
                    <a:gd name="T27" fmla="*/ 0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3" h="25">
                      <a:moveTo>
                        <a:pt x="0" y="0"/>
                      </a:moveTo>
                      <a:lnTo>
                        <a:pt x="0" y="9"/>
                      </a:lnTo>
                      <a:lnTo>
                        <a:pt x="3" y="15"/>
                      </a:lnTo>
                      <a:lnTo>
                        <a:pt x="6" y="20"/>
                      </a:lnTo>
                      <a:lnTo>
                        <a:pt x="11" y="22"/>
                      </a:lnTo>
                      <a:lnTo>
                        <a:pt x="16" y="24"/>
                      </a:lnTo>
                      <a:lnTo>
                        <a:pt x="22" y="25"/>
                      </a:lnTo>
                      <a:lnTo>
                        <a:pt x="27" y="25"/>
                      </a:lnTo>
                      <a:lnTo>
                        <a:pt x="33" y="25"/>
                      </a:lnTo>
                      <a:lnTo>
                        <a:pt x="33" y="0"/>
                      </a:lnTo>
                      <a:lnTo>
                        <a:pt x="24" y="0"/>
                      </a:lnTo>
                      <a:lnTo>
                        <a:pt x="16" y="0"/>
                      </a:lnTo>
                      <a:lnTo>
                        <a:pt x="9" y="0"/>
                      </a:lnTo>
                      <a:lnTo>
                        <a:pt x="0" y="0"/>
                      </a:lnTo>
                    </a:path>
                  </a:pathLst>
                </a:custGeom>
                <a:grpFill/>
                <a:ln w="9525" cap="flat" cmpd="sng">
                  <a:solidFill>
                    <a:schemeClr val="bg1"/>
                  </a:solidFill>
                  <a:prstDash val="solid"/>
                  <a:round/>
                  <a:headEnd type="none" w="med" len="med"/>
                  <a:tailEnd type="none" w="med" len="med"/>
                </a:ln>
                <a:effectLst/>
              </p:spPr>
              <p:txBody>
                <a:bodyPr/>
                <a:lstStyle/>
                <a:p>
                  <a:endParaRPr lang="en-GB" sz="1637"/>
                </a:p>
              </p:txBody>
            </p:sp>
            <p:sp>
              <p:nvSpPr>
                <p:cNvPr id="298" name="Freeform 413"/>
                <p:cNvSpPr>
                  <a:spLocks/>
                </p:cNvSpPr>
                <p:nvPr/>
              </p:nvSpPr>
              <p:spPr bwMode="auto">
                <a:xfrm>
                  <a:off x="1605" y="1729"/>
                  <a:ext cx="16" cy="20"/>
                </a:xfrm>
                <a:custGeom>
                  <a:avLst/>
                  <a:gdLst>
                    <a:gd name="T0" fmla="*/ 0 w 48"/>
                    <a:gd name="T1" fmla="*/ 20 h 62"/>
                    <a:gd name="T2" fmla="*/ 4 w 48"/>
                    <a:gd name="T3" fmla="*/ 18 h 62"/>
                    <a:gd name="T4" fmla="*/ 7 w 48"/>
                    <a:gd name="T5" fmla="*/ 16 h 62"/>
                    <a:gd name="T6" fmla="*/ 10 w 48"/>
                    <a:gd name="T7" fmla="*/ 14 h 62"/>
                    <a:gd name="T8" fmla="*/ 12 w 48"/>
                    <a:gd name="T9" fmla="*/ 12 h 62"/>
                    <a:gd name="T10" fmla="*/ 14 w 48"/>
                    <a:gd name="T11" fmla="*/ 9 h 62"/>
                    <a:gd name="T12" fmla="*/ 15 w 48"/>
                    <a:gd name="T13" fmla="*/ 6 h 62"/>
                    <a:gd name="T14" fmla="*/ 16 w 48"/>
                    <a:gd name="T15" fmla="*/ 3 h 62"/>
                    <a:gd name="T16" fmla="*/ 16 w 48"/>
                    <a:gd name="T17" fmla="*/ 0 h 62"/>
                    <a:gd name="T18" fmla="*/ 13 w 48"/>
                    <a:gd name="T19" fmla="*/ 1 h 62"/>
                    <a:gd name="T20" fmla="*/ 11 w 48"/>
                    <a:gd name="T21" fmla="*/ 2 h 62"/>
                    <a:gd name="T22" fmla="*/ 8 w 48"/>
                    <a:gd name="T23" fmla="*/ 3 h 62"/>
                    <a:gd name="T24" fmla="*/ 6 w 48"/>
                    <a:gd name="T25" fmla="*/ 5 h 62"/>
                    <a:gd name="T26" fmla="*/ 3 w 48"/>
                    <a:gd name="T27" fmla="*/ 7 h 62"/>
                    <a:gd name="T28" fmla="*/ 2 w 48"/>
                    <a:gd name="T29" fmla="*/ 9 h 62"/>
                    <a:gd name="T30" fmla="*/ 1 w 48"/>
                    <a:gd name="T31" fmla="*/ 10 h 62"/>
                    <a:gd name="T32" fmla="*/ 1 w 48"/>
                    <a:gd name="T33" fmla="*/ 11 h 62"/>
                    <a:gd name="T34" fmla="*/ 0 w 48"/>
                    <a:gd name="T35" fmla="*/ 13 h 62"/>
                    <a:gd name="T36" fmla="*/ 0 w 48"/>
                    <a:gd name="T37" fmla="*/ 14 h 62"/>
                    <a:gd name="T38" fmla="*/ 0 w 48"/>
                    <a:gd name="T39" fmla="*/ 17 h 62"/>
                    <a:gd name="T40" fmla="*/ 0 w 48"/>
                    <a:gd name="T41" fmla="*/ 20 h 6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48" h="62">
                      <a:moveTo>
                        <a:pt x="0" y="62"/>
                      </a:moveTo>
                      <a:lnTo>
                        <a:pt x="12" y="56"/>
                      </a:lnTo>
                      <a:lnTo>
                        <a:pt x="22" y="50"/>
                      </a:lnTo>
                      <a:lnTo>
                        <a:pt x="30" y="43"/>
                      </a:lnTo>
                      <a:lnTo>
                        <a:pt x="37" y="36"/>
                      </a:lnTo>
                      <a:lnTo>
                        <a:pt x="41" y="28"/>
                      </a:lnTo>
                      <a:lnTo>
                        <a:pt x="44" y="19"/>
                      </a:lnTo>
                      <a:lnTo>
                        <a:pt x="47" y="9"/>
                      </a:lnTo>
                      <a:lnTo>
                        <a:pt x="48" y="0"/>
                      </a:lnTo>
                      <a:lnTo>
                        <a:pt x="40" y="3"/>
                      </a:lnTo>
                      <a:lnTo>
                        <a:pt x="32" y="6"/>
                      </a:lnTo>
                      <a:lnTo>
                        <a:pt x="23" y="10"/>
                      </a:lnTo>
                      <a:lnTo>
                        <a:pt x="17" y="15"/>
                      </a:lnTo>
                      <a:lnTo>
                        <a:pt x="10" y="21"/>
                      </a:lnTo>
                      <a:lnTo>
                        <a:pt x="6" y="27"/>
                      </a:lnTo>
                      <a:lnTo>
                        <a:pt x="4" y="31"/>
                      </a:lnTo>
                      <a:lnTo>
                        <a:pt x="3" y="35"/>
                      </a:lnTo>
                      <a:lnTo>
                        <a:pt x="1" y="39"/>
                      </a:lnTo>
                      <a:lnTo>
                        <a:pt x="0" y="43"/>
                      </a:lnTo>
                      <a:lnTo>
                        <a:pt x="0" y="52"/>
                      </a:lnTo>
                      <a:lnTo>
                        <a:pt x="0" y="62"/>
                      </a:lnTo>
                    </a:path>
                  </a:pathLst>
                </a:custGeom>
                <a:grpFill/>
                <a:ln w="9525" cap="flat" cmpd="sng">
                  <a:solidFill>
                    <a:schemeClr val="bg1"/>
                  </a:solidFill>
                  <a:prstDash val="solid"/>
                  <a:round/>
                  <a:headEnd type="none" w="med" len="med"/>
                  <a:tailEnd type="none" w="med" len="med"/>
                </a:ln>
                <a:effectLst/>
              </p:spPr>
              <p:txBody>
                <a:bodyPr/>
                <a:lstStyle/>
                <a:p>
                  <a:endParaRPr lang="en-GB" sz="1637"/>
                </a:p>
              </p:txBody>
            </p:sp>
            <p:sp>
              <p:nvSpPr>
                <p:cNvPr id="299" name="Freeform 414"/>
                <p:cNvSpPr>
                  <a:spLocks/>
                </p:cNvSpPr>
                <p:nvPr/>
              </p:nvSpPr>
              <p:spPr bwMode="auto">
                <a:xfrm>
                  <a:off x="1554" y="1729"/>
                  <a:ext cx="36" cy="20"/>
                </a:xfrm>
                <a:custGeom>
                  <a:avLst/>
                  <a:gdLst>
                    <a:gd name="T0" fmla="*/ 15 w 113"/>
                    <a:gd name="T1" fmla="*/ 0 h 62"/>
                    <a:gd name="T2" fmla="*/ 11 w 113"/>
                    <a:gd name="T3" fmla="*/ 2 h 62"/>
                    <a:gd name="T4" fmla="*/ 7 w 113"/>
                    <a:gd name="T5" fmla="*/ 5 h 62"/>
                    <a:gd name="T6" fmla="*/ 4 w 113"/>
                    <a:gd name="T7" fmla="*/ 9 h 62"/>
                    <a:gd name="T8" fmla="*/ 0 w 113"/>
                    <a:gd name="T9" fmla="*/ 12 h 62"/>
                    <a:gd name="T10" fmla="*/ 7 w 113"/>
                    <a:gd name="T11" fmla="*/ 15 h 62"/>
                    <a:gd name="T12" fmla="*/ 13 w 113"/>
                    <a:gd name="T13" fmla="*/ 17 h 62"/>
                    <a:gd name="T14" fmla="*/ 16 w 113"/>
                    <a:gd name="T15" fmla="*/ 18 h 62"/>
                    <a:gd name="T16" fmla="*/ 20 w 113"/>
                    <a:gd name="T17" fmla="*/ 19 h 62"/>
                    <a:gd name="T18" fmla="*/ 23 w 113"/>
                    <a:gd name="T19" fmla="*/ 20 h 62"/>
                    <a:gd name="T20" fmla="*/ 28 w 113"/>
                    <a:gd name="T21" fmla="*/ 20 h 62"/>
                    <a:gd name="T22" fmla="*/ 31 w 113"/>
                    <a:gd name="T23" fmla="*/ 20 h 62"/>
                    <a:gd name="T24" fmla="*/ 34 w 113"/>
                    <a:gd name="T25" fmla="*/ 19 h 62"/>
                    <a:gd name="T26" fmla="*/ 35 w 113"/>
                    <a:gd name="T27" fmla="*/ 18 h 62"/>
                    <a:gd name="T28" fmla="*/ 35 w 113"/>
                    <a:gd name="T29" fmla="*/ 17 h 62"/>
                    <a:gd name="T30" fmla="*/ 36 w 113"/>
                    <a:gd name="T31" fmla="*/ 17 h 62"/>
                    <a:gd name="T32" fmla="*/ 36 w 113"/>
                    <a:gd name="T33" fmla="*/ 16 h 62"/>
                    <a:gd name="T34" fmla="*/ 29 w 113"/>
                    <a:gd name="T35" fmla="*/ 13 h 62"/>
                    <a:gd name="T36" fmla="*/ 22 w 113"/>
                    <a:gd name="T37" fmla="*/ 10 h 62"/>
                    <a:gd name="T38" fmla="*/ 21 w 113"/>
                    <a:gd name="T39" fmla="*/ 9 h 62"/>
                    <a:gd name="T40" fmla="*/ 19 w 113"/>
                    <a:gd name="T41" fmla="*/ 8 h 62"/>
                    <a:gd name="T42" fmla="*/ 18 w 113"/>
                    <a:gd name="T43" fmla="*/ 7 h 62"/>
                    <a:gd name="T44" fmla="*/ 17 w 113"/>
                    <a:gd name="T45" fmla="*/ 6 h 62"/>
                    <a:gd name="T46" fmla="*/ 16 w 113"/>
                    <a:gd name="T47" fmla="*/ 5 h 62"/>
                    <a:gd name="T48" fmla="*/ 15 w 113"/>
                    <a:gd name="T49" fmla="*/ 3 h 62"/>
                    <a:gd name="T50" fmla="*/ 15 w 113"/>
                    <a:gd name="T51" fmla="*/ 2 h 62"/>
                    <a:gd name="T52" fmla="*/ 15 w 113"/>
                    <a:gd name="T53" fmla="*/ 0 h 6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113" h="62">
                      <a:moveTo>
                        <a:pt x="47" y="0"/>
                      </a:moveTo>
                      <a:lnTo>
                        <a:pt x="36" y="7"/>
                      </a:lnTo>
                      <a:lnTo>
                        <a:pt x="23" y="17"/>
                      </a:lnTo>
                      <a:lnTo>
                        <a:pt x="11" y="27"/>
                      </a:lnTo>
                      <a:lnTo>
                        <a:pt x="0" y="37"/>
                      </a:lnTo>
                      <a:lnTo>
                        <a:pt x="22" y="46"/>
                      </a:lnTo>
                      <a:lnTo>
                        <a:pt x="41" y="54"/>
                      </a:lnTo>
                      <a:lnTo>
                        <a:pt x="51" y="57"/>
                      </a:lnTo>
                      <a:lnTo>
                        <a:pt x="62" y="59"/>
                      </a:lnTo>
                      <a:lnTo>
                        <a:pt x="73" y="61"/>
                      </a:lnTo>
                      <a:lnTo>
                        <a:pt x="87" y="62"/>
                      </a:lnTo>
                      <a:lnTo>
                        <a:pt x="97" y="61"/>
                      </a:lnTo>
                      <a:lnTo>
                        <a:pt x="106" y="58"/>
                      </a:lnTo>
                      <a:lnTo>
                        <a:pt x="109" y="56"/>
                      </a:lnTo>
                      <a:lnTo>
                        <a:pt x="111" y="54"/>
                      </a:lnTo>
                      <a:lnTo>
                        <a:pt x="113" y="52"/>
                      </a:lnTo>
                      <a:lnTo>
                        <a:pt x="113" y="49"/>
                      </a:lnTo>
                      <a:lnTo>
                        <a:pt x="91" y="41"/>
                      </a:lnTo>
                      <a:lnTo>
                        <a:pt x="70" y="32"/>
                      </a:lnTo>
                      <a:lnTo>
                        <a:pt x="65" y="29"/>
                      </a:lnTo>
                      <a:lnTo>
                        <a:pt x="61" y="26"/>
                      </a:lnTo>
                      <a:lnTo>
                        <a:pt x="57" y="23"/>
                      </a:lnTo>
                      <a:lnTo>
                        <a:pt x="54" y="20"/>
                      </a:lnTo>
                      <a:lnTo>
                        <a:pt x="51" y="16"/>
                      </a:lnTo>
                      <a:lnTo>
                        <a:pt x="48" y="10"/>
                      </a:lnTo>
                      <a:lnTo>
                        <a:pt x="47" y="5"/>
                      </a:lnTo>
                      <a:lnTo>
                        <a:pt x="47" y="0"/>
                      </a:lnTo>
                    </a:path>
                  </a:pathLst>
                </a:custGeom>
                <a:grpFill/>
                <a:ln w="9525" cap="flat" cmpd="sng">
                  <a:solidFill>
                    <a:schemeClr val="bg1"/>
                  </a:solidFill>
                  <a:prstDash val="solid"/>
                  <a:round/>
                  <a:headEnd type="none" w="med" len="med"/>
                  <a:tailEnd type="none" w="med" len="med"/>
                </a:ln>
                <a:effectLst/>
              </p:spPr>
              <p:txBody>
                <a:bodyPr/>
                <a:lstStyle/>
                <a:p>
                  <a:endParaRPr lang="en-GB" sz="1637"/>
                </a:p>
              </p:txBody>
            </p:sp>
            <p:sp>
              <p:nvSpPr>
                <p:cNvPr id="300" name="Freeform 415"/>
                <p:cNvSpPr>
                  <a:spLocks/>
                </p:cNvSpPr>
                <p:nvPr/>
              </p:nvSpPr>
              <p:spPr bwMode="auto">
                <a:xfrm>
                  <a:off x="1748" y="1188"/>
                  <a:ext cx="29" cy="15"/>
                </a:xfrm>
                <a:custGeom>
                  <a:avLst/>
                  <a:gdLst>
                    <a:gd name="T0" fmla="*/ 0 w 93"/>
                    <a:gd name="T1" fmla="*/ 0 h 50"/>
                    <a:gd name="T2" fmla="*/ 5 w 93"/>
                    <a:gd name="T3" fmla="*/ 0 h 50"/>
                    <a:gd name="T4" fmla="*/ 9 w 93"/>
                    <a:gd name="T5" fmla="*/ 0 h 50"/>
                    <a:gd name="T6" fmla="*/ 14 w 93"/>
                    <a:gd name="T7" fmla="*/ 1 h 50"/>
                    <a:gd name="T8" fmla="*/ 18 w 93"/>
                    <a:gd name="T9" fmla="*/ 2 h 50"/>
                    <a:gd name="T10" fmla="*/ 20 w 93"/>
                    <a:gd name="T11" fmla="*/ 2 h 50"/>
                    <a:gd name="T12" fmla="*/ 22 w 93"/>
                    <a:gd name="T13" fmla="*/ 3 h 50"/>
                    <a:gd name="T14" fmla="*/ 23 w 93"/>
                    <a:gd name="T15" fmla="*/ 4 h 50"/>
                    <a:gd name="T16" fmla="*/ 25 w 93"/>
                    <a:gd name="T17" fmla="*/ 5 h 50"/>
                    <a:gd name="T18" fmla="*/ 27 w 93"/>
                    <a:gd name="T19" fmla="*/ 6 h 50"/>
                    <a:gd name="T20" fmla="*/ 28 w 93"/>
                    <a:gd name="T21" fmla="*/ 8 h 50"/>
                    <a:gd name="T22" fmla="*/ 28 w 93"/>
                    <a:gd name="T23" fmla="*/ 9 h 50"/>
                    <a:gd name="T24" fmla="*/ 29 w 93"/>
                    <a:gd name="T25" fmla="*/ 11 h 50"/>
                    <a:gd name="T26" fmla="*/ 25 w 93"/>
                    <a:gd name="T27" fmla="*/ 11 h 50"/>
                    <a:gd name="T28" fmla="*/ 21 w 93"/>
                    <a:gd name="T29" fmla="*/ 12 h 50"/>
                    <a:gd name="T30" fmla="*/ 19 w 93"/>
                    <a:gd name="T31" fmla="*/ 12 h 50"/>
                    <a:gd name="T32" fmla="*/ 16 w 93"/>
                    <a:gd name="T33" fmla="*/ 13 h 50"/>
                    <a:gd name="T34" fmla="*/ 13 w 93"/>
                    <a:gd name="T35" fmla="*/ 14 h 50"/>
                    <a:gd name="T36" fmla="*/ 10 w 93"/>
                    <a:gd name="T37" fmla="*/ 15 h 50"/>
                    <a:gd name="T38" fmla="*/ 9 w 93"/>
                    <a:gd name="T39" fmla="*/ 15 h 50"/>
                    <a:gd name="T40" fmla="*/ 9 w 93"/>
                    <a:gd name="T41" fmla="*/ 14 h 50"/>
                    <a:gd name="T42" fmla="*/ 8 w 93"/>
                    <a:gd name="T43" fmla="*/ 14 h 50"/>
                    <a:gd name="T44" fmla="*/ 8 w 93"/>
                    <a:gd name="T45" fmla="*/ 14 h 50"/>
                    <a:gd name="T46" fmla="*/ 7 w 93"/>
                    <a:gd name="T47" fmla="*/ 12 h 50"/>
                    <a:gd name="T48" fmla="*/ 7 w 93"/>
                    <a:gd name="T49" fmla="*/ 11 h 50"/>
                    <a:gd name="T50" fmla="*/ 7 w 93"/>
                    <a:gd name="T51" fmla="*/ 9 h 50"/>
                    <a:gd name="T52" fmla="*/ 7 w 93"/>
                    <a:gd name="T53" fmla="*/ 8 h 50"/>
                    <a:gd name="T54" fmla="*/ 7 w 93"/>
                    <a:gd name="T55" fmla="*/ 7 h 50"/>
                    <a:gd name="T56" fmla="*/ 8 w 93"/>
                    <a:gd name="T57" fmla="*/ 6 h 50"/>
                    <a:gd name="T58" fmla="*/ 0 w 93"/>
                    <a:gd name="T59" fmla="*/ 6 h 50"/>
                    <a:gd name="T60" fmla="*/ 0 w 93"/>
                    <a:gd name="T61" fmla="*/ 0 h 5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93" h="50">
                      <a:moveTo>
                        <a:pt x="0" y="0"/>
                      </a:moveTo>
                      <a:lnTo>
                        <a:pt x="15" y="0"/>
                      </a:lnTo>
                      <a:lnTo>
                        <a:pt x="30" y="1"/>
                      </a:lnTo>
                      <a:lnTo>
                        <a:pt x="45" y="2"/>
                      </a:lnTo>
                      <a:lnTo>
                        <a:pt x="59" y="5"/>
                      </a:lnTo>
                      <a:lnTo>
                        <a:pt x="64" y="7"/>
                      </a:lnTo>
                      <a:lnTo>
                        <a:pt x="71" y="9"/>
                      </a:lnTo>
                      <a:lnTo>
                        <a:pt x="75" y="12"/>
                      </a:lnTo>
                      <a:lnTo>
                        <a:pt x="81" y="16"/>
                      </a:lnTo>
                      <a:lnTo>
                        <a:pt x="85" y="20"/>
                      </a:lnTo>
                      <a:lnTo>
                        <a:pt x="89" y="25"/>
                      </a:lnTo>
                      <a:lnTo>
                        <a:pt x="91" y="30"/>
                      </a:lnTo>
                      <a:lnTo>
                        <a:pt x="93" y="37"/>
                      </a:lnTo>
                      <a:lnTo>
                        <a:pt x="79" y="37"/>
                      </a:lnTo>
                      <a:lnTo>
                        <a:pt x="68" y="39"/>
                      </a:lnTo>
                      <a:lnTo>
                        <a:pt x="60" y="41"/>
                      </a:lnTo>
                      <a:lnTo>
                        <a:pt x="52" y="43"/>
                      </a:lnTo>
                      <a:lnTo>
                        <a:pt x="42" y="47"/>
                      </a:lnTo>
                      <a:lnTo>
                        <a:pt x="33" y="50"/>
                      </a:lnTo>
                      <a:lnTo>
                        <a:pt x="30" y="50"/>
                      </a:lnTo>
                      <a:lnTo>
                        <a:pt x="28" y="48"/>
                      </a:lnTo>
                      <a:lnTo>
                        <a:pt x="26" y="47"/>
                      </a:lnTo>
                      <a:lnTo>
                        <a:pt x="25" y="45"/>
                      </a:lnTo>
                      <a:lnTo>
                        <a:pt x="23" y="41"/>
                      </a:lnTo>
                      <a:lnTo>
                        <a:pt x="22" y="36"/>
                      </a:lnTo>
                      <a:lnTo>
                        <a:pt x="22" y="31"/>
                      </a:lnTo>
                      <a:lnTo>
                        <a:pt x="23" y="26"/>
                      </a:lnTo>
                      <a:lnTo>
                        <a:pt x="24" y="22"/>
                      </a:lnTo>
                      <a:lnTo>
                        <a:pt x="26" y="19"/>
                      </a:lnTo>
                      <a:lnTo>
                        <a:pt x="0" y="19"/>
                      </a:lnTo>
                      <a:lnTo>
                        <a:pt x="0" y="0"/>
                      </a:lnTo>
                    </a:path>
                  </a:pathLst>
                </a:custGeom>
                <a:grpFill/>
                <a:ln w="9525" cap="flat" cmpd="sng">
                  <a:solidFill>
                    <a:schemeClr val="bg1"/>
                  </a:solidFill>
                  <a:prstDash val="solid"/>
                  <a:round/>
                  <a:headEnd type="none" w="med" len="med"/>
                  <a:tailEnd type="none" w="med" len="med"/>
                </a:ln>
                <a:effectLst/>
              </p:spPr>
              <p:txBody>
                <a:bodyPr/>
                <a:lstStyle/>
                <a:p>
                  <a:endParaRPr lang="en-GB" sz="1637"/>
                </a:p>
              </p:txBody>
            </p:sp>
            <p:sp>
              <p:nvSpPr>
                <p:cNvPr id="301" name="Freeform 416"/>
                <p:cNvSpPr>
                  <a:spLocks/>
                </p:cNvSpPr>
                <p:nvPr/>
              </p:nvSpPr>
              <p:spPr bwMode="auto">
                <a:xfrm>
                  <a:off x="1436" y="1246"/>
                  <a:ext cx="331" cy="198"/>
                </a:xfrm>
                <a:custGeom>
                  <a:avLst/>
                  <a:gdLst>
                    <a:gd name="T0" fmla="*/ 6 w 1029"/>
                    <a:gd name="T1" fmla="*/ 37 h 604"/>
                    <a:gd name="T2" fmla="*/ 22 w 1029"/>
                    <a:gd name="T3" fmla="*/ 20 h 604"/>
                    <a:gd name="T4" fmla="*/ 86 w 1029"/>
                    <a:gd name="T5" fmla="*/ 0 h 604"/>
                    <a:gd name="T6" fmla="*/ 66 w 1029"/>
                    <a:gd name="T7" fmla="*/ 15 h 604"/>
                    <a:gd name="T8" fmla="*/ 58 w 1029"/>
                    <a:gd name="T9" fmla="*/ 34 h 604"/>
                    <a:gd name="T10" fmla="*/ 88 w 1029"/>
                    <a:gd name="T11" fmla="*/ 20 h 604"/>
                    <a:gd name="T12" fmla="*/ 128 w 1029"/>
                    <a:gd name="T13" fmla="*/ 5 h 604"/>
                    <a:gd name="T14" fmla="*/ 141 w 1029"/>
                    <a:gd name="T15" fmla="*/ 8 h 604"/>
                    <a:gd name="T16" fmla="*/ 139 w 1029"/>
                    <a:gd name="T17" fmla="*/ 23 h 604"/>
                    <a:gd name="T18" fmla="*/ 187 w 1029"/>
                    <a:gd name="T19" fmla="*/ 26 h 604"/>
                    <a:gd name="T20" fmla="*/ 217 w 1029"/>
                    <a:gd name="T21" fmla="*/ 29 h 604"/>
                    <a:gd name="T22" fmla="*/ 241 w 1029"/>
                    <a:gd name="T23" fmla="*/ 36 h 604"/>
                    <a:gd name="T24" fmla="*/ 241 w 1029"/>
                    <a:gd name="T25" fmla="*/ 44 h 604"/>
                    <a:gd name="T26" fmla="*/ 229 w 1029"/>
                    <a:gd name="T27" fmla="*/ 60 h 604"/>
                    <a:gd name="T28" fmla="*/ 257 w 1029"/>
                    <a:gd name="T29" fmla="*/ 55 h 604"/>
                    <a:gd name="T30" fmla="*/ 279 w 1029"/>
                    <a:gd name="T31" fmla="*/ 63 h 604"/>
                    <a:gd name="T32" fmla="*/ 275 w 1029"/>
                    <a:gd name="T33" fmla="*/ 78 h 604"/>
                    <a:gd name="T34" fmla="*/ 253 w 1029"/>
                    <a:gd name="T35" fmla="*/ 81 h 604"/>
                    <a:gd name="T36" fmla="*/ 276 w 1029"/>
                    <a:gd name="T37" fmla="*/ 93 h 604"/>
                    <a:gd name="T38" fmla="*/ 290 w 1029"/>
                    <a:gd name="T39" fmla="*/ 107 h 604"/>
                    <a:gd name="T40" fmla="*/ 314 w 1029"/>
                    <a:gd name="T41" fmla="*/ 108 h 604"/>
                    <a:gd name="T42" fmla="*/ 331 w 1029"/>
                    <a:gd name="T43" fmla="*/ 115 h 604"/>
                    <a:gd name="T44" fmla="*/ 302 w 1029"/>
                    <a:gd name="T45" fmla="*/ 134 h 604"/>
                    <a:gd name="T46" fmla="*/ 289 w 1029"/>
                    <a:gd name="T47" fmla="*/ 137 h 604"/>
                    <a:gd name="T48" fmla="*/ 281 w 1029"/>
                    <a:gd name="T49" fmla="*/ 145 h 604"/>
                    <a:gd name="T50" fmla="*/ 267 w 1029"/>
                    <a:gd name="T51" fmla="*/ 136 h 604"/>
                    <a:gd name="T52" fmla="*/ 274 w 1029"/>
                    <a:gd name="T53" fmla="*/ 129 h 604"/>
                    <a:gd name="T54" fmla="*/ 255 w 1029"/>
                    <a:gd name="T55" fmla="*/ 124 h 604"/>
                    <a:gd name="T56" fmla="*/ 244 w 1029"/>
                    <a:gd name="T57" fmla="*/ 119 h 604"/>
                    <a:gd name="T58" fmla="*/ 239 w 1029"/>
                    <a:gd name="T59" fmla="*/ 129 h 604"/>
                    <a:gd name="T60" fmla="*/ 240 w 1029"/>
                    <a:gd name="T61" fmla="*/ 146 h 604"/>
                    <a:gd name="T62" fmla="*/ 256 w 1029"/>
                    <a:gd name="T63" fmla="*/ 171 h 604"/>
                    <a:gd name="T64" fmla="*/ 248 w 1029"/>
                    <a:gd name="T65" fmla="*/ 179 h 604"/>
                    <a:gd name="T66" fmla="*/ 228 w 1029"/>
                    <a:gd name="T67" fmla="*/ 182 h 604"/>
                    <a:gd name="T68" fmla="*/ 199 w 1029"/>
                    <a:gd name="T69" fmla="*/ 169 h 604"/>
                    <a:gd name="T70" fmla="*/ 215 w 1029"/>
                    <a:gd name="T71" fmla="*/ 186 h 604"/>
                    <a:gd name="T72" fmla="*/ 214 w 1029"/>
                    <a:gd name="T73" fmla="*/ 198 h 604"/>
                    <a:gd name="T74" fmla="*/ 167 w 1029"/>
                    <a:gd name="T75" fmla="*/ 187 h 604"/>
                    <a:gd name="T76" fmla="*/ 152 w 1029"/>
                    <a:gd name="T77" fmla="*/ 171 h 604"/>
                    <a:gd name="T78" fmla="*/ 132 w 1029"/>
                    <a:gd name="T79" fmla="*/ 155 h 604"/>
                    <a:gd name="T80" fmla="*/ 118 w 1029"/>
                    <a:gd name="T81" fmla="*/ 149 h 604"/>
                    <a:gd name="T82" fmla="*/ 126 w 1029"/>
                    <a:gd name="T83" fmla="*/ 142 h 604"/>
                    <a:gd name="T84" fmla="*/ 148 w 1029"/>
                    <a:gd name="T85" fmla="*/ 131 h 604"/>
                    <a:gd name="T86" fmla="*/ 161 w 1029"/>
                    <a:gd name="T87" fmla="*/ 124 h 604"/>
                    <a:gd name="T88" fmla="*/ 186 w 1029"/>
                    <a:gd name="T89" fmla="*/ 125 h 604"/>
                    <a:gd name="T90" fmla="*/ 198 w 1029"/>
                    <a:gd name="T91" fmla="*/ 129 h 604"/>
                    <a:gd name="T92" fmla="*/ 221 w 1029"/>
                    <a:gd name="T93" fmla="*/ 127 h 604"/>
                    <a:gd name="T94" fmla="*/ 187 w 1029"/>
                    <a:gd name="T95" fmla="*/ 116 h 604"/>
                    <a:gd name="T96" fmla="*/ 174 w 1029"/>
                    <a:gd name="T97" fmla="*/ 118 h 604"/>
                    <a:gd name="T98" fmla="*/ 173 w 1029"/>
                    <a:gd name="T99" fmla="*/ 115 h 604"/>
                    <a:gd name="T100" fmla="*/ 185 w 1029"/>
                    <a:gd name="T101" fmla="*/ 100 h 604"/>
                    <a:gd name="T102" fmla="*/ 185 w 1029"/>
                    <a:gd name="T103" fmla="*/ 90 h 604"/>
                    <a:gd name="T104" fmla="*/ 169 w 1029"/>
                    <a:gd name="T105" fmla="*/ 83 h 604"/>
                    <a:gd name="T106" fmla="*/ 152 w 1029"/>
                    <a:gd name="T107" fmla="*/ 65 h 604"/>
                    <a:gd name="T108" fmla="*/ 140 w 1029"/>
                    <a:gd name="T109" fmla="*/ 55 h 604"/>
                    <a:gd name="T110" fmla="*/ 131 w 1029"/>
                    <a:gd name="T111" fmla="*/ 53 h 604"/>
                    <a:gd name="T112" fmla="*/ 122 w 1029"/>
                    <a:gd name="T113" fmla="*/ 67 h 604"/>
                    <a:gd name="T114" fmla="*/ 67 w 1029"/>
                    <a:gd name="T115" fmla="*/ 57 h 604"/>
                    <a:gd name="T116" fmla="*/ 37 w 1029"/>
                    <a:gd name="T117" fmla="*/ 62 h 604"/>
                    <a:gd name="T118" fmla="*/ 25 w 1029"/>
                    <a:gd name="T119" fmla="*/ 61 h 604"/>
                    <a:gd name="T120" fmla="*/ 5 w 1029"/>
                    <a:gd name="T121" fmla="*/ 59 h 604"/>
                    <a:gd name="T122" fmla="*/ 3 w 1029"/>
                    <a:gd name="T123" fmla="*/ 52 h 604"/>
                    <a:gd name="T124" fmla="*/ 24 w 1029"/>
                    <a:gd name="T125" fmla="*/ 49 h 60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029" h="604">
                      <a:moveTo>
                        <a:pt x="73" y="129"/>
                      </a:moveTo>
                      <a:lnTo>
                        <a:pt x="34" y="129"/>
                      </a:lnTo>
                      <a:lnTo>
                        <a:pt x="28" y="128"/>
                      </a:lnTo>
                      <a:lnTo>
                        <a:pt x="24" y="125"/>
                      </a:lnTo>
                      <a:lnTo>
                        <a:pt x="22" y="121"/>
                      </a:lnTo>
                      <a:lnTo>
                        <a:pt x="20" y="117"/>
                      </a:lnTo>
                      <a:lnTo>
                        <a:pt x="20" y="112"/>
                      </a:lnTo>
                      <a:lnTo>
                        <a:pt x="22" y="107"/>
                      </a:lnTo>
                      <a:lnTo>
                        <a:pt x="24" y="102"/>
                      </a:lnTo>
                      <a:lnTo>
                        <a:pt x="26" y="97"/>
                      </a:lnTo>
                      <a:lnTo>
                        <a:pt x="34" y="87"/>
                      </a:lnTo>
                      <a:lnTo>
                        <a:pt x="42" y="77"/>
                      </a:lnTo>
                      <a:lnTo>
                        <a:pt x="54" y="69"/>
                      </a:lnTo>
                      <a:lnTo>
                        <a:pt x="67" y="60"/>
                      </a:lnTo>
                      <a:lnTo>
                        <a:pt x="81" y="52"/>
                      </a:lnTo>
                      <a:lnTo>
                        <a:pt x="96" y="45"/>
                      </a:lnTo>
                      <a:lnTo>
                        <a:pt x="128" y="30"/>
                      </a:lnTo>
                      <a:lnTo>
                        <a:pt x="160" y="18"/>
                      </a:lnTo>
                      <a:lnTo>
                        <a:pt x="190" y="8"/>
                      </a:lnTo>
                      <a:lnTo>
                        <a:pt x="213" y="0"/>
                      </a:lnTo>
                      <a:lnTo>
                        <a:pt x="266" y="0"/>
                      </a:lnTo>
                      <a:lnTo>
                        <a:pt x="264" y="7"/>
                      </a:lnTo>
                      <a:lnTo>
                        <a:pt x="260" y="14"/>
                      </a:lnTo>
                      <a:lnTo>
                        <a:pt x="255" y="19"/>
                      </a:lnTo>
                      <a:lnTo>
                        <a:pt x="250" y="24"/>
                      </a:lnTo>
                      <a:lnTo>
                        <a:pt x="236" y="32"/>
                      </a:lnTo>
                      <a:lnTo>
                        <a:pt x="220" y="40"/>
                      </a:lnTo>
                      <a:lnTo>
                        <a:pt x="205" y="47"/>
                      </a:lnTo>
                      <a:lnTo>
                        <a:pt x="192" y="55"/>
                      </a:lnTo>
                      <a:lnTo>
                        <a:pt x="187" y="60"/>
                      </a:lnTo>
                      <a:lnTo>
                        <a:pt x="183" y="66"/>
                      </a:lnTo>
                      <a:lnTo>
                        <a:pt x="181" y="72"/>
                      </a:lnTo>
                      <a:lnTo>
                        <a:pt x="180" y="80"/>
                      </a:lnTo>
                      <a:lnTo>
                        <a:pt x="180" y="95"/>
                      </a:lnTo>
                      <a:lnTo>
                        <a:pt x="180" y="105"/>
                      </a:lnTo>
                      <a:lnTo>
                        <a:pt x="198" y="104"/>
                      </a:lnTo>
                      <a:lnTo>
                        <a:pt x="216" y="101"/>
                      </a:lnTo>
                      <a:lnTo>
                        <a:pt x="233" y="97"/>
                      </a:lnTo>
                      <a:lnTo>
                        <a:pt x="252" y="93"/>
                      </a:lnTo>
                      <a:lnTo>
                        <a:pt x="252" y="82"/>
                      </a:lnTo>
                      <a:lnTo>
                        <a:pt x="252" y="67"/>
                      </a:lnTo>
                      <a:lnTo>
                        <a:pt x="274" y="60"/>
                      </a:lnTo>
                      <a:lnTo>
                        <a:pt x="295" y="51"/>
                      </a:lnTo>
                      <a:lnTo>
                        <a:pt x="316" y="42"/>
                      </a:lnTo>
                      <a:lnTo>
                        <a:pt x="336" y="32"/>
                      </a:lnTo>
                      <a:lnTo>
                        <a:pt x="355" y="24"/>
                      </a:lnTo>
                      <a:lnTo>
                        <a:pt x="376" y="18"/>
                      </a:lnTo>
                      <a:lnTo>
                        <a:pt x="386" y="15"/>
                      </a:lnTo>
                      <a:lnTo>
                        <a:pt x="397" y="14"/>
                      </a:lnTo>
                      <a:lnTo>
                        <a:pt x="408" y="12"/>
                      </a:lnTo>
                      <a:lnTo>
                        <a:pt x="419" y="12"/>
                      </a:lnTo>
                      <a:lnTo>
                        <a:pt x="422" y="12"/>
                      </a:lnTo>
                      <a:lnTo>
                        <a:pt x="426" y="14"/>
                      </a:lnTo>
                      <a:lnTo>
                        <a:pt x="429" y="15"/>
                      </a:lnTo>
                      <a:lnTo>
                        <a:pt x="432" y="18"/>
                      </a:lnTo>
                      <a:lnTo>
                        <a:pt x="438" y="23"/>
                      </a:lnTo>
                      <a:lnTo>
                        <a:pt x="443" y="30"/>
                      </a:lnTo>
                      <a:lnTo>
                        <a:pt x="450" y="44"/>
                      </a:lnTo>
                      <a:lnTo>
                        <a:pt x="452" y="49"/>
                      </a:lnTo>
                      <a:lnTo>
                        <a:pt x="443" y="57"/>
                      </a:lnTo>
                      <a:lnTo>
                        <a:pt x="437" y="64"/>
                      </a:lnTo>
                      <a:lnTo>
                        <a:pt x="434" y="68"/>
                      </a:lnTo>
                      <a:lnTo>
                        <a:pt x="433" y="71"/>
                      </a:lnTo>
                      <a:lnTo>
                        <a:pt x="432" y="75"/>
                      </a:lnTo>
                      <a:lnTo>
                        <a:pt x="432" y="80"/>
                      </a:lnTo>
                      <a:lnTo>
                        <a:pt x="467" y="80"/>
                      </a:lnTo>
                      <a:lnTo>
                        <a:pt x="504" y="80"/>
                      </a:lnTo>
                      <a:lnTo>
                        <a:pt x="536" y="80"/>
                      </a:lnTo>
                      <a:lnTo>
                        <a:pt x="565" y="80"/>
                      </a:lnTo>
                      <a:lnTo>
                        <a:pt x="581" y="80"/>
                      </a:lnTo>
                      <a:lnTo>
                        <a:pt x="601" y="83"/>
                      </a:lnTo>
                      <a:lnTo>
                        <a:pt x="621" y="85"/>
                      </a:lnTo>
                      <a:lnTo>
                        <a:pt x="637" y="86"/>
                      </a:lnTo>
                      <a:lnTo>
                        <a:pt x="648" y="86"/>
                      </a:lnTo>
                      <a:lnTo>
                        <a:pt x="658" y="87"/>
                      </a:lnTo>
                      <a:lnTo>
                        <a:pt x="667" y="88"/>
                      </a:lnTo>
                      <a:lnTo>
                        <a:pt x="675" y="89"/>
                      </a:lnTo>
                      <a:lnTo>
                        <a:pt x="690" y="94"/>
                      </a:lnTo>
                      <a:lnTo>
                        <a:pt x="702" y="99"/>
                      </a:lnTo>
                      <a:lnTo>
                        <a:pt x="715" y="103"/>
                      </a:lnTo>
                      <a:lnTo>
                        <a:pt x="728" y="107"/>
                      </a:lnTo>
                      <a:lnTo>
                        <a:pt x="734" y="109"/>
                      </a:lnTo>
                      <a:lnTo>
                        <a:pt x="742" y="110"/>
                      </a:lnTo>
                      <a:lnTo>
                        <a:pt x="749" y="111"/>
                      </a:lnTo>
                      <a:lnTo>
                        <a:pt x="757" y="111"/>
                      </a:lnTo>
                      <a:lnTo>
                        <a:pt x="753" y="115"/>
                      </a:lnTo>
                      <a:lnTo>
                        <a:pt x="751" y="119"/>
                      </a:lnTo>
                      <a:lnTo>
                        <a:pt x="748" y="122"/>
                      </a:lnTo>
                      <a:lnTo>
                        <a:pt x="747" y="125"/>
                      </a:lnTo>
                      <a:lnTo>
                        <a:pt x="747" y="130"/>
                      </a:lnTo>
                      <a:lnTo>
                        <a:pt x="749" y="134"/>
                      </a:lnTo>
                      <a:lnTo>
                        <a:pt x="752" y="138"/>
                      </a:lnTo>
                      <a:lnTo>
                        <a:pt x="754" y="142"/>
                      </a:lnTo>
                      <a:lnTo>
                        <a:pt x="754" y="145"/>
                      </a:lnTo>
                      <a:lnTo>
                        <a:pt x="754" y="147"/>
                      </a:lnTo>
                      <a:lnTo>
                        <a:pt x="753" y="151"/>
                      </a:lnTo>
                      <a:lnTo>
                        <a:pt x="751" y="154"/>
                      </a:lnTo>
                      <a:lnTo>
                        <a:pt x="711" y="184"/>
                      </a:lnTo>
                      <a:lnTo>
                        <a:pt x="728" y="179"/>
                      </a:lnTo>
                      <a:lnTo>
                        <a:pt x="746" y="172"/>
                      </a:lnTo>
                      <a:lnTo>
                        <a:pt x="764" y="166"/>
                      </a:lnTo>
                      <a:lnTo>
                        <a:pt x="777" y="160"/>
                      </a:lnTo>
                      <a:lnTo>
                        <a:pt x="798" y="160"/>
                      </a:lnTo>
                      <a:lnTo>
                        <a:pt x="797" y="164"/>
                      </a:lnTo>
                      <a:lnTo>
                        <a:pt x="799" y="168"/>
                      </a:lnTo>
                      <a:lnTo>
                        <a:pt x="802" y="172"/>
                      </a:lnTo>
                      <a:lnTo>
                        <a:pt x="807" y="174"/>
                      </a:lnTo>
                      <a:lnTo>
                        <a:pt x="820" y="179"/>
                      </a:lnTo>
                      <a:lnTo>
                        <a:pt x="834" y="183"/>
                      </a:lnTo>
                      <a:lnTo>
                        <a:pt x="848" y="186"/>
                      </a:lnTo>
                      <a:lnTo>
                        <a:pt x="860" y="189"/>
                      </a:lnTo>
                      <a:lnTo>
                        <a:pt x="866" y="191"/>
                      </a:lnTo>
                      <a:lnTo>
                        <a:pt x="869" y="192"/>
                      </a:lnTo>
                      <a:lnTo>
                        <a:pt x="870" y="194"/>
                      </a:lnTo>
                      <a:lnTo>
                        <a:pt x="870" y="196"/>
                      </a:lnTo>
                      <a:lnTo>
                        <a:pt x="864" y="234"/>
                      </a:lnTo>
                      <a:lnTo>
                        <a:pt x="863" y="236"/>
                      </a:lnTo>
                      <a:lnTo>
                        <a:pt x="860" y="238"/>
                      </a:lnTo>
                      <a:lnTo>
                        <a:pt x="856" y="239"/>
                      </a:lnTo>
                      <a:lnTo>
                        <a:pt x="852" y="240"/>
                      </a:lnTo>
                      <a:lnTo>
                        <a:pt x="838" y="242"/>
                      </a:lnTo>
                      <a:lnTo>
                        <a:pt x="824" y="243"/>
                      </a:lnTo>
                      <a:lnTo>
                        <a:pt x="809" y="244"/>
                      </a:lnTo>
                      <a:lnTo>
                        <a:pt x="797" y="246"/>
                      </a:lnTo>
                      <a:lnTo>
                        <a:pt x="791" y="247"/>
                      </a:lnTo>
                      <a:lnTo>
                        <a:pt x="788" y="248"/>
                      </a:lnTo>
                      <a:lnTo>
                        <a:pt x="785" y="250"/>
                      </a:lnTo>
                      <a:lnTo>
                        <a:pt x="784" y="252"/>
                      </a:lnTo>
                      <a:lnTo>
                        <a:pt x="799" y="262"/>
                      </a:lnTo>
                      <a:lnTo>
                        <a:pt x="813" y="269"/>
                      </a:lnTo>
                      <a:lnTo>
                        <a:pt x="827" y="275"/>
                      </a:lnTo>
                      <a:lnTo>
                        <a:pt x="843" y="280"/>
                      </a:lnTo>
                      <a:lnTo>
                        <a:pt x="859" y="284"/>
                      </a:lnTo>
                      <a:lnTo>
                        <a:pt x="877" y="287"/>
                      </a:lnTo>
                      <a:lnTo>
                        <a:pt x="896" y="289"/>
                      </a:lnTo>
                      <a:lnTo>
                        <a:pt x="916" y="289"/>
                      </a:lnTo>
                      <a:lnTo>
                        <a:pt x="915" y="298"/>
                      </a:lnTo>
                      <a:lnTo>
                        <a:pt x="913" y="307"/>
                      </a:lnTo>
                      <a:lnTo>
                        <a:pt x="909" y="317"/>
                      </a:lnTo>
                      <a:lnTo>
                        <a:pt x="903" y="327"/>
                      </a:lnTo>
                      <a:lnTo>
                        <a:pt x="914" y="330"/>
                      </a:lnTo>
                      <a:lnTo>
                        <a:pt x="925" y="333"/>
                      </a:lnTo>
                      <a:lnTo>
                        <a:pt x="937" y="333"/>
                      </a:lnTo>
                      <a:lnTo>
                        <a:pt x="948" y="333"/>
                      </a:lnTo>
                      <a:lnTo>
                        <a:pt x="959" y="332"/>
                      </a:lnTo>
                      <a:lnTo>
                        <a:pt x="969" y="331"/>
                      </a:lnTo>
                      <a:lnTo>
                        <a:pt x="977" y="329"/>
                      </a:lnTo>
                      <a:lnTo>
                        <a:pt x="983" y="327"/>
                      </a:lnTo>
                      <a:lnTo>
                        <a:pt x="987" y="333"/>
                      </a:lnTo>
                      <a:lnTo>
                        <a:pt x="991" y="337"/>
                      </a:lnTo>
                      <a:lnTo>
                        <a:pt x="995" y="341"/>
                      </a:lnTo>
                      <a:lnTo>
                        <a:pt x="1002" y="343"/>
                      </a:lnTo>
                      <a:lnTo>
                        <a:pt x="1015" y="347"/>
                      </a:lnTo>
                      <a:lnTo>
                        <a:pt x="1029" y="351"/>
                      </a:lnTo>
                      <a:lnTo>
                        <a:pt x="1012" y="360"/>
                      </a:lnTo>
                      <a:lnTo>
                        <a:pt x="997" y="371"/>
                      </a:lnTo>
                      <a:lnTo>
                        <a:pt x="983" y="382"/>
                      </a:lnTo>
                      <a:lnTo>
                        <a:pt x="971" y="391"/>
                      </a:lnTo>
                      <a:lnTo>
                        <a:pt x="959" y="400"/>
                      </a:lnTo>
                      <a:lnTo>
                        <a:pt x="947" y="406"/>
                      </a:lnTo>
                      <a:lnTo>
                        <a:pt x="939" y="409"/>
                      </a:lnTo>
                      <a:lnTo>
                        <a:pt x="933" y="411"/>
                      </a:lnTo>
                      <a:lnTo>
                        <a:pt x="925" y="412"/>
                      </a:lnTo>
                      <a:lnTo>
                        <a:pt x="916" y="412"/>
                      </a:lnTo>
                      <a:lnTo>
                        <a:pt x="911" y="413"/>
                      </a:lnTo>
                      <a:lnTo>
                        <a:pt x="907" y="414"/>
                      </a:lnTo>
                      <a:lnTo>
                        <a:pt x="902" y="415"/>
                      </a:lnTo>
                      <a:lnTo>
                        <a:pt x="899" y="417"/>
                      </a:lnTo>
                      <a:lnTo>
                        <a:pt x="893" y="422"/>
                      </a:lnTo>
                      <a:lnTo>
                        <a:pt x="889" y="428"/>
                      </a:lnTo>
                      <a:lnTo>
                        <a:pt x="885" y="434"/>
                      </a:lnTo>
                      <a:lnTo>
                        <a:pt x="881" y="439"/>
                      </a:lnTo>
                      <a:lnTo>
                        <a:pt x="879" y="441"/>
                      </a:lnTo>
                      <a:lnTo>
                        <a:pt x="877" y="442"/>
                      </a:lnTo>
                      <a:lnTo>
                        <a:pt x="874" y="443"/>
                      </a:lnTo>
                      <a:lnTo>
                        <a:pt x="870" y="444"/>
                      </a:lnTo>
                      <a:lnTo>
                        <a:pt x="865" y="442"/>
                      </a:lnTo>
                      <a:lnTo>
                        <a:pt x="857" y="439"/>
                      </a:lnTo>
                      <a:lnTo>
                        <a:pt x="849" y="435"/>
                      </a:lnTo>
                      <a:lnTo>
                        <a:pt x="842" y="429"/>
                      </a:lnTo>
                      <a:lnTo>
                        <a:pt x="835" y="422"/>
                      </a:lnTo>
                      <a:lnTo>
                        <a:pt x="830" y="414"/>
                      </a:lnTo>
                      <a:lnTo>
                        <a:pt x="827" y="411"/>
                      </a:lnTo>
                      <a:lnTo>
                        <a:pt x="825" y="407"/>
                      </a:lnTo>
                      <a:lnTo>
                        <a:pt x="824" y="404"/>
                      </a:lnTo>
                      <a:lnTo>
                        <a:pt x="824" y="400"/>
                      </a:lnTo>
                      <a:lnTo>
                        <a:pt x="840" y="400"/>
                      </a:lnTo>
                      <a:lnTo>
                        <a:pt x="851" y="400"/>
                      </a:lnTo>
                      <a:lnTo>
                        <a:pt x="851" y="393"/>
                      </a:lnTo>
                      <a:lnTo>
                        <a:pt x="851" y="382"/>
                      </a:lnTo>
                      <a:lnTo>
                        <a:pt x="837" y="382"/>
                      </a:lnTo>
                      <a:lnTo>
                        <a:pt x="827" y="382"/>
                      </a:lnTo>
                      <a:lnTo>
                        <a:pt x="816" y="382"/>
                      </a:lnTo>
                      <a:lnTo>
                        <a:pt x="804" y="382"/>
                      </a:lnTo>
                      <a:lnTo>
                        <a:pt x="798" y="381"/>
                      </a:lnTo>
                      <a:lnTo>
                        <a:pt x="792" y="379"/>
                      </a:lnTo>
                      <a:lnTo>
                        <a:pt x="788" y="376"/>
                      </a:lnTo>
                      <a:lnTo>
                        <a:pt x="784" y="373"/>
                      </a:lnTo>
                      <a:lnTo>
                        <a:pt x="780" y="369"/>
                      </a:lnTo>
                      <a:lnTo>
                        <a:pt x="776" y="366"/>
                      </a:lnTo>
                      <a:lnTo>
                        <a:pt x="770" y="364"/>
                      </a:lnTo>
                      <a:lnTo>
                        <a:pt x="764" y="363"/>
                      </a:lnTo>
                      <a:lnTo>
                        <a:pt x="759" y="364"/>
                      </a:lnTo>
                      <a:lnTo>
                        <a:pt x="755" y="366"/>
                      </a:lnTo>
                      <a:lnTo>
                        <a:pt x="752" y="369"/>
                      </a:lnTo>
                      <a:lnTo>
                        <a:pt x="749" y="374"/>
                      </a:lnTo>
                      <a:lnTo>
                        <a:pt x="747" y="379"/>
                      </a:lnTo>
                      <a:lnTo>
                        <a:pt x="745" y="384"/>
                      </a:lnTo>
                      <a:lnTo>
                        <a:pt x="744" y="389"/>
                      </a:lnTo>
                      <a:lnTo>
                        <a:pt x="744" y="394"/>
                      </a:lnTo>
                      <a:lnTo>
                        <a:pt x="711" y="394"/>
                      </a:lnTo>
                      <a:lnTo>
                        <a:pt x="711" y="412"/>
                      </a:lnTo>
                      <a:lnTo>
                        <a:pt x="715" y="414"/>
                      </a:lnTo>
                      <a:lnTo>
                        <a:pt x="720" y="418"/>
                      </a:lnTo>
                      <a:lnTo>
                        <a:pt x="726" y="423"/>
                      </a:lnTo>
                      <a:lnTo>
                        <a:pt x="733" y="430"/>
                      </a:lnTo>
                      <a:lnTo>
                        <a:pt x="747" y="445"/>
                      </a:lnTo>
                      <a:lnTo>
                        <a:pt x="762" y="462"/>
                      </a:lnTo>
                      <a:lnTo>
                        <a:pt x="775" y="478"/>
                      </a:lnTo>
                      <a:lnTo>
                        <a:pt x="787" y="494"/>
                      </a:lnTo>
                      <a:lnTo>
                        <a:pt x="795" y="505"/>
                      </a:lnTo>
                      <a:lnTo>
                        <a:pt x="798" y="511"/>
                      </a:lnTo>
                      <a:lnTo>
                        <a:pt x="797" y="517"/>
                      </a:lnTo>
                      <a:lnTo>
                        <a:pt x="795" y="523"/>
                      </a:lnTo>
                      <a:lnTo>
                        <a:pt x="795" y="527"/>
                      </a:lnTo>
                      <a:lnTo>
                        <a:pt x="795" y="530"/>
                      </a:lnTo>
                      <a:lnTo>
                        <a:pt x="796" y="533"/>
                      </a:lnTo>
                      <a:lnTo>
                        <a:pt x="798" y="535"/>
                      </a:lnTo>
                      <a:lnTo>
                        <a:pt x="788" y="539"/>
                      </a:lnTo>
                      <a:lnTo>
                        <a:pt x="779" y="543"/>
                      </a:lnTo>
                      <a:lnTo>
                        <a:pt x="771" y="547"/>
                      </a:lnTo>
                      <a:lnTo>
                        <a:pt x="765" y="551"/>
                      </a:lnTo>
                      <a:lnTo>
                        <a:pt x="758" y="554"/>
                      </a:lnTo>
                      <a:lnTo>
                        <a:pt x="752" y="558"/>
                      </a:lnTo>
                      <a:lnTo>
                        <a:pt x="745" y="560"/>
                      </a:lnTo>
                      <a:lnTo>
                        <a:pt x="737" y="560"/>
                      </a:lnTo>
                      <a:lnTo>
                        <a:pt x="723" y="559"/>
                      </a:lnTo>
                      <a:lnTo>
                        <a:pt x="708" y="556"/>
                      </a:lnTo>
                      <a:lnTo>
                        <a:pt x="695" y="552"/>
                      </a:lnTo>
                      <a:lnTo>
                        <a:pt x="681" y="546"/>
                      </a:lnTo>
                      <a:lnTo>
                        <a:pt x="669" y="540"/>
                      </a:lnTo>
                      <a:lnTo>
                        <a:pt x="659" y="531"/>
                      </a:lnTo>
                      <a:lnTo>
                        <a:pt x="651" y="524"/>
                      </a:lnTo>
                      <a:lnTo>
                        <a:pt x="644" y="517"/>
                      </a:lnTo>
                      <a:lnTo>
                        <a:pt x="618" y="517"/>
                      </a:lnTo>
                      <a:lnTo>
                        <a:pt x="621" y="525"/>
                      </a:lnTo>
                      <a:lnTo>
                        <a:pt x="624" y="531"/>
                      </a:lnTo>
                      <a:lnTo>
                        <a:pt x="629" y="538"/>
                      </a:lnTo>
                      <a:lnTo>
                        <a:pt x="634" y="543"/>
                      </a:lnTo>
                      <a:lnTo>
                        <a:pt x="645" y="552"/>
                      </a:lnTo>
                      <a:lnTo>
                        <a:pt x="657" y="560"/>
                      </a:lnTo>
                      <a:lnTo>
                        <a:pt x="668" y="567"/>
                      </a:lnTo>
                      <a:lnTo>
                        <a:pt x="678" y="575"/>
                      </a:lnTo>
                      <a:lnTo>
                        <a:pt x="683" y="580"/>
                      </a:lnTo>
                      <a:lnTo>
                        <a:pt x="687" y="585"/>
                      </a:lnTo>
                      <a:lnTo>
                        <a:pt x="689" y="590"/>
                      </a:lnTo>
                      <a:lnTo>
                        <a:pt x="691" y="598"/>
                      </a:lnTo>
                      <a:lnTo>
                        <a:pt x="678" y="601"/>
                      </a:lnTo>
                      <a:lnTo>
                        <a:pt x="665" y="604"/>
                      </a:lnTo>
                      <a:lnTo>
                        <a:pt x="644" y="603"/>
                      </a:lnTo>
                      <a:lnTo>
                        <a:pt x="618" y="599"/>
                      </a:lnTo>
                      <a:lnTo>
                        <a:pt x="589" y="592"/>
                      </a:lnTo>
                      <a:lnTo>
                        <a:pt x="558" y="584"/>
                      </a:lnTo>
                      <a:lnTo>
                        <a:pt x="544" y="580"/>
                      </a:lnTo>
                      <a:lnTo>
                        <a:pt x="531" y="575"/>
                      </a:lnTo>
                      <a:lnTo>
                        <a:pt x="518" y="570"/>
                      </a:lnTo>
                      <a:lnTo>
                        <a:pt x="507" y="565"/>
                      </a:lnTo>
                      <a:lnTo>
                        <a:pt x="497" y="559"/>
                      </a:lnTo>
                      <a:lnTo>
                        <a:pt x="488" y="554"/>
                      </a:lnTo>
                      <a:lnTo>
                        <a:pt x="483" y="548"/>
                      </a:lnTo>
                      <a:lnTo>
                        <a:pt x="478" y="542"/>
                      </a:lnTo>
                      <a:lnTo>
                        <a:pt x="475" y="532"/>
                      </a:lnTo>
                      <a:lnTo>
                        <a:pt x="471" y="523"/>
                      </a:lnTo>
                      <a:lnTo>
                        <a:pt x="464" y="513"/>
                      </a:lnTo>
                      <a:lnTo>
                        <a:pt x="457" y="504"/>
                      </a:lnTo>
                      <a:lnTo>
                        <a:pt x="451" y="496"/>
                      </a:lnTo>
                      <a:lnTo>
                        <a:pt x="444" y="489"/>
                      </a:lnTo>
                      <a:lnTo>
                        <a:pt x="438" y="484"/>
                      </a:lnTo>
                      <a:lnTo>
                        <a:pt x="432" y="480"/>
                      </a:lnTo>
                      <a:lnTo>
                        <a:pt x="410" y="473"/>
                      </a:lnTo>
                      <a:lnTo>
                        <a:pt x="388" y="468"/>
                      </a:lnTo>
                      <a:lnTo>
                        <a:pt x="384" y="467"/>
                      </a:lnTo>
                      <a:lnTo>
                        <a:pt x="379" y="465"/>
                      </a:lnTo>
                      <a:lnTo>
                        <a:pt x="375" y="463"/>
                      </a:lnTo>
                      <a:lnTo>
                        <a:pt x="372" y="460"/>
                      </a:lnTo>
                      <a:lnTo>
                        <a:pt x="370" y="457"/>
                      </a:lnTo>
                      <a:lnTo>
                        <a:pt x="367" y="453"/>
                      </a:lnTo>
                      <a:lnTo>
                        <a:pt x="366" y="449"/>
                      </a:lnTo>
                      <a:lnTo>
                        <a:pt x="365" y="444"/>
                      </a:lnTo>
                      <a:lnTo>
                        <a:pt x="366" y="441"/>
                      </a:lnTo>
                      <a:lnTo>
                        <a:pt x="368" y="439"/>
                      </a:lnTo>
                      <a:lnTo>
                        <a:pt x="373" y="437"/>
                      </a:lnTo>
                      <a:lnTo>
                        <a:pt x="378" y="436"/>
                      </a:lnTo>
                      <a:lnTo>
                        <a:pt x="392" y="433"/>
                      </a:lnTo>
                      <a:lnTo>
                        <a:pt x="406" y="430"/>
                      </a:lnTo>
                      <a:lnTo>
                        <a:pt x="435" y="427"/>
                      </a:lnTo>
                      <a:lnTo>
                        <a:pt x="452" y="424"/>
                      </a:lnTo>
                      <a:lnTo>
                        <a:pt x="452" y="416"/>
                      </a:lnTo>
                      <a:lnTo>
                        <a:pt x="454" y="409"/>
                      </a:lnTo>
                      <a:lnTo>
                        <a:pt x="456" y="404"/>
                      </a:lnTo>
                      <a:lnTo>
                        <a:pt x="459" y="399"/>
                      </a:lnTo>
                      <a:lnTo>
                        <a:pt x="461" y="394"/>
                      </a:lnTo>
                      <a:lnTo>
                        <a:pt x="463" y="390"/>
                      </a:lnTo>
                      <a:lnTo>
                        <a:pt x="465" y="386"/>
                      </a:lnTo>
                      <a:lnTo>
                        <a:pt x="465" y="382"/>
                      </a:lnTo>
                      <a:lnTo>
                        <a:pt x="479" y="382"/>
                      </a:lnTo>
                      <a:lnTo>
                        <a:pt x="490" y="380"/>
                      </a:lnTo>
                      <a:lnTo>
                        <a:pt x="500" y="378"/>
                      </a:lnTo>
                      <a:lnTo>
                        <a:pt x="508" y="375"/>
                      </a:lnTo>
                      <a:lnTo>
                        <a:pt x="521" y="368"/>
                      </a:lnTo>
                      <a:lnTo>
                        <a:pt x="532" y="363"/>
                      </a:lnTo>
                      <a:lnTo>
                        <a:pt x="572" y="363"/>
                      </a:lnTo>
                      <a:lnTo>
                        <a:pt x="573" y="369"/>
                      </a:lnTo>
                      <a:lnTo>
                        <a:pt x="575" y="376"/>
                      </a:lnTo>
                      <a:lnTo>
                        <a:pt x="577" y="380"/>
                      </a:lnTo>
                      <a:lnTo>
                        <a:pt x="580" y="384"/>
                      </a:lnTo>
                      <a:lnTo>
                        <a:pt x="583" y="387"/>
                      </a:lnTo>
                      <a:lnTo>
                        <a:pt x="587" y="389"/>
                      </a:lnTo>
                      <a:lnTo>
                        <a:pt x="590" y="391"/>
                      </a:lnTo>
                      <a:lnTo>
                        <a:pt x="595" y="393"/>
                      </a:lnTo>
                      <a:lnTo>
                        <a:pt x="603" y="394"/>
                      </a:lnTo>
                      <a:lnTo>
                        <a:pt x="614" y="395"/>
                      </a:lnTo>
                      <a:lnTo>
                        <a:pt x="625" y="394"/>
                      </a:lnTo>
                      <a:lnTo>
                        <a:pt x="637" y="394"/>
                      </a:lnTo>
                      <a:lnTo>
                        <a:pt x="650" y="394"/>
                      </a:lnTo>
                      <a:lnTo>
                        <a:pt x="659" y="393"/>
                      </a:lnTo>
                      <a:lnTo>
                        <a:pt x="668" y="392"/>
                      </a:lnTo>
                      <a:lnTo>
                        <a:pt x="675" y="390"/>
                      </a:lnTo>
                      <a:lnTo>
                        <a:pt x="687" y="387"/>
                      </a:lnTo>
                      <a:lnTo>
                        <a:pt x="698" y="382"/>
                      </a:lnTo>
                      <a:lnTo>
                        <a:pt x="698" y="373"/>
                      </a:lnTo>
                      <a:lnTo>
                        <a:pt x="698" y="363"/>
                      </a:lnTo>
                      <a:lnTo>
                        <a:pt x="605" y="351"/>
                      </a:lnTo>
                      <a:lnTo>
                        <a:pt x="596" y="351"/>
                      </a:lnTo>
                      <a:lnTo>
                        <a:pt x="588" y="353"/>
                      </a:lnTo>
                      <a:lnTo>
                        <a:pt x="581" y="355"/>
                      </a:lnTo>
                      <a:lnTo>
                        <a:pt x="576" y="357"/>
                      </a:lnTo>
                      <a:lnTo>
                        <a:pt x="572" y="359"/>
                      </a:lnTo>
                      <a:lnTo>
                        <a:pt x="567" y="361"/>
                      </a:lnTo>
                      <a:lnTo>
                        <a:pt x="563" y="362"/>
                      </a:lnTo>
                      <a:lnTo>
                        <a:pt x="558" y="363"/>
                      </a:lnTo>
                      <a:lnTo>
                        <a:pt x="550" y="362"/>
                      </a:lnTo>
                      <a:lnTo>
                        <a:pt x="542" y="361"/>
                      </a:lnTo>
                      <a:lnTo>
                        <a:pt x="540" y="360"/>
                      </a:lnTo>
                      <a:lnTo>
                        <a:pt x="536" y="360"/>
                      </a:lnTo>
                      <a:lnTo>
                        <a:pt x="534" y="361"/>
                      </a:lnTo>
                      <a:lnTo>
                        <a:pt x="532" y="363"/>
                      </a:lnTo>
                      <a:lnTo>
                        <a:pt x="533" y="358"/>
                      </a:lnTo>
                      <a:lnTo>
                        <a:pt x="535" y="354"/>
                      </a:lnTo>
                      <a:lnTo>
                        <a:pt x="539" y="350"/>
                      </a:lnTo>
                      <a:lnTo>
                        <a:pt x="542" y="347"/>
                      </a:lnTo>
                      <a:lnTo>
                        <a:pt x="550" y="339"/>
                      </a:lnTo>
                      <a:lnTo>
                        <a:pt x="557" y="332"/>
                      </a:lnTo>
                      <a:lnTo>
                        <a:pt x="565" y="324"/>
                      </a:lnTo>
                      <a:lnTo>
                        <a:pt x="572" y="316"/>
                      </a:lnTo>
                      <a:lnTo>
                        <a:pt x="574" y="311"/>
                      </a:lnTo>
                      <a:lnTo>
                        <a:pt x="576" y="306"/>
                      </a:lnTo>
                      <a:lnTo>
                        <a:pt x="577" y="301"/>
                      </a:lnTo>
                      <a:lnTo>
                        <a:pt x="578" y="295"/>
                      </a:lnTo>
                      <a:lnTo>
                        <a:pt x="577" y="290"/>
                      </a:lnTo>
                      <a:lnTo>
                        <a:pt x="576" y="283"/>
                      </a:lnTo>
                      <a:lnTo>
                        <a:pt x="575" y="280"/>
                      </a:lnTo>
                      <a:lnTo>
                        <a:pt x="575" y="277"/>
                      </a:lnTo>
                      <a:lnTo>
                        <a:pt x="576" y="274"/>
                      </a:lnTo>
                      <a:lnTo>
                        <a:pt x="578" y="271"/>
                      </a:lnTo>
                      <a:lnTo>
                        <a:pt x="568" y="271"/>
                      </a:lnTo>
                      <a:lnTo>
                        <a:pt x="558" y="269"/>
                      </a:lnTo>
                      <a:lnTo>
                        <a:pt x="550" y="267"/>
                      </a:lnTo>
                      <a:lnTo>
                        <a:pt x="541" y="263"/>
                      </a:lnTo>
                      <a:lnTo>
                        <a:pt x="533" y="258"/>
                      </a:lnTo>
                      <a:lnTo>
                        <a:pt x="524" y="254"/>
                      </a:lnTo>
                      <a:lnTo>
                        <a:pt x="518" y="248"/>
                      </a:lnTo>
                      <a:lnTo>
                        <a:pt x="511" y="243"/>
                      </a:lnTo>
                      <a:lnTo>
                        <a:pt x="499" y="231"/>
                      </a:lnTo>
                      <a:lnTo>
                        <a:pt x="489" y="219"/>
                      </a:lnTo>
                      <a:lnTo>
                        <a:pt x="483" y="208"/>
                      </a:lnTo>
                      <a:lnTo>
                        <a:pt x="478" y="196"/>
                      </a:lnTo>
                      <a:lnTo>
                        <a:pt x="473" y="198"/>
                      </a:lnTo>
                      <a:lnTo>
                        <a:pt x="467" y="198"/>
                      </a:lnTo>
                      <a:lnTo>
                        <a:pt x="463" y="198"/>
                      </a:lnTo>
                      <a:lnTo>
                        <a:pt x="459" y="196"/>
                      </a:lnTo>
                      <a:lnTo>
                        <a:pt x="452" y="190"/>
                      </a:lnTo>
                      <a:lnTo>
                        <a:pt x="446" y="183"/>
                      </a:lnTo>
                      <a:lnTo>
                        <a:pt x="441" y="175"/>
                      </a:lnTo>
                      <a:lnTo>
                        <a:pt x="434" y="168"/>
                      </a:lnTo>
                      <a:lnTo>
                        <a:pt x="431" y="165"/>
                      </a:lnTo>
                      <a:lnTo>
                        <a:pt x="428" y="162"/>
                      </a:lnTo>
                      <a:lnTo>
                        <a:pt x="423" y="161"/>
                      </a:lnTo>
                      <a:lnTo>
                        <a:pt x="419" y="160"/>
                      </a:lnTo>
                      <a:lnTo>
                        <a:pt x="415" y="161"/>
                      </a:lnTo>
                      <a:lnTo>
                        <a:pt x="411" y="162"/>
                      </a:lnTo>
                      <a:lnTo>
                        <a:pt x="408" y="163"/>
                      </a:lnTo>
                      <a:lnTo>
                        <a:pt x="404" y="165"/>
                      </a:lnTo>
                      <a:lnTo>
                        <a:pt x="397" y="170"/>
                      </a:lnTo>
                      <a:lnTo>
                        <a:pt x="392" y="177"/>
                      </a:lnTo>
                      <a:lnTo>
                        <a:pt x="386" y="184"/>
                      </a:lnTo>
                      <a:lnTo>
                        <a:pt x="382" y="191"/>
                      </a:lnTo>
                      <a:lnTo>
                        <a:pt x="379" y="197"/>
                      </a:lnTo>
                      <a:lnTo>
                        <a:pt x="378" y="203"/>
                      </a:lnTo>
                      <a:lnTo>
                        <a:pt x="339" y="203"/>
                      </a:lnTo>
                      <a:lnTo>
                        <a:pt x="317" y="194"/>
                      </a:lnTo>
                      <a:lnTo>
                        <a:pt x="295" y="188"/>
                      </a:lnTo>
                      <a:lnTo>
                        <a:pt x="273" y="182"/>
                      </a:lnTo>
                      <a:lnTo>
                        <a:pt x="252" y="178"/>
                      </a:lnTo>
                      <a:lnTo>
                        <a:pt x="230" y="176"/>
                      </a:lnTo>
                      <a:lnTo>
                        <a:pt x="207" y="174"/>
                      </a:lnTo>
                      <a:lnTo>
                        <a:pt x="184" y="173"/>
                      </a:lnTo>
                      <a:lnTo>
                        <a:pt x="160" y="172"/>
                      </a:lnTo>
                      <a:lnTo>
                        <a:pt x="148" y="173"/>
                      </a:lnTo>
                      <a:lnTo>
                        <a:pt x="138" y="176"/>
                      </a:lnTo>
                      <a:lnTo>
                        <a:pt x="129" y="180"/>
                      </a:lnTo>
                      <a:lnTo>
                        <a:pt x="121" y="184"/>
                      </a:lnTo>
                      <a:lnTo>
                        <a:pt x="114" y="189"/>
                      </a:lnTo>
                      <a:lnTo>
                        <a:pt x="107" y="193"/>
                      </a:lnTo>
                      <a:lnTo>
                        <a:pt x="101" y="195"/>
                      </a:lnTo>
                      <a:lnTo>
                        <a:pt x="93" y="196"/>
                      </a:lnTo>
                      <a:lnTo>
                        <a:pt x="88" y="196"/>
                      </a:lnTo>
                      <a:lnTo>
                        <a:pt x="84" y="194"/>
                      </a:lnTo>
                      <a:lnTo>
                        <a:pt x="81" y="190"/>
                      </a:lnTo>
                      <a:lnTo>
                        <a:pt x="79" y="187"/>
                      </a:lnTo>
                      <a:lnTo>
                        <a:pt x="74" y="179"/>
                      </a:lnTo>
                      <a:lnTo>
                        <a:pt x="73" y="172"/>
                      </a:lnTo>
                      <a:lnTo>
                        <a:pt x="50" y="177"/>
                      </a:lnTo>
                      <a:lnTo>
                        <a:pt x="29" y="181"/>
                      </a:lnTo>
                      <a:lnTo>
                        <a:pt x="25" y="181"/>
                      </a:lnTo>
                      <a:lnTo>
                        <a:pt x="20" y="180"/>
                      </a:lnTo>
                      <a:lnTo>
                        <a:pt x="16" y="180"/>
                      </a:lnTo>
                      <a:lnTo>
                        <a:pt x="13" y="178"/>
                      </a:lnTo>
                      <a:lnTo>
                        <a:pt x="8" y="176"/>
                      </a:lnTo>
                      <a:lnTo>
                        <a:pt x="6" y="174"/>
                      </a:lnTo>
                      <a:lnTo>
                        <a:pt x="3" y="170"/>
                      </a:lnTo>
                      <a:lnTo>
                        <a:pt x="0" y="166"/>
                      </a:lnTo>
                      <a:lnTo>
                        <a:pt x="4" y="162"/>
                      </a:lnTo>
                      <a:lnTo>
                        <a:pt x="9" y="158"/>
                      </a:lnTo>
                      <a:lnTo>
                        <a:pt x="14" y="155"/>
                      </a:lnTo>
                      <a:lnTo>
                        <a:pt x="20" y="152"/>
                      </a:lnTo>
                      <a:lnTo>
                        <a:pt x="32" y="149"/>
                      </a:lnTo>
                      <a:lnTo>
                        <a:pt x="46" y="146"/>
                      </a:lnTo>
                      <a:lnTo>
                        <a:pt x="59" y="145"/>
                      </a:lnTo>
                      <a:lnTo>
                        <a:pt x="70" y="147"/>
                      </a:lnTo>
                      <a:lnTo>
                        <a:pt x="75" y="149"/>
                      </a:lnTo>
                      <a:lnTo>
                        <a:pt x="80" y="150"/>
                      </a:lnTo>
                      <a:lnTo>
                        <a:pt x="83" y="152"/>
                      </a:lnTo>
                      <a:lnTo>
                        <a:pt x="86" y="154"/>
                      </a:lnTo>
                      <a:lnTo>
                        <a:pt x="86" y="139"/>
                      </a:lnTo>
                      <a:lnTo>
                        <a:pt x="86" y="129"/>
                      </a:lnTo>
                      <a:lnTo>
                        <a:pt x="73" y="129"/>
                      </a:lnTo>
                    </a:path>
                  </a:pathLst>
                </a:custGeom>
                <a:grpFill/>
                <a:ln w="9525" cap="flat" cmpd="sng">
                  <a:solidFill>
                    <a:schemeClr val="bg1"/>
                  </a:solidFill>
                  <a:prstDash val="solid"/>
                  <a:round/>
                  <a:headEnd type="none" w="med" len="med"/>
                  <a:tailEnd type="none" w="med" len="med"/>
                </a:ln>
                <a:effectLst/>
              </p:spPr>
              <p:txBody>
                <a:bodyPr/>
                <a:lstStyle/>
                <a:p>
                  <a:endParaRPr lang="en-GB" sz="1637"/>
                </a:p>
              </p:txBody>
            </p:sp>
            <p:sp>
              <p:nvSpPr>
                <p:cNvPr id="302" name="Freeform 417"/>
                <p:cNvSpPr>
                  <a:spLocks/>
                </p:cNvSpPr>
                <p:nvPr/>
              </p:nvSpPr>
              <p:spPr bwMode="auto">
                <a:xfrm>
                  <a:off x="1528" y="1110"/>
                  <a:ext cx="409" cy="105"/>
                </a:xfrm>
                <a:custGeom>
                  <a:avLst/>
                  <a:gdLst>
                    <a:gd name="T0" fmla="*/ 257 w 1268"/>
                    <a:gd name="T1" fmla="*/ 12 h 321"/>
                    <a:gd name="T2" fmla="*/ 262 w 1268"/>
                    <a:gd name="T3" fmla="*/ 5 h 321"/>
                    <a:gd name="T4" fmla="*/ 273 w 1268"/>
                    <a:gd name="T5" fmla="*/ 3 h 321"/>
                    <a:gd name="T6" fmla="*/ 279 w 1268"/>
                    <a:gd name="T7" fmla="*/ 8 h 321"/>
                    <a:gd name="T8" fmla="*/ 303 w 1268"/>
                    <a:gd name="T9" fmla="*/ 5 h 321"/>
                    <a:gd name="T10" fmla="*/ 329 w 1268"/>
                    <a:gd name="T11" fmla="*/ 0 h 321"/>
                    <a:gd name="T12" fmla="*/ 350 w 1268"/>
                    <a:gd name="T13" fmla="*/ 6 h 321"/>
                    <a:gd name="T14" fmla="*/ 365 w 1268"/>
                    <a:gd name="T15" fmla="*/ 7 h 321"/>
                    <a:gd name="T16" fmla="*/ 409 w 1268"/>
                    <a:gd name="T17" fmla="*/ 10 h 321"/>
                    <a:gd name="T18" fmla="*/ 401 w 1268"/>
                    <a:gd name="T19" fmla="*/ 16 h 321"/>
                    <a:gd name="T20" fmla="*/ 375 w 1268"/>
                    <a:gd name="T21" fmla="*/ 21 h 321"/>
                    <a:gd name="T22" fmla="*/ 340 w 1268"/>
                    <a:gd name="T23" fmla="*/ 25 h 321"/>
                    <a:gd name="T24" fmla="*/ 332 w 1268"/>
                    <a:gd name="T25" fmla="*/ 31 h 321"/>
                    <a:gd name="T26" fmla="*/ 322 w 1268"/>
                    <a:gd name="T27" fmla="*/ 34 h 321"/>
                    <a:gd name="T28" fmla="*/ 304 w 1268"/>
                    <a:gd name="T29" fmla="*/ 33 h 321"/>
                    <a:gd name="T30" fmla="*/ 300 w 1268"/>
                    <a:gd name="T31" fmla="*/ 39 h 321"/>
                    <a:gd name="T32" fmla="*/ 241 w 1268"/>
                    <a:gd name="T33" fmla="*/ 44 h 321"/>
                    <a:gd name="T34" fmla="*/ 215 w 1268"/>
                    <a:gd name="T35" fmla="*/ 51 h 321"/>
                    <a:gd name="T36" fmla="*/ 205 w 1268"/>
                    <a:gd name="T37" fmla="*/ 59 h 321"/>
                    <a:gd name="T38" fmla="*/ 191 w 1268"/>
                    <a:gd name="T39" fmla="*/ 55 h 321"/>
                    <a:gd name="T40" fmla="*/ 184 w 1268"/>
                    <a:gd name="T41" fmla="*/ 59 h 321"/>
                    <a:gd name="T42" fmla="*/ 190 w 1268"/>
                    <a:gd name="T43" fmla="*/ 68 h 321"/>
                    <a:gd name="T44" fmla="*/ 176 w 1268"/>
                    <a:gd name="T45" fmla="*/ 78 h 321"/>
                    <a:gd name="T46" fmla="*/ 156 w 1268"/>
                    <a:gd name="T47" fmla="*/ 77 h 321"/>
                    <a:gd name="T48" fmla="*/ 130 w 1268"/>
                    <a:gd name="T49" fmla="*/ 79 h 321"/>
                    <a:gd name="T50" fmla="*/ 131 w 1268"/>
                    <a:gd name="T51" fmla="*/ 84 h 321"/>
                    <a:gd name="T52" fmla="*/ 126 w 1268"/>
                    <a:gd name="T53" fmla="*/ 96 h 321"/>
                    <a:gd name="T54" fmla="*/ 107 w 1268"/>
                    <a:gd name="T55" fmla="*/ 105 h 321"/>
                    <a:gd name="T56" fmla="*/ 94 w 1268"/>
                    <a:gd name="T57" fmla="*/ 97 h 321"/>
                    <a:gd name="T58" fmla="*/ 82 w 1268"/>
                    <a:gd name="T59" fmla="*/ 93 h 321"/>
                    <a:gd name="T60" fmla="*/ 31 w 1268"/>
                    <a:gd name="T61" fmla="*/ 90 h 321"/>
                    <a:gd name="T62" fmla="*/ 0 w 1268"/>
                    <a:gd name="T63" fmla="*/ 93 h 321"/>
                    <a:gd name="T64" fmla="*/ 3 w 1268"/>
                    <a:gd name="T65" fmla="*/ 87 h 321"/>
                    <a:gd name="T66" fmla="*/ 18 w 1268"/>
                    <a:gd name="T67" fmla="*/ 80 h 321"/>
                    <a:gd name="T68" fmla="*/ 46 w 1268"/>
                    <a:gd name="T69" fmla="*/ 77 h 321"/>
                    <a:gd name="T70" fmla="*/ 55 w 1268"/>
                    <a:gd name="T71" fmla="*/ 74 h 321"/>
                    <a:gd name="T72" fmla="*/ 61 w 1268"/>
                    <a:gd name="T73" fmla="*/ 71 h 321"/>
                    <a:gd name="T74" fmla="*/ 71 w 1268"/>
                    <a:gd name="T75" fmla="*/ 76 h 321"/>
                    <a:gd name="T76" fmla="*/ 80 w 1268"/>
                    <a:gd name="T77" fmla="*/ 81 h 321"/>
                    <a:gd name="T78" fmla="*/ 67 w 1268"/>
                    <a:gd name="T79" fmla="*/ 68 h 321"/>
                    <a:gd name="T80" fmla="*/ 62 w 1268"/>
                    <a:gd name="T81" fmla="*/ 65 h 321"/>
                    <a:gd name="T82" fmla="*/ 64 w 1268"/>
                    <a:gd name="T83" fmla="*/ 59 h 321"/>
                    <a:gd name="T84" fmla="*/ 79 w 1268"/>
                    <a:gd name="T85" fmla="*/ 57 h 321"/>
                    <a:gd name="T86" fmla="*/ 118 w 1268"/>
                    <a:gd name="T87" fmla="*/ 61 h 321"/>
                    <a:gd name="T88" fmla="*/ 135 w 1268"/>
                    <a:gd name="T89" fmla="*/ 57 h 321"/>
                    <a:gd name="T90" fmla="*/ 104 w 1268"/>
                    <a:gd name="T91" fmla="*/ 55 h 321"/>
                    <a:gd name="T92" fmla="*/ 96 w 1268"/>
                    <a:gd name="T93" fmla="*/ 49 h 321"/>
                    <a:gd name="T94" fmla="*/ 122 w 1268"/>
                    <a:gd name="T95" fmla="*/ 45 h 321"/>
                    <a:gd name="T96" fmla="*/ 141 w 1268"/>
                    <a:gd name="T97" fmla="*/ 51 h 321"/>
                    <a:gd name="T98" fmla="*/ 154 w 1268"/>
                    <a:gd name="T99" fmla="*/ 41 h 321"/>
                    <a:gd name="T100" fmla="*/ 214 w 1268"/>
                    <a:gd name="T101" fmla="*/ 28 h 321"/>
                    <a:gd name="T102" fmla="*/ 190 w 1268"/>
                    <a:gd name="T103" fmla="*/ 36 h 321"/>
                    <a:gd name="T104" fmla="*/ 145 w 1268"/>
                    <a:gd name="T105" fmla="*/ 36 h 321"/>
                    <a:gd name="T106" fmla="*/ 101 w 1268"/>
                    <a:gd name="T107" fmla="*/ 38 h 321"/>
                    <a:gd name="T108" fmla="*/ 82 w 1268"/>
                    <a:gd name="T109" fmla="*/ 33 h 321"/>
                    <a:gd name="T110" fmla="*/ 71 w 1268"/>
                    <a:gd name="T111" fmla="*/ 26 h 321"/>
                    <a:gd name="T112" fmla="*/ 82 w 1268"/>
                    <a:gd name="T113" fmla="*/ 23 h 321"/>
                    <a:gd name="T114" fmla="*/ 144 w 1268"/>
                    <a:gd name="T115" fmla="*/ 15 h 321"/>
                    <a:gd name="T116" fmla="*/ 199 w 1268"/>
                    <a:gd name="T117" fmla="*/ 10 h 321"/>
                    <a:gd name="T118" fmla="*/ 217 w 1268"/>
                    <a:gd name="T119" fmla="*/ 7 h 321"/>
                    <a:gd name="T120" fmla="*/ 244 w 1268"/>
                    <a:gd name="T121" fmla="*/ 9 h 32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268" h="321">
                      <a:moveTo>
                        <a:pt x="764" y="26"/>
                      </a:moveTo>
                      <a:lnTo>
                        <a:pt x="770" y="30"/>
                      </a:lnTo>
                      <a:lnTo>
                        <a:pt x="778" y="34"/>
                      </a:lnTo>
                      <a:lnTo>
                        <a:pt x="787" y="37"/>
                      </a:lnTo>
                      <a:lnTo>
                        <a:pt x="797" y="38"/>
                      </a:lnTo>
                      <a:lnTo>
                        <a:pt x="797" y="35"/>
                      </a:lnTo>
                      <a:lnTo>
                        <a:pt x="799" y="31"/>
                      </a:lnTo>
                      <a:lnTo>
                        <a:pt x="803" y="26"/>
                      </a:lnTo>
                      <a:lnTo>
                        <a:pt x="807" y="20"/>
                      </a:lnTo>
                      <a:lnTo>
                        <a:pt x="813" y="16"/>
                      </a:lnTo>
                      <a:lnTo>
                        <a:pt x="819" y="11"/>
                      </a:lnTo>
                      <a:lnTo>
                        <a:pt x="828" y="9"/>
                      </a:lnTo>
                      <a:lnTo>
                        <a:pt x="837" y="8"/>
                      </a:lnTo>
                      <a:lnTo>
                        <a:pt x="841" y="8"/>
                      </a:lnTo>
                      <a:lnTo>
                        <a:pt x="846" y="10"/>
                      </a:lnTo>
                      <a:lnTo>
                        <a:pt x="850" y="13"/>
                      </a:lnTo>
                      <a:lnTo>
                        <a:pt x="853" y="17"/>
                      </a:lnTo>
                      <a:lnTo>
                        <a:pt x="858" y="20"/>
                      </a:lnTo>
                      <a:lnTo>
                        <a:pt x="861" y="23"/>
                      </a:lnTo>
                      <a:lnTo>
                        <a:pt x="865" y="25"/>
                      </a:lnTo>
                      <a:lnTo>
                        <a:pt x="870" y="26"/>
                      </a:lnTo>
                      <a:lnTo>
                        <a:pt x="888" y="25"/>
                      </a:lnTo>
                      <a:lnTo>
                        <a:pt x="906" y="22"/>
                      </a:lnTo>
                      <a:lnTo>
                        <a:pt x="921" y="18"/>
                      </a:lnTo>
                      <a:lnTo>
                        <a:pt x="938" y="14"/>
                      </a:lnTo>
                      <a:lnTo>
                        <a:pt x="953" y="9"/>
                      </a:lnTo>
                      <a:lnTo>
                        <a:pt x="970" y="4"/>
                      </a:lnTo>
                      <a:lnTo>
                        <a:pt x="988" y="2"/>
                      </a:lnTo>
                      <a:lnTo>
                        <a:pt x="1009" y="0"/>
                      </a:lnTo>
                      <a:lnTo>
                        <a:pt x="1020" y="1"/>
                      </a:lnTo>
                      <a:lnTo>
                        <a:pt x="1032" y="3"/>
                      </a:lnTo>
                      <a:lnTo>
                        <a:pt x="1045" y="7"/>
                      </a:lnTo>
                      <a:lnTo>
                        <a:pt x="1059" y="11"/>
                      </a:lnTo>
                      <a:lnTo>
                        <a:pt x="1072" y="14"/>
                      </a:lnTo>
                      <a:lnTo>
                        <a:pt x="1084" y="17"/>
                      </a:lnTo>
                      <a:lnTo>
                        <a:pt x="1094" y="19"/>
                      </a:lnTo>
                      <a:lnTo>
                        <a:pt x="1103" y="20"/>
                      </a:lnTo>
                      <a:lnTo>
                        <a:pt x="1115" y="20"/>
                      </a:lnTo>
                      <a:lnTo>
                        <a:pt x="1123" y="20"/>
                      </a:lnTo>
                      <a:lnTo>
                        <a:pt x="1133" y="20"/>
                      </a:lnTo>
                      <a:lnTo>
                        <a:pt x="1149" y="20"/>
                      </a:lnTo>
                      <a:lnTo>
                        <a:pt x="1180" y="21"/>
                      </a:lnTo>
                      <a:lnTo>
                        <a:pt x="1209" y="23"/>
                      </a:lnTo>
                      <a:lnTo>
                        <a:pt x="1236" y="27"/>
                      </a:lnTo>
                      <a:lnTo>
                        <a:pt x="1268" y="32"/>
                      </a:lnTo>
                      <a:lnTo>
                        <a:pt x="1266" y="36"/>
                      </a:lnTo>
                      <a:lnTo>
                        <a:pt x="1263" y="39"/>
                      </a:lnTo>
                      <a:lnTo>
                        <a:pt x="1258" y="42"/>
                      </a:lnTo>
                      <a:lnTo>
                        <a:pt x="1253" y="45"/>
                      </a:lnTo>
                      <a:lnTo>
                        <a:pt x="1242" y="50"/>
                      </a:lnTo>
                      <a:lnTo>
                        <a:pt x="1229" y="54"/>
                      </a:lnTo>
                      <a:lnTo>
                        <a:pt x="1213" y="57"/>
                      </a:lnTo>
                      <a:lnTo>
                        <a:pt x="1198" y="59"/>
                      </a:lnTo>
                      <a:lnTo>
                        <a:pt x="1180" y="62"/>
                      </a:lnTo>
                      <a:lnTo>
                        <a:pt x="1163" y="64"/>
                      </a:lnTo>
                      <a:lnTo>
                        <a:pt x="1128" y="66"/>
                      </a:lnTo>
                      <a:lnTo>
                        <a:pt x="1094" y="69"/>
                      </a:lnTo>
                      <a:lnTo>
                        <a:pt x="1078" y="71"/>
                      </a:lnTo>
                      <a:lnTo>
                        <a:pt x="1065" y="74"/>
                      </a:lnTo>
                      <a:lnTo>
                        <a:pt x="1053" y="77"/>
                      </a:lnTo>
                      <a:lnTo>
                        <a:pt x="1043" y="81"/>
                      </a:lnTo>
                      <a:lnTo>
                        <a:pt x="1039" y="84"/>
                      </a:lnTo>
                      <a:lnTo>
                        <a:pt x="1034" y="87"/>
                      </a:lnTo>
                      <a:lnTo>
                        <a:pt x="1031" y="91"/>
                      </a:lnTo>
                      <a:lnTo>
                        <a:pt x="1029" y="96"/>
                      </a:lnTo>
                      <a:lnTo>
                        <a:pt x="1026" y="99"/>
                      </a:lnTo>
                      <a:lnTo>
                        <a:pt x="1021" y="102"/>
                      </a:lnTo>
                      <a:lnTo>
                        <a:pt x="1016" y="105"/>
                      </a:lnTo>
                      <a:lnTo>
                        <a:pt x="1009" y="105"/>
                      </a:lnTo>
                      <a:lnTo>
                        <a:pt x="999" y="104"/>
                      </a:lnTo>
                      <a:lnTo>
                        <a:pt x="991" y="102"/>
                      </a:lnTo>
                      <a:lnTo>
                        <a:pt x="983" y="98"/>
                      </a:lnTo>
                      <a:lnTo>
                        <a:pt x="976" y="93"/>
                      </a:lnTo>
                      <a:lnTo>
                        <a:pt x="943" y="93"/>
                      </a:lnTo>
                      <a:lnTo>
                        <a:pt x="942" y="102"/>
                      </a:lnTo>
                      <a:lnTo>
                        <a:pt x="939" y="110"/>
                      </a:lnTo>
                      <a:lnTo>
                        <a:pt x="937" y="113"/>
                      </a:lnTo>
                      <a:lnTo>
                        <a:pt x="935" y="115"/>
                      </a:lnTo>
                      <a:lnTo>
                        <a:pt x="932" y="118"/>
                      </a:lnTo>
                      <a:lnTo>
                        <a:pt x="930" y="118"/>
                      </a:lnTo>
                      <a:lnTo>
                        <a:pt x="902" y="119"/>
                      </a:lnTo>
                      <a:lnTo>
                        <a:pt x="862" y="120"/>
                      </a:lnTo>
                      <a:lnTo>
                        <a:pt x="818" y="124"/>
                      </a:lnTo>
                      <a:lnTo>
                        <a:pt x="771" y="129"/>
                      </a:lnTo>
                      <a:lnTo>
                        <a:pt x="747" y="133"/>
                      </a:lnTo>
                      <a:lnTo>
                        <a:pt x="725" y="137"/>
                      </a:lnTo>
                      <a:lnTo>
                        <a:pt x="703" y="143"/>
                      </a:lnTo>
                      <a:lnTo>
                        <a:pt x="683" y="149"/>
                      </a:lnTo>
                      <a:lnTo>
                        <a:pt x="674" y="153"/>
                      </a:lnTo>
                      <a:lnTo>
                        <a:pt x="666" y="156"/>
                      </a:lnTo>
                      <a:lnTo>
                        <a:pt x="658" y="160"/>
                      </a:lnTo>
                      <a:lnTo>
                        <a:pt x="651" y="165"/>
                      </a:lnTo>
                      <a:lnTo>
                        <a:pt x="645" y="169"/>
                      </a:lnTo>
                      <a:lnTo>
                        <a:pt x="639" y="175"/>
                      </a:lnTo>
                      <a:lnTo>
                        <a:pt x="635" y="181"/>
                      </a:lnTo>
                      <a:lnTo>
                        <a:pt x="630" y="186"/>
                      </a:lnTo>
                      <a:lnTo>
                        <a:pt x="604" y="186"/>
                      </a:lnTo>
                      <a:lnTo>
                        <a:pt x="604" y="177"/>
                      </a:lnTo>
                      <a:lnTo>
                        <a:pt x="604" y="167"/>
                      </a:lnTo>
                      <a:lnTo>
                        <a:pt x="591" y="167"/>
                      </a:lnTo>
                      <a:lnTo>
                        <a:pt x="579" y="167"/>
                      </a:lnTo>
                      <a:lnTo>
                        <a:pt x="562" y="167"/>
                      </a:lnTo>
                      <a:lnTo>
                        <a:pt x="538" y="167"/>
                      </a:lnTo>
                      <a:lnTo>
                        <a:pt x="556" y="175"/>
                      </a:lnTo>
                      <a:lnTo>
                        <a:pt x="570" y="181"/>
                      </a:lnTo>
                      <a:lnTo>
                        <a:pt x="577" y="185"/>
                      </a:lnTo>
                      <a:lnTo>
                        <a:pt x="583" y="190"/>
                      </a:lnTo>
                      <a:lnTo>
                        <a:pt x="591" y="196"/>
                      </a:lnTo>
                      <a:lnTo>
                        <a:pt x="597" y="204"/>
                      </a:lnTo>
                      <a:lnTo>
                        <a:pt x="590" y="207"/>
                      </a:lnTo>
                      <a:lnTo>
                        <a:pt x="581" y="212"/>
                      </a:lnTo>
                      <a:lnTo>
                        <a:pt x="571" y="218"/>
                      </a:lnTo>
                      <a:lnTo>
                        <a:pt x="562" y="225"/>
                      </a:lnTo>
                      <a:lnTo>
                        <a:pt x="552" y="232"/>
                      </a:lnTo>
                      <a:lnTo>
                        <a:pt x="545" y="237"/>
                      </a:lnTo>
                      <a:lnTo>
                        <a:pt x="537" y="240"/>
                      </a:lnTo>
                      <a:lnTo>
                        <a:pt x="532" y="241"/>
                      </a:lnTo>
                      <a:lnTo>
                        <a:pt x="517" y="241"/>
                      </a:lnTo>
                      <a:lnTo>
                        <a:pt x="502" y="238"/>
                      </a:lnTo>
                      <a:lnTo>
                        <a:pt x="483" y="236"/>
                      </a:lnTo>
                      <a:lnTo>
                        <a:pt x="458" y="235"/>
                      </a:lnTo>
                      <a:lnTo>
                        <a:pt x="442" y="236"/>
                      </a:lnTo>
                      <a:lnTo>
                        <a:pt x="427" y="237"/>
                      </a:lnTo>
                      <a:lnTo>
                        <a:pt x="415" y="240"/>
                      </a:lnTo>
                      <a:lnTo>
                        <a:pt x="404" y="242"/>
                      </a:lnTo>
                      <a:lnTo>
                        <a:pt x="384" y="248"/>
                      </a:lnTo>
                      <a:lnTo>
                        <a:pt x="365" y="254"/>
                      </a:lnTo>
                      <a:lnTo>
                        <a:pt x="382" y="257"/>
                      </a:lnTo>
                      <a:lnTo>
                        <a:pt x="394" y="258"/>
                      </a:lnTo>
                      <a:lnTo>
                        <a:pt x="405" y="257"/>
                      </a:lnTo>
                      <a:lnTo>
                        <a:pt x="418" y="254"/>
                      </a:lnTo>
                      <a:lnTo>
                        <a:pt x="418" y="272"/>
                      </a:lnTo>
                      <a:lnTo>
                        <a:pt x="413" y="277"/>
                      </a:lnTo>
                      <a:lnTo>
                        <a:pt x="404" y="285"/>
                      </a:lnTo>
                      <a:lnTo>
                        <a:pt x="392" y="293"/>
                      </a:lnTo>
                      <a:lnTo>
                        <a:pt x="379" y="301"/>
                      </a:lnTo>
                      <a:lnTo>
                        <a:pt x="356" y="315"/>
                      </a:lnTo>
                      <a:lnTo>
                        <a:pt x="345" y="321"/>
                      </a:lnTo>
                      <a:lnTo>
                        <a:pt x="339" y="321"/>
                      </a:lnTo>
                      <a:lnTo>
                        <a:pt x="333" y="320"/>
                      </a:lnTo>
                      <a:lnTo>
                        <a:pt x="327" y="318"/>
                      </a:lnTo>
                      <a:lnTo>
                        <a:pt x="322" y="315"/>
                      </a:lnTo>
                      <a:lnTo>
                        <a:pt x="312" y="310"/>
                      </a:lnTo>
                      <a:lnTo>
                        <a:pt x="301" y="303"/>
                      </a:lnTo>
                      <a:lnTo>
                        <a:pt x="290" y="296"/>
                      </a:lnTo>
                      <a:lnTo>
                        <a:pt x="279" y="290"/>
                      </a:lnTo>
                      <a:lnTo>
                        <a:pt x="272" y="288"/>
                      </a:lnTo>
                      <a:lnTo>
                        <a:pt x="266" y="286"/>
                      </a:lnTo>
                      <a:lnTo>
                        <a:pt x="259" y="285"/>
                      </a:lnTo>
                      <a:lnTo>
                        <a:pt x="253" y="285"/>
                      </a:lnTo>
                      <a:lnTo>
                        <a:pt x="215" y="283"/>
                      </a:lnTo>
                      <a:lnTo>
                        <a:pt x="182" y="281"/>
                      </a:lnTo>
                      <a:lnTo>
                        <a:pt x="152" y="279"/>
                      </a:lnTo>
                      <a:lnTo>
                        <a:pt x="123" y="277"/>
                      </a:lnTo>
                      <a:lnTo>
                        <a:pt x="96" y="276"/>
                      </a:lnTo>
                      <a:lnTo>
                        <a:pt x="66" y="276"/>
                      </a:lnTo>
                      <a:lnTo>
                        <a:pt x="51" y="277"/>
                      </a:lnTo>
                      <a:lnTo>
                        <a:pt x="35" y="279"/>
                      </a:lnTo>
                      <a:lnTo>
                        <a:pt x="18" y="281"/>
                      </a:lnTo>
                      <a:lnTo>
                        <a:pt x="0" y="285"/>
                      </a:lnTo>
                      <a:lnTo>
                        <a:pt x="0" y="281"/>
                      </a:lnTo>
                      <a:lnTo>
                        <a:pt x="1" y="277"/>
                      </a:lnTo>
                      <a:lnTo>
                        <a:pt x="2" y="274"/>
                      </a:lnTo>
                      <a:lnTo>
                        <a:pt x="5" y="271"/>
                      </a:lnTo>
                      <a:lnTo>
                        <a:pt x="10" y="266"/>
                      </a:lnTo>
                      <a:lnTo>
                        <a:pt x="17" y="261"/>
                      </a:lnTo>
                      <a:lnTo>
                        <a:pt x="25" y="257"/>
                      </a:lnTo>
                      <a:lnTo>
                        <a:pt x="35" y="253"/>
                      </a:lnTo>
                      <a:lnTo>
                        <a:pt x="45" y="249"/>
                      </a:lnTo>
                      <a:lnTo>
                        <a:pt x="56" y="246"/>
                      </a:lnTo>
                      <a:lnTo>
                        <a:pt x="79" y="241"/>
                      </a:lnTo>
                      <a:lnTo>
                        <a:pt x="101" y="238"/>
                      </a:lnTo>
                      <a:lnTo>
                        <a:pt x="120" y="236"/>
                      </a:lnTo>
                      <a:lnTo>
                        <a:pt x="133" y="235"/>
                      </a:lnTo>
                      <a:lnTo>
                        <a:pt x="143" y="235"/>
                      </a:lnTo>
                      <a:lnTo>
                        <a:pt x="159" y="235"/>
                      </a:lnTo>
                      <a:lnTo>
                        <a:pt x="162" y="235"/>
                      </a:lnTo>
                      <a:lnTo>
                        <a:pt x="164" y="233"/>
                      </a:lnTo>
                      <a:lnTo>
                        <a:pt x="167" y="230"/>
                      </a:lnTo>
                      <a:lnTo>
                        <a:pt x="170" y="225"/>
                      </a:lnTo>
                      <a:lnTo>
                        <a:pt x="174" y="222"/>
                      </a:lnTo>
                      <a:lnTo>
                        <a:pt x="177" y="219"/>
                      </a:lnTo>
                      <a:lnTo>
                        <a:pt x="181" y="217"/>
                      </a:lnTo>
                      <a:lnTo>
                        <a:pt x="186" y="216"/>
                      </a:lnTo>
                      <a:lnTo>
                        <a:pt x="190" y="217"/>
                      </a:lnTo>
                      <a:lnTo>
                        <a:pt x="196" y="218"/>
                      </a:lnTo>
                      <a:lnTo>
                        <a:pt x="200" y="219"/>
                      </a:lnTo>
                      <a:lnTo>
                        <a:pt x="203" y="221"/>
                      </a:lnTo>
                      <a:lnTo>
                        <a:pt x="211" y="226"/>
                      </a:lnTo>
                      <a:lnTo>
                        <a:pt x="219" y="232"/>
                      </a:lnTo>
                      <a:lnTo>
                        <a:pt x="226" y="238"/>
                      </a:lnTo>
                      <a:lnTo>
                        <a:pt x="234" y="243"/>
                      </a:lnTo>
                      <a:lnTo>
                        <a:pt x="238" y="245"/>
                      </a:lnTo>
                      <a:lnTo>
                        <a:pt x="243" y="246"/>
                      </a:lnTo>
                      <a:lnTo>
                        <a:pt x="247" y="247"/>
                      </a:lnTo>
                      <a:lnTo>
                        <a:pt x="253" y="247"/>
                      </a:lnTo>
                      <a:lnTo>
                        <a:pt x="253" y="204"/>
                      </a:lnTo>
                      <a:lnTo>
                        <a:pt x="232" y="206"/>
                      </a:lnTo>
                      <a:lnTo>
                        <a:pt x="212" y="207"/>
                      </a:lnTo>
                      <a:lnTo>
                        <a:pt x="208" y="207"/>
                      </a:lnTo>
                      <a:lnTo>
                        <a:pt x="204" y="207"/>
                      </a:lnTo>
                      <a:lnTo>
                        <a:pt x="201" y="206"/>
                      </a:lnTo>
                      <a:lnTo>
                        <a:pt x="198" y="204"/>
                      </a:lnTo>
                      <a:lnTo>
                        <a:pt x="196" y="202"/>
                      </a:lnTo>
                      <a:lnTo>
                        <a:pt x="193" y="200"/>
                      </a:lnTo>
                      <a:lnTo>
                        <a:pt x="192" y="196"/>
                      </a:lnTo>
                      <a:lnTo>
                        <a:pt x="192" y="192"/>
                      </a:lnTo>
                      <a:lnTo>
                        <a:pt x="193" y="188"/>
                      </a:lnTo>
                      <a:lnTo>
                        <a:pt x="194" y="184"/>
                      </a:lnTo>
                      <a:lnTo>
                        <a:pt x="197" y="181"/>
                      </a:lnTo>
                      <a:lnTo>
                        <a:pt x="199" y="179"/>
                      </a:lnTo>
                      <a:lnTo>
                        <a:pt x="205" y="176"/>
                      </a:lnTo>
                      <a:lnTo>
                        <a:pt x="214" y="174"/>
                      </a:lnTo>
                      <a:lnTo>
                        <a:pt x="232" y="172"/>
                      </a:lnTo>
                      <a:lnTo>
                        <a:pt x="246" y="174"/>
                      </a:lnTo>
                      <a:lnTo>
                        <a:pt x="265" y="176"/>
                      </a:lnTo>
                      <a:lnTo>
                        <a:pt x="290" y="180"/>
                      </a:lnTo>
                      <a:lnTo>
                        <a:pt x="315" y="184"/>
                      </a:lnTo>
                      <a:lnTo>
                        <a:pt x="338" y="186"/>
                      </a:lnTo>
                      <a:lnTo>
                        <a:pt x="365" y="186"/>
                      </a:lnTo>
                      <a:lnTo>
                        <a:pt x="386" y="184"/>
                      </a:lnTo>
                      <a:lnTo>
                        <a:pt x="394" y="183"/>
                      </a:lnTo>
                      <a:lnTo>
                        <a:pt x="403" y="181"/>
                      </a:lnTo>
                      <a:lnTo>
                        <a:pt x="411" y="178"/>
                      </a:lnTo>
                      <a:lnTo>
                        <a:pt x="418" y="174"/>
                      </a:lnTo>
                      <a:lnTo>
                        <a:pt x="379" y="172"/>
                      </a:lnTo>
                      <a:lnTo>
                        <a:pt x="344" y="172"/>
                      </a:lnTo>
                      <a:lnTo>
                        <a:pt x="336" y="172"/>
                      </a:lnTo>
                      <a:lnTo>
                        <a:pt x="328" y="171"/>
                      </a:lnTo>
                      <a:lnTo>
                        <a:pt x="322" y="169"/>
                      </a:lnTo>
                      <a:lnTo>
                        <a:pt x="315" y="167"/>
                      </a:lnTo>
                      <a:lnTo>
                        <a:pt x="310" y="164"/>
                      </a:lnTo>
                      <a:lnTo>
                        <a:pt x="305" y="160"/>
                      </a:lnTo>
                      <a:lnTo>
                        <a:pt x="302" y="155"/>
                      </a:lnTo>
                      <a:lnTo>
                        <a:pt x="299" y="149"/>
                      </a:lnTo>
                      <a:lnTo>
                        <a:pt x="309" y="145"/>
                      </a:lnTo>
                      <a:lnTo>
                        <a:pt x="320" y="142"/>
                      </a:lnTo>
                      <a:lnTo>
                        <a:pt x="331" y="140"/>
                      </a:lnTo>
                      <a:lnTo>
                        <a:pt x="345" y="138"/>
                      </a:lnTo>
                      <a:lnTo>
                        <a:pt x="378" y="137"/>
                      </a:lnTo>
                      <a:lnTo>
                        <a:pt x="425" y="137"/>
                      </a:lnTo>
                      <a:lnTo>
                        <a:pt x="426" y="141"/>
                      </a:lnTo>
                      <a:lnTo>
                        <a:pt x="429" y="146"/>
                      </a:lnTo>
                      <a:lnTo>
                        <a:pt x="434" y="150"/>
                      </a:lnTo>
                      <a:lnTo>
                        <a:pt x="438" y="155"/>
                      </a:lnTo>
                      <a:lnTo>
                        <a:pt x="484" y="155"/>
                      </a:lnTo>
                      <a:lnTo>
                        <a:pt x="483" y="146"/>
                      </a:lnTo>
                      <a:lnTo>
                        <a:pt x="481" y="137"/>
                      </a:lnTo>
                      <a:lnTo>
                        <a:pt x="479" y="130"/>
                      </a:lnTo>
                      <a:lnTo>
                        <a:pt x="478" y="124"/>
                      </a:lnTo>
                      <a:lnTo>
                        <a:pt x="645" y="124"/>
                      </a:lnTo>
                      <a:lnTo>
                        <a:pt x="648" y="109"/>
                      </a:lnTo>
                      <a:lnTo>
                        <a:pt x="651" y="101"/>
                      </a:lnTo>
                      <a:lnTo>
                        <a:pt x="657" y="95"/>
                      </a:lnTo>
                      <a:lnTo>
                        <a:pt x="664" y="87"/>
                      </a:lnTo>
                      <a:lnTo>
                        <a:pt x="653" y="91"/>
                      </a:lnTo>
                      <a:lnTo>
                        <a:pt x="638" y="99"/>
                      </a:lnTo>
                      <a:lnTo>
                        <a:pt x="622" y="108"/>
                      </a:lnTo>
                      <a:lnTo>
                        <a:pt x="611" y="111"/>
                      </a:lnTo>
                      <a:lnTo>
                        <a:pt x="589" y="110"/>
                      </a:lnTo>
                      <a:lnTo>
                        <a:pt x="556" y="108"/>
                      </a:lnTo>
                      <a:lnTo>
                        <a:pt x="522" y="106"/>
                      </a:lnTo>
                      <a:lnTo>
                        <a:pt x="491" y="105"/>
                      </a:lnTo>
                      <a:lnTo>
                        <a:pt x="476" y="107"/>
                      </a:lnTo>
                      <a:lnTo>
                        <a:pt x="449" y="111"/>
                      </a:lnTo>
                      <a:lnTo>
                        <a:pt x="414" y="115"/>
                      </a:lnTo>
                      <a:lnTo>
                        <a:pt x="376" y="119"/>
                      </a:lnTo>
                      <a:lnTo>
                        <a:pt x="355" y="120"/>
                      </a:lnTo>
                      <a:lnTo>
                        <a:pt x="333" y="119"/>
                      </a:lnTo>
                      <a:lnTo>
                        <a:pt x="312" y="116"/>
                      </a:lnTo>
                      <a:lnTo>
                        <a:pt x="291" y="113"/>
                      </a:lnTo>
                      <a:lnTo>
                        <a:pt x="281" y="111"/>
                      </a:lnTo>
                      <a:lnTo>
                        <a:pt x="271" y="108"/>
                      </a:lnTo>
                      <a:lnTo>
                        <a:pt x="261" y="105"/>
                      </a:lnTo>
                      <a:lnTo>
                        <a:pt x="253" y="101"/>
                      </a:lnTo>
                      <a:lnTo>
                        <a:pt x="244" y="97"/>
                      </a:lnTo>
                      <a:lnTo>
                        <a:pt x="235" y="92"/>
                      </a:lnTo>
                      <a:lnTo>
                        <a:pt x="226" y="87"/>
                      </a:lnTo>
                      <a:lnTo>
                        <a:pt x="219" y="81"/>
                      </a:lnTo>
                      <a:lnTo>
                        <a:pt x="219" y="80"/>
                      </a:lnTo>
                      <a:lnTo>
                        <a:pt x="221" y="79"/>
                      </a:lnTo>
                      <a:lnTo>
                        <a:pt x="223" y="78"/>
                      </a:lnTo>
                      <a:lnTo>
                        <a:pt x="227" y="76"/>
                      </a:lnTo>
                      <a:lnTo>
                        <a:pt x="238" y="74"/>
                      </a:lnTo>
                      <a:lnTo>
                        <a:pt x="253" y="71"/>
                      </a:lnTo>
                      <a:lnTo>
                        <a:pt x="290" y="66"/>
                      </a:lnTo>
                      <a:lnTo>
                        <a:pt x="334" y="60"/>
                      </a:lnTo>
                      <a:lnTo>
                        <a:pt x="378" y="55"/>
                      </a:lnTo>
                      <a:lnTo>
                        <a:pt x="417" y="50"/>
                      </a:lnTo>
                      <a:lnTo>
                        <a:pt x="446" y="47"/>
                      </a:lnTo>
                      <a:lnTo>
                        <a:pt x="458" y="44"/>
                      </a:lnTo>
                      <a:lnTo>
                        <a:pt x="545" y="44"/>
                      </a:lnTo>
                      <a:lnTo>
                        <a:pt x="591" y="32"/>
                      </a:lnTo>
                      <a:lnTo>
                        <a:pt x="605" y="33"/>
                      </a:lnTo>
                      <a:lnTo>
                        <a:pt x="618" y="32"/>
                      </a:lnTo>
                      <a:lnTo>
                        <a:pt x="631" y="31"/>
                      </a:lnTo>
                      <a:lnTo>
                        <a:pt x="642" y="28"/>
                      </a:lnTo>
                      <a:lnTo>
                        <a:pt x="653" y="25"/>
                      </a:lnTo>
                      <a:lnTo>
                        <a:pt x="664" y="22"/>
                      </a:lnTo>
                      <a:lnTo>
                        <a:pt x="674" y="20"/>
                      </a:lnTo>
                      <a:lnTo>
                        <a:pt x="684" y="20"/>
                      </a:lnTo>
                      <a:lnTo>
                        <a:pt x="707" y="21"/>
                      </a:lnTo>
                      <a:lnTo>
                        <a:pt x="723" y="23"/>
                      </a:lnTo>
                      <a:lnTo>
                        <a:pt x="737" y="25"/>
                      </a:lnTo>
                      <a:lnTo>
                        <a:pt x="757" y="26"/>
                      </a:lnTo>
                      <a:lnTo>
                        <a:pt x="764" y="26"/>
                      </a:lnTo>
                    </a:path>
                  </a:pathLst>
                </a:custGeom>
                <a:grpFill/>
                <a:ln w="9525" cap="flat" cmpd="sng">
                  <a:solidFill>
                    <a:schemeClr val="bg1"/>
                  </a:solidFill>
                  <a:prstDash val="solid"/>
                  <a:round/>
                  <a:headEnd type="none" w="med" len="med"/>
                  <a:tailEnd type="none" w="med" len="med"/>
                </a:ln>
                <a:effectLst/>
              </p:spPr>
              <p:txBody>
                <a:bodyPr/>
                <a:lstStyle/>
                <a:p>
                  <a:endParaRPr lang="en-GB" sz="1637"/>
                </a:p>
              </p:txBody>
            </p:sp>
            <p:sp>
              <p:nvSpPr>
                <p:cNvPr id="303" name="Freeform 418"/>
                <p:cNvSpPr>
                  <a:spLocks/>
                </p:cNvSpPr>
                <p:nvPr/>
              </p:nvSpPr>
              <p:spPr bwMode="auto">
                <a:xfrm>
                  <a:off x="553" y="1660"/>
                  <a:ext cx="51" cy="38"/>
                </a:xfrm>
                <a:custGeom>
                  <a:avLst/>
                  <a:gdLst>
                    <a:gd name="T0" fmla="*/ 0 w 160"/>
                    <a:gd name="T1" fmla="*/ 0 h 117"/>
                    <a:gd name="T2" fmla="*/ 0 w 160"/>
                    <a:gd name="T3" fmla="*/ 3 h 117"/>
                    <a:gd name="T4" fmla="*/ 1 w 160"/>
                    <a:gd name="T5" fmla="*/ 6 h 117"/>
                    <a:gd name="T6" fmla="*/ 3 w 160"/>
                    <a:gd name="T7" fmla="*/ 9 h 117"/>
                    <a:gd name="T8" fmla="*/ 5 w 160"/>
                    <a:gd name="T9" fmla="*/ 13 h 117"/>
                    <a:gd name="T10" fmla="*/ 7 w 160"/>
                    <a:gd name="T11" fmla="*/ 16 h 117"/>
                    <a:gd name="T12" fmla="*/ 10 w 160"/>
                    <a:gd name="T13" fmla="*/ 19 h 117"/>
                    <a:gd name="T14" fmla="*/ 13 w 160"/>
                    <a:gd name="T15" fmla="*/ 22 h 117"/>
                    <a:gd name="T16" fmla="*/ 16 w 160"/>
                    <a:gd name="T17" fmla="*/ 25 h 117"/>
                    <a:gd name="T18" fmla="*/ 20 w 160"/>
                    <a:gd name="T19" fmla="*/ 28 h 117"/>
                    <a:gd name="T20" fmla="*/ 23 w 160"/>
                    <a:gd name="T21" fmla="*/ 30 h 117"/>
                    <a:gd name="T22" fmla="*/ 27 w 160"/>
                    <a:gd name="T23" fmla="*/ 32 h 117"/>
                    <a:gd name="T24" fmla="*/ 30 w 160"/>
                    <a:gd name="T25" fmla="*/ 34 h 117"/>
                    <a:gd name="T26" fmla="*/ 34 w 160"/>
                    <a:gd name="T27" fmla="*/ 36 h 117"/>
                    <a:gd name="T28" fmla="*/ 37 w 160"/>
                    <a:gd name="T29" fmla="*/ 37 h 117"/>
                    <a:gd name="T30" fmla="*/ 40 w 160"/>
                    <a:gd name="T31" fmla="*/ 38 h 117"/>
                    <a:gd name="T32" fmla="*/ 42 w 160"/>
                    <a:gd name="T33" fmla="*/ 38 h 117"/>
                    <a:gd name="T34" fmla="*/ 44 w 160"/>
                    <a:gd name="T35" fmla="*/ 38 h 117"/>
                    <a:gd name="T36" fmla="*/ 47 w 160"/>
                    <a:gd name="T37" fmla="*/ 37 h 117"/>
                    <a:gd name="T38" fmla="*/ 49 w 160"/>
                    <a:gd name="T39" fmla="*/ 36 h 117"/>
                    <a:gd name="T40" fmla="*/ 51 w 160"/>
                    <a:gd name="T41" fmla="*/ 34 h 117"/>
                    <a:gd name="T42" fmla="*/ 48 w 160"/>
                    <a:gd name="T43" fmla="*/ 30 h 117"/>
                    <a:gd name="T44" fmla="*/ 45 w 160"/>
                    <a:gd name="T45" fmla="*/ 26 h 117"/>
                    <a:gd name="T46" fmla="*/ 44 w 160"/>
                    <a:gd name="T47" fmla="*/ 24 h 117"/>
                    <a:gd name="T48" fmla="*/ 43 w 160"/>
                    <a:gd name="T49" fmla="*/ 21 h 117"/>
                    <a:gd name="T50" fmla="*/ 42 w 160"/>
                    <a:gd name="T51" fmla="*/ 19 h 117"/>
                    <a:gd name="T52" fmla="*/ 42 w 160"/>
                    <a:gd name="T53" fmla="*/ 16 h 117"/>
                    <a:gd name="T54" fmla="*/ 40 w 160"/>
                    <a:gd name="T55" fmla="*/ 16 h 117"/>
                    <a:gd name="T56" fmla="*/ 38 w 160"/>
                    <a:gd name="T57" fmla="*/ 15 h 117"/>
                    <a:gd name="T58" fmla="*/ 34 w 160"/>
                    <a:gd name="T59" fmla="*/ 13 h 117"/>
                    <a:gd name="T60" fmla="*/ 31 w 160"/>
                    <a:gd name="T61" fmla="*/ 11 h 117"/>
                    <a:gd name="T62" fmla="*/ 28 w 160"/>
                    <a:gd name="T63" fmla="*/ 9 h 117"/>
                    <a:gd name="T64" fmla="*/ 25 w 160"/>
                    <a:gd name="T65" fmla="*/ 7 h 117"/>
                    <a:gd name="T66" fmla="*/ 24 w 160"/>
                    <a:gd name="T67" fmla="*/ 6 h 117"/>
                    <a:gd name="T68" fmla="*/ 23 w 160"/>
                    <a:gd name="T69" fmla="*/ 4 h 117"/>
                    <a:gd name="T70" fmla="*/ 22 w 160"/>
                    <a:gd name="T71" fmla="*/ 3 h 117"/>
                    <a:gd name="T72" fmla="*/ 21 w 160"/>
                    <a:gd name="T73" fmla="*/ 2 h 117"/>
                    <a:gd name="T74" fmla="*/ 19 w 160"/>
                    <a:gd name="T75" fmla="*/ 2 h 117"/>
                    <a:gd name="T76" fmla="*/ 17 w 160"/>
                    <a:gd name="T77" fmla="*/ 2 h 117"/>
                    <a:gd name="T78" fmla="*/ 14 w 160"/>
                    <a:gd name="T79" fmla="*/ 1 h 117"/>
                    <a:gd name="T80" fmla="*/ 11 w 160"/>
                    <a:gd name="T81" fmla="*/ 0 h 117"/>
                    <a:gd name="T82" fmla="*/ 0 w 160"/>
                    <a:gd name="T83" fmla="*/ 0 h 11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160" h="117">
                      <a:moveTo>
                        <a:pt x="0" y="0"/>
                      </a:moveTo>
                      <a:lnTo>
                        <a:pt x="1" y="10"/>
                      </a:lnTo>
                      <a:lnTo>
                        <a:pt x="4" y="19"/>
                      </a:lnTo>
                      <a:lnTo>
                        <a:pt x="9" y="29"/>
                      </a:lnTo>
                      <a:lnTo>
                        <a:pt x="15" y="39"/>
                      </a:lnTo>
                      <a:lnTo>
                        <a:pt x="22" y="48"/>
                      </a:lnTo>
                      <a:lnTo>
                        <a:pt x="31" y="59"/>
                      </a:lnTo>
                      <a:lnTo>
                        <a:pt x="41" y="68"/>
                      </a:lnTo>
                      <a:lnTo>
                        <a:pt x="51" y="77"/>
                      </a:lnTo>
                      <a:lnTo>
                        <a:pt x="62" y="85"/>
                      </a:lnTo>
                      <a:lnTo>
                        <a:pt x="73" y="93"/>
                      </a:lnTo>
                      <a:lnTo>
                        <a:pt x="84" y="99"/>
                      </a:lnTo>
                      <a:lnTo>
                        <a:pt x="95" y="105"/>
                      </a:lnTo>
                      <a:lnTo>
                        <a:pt x="106" y="111"/>
                      </a:lnTo>
                      <a:lnTo>
                        <a:pt x="116" y="114"/>
                      </a:lnTo>
                      <a:lnTo>
                        <a:pt x="124" y="117"/>
                      </a:lnTo>
                      <a:lnTo>
                        <a:pt x="133" y="117"/>
                      </a:lnTo>
                      <a:lnTo>
                        <a:pt x="139" y="116"/>
                      </a:lnTo>
                      <a:lnTo>
                        <a:pt x="146" y="113"/>
                      </a:lnTo>
                      <a:lnTo>
                        <a:pt x="153" y="110"/>
                      </a:lnTo>
                      <a:lnTo>
                        <a:pt x="160" y="104"/>
                      </a:lnTo>
                      <a:lnTo>
                        <a:pt x="150" y="91"/>
                      </a:lnTo>
                      <a:lnTo>
                        <a:pt x="141" y="79"/>
                      </a:lnTo>
                      <a:lnTo>
                        <a:pt x="138" y="73"/>
                      </a:lnTo>
                      <a:lnTo>
                        <a:pt x="135" y="66"/>
                      </a:lnTo>
                      <a:lnTo>
                        <a:pt x="133" y="58"/>
                      </a:lnTo>
                      <a:lnTo>
                        <a:pt x="133" y="49"/>
                      </a:lnTo>
                      <a:lnTo>
                        <a:pt x="127" y="48"/>
                      </a:lnTo>
                      <a:lnTo>
                        <a:pt x="118" y="45"/>
                      </a:lnTo>
                      <a:lnTo>
                        <a:pt x="108" y="40"/>
                      </a:lnTo>
                      <a:lnTo>
                        <a:pt x="97" y="34"/>
                      </a:lnTo>
                      <a:lnTo>
                        <a:pt x="87" y="28"/>
                      </a:lnTo>
                      <a:lnTo>
                        <a:pt x="77" y="21"/>
                      </a:lnTo>
                      <a:lnTo>
                        <a:pt x="74" y="17"/>
                      </a:lnTo>
                      <a:lnTo>
                        <a:pt x="71" y="13"/>
                      </a:lnTo>
                      <a:lnTo>
                        <a:pt x="68" y="10"/>
                      </a:lnTo>
                      <a:lnTo>
                        <a:pt x="66" y="6"/>
                      </a:lnTo>
                      <a:lnTo>
                        <a:pt x="60" y="6"/>
                      </a:lnTo>
                      <a:lnTo>
                        <a:pt x="52" y="6"/>
                      </a:lnTo>
                      <a:lnTo>
                        <a:pt x="43" y="4"/>
                      </a:lnTo>
                      <a:lnTo>
                        <a:pt x="33" y="0"/>
                      </a:lnTo>
                      <a:lnTo>
                        <a:pt x="0" y="0"/>
                      </a:lnTo>
                    </a:path>
                  </a:pathLst>
                </a:custGeom>
                <a:grpFill/>
                <a:ln w="9525" cap="flat" cmpd="sng">
                  <a:solidFill>
                    <a:schemeClr val="bg1"/>
                  </a:solidFill>
                  <a:prstDash val="solid"/>
                  <a:round/>
                  <a:headEnd type="none" w="med" len="med"/>
                  <a:tailEnd type="none" w="med" len="med"/>
                </a:ln>
                <a:effectLst/>
              </p:spPr>
              <p:txBody>
                <a:bodyPr/>
                <a:lstStyle/>
                <a:p>
                  <a:endParaRPr lang="en-GB" sz="1637"/>
                </a:p>
              </p:txBody>
            </p:sp>
            <p:sp>
              <p:nvSpPr>
                <p:cNvPr id="304" name="Freeform 419"/>
                <p:cNvSpPr>
                  <a:spLocks/>
                </p:cNvSpPr>
                <p:nvPr/>
              </p:nvSpPr>
              <p:spPr bwMode="auto">
                <a:xfrm>
                  <a:off x="527" y="1592"/>
                  <a:ext cx="26" cy="46"/>
                </a:xfrm>
                <a:custGeom>
                  <a:avLst/>
                  <a:gdLst>
                    <a:gd name="T0" fmla="*/ 13 w 80"/>
                    <a:gd name="T1" fmla="*/ 40 h 141"/>
                    <a:gd name="T2" fmla="*/ 26 w 80"/>
                    <a:gd name="T3" fmla="*/ 12 h 141"/>
                    <a:gd name="T4" fmla="*/ 26 w 80"/>
                    <a:gd name="T5" fmla="*/ 6 h 141"/>
                    <a:gd name="T6" fmla="*/ 22 w 80"/>
                    <a:gd name="T7" fmla="*/ 6 h 141"/>
                    <a:gd name="T8" fmla="*/ 19 w 80"/>
                    <a:gd name="T9" fmla="*/ 5 h 141"/>
                    <a:gd name="T10" fmla="*/ 17 w 80"/>
                    <a:gd name="T11" fmla="*/ 5 h 141"/>
                    <a:gd name="T12" fmla="*/ 15 w 80"/>
                    <a:gd name="T13" fmla="*/ 4 h 141"/>
                    <a:gd name="T14" fmla="*/ 14 w 80"/>
                    <a:gd name="T15" fmla="*/ 3 h 141"/>
                    <a:gd name="T16" fmla="*/ 14 w 80"/>
                    <a:gd name="T17" fmla="*/ 2 h 141"/>
                    <a:gd name="T18" fmla="*/ 13 w 80"/>
                    <a:gd name="T19" fmla="*/ 1 h 141"/>
                    <a:gd name="T20" fmla="*/ 13 w 80"/>
                    <a:gd name="T21" fmla="*/ 0 h 141"/>
                    <a:gd name="T22" fmla="*/ 0 w 80"/>
                    <a:gd name="T23" fmla="*/ 0 h 141"/>
                    <a:gd name="T24" fmla="*/ 0 w 80"/>
                    <a:gd name="T25" fmla="*/ 8 h 141"/>
                    <a:gd name="T26" fmla="*/ 0 w 80"/>
                    <a:gd name="T27" fmla="*/ 13 h 141"/>
                    <a:gd name="T28" fmla="*/ 0 w 80"/>
                    <a:gd name="T29" fmla="*/ 17 h 141"/>
                    <a:gd name="T30" fmla="*/ 0 w 80"/>
                    <a:gd name="T31" fmla="*/ 20 h 141"/>
                    <a:gd name="T32" fmla="*/ 0 w 80"/>
                    <a:gd name="T33" fmla="*/ 23 h 141"/>
                    <a:gd name="T34" fmla="*/ 1 w 80"/>
                    <a:gd name="T35" fmla="*/ 25 h 141"/>
                    <a:gd name="T36" fmla="*/ 2 w 80"/>
                    <a:gd name="T37" fmla="*/ 29 h 141"/>
                    <a:gd name="T38" fmla="*/ 4 w 80"/>
                    <a:gd name="T39" fmla="*/ 32 h 141"/>
                    <a:gd name="T40" fmla="*/ 7 w 80"/>
                    <a:gd name="T41" fmla="*/ 39 h 141"/>
                    <a:gd name="T42" fmla="*/ 9 w 80"/>
                    <a:gd name="T43" fmla="*/ 46 h 141"/>
                    <a:gd name="T44" fmla="*/ 10 w 80"/>
                    <a:gd name="T45" fmla="*/ 44 h 141"/>
                    <a:gd name="T46" fmla="*/ 11 w 80"/>
                    <a:gd name="T47" fmla="*/ 42 h 141"/>
                    <a:gd name="T48" fmla="*/ 11 w 80"/>
                    <a:gd name="T49" fmla="*/ 41 h 141"/>
                    <a:gd name="T50" fmla="*/ 12 w 80"/>
                    <a:gd name="T51" fmla="*/ 41 h 141"/>
                    <a:gd name="T52" fmla="*/ 12 w 80"/>
                    <a:gd name="T53" fmla="*/ 40 h 141"/>
                    <a:gd name="T54" fmla="*/ 13 w 80"/>
                    <a:gd name="T55" fmla="*/ 40 h 14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80" h="141">
                      <a:moveTo>
                        <a:pt x="40" y="123"/>
                      </a:moveTo>
                      <a:lnTo>
                        <a:pt x="80" y="36"/>
                      </a:lnTo>
                      <a:lnTo>
                        <a:pt x="80" y="18"/>
                      </a:lnTo>
                      <a:lnTo>
                        <a:pt x="68" y="17"/>
                      </a:lnTo>
                      <a:lnTo>
                        <a:pt x="59" y="16"/>
                      </a:lnTo>
                      <a:lnTo>
                        <a:pt x="53" y="14"/>
                      </a:lnTo>
                      <a:lnTo>
                        <a:pt x="47" y="11"/>
                      </a:lnTo>
                      <a:lnTo>
                        <a:pt x="44" y="8"/>
                      </a:lnTo>
                      <a:lnTo>
                        <a:pt x="42" y="5"/>
                      </a:lnTo>
                      <a:lnTo>
                        <a:pt x="41" y="2"/>
                      </a:lnTo>
                      <a:lnTo>
                        <a:pt x="40" y="0"/>
                      </a:lnTo>
                      <a:lnTo>
                        <a:pt x="0" y="0"/>
                      </a:lnTo>
                      <a:lnTo>
                        <a:pt x="0" y="23"/>
                      </a:lnTo>
                      <a:lnTo>
                        <a:pt x="0" y="40"/>
                      </a:lnTo>
                      <a:lnTo>
                        <a:pt x="0" y="52"/>
                      </a:lnTo>
                      <a:lnTo>
                        <a:pt x="0" y="61"/>
                      </a:lnTo>
                      <a:lnTo>
                        <a:pt x="1" y="69"/>
                      </a:lnTo>
                      <a:lnTo>
                        <a:pt x="3" y="78"/>
                      </a:lnTo>
                      <a:lnTo>
                        <a:pt x="7" y="88"/>
                      </a:lnTo>
                      <a:lnTo>
                        <a:pt x="11" y="99"/>
                      </a:lnTo>
                      <a:lnTo>
                        <a:pt x="20" y="121"/>
                      </a:lnTo>
                      <a:lnTo>
                        <a:pt x="27" y="141"/>
                      </a:lnTo>
                      <a:lnTo>
                        <a:pt x="31" y="135"/>
                      </a:lnTo>
                      <a:lnTo>
                        <a:pt x="33" y="129"/>
                      </a:lnTo>
                      <a:lnTo>
                        <a:pt x="34" y="127"/>
                      </a:lnTo>
                      <a:lnTo>
                        <a:pt x="36" y="125"/>
                      </a:lnTo>
                      <a:lnTo>
                        <a:pt x="38" y="123"/>
                      </a:lnTo>
                      <a:lnTo>
                        <a:pt x="40" y="123"/>
                      </a:lnTo>
                    </a:path>
                  </a:pathLst>
                </a:custGeom>
                <a:grpFill/>
                <a:ln w="9525" cap="flat" cmpd="sng">
                  <a:solidFill>
                    <a:schemeClr val="bg1"/>
                  </a:solidFill>
                  <a:prstDash val="solid"/>
                  <a:round/>
                  <a:headEnd type="none" w="med" len="med"/>
                  <a:tailEnd type="none" w="med" len="med"/>
                </a:ln>
                <a:effectLst/>
              </p:spPr>
              <p:txBody>
                <a:bodyPr/>
                <a:lstStyle/>
                <a:p>
                  <a:endParaRPr lang="en-GB" sz="1637"/>
                </a:p>
              </p:txBody>
            </p:sp>
            <p:sp>
              <p:nvSpPr>
                <p:cNvPr id="305" name="Freeform 420"/>
                <p:cNvSpPr>
                  <a:spLocks/>
                </p:cNvSpPr>
                <p:nvPr/>
              </p:nvSpPr>
              <p:spPr bwMode="auto">
                <a:xfrm>
                  <a:off x="1379" y="1383"/>
                  <a:ext cx="83" cy="41"/>
                </a:xfrm>
                <a:custGeom>
                  <a:avLst/>
                  <a:gdLst>
                    <a:gd name="T0" fmla="*/ 0 w 259"/>
                    <a:gd name="T1" fmla="*/ 31 h 124"/>
                    <a:gd name="T2" fmla="*/ 0 w 259"/>
                    <a:gd name="T3" fmla="*/ 32 h 124"/>
                    <a:gd name="T4" fmla="*/ 1 w 259"/>
                    <a:gd name="T5" fmla="*/ 33 h 124"/>
                    <a:gd name="T6" fmla="*/ 1 w 259"/>
                    <a:gd name="T7" fmla="*/ 34 h 124"/>
                    <a:gd name="T8" fmla="*/ 2 w 259"/>
                    <a:gd name="T9" fmla="*/ 35 h 124"/>
                    <a:gd name="T10" fmla="*/ 4 w 259"/>
                    <a:gd name="T11" fmla="*/ 37 h 124"/>
                    <a:gd name="T12" fmla="*/ 7 w 259"/>
                    <a:gd name="T13" fmla="*/ 38 h 124"/>
                    <a:gd name="T14" fmla="*/ 10 w 259"/>
                    <a:gd name="T15" fmla="*/ 40 h 124"/>
                    <a:gd name="T16" fmla="*/ 13 w 259"/>
                    <a:gd name="T17" fmla="*/ 40 h 124"/>
                    <a:gd name="T18" fmla="*/ 16 w 259"/>
                    <a:gd name="T19" fmla="*/ 41 h 124"/>
                    <a:gd name="T20" fmla="*/ 19 w 259"/>
                    <a:gd name="T21" fmla="*/ 41 h 124"/>
                    <a:gd name="T22" fmla="*/ 22 w 259"/>
                    <a:gd name="T23" fmla="*/ 41 h 124"/>
                    <a:gd name="T24" fmla="*/ 24 w 259"/>
                    <a:gd name="T25" fmla="*/ 41 h 124"/>
                    <a:gd name="T26" fmla="*/ 26 w 259"/>
                    <a:gd name="T27" fmla="*/ 40 h 124"/>
                    <a:gd name="T28" fmla="*/ 28 w 259"/>
                    <a:gd name="T29" fmla="*/ 40 h 124"/>
                    <a:gd name="T30" fmla="*/ 31 w 259"/>
                    <a:gd name="T31" fmla="*/ 38 h 124"/>
                    <a:gd name="T32" fmla="*/ 34 w 259"/>
                    <a:gd name="T33" fmla="*/ 36 h 124"/>
                    <a:gd name="T34" fmla="*/ 37 w 259"/>
                    <a:gd name="T35" fmla="*/ 34 h 124"/>
                    <a:gd name="T36" fmla="*/ 40 w 259"/>
                    <a:gd name="T37" fmla="*/ 32 h 124"/>
                    <a:gd name="T38" fmla="*/ 42 w 259"/>
                    <a:gd name="T39" fmla="*/ 32 h 124"/>
                    <a:gd name="T40" fmla="*/ 44 w 259"/>
                    <a:gd name="T41" fmla="*/ 31 h 124"/>
                    <a:gd name="T42" fmla="*/ 46 w 259"/>
                    <a:gd name="T43" fmla="*/ 31 h 124"/>
                    <a:gd name="T44" fmla="*/ 49 w 259"/>
                    <a:gd name="T45" fmla="*/ 31 h 124"/>
                    <a:gd name="T46" fmla="*/ 52 w 259"/>
                    <a:gd name="T47" fmla="*/ 31 h 124"/>
                    <a:gd name="T48" fmla="*/ 55 w 259"/>
                    <a:gd name="T49" fmla="*/ 32 h 124"/>
                    <a:gd name="T50" fmla="*/ 58 w 259"/>
                    <a:gd name="T51" fmla="*/ 33 h 124"/>
                    <a:gd name="T52" fmla="*/ 60 w 259"/>
                    <a:gd name="T53" fmla="*/ 34 h 124"/>
                    <a:gd name="T54" fmla="*/ 65 w 259"/>
                    <a:gd name="T55" fmla="*/ 37 h 124"/>
                    <a:gd name="T56" fmla="*/ 70 w 259"/>
                    <a:gd name="T57" fmla="*/ 39 h 124"/>
                    <a:gd name="T58" fmla="*/ 83 w 259"/>
                    <a:gd name="T59" fmla="*/ 39 h 124"/>
                    <a:gd name="T60" fmla="*/ 83 w 259"/>
                    <a:gd name="T61" fmla="*/ 33 h 124"/>
                    <a:gd name="T62" fmla="*/ 81 w 259"/>
                    <a:gd name="T63" fmla="*/ 32 h 124"/>
                    <a:gd name="T64" fmla="*/ 78 w 259"/>
                    <a:gd name="T65" fmla="*/ 32 h 124"/>
                    <a:gd name="T66" fmla="*/ 76 w 259"/>
                    <a:gd name="T67" fmla="*/ 31 h 124"/>
                    <a:gd name="T68" fmla="*/ 72 w 259"/>
                    <a:gd name="T69" fmla="*/ 31 h 124"/>
                    <a:gd name="T70" fmla="*/ 74 w 259"/>
                    <a:gd name="T71" fmla="*/ 28 h 124"/>
                    <a:gd name="T72" fmla="*/ 76 w 259"/>
                    <a:gd name="T73" fmla="*/ 26 h 124"/>
                    <a:gd name="T74" fmla="*/ 77 w 259"/>
                    <a:gd name="T75" fmla="*/ 24 h 124"/>
                    <a:gd name="T76" fmla="*/ 79 w 259"/>
                    <a:gd name="T77" fmla="*/ 23 h 124"/>
                    <a:gd name="T78" fmla="*/ 76 w 259"/>
                    <a:gd name="T79" fmla="*/ 20 h 124"/>
                    <a:gd name="T80" fmla="*/ 74 w 259"/>
                    <a:gd name="T81" fmla="*/ 19 h 124"/>
                    <a:gd name="T82" fmla="*/ 71 w 259"/>
                    <a:gd name="T83" fmla="*/ 17 h 124"/>
                    <a:gd name="T84" fmla="*/ 69 w 259"/>
                    <a:gd name="T85" fmla="*/ 15 h 124"/>
                    <a:gd name="T86" fmla="*/ 63 w 259"/>
                    <a:gd name="T87" fmla="*/ 12 h 124"/>
                    <a:gd name="T88" fmla="*/ 58 w 259"/>
                    <a:gd name="T89" fmla="*/ 10 h 124"/>
                    <a:gd name="T90" fmla="*/ 53 w 259"/>
                    <a:gd name="T91" fmla="*/ 8 h 124"/>
                    <a:gd name="T92" fmla="*/ 49 w 259"/>
                    <a:gd name="T93" fmla="*/ 6 h 124"/>
                    <a:gd name="T94" fmla="*/ 47 w 259"/>
                    <a:gd name="T95" fmla="*/ 4 h 124"/>
                    <a:gd name="T96" fmla="*/ 45 w 259"/>
                    <a:gd name="T97" fmla="*/ 3 h 124"/>
                    <a:gd name="T98" fmla="*/ 44 w 259"/>
                    <a:gd name="T99" fmla="*/ 2 h 124"/>
                    <a:gd name="T100" fmla="*/ 42 w 259"/>
                    <a:gd name="T101" fmla="*/ 0 h 124"/>
                    <a:gd name="T102" fmla="*/ 40 w 259"/>
                    <a:gd name="T103" fmla="*/ 1 h 124"/>
                    <a:gd name="T104" fmla="*/ 37 w 259"/>
                    <a:gd name="T105" fmla="*/ 2 h 124"/>
                    <a:gd name="T106" fmla="*/ 34 w 259"/>
                    <a:gd name="T107" fmla="*/ 4 h 124"/>
                    <a:gd name="T108" fmla="*/ 30 w 259"/>
                    <a:gd name="T109" fmla="*/ 6 h 124"/>
                    <a:gd name="T110" fmla="*/ 24 w 259"/>
                    <a:gd name="T111" fmla="*/ 10 h 124"/>
                    <a:gd name="T112" fmla="*/ 18 w 259"/>
                    <a:gd name="T113" fmla="*/ 14 h 124"/>
                    <a:gd name="T114" fmla="*/ 12 w 259"/>
                    <a:gd name="T115" fmla="*/ 19 h 124"/>
                    <a:gd name="T116" fmla="*/ 7 w 259"/>
                    <a:gd name="T117" fmla="*/ 23 h 124"/>
                    <a:gd name="T118" fmla="*/ 3 w 259"/>
                    <a:gd name="T119" fmla="*/ 27 h 124"/>
                    <a:gd name="T120" fmla="*/ 0 w 259"/>
                    <a:gd name="T121" fmla="*/ 31 h 12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259" h="124">
                      <a:moveTo>
                        <a:pt x="0" y="93"/>
                      </a:moveTo>
                      <a:lnTo>
                        <a:pt x="0" y="96"/>
                      </a:lnTo>
                      <a:lnTo>
                        <a:pt x="2" y="100"/>
                      </a:lnTo>
                      <a:lnTo>
                        <a:pt x="4" y="103"/>
                      </a:lnTo>
                      <a:lnTo>
                        <a:pt x="6" y="106"/>
                      </a:lnTo>
                      <a:lnTo>
                        <a:pt x="14" y="111"/>
                      </a:lnTo>
                      <a:lnTo>
                        <a:pt x="23" y="115"/>
                      </a:lnTo>
                      <a:lnTo>
                        <a:pt x="31" y="120"/>
                      </a:lnTo>
                      <a:lnTo>
                        <a:pt x="41" y="122"/>
                      </a:lnTo>
                      <a:lnTo>
                        <a:pt x="51" y="124"/>
                      </a:lnTo>
                      <a:lnTo>
                        <a:pt x="60" y="124"/>
                      </a:lnTo>
                      <a:lnTo>
                        <a:pt x="68" y="124"/>
                      </a:lnTo>
                      <a:lnTo>
                        <a:pt x="75" y="123"/>
                      </a:lnTo>
                      <a:lnTo>
                        <a:pt x="81" y="122"/>
                      </a:lnTo>
                      <a:lnTo>
                        <a:pt x="87" y="120"/>
                      </a:lnTo>
                      <a:lnTo>
                        <a:pt x="97" y="114"/>
                      </a:lnTo>
                      <a:lnTo>
                        <a:pt x="106" y="108"/>
                      </a:lnTo>
                      <a:lnTo>
                        <a:pt x="115" y="103"/>
                      </a:lnTo>
                      <a:lnTo>
                        <a:pt x="125" y="98"/>
                      </a:lnTo>
                      <a:lnTo>
                        <a:pt x="130" y="96"/>
                      </a:lnTo>
                      <a:lnTo>
                        <a:pt x="137" y="94"/>
                      </a:lnTo>
                      <a:lnTo>
                        <a:pt x="145" y="93"/>
                      </a:lnTo>
                      <a:lnTo>
                        <a:pt x="152" y="93"/>
                      </a:lnTo>
                      <a:lnTo>
                        <a:pt x="162" y="94"/>
                      </a:lnTo>
                      <a:lnTo>
                        <a:pt x="171" y="96"/>
                      </a:lnTo>
                      <a:lnTo>
                        <a:pt x="180" y="99"/>
                      </a:lnTo>
                      <a:lnTo>
                        <a:pt x="188" y="103"/>
                      </a:lnTo>
                      <a:lnTo>
                        <a:pt x="204" y="111"/>
                      </a:lnTo>
                      <a:lnTo>
                        <a:pt x="219" y="117"/>
                      </a:lnTo>
                      <a:lnTo>
                        <a:pt x="259" y="117"/>
                      </a:lnTo>
                      <a:lnTo>
                        <a:pt x="259" y="99"/>
                      </a:lnTo>
                      <a:lnTo>
                        <a:pt x="252" y="98"/>
                      </a:lnTo>
                      <a:lnTo>
                        <a:pt x="244" y="96"/>
                      </a:lnTo>
                      <a:lnTo>
                        <a:pt x="236" y="94"/>
                      </a:lnTo>
                      <a:lnTo>
                        <a:pt x="226" y="93"/>
                      </a:lnTo>
                      <a:lnTo>
                        <a:pt x="230" y="85"/>
                      </a:lnTo>
                      <a:lnTo>
                        <a:pt x="236" y="79"/>
                      </a:lnTo>
                      <a:lnTo>
                        <a:pt x="240" y="74"/>
                      </a:lnTo>
                      <a:lnTo>
                        <a:pt x="246" y="69"/>
                      </a:lnTo>
                      <a:lnTo>
                        <a:pt x="238" y="61"/>
                      </a:lnTo>
                      <a:lnTo>
                        <a:pt x="230" y="56"/>
                      </a:lnTo>
                      <a:lnTo>
                        <a:pt x="222" y="50"/>
                      </a:lnTo>
                      <a:lnTo>
                        <a:pt x="214" y="46"/>
                      </a:lnTo>
                      <a:lnTo>
                        <a:pt x="197" y="37"/>
                      </a:lnTo>
                      <a:lnTo>
                        <a:pt x="182" y="30"/>
                      </a:lnTo>
                      <a:lnTo>
                        <a:pt x="166" y="23"/>
                      </a:lnTo>
                      <a:lnTo>
                        <a:pt x="153" y="17"/>
                      </a:lnTo>
                      <a:lnTo>
                        <a:pt x="147" y="13"/>
                      </a:lnTo>
                      <a:lnTo>
                        <a:pt x="141" y="10"/>
                      </a:lnTo>
                      <a:lnTo>
                        <a:pt x="137" y="5"/>
                      </a:lnTo>
                      <a:lnTo>
                        <a:pt x="132" y="0"/>
                      </a:lnTo>
                      <a:lnTo>
                        <a:pt x="124" y="3"/>
                      </a:lnTo>
                      <a:lnTo>
                        <a:pt x="114" y="7"/>
                      </a:lnTo>
                      <a:lnTo>
                        <a:pt x="105" y="12"/>
                      </a:lnTo>
                      <a:lnTo>
                        <a:pt x="95" y="17"/>
                      </a:lnTo>
                      <a:lnTo>
                        <a:pt x="75" y="29"/>
                      </a:lnTo>
                      <a:lnTo>
                        <a:pt x="57" y="42"/>
                      </a:lnTo>
                      <a:lnTo>
                        <a:pt x="38" y="56"/>
                      </a:lnTo>
                      <a:lnTo>
                        <a:pt x="23" y="70"/>
                      </a:lnTo>
                      <a:lnTo>
                        <a:pt x="9" y="83"/>
                      </a:lnTo>
                      <a:lnTo>
                        <a:pt x="0" y="93"/>
                      </a:lnTo>
                    </a:path>
                  </a:pathLst>
                </a:custGeom>
                <a:grpFill/>
                <a:ln w="9525" cap="flat" cmpd="sng">
                  <a:solidFill>
                    <a:schemeClr val="bg1"/>
                  </a:solidFill>
                  <a:prstDash val="solid"/>
                  <a:round/>
                  <a:headEnd type="none" w="med" len="med"/>
                  <a:tailEnd type="none" w="med" len="med"/>
                </a:ln>
                <a:effectLst/>
              </p:spPr>
              <p:txBody>
                <a:bodyPr/>
                <a:lstStyle/>
                <a:p>
                  <a:endParaRPr lang="en-GB" sz="1637"/>
                </a:p>
              </p:txBody>
            </p:sp>
            <p:sp>
              <p:nvSpPr>
                <p:cNvPr id="306" name="Freeform 421"/>
                <p:cNvSpPr>
                  <a:spLocks/>
                </p:cNvSpPr>
                <p:nvPr/>
              </p:nvSpPr>
              <p:spPr bwMode="auto">
                <a:xfrm>
                  <a:off x="1509" y="1389"/>
                  <a:ext cx="38" cy="19"/>
                </a:xfrm>
                <a:custGeom>
                  <a:avLst/>
                  <a:gdLst>
                    <a:gd name="T0" fmla="*/ 0 w 119"/>
                    <a:gd name="T1" fmla="*/ 11 h 57"/>
                    <a:gd name="T2" fmla="*/ 2 w 119"/>
                    <a:gd name="T3" fmla="*/ 12 h 57"/>
                    <a:gd name="T4" fmla="*/ 4 w 119"/>
                    <a:gd name="T5" fmla="*/ 13 h 57"/>
                    <a:gd name="T6" fmla="*/ 6 w 119"/>
                    <a:gd name="T7" fmla="*/ 14 h 57"/>
                    <a:gd name="T8" fmla="*/ 8 w 119"/>
                    <a:gd name="T9" fmla="*/ 16 h 57"/>
                    <a:gd name="T10" fmla="*/ 10 w 119"/>
                    <a:gd name="T11" fmla="*/ 17 h 57"/>
                    <a:gd name="T12" fmla="*/ 11 w 119"/>
                    <a:gd name="T13" fmla="*/ 18 h 57"/>
                    <a:gd name="T14" fmla="*/ 13 w 119"/>
                    <a:gd name="T15" fmla="*/ 19 h 57"/>
                    <a:gd name="T16" fmla="*/ 15 w 119"/>
                    <a:gd name="T17" fmla="*/ 19 h 57"/>
                    <a:gd name="T18" fmla="*/ 18 w 119"/>
                    <a:gd name="T19" fmla="*/ 19 h 57"/>
                    <a:gd name="T20" fmla="*/ 20 w 119"/>
                    <a:gd name="T21" fmla="*/ 19 h 57"/>
                    <a:gd name="T22" fmla="*/ 22 w 119"/>
                    <a:gd name="T23" fmla="*/ 18 h 57"/>
                    <a:gd name="T24" fmla="*/ 25 w 119"/>
                    <a:gd name="T25" fmla="*/ 18 h 57"/>
                    <a:gd name="T26" fmla="*/ 27 w 119"/>
                    <a:gd name="T27" fmla="*/ 17 h 57"/>
                    <a:gd name="T28" fmla="*/ 28 w 119"/>
                    <a:gd name="T29" fmla="*/ 16 h 57"/>
                    <a:gd name="T30" fmla="*/ 30 w 119"/>
                    <a:gd name="T31" fmla="*/ 15 h 57"/>
                    <a:gd name="T32" fmla="*/ 31 w 119"/>
                    <a:gd name="T33" fmla="*/ 13 h 57"/>
                    <a:gd name="T34" fmla="*/ 34 w 119"/>
                    <a:gd name="T35" fmla="*/ 11 h 57"/>
                    <a:gd name="T36" fmla="*/ 36 w 119"/>
                    <a:gd name="T37" fmla="*/ 8 h 57"/>
                    <a:gd name="T38" fmla="*/ 37 w 119"/>
                    <a:gd name="T39" fmla="*/ 4 h 57"/>
                    <a:gd name="T40" fmla="*/ 38 w 119"/>
                    <a:gd name="T41" fmla="*/ 0 h 57"/>
                    <a:gd name="T42" fmla="*/ 32 w 119"/>
                    <a:gd name="T43" fmla="*/ 0 h 57"/>
                    <a:gd name="T44" fmla="*/ 26 w 119"/>
                    <a:gd name="T45" fmla="*/ 0 h 57"/>
                    <a:gd name="T46" fmla="*/ 20 w 119"/>
                    <a:gd name="T47" fmla="*/ 1 h 57"/>
                    <a:gd name="T48" fmla="*/ 14 w 119"/>
                    <a:gd name="T49" fmla="*/ 2 h 57"/>
                    <a:gd name="T50" fmla="*/ 11 w 119"/>
                    <a:gd name="T51" fmla="*/ 2 h 57"/>
                    <a:gd name="T52" fmla="*/ 9 w 119"/>
                    <a:gd name="T53" fmla="*/ 3 h 57"/>
                    <a:gd name="T54" fmla="*/ 7 w 119"/>
                    <a:gd name="T55" fmla="*/ 4 h 57"/>
                    <a:gd name="T56" fmla="*/ 5 w 119"/>
                    <a:gd name="T57" fmla="*/ 5 h 57"/>
                    <a:gd name="T58" fmla="*/ 3 w 119"/>
                    <a:gd name="T59" fmla="*/ 6 h 57"/>
                    <a:gd name="T60" fmla="*/ 2 w 119"/>
                    <a:gd name="T61" fmla="*/ 8 h 57"/>
                    <a:gd name="T62" fmla="*/ 1 w 119"/>
                    <a:gd name="T63" fmla="*/ 9 h 57"/>
                    <a:gd name="T64" fmla="*/ 0 w 119"/>
                    <a:gd name="T65" fmla="*/ 11 h 5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19" h="57">
                      <a:moveTo>
                        <a:pt x="0" y="32"/>
                      </a:moveTo>
                      <a:lnTo>
                        <a:pt x="7" y="35"/>
                      </a:lnTo>
                      <a:lnTo>
                        <a:pt x="14" y="38"/>
                      </a:lnTo>
                      <a:lnTo>
                        <a:pt x="20" y="42"/>
                      </a:lnTo>
                      <a:lnTo>
                        <a:pt x="26" y="47"/>
                      </a:lnTo>
                      <a:lnTo>
                        <a:pt x="32" y="51"/>
                      </a:lnTo>
                      <a:lnTo>
                        <a:pt x="36" y="54"/>
                      </a:lnTo>
                      <a:lnTo>
                        <a:pt x="41" y="56"/>
                      </a:lnTo>
                      <a:lnTo>
                        <a:pt x="47" y="57"/>
                      </a:lnTo>
                      <a:lnTo>
                        <a:pt x="55" y="57"/>
                      </a:lnTo>
                      <a:lnTo>
                        <a:pt x="62" y="56"/>
                      </a:lnTo>
                      <a:lnTo>
                        <a:pt x="70" y="55"/>
                      </a:lnTo>
                      <a:lnTo>
                        <a:pt x="77" y="53"/>
                      </a:lnTo>
                      <a:lnTo>
                        <a:pt x="83" y="50"/>
                      </a:lnTo>
                      <a:lnTo>
                        <a:pt x="89" y="48"/>
                      </a:lnTo>
                      <a:lnTo>
                        <a:pt x="93" y="44"/>
                      </a:lnTo>
                      <a:lnTo>
                        <a:pt x="97" y="40"/>
                      </a:lnTo>
                      <a:lnTo>
                        <a:pt x="106" y="32"/>
                      </a:lnTo>
                      <a:lnTo>
                        <a:pt x="112" y="23"/>
                      </a:lnTo>
                      <a:lnTo>
                        <a:pt x="116" y="13"/>
                      </a:lnTo>
                      <a:lnTo>
                        <a:pt x="119" y="1"/>
                      </a:lnTo>
                      <a:lnTo>
                        <a:pt x="101" y="0"/>
                      </a:lnTo>
                      <a:lnTo>
                        <a:pt x="82" y="0"/>
                      </a:lnTo>
                      <a:lnTo>
                        <a:pt x="63" y="2"/>
                      </a:lnTo>
                      <a:lnTo>
                        <a:pt x="45" y="5"/>
                      </a:lnTo>
                      <a:lnTo>
                        <a:pt x="36" y="7"/>
                      </a:lnTo>
                      <a:lnTo>
                        <a:pt x="28" y="10"/>
                      </a:lnTo>
                      <a:lnTo>
                        <a:pt x="22" y="13"/>
                      </a:lnTo>
                      <a:lnTo>
                        <a:pt x="15" y="16"/>
                      </a:lnTo>
                      <a:lnTo>
                        <a:pt x="10" y="19"/>
                      </a:lnTo>
                      <a:lnTo>
                        <a:pt x="5" y="23"/>
                      </a:lnTo>
                      <a:lnTo>
                        <a:pt x="2" y="27"/>
                      </a:lnTo>
                      <a:lnTo>
                        <a:pt x="0" y="32"/>
                      </a:lnTo>
                    </a:path>
                  </a:pathLst>
                </a:custGeom>
                <a:grpFill/>
                <a:ln w="9525" cap="flat" cmpd="sng">
                  <a:solidFill>
                    <a:schemeClr val="bg1"/>
                  </a:solidFill>
                  <a:prstDash val="solid"/>
                  <a:round/>
                  <a:headEnd type="none" w="med" len="med"/>
                  <a:tailEnd type="none" w="med" len="med"/>
                </a:ln>
                <a:effectLst/>
              </p:spPr>
              <p:txBody>
                <a:bodyPr/>
                <a:lstStyle/>
                <a:p>
                  <a:endParaRPr lang="en-GB" sz="1637"/>
                </a:p>
              </p:txBody>
            </p:sp>
            <p:sp>
              <p:nvSpPr>
                <p:cNvPr id="307" name="Freeform 422"/>
                <p:cNvSpPr>
                  <a:spLocks/>
                </p:cNvSpPr>
                <p:nvPr/>
              </p:nvSpPr>
              <p:spPr bwMode="auto">
                <a:xfrm>
                  <a:off x="1554" y="1335"/>
                  <a:ext cx="34" cy="17"/>
                </a:xfrm>
                <a:custGeom>
                  <a:avLst/>
                  <a:gdLst>
                    <a:gd name="T0" fmla="*/ 0 w 107"/>
                    <a:gd name="T1" fmla="*/ 16 h 52"/>
                    <a:gd name="T2" fmla="*/ 2 w 107"/>
                    <a:gd name="T3" fmla="*/ 17 h 52"/>
                    <a:gd name="T4" fmla="*/ 3 w 107"/>
                    <a:gd name="T5" fmla="*/ 17 h 52"/>
                    <a:gd name="T6" fmla="*/ 4 w 107"/>
                    <a:gd name="T7" fmla="*/ 17 h 52"/>
                    <a:gd name="T8" fmla="*/ 5 w 107"/>
                    <a:gd name="T9" fmla="*/ 17 h 52"/>
                    <a:gd name="T10" fmla="*/ 8 w 107"/>
                    <a:gd name="T11" fmla="*/ 16 h 52"/>
                    <a:gd name="T12" fmla="*/ 11 w 107"/>
                    <a:gd name="T13" fmla="*/ 16 h 52"/>
                    <a:gd name="T14" fmla="*/ 14 w 107"/>
                    <a:gd name="T15" fmla="*/ 16 h 52"/>
                    <a:gd name="T16" fmla="*/ 17 w 107"/>
                    <a:gd name="T17" fmla="*/ 16 h 52"/>
                    <a:gd name="T18" fmla="*/ 20 w 107"/>
                    <a:gd name="T19" fmla="*/ 15 h 52"/>
                    <a:gd name="T20" fmla="*/ 22 w 107"/>
                    <a:gd name="T21" fmla="*/ 14 h 52"/>
                    <a:gd name="T22" fmla="*/ 25 w 107"/>
                    <a:gd name="T23" fmla="*/ 13 h 52"/>
                    <a:gd name="T24" fmla="*/ 28 w 107"/>
                    <a:gd name="T25" fmla="*/ 12 h 52"/>
                    <a:gd name="T26" fmla="*/ 31 w 107"/>
                    <a:gd name="T27" fmla="*/ 10 h 52"/>
                    <a:gd name="T28" fmla="*/ 34 w 107"/>
                    <a:gd name="T29" fmla="*/ 8 h 52"/>
                    <a:gd name="T30" fmla="*/ 34 w 107"/>
                    <a:gd name="T31" fmla="*/ 0 h 52"/>
                    <a:gd name="T32" fmla="*/ 31 w 107"/>
                    <a:gd name="T33" fmla="*/ 0 h 52"/>
                    <a:gd name="T34" fmla="*/ 27 w 107"/>
                    <a:gd name="T35" fmla="*/ 1 h 52"/>
                    <a:gd name="T36" fmla="*/ 23 w 107"/>
                    <a:gd name="T37" fmla="*/ 2 h 52"/>
                    <a:gd name="T38" fmla="*/ 18 w 107"/>
                    <a:gd name="T39" fmla="*/ 4 h 52"/>
                    <a:gd name="T40" fmla="*/ 13 w 107"/>
                    <a:gd name="T41" fmla="*/ 7 h 52"/>
                    <a:gd name="T42" fmla="*/ 8 w 107"/>
                    <a:gd name="T43" fmla="*/ 9 h 52"/>
                    <a:gd name="T44" fmla="*/ 6 w 107"/>
                    <a:gd name="T45" fmla="*/ 11 h 52"/>
                    <a:gd name="T46" fmla="*/ 4 w 107"/>
                    <a:gd name="T47" fmla="*/ 12 h 52"/>
                    <a:gd name="T48" fmla="*/ 2 w 107"/>
                    <a:gd name="T49" fmla="*/ 14 h 52"/>
                    <a:gd name="T50" fmla="*/ 0 w 107"/>
                    <a:gd name="T51" fmla="*/ 16 h 5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07" h="52">
                      <a:moveTo>
                        <a:pt x="0" y="50"/>
                      </a:moveTo>
                      <a:lnTo>
                        <a:pt x="6" y="51"/>
                      </a:lnTo>
                      <a:lnTo>
                        <a:pt x="9" y="52"/>
                      </a:lnTo>
                      <a:lnTo>
                        <a:pt x="13" y="52"/>
                      </a:lnTo>
                      <a:lnTo>
                        <a:pt x="17" y="52"/>
                      </a:lnTo>
                      <a:lnTo>
                        <a:pt x="24" y="50"/>
                      </a:lnTo>
                      <a:lnTo>
                        <a:pt x="34" y="50"/>
                      </a:lnTo>
                      <a:lnTo>
                        <a:pt x="43" y="49"/>
                      </a:lnTo>
                      <a:lnTo>
                        <a:pt x="53" y="48"/>
                      </a:lnTo>
                      <a:lnTo>
                        <a:pt x="62" y="47"/>
                      </a:lnTo>
                      <a:lnTo>
                        <a:pt x="70" y="43"/>
                      </a:lnTo>
                      <a:lnTo>
                        <a:pt x="79" y="40"/>
                      </a:lnTo>
                      <a:lnTo>
                        <a:pt x="88" y="36"/>
                      </a:lnTo>
                      <a:lnTo>
                        <a:pt x="97" y="31"/>
                      </a:lnTo>
                      <a:lnTo>
                        <a:pt x="107" y="24"/>
                      </a:lnTo>
                      <a:lnTo>
                        <a:pt x="107" y="0"/>
                      </a:lnTo>
                      <a:lnTo>
                        <a:pt x="98" y="1"/>
                      </a:lnTo>
                      <a:lnTo>
                        <a:pt x="86" y="3"/>
                      </a:lnTo>
                      <a:lnTo>
                        <a:pt x="72" y="7"/>
                      </a:lnTo>
                      <a:lnTo>
                        <a:pt x="56" y="13"/>
                      </a:lnTo>
                      <a:lnTo>
                        <a:pt x="41" y="20"/>
                      </a:lnTo>
                      <a:lnTo>
                        <a:pt x="25" y="28"/>
                      </a:lnTo>
                      <a:lnTo>
                        <a:pt x="19" y="33"/>
                      </a:lnTo>
                      <a:lnTo>
                        <a:pt x="12" y="38"/>
                      </a:lnTo>
                      <a:lnTo>
                        <a:pt x="6" y="43"/>
                      </a:lnTo>
                      <a:lnTo>
                        <a:pt x="0" y="50"/>
                      </a:lnTo>
                    </a:path>
                  </a:pathLst>
                </a:custGeom>
                <a:grpFill/>
                <a:ln w="9525" cap="flat" cmpd="sng">
                  <a:solidFill>
                    <a:schemeClr val="bg1"/>
                  </a:solidFill>
                  <a:prstDash val="solid"/>
                  <a:round/>
                  <a:headEnd type="none" w="med" len="med"/>
                  <a:tailEnd type="none" w="med" len="med"/>
                </a:ln>
                <a:effectLst/>
              </p:spPr>
              <p:txBody>
                <a:bodyPr/>
                <a:lstStyle/>
                <a:p>
                  <a:endParaRPr lang="en-GB" sz="1637"/>
                </a:p>
              </p:txBody>
            </p:sp>
            <p:sp>
              <p:nvSpPr>
                <p:cNvPr id="308" name="Freeform 423"/>
                <p:cNvSpPr>
                  <a:spLocks/>
                </p:cNvSpPr>
                <p:nvPr/>
              </p:nvSpPr>
              <p:spPr bwMode="auto">
                <a:xfrm>
                  <a:off x="1381" y="1244"/>
                  <a:ext cx="79" cy="32"/>
                </a:xfrm>
                <a:custGeom>
                  <a:avLst/>
                  <a:gdLst>
                    <a:gd name="T0" fmla="*/ 9 w 246"/>
                    <a:gd name="T1" fmla="*/ 32 h 99"/>
                    <a:gd name="T2" fmla="*/ 7 w 246"/>
                    <a:gd name="T3" fmla="*/ 31 h 99"/>
                    <a:gd name="T4" fmla="*/ 5 w 246"/>
                    <a:gd name="T5" fmla="*/ 31 h 99"/>
                    <a:gd name="T6" fmla="*/ 4 w 246"/>
                    <a:gd name="T7" fmla="*/ 30 h 99"/>
                    <a:gd name="T8" fmla="*/ 3 w 246"/>
                    <a:gd name="T9" fmla="*/ 29 h 99"/>
                    <a:gd name="T10" fmla="*/ 2 w 246"/>
                    <a:gd name="T11" fmla="*/ 28 h 99"/>
                    <a:gd name="T12" fmla="*/ 1 w 246"/>
                    <a:gd name="T13" fmla="*/ 27 h 99"/>
                    <a:gd name="T14" fmla="*/ 0 w 246"/>
                    <a:gd name="T15" fmla="*/ 25 h 99"/>
                    <a:gd name="T16" fmla="*/ 0 w 246"/>
                    <a:gd name="T17" fmla="*/ 24 h 99"/>
                    <a:gd name="T18" fmla="*/ 0 w 246"/>
                    <a:gd name="T19" fmla="*/ 22 h 99"/>
                    <a:gd name="T20" fmla="*/ 0 w 246"/>
                    <a:gd name="T21" fmla="*/ 21 h 99"/>
                    <a:gd name="T22" fmla="*/ 1 w 246"/>
                    <a:gd name="T23" fmla="*/ 19 h 99"/>
                    <a:gd name="T24" fmla="*/ 2 w 246"/>
                    <a:gd name="T25" fmla="*/ 18 h 99"/>
                    <a:gd name="T26" fmla="*/ 3 w 246"/>
                    <a:gd name="T27" fmla="*/ 16 h 99"/>
                    <a:gd name="T28" fmla="*/ 6 w 246"/>
                    <a:gd name="T29" fmla="*/ 13 h 99"/>
                    <a:gd name="T30" fmla="*/ 8 w 246"/>
                    <a:gd name="T31" fmla="*/ 11 h 99"/>
                    <a:gd name="T32" fmla="*/ 11 w 246"/>
                    <a:gd name="T33" fmla="*/ 9 h 99"/>
                    <a:gd name="T34" fmla="*/ 15 w 246"/>
                    <a:gd name="T35" fmla="*/ 7 h 99"/>
                    <a:gd name="T36" fmla="*/ 18 w 246"/>
                    <a:gd name="T37" fmla="*/ 6 h 99"/>
                    <a:gd name="T38" fmla="*/ 22 w 246"/>
                    <a:gd name="T39" fmla="*/ 5 h 99"/>
                    <a:gd name="T40" fmla="*/ 26 w 246"/>
                    <a:gd name="T41" fmla="*/ 3 h 99"/>
                    <a:gd name="T42" fmla="*/ 30 w 246"/>
                    <a:gd name="T43" fmla="*/ 2 h 99"/>
                    <a:gd name="T44" fmla="*/ 33 w 246"/>
                    <a:gd name="T45" fmla="*/ 1 h 99"/>
                    <a:gd name="T46" fmla="*/ 40 w 246"/>
                    <a:gd name="T47" fmla="*/ 0 h 99"/>
                    <a:gd name="T48" fmla="*/ 45 w 246"/>
                    <a:gd name="T49" fmla="*/ 0 h 99"/>
                    <a:gd name="T50" fmla="*/ 54 w 246"/>
                    <a:gd name="T51" fmla="*/ 0 h 99"/>
                    <a:gd name="T52" fmla="*/ 62 w 246"/>
                    <a:gd name="T53" fmla="*/ 0 h 99"/>
                    <a:gd name="T54" fmla="*/ 70 w 246"/>
                    <a:gd name="T55" fmla="*/ 1 h 99"/>
                    <a:gd name="T56" fmla="*/ 79 w 246"/>
                    <a:gd name="T57" fmla="*/ 2 h 99"/>
                    <a:gd name="T58" fmla="*/ 78 w 246"/>
                    <a:gd name="T59" fmla="*/ 4 h 99"/>
                    <a:gd name="T60" fmla="*/ 77 w 246"/>
                    <a:gd name="T61" fmla="*/ 5 h 99"/>
                    <a:gd name="T62" fmla="*/ 76 w 246"/>
                    <a:gd name="T63" fmla="*/ 6 h 99"/>
                    <a:gd name="T64" fmla="*/ 74 w 246"/>
                    <a:gd name="T65" fmla="*/ 8 h 99"/>
                    <a:gd name="T66" fmla="*/ 69 w 246"/>
                    <a:gd name="T67" fmla="*/ 12 h 99"/>
                    <a:gd name="T68" fmla="*/ 64 w 246"/>
                    <a:gd name="T69" fmla="*/ 15 h 99"/>
                    <a:gd name="T70" fmla="*/ 58 w 246"/>
                    <a:gd name="T71" fmla="*/ 18 h 99"/>
                    <a:gd name="T72" fmla="*/ 52 w 246"/>
                    <a:gd name="T73" fmla="*/ 20 h 99"/>
                    <a:gd name="T74" fmla="*/ 49 w 246"/>
                    <a:gd name="T75" fmla="*/ 21 h 99"/>
                    <a:gd name="T76" fmla="*/ 46 w 246"/>
                    <a:gd name="T77" fmla="*/ 21 h 99"/>
                    <a:gd name="T78" fmla="*/ 43 w 246"/>
                    <a:gd name="T79" fmla="*/ 22 h 99"/>
                    <a:gd name="T80" fmla="*/ 40 w 246"/>
                    <a:gd name="T81" fmla="*/ 22 h 99"/>
                    <a:gd name="T82" fmla="*/ 39 w 246"/>
                    <a:gd name="T83" fmla="*/ 22 h 99"/>
                    <a:gd name="T84" fmla="*/ 35 w 246"/>
                    <a:gd name="T85" fmla="*/ 22 h 99"/>
                    <a:gd name="T86" fmla="*/ 32 w 246"/>
                    <a:gd name="T87" fmla="*/ 22 h 99"/>
                    <a:gd name="T88" fmla="*/ 30 w 246"/>
                    <a:gd name="T89" fmla="*/ 22 h 99"/>
                    <a:gd name="T90" fmla="*/ 28 w 246"/>
                    <a:gd name="T91" fmla="*/ 22 h 99"/>
                    <a:gd name="T92" fmla="*/ 26 w 246"/>
                    <a:gd name="T93" fmla="*/ 23 h 99"/>
                    <a:gd name="T94" fmla="*/ 23 w 246"/>
                    <a:gd name="T95" fmla="*/ 25 h 99"/>
                    <a:gd name="T96" fmla="*/ 20 w 246"/>
                    <a:gd name="T97" fmla="*/ 27 h 99"/>
                    <a:gd name="T98" fmla="*/ 17 w 246"/>
                    <a:gd name="T99" fmla="*/ 28 h 99"/>
                    <a:gd name="T100" fmla="*/ 14 w 246"/>
                    <a:gd name="T101" fmla="*/ 30 h 99"/>
                    <a:gd name="T102" fmla="*/ 11 w 246"/>
                    <a:gd name="T103" fmla="*/ 31 h 99"/>
                    <a:gd name="T104" fmla="*/ 9 w 246"/>
                    <a:gd name="T105" fmla="*/ 32 h 9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46" h="99">
                      <a:moveTo>
                        <a:pt x="27" y="99"/>
                      </a:moveTo>
                      <a:lnTo>
                        <a:pt x="22" y="97"/>
                      </a:lnTo>
                      <a:lnTo>
                        <a:pt x="17" y="96"/>
                      </a:lnTo>
                      <a:lnTo>
                        <a:pt x="12" y="93"/>
                      </a:lnTo>
                      <a:lnTo>
                        <a:pt x="9" y="90"/>
                      </a:lnTo>
                      <a:lnTo>
                        <a:pt x="6" y="86"/>
                      </a:lnTo>
                      <a:lnTo>
                        <a:pt x="2" y="82"/>
                      </a:lnTo>
                      <a:lnTo>
                        <a:pt x="1" y="78"/>
                      </a:lnTo>
                      <a:lnTo>
                        <a:pt x="0" y="73"/>
                      </a:lnTo>
                      <a:lnTo>
                        <a:pt x="0" y="69"/>
                      </a:lnTo>
                      <a:lnTo>
                        <a:pt x="1" y="65"/>
                      </a:lnTo>
                      <a:lnTo>
                        <a:pt x="3" y="60"/>
                      </a:lnTo>
                      <a:lnTo>
                        <a:pt x="5" y="56"/>
                      </a:lnTo>
                      <a:lnTo>
                        <a:pt x="10" y="49"/>
                      </a:lnTo>
                      <a:lnTo>
                        <a:pt x="18" y="41"/>
                      </a:lnTo>
                      <a:lnTo>
                        <a:pt x="25" y="34"/>
                      </a:lnTo>
                      <a:lnTo>
                        <a:pt x="35" y="28"/>
                      </a:lnTo>
                      <a:lnTo>
                        <a:pt x="46" y="23"/>
                      </a:lnTo>
                      <a:lnTo>
                        <a:pt x="57" y="18"/>
                      </a:lnTo>
                      <a:lnTo>
                        <a:pt x="69" y="14"/>
                      </a:lnTo>
                      <a:lnTo>
                        <a:pt x="81" y="10"/>
                      </a:lnTo>
                      <a:lnTo>
                        <a:pt x="92" y="7"/>
                      </a:lnTo>
                      <a:lnTo>
                        <a:pt x="104" y="4"/>
                      </a:lnTo>
                      <a:lnTo>
                        <a:pt x="124" y="1"/>
                      </a:lnTo>
                      <a:lnTo>
                        <a:pt x="140" y="0"/>
                      </a:lnTo>
                      <a:lnTo>
                        <a:pt x="168" y="0"/>
                      </a:lnTo>
                      <a:lnTo>
                        <a:pt x="193" y="1"/>
                      </a:lnTo>
                      <a:lnTo>
                        <a:pt x="219" y="2"/>
                      </a:lnTo>
                      <a:lnTo>
                        <a:pt x="246" y="6"/>
                      </a:lnTo>
                      <a:lnTo>
                        <a:pt x="244" y="11"/>
                      </a:lnTo>
                      <a:lnTo>
                        <a:pt x="241" y="15"/>
                      </a:lnTo>
                      <a:lnTo>
                        <a:pt x="236" y="20"/>
                      </a:lnTo>
                      <a:lnTo>
                        <a:pt x="231" y="26"/>
                      </a:lnTo>
                      <a:lnTo>
                        <a:pt x="215" y="36"/>
                      </a:lnTo>
                      <a:lnTo>
                        <a:pt x="199" y="46"/>
                      </a:lnTo>
                      <a:lnTo>
                        <a:pt x="180" y="55"/>
                      </a:lnTo>
                      <a:lnTo>
                        <a:pt x="162" y="61"/>
                      </a:lnTo>
                      <a:lnTo>
                        <a:pt x="152" y="64"/>
                      </a:lnTo>
                      <a:lnTo>
                        <a:pt x="143" y="66"/>
                      </a:lnTo>
                      <a:lnTo>
                        <a:pt x="134" y="67"/>
                      </a:lnTo>
                      <a:lnTo>
                        <a:pt x="126" y="67"/>
                      </a:lnTo>
                      <a:lnTo>
                        <a:pt x="120" y="67"/>
                      </a:lnTo>
                      <a:lnTo>
                        <a:pt x="110" y="67"/>
                      </a:lnTo>
                      <a:lnTo>
                        <a:pt x="100" y="67"/>
                      </a:lnTo>
                      <a:lnTo>
                        <a:pt x="93" y="67"/>
                      </a:lnTo>
                      <a:lnTo>
                        <a:pt x="88" y="69"/>
                      </a:lnTo>
                      <a:lnTo>
                        <a:pt x="80" y="72"/>
                      </a:lnTo>
                      <a:lnTo>
                        <a:pt x="72" y="77"/>
                      </a:lnTo>
                      <a:lnTo>
                        <a:pt x="63" y="83"/>
                      </a:lnTo>
                      <a:lnTo>
                        <a:pt x="53" y="88"/>
                      </a:lnTo>
                      <a:lnTo>
                        <a:pt x="44" y="93"/>
                      </a:lnTo>
                      <a:lnTo>
                        <a:pt x="35" y="96"/>
                      </a:lnTo>
                      <a:lnTo>
                        <a:pt x="27" y="99"/>
                      </a:lnTo>
                    </a:path>
                  </a:pathLst>
                </a:custGeom>
                <a:grpFill/>
                <a:ln w="9525" cap="flat" cmpd="sng">
                  <a:solidFill>
                    <a:schemeClr val="bg1"/>
                  </a:solidFill>
                  <a:prstDash val="solid"/>
                  <a:round/>
                  <a:headEnd type="none" w="med" len="med"/>
                  <a:tailEnd type="none" w="med" len="med"/>
                </a:ln>
                <a:effectLst/>
              </p:spPr>
              <p:txBody>
                <a:bodyPr/>
                <a:lstStyle/>
                <a:p>
                  <a:endParaRPr lang="en-GB" sz="1637"/>
                </a:p>
              </p:txBody>
            </p:sp>
            <p:sp>
              <p:nvSpPr>
                <p:cNvPr id="309" name="Freeform 424"/>
                <p:cNvSpPr>
                  <a:spLocks/>
                </p:cNvSpPr>
                <p:nvPr/>
              </p:nvSpPr>
              <p:spPr bwMode="auto">
                <a:xfrm>
                  <a:off x="1294" y="1248"/>
                  <a:ext cx="76" cy="40"/>
                </a:xfrm>
                <a:custGeom>
                  <a:avLst/>
                  <a:gdLst>
                    <a:gd name="T0" fmla="*/ 11 w 233"/>
                    <a:gd name="T1" fmla="*/ 29 h 123"/>
                    <a:gd name="T2" fmla="*/ 3 w 233"/>
                    <a:gd name="T3" fmla="*/ 25 h 123"/>
                    <a:gd name="T4" fmla="*/ 0 w 233"/>
                    <a:gd name="T5" fmla="*/ 18 h 123"/>
                    <a:gd name="T6" fmla="*/ 7 w 233"/>
                    <a:gd name="T7" fmla="*/ 12 h 123"/>
                    <a:gd name="T8" fmla="*/ 13 w 233"/>
                    <a:gd name="T9" fmla="*/ 12 h 123"/>
                    <a:gd name="T10" fmla="*/ 20 w 233"/>
                    <a:gd name="T11" fmla="*/ 12 h 123"/>
                    <a:gd name="T12" fmla="*/ 23 w 233"/>
                    <a:gd name="T13" fmla="*/ 12 h 123"/>
                    <a:gd name="T14" fmla="*/ 27 w 233"/>
                    <a:gd name="T15" fmla="*/ 11 h 123"/>
                    <a:gd name="T16" fmla="*/ 34 w 233"/>
                    <a:gd name="T17" fmla="*/ 7 h 123"/>
                    <a:gd name="T18" fmla="*/ 40 w 233"/>
                    <a:gd name="T19" fmla="*/ 4 h 123"/>
                    <a:gd name="T20" fmla="*/ 48 w 233"/>
                    <a:gd name="T21" fmla="*/ 0 h 123"/>
                    <a:gd name="T22" fmla="*/ 53 w 233"/>
                    <a:gd name="T23" fmla="*/ 3 h 123"/>
                    <a:gd name="T24" fmla="*/ 59 w 233"/>
                    <a:gd name="T25" fmla="*/ 4 h 123"/>
                    <a:gd name="T26" fmla="*/ 62 w 233"/>
                    <a:gd name="T27" fmla="*/ 3 h 123"/>
                    <a:gd name="T28" fmla="*/ 66 w 233"/>
                    <a:gd name="T29" fmla="*/ 2 h 123"/>
                    <a:gd name="T30" fmla="*/ 69 w 233"/>
                    <a:gd name="T31" fmla="*/ 0 h 123"/>
                    <a:gd name="T32" fmla="*/ 76 w 233"/>
                    <a:gd name="T33" fmla="*/ 2 h 123"/>
                    <a:gd name="T34" fmla="*/ 74 w 233"/>
                    <a:gd name="T35" fmla="*/ 6 h 123"/>
                    <a:gd name="T36" fmla="*/ 71 w 233"/>
                    <a:gd name="T37" fmla="*/ 8 h 123"/>
                    <a:gd name="T38" fmla="*/ 68 w 233"/>
                    <a:gd name="T39" fmla="*/ 10 h 123"/>
                    <a:gd name="T40" fmla="*/ 66 w 233"/>
                    <a:gd name="T41" fmla="*/ 14 h 123"/>
                    <a:gd name="T42" fmla="*/ 67 w 233"/>
                    <a:gd name="T43" fmla="*/ 20 h 123"/>
                    <a:gd name="T44" fmla="*/ 60 w 233"/>
                    <a:gd name="T45" fmla="*/ 28 h 123"/>
                    <a:gd name="T46" fmla="*/ 51 w 233"/>
                    <a:gd name="T47" fmla="*/ 31 h 123"/>
                    <a:gd name="T48" fmla="*/ 45 w 233"/>
                    <a:gd name="T49" fmla="*/ 32 h 123"/>
                    <a:gd name="T50" fmla="*/ 38 w 233"/>
                    <a:gd name="T51" fmla="*/ 33 h 123"/>
                    <a:gd name="T52" fmla="*/ 31 w 233"/>
                    <a:gd name="T53" fmla="*/ 34 h 123"/>
                    <a:gd name="T54" fmla="*/ 27 w 233"/>
                    <a:gd name="T55" fmla="*/ 37 h 123"/>
                    <a:gd name="T56" fmla="*/ 22 w 233"/>
                    <a:gd name="T57" fmla="*/ 40 h 123"/>
                    <a:gd name="T58" fmla="*/ 19 w 233"/>
                    <a:gd name="T59" fmla="*/ 40 h 123"/>
                    <a:gd name="T60" fmla="*/ 17 w 233"/>
                    <a:gd name="T61" fmla="*/ 37 h 123"/>
                    <a:gd name="T62" fmla="*/ 16 w 233"/>
                    <a:gd name="T63" fmla="*/ 33 h 12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33" h="123">
                      <a:moveTo>
                        <a:pt x="47" y="93"/>
                      </a:moveTo>
                      <a:lnTo>
                        <a:pt x="33" y="88"/>
                      </a:lnTo>
                      <a:lnTo>
                        <a:pt x="21" y="83"/>
                      </a:lnTo>
                      <a:lnTo>
                        <a:pt x="10" y="78"/>
                      </a:lnTo>
                      <a:lnTo>
                        <a:pt x="0" y="74"/>
                      </a:lnTo>
                      <a:lnTo>
                        <a:pt x="0" y="55"/>
                      </a:lnTo>
                      <a:lnTo>
                        <a:pt x="10" y="46"/>
                      </a:lnTo>
                      <a:lnTo>
                        <a:pt x="20" y="37"/>
                      </a:lnTo>
                      <a:lnTo>
                        <a:pt x="30" y="37"/>
                      </a:lnTo>
                      <a:lnTo>
                        <a:pt x="40" y="37"/>
                      </a:lnTo>
                      <a:lnTo>
                        <a:pt x="51" y="37"/>
                      </a:lnTo>
                      <a:lnTo>
                        <a:pt x="61" y="37"/>
                      </a:lnTo>
                      <a:lnTo>
                        <a:pt x="66" y="37"/>
                      </a:lnTo>
                      <a:lnTo>
                        <a:pt x="72" y="36"/>
                      </a:lnTo>
                      <a:lnTo>
                        <a:pt x="77" y="35"/>
                      </a:lnTo>
                      <a:lnTo>
                        <a:pt x="83" y="33"/>
                      </a:lnTo>
                      <a:lnTo>
                        <a:pt x="94" y="28"/>
                      </a:lnTo>
                      <a:lnTo>
                        <a:pt x="104" y="23"/>
                      </a:lnTo>
                      <a:lnTo>
                        <a:pt x="114" y="17"/>
                      </a:lnTo>
                      <a:lnTo>
                        <a:pt x="123" y="11"/>
                      </a:lnTo>
                      <a:lnTo>
                        <a:pt x="134" y="5"/>
                      </a:lnTo>
                      <a:lnTo>
                        <a:pt x="146" y="0"/>
                      </a:lnTo>
                      <a:lnTo>
                        <a:pt x="153" y="4"/>
                      </a:lnTo>
                      <a:lnTo>
                        <a:pt x="161" y="8"/>
                      </a:lnTo>
                      <a:lnTo>
                        <a:pt x="171" y="11"/>
                      </a:lnTo>
                      <a:lnTo>
                        <a:pt x="181" y="12"/>
                      </a:lnTo>
                      <a:lnTo>
                        <a:pt x="185" y="12"/>
                      </a:lnTo>
                      <a:lnTo>
                        <a:pt x="190" y="10"/>
                      </a:lnTo>
                      <a:lnTo>
                        <a:pt x="196" y="8"/>
                      </a:lnTo>
                      <a:lnTo>
                        <a:pt x="201" y="6"/>
                      </a:lnTo>
                      <a:lnTo>
                        <a:pt x="210" y="2"/>
                      </a:lnTo>
                      <a:lnTo>
                        <a:pt x="213" y="0"/>
                      </a:lnTo>
                      <a:lnTo>
                        <a:pt x="233" y="0"/>
                      </a:lnTo>
                      <a:lnTo>
                        <a:pt x="232" y="6"/>
                      </a:lnTo>
                      <a:lnTo>
                        <a:pt x="231" y="12"/>
                      </a:lnTo>
                      <a:lnTo>
                        <a:pt x="228" y="18"/>
                      </a:lnTo>
                      <a:lnTo>
                        <a:pt x="224" y="22"/>
                      </a:lnTo>
                      <a:lnTo>
                        <a:pt x="219" y="25"/>
                      </a:lnTo>
                      <a:lnTo>
                        <a:pt x="213" y="28"/>
                      </a:lnTo>
                      <a:lnTo>
                        <a:pt x="207" y="30"/>
                      </a:lnTo>
                      <a:lnTo>
                        <a:pt x="200" y="30"/>
                      </a:lnTo>
                      <a:lnTo>
                        <a:pt x="201" y="43"/>
                      </a:lnTo>
                      <a:lnTo>
                        <a:pt x="204" y="52"/>
                      </a:lnTo>
                      <a:lnTo>
                        <a:pt x="206" y="62"/>
                      </a:lnTo>
                      <a:lnTo>
                        <a:pt x="207" y="74"/>
                      </a:lnTo>
                      <a:lnTo>
                        <a:pt x="185" y="85"/>
                      </a:lnTo>
                      <a:lnTo>
                        <a:pt x="166" y="93"/>
                      </a:lnTo>
                      <a:lnTo>
                        <a:pt x="157" y="96"/>
                      </a:lnTo>
                      <a:lnTo>
                        <a:pt x="149" y="98"/>
                      </a:lnTo>
                      <a:lnTo>
                        <a:pt x="139" y="98"/>
                      </a:lnTo>
                      <a:lnTo>
                        <a:pt x="127" y="99"/>
                      </a:lnTo>
                      <a:lnTo>
                        <a:pt x="116" y="100"/>
                      </a:lnTo>
                      <a:lnTo>
                        <a:pt x="105" y="103"/>
                      </a:lnTo>
                      <a:lnTo>
                        <a:pt x="96" y="106"/>
                      </a:lnTo>
                      <a:lnTo>
                        <a:pt x="88" y="111"/>
                      </a:lnTo>
                      <a:lnTo>
                        <a:pt x="82" y="115"/>
                      </a:lnTo>
                      <a:lnTo>
                        <a:pt x="74" y="119"/>
                      </a:lnTo>
                      <a:lnTo>
                        <a:pt x="67" y="122"/>
                      </a:lnTo>
                      <a:lnTo>
                        <a:pt x="61" y="123"/>
                      </a:lnTo>
                      <a:lnTo>
                        <a:pt x="58" y="122"/>
                      </a:lnTo>
                      <a:lnTo>
                        <a:pt x="55" y="119"/>
                      </a:lnTo>
                      <a:lnTo>
                        <a:pt x="53" y="115"/>
                      </a:lnTo>
                      <a:lnTo>
                        <a:pt x="51" y="110"/>
                      </a:lnTo>
                      <a:lnTo>
                        <a:pt x="48" y="100"/>
                      </a:lnTo>
                      <a:lnTo>
                        <a:pt x="47" y="93"/>
                      </a:lnTo>
                    </a:path>
                  </a:pathLst>
                </a:custGeom>
                <a:grpFill/>
                <a:ln w="9525" cap="flat" cmpd="sng">
                  <a:solidFill>
                    <a:schemeClr val="bg1"/>
                  </a:solidFill>
                  <a:prstDash val="solid"/>
                  <a:round/>
                  <a:headEnd type="none" w="med" len="med"/>
                  <a:tailEnd type="none" w="med" len="med"/>
                </a:ln>
                <a:effectLst/>
              </p:spPr>
              <p:txBody>
                <a:bodyPr/>
                <a:lstStyle/>
                <a:p>
                  <a:endParaRPr lang="en-GB" sz="1637"/>
                </a:p>
              </p:txBody>
            </p:sp>
            <p:sp>
              <p:nvSpPr>
                <p:cNvPr id="310" name="Freeform 425"/>
                <p:cNvSpPr>
                  <a:spLocks/>
                </p:cNvSpPr>
                <p:nvPr/>
              </p:nvSpPr>
              <p:spPr bwMode="auto">
                <a:xfrm>
                  <a:off x="983" y="1236"/>
                  <a:ext cx="157" cy="56"/>
                </a:xfrm>
                <a:custGeom>
                  <a:avLst/>
                  <a:gdLst>
                    <a:gd name="T0" fmla="*/ 0 w 484"/>
                    <a:gd name="T1" fmla="*/ 48 h 172"/>
                    <a:gd name="T2" fmla="*/ 1 w 484"/>
                    <a:gd name="T3" fmla="*/ 51 h 172"/>
                    <a:gd name="T4" fmla="*/ 3 w 484"/>
                    <a:gd name="T5" fmla="*/ 53 h 172"/>
                    <a:gd name="T6" fmla="*/ 6 w 484"/>
                    <a:gd name="T7" fmla="*/ 54 h 172"/>
                    <a:gd name="T8" fmla="*/ 10 w 484"/>
                    <a:gd name="T9" fmla="*/ 55 h 172"/>
                    <a:gd name="T10" fmla="*/ 17 w 484"/>
                    <a:gd name="T11" fmla="*/ 56 h 172"/>
                    <a:gd name="T12" fmla="*/ 24 w 484"/>
                    <a:gd name="T13" fmla="*/ 56 h 172"/>
                    <a:gd name="T14" fmla="*/ 32 w 484"/>
                    <a:gd name="T15" fmla="*/ 54 h 172"/>
                    <a:gd name="T16" fmla="*/ 45 w 484"/>
                    <a:gd name="T17" fmla="*/ 51 h 172"/>
                    <a:gd name="T18" fmla="*/ 61 w 484"/>
                    <a:gd name="T19" fmla="*/ 44 h 172"/>
                    <a:gd name="T20" fmla="*/ 78 w 484"/>
                    <a:gd name="T21" fmla="*/ 37 h 172"/>
                    <a:gd name="T22" fmla="*/ 93 w 484"/>
                    <a:gd name="T23" fmla="*/ 33 h 172"/>
                    <a:gd name="T24" fmla="*/ 114 w 484"/>
                    <a:gd name="T25" fmla="*/ 28 h 172"/>
                    <a:gd name="T26" fmla="*/ 130 w 484"/>
                    <a:gd name="T27" fmla="*/ 24 h 172"/>
                    <a:gd name="T28" fmla="*/ 141 w 484"/>
                    <a:gd name="T29" fmla="*/ 21 h 172"/>
                    <a:gd name="T30" fmla="*/ 150 w 484"/>
                    <a:gd name="T31" fmla="*/ 17 h 172"/>
                    <a:gd name="T32" fmla="*/ 154 w 484"/>
                    <a:gd name="T33" fmla="*/ 14 h 172"/>
                    <a:gd name="T34" fmla="*/ 156 w 484"/>
                    <a:gd name="T35" fmla="*/ 11 h 172"/>
                    <a:gd name="T36" fmla="*/ 146 w 484"/>
                    <a:gd name="T37" fmla="*/ 8 h 172"/>
                    <a:gd name="T38" fmla="*/ 126 w 484"/>
                    <a:gd name="T39" fmla="*/ 5 h 172"/>
                    <a:gd name="T40" fmla="*/ 107 w 484"/>
                    <a:gd name="T41" fmla="*/ 2 h 172"/>
                    <a:gd name="T42" fmla="*/ 88 w 484"/>
                    <a:gd name="T43" fmla="*/ 0 h 172"/>
                    <a:gd name="T44" fmla="*/ 73 w 484"/>
                    <a:gd name="T45" fmla="*/ 0 h 172"/>
                    <a:gd name="T46" fmla="*/ 66 w 484"/>
                    <a:gd name="T47" fmla="*/ 1 h 172"/>
                    <a:gd name="T48" fmla="*/ 60 w 484"/>
                    <a:gd name="T49" fmla="*/ 3 h 172"/>
                    <a:gd name="T50" fmla="*/ 57 w 484"/>
                    <a:gd name="T51" fmla="*/ 2 h 172"/>
                    <a:gd name="T52" fmla="*/ 55 w 484"/>
                    <a:gd name="T53" fmla="*/ 1 h 172"/>
                    <a:gd name="T54" fmla="*/ 54 w 484"/>
                    <a:gd name="T55" fmla="*/ 3 h 172"/>
                    <a:gd name="T56" fmla="*/ 52 w 484"/>
                    <a:gd name="T57" fmla="*/ 8 h 172"/>
                    <a:gd name="T58" fmla="*/ 50 w 484"/>
                    <a:gd name="T59" fmla="*/ 12 h 172"/>
                    <a:gd name="T60" fmla="*/ 47 w 484"/>
                    <a:gd name="T61" fmla="*/ 15 h 172"/>
                    <a:gd name="T62" fmla="*/ 41 w 484"/>
                    <a:gd name="T63" fmla="*/ 19 h 172"/>
                    <a:gd name="T64" fmla="*/ 31 w 484"/>
                    <a:gd name="T65" fmla="*/ 22 h 172"/>
                    <a:gd name="T66" fmla="*/ 21 w 484"/>
                    <a:gd name="T67" fmla="*/ 25 h 172"/>
                    <a:gd name="T68" fmla="*/ 12 w 484"/>
                    <a:gd name="T69" fmla="*/ 29 h 172"/>
                    <a:gd name="T70" fmla="*/ 6 w 484"/>
                    <a:gd name="T71" fmla="*/ 32 h 172"/>
                    <a:gd name="T72" fmla="*/ 3 w 484"/>
                    <a:gd name="T73" fmla="*/ 35 h 172"/>
                    <a:gd name="T74" fmla="*/ 1 w 484"/>
                    <a:gd name="T75" fmla="*/ 39 h 172"/>
                    <a:gd name="T76" fmla="*/ 0 w 484"/>
                    <a:gd name="T77" fmla="*/ 44 h 17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484" h="172">
                      <a:moveTo>
                        <a:pt x="0" y="142"/>
                      </a:moveTo>
                      <a:lnTo>
                        <a:pt x="0" y="147"/>
                      </a:lnTo>
                      <a:lnTo>
                        <a:pt x="1" y="152"/>
                      </a:lnTo>
                      <a:lnTo>
                        <a:pt x="3" y="156"/>
                      </a:lnTo>
                      <a:lnTo>
                        <a:pt x="6" y="159"/>
                      </a:lnTo>
                      <a:lnTo>
                        <a:pt x="9" y="162"/>
                      </a:lnTo>
                      <a:lnTo>
                        <a:pt x="13" y="165"/>
                      </a:lnTo>
                      <a:lnTo>
                        <a:pt x="17" y="167"/>
                      </a:lnTo>
                      <a:lnTo>
                        <a:pt x="21" y="168"/>
                      </a:lnTo>
                      <a:lnTo>
                        <a:pt x="31" y="170"/>
                      </a:lnTo>
                      <a:lnTo>
                        <a:pt x="41" y="172"/>
                      </a:lnTo>
                      <a:lnTo>
                        <a:pt x="51" y="172"/>
                      </a:lnTo>
                      <a:lnTo>
                        <a:pt x="59" y="172"/>
                      </a:lnTo>
                      <a:lnTo>
                        <a:pt x="73" y="172"/>
                      </a:lnTo>
                      <a:lnTo>
                        <a:pt x="86" y="170"/>
                      </a:lnTo>
                      <a:lnTo>
                        <a:pt x="99" y="167"/>
                      </a:lnTo>
                      <a:lnTo>
                        <a:pt x="113" y="164"/>
                      </a:lnTo>
                      <a:lnTo>
                        <a:pt x="139" y="156"/>
                      </a:lnTo>
                      <a:lnTo>
                        <a:pt x="164" y="146"/>
                      </a:lnTo>
                      <a:lnTo>
                        <a:pt x="189" y="135"/>
                      </a:lnTo>
                      <a:lnTo>
                        <a:pt x="215" y="124"/>
                      </a:lnTo>
                      <a:lnTo>
                        <a:pt x="240" y="113"/>
                      </a:lnTo>
                      <a:lnTo>
                        <a:pt x="265" y="104"/>
                      </a:lnTo>
                      <a:lnTo>
                        <a:pt x="287" y="100"/>
                      </a:lnTo>
                      <a:lnTo>
                        <a:pt x="316" y="94"/>
                      </a:lnTo>
                      <a:lnTo>
                        <a:pt x="350" y="87"/>
                      </a:lnTo>
                      <a:lnTo>
                        <a:pt x="385" y="80"/>
                      </a:lnTo>
                      <a:lnTo>
                        <a:pt x="401" y="75"/>
                      </a:lnTo>
                      <a:lnTo>
                        <a:pt x="418" y="70"/>
                      </a:lnTo>
                      <a:lnTo>
                        <a:pt x="434" y="64"/>
                      </a:lnTo>
                      <a:lnTo>
                        <a:pt x="449" y="58"/>
                      </a:lnTo>
                      <a:lnTo>
                        <a:pt x="461" y="52"/>
                      </a:lnTo>
                      <a:lnTo>
                        <a:pt x="471" y="46"/>
                      </a:lnTo>
                      <a:lnTo>
                        <a:pt x="475" y="42"/>
                      </a:lnTo>
                      <a:lnTo>
                        <a:pt x="479" y="39"/>
                      </a:lnTo>
                      <a:lnTo>
                        <a:pt x="482" y="35"/>
                      </a:lnTo>
                      <a:lnTo>
                        <a:pt x="484" y="31"/>
                      </a:lnTo>
                      <a:lnTo>
                        <a:pt x="449" y="26"/>
                      </a:lnTo>
                      <a:lnTo>
                        <a:pt x="417" y="21"/>
                      </a:lnTo>
                      <a:lnTo>
                        <a:pt x="387" y="16"/>
                      </a:lnTo>
                      <a:lnTo>
                        <a:pt x="359" y="10"/>
                      </a:lnTo>
                      <a:lnTo>
                        <a:pt x="331" y="6"/>
                      </a:lnTo>
                      <a:lnTo>
                        <a:pt x="303" y="3"/>
                      </a:lnTo>
                      <a:lnTo>
                        <a:pt x="272" y="0"/>
                      </a:lnTo>
                      <a:lnTo>
                        <a:pt x="239" y="0"/>
                      </a:lnTo>
                      <a:lnTo>
                        <a:pt x="225" y="0"/>
                      </a:lnTo>
                      <a:lnTo>
                        <a:pt x="213" y="2"/>
                      </a:lnTo>
                      <a:lnTo>
                        <a:pt x="203" y="4"/>
                      </a:lnTo>
                      <a:lnTo>
                        <a:pt x="195" y="6"/>
                      </a:lnTo>
                      <a:lnTo>
                        <a:pt x="186" y="8"/>
                      </a:lnTo>
                      <a:lnTo>
                        <a:pt x="180" y="7"/>
                      </a:lnTo>
                      <a:lnTo>
                        <a:pt x="176" y="6"/>
                      </a:lnTo>
                      <a:lnTo>
                        <a:pt x="173" y="5"/>
                      </a:lnTo>
                      <a:lnTo>
                        <a:pt x="169" y="3"/>
                      </a:lnTo>
                      <a:lnTo>
                        <a:pt x="165" y="0"/>
                      </a:lnTo>
                      <a:lnTo>
                        <a:pt x="165" y="8"/>
                      </a:lnTo>
                      <a:lnTo>
                        <a:pt x="163" y="17"/>
                      </a:lnTo>
                      <a:lnTo>
                        <a:pt x="161" y="24"/>
                      </a:lnTo>
                      <a:lnTo>
                        <a:pt x="159" y="31"/>
                      </a:lnTo>
                      <a:lnTo>
                        <a:pt x="154" y="36"/>
                      </a:lnTo>
                      <a:lnTo>
                        <a:pt x="150" y="42"/>
                      </a:lnTo>
                      <a:lnTo>
                        <a:pt x="144" y="46"/>
                      </a:lnTo>
                      <a:lnTo>
                        <a:pt x="139" y="50"/>
                      </a:lnTo>
                      <a:lnTo>
                        <a:pt x="127" y="58"/>
                      </a:lnTo>
                      <a:lnTo>
                        <a:pt x="113" y="63"/>
                      </a:lnTo>
                      <a:lnTo>
                        <a:pt x="97" y="69"/>
                      </a:lnTo>
                      <a:lnTo>
                        <a:pt x="82" y="73"/>
                      </a:lnTo>
                      <a:lnTo>
                        <a:pt x="66" y="78"/>
                      </a:lnTo>
                      <a:lnTo>
                        <a:pt x="52" y="82"/>
                      </a:lnTo>
                      <a:lnTo>
                        <a:pt x="38" y="88"/>
                      </a:lnTo>
                      <a:lnTo>
                        <a:pt x="25" y="94"/>
                      </a:lnTo>
                      <a:lnTo>
                        <a:pt x="19" y="98"/>
                      </a:lnTo>
                      <a:lnTo>
                        <a:pt x="15" y="103"/>
                      </a:lnTo>
                      <a:lnTo>
                        <a:pt x="10" y="107"/>
                      </a:lnTo>
                      <a:lnTo>
                        <a:pt x="6" y="113"/>
                      </a:lnTo>
                      <a:lnTo>
                        <a:pt x="3" y="119"/>
                      </a:lnTo>
                      <a:lnTo>
                        <a:pt x="1" y="126"/>
                      </a:lnTo>
                      <a:lnTo>
                        <a:pt x="0" y="134"/>
                      </a:lnTo>
                      <a:lnTo>
                        <a:pt x="0" y="142"/>
                      </a:lnTo>
                    </a:path>
                  </a:pathLst>
                </a:custGeom>
                <a:grpFill/>
                <a:ln w="9525" cap="flat" cmpd="sng">
                  <a:solidFill>
                    <a:schemeClr val="bg1"/>
                  </a:solidFill>
                  <a:prstDash val="solid"/>
                  <a:round/>
                  <a:headEnd type="none" w="med" len="med"/>
                  <a:tailEnd type="none" w="med" len="med"/>
                </a:ln>
                <a:effectLst/>
              </p:spPr>
              <p:txBody>
                <a:bodyPr/>
                <a:lstStyle/>
                <a:p>
                  <a:endParaRPr lang="en-GB" sz="1637"/>
                </a:p>
              </p:txBody>
            </p:sp>
            <p:sp>
              <p:nvSpPr>
                <p:cNvPr id="311" name="Freeform 426"/>
                <p:cNvSpPr>
                  <a:spLocks/>
                </p:cNvSpPr>
                <p:nvPr/>
              </p:nvSpPr>
              <p:spPr bwMode="auto">
                <a:xfrm>
                  <a:off x="1043" y="1255"/>
                  <a:ext cx="221" cy="79"/>
                </a:xfrm>
                <a:custGeom>
                  <a:avLst/>
                  <a:gdLst>
                    <a:gd name="T0" fmla="*/ 102 w 684"/>
                    <a:gd name="T1" fmla="*/ 2 h 240"/>
                    <a:gd name="T2" fmla="*/ 98 w 684"/>
                    <a:gd name="T3" fmla="*/ 9 h 240"/>
                    <a:gd name="T4" fmla="*/ 96 w 684"/>
                    <a:gd name="T5" fmla="*/ 13 h 240"/>
                    <a:gd name="T6" fmla="*/ 97 w 684"/>
                    <a:gd name="T7" fmla="*/ 14 h 240"/>
                    <a:gd name="T8" fmla="*/ 109 w 684"/>
                    <a:gd name="T9" fmla="*/ 13 h 240"/>
                    <a:gd name="T10" fmla="*/ 120 w 684"/>
                    <a:gd name="T11" fmla="*/ 6 h 240"/>
                    <a:gd name="T12" fmla="*/ 122 w 684"/>
                    <a:gd name="T13" fmla="*/ 13 h 240"/>
                    <a:gd name="T14" fmla="*/ 122 w 684"/>
                    <a:gd name="T15" fmla="*/ 18 h 240"/>
                    <a:gd name="T16" fmla="*/ 131 w 684"/>
                    <a:gd name="T17" fmla="*/ 23 h 240"/>
                    <a:gd name="T18" fmla="*/ 165 w 684"/>
                    <a:gd name="T19" fmla="*/ 17 h 240"/>
                    <a:gd name="T20" fmla="*/ 166 w 684"/>
                    <a:gd name="T21" fmla="*/ 23 h 240"/>
                    <a:gd name="T22" fmla="*/ 175 w 684"/>
                    <a:gd name="T23" fmla="*/ 21 h 240"/>
                    <a:gd name="T24" fmla="*/ 180 w 684"/>
                    <a:gd name="T25" fmla="*/ 15 h 240"/>
                    <a:gd name="T26" fmla="*/ 180 w 684"/>
                    <a:gd name="T27" fmla="*/ 6 h 240"/>
                    <a:gd name="T28" fmla="*/ 182 w 684"/>
                    <a:gd name="T29" fmla="*/ 3 h 240"/>
                    <a:gd name="T30" fmla="*/ 187 w 684"/>
                    <a:gd name="T31" fmla="*/ 0 h 240"/>
                    <a:gd name="T32" fmla="*/ 202 w 684"/>
                    <a:gd name="T33" fmla="*/ 1 h 240"/>
                    <a:gd name="T34" fmla="*/ 208 w 684"/>
                    <a:gd name="T35" fmla="*/ 0 h 240"/>
                    <a:gd name="T36" fmla="*/ 212 w 684"/>
                    <a:gd name="T37" fmla="*/ 13 h 240"/>
                    <a:gd name="T38" fmla="*/ 211 w 684"/>
                    <a:gd name="T39" fmla="*/ 23 h 240"/>
                    <a:gd name="T40" fmla="*/ 206 w 684"/>
                    <a:gd name="T41" fmla="*/ 33 h 240"/>
                    <a:gd name="T42" fmla="*/ 200 w 684"/>
                    <a:gd name="T43" fmla="*/ 41 h 240"/>
                    <a:gd name="T44" fmla="*/ 209 w 684"/>
                    <a:gd name="T45" fmla="*/ 45 h 240"/>
                    <a:gd name="T46" fmla="*/ 217 w 684"/>
                    <a:gd name="T47" fmla="*/ 48 h 240"/>
                    <a:gd name="T48" fmla="*/ 221 w 684"/>
                    <a:gd name="T49" fmla="*/ 59 h 240"/>
                    <a:gd name="T50" fmla="*/ 206 w 684"/>
                    <a:gd name="T51" fmla="*/ 61 h 240"/>
                    <a:gd name="T52" fmla="*/ 196 w 684"/>
                    <a:gd name="T53" fmla="*/ 60 h 240"/>
                    <a:gd name="T54" fmla="*/ 185 w 684"/>
                    <a:gd name="T55" fmla="*/ 59 h 240"/>
                    <a:gd name="T56" fmla="*/ 182 w 684"/>
                    <a:gd name="T57" fmla="*/ 61 h 240"/>
                    <a:gd name="T58" fmla="*/ 175 w 684"/>
                    <a:gd name="T59" fmla="*/ 66 h 240"/>
                    <a:gd name="T60" fmla="*/ 169 w 684"/>
                    <a:gd name="T61" fmla="*/ 69 h 240"/>
                    <a:gd name="T62" fmla="*/ 159 w 684"/>
                    <a:gd name="T63" fmla="*/ 69 h 240"/>
                    <a:gd name="T64" fmla="*/ 146 w 684"/>
                    <a:gd name="T65" fmla="*/ 67 h 240"/>
                    <a:gd name="T66" fmla="*/ 136 w 684"/>
                    <a:gd name="T67" fmla="*/ 65 h 240"/>
                    <a:gd name="T68" fmla="*/ 109 w 684"/>
                    <a:gd name="T69" fmla="*/ 69 h 240"/>
                    <a:gd name="T70" fmla="*/ 75 w 684"/>
                    <a:gd name="T71" fmla="*/ 76 h 240"/>
                    <a:gd name="T72" fmla="*/ 55 w 684"/>
                    <a:gd name="T73" fmla="*/ 78 h 240"/>
                    <a:gd name="T74" fmla="*/ 40 w 684"/>
                    <a:gd name="T75" fmla="*/ 78 h 240"/>
                    <a:gd name="T76" fmla="*/ 32 w 684"/>
                    <a:gd name="T77" fmla="*/ 75 h 240"/>
                    <a:gd name="T78" fmla="*/ 22 w 684"/>
                    <a:gd name="T79" fmla="*/ 68 h 240"/>
                    <a:gd name="T80" fmla="*/ 9 w 684"/>
                    <a:gd name="T81" fmla="*/ 65 h 240"/>
                    <a:gd name="T82" fmla="*/ 0 w 684"/>
                    <a:gd name="T83" fmla="*/ 57 h 240"/>
                    <a:gd name="T84" fmla="*/ 21 w 684"/>
                    <a:gd name="T85" fmla="*/ 52 h 240"/>
                    <a:gd name="T86" fmla="*/ 32 w 684"/>
                    <a:gd name="T87" fmla="*/ 51 h 240"/>
                    <a:gd name="T88" fmla="*/ 50 w 684"/>
                    <a:gd name="T89" fmla="*/ 53 h 240"/>
                    <a:gd name="T90" fmla="*/ 65 w 684"/>
                    <a:gd name="T91" fmla="*/ 54 h 240"/>
                    <a:gd name="T92" fmla="*/ 72 w 684"/>
                    <a:gd name="T93" fmla="*/ 53 h 240"/>
                    <a:gd name="T94" fmla="*/ 8 w 684"/>
                    <a:gd name="T95" fmla="*/ 45 h 240"/>
                    <a:gd name="T96" fmla="*/ 17 w 684"/>
                    <a:gd name="T97" fmla="*/ 42 h 240"/>
                    <a:gd name="T98" fmla="*/ 35 w 684"/>
                    <a:gd name="T99" fmla="*/ 39 h 240"/>
                    <a:gd name="T100" fmla="*/ 53 w 684"/>
                    <a:gd name="T101" fmla="*/ 36 h 240"/>
                    <a:gd name="T102" fmla="*/ 60 w 684"/>
                    <a:gd name="T103" fmla="*/ 33 h 240"/>
                    <a:gd name="T104" fmla="*/ 54 w 684"/>
                    <a:gd name="T105" fmla="*/ 31 h 240"/>
                    <a:gd name="T106" fmla="*/ 40 w 684"/>
                    <a:gd name="T107" fmla="*/ 32 h 240"/>
                    <a:gd name="T108" fmla="*/ 23 w 684"/>
                    <a:gd name="T109" fmla="*/ 36 h 240"/>
                    <a:gd name="T110" fmla="*/ 17 w 684"/>
                    <a:gd name="T111" fmla="*/ 35 h 240"/>
                    <a:gd name="T112" fmla="*/ 18 w 684"/>
                    <a:gd name="T113" fmla="*/ 30 h 240"/>
                    <a:gd name="T114" fmla="*/ 17 w 684"/>
                    <a:gd name="T115" fmla="*/ 27 h 240"/>
                    <a:gd name="T116" fmla="*/ 19 w 684"/>
                    <a:gd name="T117" fmla="*/ 26 h 24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684" h="240">
                      <a:moveTo>
                        <a:pt x="60" y="75"/>
                      </a:moveTo>
                      <a:lnTo>
                        <a:pt x="320" y="0"/>
                      </a:lnTo>
                      <a:lnTo>
                        <a:pt x="317" y="5"/>
                      </a:lnTo>
                      <a:lnTo>
                        <a:pt x="314" y="13"/>
                      </a:lnTo>
                      <a:lnTo>
                        <a:pt x="310" y="20"/>
                      </a:lnTo>
                      <a:lnTo>
                        <a:pt x="304" y="27"/>
                      </a:lnTo>
                      <a:lnTo>
                        <a:pt x="300" y="33"/>
                      </a:lnTo>
                      <a:lnTo>
                        <a:pt x="297" y="39"/>
                      </a:lnTo>
                      <a:lnTo>
                        <a:pt x="297" y="41"/>
                      </a:lnTo>
                      <a:lnTo>
                        <a:pt x="297" y="42"/>
                      </a:lnTo>
                      <a:lnTo>
                        <a:pt x="298" y="43"/>
                      </a:lnTo>
                      <a:lnTo>
                        <a:pt x="299" y="43"/>
                      </a:lnTo>
                      <a:lnTo>
                        <a:pt x="315" y="43"/>
                      </a:lnTo>
                      <a:lnTo>
                        <a:pt x="327" y="41"/>
                      </a:lnTo>
                      <a:lnTo>
                        <a:pt x="337" y="39"/>
                      </a:lnTo>
                      <a:lnTo>
                        <a:pt x="346" y="36"/>
                      </a:lnTo>
                      <a:lnTo>
                        <a:pt x="359" y="28"/>
                      </a:lnTo>
                      <a:lnTo>
                        <a:pt x="372" y="19"/>
                      </a:lnTo>
                      <a:lnTo>
                        <a:pt x="376" y="26"/>
                      </a:lnTo>
                      <a:lnTo>
                        <a:pt x="378" y="32"/>
                      </a:lnTo>
                      <a:lnTo>
                        <a:pt x="379" y="38"/>
                      </a:lnTo>
                      <a:lnTo>
                        <a:pt x="378" y="44"/>
                      </a:lnTo>
                      <a:lnTo>
                        <a:pt x="378" y="49"/>
                      </a:lnTo>
                      <a:lnTo>
                        <a:pt x="377" y="55"/>
                      </a:lnTo>
                      <a:lnTo>
                        <a:pt x="378" y="61"/>
                      </a:lnTo>
                      <a:lnTo>
                        <a:pt x="379" y="69"/>
                      </a:lnTo>
                      <a:lnTo>
                        <a:pt x="405" y="69"/>
                      </a:lnTo>
                      <a:lnTo>
                        <a:pt x="512" y="19"/>
                      </a:lnTo>
                      <a:lnTo>
                        <a:pt x="511" y="36"/>
                      </a:lnTo>
                      <a:lnTo>
                        <a:pt x="511" y="51"/>
                      </a:lnTo>
                      <a:lnTo>
                        <a:pt x="511" y="58"/>
                      </a:lnTo>
                      <a:lnTo>
                        <a:pt x="512" y="65"/>
                      </a:lnTo>
                      <a:lnTo>
                        <a:pt x="514" y="70"/>
                      </a:lnTo>
                      <a:lnTo>
                        <a:pt x="518" y="75"/>
                      </a:lnTo>
                      <a:lnTo>
                        <a:pt x="531" y="68"/>
                      </a:lnTo>
                      <a:lnTo>
                        <a:pt x="541" y="63"/>
                      </a:lnTo>
                      <a:lnTo>
                        <a:pt x="549" y="57"/>
                      </a:lnTo>
                      <a:lnTo>
                        <a:pt x="553" y="51"/>
                      </a:lnTo>
                      <a:lnTo>
                        <a:pt x="557" y="45"/>
                      </a:lnTo>
                      <a:lnTo>
                        <a:pt x="558" y="38"/>
                      </a:lnTo>
                      <a:lnTo>
                        <a:pt x="558" y="30"/>
                      </a:lnTo>
                      <a:lnTo>
                        <a:pt x="558" y="19"/>
                      </a:lnTo>
                      <a:lnTo>
                        <a:pt x="559" y="15"/>
                      </a:lnTo>
                      <a:lnTo>
                        <a:pt x="560" y="11"/>
                      </a:lnTo>
                      <a:lnTo>
                        <a:pt x="563" y="8"/>
                      </a:lnTo>
                      <a:lnTo>
                        <a:pt x="566" y="5"/>
                      </a:lnTo>
                      <a:lnTo>
                        <a:pt x="572" y="1"/>
                      </a:lnTo>
                      <a:lnTo>
                        <a:pt x="579" y="0"/>
                      </a:lnTo>
                      <a:lnTo>
                        <a:pt x="600" y="1"/>
                      </a:lnTo>
                      <a:lnTo>
                        <a:pt x="616" y="2"/>
                      </a:lnTo>
                      <a:lnTo>
                        <a:pt x="624" y="3"/>
                      </a:lnTo>
                      <a:lnTo>
                        <a:pt x="630" y="3"/>
                      </a:lnTo>
                      <a:lnTo>
                        <a:pt x="637" y="2"/>
                      </a:lnTo>
                      <a:lnTo>
                        <a:pt x="645" y="0"/>
                      </a:lnTo>
                      <a:lnTo>
                        <a:pt x="650" y="15"/>
                      </a:lnTo>
                      <a:lnTo>
                        <a:pt x="653" y="28"/>
                      </a:lnTo>
                      <a:lnTo>
                        <a:pt x="657" y="39"/>
                      </a:lnTo>
                      <a:lnTo>
                        <a:pt x="658" y="50"/>
                      </a:lnTo>
                      <a:lnTo>
                        <a:pt x="657" y="59"/>
                      </a:lnTo>
                      <a:lnTo>
                        <a:pt x="653" y="70"/>
                      </a:lnTo>
                      <a:lnTo>
                        <a:pt x="649" y="81"/>
                      </a:lnTo>
                      <a:lnTo>
                        <a:pt x="643" y="91"/>
                      </a:lnTo>
                      <a:lnTo>
                        <a:pt x="637" y="101"/>
                      </a:lnTo>
                      <a:lnTo>
                        <a:pt x="630" y="110"/>
                      </a:lnTo>
                      <a:lnTo>
                        <a:pt x="624" y="119"/>
                      </a:lnTo>
                      <a:lnTo>
                        <a:pt x="618" y="124"/>
                      </a:lnTo>
                      <a:lnTo>
                        <a:pt x="628" y="130"/>
                      </a:lnTo>
                      <a:lnTo>
                        <a:pt x="638" y="134"/>
                      </a:lnTo>
                      <a:lnTo>
                        <a:pt x="648" y="137"/>
                      </a:lnTo>
                      <a:lnTo>
                        <a:pt x="657" y="139"/>
                      </a:lnTo>
                      <a:lnTo>
                        <a:pt x="664" y="142"/>
                      </a:lnTo>
                      <a:lnTo>
                        <a:pt x="672" y="145"/>
                      </a:lnTo>
                      <a:lnTo>
                        <a:pt x="679" y="149"/>
                      </a:lnTo>
                      <a:lnTo>
                        <a:pt x="684" y="154"/>
                      </a:lnTo>
                      <a:lnTo>
                        <a:pt x="684" y="180"/>
                      </a:lnTo>
                      <a:lnTo>
                        <a:pt x="665" y="183"/>
                      </a:lnTo>
                      <a:lnTo>
                        <a:pt x="650" y="185"/>
                      </a:lnTo>
                      <a:lnTo>
                        <a:pt x="639" y="185"/>
                      </a:lnTo>
                      <a:lnTo>
                        <a:pt x="629" y="184"/>
                      </a:lnTo>
                      <a:lnTo>
                        <a:pt x="619" y="183"/>
                      </a:lnTo>
                      <a:lnTo>
                        <a:pt x="608" y="181"/>
                      </a:lnTo>
                      <a:lnTo>
                        <a:pt x="595" y="180"/>
                      </a:lnTo>
                      <a:lnTo>
                        <a:pt x="579" y="180"/>
                      </a:lnTo>
                      <a:lnTo>
                        <a:pt x="574" y="180"/>
                      </a:lnTo>
                      <a:lnTo>
                        <a:pt x="571" y="181"/>
                      </a:lnTo>
                      <a:lnTo>
                        <a:pt x="568" y="182"/>
                      </a:lnTo>
                      <a:lnTo>
                        <a:pt x="564" y="184"/>
                      </a:lnTo>
                      <a:lnTo>
                        <a:pt x="557" y="189"/>
                      </a:lnTo>
                      <a:lnTo>
                        <a:pt x="550" y="195"/>
                      </a:lnTo>
                      <a:lnTo>
                        <a:pt x="542" y="200"/>
                      </a:lnTo>
                      <a:lnTo>
                        <a:pt x="534" y="205"/>
                      </a:lnTo>
                      <a:lnTo>
                        <a:pt x="528" y="207"/>
                      </a:lnTo>
                      <a:lnTo>
                        <a:pt x="524" y="209"/>
                      </a:lnTo>
                      <a:lnTo>
                        <a:pt x="518" y="210"/>
                      </a:lnTo>
                      <a:lnTo>
                        <a:pt x="512" y="210"/>
                      </a:lnTo>
                      <a:lnTo>
                        <a:pt x="493" y="209"/>
                      </a:lnTo>
                      <a:lnTo>
                        <a:pt x="478" y="208"/>
                      </a:lnTo>
                      <a:lnTo>
                        <a:pt x="463" y="206"/>
                      </a:lnTo>
                      <a:lnTo>
                        <a:pt x="452" y="204"/>
                      </a:lnTo>
                      <a:lnTo>
                        <a:pt x="441" y="202"/>
                      </a:lnTo>
                      <a:lnTo>
                        <a:pt x="432" y="200"/>
                      </a:lnTo>
                      <a:lnTo>
                        <a:pt x="422" y="198"/>
                      </a:lnTo>
                      <a:lnTo>
                        <a:pt x="412" y="198"/>
                      </a:lnTo>
                      <a:lnTo>
                        <a:pt x="389" y="202"/>
                      </a:lnTo>
                      <a:lnTo>
                        <a:pt x="337" y="211"/>
                      </a:lnTo>
                      <a:lnTo>
                        <a:pt x="283" y="221"/>
                      </a:lnTo>
                      <a:lnTo>
                        <a:pt x="253" y="228"/>
                      </a:lnTo>
                      <a:lnTo>
                        <a:pt x="231" y="230"/>
                      </a:lnTo>
                      <a:lnTo>
                        <a:pt x="209" y="232"/>
                      </a:lnTo>
                      <a:lnTo>
                        <a:pt x="189" y="235"/>
                      </a:lnTo>
                      <a:lnTo>
                        <a:pt x="169" y="238"/>
                      </a:lnTo>
                      <a:lnTo>
                        <a:pt x="150" y="240"/>
                      </a:lnTo>
                      <a:lnTo>
                        <a:pt x="132" y="239"/>
                      </a:lnTo>
                      <a:lnTo>
                        <a:pt x="124" y="238"/>
                      </a:lnTo>
                      <a:lnTo>
                        <a:pt x="115" y="236"/>
                      </a:lnTo>
                      <a:lnTo>
                        <a:pt x="108" y="233"/>
                      </a:lnTo>
                      <a:lnTo>
                        <a:pt x="100" y="228"/>
                      </a:lnTo>
                      <a:lnTo>
                        <a:pt x="100" y="210"/>
                      </a:lnTo>
                      <a:lnTo>
                        <a:pt x="84" y="209"/>
                      </a:lnTo>
                      <a:lnTo>
                        <a:pt x="67" y="208"/>
                      </a:lnTo>
                      <a:lnTo>
                        <a:pt x="53" y="205"/>
                      </a:lnTo>
                      <a:lnTo>
                        <a:pt x="41" y="201"/>
                      </a:lnTo>
                      <a:lnTo>
                        <a:pt x="29" y="196"/>
                      </a:lnTo>
                      <a:lnTo>
                        <a:pt x="18" y="189"/>
                      </a:lnTo>
                      <a:lnTo>
                        <a:pt x="9" y="182"/>
                      </a:lnTo>
                      <a:lnTo>
                        <a:pt x="0" y="173"/>
                      </a:lnTo>
                      <a:lnTo>
                        <a:pt x="28" y="167"/>
                      </a:lnTo>
                      <a:lnTo>
                        <a:pt x="53" y="161"/>
                      </a:lnTo>
                      <a:lnTo>
                        <a:pt x="64" y="159"/>
                      </a:lnTo>
                      <a:lnTo>
                        <a:pt x="76" y="156"/>
                      </a:lnTo>
                      <a:lnTo>
                        <a:pt x="88" y="155"/>
                      </a:lnTo>
                      <a:lnTo>
                        <a:pt x="100" y="154"/>
                      </a:lnTo>
                      <a:lnTo>
                        <a:pt x="121" y="155"/>
                      </a:lnTo>
                      <a:lnTo>
                        <a:pt x="140" y="157"/>
                      </a:lnTo>
                      <a:lnTo>
                        <a:pt x="156" y="160"/>
                      </a:lnTo>
                      <a:lnTo>
                        <a:pt x="171" y="162"/>
                      </a:lnTo>
                      <a:lnTo>
                        <a:pt x="186" y="164"/>
                      </a:lnTo>
                      <a:lnTo>
                        <a:pt x="201" y="165"/>
                      </a:lnTo>
                      <a:lnTo>
                        <a:pt x="209" y="164"/>
                      </a:lnTo>
                      <a:lnTo>
                        <a:pt x="216" y="164"/>
                      </a:lnTo>
                      <a:lnTo>
                        <a:pt x="224" y="162"/>
                      </a:lnTo>
                      <a:lnTo>
                        <a:pt x="233" y="160"/>
                      </a:lnTo>
                      <a:lnTo>
                        <a:pt x="126" y="142"/>
                      </a:lnTo>
                      <a:lnTo>
                        <a:pt x="26" y="136"/>
                      </a:lnTo>
                      <a:lnTo>
                        <a:pt x="34" y="133"/>
                      </a:lnTo>
                      <a:lnTo>
                        <a:pt x="42" y="130"/>
                      </a:lnTo>
                      <a:lnTo>
                        <a:pt x="52" y="128"/>
                      </a:lnTo>
                      <a:lnTo>
                        <a:pt x="62" y="125"/>
                      </a:lnTo>
                      <a:lnTo>
                        <a:pt x="85" y="122"/>
                      </a:lnTo>
                      <a:lnTo>
                        <a:pt x="109" y="117"/>
                      </a:lnTo>
                      <a:lnTo>
                        <a:pt x="133" y="114"/>
                      </a:lnTo>
                      <a:lnTo>
                        <a:pt x="155" y="110"/>
                      </a:lnTo>
                      <a:lnTo>
                        <a:pt x="165" y="108"/>
                      </a:lnTo>
                      <a:lnTo>
                        <a:pt x="174" y="105"/>
                      </a:lnTo>
                      <a:lnTo>
                        <a:pt x="180" y="102"/>
                      </a:lnTo>
                      <a:lnTo>
                        <a:pt x="187" y="99"/>
                      </a:lnTo>
                      <a:lnTo>
                        <a:pt x="180" y="96"/>
                      </a:lnTo>
                      <a:lnTo>
                        <a:pt x="172" y="94"/>
                      </a:lnTo>
                      <a:lnTo>
                        <a:pt x="166" y="93"/>
                      </a:lnTo>
                      <a:lnTo>
                        <a:pt x="158" y="93"/>
                      </a:lnTo>
                      <a:lnTo>
                        <a:pt x="142" y="95"/>
                      </a:lnTo>
                      <a:lnTo>
                        <a:pt x="125" y="98"/>
                      </a:lnTo>
                      <a:lnTo>
                        <a:pt x="107" y="102"/>
                      </a:lnTo>
                      <a:lnTo>
                        <a:pt x="89" y="107"/>
                      </a:lnTo>
                      <a:lnTo>
                        <a:pt x="71" y="110"/>
                      </a:lnTo>
                      <a:lnTo>
                        <a:pt x="54" y="111"/>
                      </a:lnTo>
                      <a:lnTo>
                        <a:pt x="52" y="110"/>
                      </a:lnTo>
                      <a:lnTo>
                        <a:pt x="52" y="106"/>
                      </a:lnTo>
                      <a:lnTo>
                        <a:pt x="53" y="102"/>
                      </a:lnTo>
                      <a:lnTo>
                        <a:pt x="54" y="96"/>
                      </a:lnTo>
                      <a:lnTo>
                        <a:pt x="55" y="90"/>
                      </a:lnTo>
                      <a:lnTo>
                        <a:pt x="55" y="86"/>
                      </a:lnTo>
                      <a:lnTo>
                        <a:pt x="55" y="82"/>
                      </a:lnTo>
                      <a:lnTo>
                        <a:pt x="54" y="81"/>
                      </a:lnTo>
                      <a:lnTo>
                        <a:pt x="55" y="81"/>
                      </a:lnTo>
                      <a:lnTo>
                        <a:pt x="57" y="80"/>
                      </a:lnTo>
                      <a:lnTo>
                        <a:pt x="59" y="78"/>
                      </a:lnTo>
                      <a:lnTo>
                        <a:pt x="60" y="75"/>
                      </a:lnTo>
                    </a:path>
                  </a:pathLst>
                </a:custGeom>
                <a:grpFill/>
                <a:ln w="9525" cap="flat" cmpd="sng">
                  <a:solidFill>
                    <a:schemeClr val="bg1"/>
                  </a:solidFill>
                  <a:prstDash val="solid"/>
                  <a:round/>
                  <a:headEnd type="none" w="med" len="med"/>
                  <a:tailEnd type="none" w="med" len="med"/>
                </a:ln>
                <a:effectLst/>
              </p:spPr>
              <p:txBody>
                <a:bodyPr/>
                <a:lstStyle/>
                <a:p>
                  <a:endParaRPr lang="en-GB" sz="1637"/>
                </a:p>
              </p:txBody>
            </p:sp>
            <p:sp>
              <p:nvSpPr>
                <p:cNvPr id="312" name="Freeform 427"/>
                <p:cNvSpPr>
                  <a:spLocks/>
                </p:cNvSpPr>
                <p:nvPr/>
              </p:nvSpPr>
              <p:spPr bwMode="auto">
                <a:xfrm>
                  <a:off x="1645" y="1643"/>
                  <a:ext cx="108" cy="93"/>
                </a:xfrm>
                <a:custGeom>
                  <a:avLst/>
                  <a:gdLst>
                    <a:gd name="T0" fmla="*/ 59 w 332"/>
                    <a:gd name="T1" fmla="*/ 12 h 287"/>
                    <a:gd name="T2" fmla="*/ 66 w 332"/>
                    <a:gd name="T3" fmla="*/ 8 h 287"/>
                    <a:gd name="T4" fmla="*/ 74 w 332"/>
                    <a:gd name="T5" fmla="*/ 2 h 287"/>
                    <a:gd name="T6" fmla="*/ 78 w 332"/>
                    <a:gd name="T7" fmla="*/ 0 h 287"/>
                    <a:gd name="T8" fmla="*/ 80 w 332"/>
                    <a:gd name="T9" fmla="*/ 0 h 287"/>
                    <a:gd name="T10" fmla="*/ 80 w 332"/>
                    <a:gd name="T11" fmla="*/ 4 h 287"/>
                    <a:gd name="T12" fmla="*/ 76 w 332"/>
                    <a:gd name="T13" fmla="*/ 11 h 287"/>
                    <a:gd name="T14" fmla="*/ 71 w 332"/>
                    <a:gd name="T15" fmla="*/ 18 h 287"/>
                    <a:gd name="T16" fmla="*/ 66 w 332"/>
                    <a:gd name="T17" fmla="*/ 22 h 287"/>
                    <a:gd name="T18" fmla="*/ 62 w 332"/>
                    <a:gd name="T19" fmla="*/ 23 h 287"/>
                    <a:gd name="T20" fmla="*/ 62 w 332"/>
                    <a:gd name="T21" fmla="*/ 24 h 287"/>
                    <a:gd name="T22" fmla="*/ 65 w 332"/>
                    <a:gd name="T23" fmla="*/ 24 h 287"/>
                    <a:gd name="T24" fmla="*/ 70 w 332"/>
                    <a:gd name="T25" fmla="*/ 23 h 287"/>
                    <a:gd name="T26" fmla="*/ 73 w 332"/>
                    <a:gd name="T27" fmla="*/ 25 h 287"/>
                    <a:gd name="T28" fmla="*/ 71 w 332"/>
                    <a:gd name="T29" fmla="*/ 29 h 287"/>
                    <a:gd name="T30" fmla="*/ 70 w 332"/>
                    <a:gd name="T31" fmla="*/ 31 h 287"/>
                    <a:gd name="T32" fmla="*/ 71 w 332"/>
                    <a:gd name="T33" fmla="*/ 34 h 287"/>
                    <a:gd name="T34" fmla="*/ 81 w 332"/>
                    <a:gd name="T35" fmla="*/ 37 h 287"/>
                    <a:gd name="T36" fmla="*/ 100 w 332"/>
                    <a:gd name="T37" fmla="*/ 40 h 287"/>
                    <a:gd name="T38" fmla="*/ 105 w 332"/>
                    <a:gd name="T39" fmla="*/ 42 h 287"/>
                    <a:gd name="T40" fmla="*/ 102 w 332"/>
                    <a:gd name="T41" fmla="*/ 45 h 287"/>
                    <a:gd name="T42" fmla="*/ 99 w 332"/>
                    <a:gd name="T43" fmla="*/ 48 h 287"/>
                    <a:gd name="T44" fmla="*/ 97 w 332"/>
                    <a:gd name="T45" fmla="*/ 50 h 287"/>
                    <a:gd name="T46" fmla="*/ 98 w 332"/>
                    <a:gd name="T47" fmla="*/ 52 h 287"/>
                    <a:gd name="T48" fmla="*/ 100 w 332"/>
                    <a:gd name="T49" fmla="*/ 54 h 287"/>
                    <a:gd name="T50" fmla="*/ 104 w 332"/>
                    <a:gd name="T51" fmla="*/ 57 h 287"/>
                    <a:gd name="T52" fmla="*/ 107 w 332"/>
                    <a:gd name="T53" fmla="*/ 60 h 287"/>
                    <a:gd name="T54" fmla="*/ 94 w 332"/>
                    <a:gd name="T55" fmla="*/ 68 h 287"/>
                    <a:gd name="T56" fmla="*/ 78 w 332"/>
                    <a:gd name="T57" fmla="*/ 78 h 287"/>
                    <a:gd name="T58" fmla="*/ 67 w 332"/>
                    <a:gd name="T59" fmla="*/ 87 h 287"/>
                    <a:gd name="T60" fmla="*/ 56 w 332"/>
                    <a:gd name="T61" fmla="*/ 79 h 287"/>
                    <a:gd name="T62" fmla="*/ 59 w 332"/>
                    <a:gd name="T63" fmla="*/ 79 h 287"/>
                    <a:gd name="T64" fmla="*/ 61 w 332"/>
                    <a:gd name="T65" fmla="*/ 78 h 287"/>
                    <a:gd name="T66" fmla="*/ 65 w 332"/>
                    <a:gd name="T67" fmla="*/ 75 h 287"/>
                    <a:gd name="T68" fmla="*/ 48 w 332"/>
                    <a:gd name="T69" fmla="*/ 75 h 287"/>
                    <a:gd name="T70" fmla="*/ 33 w 332"/>
                    <a:gd name="T71" fmla="*/ 75 h 287"/>
                    <a:gd name="T72" fmla="*/ 19 w 332"/>
                    <a:gd name="T73" fmla="*/ 75 h 287"/>
                    <a:gd name="T74" fmla="*/ 9 w 332"/>
                    <a:gd name="T75" fmla="*/ 75 h 287"/>
                    <a:gd name="T76" fmla="*/ 4 w 332"/>
                    <a:gd name="T77" fmla="*/ 74 h 287"/>
                    <a:gd name="T78" fmla="*/ 1 w 332"/>
                    <a:gd name="T79" fmla="*/ 72 h 287"/>
                    <a:gd name="T80" fmla="*/ 0 w 332"/>
                    <a:gd name="T81" fmla="*/ 69 h 287"/>
                    <a:gd name="T82" fmla="*/ 1 w 332"/>
                    <a:gd name="T83" fmla="*/ 66 h 287"/>
                    <a:gd name="T84" fmla="*/ 4 w 332"/>
                    <a:gd name="T85" fmla="*/ 64 h 287"/>
                    <a:gd name="T86" fmla="*/ 13 w 332"/>
                    <a:gd name="T87" fmla="*/ 58 h 287"/>
                    <a:gd name="T88" fmla="*/ 24 w 332"/>
                    <a:gd name="T89" fmla="*/ 52 h 287"/>
                    <a:gd name="T90" fmla="*/ 28 w 332"/>
                    <a:gd name="T91" fmla="*/ 49 h 287"/>
                    <a:gd name="T92" fmla="*/ 30 w 332"/>
                    <a:gd name="T93" fmla="*/ 47 h 287"/>
                    <a:gd name="T94" fmla="*/ 34 w 332"/>
                    <a:gd name="T95" fmla="*/ 42 h 287"/>
                    <a:gd name="T96" fmla="*/ 38 w 332"/>
                    <a:gd name="T97" fmla="*/ 37 h 287"/>
                    <a:gd name="T98" fmla="*/ 42 w 332"/>
                    <a:gd name="T99" fmla="*/ 26 h 287"/>
                    <a:gd name="T100" fmla="*/ 45 w 332"/>
                    <a:gd name="T101" fmla="*/ 21 h 287"/>
                    <a:gd name="T102" fmla="*/ 48 w 332"/>
                    <a:gd name="T103" fmla="*/ 17 h 287"/>
                    <a:gd name="T104" fmla="*/ 51 w 332"/>
                    <a:gd name="T105" fmla="*/ 14 h 287"/>
                    <a:gd name="T106" fmla="*/ 56 w 332"/>
                    <a:gd name="T107" fmla="*/ 13 h 28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332" h="287">
                      <a:moveTo>
                        <a:pt x="173" y="40"/>
                      </a:moveTo>
                      <a:lnTo>
                        <a:pt x="180" y="38"/>
                      </a:lnTo>
                      <a:lnTo>
                        <a:pt x="190" y="32"/>
                      </a:lnTo>
                      <a:lnTo>
                        <a:pt x="202" y="24"/>
                      </a:lnTo>
                      <a:lnTo>
                        <a:pt x="215" y="15"/>
                      </a:lnTo>
                      <a:lnTo>
                        <a:pt x="226" y="7"/>
                      </a:lnTo>
                      <a:lnTo>
                        <a:pt x="237" y="2"/>
                      </a:lnTo>
                      <a:lnTo>
                        <a:pt x="240" y="1"/>
                      </a:lnTo>
                      <a:lnTo>
                        <a:pt x="243" y="0"/>
                      </a:lnTo>
                      <a:lnTo>
                        <a:pt x="246" y="1"/>
                      </a:lnTo>
                      <a:lnTo>
                        <a:pt x="246" y="4"/>
                      </a:lnTo>
                      <a:lnTo>
                        <a:pt x="245" y="12"/>
                      </a:lnTo>
                      <a:lnTo>
                        <a:pt x="240" y="22"/>
                      </a:lnTo>
                      <a:lnTo>
                        <a:pt x="234" y="33"/>
                      </a:lnTo>
                      <a:lnTo>
                        <a:pt x="226" y="44"/>
                      </a:lnTo>
                      <a:lnTo>
                        <a:pt x="217" y="55"/>
                      </a:lnTo>
                      <a:lnTo>
                        <a:pt x="207" y="64"/>
                      </a:lnTo>
                      <a:lnTo>
                        <a:pt x="202" y="67"/>
                      </a:lnTo>
                      <a:lnTo>
                        <a:pt x="196" y="69"/>
                      </a:lnTo>
                      <a:lnTo>
                        <a:pt x="191" y="71"/>
                      </a:lnTo>
                      <a:lnTo>
                        <a:pt x="186" y="71"/>
                      </a:lnTo>
                      <a:lnTo>
                        <a:pt x="191" y="73"/>
                      </a:lnTo>
                      <a:lnTo>
                        <a:pt x="196" y="74"/>
                      </a:lnTo>
                      <a:lnTo>
                        <a:pt x="201" y="74"/>
                      </a:lnTo>
                      <a:lnTo>
                        <a:pt x="206" y="74"/>
                      </a:lnTo>
                      <a:lnTo>
                        <a:pt x="216" y="72"/>
                      </a:lnTo>
                      <a:lnTo>
                        <a:pt x="226" y="71"/>
                      </a:lnTo>
                      <a:lnTo>
                        <a:pt x="224" y="77"/>
                      </a:lnTo>
                      <a:lnTo>
                        <a:pt x="219" y="84"/>
                      </a:lnTo>
                      <a:lnTo>
                        <a:pt x="217" y="88"/>
                      </a:lnTo>
                      <a:lnTo>
                        <a:pt x="215" y="93"/>
                      </a:lnTo>
                      <a:lnTo>
                        <a:pt x="214" y="97"/>
                      </a:lnTo>
                      <a:lnTo>
                        <a:pt x="213" y="102"/>
                      </a:lnTo>
                      <a:lnTo>
                        <a:pt x="217" y="105"/>
                      </a:lnTo>
                      <a:lnTo>
                        <a:pt x="230" y="109"/>
                      </a:lnTo>
                      <a:lnTo>
                        <a:pt x="249" y="113"/>
                      </a:lnTo>
                      <a:lnTo>
                        <a:pt x="269" y="117"/>
                      </a:lnTo>
                      <a:lnTo>
                        <a:pt x="308" y="124"/>
                      </a:lnTo>
                      <a:lnTo>
                        <a:pt x="326" y="127"/>
                      </a:lnTo>
                      <a:lnTo>
                        <a:pt x="322" y="131"/>
                      </a:lnTo>
                      <a:lnTo>
                        <a:pt x="319" y="136"/>
                      </a:lnTo>
                      <a:lnTo>
                        <a:pt x="315" y="140"/>
                      </a:lnTo>
                      <a:lnTo>
                        <a:pt x="310" y="144"/>
                      </a:lnTo>
                      <a:lnTo>
                        <a:pt x="303" y="149"/>
                      </a:lnTo>
                      <a:lnTo>
                        <a:pt x="299" y="151"/>
                      </a:lnTo>
                      <a:lnTo>
                        <a:pt x="299" y="154"/>
                      </a:lnTo>
                      <a:lnTo>
                        <a:pt x="301" y="157"/>
                      </a:lnTo>
                      <a:lnTo>
                        <a:pt x="302" y="160"/>
                      </a:lnTo>
                      <a:lnTo>
                        <a:pt x="304" y="164"/>
                      </a:lnTo>
                      <a:lnTo>
                        <a:pt x="308" y="168"/>
                      </a:lnTo>
                      <a:lnTo>
                        <a:pt x="314" y="173"/>
                      </a:lnTo>
                      <a:lnTo>
                        <a:pt x="319" y="176"/>
                      </a:lnTo>
                      <a:lnTo>
                        <a:pt x="325" y="180"/>
                      </a:lnTo>
                      <a:lnTo>
                        <a:pt x="329" y="184"/>
                      </a:lnTo>
                      <a:lnTo>
                        <a:pt x="332" y="188"/>
                      </a:lnTo>
                      <a:lnTo>
                        <a:pt x="290" y="211"/>
                      </a:lnTo>
                      <a:lnTo>
                        <a:pt x="257" y="231"/>
                      </a:lnTo>
                      <a:lnTo>
                        <a:pt x="241" y="241"/>
                      </a:lnTo>
                      <a:lnTo>
                        <a:pt x="225" y="253"/>
                      </a:lnTo>
                      <a:lnTo>
                        <a:pt x="207" y="268"/>
                      </a:lnTo>
                      <a:lnTo>
                        <a:pt x="186" y="287"/>
                      </a:lnTo>
                      <a:lnTo>
                        <a:pt x="173" y="244"/>
                      </a:lnTo>
                      <a:lnTo>
                        <a:pt x="178" y="244"/>
                      </a:lnTo>
                      <a:lnTo>
                        <a:pt x="182" y="243"/>
                      </a:lnTo>
                      <a:lnTo>
                        <a:pt x="185" y="242"/>
                      </a:lnTo>
                      <a:lnTo>
                        <a:pt x="189" y="240"/>
                      </a:lnTo>
                      <a:lnTo>
                        <a:pt x="194" y="236"/>
                      </a:lnTo>
                      <a:lnTo>
                        <a:pt x="200" y="232"/>
                      </a:lnTo>
                      <a:lnTo>
                        <a:pt x="174" y="232"/>
                      </a:lnTo>
                      <a:lnTo>
                        <a:pt x="149" y="232"/>
                      </a:lnTo>
                      <a:lnTo>
                        <a:pt x="125" y="232"/>
                      </a:lnTo>
                      <a:lnTo>
                        <a:pt x="101" y="232"/>
                      </a:lnTo>
                      <a:lnTo>
                        <a:pt x="79" y="232"/>
                      </a:lnTo>
                      <a:lnTo>
                        <a:pt x="58" y="232"/>
                      </a:lnTo>
                      <a:lnTo>
                        <a:pt x="41" y="232"/>
                      </a:lnTo>
                      <a:lnTo>
                        <a:pt x="27" y="232"/>
                      </a:lnTo>
                      <a:lnTo>
                        <a:pt x="19" y="231"/>
                      </a:lnTo>
                      <a:lnTo>
                        <a:pt x="11" y="227"/>
                      </a:lnTo>
                      <a:lnTo>
                        <a:pt x="6" y="225"/>
                      </a:lnTo>
                      <a:lnTo>
                        <a:pt x="3" y="222"/>
                      </a:lnTo>
                      <a:lnTo>
                        <a:pt x="1" y="218"/>
                      </a:lnTo>
                      <a:lnTo>
                        <a:pt x="0" y="213"/>
                      </a:lnTo>
                      <a:lnTo>
                        <a:pt x="1" y="209"/>
                      </a:lnTo>
                      <a:lnTo>
                        <a:pt x="4" y="205"/>
                      </a:lnTo>
                      <a:lnTo>
                        <a:pt x="7" y="201"/>
                      </a:lnTo>
                      <a:lnTo>
                        <a:pt x="13" y="197"/>
                      </a:lnTo>
                      <a:lnTo>
                        <a:pt x="26" y="188"/>
                      </a:lnTo>
                      <a:lnTo>
                        <a:pt x="41" y="179"/>
                      </a:lnTo>
                      <a:lnTo>
                        <a:pt x="58" y="170"/>
                      </a:lnTo>
                      <a:lnTo>
                        <a:pt x="73" y="162"/>
                      </a:lnTo>
                      <a:lnTo>
                        <a:pt x="80" y="156"/>
                      </a:lnTo>
                      <a:lnTo>
                        <a:pt x="85" y="152"/>
                      </a:lnTo>
                      <a:lnTo>
                        <a:pt x="90" y="149"/>
                      </a:lnTo>
                      <a:lnTo>
                        <a:pt x="93" y="145"/>
                      </a:lnTo>
                      <a:lnTo>
                        <a:pt x="100" y="138"/>
                      </a:lnTo>
                      <a:lnTo>
                        <a:pt x="106" y="130"/>
                      </a:lnTo>
                      <a:lnTo>
                        <a:pt x="112" y="122"/>
                      </a:lnTo>
                      <a:lnTo>
                        <a:pt x="116" y="114"/>
                      </a:lnTo>
                      <a:lnTo>
                        <a:pt x="124" y="96"/>
                      </a:lnTo>
                      <a:lnTo>
                        <a:pt x="130" y="79"/>
                      </a:lnTo>
                      <a:lnTo>
                        <a:pt x="134" y="71"/>
                      </a:lnTo>
                      <a:lnTo>
                        <a:pt x="138" y="64"/>
                      </a:lnTo>
                      <a:lnTo>
                        <a:pt x="141" y="58"/>
                      </a:lnTo>
                      <a:lnTo>
                        <a:pt x="147" y="52"/>
                      </a:lnTo>
                      <a:lnTo>
                        <a:pt x="151" y="47"/>
                      </a:lnTo>
                      <a:lnTo>
                        <a:pt x="158" y="43"/>
                      </a:lnTo>
                      <a:lnTo>
                        <a:pt x="164" y="41"/>
                      </a:lnTo>
                      <a:lnTo>
                        <a:pt x="173" y="40"/>
                      </a:lnTo>
                    </a:path>
                  </a:pathLst>
                </a:custGeom>
                <a:grpFill/>
                <a:ln w="9525" cap="flat" cmpd="sng">
                  <a:solidFill>
                    <a:schemeClr val="bg1"/>
                  </a:solidFill>
                  <a:prstDash val="solid"/>
                  <a:round/>
                  <a:headEnd type="none" w="med" len="med"/>
                  <a:tailEnd type="none" w="med" len="med"/>
                </a:ln>
                <a:effectLst/>
              </p:spPr>
              <p:txBody>
                <a:bodyPr/>
                <a:lstStyle/>
                <a:p>
                  <a:endParaRPr lang="en-GB" sz="1637"/>
                </a:p>
              </p:txBody>
            </p:sp>
            <p:sp>
              <p:nvSpPr>
                <p:cNvPr id="313" name="Freeform 428"/>
                <p:cNvSpPr>
                  <a:spLocks/>
                </p:cNvSpPr>
                <p:nvPr/>
              </p:nvSpPr>
              <p:spPr bwMode="auto">
                <a:xfrm>
                  <a:off x="1102" y="1190"/>
                  <a:ext cx="111" cy="27"/>
                </a:xfrm>
                <a:custGeom>
                  <a:avLst/>
                  <a:gdLst>
                    <a:gd name="T0" fmla="*/ 34 w 345"/>
                    <a:gd name="T1" fmla="*/ 27 h 86"/>
                    <a:gd name="T2" fmla="*/ 38 w 345"/>
                    <a:gd name="T3" fmla="*/ 25 h 86"/>
                    <a:gd name="T4" fmla="*/ 43 w 345"/>
                    <a:gd name="T5" fmla="*/ 24 h 86"/>
                    <a:gd name="T6" fmla="*/ 48 w 345"/>
                    <a:gd name="T7" fmla="*/ 23 h 86"/>
                    <a:gd name="T8" fmla="*/ 53 w 345"/>
                    <a:gd name="T9" fmla="*/ 22 h 86"/>
                    <a:gd name="T10" fmla="*/ 63 w 345"/>
                    <a:gd name="T11" fmla="*/ 20 h 86"/>
                    <a:gd name="T12" fmla="*/ 74 w 345"/>
                    <a:gd name="T13" fmla="*/ 18 h 86"/>
                    <a:gd name="T14" fmla="*/ 79 w 345"/>
                    <a:gd name="T15" fmla="*/ 17 h 86"/>
                    <a:gd name="T16" fmla="*/ 85 w 345"/>
                    <a:gd name="T17" fmla="*/ 16 h 86"/>
                    <a:gd name="T18" fmla="*/ 90 w 345"/>
                    <a:gd name="T19" fmla="*/ 14 h 86"/>
                    <a:gd name="T20" fmla="*/ 95 w 345"/>
                    <a:gd name="T21" fmla="*/ 13 h 86"/>
                    <a:gd name="T22" fmla="*/ 99 w 345"/>
                    <a:gd name="T23" fmla="*/ 11 h 86"/>
                    <a:gd name="T24" fmla="*/ 104 w 345"/>
                    <a:gd name="T25" fmla="*/ 9 h 86"/>
                    <a:gd name="T26" fmla="*/ 107 w 345"/>
                    <a:gd name="T27" fmla="*/ 7 h 86"/>
                    <a:gd name="T28" fmla="*/ 111 w 345"/>
                    <a:gd name="T29" fmla="*/ 4 h 86"/>
                    <a:gd name="T30" fmla="*/ 108 w 345"/>
                    <a:gd name="T31" fmla="*/ 4 h 86"/>
                    <a:gd name="T32" fmla="*/ 105 w 345"/>
                    <a:gd name="T33" fmla="*/ 3 h 86"/>
                    <a:gd name="T34" fmla="*/ 102 w 345"/>
                    <a:gd name="T35" fmla="*/ 3 h 86"/>
                    <a:gd name="T36" fmla="*/ 99 w 345"/>
                    <a:gd name="T37" fmla="*/ 2 h 86"/>
                    <a:gd name="T38" fmla="*/ 97 w 345"/>
                    <a:gd name="T39" fmla="*/ 1 h 86"/>
                    <a:gd name="T40" fmla="*/ 94 w 345"/>
                    <a:gd name="T41" fmla="*/ 1 h 86"/>
                    <a:gd name="T42" fmla="*/ 90 w 345"/>
                    <a:gd name="T43" fmla="*/ 0 h 86"/>
                    <a:gd name="T44" fmla="*/ 88 w 345"/>
                    <a:gd name="T45" fmla="*/ 0 h 86"/>
                    <a:gd name="T46" fmla="*/ 83 w 345"/>
                    <a:gd name="T47" fmla="*/ 0 h 86"/>
                    <a:gd name="T48" fmla="*/ 79 w 345"/>
                    <a:gd name="T49" fmla="*/ 1 h 86"/>
                    <a:gd name="T50" fmla="*/ 73 w 345"/>
                    <a:gd name="T51" fmla="*/ 2 h 86"/>
                    <a:gd name="T52" fmla="*/ 67 w 345"/>
                    <a:gd name="T53" fmla="*/ 3 h 86"/>
                    <a:gd name="T54" fmla="*/ 54 w 345"/>
                    <a:gd name="T55" fmla="*/ 6 h 86"/>
                    <a:gd name="T56" fmla="*/ 41 w 345"/>
                    <a:gd name="T57" fmla="*/ 9 h 86"/>
                    <a:gd name="T58" fmla="*/ 33 w 345"/>
                    <a:gd name="T59" fmla="*/ 11 h 86"/>
                    <a:gd name="T60" fmla="*/ 27 w 345"/>
                    <a:gd name="T61" fmla="*/ 13 h 86"/>
                    <a:gd name="T62" fmla="*/ 21 w 345"/>
                    <a:gd name="T63" fmla="*/ 16 h 86"/>
                    <a:gd name="T64" fmla="*/ 15 w 345"/>
                    <a:gd name="T65" fmla="*/ 18 h 86"/>
                    <a:gd name="T66" fmla="*/ 10 w 345"/>
                    <a:gd name="T67" fmla="*/ 20 h 86"/>
                    <a:gd name="T68" fmla="*/ 6 w 345"/>
                    <a:gd name="T69" fmla="*/ 23 h 86"/>
                    <a:gd name="T70" fmla="*/ 3 w 345"/>
                    <a:gd name="T71" fmla="*/ 25 h 86"/>
                    <a:gd name="T72" fmla="*/ 0 w 345"/>
                    <a:gd name="T73" fmla="*/ 27 h 86"/>
                    <a:gd name="T74" fmla="*/ 34 w 345"/>
                    <a:gd name="T75" fmla="*/ 27 h 8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45" h="86">
                      <a:moveTo>
                        <a:pt x="106" y="86"/>
                      </a:moveTo>
                      <a:lnTo>
                        <a:pt x="119" y="81"/>
                      </a:lnTo>
                      <a:lnTo>
                        <a:pt x="133" y="76"/>
                      </a:lnTo>
                      <a:lnTo>
                        <a:pt x="148" y="72"/>
                      </a:lnTo>
                      <a:lnTo>
                        <a:pt x="164" y="69"/>
                      </a:lnTo>
                      <a:lnTo>
                        <a:pt x="197" y="63"/>
                      </a:lnTo>
                      <a:lnTo>
                        <a:pt x="231" y="57"/>
                      </a:lnTo>
                      <a:lnTo>
                        <a:pt x="247" y="53"/>
                      </a:lnTo>
                      <a:lnTo>
                        <a:pt x="264" y="50"/>
                      </a:lnTo>
                      <a:lnTo>
                        <a:pt x="279" y="46"/>
                      </a:lnTo>
                      <a:lnTo>
                        <a:pt x="294" y="40"/>
                      </a:lnTo>
                      <a:lnTo>
                        <a:pt x="309" y="35"/>
                      </a:lnTo>
                      <a:lnTo>
                        <a:pt x="322" y="28"/>
                      </a:lnTo>
                      <a:lnTo>
                        <a:pt x="334" y="21"/>
                      </a:lnTo>
                      <a:lnTo>
                        <a:pt x="345" y="13"/>
                      </a:lnTo>
                      <a:lnTo>
                        <a:pt x="335" y="12"/>
                      </a:lnTo>
                      <a:lnTo>
                        <a:pt x="326" y="11"/>
                      </a:lnTo>
                      <a:lnTo>
                        <a:pt x="317" y="9"/>
                      </a:lnTo>
                      <a:lnTo>
                        <a:pt x="309" y="6"/>
                      </a:lnTo>
                      <a:lnTo>
                        <a:pt x="300" y="4"/>
                      </a:lnTo>
                      <a:lnTo>
                        <a:pt x="291" y="2"/>
                      </a:lnTo>
                      <a:lnTo>
                        <a:pt x="281" y="1"/>
                      </a:lnTo>
                      <a:lnTo>
                        <a:pt x="272" y="0"/>
                      </a:lnTo>
                      <a:lnTo>
                        <a:pt x="259" y="1"/>
                      </a:lnTo>
                      <a:lnTo>
                        <a:pt x="245" y="3"/>
                      </a:lnTo>
                      <a:lnTo>
                        <a:pt x="227" y="5"/>
                      </a:lnTo>
                      <a:lnTo>
                        <a:pt x="209" y="9"/>
                      </a:lnTo>
                      <a:lnTo>
                        <a:pt x="168" y="18"/>
                      </a:lnTo>
                      <a:lnTo>
                        <a:pt x="126" y="29"/>
                      </a:lnTo>
                      <a:lnTo>
                        <a:pt x="104" y="36"/>
                      </a:lnTo>
                      <a:lnTo>
                        <a:pt x="85" y="42"/>
                      </a:lnTo>
                      <a:lnTo>
                        <a:pt x="66" y="50"/>
                      </a:lnTo>
                      <a:lnTo>
                        <a:pt x="47" y="58"/>
                      </a:lnTo>
                      <a:lnTo>
                        <a:pt x="32" y="65"/>
                      </a:lnTo>
                      <a:lnTo>
                        <a:pt x="19" y="72"/>
                      </a:lnTo>
                      <a:lnTo>
                        <a:pt x="8" y="79"/>
                      </a:lnTo>
                      <a:lnTo>
                        <a:pt x="0" y="86"/>
                      </a:lnTo>
                      <a:lnTo>
                        <a:pt x="106" y="86"/>
                      </a:lnTo>
                    </a:path>
                  </a:pathLst>
                </a:custGeom>
                <a:grpFill/>
                <a:ln w="9525" cap="flat" cmpd="sng">
                  <a:solidFill>
                    <a:schemeClr val="bg1"/>
                  </a:solidFill>
                  <a:prstDash val="solid"/>
                  <a:round/>
                  <a:headEnd type="none" w="med" len="med"/>
                  <a:tailEnd type="none" w="med" len="med"/>
                </a:ln>
                <a:effectLst/>
              </p:spPr>
              <p:txBody>
                <a:bodyPr/>
                <a:lstStyle/>
                <a:p>
                  <a:endParaRPr lang="en-GB" sz="1637"/>
                </a:p>
              </p:txBody>
            </p:sp>
            <p:sp>
              <p:nvSpPr>
                <p:cNvPr id="314" name="Freeform 429"/>
                <p:cNvSpPr>
                  <a:spLocks/>
                </p:cNvSpPr>
                <p:nvPr/>
              </p:nvSpPr>
              <p:spPr bwMode="auto">
                <a:xfrm>
                  <a:off x="1158" y="1199"/>
                  <a:ext cx="149" cy="43"/>
                </a:xfrm>
                <a:custGeom>
                  <a:avLst/>
                  <a:gdLst>
                    <a:gd name="T0" fmla="*/ 6 w 464"/>
                    <a:gd name="T1" fmla="*/ 28 h 130"/>
                    <a:gd name="T2" fmla="*/ 25 w 464"/>
                    <a:gd name="T3" fmla="*/ 27 h 130"/>
                    <a:gd name="T4" fmla="*/ 33 w 464"/>
                    <a:gd name="T5" fmla="*/ 27 h 130"/>
                    <a:gd name="T6" fmla="*/ 30 w 464"/>
                    <a:gd name="T7" fmla="*/ 29 h 130"/>
                    <a:gd name="T8" fmla="*/ 26 w 464"/>
                    <a:gd name="T9" fmla="*/ 33 h 130"/>
                    <a:gd name="T10" fmla="*/ 23 w 464"/>
                    <a:gd name="T11" fmla="*/ 37 h 130"/>
                    <a:gd name="T12" fmla="*/ 23 w 464"/>
                    <a:gd name="T13" fmla="*/ 39 h 130"/>
                    <a:gd name="T14" fmla="*/ 25 w 464"/>
                    <a:gd name="T15" fmla="*/ 41 h 130"/>
                    <a:gd name="T16" fmla="*/ 30 w 464"/>
                    <a:gd name="T17" fmla="*/ 43 h 130"/>
                    <a:gd name="T18" fmla="*/ 35 w 464"/>
                    <a:gd name="T19" fmla="*/ 43 h 130"/>
                    <a:gd name="T20" fmla="*/ 41 w 464"/>
                    <a:gd name="T21" fmla="*/ 42 h 130"/>
                    <a:gd name="T22" fmla="*/ 50 w 464"/>
                    <a:gd name="T23" fmla="*/ 39 h 130"/>
                    <a:gd name="T24" fmla="*/ 63 w 464"/>
                    <a:gd name="T25" fmla="*/ 36 h 130"/>
                    <a:gd name="T26" fmla="*/ 73 w 464"/>
                    <a:gd name="T27" fmla="*/ 33 h 130"/>
                    <a:gd name="T28" fmla="*/ 80 w 464"/>
                    <a:gd name="T29" fmla="*/ 33 h 130"/>
                    <a:gd name="T30" fmla="*/ 85 w 464"/>
                    <a:gd name="T31" fmla="*/ 33 h 130"/>
                    <a:gd name="T32" fmla="*/ 98 w 464"/>
                    <a:gd name="T33" fmla="*/ 33 h 130"/>
                    <a:gd name="T34" fmla="*/ 107 w 464"/>
                    <a:gd name="T35" fmla="*/ 32 h 130"/>
                    <a:gd name="T36" fmla="*/ 121 w 464"/>
                    <a:gd name="T37" fmla="*/ 31 h 130"/>
                    <a:gd name="T38" fmla="*/ 133 w 464"/>
                    <a:gd name="T39" fmla="*/ 27 h 130"/>
                    <a:gd name="T40" fmla="*/ 144 w 464"/>
                    <a:gd name="T41" fmla="*/ 22 h 130"/>
                    <a:gd name="T42" fmla="*/ 146 w 464"/>
                    <a:gd name="T43" fmla="*/ 17 h 130"/>
                    <a:gd name="T44" fmla="*/ 141 w 464"/>
                    <a:gd name="T45" fmla="*/ 16 h 130"/>
                    <a:gd name="T46" fmla="*/ 133 w 464"/>
                    <a:gd name="T47" fmla="*/ 16 h 130"/>
                    <a:gd name="T48" fmla="*/ 127 w 464"/>
                    <a:gd name="T49" fmla="*/ 15 h 130"/>
                    <a:gd name="T50" fmla="*/ 130 w 464"/>
                    <a:gd name="T51" fmla="*/ 12 h 130"/>
                    <a:gd name="T52" fmla="*/ 133 w 464"/>
                    <a:gd name="T53" fmla="*/ 7 h 130"/>
                    <a:gd name="T54" fmla="*/ 134 w 464"/>
                    <a:gd name="T55" fmla="*/ 2 h 130"/>
                    <a:gd name="T56" fmla="*/ 121 w 464"/>
                    <a:gd name="T57" fmla="*/ 0 h 130"/>
                    <a:gd name="T58" fmla="*/ 116 w 464"/>
                    <a:gd name="T59" fmla="*/ 6 h 130"/>
                    <a:gd name="T60" fmla="*/ 110 w 464"/>
                    <a:gd name="T61" fmla="*/ 14 h 130"/>
                    <a:gd name="T62" fmla="*/ 104 w 464"/>
                    <a:gd name="T63" fmla="*/ 20 h 130"/>
                    <a:gd name="T64" fmla="*/ 100 w 464"/>
                    <a:gd name="T65" fmla="*/ 22 h 130"/>
                    <a:gd name="T66" fmla="*/ 96 w 464"/>
                    <a:gd name="T67" fmla="*/ 22 h 130"/>
                    <a:gd name="T68" fmla="*/ 89 w 464"/>
                    <a:gd name="T69" fmla="*/ 22 h 130"/>
                    <a:gd name="T70" fmla="*/ 84 w 464"/>
                    <a:gd name="T71" fmla="*/ 21 h 130"/>
                    <a:gd name="T72" fmla="*/ 77 w 464"/>
                    <a:gd name="T73" fmla="*/ 18 h 130"/>
                    <a:gd name="T74" fmla="*/ 66 w 464"/>
                    <a:gd name="T75" fmla="*/ 10 h 130"/>
                    <a:gd name="T76" fmla="*/ 58 w 464"/>
                    <a:gd name="T77" fmla="*/ 10 h 130"/>
                    <a:gd name="T78" fmla="*/ 48 w 464"/>
                    <a:gd name="T79" fmla="*/ 10 h 130"/>
                    <a:gd name="T80" fmla="*/ 38 w 464"/>
                    <a:gd name="T81" fmla="*/ 12 h 130"/>
                    <a:gd name="T82" fmla="*/ 27 w 464"/>
                    <a:gd name="T83" fmla="*/ 15 h 130"/>
                    <a:gd name="T84" fmla="*/ 17 w 464"/>
                    <a:gd name="T85" fmla="*/ 18 h 130"/>
                    <a:gd name="T86" fmla="*/ 9 w 464"/>
                    <a:gd name="T87" fmla="*/ 22 h 130"/>
                    <a:gd name="T88" fmla="*/ 3 w 464"/>
                    <a:gd name="T89" fmla="*/ 25 h 130"/>
                    <a:gd name="T90" fmla="*/ 0 w 464"/>
                    <a:gd name="T91" fmla="*/ 28 h 13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64" h="130">
                      <a:moveTo>
                        <a:pt x="0" y="86"/>
                      </a:moveTo>
                      <a:lnTo>
                        <a:pt x="19" y="86"/>
                      </a:lnTo>
                      <a:lnTo>
                        <a:pt x="48" y="83"/>
                      </a:lnTo>
                      <a:lnTo>
                        <a:pt x="77" y="81"/>
                      </a:lnTo>
                      <a:lnTo>
                        <a:pt x="106" y="80"/>
                      </a:lnTo>
                      <a:lnTo>
                        <a:pt x="103" y="81"/>
                      </a:lnTo>
                      <a:lnTo>
                        <a:pt x="97" y="84"/>
                      </a:lnTo>
                      <a:lnTo>
                        <a:pt x="92" y="89"/>
                      </a:lnTo>
                      <a:lnTo>
                        <a:pt x="86" y="94"/>
                      </a:lnTo>
                      <a:lnTo>
                        <a:pt x="81" y="100"/>
                      </a:lnTo>
                      <a:lnTo>
                        <a:pt x="76" y="106"/>
                      </a:lnTo>
                      <a:lnTo>
                        <a:pt x="73" y="112"/>
                      </a:lnTo>
                      <a:lnTo>
                        <a:pt x="72" y="117"/>
                      </a:lnTo>
                      <a:lnTo>
                        <a:pt x="73" y="119"/>
                      </a:lnTo>
                      <a:lnTo>
                        <a:pt x="75" y="121"/>
                      </a:lnTo>
                      <a:lnTo>
                        <a:pt x="79" y="124"/>
                      </a:lnTo>
                      <a:lnTo>
                        <a:pt x="83" y="126"/>
                      </a:lnTo>
                      <a:lnTo>
                        <a:pt x="92" y="129"/>
                      </a:lnTo>
                      <a:lnTo>
                        <a:pt x="99" y="130"/>
                      </a:lnTo>
                      <a:lnTo>
                        <a:pt x="109" y="129"/>
                      </a:lnTo>
                      <a:lnTo>
                        <a:pt x="119" y="129"/>
                      </a:lnTo>
                      <a:lnTo>
                        <a:pt x="128" y="127"/>
                      </a:lnTo>
                      <a:lnTo>
                        <a:pt x="138" y="125"/>
                      </a:lnTo>
                      <a:lnTo>
                        <a:pt x="157" y="119"/>
                      </a:lnTo>
                      <a:lnTo>
                        <a:pt x="176" y="114"/>
                      </a:lnTo>
                      <a:lnTo>
                        <a:pt x="196" y="108"/>
                      </a:lnTo>
                      <a:lnTo>
                        <a:pt x="216" y="103"/>
                      </a:lnTo>
                      <a:lnTo>
                        <a:pt x="226" y="101"/>
                      </a:lnTo>
                      <a:lnTo>
                        <a:pt x="237" y="100"/>
                      </a:lnTo>
                      <a:lnTo>
                        <a:pt x="248" y="99"/>
                      </a:lnTo>
                      <a:lnTo>
                        <a:pt x="259" y="99"/>
                      </a:lnTo>
                      <a:lnTo>
                        <a:pt x="266" y="99"/>
                      </a:lnTo>
                      <a:lnTo>
                        <a:pt x="285" y="99"/>
                      </a:lnTo>
                      <a:lnTo>
                        <a:pt x="304" y="99"/>
                      </a:lnTo>
                      <a:lnTo>
                        <a:pt x="311" y="99"/>
                      </a:lnTo>
                      <a:lnTo>
                        <a:pt x="333" y="98"/>
                      </a:lnTo>
                      <a:lnTo>
                        <a:pt x="355" y="96"/>
                      </a:lnTo>
                      <a:lnTo>
                        <a:pt x="376" y="93"/>
                      </a:lnTo>
                      <a:lnTo>
                        <a:pt x="396" y="89"/>
                      </a:lnTo>
                      <a:lnTo>
                        <a:pt x="415" y="83"/>
                      </a:lnTo>
                      <a:lnTo>
                        <a:pt x="432" y="76"/>
                      </a:lnTo>
                      <a:lnTo>
                        <a:pt x="449" y="66"/>
                      </a:lnTo>
                      <a:lnTo>
                        <a:pt x="464" y="55"/>
                      </a:lnTo>
                      <a:lnTo>
                        <a:pt x="455" y="51"/>
                      </a:lnTo>
                      <a:lnTo>
                        <a:pt x="446" y="49"/>
                      </a:lnTo>
                      <a:lnTo>
                        <a:pt x="439" y="48"/>
                      </a:lnTo>
                      <a:lnTo>
                        <a:pt x="430" y="48"/>
                      </a:lnTo>
                      <a:lnTo>
                        <a:pt x="413" y="48"/>
                      </a:lnTo>
                      <a:lnTo>
                        <a:pt x="392" y="49"/>
                      </a:lnTo>
                      <a:lnTo>
                        <a:pt x="396" y="46"/>
                      </a:lnTo>
                      <a:lnTo>
                        <a:pt x="401" y="42"/>
                      </a:lnTo>
                      <a:lnTo>
                        <a:pt x="406" y="36"/>
                      </a:lnTo>
                      <a:lnTo>
                        <a:pt x="410" y="29"/>
                      </a:lnTo>
                      <a:lnTo>
                        <a:pt x="413" y="22"/>
                      </a:lnTo>
                      <a:lnTo>
                        <a:pt x="416" y="15"/>
                      </a:lnTo>
                      <a:lnTo>
                        <a:pt x="418" y="7"/>
                      </a:lnTo>
                      <a:lnTo>
                        <a:pt x="418" y="0"/>
                      </a:lnTo>
                      <a:lnTo>
                        <a:pt x="378" y="0"/>
                      </a:lnTo>
                      <a:lnTo>
                        <a:pt x="368" y="8"/>
                      </a:lnTo>
                      <a:lnTo>
                        <a:pt x="360" y="19"/>
                      </a:lnTo>
                      <a:lnTo>
                        <a:pt x="352" y="30"/>
                      </a:lnTo>
                      <a:lnTo>
                        <a:pt x="343" y="41"/>
                      </a:lnTo>
                      <a:lnTo>
                        <a:pt x="334" y="51"/>
                      </a:lnTo>
                      <a:lnTo>
                        <a:pt x="323" y="59"/>
                      </a:lnTo>
                      <a:lnTo>
                        <a:pt x="318" y="63"/>
                      </a:lnTo>
                      <a:lnTo>
                        <a:pt x="312" y="65"/>
                      </a:lnTo>
                      <a:lnTo>
                        <a:pt x="306" y="68"/>
                      </a:lnTo>
                      <a:lnTo>
                        <a:pt x="298" y="68"/>
                      </a:lnTo>
                      <a:lnTo>
                        <a:pt x="287" y="68"/>
                      </a:lnTo>
                      <a:lnTo>
                        <a:pt x="278" y="66"/>
                      </a:lnTo>
                      <a:lnTo>
                        <a:pt x="270" y="65"/>
                      </a:lnTo>
                      <a:lnTo>
                        <a:pt x="262" y="63"/>
                      </a:lnTo>
                      <a:lnTo>
                        <a:pt x="250" y="59"/>
                      </a:lnTo>
                      <a:lnTo>
                        <a:pt x="239" y="54"/>
                      </a:lnTo>
                      <a:lnTo>
                        <a:pt x="222" y="42"/>
                      </a:lnTo>
                      <a:lnTo>
                        <a:pt x="205" y="31"/>
                      </a:lnTo>
                      <a:lnTo>
                        <a:pt x="193" y="29"/>
                      </a:lnTo>
                      <a:lnTo>
                        <a:pt x="180" y="29"/>
                      </a:lnTo>
                      <a:lnTo>
                        <a:pt x="165" y="29"/>
                      </a:lnTo>
                      <a:lnTo>
                        <a:pt x="150" y="31"/>
                      </a:lnTo>
                      <a:lnTo>
                        <a:pt x="133" y="33"/>
                      </a:lnTo>
                      <a:lnTo>
                        <a:pt x="117" y="37"/>
                      </a:lnTo>
                      <a:lnTo>
                        <a:pt x="101" y="40"/>
                      </a:lnTo>
                      <a:lnTo>
                        <a:pt x="85" y="45"/>
                      </a:lnTo>
                      <a:lnTo>
                        <a:pt x="70" y="49"/>
                      </a:lnTo>
                      <a:lnTo>
                        <a:pt x="54" y="54"/>
                      </a:lnTo>
                      <a:lnTo>
                        <a:pt x="41" y="60"/>
                      </a:lnTo>
                      <a:lnTo>
                        <a:pt x="29" y="65"/>
                      </a:lnTo>
                      <a:lnTo>
                        <a:pt x="18" y="71"/>
                      </a:lnTo>
                      <a:lnTo>
                        <a:pt x="9" y="77"/>
                      </a:lnTo>
                      <a:lnTo>
                        <a:pt x="3" y="82"/>
                      </a:lnTo>
                      <a:lnTo>
                        <a:pt x="0" y="86"/>
                      </a:lnTo>
                    </a:path>
                  </a:pathLst>
                </a:custGeom>
                <a:grpFill/>
                <a:ln w="9525" cap="flat" cmpd="sng">
                  <a:solidFill>
                    <a:schemeClr val="bg1"/>
                  </a:solidFill>
                  <a:prstDash val="solid"/>
                  <a:round/>
                  <a:headEnd type="none" w="med" len="med"/>
                  <a:tailEnd type="none" w="med" len="med"/>
                </a:ln>
                <a:effectLst/>
              </p:spPr>
              <p:txBody>
                <a:bodyPr/>
                <a:lstStyle/>
                <a:p>
                  <a:endParaRPr lang="en-GB" sz="1637"/>
                </a:p>
              </p:txBody>
            </p:sp>
            <p:sp>
              <p:nvSpPr>
                <p:cNvPr id="315" name="Freeform 430"/>
                <p:cNvSpPr>
                  <a:spLocks/>
                </p:cNvSpPr>
                <p:nvPr/>
              </p:nvSpPr>
              <p:spPr bwMode="auto">
                <a:xfrm>
                  <a:off x="1472" y="1205"/>
                  <a:ext cx="153" cy="31"/>
                </a:xfrm>
                <a:custGeom>
                  <a:avLst/>
                  <a:gdLst>
                    <a:gd name="T0" fmla="*/ 20 w 472"/>
                    <a:gd name="T1" fmla="*/ 0 h 92"/>
                    <a:gd name="T2" fmla="*/ 14 w 472"/>
                    <a:gd name="T3" fmla="*/ 0 h 92"/>
                    <a:gd name="T4" fmla="*/ 8 w 472"/>
                    <a:gd name="T5" fmla="*/ 0 h 92"/>
                    <a:gd name="T6" fmla="*/ 4 w 472"/>
                    <a:gd name="T7" fmla="*/ 1 h 92"/>
                    <a:gd name="T8" fmla="*/ 2 w 472"/>
                    <a:gd name="T9" fmla="*/ 3 h 92"/>
                    <a:gd name="T10" fmla="*/ 2 w 472"/>
                    <a:gd name="T11" fmla="*/ 5 h 92"/>
                    <a:gd name="T12" fmla="*/ 3 w 472"/>
                    <a:gd name="T13" fmla="*/ 8 h 92"/>
                    <a:gd name="T14" fmla="*/ 5 w 472"/>
                    <a:gd name="T15" fmla="*/ 11 h 92"/>
                    <a:gd name="T16" fmla="*/ 5 w 472"/>
                    <a:gd name="T17" fmla="*/ 14 h 92"/>
                    <a:gd name="T18" fmla="*/ 1 w 472"/>
                    <a:gd name="T19" fmla="*/ 17 h 92"/>
                    <a:gd name="T20" fmla="*/ 0 w 472"/>
                    <a:gd name="T21" fmla="*/ 19 h 92"/>
                    <a:gd name="T22" fmla="*/ 1 w 472"/>
                    <a:gd name="T23" fmla="*/ 22 h 92"/>
                    <a:gd name="T24" fmla="*/ 5 w 472"/>
                    <a:gd name="T25" fmla="*/ 23 h 92"/>
                    <a:gd name="T26" fmla="*/ 16 w 472"/>
                    <a:gd name="T27" fmla="*/ 26 h 92"/>
                    <a:gd name="T28" fmla="*/ 35 w 472"/>
                    <a:gd name="T29" fmla="*/ 29 h 92"/>
                    <a:gd name="T30" fmla="*/ 54 w 472"/>
                    <a:gd name="T31" fmla="*/ 31 h 92"/>
                    <a:gd name="T32" fmla="*/ 118 w 472"/>
                    <a:gd name="T33" fmla="*/ 31 h 92"/>
                    <a:gd name="T34" fmla="*/ 121 w 472"/>
                    <a:gd name="T35" fmla="*/ 27 h 92"/>
                    <a:gd name="T36" fmla="*/ 125 w 472"/>
                    <a:gd name="T37" fmla="*/ 25 h 92"/>
                    <a:gd name="T38" fmla="*/ 129 w 472"/>
                    <a:gd name="T39" fmla="*/ 25 h 92"/>
                    <a:gd name="T40" fmla="*/ 133 w 472"/>
                    <a:gd name="T41" fmla="*/ 25 h 92"/>
                    <a:gd name="T42" fmla="*/ 143 w 472"/>
                    <a:gd name="T43" fmla="*/ 26 h 92"/>
                    <a:gd name="T44" fmla="*/ 148 w 472"/>
                    <a:gd name="T45" fmla="*/ 26 h 92"/>
                    <a:gd name="T46" fmla="*/ 153 w 472"/>
                    <a:gd name="T47" fmla="*/ 25 h 92"/>
                    <a:gd name="T48" fmla="*/ 151 w 472"/>
                    <a:gd name="T49" fmla="*/ 11 h 92"/>
                    <a:gd name="T50" fmla="*/ 147 w 472"/>
                    <a:gd name="T51" fmla="*/ 9 h 92"/>
                    <a:gd name="T52" fmla="*/ 144 w 472"/>
                    <a:gd name="T53" fmla="*/ 6 h 92"/>
                    <a:gd name="T54" fmla="*/ 140 w 472"/>
                    <a:gd name="T55" fmla="*/ 4 h 92"/>
                    <a:gd name="T56" fmla="*/ 135 w 472"/>
                    <a:gd name="T57" fmla="*/ 4 h 92"/>
                    <a:gd name="T58" fmla="*/ 128 w 472"/>
                    <a:gd name="T59" fmla="*/ 5 h 92"/>
                    <a:gd name="T60" fmla="*/ 119 w 472"/>
                    <a:gd name="T61" fmla="*/ 7 h 92"/>
                    <a:gd name="T62" fmla="*/ 106 w 472"/>
                    <a:gd name="T63" fmla="*/ 11 h 92"/>
                    <a:gd name="T64" fmla="*/ 97 w 472"/>
                    <a:gd name="T65" fmla="*/ 13 h 92"/>
                    <a:gd name="T66" fmla="*/ 89 w 472"/>
                    <a:gd name="T67" fmla="*/ 14 h 92"/>
                    <a:gd name="T68" fmla="*/ 77 w 472"/>
                    <a:gd name="T69" fmla="*/ 14 h 92"/>
                    <a:gd name="T70" fmla="*/ 62 w 472"/>
                    <a:gd name="T71" fmla="*/ 14 h 92"/>
                    <a:gd name="T72" fmla="*/ 51 w 472"/>
                    <a:gd name="T73" fmla="*/ 14 h 92"/>
                    <a:gd name="T74" fmla="*/ 39 w 472"/>
                    <a:gd name="T75" fmla="*/ 14 h 92"/>
                    <a:gd name="T76" fmla="*/ 29 w 472"/>
                    <a:gd name="T77" fmla="*/ 14 h 92"/>
                    <a:gd name="T78" fmla="*/ 25 w 472"/>
                    <a:gd name="T79" fmla="*/ 12 h 92"/>
                    <a:gd name="T80" fmla="*/ 23 w 472"/>
                    <a:gd name="T81" fmla="*/ 9 h 92"/>
                    <a:gd name="T82" fmla="*/ 22 w 472"/>
                    <a:gd name="T83" fmla="*/ 6 h 92"/>
                    <a:gd name="T84" fmla="*/ 22 w 472"/>
                    <a:gd name="T85" fmla="*/ 3 h 92"/>
                    <a:gd name="T86" fmla="*/ 24 w 472"/>
                    <a:gd name="T87" fmla="*/ 1 h 92"/>
                    <a:gd name="T88" fmla="*/ 24 w 472"/>
                    <a:gd name="T89" fmla="*/ 0 h 9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472" h="92">
                      <a:moveTo>
                        <a:pt x="73" y="0"/>
                      </a:moveTo>
                      <a:lnTo>
                        <a:pt x="63" y="0"/>
                      </a:lnTo>
                      <a:lnTo>
                        <a:pt x="53" y="0"/>
                      </a:lnTo>
                      <a:lnTo>
                        <a:pt x="44" y="0"/>
                      </a:lnTo>
                      <a:lnTo>
                        <a:pt x="34" y="0"/>
                      </a:lnTo>
                      <a:lnTo>
                        <a:pt x="24" y="0"/>
                      </a:lnTo>
                      <a:lnTo>
                        <a:pt x="15" y="1"/>
                      </a:lnTo>
                      <a:lnTo>
                        <a:pt x="12" y="3"/>
                      </a:lnTo>
                      <a:lnTo>
                        <a:pt x="8" y="5"/>
                      </a:lnTo>
                      <a:lnTo>
                        <a:pt x="7" y="8"/>
                      </a:lnTo>
                      <a:lnTo>
                        <a:pt x="6" y="12"/>
                      </a:lnTo>
                      <a:lnTo>
                        <a:pt x="7" y="16"/>
                      </a:lnTo>
                      <a:lnTo>
                        <a:pt x="7" y="20"/>
                      </a:lnTo>
                      <a:lnTo>
                        <a:pt x="10" y="23"/>
                      </a:lnTo>
                      <a:lnTo>
                        <a:pt x="11" y="26"/>
                      </a:lnTo>
                      <a:lnTo>
                        <a:pt x="15" y="32"/>
                      </a:lnTo>
                      <a:lnTo>
                        <a:pt x="19" y="36"/>
                      </a:lnTo>
                      <a:lnTo>
                        <a:pt x="14" y="41"/>
                      </a:lnTo>
                      <a:lnTo>
                        <a:pt x="7" y="46"/>
                      </a:lnTo>
                      <a:lnTo>
                        <a:pt x="4" y="50"/>
                      </a:lnTo>
                      <a:lnTo>
                        <a:pt x="2" y="53"/>
                      </a:lnTo>
                      <a:lnTo>
                        <a:pt x="1" y="57"/>
                      </a:lnTo>
                      <a:lnTo>
                        <a:pt x="0" y="61"/>
                      </a:lnTo>
                      <a:lnTo>
                        <a:pt x="2" y="64"/>
                      </a:lnTo>
                      <a:lnTo>
                        <a:pt x="6" y="66"/>
                      </a:lnTo>
                      <a:lnTo>
                        <a:pt x="14" y="69"/>
                      </a:lnTo>
                      <a:lnTo>
                        <a:pt x="24" y="71"/>
                      </a:lnTo>
                      <a:lnTo>
                        <a:pt x="48" y="76"/>
                      </a:lnTo>
                      <a:lnTo>
                        <a:pt x="78" y="81"/>
                      </a:lnTo>
                      <a:lnTo>
                        <a:pt x="109" y="85"/>
                      </a:lnTo>
                      <a:lnTo>
                        <a:pt x="140" y="89"/>
                      </a:lnTo>
                      <a:lnTo>
                        <a:pt x="167" y="91"/>
                      </a:lnTo>
                      <a:lnTo>
                        <a:pt x="186" y="92"/>
                      </a:lnTo>
                      <a:lnTo>
                        <a:pt x="365" y="92"/>
                      </a:lnTo>
                      <a:lnTo>
                        <a:pt x="370" y="86"/>
                      </a:lnTo>
                      <a:lnTo>
                        <a:pt x="374" y="81"/>
                      </a:lnTo>
                      <a:lnTo>
                        <a:pt x="380" y="78"/>
                      </a:lnTo>
                      <a:lnTo>
                        <a:pt x="385" y="75"/>
                      </a:lnTo>
                      <a:lnTo>
                        <a:pt x="391" y="74"/>
                      </a:lnTo>
                      <a:lnTo>
                        <a:pt x="397" y="73"/>
                      </a:lnTo>
                      <a:lnTo>
                        <a:pt x="404" y="73"/>
                      </a:lnTo>
                      <a:lnTo>
                        <a:pt x="411" y="73"/>
                      </a:lnTo>
                      <a:lnTo>
                        <a:pt x="426" y="75"/>
                      </a:lnTo>
                      <a:lnTo>
                        <a:pt x="441" y="76"/>
                      </a:lnTo>
                      <a:lnTo>
                        <a:pt x="449" y="77"/>
                      </a:lnTo>
                      <a:lnTo>
                        <a:pt x="456" y="76"/>
                      </a:lnTo>
                      <a:lnTo>
                        <a:pt x="464" y="75"/>
                      </a:lnTo>
                      <a:lnTo>
                        <a:pt x="472" y="73"/>
                      </a:lnTo>
                      <a:lnTo>
                        <a:pt x="472" y="36"/>
                      </a:lnTo>
                      <a:lnTo>
                        <a:pt x="465" y="33"/>
                      </a:lnTo>
                      <a:lnTo>
                        <a:pt x="459" y="30"/>
                      </a:lnTo>
                      <a:lnTo>
                        <a:pt x="453" y="26"/>
                      </a:lnTo>
                      <a:lnTo>
                        <a:pt x="449" y="22"/>
                      </a:lnTo>
                      <a:lnTo>
                        <a:pt x="443" y="18"/>
                      </a:lnTo>
                      <a:lnTo>
                        <a:pt x="438" y="15"/>
                      </a:lnTo>
                      <a:lnTo>
                        <a:pt x="432" y="13"/>
                      </a:lnTo>
                      <a:lnTo>
                        <a:pt x="426" y="12"/>
                      </a:lnTo>
                      <a:lnTo>
                        <a:pt x="416" y="12"/>
                      </a:lnTo>
                      <a:lnTo>
                        <a:pt x="406" y="13"/>
                      </a:lnTo>
                      <a:lnTo>
                        <a:pt x="396" y="15"/>
                      </a:lnTo>
                      <a:lnTo>
                        <a:pt x="386" y="17"/>
                      </a:lnTo>
                      <a:lnTo>
                        <a:pt x="367" y="22"/>
                      </a:lnTo>
                      <a:lnTo>
                        <a:pt x="348" y="27"/>
                      </a:lnTo>
                      <a:lnTo>
                        <a:pt x="328" y="33"/>
                      </a:lnTo>
                      <a:lnTo>
                        <a:pt x="308" y="38"/>
                      </a:lnTo>
                      <a:lnTo>
                        <a:pt x="298" y="39"/>
                      </a:lnTo>
                      <a:lnTo>
                        <a:pt x="287" y="41"/>
                      </a:lnTo>
                      <a:lnTo>
                        <a:pt x="276" y="42"/>
                      </a:lnTo>
                      <a:lnTo>
                        <a:pt x="265" y="42"/>
                      </a:lnTo>
                      <a:lnTo>
                        <a:pt x="236" y="42"/>
                      </a:lnTo>
                      <a:lnTo>
                        <a:pt x="212" y="42"/>
                      </a:lnTo>
                      <a:lnTo>
                        <a:pt x="191" y="42"/>
                      </a:lnTo>
                      <a:lnTo>
                        <a:pt x="173" y="42"/>
                      </a:lnTo>
                      <a:lnTo>
                        <a:pt x="156" y="42"/>
                      </a:lnTo>
                      <a:lnTo>
                        <a:pt x="139" y="42"/>
                      </a:lnTo>
                      <a:lnTo>
                        <a:pt x="120" y="42"/>
                      </a:lnTo>
                      <a:lnTo>
                        <a:pt x="100" y="42"/>
                      </a:lnTo>
                      <a:lnTo>
                        <a:pt x="91" y="41"/>
                      </a:lnTo>
                      <a:lnTo>
                        <a:pt x="83" y="39"/>
                      </a:lnTo>
                      <a:lnTo>
                        <a:pt x="78" y="36"/>
                      </a:lnTo>
                      <a:lnTo>
                        <a:pt x="73" y="32"/>
                      </a:lnTo>
                      <a:lnTo>
                        <a:pt x="70" y="27"/>
                      </a:lnTo>
                      <a:lnTo>
                        <a:pt x="68" y="22"/>
                      </a:lnTo>
                      <a:lnTo>
                        <a:pt x="67" y="17"/>
                      </a:lnTo>
                      <a:lnTo>
                        <a:pt x="67" y="12"/>
                      </a:lnTo>
                      <a:lnTo>
                        <a:pt x="69" y="8"/>
                      </a:lnTo>
                      <a:lnTo>
                        <a:pt x="72" y="4"/>
                      </a:lnTo>
                      <a:lnTo>
                        <a:pt x="74" y="2"/>
                      </a:lnTo>
                      <a:lnTo>
                        <a:pt x="75" y="1"/>
                      </a:lnTo>
                      <a:lnTo>
                        <a:pt x="74" y="0"/>
                      </a:lnTo>
                      <a:lnTo>
                        <a:pt x="73" y="0"/>
                      </a:lnTo>
                    </a:path>
                  </a:pathLst>
                </a:custGeom>
                <a:grpFill/>
                <a:ln w="9525" cap="flat" cmpd="sng">
                  <a:solidFill>
                    <a:schemeClr val="bg1"/>
                  </a:solidFill>
                  <a:prstDash val="solid"/>
                  <a:round/>
                  <a:headEnd type="none" w="med" len="med"/>
                  <a:tailEnd type="none" w="med" len="med"/>
                </a:ln>
                <a:effectLst/>
              </p:spPr>
              <p:txBody>
                <a:bodyPr/>
                <a:lstStyle/>
                <a:p>
                  <a:endParaRPr lang="en-GB" sz="1637"/>
                </a:p>
              </p:txBody>
            </p:sp>
            <p:sp>
              <p:nvSpPr>
                <p:cNvPr id="316" name="Freeform 431"/>
                <p:cNvSpPr>
                  <a:spLocks/>
                </p:cNvSpPr>
                <p:nvPr/>
              </p:nvSpPr>
              <p:spPr bwMode="auto">
                <a:xfrm>
                  <a:off x="1513" y="1136"/>
                  <a:ext cx="106" cy="45"/>
                </a:xfrm>
                <a:custGeom>
                  <a:avLst/>
                  <a:gdLst>
                    <a:gd name="T0" fmla="*/ 47 w 326"/>
                    <a:gd name="T1" fmla="*/ 36 h 135"/>
                    <a:gd name="T2" fmla="*/ 66 w 326"/>
                    <a:gd name="T3" fmla="*/ 32 h 135"/>
                    <a:gd name="T4" fmla="*/ 85 w 326"/>
                    <a:gd name="T5" fmla="*/ 28 h 135"/>
                    <a:gd name="T6" fmla="*/ 98 w 326"/>
                    <a:gd name="T7" fmla="*/ 25 h 135"/>
                    <a:gd name="T8" fmla="*/ 103 w 326"/>
                    <a:gd name="T9" fmla="*/ 22 h 135"/>
                    <a:gd name="T10" fmla="*/ 105 w 326"/>
                    <a:gd name="T11" fmla="*/ 19 h 135"/>
                    <a:gd name="T12" fmla="*/ 101 w 326"/>
                    <a:gd name="T13" fmla="*/ 16 h 135"/>
                    <a:gd name="T14" fmla="*/ 98 w 326"/>
                    <a:gd name="T15" fmla="*/ 14 h 135"/>
                    <a:gd name="T16" fmla="*/ 93 w 326"/>
                    <a:gd name="T17" fmla="*/ 12 h 135"/>
                    <a:gd name="T18" fmla="*/ 86 w 326"/>
                    <a:gd name="T19" fmla="*/ 11 h 135"/>
                    <a:gd name="T20" fmla="*/ 75 w 326"/>
                    <a:gd name="T21" fmla="*/ 10 h 135"/>
                    <a:gd name="T22" fmla="*/ 68 w 326"/>
                    <a:gd name="T23" fmla="*/ 10 h 135"/>
                    <a:gd name="T24" fmla="*/ 66 w 326"/>
                    <a:gd name="T25" fmla="*/ 8 h 135"/>
                    <a:gd name="T26" fmla="*/ 64 w 326"/>
                    <a:gd name="T27" fmla="*/ 6 h 135"/>
                    <a:gd name="T28" fmla="*/ 62 w 326"/>
                    <a:gd name="T29" fmla="*/ 3 h 135"/>
                    <a:gd name="T30" fmla="*/ 59 w 326"/>
                    <a:gd name="T31" fmla="*/ 2 h 135"/>
                    <a:gd name="T32" fmla="*/ 53 w 326"/>
                    <a:gd name="T33" fmla="*/ 0 h 135"/>
                    <a:gd name="T34" fmla="*/ 44 w 326"/>
                    <a:gd name="T35" fmla="*/ 0 h 135"/>
                    <a:gd name="T36" fmla="*/ 28 w 326"/>
                    <a:gd name="T37" fmla="*/ 3 h 135"/>
                    <a:gd name="T38" fmla="*/ 16 w 326"/>
                    <a:gd name="T39" fmla="*/ 6 h 135"/>
                    <a:gd name="T40" fmla="*/ 9 w 326"/>
                    <a:gd name="T41" fmla="*/ 9 h 135"/>
                    <a:gd name="T42" fmla="*/ 4 w 326"/>
                    <a:gd name="T43" fmla="*/ 12 h 135"/>
                    <a:gd name="T44" fmla="*/ 1 w 326"/>
                    <a:gd name="T45" fmla="*/ 15 h 135"/>
                    <a:gd name="T46" fmla="*/ 0 w 326"/>
                    <a:gd name="T47" fmla="*/ 17 h 135"/>
                    <a:gd name="T48" fmla="*/ 11 w 326"/>
                    <a:gd name="T49" fmla="*/ 25 h 135"/>
                    <a:gd name="T50" fmla="*/ 18 w 326"/>
                    <a:gd name="T51" fmla="*/ 27 h 135"/>
                    <a:gd name="T52" fmla="*/ 13 w 326"/>
                    <a:gd name="T53" fmla="*/ 30 h 135"/>
                    <a:gd name="T54" fmla="*/ 12 w 326"/>
                    <a:gd name="T55" fmla="*/ 33 h 135"/>
                    <a:gd name="T56" fmla="*/ 14 w 326"/>
                    <a:gd name="T57" fmla="*/ 38 h 135"/>
                    <a:gd name="T58" fmla="*/ 16 w 326"/>
                    <a:gd name="T59" fmla="*/ 43 h 135"/>
                    <a:gd name="T60" fmla="*/ 18 w 326"/>
                    <a:gd name="T61" fmla="*/ 45 h 135"/>
                    <a:gd name="T62" fmla="*/ 22 w 326"/>
                    <a:gd name="T63" fmla="*/ 45 h 135"/>
                    <a:gd name="T64" fmla="*/ 28 w 326"/>
                    <a:gd name="T65" fmla="*/ 44 h 135"/>
                    <a:gd name="T66" fmla="*/ 33 w 326"/>
                    <a:gd name="T67" fmla="*/ 42 h 135"/>
                    <a:gd name="T68" fmla="*/ 38 w 326"/>
                    <a:gd name="T69" fmla="*/ 41 h 135"/>
                    <a:gd name="T70" fmla="*/ 39 w 326"/>
                    <a:gd name="T71" fmla="*/ 37 h 13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326" h="135">
                      <a:moveTo>
                        <a:pt x="120" y="111"/>
                      </a:moveTo>
                      <a:lnTo>
                        <a:pt x="145" y="107"/>
                      </a:lnTo>
                      <a:lnTo>
                        <a:pt x="172" y="102"/>
                      </a:lnTo>
                      <a:lnTo>
                        <a:pt x="203" y="97"/>
                      </a:lnTo>
                      <a:lnTo>
                        <a:pt x="233" y="90"/>
                      </a:lnTo>
                      <a:lnTo>
                        <a:pt x="262" y="84"/>
                      </a:lnTo>
                      <a:lnTo>
                        <a:pt x="288" y="78"/>
                      </a:lnTo>
                      <a:lnTo>
                        <a:pt x="300" y="74"/>
                      </a:lnTo>
                      <a:lnTo>
                        <a:pt x="310" y="70"/>
                      </a:lnTo>
                      <a:lnTo>
                        <a:pt x="318" y="66"/>
                      </a:lnTo>
                      <a:lnTo>
                        <a:pt x="326" y="62"/>
                      </a:lnTo>
                      <a:lnTo>
                        <a:pt x="322" y="56"/>
                      </a:lnTo>
                      <a:lnTo>
                        <a:pt x="317" y="52"/>
                      </a:lnTo>
                      <a:lnTo>
                        <a:pt x="312" y="48"/>
                      </a:lnTo>
                      <a:lnTo>
                        <a:pt x="306" y="44"/>
                      </a:lnTo>
                      <a:lnTo>
                        <a:pt x="300" y="41"/>
                      </a:lnTo>
                      <a:lnTo>
                        <a:pt x="293" y="39"/>
                      </a:lnTo>
                      <a:lnTo>
                        <a:pt x="286" y="37"/>
                      </a:lnTo>
                      <a:lnTo>
                        <a:pt x="279" y="34"/>
                      </a:lnTo>
                      <a:lnTo>
                        <a:pt x="263" y="32"/>
                      </a:lnTo>
                      <a:lnTo>
                        <a:pt x="247" y="31"/>
                      </a:lnTo>
                      <a:lnTo>
                        <a:pt x="230" y="30"/>
                      </a:lnTo>
                      <a:lnTo>
                        <a:pt x="213" y="30"/>
                      </a:lnTo>
                      <a:lnTo>
                        <a:pt x="209" y="30"/>
                      </a:lnTo>
                      <a:lnTo>
                        <a:pt x="205" y="27"/>
                      </a:lnTo>
                      <a:lnTo>
                        <a:pt x="202" y="24"/>
                      </a:lnTo>
                      <a:lnTo>
                        <a:pt x="200" y="21"/>
                      </a:lnTo>
                      <a:lnTo>
                        <a:pt x="196" y="17"/>
                      </a:lnTo>
                      <a:lnTo>
                        <a:pt x="194" y="13"/>
                      </a:lnTo>
                      <a:lnTo>
                        <a:pt x="191" y="9"/>
                      </a:lnTo>
                      <a:lnTo>
                        <a:pt x="187" y="6"/>
                      </a:lnTo>
                      <a:lnTo>
                        <a:pt x="180" y="5"/>
                      </a:lnTo>
                      <a:lnTo>
                        <a:pt x="172" y="3"/>
                      </a:lnTo>
                      <a:lnTo>
                        <a:pt x="162" y="1"/>
                      </a:lnTo>
                      <a:lnTo>
                        <a:pt x="153" y="0"/>
                      </a:lnTo>
                      <a:lnTo>
                        <a:pt x="135" y="1"/>
                      </a:lnTo>
                      <a:lnTo>
                        <a:pt x="112" y="4"/>
                      </a:lnTo>
                      <a:lnTo>
                        <a:pt x="87" y="8"/>
                      </a:lnTo>
                      <a:lnTo>
                        <a:pt x="61" y="14"/>
                      </a:lnTo>
                      <a:lnTo>
                        <a:pt x="49" y="17"/>
                      </a:lnTo>
                      <a:lnTo>
                        <a:pt x="38" y="21"/>
                      </a:lnTo>
                      <a:lnTo>
                        <a:pt x="27" y="26"/>
                      </a:lnTo>
                      <a:lnTo>
                        <a:pt x="19" y="31"/>
                      </a:lnTo>
                      <a:lnTo>
                        <a:pt x="11" y="37"/>
                      </a:lnTo>
                      <a:lnTo>
                        <a:pt x="5" y="43"/>
                      </a:lnTo>
                      <a:lnTo>
                        <a:pt x="3" y="46"/>
                      </a:lnTo>
                      <a:lnTo>
                        <a:pt x="1" y="49"/>
                      </a:lnTo>
                      <a:lnTo>
                        <a:pt x="1" y="52"/>
                      </a:lnTo>
                      <a:lnTo>
                        <a:pt x="0" y="56"/>
                      </a:lnTo>
                      <a:lnTo>
                        <a:pt x="34" y="74"/>
                      </a:lnTo>
                      <a:lnTo>
                        <a:pt x="73" y="74"/>
                      </a:lnTo>
                      <a:lnTo>
                        <a:pt x="56" y="81"/>
                      </a:lnTo>
                      <a:lnTo>
                        <a:pt x="44" y="87"/>
                      </a:lnTo>
                      <a:lnTo>
                        <a:pt x="41" y="90"/>
                      </a:lnTo>
                      <a:lnTo>
                        <a:pt x="38" y="94"/>
                      </a:lnTo>
                      <a:lnTo>
                        <a:pt x="38" y="99"/>
                      </a:lnTo>
                      <a:lnTo>
                        <a:pt x="41" y="105"/>
                      </a:lnTo>
                      <a:lnTo>
                        <a:pt x="44" y="114"/>
                      </a:lnTo>
                      <a:lnTo>
                        <a:pt x="47" y="123"/>
                      </a:lnTo>
                      <a:lnTo>
                        <a:pt x="48" y="128"/>
                      </a:lnTo>
                      <a:lnTo>
                        <a:pt x="50" y="131"/>
                      </a:lnTo>
                      <a:lnTo>
                        <a:pt x="55" y="134"/>
                      </a:lnTo>
                      <a:lnTo>
                        <a:pt x="60" y="135"/>
                      </a:lnTo>
                      <a:lnTo>
                        <a:pt x="69" y="135"/>
                      </a:lnTo>
                      <a:lnTo>
                        <a:pt x="78" y="133"/>
                      </a:lnTo>
                      <a:lnTo>
                        <a:pt x="86" y="131"/>
                      </a:lnTo>
                      <a:lnTo>
                        <a:pt x="93" y="129"/>
                      </a:lnTo>
                      <a:lnTo>
                        <a:pt x="101" y="127"/>
                      </a:lnTo>
                      <a:lnTo>
                        <a:pt x="109" y="125"/>
                      </a:lnTo>
                      <a:lnTo>
                        <a:pt x="117" y="124"/>
                      </a:lnTo>
                      <a:lnTo>
                        <a:pt x="126" y="123"/>
                      </a:lnTo>
                      <a:lnTo>
                        <a:pt x="120" y="111"/>
                      </a:lnTo>
                    </a:path>
                  </a:pathLst>
                </a:custGeom>
                <a:grpFill/>
                <a:ln w="9525" cap="flat" cmpd="sng">
                  <a:solidFill>
                    <a:schemeClr val="bg1"/>
                  </a:solidFill>
                  <a:prstDash val="solid"/>
                  <a:round/>
                  <a:headEnd type="none" w="med" len="med"/>
                  <a:tailEnd type="none" w="med" len="med"/>
                </a:ln>
                <a:effectLst/>
              </p:spPr>
              <p:txBody>
                <a:bodyPr/>
                <a:lstStyle/>
                <a:p>
                  <a:endParaRPr lang="en-GB" sz="1637"/>
                </a:p>
              </p:txBody>
            </p:sp>
            <p:sp>
              <p:nvSpPr>
                <p:cNvPr id="317" name="Freeform 432"/>
                <p:cNvSpPr>
                  <a:spLocks/>
                </p:cNvSpPr>
                <p:nvPr/>
              </p:nvSpPr>
              <p:spPr bwMode="auto">
                <a:xfrm>
                  <a:off x="1584" y="1245"/>
                  <a:ext cx="51" cy="18"/>
                </a:xfrm>
                <a:custGeom>
                  <a:avLst/>
                  <a:gdLst>
                    <a:gd name="T0" fmla="*/ 15 w 159"/>
                    <a:gd name="T1" fmla="*/ 17 h 56"/>
                    <a:gd name="T2" fmla="*/ 13 w 159"/>
                    <a:gd name="T3" fmla="*/ 17 h 56"/>
                    <a:gd name="T4" fmla="*/ 11 w 159"/>
                    <a:gd name="T5" fmla="*/ 16 h 56"/>
                    <a:gd name="T6" fmla="*/ 8 w 159"/>
                    <a:gd name="T7" fmla="*/ 14 h 56"/>
                    <a:gd name="T8" fmla="*/ 6 w 159"/>
                    <a:gd name="T9" fmla="*/ 12 h 56"/>
                    <a:gd name="T10" fmla="*/ 3 w 159"/>
                    <a:gd name="T11" fmla="*/ 10 h 56"/>
                    <a:gd name="T12" fmla="*/ 2 w 159"/>
                    <a:gd name="T13" fmla="*/ 8 h 56"/>
                    <a:gd name="T14" fmla="*/ 1 w 159"/>
                    <a:gd name="T15" fmla="*/ 7 h 56"/>
                    <a:gd name="T16" fmla="*/ 0 w 159"/>
                    <a:gd name="T17" fmla="*/ 5 h 56"/>
                    <a:gd name="T18" fmla="*/ 0 w 159"/>
                    <a:gd name="T19" fmla="*/ 4 h 56"/>
                    <a:gd name="T20" fmla="*/ 0 w 159"/>
                    <a:gd name="T21" fmla="*/ 3 h 56"/>
                    <a:gd name="T22" fmla="*/ 7 w 159"/>
                    <a:gd name="T23" fmla="*/ 3 h 56"/>
                    <a:gd name="T24" fmla="*/ 13 w 159"/>
                    <a:gd name="T25" fmla="*/ 3 h 56"/>
                    <a:gd name="T26" fmla="*/ 17 w 159"/>
                    <a:gd name="T27" fmla="*/ 3 h 56"/>
                    <a:gd name="T28" fmla="*/ 19 w 159"/>
                    <a:gd name="T29" fmla="*/ 3 h 56"/>
                    <a:gd name="T30" fmla="*/ 27 w 159"/>
                    <a:gd name="T31" fmla="*/ 2 h 56"/>
                    <a:gd name="T32" fmla="*/ 38 w 159"/>
                    <a:gd name="T33" fmla="*/ 0 h 56"/>
                    <a:gd name="T34" fmla="*/ 40 w 159"/>
                    <a:gd name="T35" fmla="*/ 0 h 56"/>
                    <a:gd name="T36" fmla="*/ 42 w 159"/>
                    <a:gd name="T37" fmla="*/ 0 h 56"/>
                    <a:gd name="T38" fmla="*/ 45 w 159"/>
                    <a:gd name="T39" fmla="*/ 0 h 56"/>
                    <a:gd name="T40" fmla="*/ 47 w 159"/>
                    <a:gd name="T41" fmla="*/ 1 h 56"/>
                    <a:gd name="T42" fmla="*/ 48 w 159"/>
                    <a:gd name="T43" fmla="*/ 2 h 56"/>
                    <a:gd name="T44" fmla="*/ 50 w 159"/>
                    <a:gd name="T45" fmla="*/ 3 h 56"/>
                    <a:gd name="T46" fmla="*/ 51 w 159"/>
                    <a:gd name="T47" fmla="*/ 5 h 56"/>
                    <a:gd name="T48" fmla="*/ 51 w 159"/>
                    <a:gd name="T49" fmla="*/ 7 h 56"/>
                    <a:gd name="T50" fmla="*/ 51 w 159"/>
                    <a:gd name="T51" fmla="*/ 10 h 56"/>
                    <a:gd name="T52" fmla="*/ 50 w 159"/>
                    <a:gd name="T53" fmla="*/ 12 h 56"/>
                    <a:gd name="T54" fmla="*/ 48 w 159"/>
                    <a:gd name="T55" fmla="*/ 14 h 56"/>
                    <a:gd name="T56" fmla="*/ 47 w 159"/>
                    <a:gd name="T57" fmla="*/ 15 h 56"/>
                    <a:gd name="T58" fmla="*/ 45 w 159"/>
                    <a:gd name="T59" fmla="*/ 17 h 56"/>
                    <a:gd name="T60" fmla="*/ 42 w 159"/>
                    <a:gd name="T61" fmla="*/ 17 h 56"/>
                    <a:gd name="T62" fmla="*/ 40 w 159"/>
                    <a:gd name="T63" fmla="*/ 18 h 56"/>
                    <a:gd name="T64" fmla="*/ 37 w 159"/>
                    <a:gd name="T65" fmla="*/ 18 h 56"/>
                    <a:gd name="T66" fmla="*/ 25 w 159"/>
                    <a:gd name="T67" fmla="*/ 18 h 56"/>
                    <a:gd name="T68" fmla="*/ 15 w 159"/>
                    <a:gd name="T69" fmla="*/ 17 h 5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59" h="56">
                      <a:moveTo>
                        <a:pt x="46" y="53"/>
                      </a:moveTo>
                      <a:lnTo>
                        <a:pt x="40" y="52"/>
                      </a:lnTo>
                      <a:lnTo>
                        <a:pt x="34" y="49"/>
                      </a:lnTo>
                      <a:lnTo>
                        <a:pt x="26" y="45"/>
                      </a:lnTo>
                      <a:lnTo>
                        <a:pt x="18" y="38"/>
                      </a:lnTo>
                      <a:lnTo>
                        <a:pt x="10" y="31"/>
                      </a:lnTo>
                      <a:lnTo>
                        <a:pt x="5" y="24"/>
                      </a:lnTo>
                      <a:lnTo>
                        <a:pt x="3" y="21"/>
                      </a:lnTo>
                      <a:lnTo>
                        <a:pt x="1" y="17"/>
                      </a:lnTo>
                      <a:lnTo>
                        <a:pt x="0" y="13"/>
                      </a:lnTo>
                      <a:lnTo>
                        <a:pt x="0" y="10"/>
                      </a:lnTo>
                      <a:lnTo>
                        <a:pt x="21" y="10"/>
                      </a:lnTo>
                      <a:lnTo>
                        <a:pt x="39" y="10"/>
                      </a:lnTo>
                      <a:lnTo>
                        <a:pt x="52" y="10"/>
                      </a:lnTo>
                      <a:lnTo>
                        <a:pt x="59" y="10"/>
                      </a:lnTo>
                      <a:lnTo>
                        <a:pt x="83" y="6"/>
                      </a:lnTo>
                      <a:lnTo>
                        <a:pt x="117" y="0"/>
                      </a:lnTo>
                      <a:lnTo>
                        <a:pt x="125" y="0"/>
                      </a:lnTo>
                      <a:lnTo>
                        <a:pt x="132" y="0"/>
                      </a:lnTo>
                      <a:lnTo>
                        <a:pt x="140" y="0"/>
                      </a:lnTo>
                      <a:lnTo>
                        <a:pt x="147" y="2"/>
                      </a:lnTo>
                      <a:lnTo>
                        <a:pt x="151" y="5"/>
                      </a:lnTo>
                      <a:lnTo>
                        <a:pt x="155" y="9"/>
                      </a:lnTo>
                      <a:lnTo>
                        <a:pt x="158" y="15"/>
                      </a:lnTo>
                      <a:lnTo>
                        <a:pt x="159" y="22"/>
                      </a:lnTo>
                      <a:lnTo>
                        <a:pt x="158" y="30"/>
                      </a:lnTo>
                      <a:lnTo>
                        <a:pt x="155" y="37"/>
                      </a:lnTo>
                      <a:lnTo>
                        <a:pt x="151" y="44"/>
                      </a:lnTo>
                      <a:lnTo>
                        <a:pt x="146" y="48"/>
                      </a:lnTo>
                      <a:lnTo>
                        <a:pt x="139" y="52"/>
                      </a:lnTo>
                      <a:lnTo>
                        <a:pt x="132" y="54"/>
                      </a:lnTo>
                      <a:lnTo>
                        <a:pt x="124" y="55"/>
                      </a:lnTo>
                      <a:lnTo>
                        <a:pt x="115" y="56"/>
                      </a:lnTo>
                      <a:lnTo>
                        <a:pt x="77" y="55"/>
                      </a:lnTo>
                      <a:lnTo>
                        <a:pt x="46" y="53"/>
                      </a:lnTo>
                    </a:path>
                  </a:pathLst>
                </a:custGeom>
                <a:grpFill/>
                <a:ln w="9525" cap="flat" cmpd="sng">
                  <a:solidFill>
                    <a:schemeClr val="bg1"/>
                  </a:solidFill>
                  <a:prstDash val="solid"/>
                  <a:round/>
                  <a:headEnd type="none" w="med" len="med"/>
                  <a:tailEnd type="none" w="med" len="med"/>
                </a:ln>
                <a:effectLst/>
              </p:spPr>
              <p:txBody>
                <a:bodyPr/>
                <a:lstStyle/>
                <a:p>
                  <a:endParaRPr lang="en-GB" sz="1637"/>
                </a:p>
              </p:txBody>
            </p:sp>
            <p:sp>
              <p:nvSpPr>
                <p:cNvPr id="318" name="Freeform 433"/>
                <p:cNvSpPr>
                  <a:spLocks/>
                </p:cNvSpPr>
                <p:nvPr/>
              </p:nvSpPr>
              <p:spPr bwMode="auto">
                <a:xfrm>
                  <a:off x="534" y="1280"/>
                  <a:ext cx="1205" cy="539"/>
                </a:xfrm>
                <a:custGeom>
                  <a:avLst/>
                  <a:gdLst>
                    <a:gd name="T0" fmla="*/ 946 w 3734"/>
                    <a:gd name="T1" fmla="*/ 447 h 1644"/>
                    <a:gd name="T2" fmla="*/ 825 w 3734"/>
                    <a:gd name="T3" fmla="*/ 499 h 1644"/>
                    <a:gd name="T4" fmla="*/ 746 w 3734"/>
                    <a:gd name="T5" fmla="*/ 522 h 1644"/>
                    <a:gd name="T6" fmla="*/ 740 w 3734"/>
                    <a:gd name="T7" fmla="*/ 536 h 1644"/>
                    <a:gd name="T8" fmla="*/ 703 w 3734"/>
                    <a:gd name="T9" fmla="*/ 527 h 1644"/>
                    <a:gd name="T10" fmla="*/ 735 w 3734"/>
                    <a:gd name="T11" fmla="*/ 496 h 1644"/>
                    <a:gd name="T12" fmla="*/ 699 w 3734"/>
                    <a:gd name="T13" fmla="*/ 464 h 1644"/>
                    <a:gd name="T14" fmla="*/ 676 w 3734"/>
                    <a:gd name="T15" fmla="*/ 425 h 1644"/>
                    <a:gd name="T16" fmla="*/ 628 w 3734"/>
                    <a:gd name="T17" fmla="*/ 432 h 1644"/>
                    <a:gd name="T18" fmla="*/ 572 w 3734"/>
                    <a:gd name="T19" fmla="*/ 420 h 1644"/>
                    <a:gd name="T20" fmla="*/ 84 w 3734"/>
                    <a:gd name="T21" fmla="*/ 405 h 1644"/>
                    <a:gd name="T22" fmla="*/ 41 w 3734"/>
                    <a:gd name="T23" fmla="*/ 369 h 1644"/>
                    <a:gd name="T24" fmla="*/ 49 w 3734"/>
                    <a:gd name="T25" fmla="*/ 341 h 1644"/>
                    <a:gd name="T26" fmla="*/ 47 w 3734"/>
                    <a:gd name="T27" fmla="*/ 304 h 1644"/>
                    <a:gd name="T28" fmla="*/ 84 w 3734"/>
                    <a:gd name="T29" fmla="*/ 282 h 1644"/>
                    <a:gd name="T30" fmla="*/ 81 w 3734"/>
                    <a:gd name="T31" fmla="*/ 245 h 1644"/>
                    <a:gd name="T32" fmla="*/ 41 w 3734"/>
                    <a:gd name="T33" fmla="*/ 218 h 1644"/>
                    <a:gd name="T34" fmla="*/ 194 w 3734"/>
                    <a:gd name="T35" fmla="*/ 37 h 1644"/>
                    <a:gd name="T36" fmla="*/ 370 w 3734"/>
                    <a:gd name="T37" fmla="*/ 34 h 1644"/>
                    <a:gd name="T38" fmla="*/ 418 w 3734"/>
                    <a:gd name="T39" fmla="*/ 38 h 1644"/>
                    <a:gd name="T40" fmla="*/ 530 w 3734"/>
                    <a:gd name="T41" fmla="*/ 54 h 1644"/>
                    <a:gd name="T42" fmla="*/ 572 w 3734"/>
                    <a:gd name="T43" fmla="*/ 68 h 1644"/>
                    <a:gd name="T44" fmla="*/ 670 w 3734"/>
                    <a:gd name="T45" fmla="*/ 63 h 1644"/>
                    <a:gd name="T46" fmla="*/ 738 w 3734"/>
                    <a:gd name="T47" fmla="*/ 71 h 1644"/>
                    <a:gd name="T48" fmla="*/ 763 w 3734"/>
                    <a:gd name="T49" fmla="*/ 71 h 1644"/>
                    <a:gd name="T50" fmla="*/ 813 w 3734"/>
                    <a:gd name="T51" fmla="*/ 40 h 1644"/>
                    <a:gd name="T52" fmla="*/ 835 w 3734"/>
                    <a:gd name="T53" fmla="*/ 1 h 1644"/>
                    <a:gd name="T54" fmla="*/ 853 w 3734"/>
                    <a:gd name="T55" fmla="*/ 34 h 1644"/>
                    <a:gd name="T56" fmla="*/ 860 w 3734"/>
                    <a:gd name="T57" fmla="*/ 54 h 1644"/>
                    <a:gd name="T58" fmla="*/ 876 w 3734"/>
                    <a:gd name="T59" fmla="*/ 64 h 1644"/>
                    <a:gd name="T60" fmla="*/ 933 w 3734"/>
                    <a:gd name="T61" fmla="*/ 40 h 1644"/>
                    <a:gd name="T62" fmla="*/ 980 w 3734"/>
                    <a:gd name="T63" fmla="*/ 44 h 1644"/>
                    <a:gd name="T64" fmla="*/ 930 w 3734"/>
                    <a:gd name="T65" fmla="*/ 89 h 1644"/>
                    <a:gd name="T66" fmla="*/ 900 w 3734"/>
                    <a:gd name="T67" fmla="*/ 95 h 1644"/>
                    <a:gd name="T68" fmla="*/ 829 w 3734"/>
                    <a:gd name="T69" fmla="*/ 100 h 1644"/>
                    <a:gd name="T70" fmla="*/ 807 w 3734"/>
                    <a:gd name="T71" fmla="*/ 132 h 1644"/>
                    <a:gd name="T72" fmla="*/ 753 w 3734"/>
                    <a:gd name="T73" fmla="*/ 154 h 1644"/>
                    <a:gd name="T74" fmla="*/ 673 w 3734"/>
                    <a:gd name="T75" fmla="*/ 205 h 1644"/>
                    <a:gd name="T76" fmla="*/ 680 w 3734"/>
                    <a:gd name="T77" fmla="*/ 260 h 1644"/>
                    <a:gd name="T78" fmla="*/ 762 w 3734"/>
                    <a:gd name="T79" fmla="*/ 297 h 1644"/>
                    <a:gd name="T80" fmla="*/ 788 w 3734"/>
                    <a:gd name="T81" fmla="*/ 347 h 1644"/>
                    <a:gd name="T82" fmla="*/ 844 w 3734"/>
                    <a:gd name="T83" fmla="*/ 324 h 1644"/>
                    <a:gd name="T84" fmla="*/ 919 w 3734"/>
                    <a:gd name="T85" fmla="*/ 257 h 1644"/>
                    <a:gd name="T86" fmla="*/ 935 w 3734"/>
                    <a:gd name="T87" fmla="*/ 196 h 1644"/>
                    <a:gd name="T88" fmla="*/ 1018 w 3734"/>
                    <a:gd name="T89" fmla="*/ 164 h 1644"/>
                    <a:gd name="T90" fmla="*/ 1057 w 3734"/>
                    <a:gd name="T91" fmla="*/ 194 h 1644"/>
                    <a:gd name="T92" fmla="*/ 1041 w 3734"/>
                    <a:gd name="T93" fmla="*/ 241 h 1644"/>
                    <a:gd name="T94" fmla="*/ 1127 w 3734"/>
                    <a:gd name="T95" fmla="*/ 201 h 1644"/>
                    <a:gd name="T96" fmla="*/ 1144 w 3734"/>
                    <a:gd name="T97" fmla="*/ 254 h 1644"/>
                    <a:gd name="T98" fmla="*/ 1182 w 3734"/>
                    <a:gd name="T99" fmla="*/ 303 h 1644"/>
                    <a:gd name="T100" fmla="*/ 1167 w 3734"/>
                    <a:gd name="T101" fmla="*/ 315 h 1644"/>
                    <a:gd name="T102" fmla="*/ 1192 w 3734"/>
                    <a:gd name="T103" fmla="*/ 337 h 1644"/>
                    <a:gd name="T104" fmla="*/ 1148 w 3734"/>
                    <a:gd name="T105" fmla="*/ 363 h 1644"/>
                    <a:gd name="T106" fmla="*/ 1017 w 3734"/>
                    <a:gd name="T107" fmla="*/ 383 h 1644"/>
                    <a:gd name="T108" fmla="*/ 921 w 3734"/>
                    <a:gd name="T109" fmla="*/ 438 h 1644"/>
                    <a:gd name="T110" fmla="*/ 937 w 3734"/>
                    <a:gd name="T111" fmla="*/ 438 h 1644"/>
                    <a:gd name="T112" fmla="*/ 1038 w 3734"/>
                    <a:gd name="T113" fmla="*/ 412 h 1644"/>
                    <a:gd name="T114" fmla="*/ 989 w 3734"/>
                    <a:gd name="T115" fmla="*/ 426 h 1644"/>
                    <a:gd name="T116" fmla="*/ 1013 w 3734"/>
                    <a:gd name="T117" fmla="*/ 456 h 1644"/>
                    <a:gd name="T118" fmla="*/ 1048 w 3734"/>
                    <a:gd name="T119" fmla="*/ 483 h 1644"/>
                    <a:gd name="T120" fmla="*/ 974 w 3734"/>
                    <a:gd name="T121" fmla="*/ 513 h 1644"/>
                    <a:gd name="T122" fmla="*/ 1029 w 3734"/>
                    <a:gd name="T123" fmla="*/ 481 h 1644"/>
                    <a:gd name="T124" fmla="*/ 973 w 3734"/>
                    <a:gd name="T125" fmla="*/ 487 h 164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3734" h="1644">
                      <a:moveTo>
                        <a:pt x="3010" y="1478"/>
                      </a:moveTo>
                      <a:lnTo>
                        <a:pt x="3010" y="1410"/>
                      </a:lnTo>
                      <a:lnTo>
                        <a:pt x="3013" y="1407"/>
                      </a:lnTo>
                      <a:lnTo>
                        <a:pt x="3016" y="1400"/>
                      </a:lnTo>
                      <a:lnTo>
                        <a:pt x="3021" y="1391"/>
                      </a:lnTo>
                      <a:lnTo>
                        <a:pt x="3025" y="1382"/>
                      </a:lnTo>
                      <a:lnTo>
                        <a:pt x="3029" y="1370"/>
                      </a:lnTo>
                      <a:lnTo>
                        <a:pt x="3033" y="1360"/>
                      </a:lnTo>
                      <a:lnTo>
                        <a:pt x="3036" y="1351"/>
                      </a:lnTo>
                      <a:lnTo>
                        <a:pt x="3036" y="1343"/>
                      </a:lnTo>
                      <a:lnTo>
                        <a:pt x="3032" y="1345"/>
                      </a:lnTo>
                      <a:lnTo>
                        <a:pt x="3026" y="1345"/>
                      </a:lnTo>
                      <a:lnTo>
                        <a:pt x="3021" y="1346"/>
                      </a:lnTo>
                      <a:lnTo>
                        <a:pt x="3014" y="1345"/>
                      </a:lnTo>
                      <a:lnTo>
                        <a:pt x="2997" y="1344"/>
                      </a:lnTo>
                      <a:lnTo>
                        <a:pt x="2977" y="1343"/>
                      </a:lnTo>
                      <a:lnTo>
                        <a:pt x="2967" y="1343"/>
                      </a:lnTo>
                      <a:lnTo>
                        <a:pt x="2958" y="1345"/>
                      </a:lnTo>
                      <a:lnTo>
                        <a:pt x="2950" y="1348"/>
                      </a:lnTo>
                      <a:lnTo>
                        <a:pt x="2943" y="1352"/>
                      </a:lnTo>
                      <a:lnTo>
                        <a:pt x="2936" y="1356"/>
                      </a:lnTo>
                      <a:lnTo>
                        <a:pt x="2931" y="1362"/>
                      </a:lnTo>
                      <a:lnTo>
                        <a:pt x="2925" y="1368"/>
                      </a:lnTo>
                      <a:lnTo>
                        <a:pt x="2920" y="1374"/>
                      </a:lnTo>
                      <a:lnTo>
                        <a:pt x="2909" y="1388"/>
                      </a:lnTo>
                      <a:lnTo>
                        <a:pt x="2899" y="1403"/>
                      </a:lnTo>
                      <a:lnTo>
                        <a:pt x="2889" y="1416"/>
                      </a:lnTo>
                      <a:lnTo>
                        <a:pt x="2877" y="1429"/>
                      </a:lnTo>
                      <a:lnTo>
                        <a:pt x="2867" y="1438"/>
                      </a:lnTo>
                      <a:lnTo>
                        <a:pt x="2857" y="1445"/>
                      </a:lnTo>
                      <a:lnTo>
                        <a:pt x="2847" y="1451"/>
                      </a:lnTo>
                      <a:lnTo>
                        <a:pt x="2836" y="1456"/>
                      </a:lnTo>
                      <a:lnTo>
                        <a:pt x="2826" y="1460"/>
                      </a:lnTo>
                      <a:lnTo>
                        <a:pt x="2815" y="1463"/>
                      </a:lnTo>
                      <a:lnTo>
                        <a:pt x="2803" y="1465"/>
                      </a:lnTo>
                      <a:lnTo>
                        <a:pt x="2792" y="1467"/>
                      </a:lnTo>
                      <a:lnTo>
                        <a:pt x="2767" y="1470"/>
                      </a:lnTo>
                      <a:lnTo>
                        <a:pt x="2741" y="1472"/>
                      </a:lnTo>
                      <a:lnTo>
                        <a:pt x="2711" y="1474"/>
                      </a:lnTo>
                      <a:lnTo>
                        <a:pt x="2678" y="1478"/>
                      </a:lnTo>
                      <a:lnTo>
                        <a:pt x="2591" y="1478"/>
                      </a:lnTo>
                      <a:lnTo>
                        <a:pt x="2580" y="1494"/>
                      </a:lnTo>
                      <a:lnTo>
                        <a:pt x="2569" y="1508"/>
                      </a:lnTo>
                      <a:lnTo>
                        <a:pt x="2556" y="1522"/>
                      </a:lnTo>
                      <a:lnTo>
                        <a:pt x="2543" y="1534"/>
                      </a:lnTo>
                      <a:lnTo>
                        <a:pt x="2530" y="1547"/>
                      </a:lnTo>
                      <a:lnTo>
                        <a:pt x="2514" y="1558"/>
                      </a:lnTo>
                      <a:lnTo>
                        <a:pt x="2500" y="1568"/>
                      </a:lnTo>
                      <a:lnTo>
                        <a:pt x="2485" y="1577"/>
                      </a:lnTo>
                      <a:lnTo>
                        <a:pt x="2492" y="1571"/>
                      </a:lnTo>
                      <a:lnTo>
                        <a:pt x="2498" y="1565"/>
                      </a:lnTo>
                      <a:lnTo>
                        <a:pt x="2502" y="1559"/>
                      </a:lnTo>
                      <a:lnTo>
                        <a:pt x="2504" y="1553"/>
                      </a:lnTo>
                      <a:lnTo>
                        <a:pt x="2478" y="1546"/>
                      </a:lnTo>
                      <a:lnTo>
                        <a:pt x="2445" y="1559"/>
                      </a:lnTo>
                      <a:lnTo>
                        <a:pt x="2408" y="1562"/>
                      </a:lnTo>
                      <a:lnTo>
                        <a:pt x="2364" y="1565"/>
                      </a:lnTo>
                      <a:lnTo>
                        <a:pt x="2353" y="1567"/>
                      </a:lnTo>
                      <a:lnTo>
                        <a:pt x="2343" y="1569"/>
                      </a:lnTo>
                      <a:lnTo>
                        <a:pt x="2334" y="1572"/>
                      </a:lnTo>
                      <a:lnTo>
                        <a:pt x="2328" y="1575"/>
                      </a:lnTo>
                      <a:lnTo>
                        <a:pt x="2321" y="1579"/>
                      </a:lnTo>
                      <a:lnTo>
                        <a:pt x="2316" y="1583"/>
                      </a:lnTo>
                      <a:lnTo>
                        <a:pt x="2315" y="1586"/>
                      </a:lnTo>
                      <a:lnTo>
                        <a:pt x="2313" y="1589"/>
                      </a:lnTo>
                      <a:lnTo>
                        <a:pt x="2312" y="1592"/>
                      </a:lnTo>
                      <a:lnTo>
                        <a:pt x="2312" y="1595"/>
                      </a:lnTo>
                      <a:lnTo>
                        <a:pt x="2312" y="1598"/>
                      </a:lnTo>
                      <a:lnTo>
                        <a:pt x="2313" y="1602"/>
                      </a:lnTo>
                      <a:lnTo>
                        <a:pt x="2316" y="1604"/>
                      </a:lnTo>
                      <a:lnTo>
                        <a:pt x="2318" y="1605"/>
                      </a:lnTo>
                      <a:lnTo>
                        <a:pt x="2324" y="1608"/>
                      </a:lnTo>
                      <a:lnTo>
                        <a:pt x="2332" y="1609"/>
                      </a:lnTo>
                      <a:lnTo>
                        <a:pt x="2351" y="1609"/>
                      </a:lnTo>
                      <a:lnTo>
                        <a:pt x="2372" y="1608"/>
                      </a:lnTo>
                      <a:lnTo>
                        <a:pt x="2388" y="1607"/>
                      </a:lnTo>
                      <a:lnTo>
                        <a:pt x="2405" y="1605"/>
                      </a:lnTo>
                      <a:lnTo>
                        <a:pt x="2421" y="1602"/>
                      </a:lnTo>
                      <a:lnTo>
                        <a:pt x="2438" y="1597"/>
                      </a:lnTo>
                      <a:lnTo>
                        <a:pt x="2425" y="1602"/>
                      </a:lnTo>
                      <a:lnTo>
                        <a:pt x="2414" y="1605"/>
                      </a:lnTo>
                      <a:lnTo>
                        <a:pt x="2402" y="1607"/>
                      </a:lnTo>
                      <a:lnTo>
                        <a:pt x="2391" y="1608"/>
                      </a:lnTo>
                      <a:lnTo>
                        <a:pt x="2319" y="1626"/>
                      </a:lnTo>
                      <a:lnTo>
                        <a:pt x="2313" y="1629"/>
                      </a:lnTo>
                      <a:lnTo>
                        <a:pt x="2307" y="1631"/>
                      </a:lnTo>
                      <a:lnTo>
                        <a:pt x="2300" y="1633"/>
                      </a:lnTo>
                      <a:lnTo>
                        <a:pt x="2294" y="1634"/>
                      </a:lnTo>
                      <a:lnTo>
                        <a:pt x="2296" y="1633"/>
                      </a:lnTo>
                      <a:lnTo>
                        <a:pt x="2299" y="1632"/>
                      </a:lnTo>
                      <a:lnTo>
                        <a:pt x="2290" y="1625"/>
                      </a:lnTo>
                      <a:lnTo>
                        <a:pt x="2283" y="1620"/>
                      </a:lnTo>
                      <a:lnTo>
                        <a:pt x="2273" y="1617"/>
                      </a:lnTo>
                      <a:lnTo>
                        <a:pt x="2263" y="1614"/>
                      </a:lnTo>
                      <a:lnTo>
                        <a:pt x="2253" y="1613"/>
                      </a:lnTo>
                      <a:lnTo>
                        <a:pt x="2243" y="1614"/>
                      </a:lnTo>
                      <a:lnTo>
                        <a:pt x="2233" y="1615"/>
                      </a:lnTo>
                      <a:lnTo>
                        <a:pt x="2224" y="1616"/>
                      </a:lnTo>
                      <a:lnTo>
                        <a:pt x="2207" y="1621"/>
                      </a:lnTo>
                      <a:lnTo>
                        <a:pt x="2193" y="1626"/>
                      </a:lnTo>
                      <a:lnTo>
                        <a:pt x="2183" y="1630"/>
                      </a:lnTo>
                      <a:lnTo>
                        <a:pt x="2179" y="1632"/>
                      </a:lnTo>
                      <a:lnTo>
                        <a:pt x="2172" y="1634"/>
                      </a:lnTo>
                      <a:lnTo>
                        <a:pt x="2162" y="1637"/>
                      </a:lnTo>
                      <a:lnTo>
                        <a:pt x="2150" y="1641"/>
                      </a:lnTo>
                      <a:lnTo>
                        <a:pt x="2137" y="1644"/>
                      </a:lnTo>
                      <a:lnTo>
                        <a:pt x="2147" y="1632"/>
                      </a:lnTo>
                      <a:lnTo>
                        <a:pt x="2156" y="1623"/>
                      </a:lnTo>
                      <a:lnTo>
                        <a:pt x="2167" y="1614"/>
                      </a:lnTo>
                      <a:lnTo>
                        <a:pt x="2177" y="1607"/>
                      </a:lnTo>
                      <a:lnTo>
                        <a:pt x="2187" y="1599"/>
                      </a:lnTo>
                      <a:lnTo>
                        <a:pt x="2196" y="1592"/>
                      </a:lnTo>
                      <a:lnTo>
                        <a:pt x="2200" y="1587"/>
                      </a:lnTo>
                      <a:lnTo>
                        <a:pt x="2205" y="1582"/>
                      </a:lnTo>
                      <a:lnTo>
                        <a:pt x="2209" y="1577"/>
                      </a:lnTo>
                      <a:lnTo>
                        <a:pt x="2212" y="1571"/>
                      </a:lnTo>
                      <a:lnTo>
                        <a:pt x="2219" y="1558"/>
                      </a:lnTo>
                      <a:lnTo>
                        <a:pt x="2222" y="1544"/>
                      </a:lnTo>
                      <a:lnTo>
                        <a:pt x="2224" y="1533"/>
                      </a:lnTo>
                      <a:lnTo>
                        <a:pt x="2228" y="1522"/>
                      </a:lnTo>
                      <a:lnTo>
                        <a:pt x="2230" y="1511"/>
                      </a:lnTo>
                      <a:lnTo>
                        <a:pt x="2234" y="1501"/>
                      </a:lnTo>
                      <a:lnTo>
                        <a:pt x="2238" y="1495"/>
                      </a:lnTo>
                      <a:lnTo>
                        <a:pt x="2242" y="1490"/>
                      </a:lnTo>
                      <a:lnTo>
                        <a:pt x="2246" y="1484"/>
                      </a:lnTo>
                      <a:lnTo>
                        <a:pt x="2252" y="1478"/>
                      </a:lnTo>
                      <a:lnTo>
                        <a:pt x="2265" y="1478"/>
                      </a:lnTo>
                      <a:lnTo>
                        <a:pt x="2266" y="1485"/>
                      </a:lnTo>
                      <a:lnTo>
                        <a:pt x="2267" y="1492"/>
                      </a:lnTo>
                      <a:lnTo>
                        <a:pt x="2271" y="1497"/>
                      </a:lnTo>
                      <a:lnTo>
                        <a:pt x="2273" y="1502"/>
                      </a:lnTo>
                      <a:lnTo>
                        <a:pt x="2279" y="1512"/>
                      </a:lnTo>
                      <a:lnTo>
                        <a:pt x="2286" y="1521"/>
                      </a:lnTo>
                      <a:lnTo>
                        <a:pt x="2298" y="1517"/>
                      </a:lnTo>
                      <a:lnTo>
                        <a:pt x="2310" y="1512"/>
                      </a:lnTo>
                      <a:lnTo>
                        <a:pt x="2324" y="1508"/>
                      </a:lnTo>
                      <a:lnTo>
                        <a:pt x="2345" y="1503"/>
                      </a:lnTo>
                      <a:lnTo>
                        <a:pt x="2345" y="1478"/>
                      </a:lnTo>
                      <a:lnTo>
                        <a:pt x="2331" y="1462"/>
                      </a:lnTo>
                      <a:lnTo>
                        <a:pt x="2317" y="1444"/>
                      </a:lnTo>
                      <a:lnTo>
                        <a:pt x="2309" y="1436"/>
                      </a:lnTo>
                      <a:lnTo>
                        <a:pt x="2300" y="1428"/>
                      </a:lnTo>
                      <a:lnTo>
                        <a:pt x="2296" y="1426"/>
                      </a:lnTo>
                      <a:lnTo>
                        <a:pt x="2290" y="1424"/>
                      </a:lnTo>
                      <a:lnTo>
                        <a:pt x="2285" y="1423"/>
                      </a:lnTo>
                      <a:lnTo>
                        <a:pt x="2279" y="1422"/>
                      </a:lnTo>
                      <a:lnTo>
                        <a:pt x="2249" y="1423"/>
                      </a:lnTo>
                      <a:lnTo>
                        <a:pt x="2215" y="1424"/>
                      </a:lnTo>
                      <a:lnTo>
                        <a:pt x="2199" y="1424"/>
                      </a:lnTo>
                      <a:lnTo>
                        <a:pt x="2185" y="1423"/>
                      </a:lnTo>
                      <a:lnTo>
                        <a:pt x="2178" y="1422"/>
                      </a:lnTo>
                      <a:lnTo>
                        <a:pt x="2173" y="1420"/>
                      </a:lnTo>
                      <a:lnTo>
                        <a:pt x="2168" y="1419"/>
                      </a:lnTo>
                      <a:lnTo>
                        <a:pt x="2166" y="1416"/>
                      </a:lnTo>
                      <a:lnTo>
                        <a:pt x="2163" y="1413"/>
                      </a:lnTo>
                      <a:lnTo>
                        <a:pt x="2161" y="1409"/>
                      </a:lnTo>
                      <a:lnTo>
                        <a:pt x="2159" y="1405"/>
                      </a:lnTo>
                      <a:lnTo>
                        <a:pt x="2159" y="1401"/>
                      </a:lnTo>
                      <a:lnTo>
                        <a:pt x="2159" y="1392"/>
                      </a:lnTo>
                      <a:lnTo>
                        <a:pt x="2160" y="1382"/>
                      </a:lnTo>
                      <a:lnTo>
                        <a:pt x="2161" y="1372"/>
                      </a:lnTo>
                      <a:lnTo>
                        <a:pt x="2161" y="1362"/>
                      </a:lnTo>
                      <a:lnTo>
                        <a:pt x="2160" y="1357"/>
                      </a:lnTo>
                      <a:lnTo>
                        <a:pt x="2159" y="1352"/>
                      </a:lnTo>
                      <a:lnTo>
                        <a:pt x="2155" y="1347"/>
                      </a:lnTo>
                      <a:lnTo>
                        <a:pt x="2153" y="1343"/>
                      </a:lnTo>
                      <a:lnTo>
                        <a:pt x="2149" y="1339"/>
                      </a:lnTo>
                      <a:lnTo>
                        <a:pt x="2144" y="1335"/>
                      </a:lnTo>
                      <a:lnTo>
                        <a:pt x="2139" y="1332"/>
                      </a:lnTo>
                      <a:lnTo>
                        <a:pt x="2133" y="1329"/>
                      </a:lnTo>
                      <a:lnTo>
                        <a:pt x="2122" y="1323"/>
                      </a:lnTo>
                      <a:lnTo>
                        <a:pt x="2111" y="1315"/>
                      </a:lnTo>
                      <a:lnTo>
                        <a:pt x="2107" y="1311"/>
                      </a:lnTo>
                      <a:lnTo>
                        <a:pt x="2102" y="1307"/>
                      </a:lnTo>
                      <a:lnTo>
                        <a:pt x="2097" y="1301"/>
                      </a:lnTo>
                      <a:lnTo>
                        <a:pt x="2094" y="1295"/>
                      </a:lnTo>
                      <a:lnTo>
                        <a:pt x="2091" y="1288"/>
                      </a:lnTo>
                      <a:lnTo>
                        <a:pt x="2088" y="1279"/>
                      </a:lnTo>
                      <a:lnTo>
                        <a:pt x="2087" y="1269"/>
                      </a:lnTo>
                      <a:lnTo>
                        <a:pt x="2086" y="1256"/>
                      </a:lnTo>
                      <a:lnTo>
                        <a:pt x="2060" y="1256"/>
                      </a:lnTo>
                      <a:lnTo>
                        <a:pt x="2046" y="1259"/>
                      </a:lnTo>
                      <a:lnTo>
                        <a:pt x="2027" y="1261"/>
                      </a:lnTo>
                      <a:lnTo>
                        <a:pt x="2017" y="1262"/>
                      </a:lnTo>
                      <a:lnTo>
                        <a:pt x="2007" y="1265"/>
                      </a:lnTo>
                      <a:lnTo>
                        <a:pt x="2003" y="1267"/>
                      </a:lnTo>
                      <a:lnTo>
                        <a:pt x="1999" y="1270"/>
                      </a:lnTo>
                      <a:lnTo>
                        <a:pt x="1996" y="1272"/>
                      </a:lnTo>
                      <a:lnTo>
                        <a:pt x="1993" y="1275"/>
                      </a:lnTo>
                      <a:lnTo>
                        <a:pt x="1985" y="1287"/>
                      </a:lnTo>
                      <a:lnTo>
                        <a:pt x="1976" y="1301"/>
                      </a:lnTo>
                      <a:lnTo>
                        <a:pt x="1974" y="1304"/>
                      </a:lnTo>
                      <a:lnTo>
                        <a:pt x="1971" y="1307"/>
                      </a:lnTo>
                      <a:lnTo>
                        <a:pt x="1968" y="1310"/>
                      </a:lnTo>
                      <a:lnTo>
                        <a:pt x="1963" y="1313"/>
                      </a:lnTo>
                      <a:lnTo>
                        <a:pt x="1959" y="1315"/>
                      </a:lnTo>
                      <a:lnTo>
                        <a:pt x="1953" y="1316"/>
                      </a:lnTo>
                      <a:lnTo>
                        <a:pt x="1947" y="1317"/>
                      </a:lnTo>
                      <a:lnTo>
                        <a:pt x="1940" y="1318"/>
                      </a:lnTo>
                      <a:lnTo>
                        <a:pt x="1930" y="1317"/>
                      </a:lnTo>
                      <a:lnTo>
                        <a:pt x="1920" y="1315"/>
                      </a:lnTo>
                      <a:lnTo>
                        <a:pt x="1910" y="1313"/>
                      </a:lnTo>
                      <a:lnTo>
                        <a:pt x="1901" y="1309"/>
                      </a:lnTo>
                      <a:lnTo>
                        <a:pt x="1892" y="1305"/>
                      </a:lnTo>
                      <a:lnTo>
                        <a:pt x="1883" y="1300"/>
                      </a:lnTo>
                      <a:lnTo>
                        <a:pt x="1874" y="1294"/>
                      </a:lnTo>
                      <a:lnTo>
                        <a:pt x="1867" y="1287"/>
                      </a:lnTo>
                      <a:lnTo>
                        <a:pt x="1864" y="1289"/>
                      </a:lnTo>
                      <a:lnTo>
                        <a:pt x="1860" y="1293"/>
                      </a:lnTo>
                      <a:lnTo>
                        <a:pt x="1853" y="1298"/>
                      </a:lnTo>
                      <a:lnTo>
                        <a:pt x="1847" y="1299"/>
                      </a:lnTo>
                      <a:lnTo>
                        <a:pt x="1840" y="1299"/>
                      </a:lnTo>
                      <a:lnTo>
                        <a:pt x="1833" y="1297"/>
                      </a:lnTo>
                      <a:lnTo>
                        <a:pt x="1826" y="1294"/>
                      </a:lnTo>
                      <a:lnTo>
                        <a:pt x="1819" y="1290"/>
                      </a:lnTo>
                      <a:lnTo>
                        <a:pt x="1813" y="1287"/>
                      </a:lnTo>
                      <a:lnTo>
                        <a:pt x="1805" y="1284"/>
                      </a:lnTo>
                      <a:lnTo>
                        <a:pt x="1796" y="1282"/>
                      </a:lnTo>
                      <a:lnTo>
                        <a:pt x="1787" y="1281"/>
                      </a:lnTo>
                      <a:lnTo>
                        <a:pt x="1771" y="1281"/>
                      </a:lnTo>
                      <a:lnTo>
                        <a:pt x="1761" y="1281"/>
                      </a:lnTo>
                      <a:lnTo>
                        <a:pt x="1756" y="1281"/>
                      </a:lnTo>
                      <a:lnTo>
                        <a:pt x="1751" y="1280"/>
                      </a:lnTo>
                      <a:lnTo>
                        <a:pt x="1747" y="1279"/>
                      </a:lnTo>
                      <a:lnTo>
                        <a:pt x="1742" y="1277"/>
                      </a:lnTo>
                      <a:lnTo>
                        <a:pt x="1734" y="1272"/>
                      </a:lnTo>
                      <a:lnTo>
                        <a:pt x="1727" y="1264"/>
                      </a:lnTo>
                      <a:lnTo>
                        <a:pt x="1722" y="1256"/>
                      </a:lnTo>
                      <a:lnTo>
                        <a:pt x="1717" y="1247"/>
                      </a:lnTo>
                      <a:lnTo>
                        <a:pt x="1715" y="1237"/>
                      </a:lnTo>
                      <a:lnTo>
                        <a:pt x="1714" y="1226"/>
                      </a:lnTo>
                      <a:lnTo>
                        <a:pt x="1681" y="1226"/>
                      </a:lnTo>
                      <a:lnTo>
                        <a:pt x="1682" y="1231"/>
                      </a:lnTo>
                      <a:lnTo>
                        <a:pt x="1684" y="1239"/>
                      </a:lnTo>
                      <a:lnTo>
                        <a:pt x="1686" y="1247"/>
                      </a:lnTo>
                      <a:lnTo>
                        <a:pt x="1688" y="1256"/>
                      </a:lnTo>
                      <a:lnTo>
                        <a:pt x="259" y="1256"/>
                      </a:lnTo>
                      <a:lnTo>
                        <a:pt x="263" y="1245"/>
                      </a:lnTo>
                      <a:lnTo>
                        <a:pt x="265" y="1239"/>
                      </a:lnTo>
                      <a:lnTo>
                        <a:pt x="265" y="1237"/>
                      </a:lnTo>
                      <a:lnTo>
                        <a:pt x="263" y="1236"/>
                      </a:lnTo>
                      <a:lnTo>
                        <a:pt x="261" y="1235"/>
                      </a:lnTo>
                      <a:lnTo>
                        <a:pt x="258" y="1233"/>
                      </a:lnTo>
                      <a:lnTo>
                        <a:pt x="256" y="1229"/>
                      </a:lnTo>
                      <a:lnTo>
                        <a:pt x="252" y="1220"/>
                      </a:lnTo>
                      <a:lnTo>
                        <a:pt x="247" y="1214"/>
                      </a:lnTo>
                      <a:lnTo>
                        <a:pt x="240" y="1207"/>
                      </a:lnTo>
                      <a:lnTo>
                        <a:pt x="235" y="1200"/>
                      </a:lnTo>
                      <a:lnTo>
                        <a:pt x="233" y="1195"/>
                      </a:lnTo>
                      <a:lnTo>
                        <a:pt x="226" y="1194"/>
                      </a:lnTo>
                      <a:lnTo>
                        <a:pt x="217" y="1190"/>
                      </a:lnTo>
                      <a:lnTo>
                        <a:pt x="213" y="1188"/>
                      </a:lnTo>
                      <a:lnTo>
                        <a:pt x="210" y="1184"/>
                      </a:lnTo>
                      <a:lnTo>
                        <a:pt x="206" y="1181"/>
                      </a:lnTo>
                      <a:lnTo>
                        <a:pt x="206" y="1176"/>
                      </a:lnTo>
                      <a:lnTo>
                        <a:pt x="195" y="1173"/>
                      </a:lnTo>
                      <a:lnTo>
                        <a:pt x="182" y="1168"/>
                      </a:lnTo>
                      <a:lnTo>
                        <a:pt x="169" y="1161"/>
                      </a:lnTo>
                      <a:lnTo>
                        <a:pt x="156" y="1153"/>
                      </a:lnTo>
                      <a:lnTo>
                        <a:pt x="145" y="1145"/>
                      </a:lnTo>
                      <a:lnTo>
                        <a:pt x="135" y="1136"/>
                      </a:lnTo>
                      <a:lnTo>
                        <a:pt x="132" y="1132"/>
                      </a:lnTo>
                      <a:lnTo>
                        <a:pt x="128" y="1128"/>
                      </a:lnTo>
                      <a:lnTo>
                        <a:pt x="127" y="1125"/>
                      </a:lnTo>
                      <a:lnTo>
                        <a:pt x="126" y="1121"/>
                      </a:lnTo>
                      <a:lnTo>
                        <a:pt x="127" y="1116"/>
                      </a:lnTo>
                      <a:lnTo>
                        <a:pt x="128" y="1111"/>
                      </a:lnTo>
                      <a:lnTo>
                        <a:pt x="132" y="1106"/>
                      </a:lnTo>
                      <a:lnTo>
                        <a:pt x="136" y="1102"/>
                      </a:lnTo>
                      <a:lnTo>
                        <a:pt x="146" y="1094"/>
                      </a:lnTo>
                      <a:lnTo>
                        <a:pt x="157" y="1088"/>
                      </a:lnTo>
                      <a:lnTo>
                        <a:pt x="169" y="1083"/>
                      </a:lnTo>
                      <a:lnTo>
                        <a:pt x="180" y="1077"/>
                      </a:lnTo>
                      <a:lnTo>
                        <a:pt x="184" y="1075"/>
                      </a:lnTo>
                      <a:lnTo>
                        <a:pt x="188" y="1072"/>
                      </a:lnTo>
                      <a:lnTo>
                        <a:pt x="191" y="1069"/>
                      </a:lnTo>
                      <a:lnTo>
                        <a:pt x="193" y="1066"/>
                      </a:lnTo>
                      <a:lnTo>
                        <a:pt x="183" y="1065"/>
                      </a:lnTo>
                      <a:lnTo>
                        <a:pt x="170" y="1064"/>
                      </a:lnTo>
                      <a:lnTo>
                        <a:pt x="164" y="1063"/>
                      </a:lnTo>
                      <a:lnTo>
                        <a:pt x="158" y="1060"/>
                      </a:lnTo>
                      <a:lnTo>
                        <a:pt x="156" y="1059"/>
                      </a:lnTo>
                      <a:lnTo>
                        <a:pt x="155" y="1057"/>
                      </a:lnTo>
                      <a:lnTo>
                        <a:pt x="154" y="1056"/>
                      </a:lnTo>
                      <a:lnTo>
                        <a:pt x="153" y="1053"/>
                      </a:lnTo>
                      <a:lnTo>
                        <a:pt x="151" y="1040"/>
                      </a:lnTo>
                      <a:lnTo>
                        <a:pt x="148" y="1029"/>
                      </a:lnTo>
                      <a:lnTo>
                        <a:pt x="147" y="1024"/>
                      </a:lnTo>
                      <a:lnTo>
                        <a:pt x="147" y="1019"/>
                      </a:lnTo>
                      <a:lnTo>
                        <a:pt x="149" y="1015"/>
                      </a:lnTo>
                      <a:lnTo>
                        <a:pt x="153" y="1010"/>
                      </a:lnTo>
                      <a:lnTo>
                        <a:pt x="126" y="1010"/>
                      </a:lnTo>
                      <a:lnTo>
                        <a:pt x="133" y="992"/>
                      </a:lnTo>
                      <a:lnTo>
                        <a:pt x="120" y="989"/>
                      </a:lnTo>
                      <a:lnTo>
                        <a:pt x="106" y="985"/>
                      </a:lnTo>
                      <a:lnTo>
                        <a:pt x="108" y="979"/>
                      </a:lnTo>
                      <a:lnTo>
                        <a:pt x="110" y="973"/>
                      </a:lnTo>
                      <a:lnTo>
                        <a:pt x="112" y="969"/>
                      </a:lnTo>
                      <a:lnTo>
                        <a:pt x="114" y="965"/>
                      </a:lnTo>
                      <a:lnTo>
                        <a:pt x="121" y="958"/>
                      </a:lnTo>
                      <a:lnTo>
                        <a:pt x="127" y="954"/>
                      </a:lnTo>
                      <a:lnTo>
                        <a:pt x="134" y="950"/>
                      </a:lnTo>
                      <a:lnTo>
                        <a:pt x="140" y="947"/>
                      </a:lnTo>
                      <a:lnTo>
                        <a:pt x="147" y="942"/>
                      </a:lnTo>
                      <a:lnTo>
                        <a:pt x="153" y="936"/>
                      </a:lnTo>
                      <a:lnTo>
                        <a:pt x="149" y="932"/>
                      </a:lnTo>
                      <a:lnTo>
                        <a:pt x="148" y="929"/>
                      </a:lnTo>
                      <a:lnTo>
                        <a:pt x="147" y="927"/>
                      </a:lnTo>
                      <a:lnTo>
                        <a:pt x="147" y="925"/>
                      </a:lnTo>
                      <a:lnTo>
                        <a:pt x="148" y="923"/>
                      </a:lnTo>
                      <a:lnTo>
                        <a:pt x="149" y="921"/>
                      </a:lnTo>
                      <a:lnTo>
                        <a:pt x="151" y="919"/>
                      </a:lnTo>
                      <a:lnTo>
                        <a:pt x="155" y="917"/>
                      </a:lnTo>
                      <a:lnTo>
                        <a:pt x="161" y="914"/>
                      </a:lnTo>
                      <a:lnTo>
                        <a:pt x="170" y="910"/>
                      </a:lnTo>
                      <a:lnTo>
                        <a:pt x="178" y="905"/>
                      </a:lnTo>
                      <a:lnTo>
                        <a:pt x="187" y="899"/>
                      </a:lnTo>
                      <a:lnTo>
                        <a:pt x="191" y="901"/>
                      </a:lnTo>
                      <a:lnTo>
                        <a:pt x="196" y="902"/>
                      </a:lnTo>
                      <a:lnTo>
                        <a:pt x="203" y="901"/>
                      </a:lnTo>
                      <a:lnTo>
                        <a:pt x="209" y="900"/>
                      </a:lnTo>
                      <a:lnTo>
                        <a:pt x="215" y="898"/>
                      </a:lnTo>
                      <a:lnTo>
                        <a:pt x="221" y="896"/>
                      </a:lnTo>
                      <a:lnTo>
                        <a:pt x="227" y="893"/>
                      </a:lnTo>
                      <a:lnTo>
                        <a:pt x="233" y="889"/>
                      </a:lnTo>
                      <a:lnTo>
                        <a:pt x="243" y="881"/>
                      </a:lnTo>
                      <a:lnTo>
                        <a:pt x="251" y="872"/>
                      </a:lnTo>
                      <a:lnTo>
                        <a:pt x="255" y="868"/>
                      </a:lnTo>
                      <a:lnTo>
                        <a:pt x="257" y="863"/>
                      </a:lnTo>
                      <a:lnTo>
                        <a:pt x="259" y="859"/>
                      </a:lnTo>
                      <a:lnTo>
                        <a:pt x="259" y="856"/>
                      </a:lnTo>
                      <a:lnTo>
                        <a:pt x="259" y="851"/>
                      </a:lnTo>
                      <a:lnTo>
                        <a:pt x="258" y="847"/>
                      </a:lnTo>
                      <a:lnTo>
                        <a:pt x="256" y="843"/>
                      </a:lnTo>
                      <a:lnTo>
                        <a:pt x="254" y="840"/>
                      </a:lnTo>
                      <a:lnTo>
                        <a:pt x="248" y="832"/>
                      </a:lnTo>
                      <a:lnTo>
                        <a:pt x="243" y="826"/>
                      </a:lnTo>
                      <a:lnTo>
                        <a:pt x="236" y="818"/>
                      </a:lnTo>
                      <a:lnTo>
                        <a:pt x="232" y="811"/>
                      </a:lnTo>
                      <a:lnTo>
                        <a:pt x="229" y="807"/>
                      </a:lnTo>
                      <a:lnTo>
                        <a:pt x="227" y="803"/>
                      </a:lnTo>
                      <a:lnTo>
                        <a:pt x="226" y="799"/>
                      </a:lnTo>
                      <a:lnTo>
                        <a:pt x="226" y="794"/>
                      </a:lnTo>
                      <a:lnTo>
                        <a:pt x="226" y="789"/>
                      </a:lnTo>
                      <a:lnTo>
                        <a:pt x="227" y="784"/>
                      </a:lnTo>
                      <a:lnTo>
                        <a:pt x="228" y="780"/>
                      </a:lnTo>
                      <a:lnTo>
                        <a:pt x="231" y="776"/>
                      </a:lnTo>
                      <a:lnTo>
                        <a:pt x="234" y="770"/>
                      </a:lnTo>
                      <a:lnTo>
                        <a:pt x="239" y="763"/>
                      </a:lnTo>
                      <a:lnTo>
                        <a:pt x="244" y="757"/>
                      </a:lnTo>
                      <a:lnTo>
                        <a:pt x="248" y="751"/>
                      </a:lnTo>
                      <a:lnTo>
                        <a:pt x="250" y="747"/>
                      </a:lnTo>
                      <a:lnTo>
                        <a:pt x="251" y="743"/>
                      </a:lnTo>
                      <a:lnTo>
                        <a:pt x="252" y="738"/>
                      </a:lnTo>
                      <a:lnTo>
                        <a:pt x="252" y="733"/>
                      </a:lnTo>
                      <a:lnTo>
                        <a:pt x="252" y="724"/>
                      </a:lnTo>
                      <a:lnTo>
                        <a:pt x="251" y="716"/>
                      </a:lnTo>
                      <a:lnTo>
                        <a:pt x="249" y="707"/>
                      </a:lnTo>
                      <a:lnTo>
                        <a:pt x="247" y="700"/>
                      </a:lnTo>
                      <a:lnTo>
                        <a:pt x="242" y="686"/>
                      </a:lnTo>
                      <a:lnTo>
                        <a:pt x="234" y="674"/>
                      </a:lnTo>
                      <a:lnTo>
                        <a:pt x="218" y="653"/>
                      </a:lnTo>
                      <a:lnTo>
                        <a:pt x="206" y="634"/>
                      </a:lnTo>
                      <a:lnTo>
                        <a:pt x="200" y="634"/>
                      </a:lnTo>
                      <a:lnTo>
                        <a:pt x="194" y="635"/>
                      </a:lnTo>
                      <a:lnTo>
                        <a:pt x="190" y="637"/>
                      </a:lnTo>
                      <a:lnTo>
                        <a:pt x="186" y="639"/>
                      </a:lnTo>
                      <a:lnTo>
                        <a:pt x="177" y="644"/>
                      </a:lnTo>
                      <a:lnTo>
                        <a:pt x="168" y="649"/>
                      </a:lnTo>
                      <a:lnTo>
                        <a:pt x="159" y="656"/>
                      </a:lnTo>
                      <a:lnTo>
                        <a:pt x="148" y="661"/>
                      </a:lnTo>
                      <a:lnTo>
                        <a:pt x="142" y="662"/>
                      </a:lnTo>
                      <a:lnTo>
                        <a:pt x="135" y="664"/>
                      </a:lnTo>
                      <a:lnTo>
                        <a:pt x="128" y="665"/>
                      </a:lnTo>
                      <a:lnTo>
                        <a:pt x="120" y="665"/>
                      </a:lnTo>
                      <a:lnTo>
                        <a:pt x="113" y="663"/>
                      </a:lnTo>
                      <a:lnTo>
                        <a:pt x="104" y="658"/>
                      </a:lnTo>
                      <a:lnTo>
                        <a:pt x="100" y="656"/>
                      </a:lnTo>
                      <a:lnTo>
                        <a:pt x="97" y="652"/>
                      </a:lnTo>
                      <a:lnTo>
                        <a:pt x="94" y="649"/>
                      </a:lnTo>
                      <a:lnTo>
                        <a:pt x="93" y="646"/>
                      </a:lnTo>
                      <a:lnTo>
                        <a:pt x="93" y="640"/>
                      </a:lnTo>
                      <a:lnTo>
                        <a:pt x="95" y="633"/>
                      </a:lnTo>
                      <a:lnTo>
                        <a:pt x="98" y="628"/>
                      </a:lnTo>
                      <a:lnTo>
                        <a:pt x="100" y="622"/>
                      </a:lnTo>
                      <a:lnTo>
                        <a:pt x="102" y="616"/>
                      </a:lnTo>
                      <a:lnTo>
                        <a:pt x="104" y="610"/>
                      </a:lnTo>
                      <a:lnTo>
                        <a:pt x="105" y="604"/>
                      </a:lnTo>
                      <a:lnTo>
                        <a:pt x="106" y="597"/>
                      </a:lnTo>
                      <a:lnTo>
                        <a:pt x="86" y="597"/>
                      </a:lnTo>
                      <a:lnTo>
                        <a:pt x="64" y="597"/>
                      </a:lnTo>
                      <a:lnTo>
                        <a:pt x="35" y="597"/>
                      </a:lnTo>
                      <a:lnTo>
                        <a:pt x="0" y="597"/>
                      </a:lnTo>
                      <a:lnTo>
                        <a:pt x="585" y="117"/>
                      </a:lnTo>
                      <a:lnTo>
                        <a:pt x="594" y="116"/>
                      </a:lnTo>
                      <a:lnTo>
                        <a:pt x="602" y="114"/>
                      </a:lnTo>
                      <a:lnTo>
                        <a:pt x="612" y="112"/>
                      </a:lnTo>
                      <a:lnTo>
                        <a:pt x="625" y="111"/>
                      </a:lnTo>
                      <a:lnTo>
                        <a:pt x="635" y="111"/>
                      </a:lnTo>
                      <a:lnTo>
                        <a:pt x="643" y="113"/>
                      </a:lnTo>
                      <a:lnTo>
                        <a:pt x="651" y="116"/>
                      </a:lnTo>
                      <a:lnTo>
                        <a:pt x="659" y="119"/>
                      </a:lnTo>
                      <a:lnTo>
                        <a:pt x="674" y="128"/>
                      </a:lnTo>
                      <a:lnTo>
                        <a:pt x="687" y="138"/>
                      </a:lnTo>
                      <a:lnTo>
                        <a:pt x="702" y="148"/>
                      </a:lnTo>
                      <a:lnTo>
                        <a:pt x="716" y="158"/>
                      </a:lnTo>
                      <a:lnTo>
                        <a:pt x="724" y="161"/>
                      </a:lnTo>
                      <a:lnTo>
                        <a:pt x="732" y="164"/>
                      </a:lnTo>
                      <a:lnTo>
                        <a:pt x="741" y="166"/>
                      </a:lnTo>
                      <a:lnTo>
                        <a:pt x="751" y="166"/>
                      </a:lnTo>
                      <a:lnTo>
                        <a:pt x="943" y="111"/>
                      </a:lnTo>
                      <a:lnTo>
                        <a:pt x="1096" y="111"/>
                      </a:lnTo>
                      <a:lnTo>
                        <a:pt x="1103" y="112"/>
                      </a:lnTo>
                      <a:lnTo>
                        <a:pt x="1110" y="113"/>
                      </a:lnTo>
                      <a:lnTo>
                        <a:pt x="1117" y="113"/>
                      </a:lnTo>
                      <a:lnTo>
                        <a:pt x="1123" y="113"/>
                      </a:lnTo>
                      <a:lnTo>
                        <a:pt x="1135" y="110"/>
                      </a:lnTo>
                      <a:lnTo>
                        <a:pt x="1146" y="105"/>
                      </a:lnTo>
                      <a:lnTo>
                        <a:pt x="1157" y="100"/>
                      </a:lnTo>
                      <a:lnTo>
                        <a:pt x="1169" y="93"/>
                      </a:lnTo>
                      <a:lnTo>
                        <a:pt x="1181" y="89"/>
                      </a:lnTo>
                      <a:lnTo>
                        <a:pt x="1196" y="85"/>
                      </a:lnTo>
                      <a:lnTo>
                        <a:pt x="1195" y="90"/>
                      </a:lnTo>
                      <a:lnTo>
                        <a:pt x="1195" y="94"/>
                      </a:lnTo>
                      <a:lnTo>
                        <a:pt x="1195" y="100"/>
                      </a:lnTo>
                      <a:lnTo>
                        <a:pt x="1196" y="104"/>
                      </a:lnTo>
                      <a:lnTo>
                        <a:pt x="1198" y="112"/>
                      </a:lnTo>
                      <a:lnTo>
                        <a:pt x="1202" y="120"/>
                      </a:lnTo>
                      <a:lnTo>
                        <a:pt x="1208" y="126"/>
                      </a:lnTo>
                      <a:lnTo>
                        <a:pt x="1214" y="131"/>
                      </a:lnTo>
                      <a:lnTo>
                        <a:pt x="1218" y="132"/>
                      </a:lnTo>
                      <a:lnTo>
                        <a:pt x="1222" y="134"/>
                      </a:lnTo>
                      <a:lnTo>
                        <a:pt x="1225" y="135"/>
                      </a:lnTo>
                      <a:lnTo>
                        <a:pt x="1230" y="135"/>
                      </a:lnTo>
                      <a:lnTo>
                        <a:pt x="1238" y="134"/>
                      </a:lnTo>
                      <a:lnTo>
                        <a:pt x="1247" y="133"/>
                      </a:lnTo>
                      <a:lnTo>
                        <a:pt x="1255" y="131"/>
                      </a:lnTo>
                      <a:lnTo>
                        <a:pt x="1263" y="128"/>
                      </a:lnTo>
                      <a:lnTo>
                        <a:pt x="1278" y="122"/>
                      </a:lnTo>
                      <a:lnTo>
                        <a:pt x="1296" y="117"/>
                      </a:lnTo>
                      <a:lnTo>
                        <a:pt x="1298" y="119"/>
                      </a:lnTo>
                      <a:lnTo>
                        <a:pt x="1300" y="120"/>
                      </a:lnTo>
                      <a:lnTo>
                        <a:pt x="1303" y="122"/>
                      </a:lnTo>
                      <a:lnTo>
                        <a:pt x="1308" y="123"/>
                      </a:lnTo>
                      <a:lnTo>
                        <a:pt x="1319" y="124"/>
                      </a:lnTo>
                      <a:lnTo>
                        <a:pt x="1331" y="124"/>
                      </a:lnTo>
                      <a:lnTo>
                        <a:pt x="1343" y="123"/>
                      </a:lnTo>
                      <a:lnTo>
                        <a:pt x="1355" y="121"/>
                      </a:lnTo>
                      <a:lnTo>
                        <a:pt x="1367" y="119"/>
                      </a:lnTo>
                      <a:lnTo>
                        <a:pt x="1376" y="117"/>
                      </a:lnTo>
                      <a:lnTo>
                        <a:pt x="1386" y="116"/>
                      </a:lnTo>
                      <a:lnTo>
                        <a:pt x="1397" y="114"/>
                      </a:lnTo>
                      <a:lnTo>
                        <a:pt x="1405" y="112"/>
                      </a:lnTo>
                      <a:lnTo>
                        <a:pt x="1409" y="111"/>
                      </a:lnTo>
                      <a:lnTo>
                        <a:pt x="1424" y="112"/>
                      </a:lnTo>
                      <a:lnTo>
                        <a:pt x="1450" y="117"/>
                      </a:lnTo>
                      <a:lnTo>
                        <a:pt x="1483" y="123"/>
                      </a:lnTo>
                      <a:lnTo>
                        <a:pt x="1520" y="131"/>
                      </a:lnTo>
                      <a:lnTo>
                        <a:pt x="1557" y="140"/>
                      </a:lnTo>
                      <a:lnTo>
                        <a:pt x="1592" y="149"/>
                      </a:lnTo>
                      <a:lnTo>
                        <a:pt x="1621" y="159"/>
                      </a:lnTo>
                      <a:lnTo>
                        <a:pt x="1641" y="166"/>
                      </a:lnTo>
                      <a:lnTo>
                        <a:pt x="1632" y="174"/>
                      </a:lnTo>
                      <a:lnTo>
                        <a:pt x="1623" y="179"/>
                      </a:lnTo>
                      <a:lnTo>
                        <a:pt x="1615" y="183"/>
                      </a:lnTo>
                      <a:lnTo>
                        <a:pt x="1607" y="187"/>
                      </a:lnTo>
                      <a:lnTo>
                        <a:pt x="1601" y="189"/>
                      </a:lnTo>
                      <a:lnTo>
                        <a:pt x="1592" y="193"/>
                      </a:lnTo>
                      <a:lnTo>
                        <a:pt x="1584" y="197"/>
                      </a:lnTo>
                      <a:lnTo>
                        <a:pt x="1574" y="202"/>
                      </a:lnTo>
                      <a:lnTo>
                        <a:pt x="1591" y="209"/>
                      </a:lnTo>
                      <a:lnTo>
                        <a:pt x="1606" y="215"/>
                      </a:lnTo>
                      <a:lnTo>
                        <a:pt x="1621" y="219"/>
                      </a:lnTo>
                      <a:lnTo>
                        <a:pt x="1635" y="222"/>
                      </a:lnTo>
                      <a:lnTo>
                        <a:pt x="1648" y="225"/>
                      </a:lnTo>
                      <a:lnTo>
                        <a:pt x="1662" y="226"/>
                      </a:lnTo>
                      <a:lnTo>
                        <a:pt x="1678" y="227"/>
                      </a:lnTo>
                      <a:lnTo>
                        <a:pt x="1694" y="228"/>
                      </a:lnTo>
                      <a:lnTo>
                        <a:pt x="1711" y="227"/>
                      </a:lnTo>
                      <a:lnTo>
                        <a:pt x="1725" y="224"/>
                      </a:lnTo>
                      <a:lnTo>
                        <a:pt x="1737" y="220"/>
                      </a:lnTo>
                      <a:lnTo>
                        <a:pt x="1749" y="216"/>
                      </a:lnTo>
                      <a:lnTo>
                        <a:pt x="1760" y="211"/>
                      </a:lnTo>
                      <a:lnTo>
                        <a:pt x="1771" y="206"/>
                      </a:lnTo>
                      <a:lnTo>
                        <a:pt x="1782" y="203"/>
                      </a:lnTo>
                      <a:lnTo>
                        <a:pt x="1794" y="202"/>
                      </a:lnTo>
                      <a:lnTo>
                        <a:pt x="1800" y="203"/>
                      </a:lnTo>
                      <a:lnTo>
                        <a:pt x="1805" y="204"/>
                      </a:lnTo>
                      <a:lnTo>
                        <a:pt x="1811" y="206"/>
                      </a:lnTo>
                      <a:lnTo>
                        <a:pt x="1816" y="209"/>
                      </a:lnTo>
                      <a:lnTo>
                        <a:pt x="1825" y="217"/>
                      </a:lnTo>
                      <a:lnTo>
                        <a:pt x="1833" y="225"/>
                      </a:lnTo>
                      <a:lnTo>
                        <a:pt x="1841" y="232"/>
                      </a:lnTo>
                      <a:lnTo>
                        <a:pt x="1849" y="239"/>
                      </a:lnTo>
                      <a:lnTo>
                        <a:pt x="1853" y="242"/>
                      </a:lnTo>
                      <a:lnTo>
                        <a:pt x="1858" y="244"/>
                      </a:lnTo>
                      <a:lnTo>
                        <a:pt x="1862" y="245"/>
                      </a:lnTo>
                      <a:lnTo>
                        <a:pt x="1867" y="246"/>
                      </a:lnTo>
                      <a:lnTo>
                        <a:pt x="1880" y="202"/>
                      </a:lnTo>
                      <a:lnTo>
                        <a:pt x="2006" y="178"/>
                      </a:lnTo>
                      <a:lnTo>
                        <a:pt x="2016" y="179"/>
                      </a:lnTo>
                      <a:lnTo>
                        <a:pt x="2026" y="180"/>
                      </a:lnTo>
                      <a:lnTo>
                        <a:pt x="2035" y="181"/>
                      </a:lnTo>
                      <a:lnTo>
                        <a:pt x="2043" y="183"/>
                      </a:lnTo>
                      <a:lnTo>
                        <a:pt x="2060" y="188"/>
                      </a:lnTo>
                      <a:lnTo>
                        <a:pt x="2076" y="193"/>
                      </a:lnTo>
                      <a:lnTo>
                        <a:pt x="2093" y="199"/>
                      </a:lnTo>
                      <a:lnTo>
                        <a:pt x="2109" y="204"/>
                      </a:lnTo>
                      <a:lnTo>
                        <a:pt x="2118" y="206"/>
                      </a:lnTo>
                      <a:lnTo>
                        <a:pt x="2127" y="207"/>
                      </a:lnTo>
                      <a:lnTo>
                        <a:pt x="2137" y="208"/>
                      </a:lnTo>
                      <a:lnTo>
                        <a:pt x="2147" y="208"/>
                      </a:lnTo>
                      <a:lnTo>
                        <a:pt x="2162" y="208"/>
                      </a:lnTo>
                      <a:lnTo>
                        <a:pt x="2173" y="207"/>
                      </a:lnTo>
                      <a:lnTo>
                        <a:pt x="2183" y="205"/>
                      </a:lnTo>
                      <a:lnTo>
                        <a:pt x="2190" y="202"/>
                      </a:lnTo>
                      <a:lnTo>
                        <a:pt x="2198" y="200"/>
                      </a:lnTo>
                      <a:lnTo>
                        <a:pt x="2206" y="198"/>
                      </a:lnTo>
                      <a:lnTo>
                        <a:pt x="2215" y="197"/>
                      </a:lnTo>
                      <a:lnTo>
                        <a:pt x="2226" y="196"/>
                      </a:lnTo>
                      <a:lnTo>
                        <a:pt x="2235" y="197"/>
                      </a:lnTo>
                      <a:lnTo>
                        <a:pt x="2244" y="199"/>
                      </a:lnTo>
                      <a:lnTo>
                        <a:pt x="2253" y="202"/>
                      </a:lnTo>
                      <a:lnTo>
                        <a:pt x="2261" y="205"/>
                      </a:lnTo>
                      <a:lnTo>
                        <a:pt x="2267" y="209"/>
                      </a:lnTo>
                      <a:lnTo>
                        <a:pt x="2274" y="213"/>
                      </a:lnTo>
                      <a:lnTo>
                        <a:pt x="2280" y="215"/>
                      </a:lnTo>
                      <a:lnTo>
                        <a:pt x="2286" y="216"/>
                      </a:lnTo>
                      <a:lnTo>
                        <a:pt x="2290" y="215"/>
                      </a:lnTo>
                      <a:lnTo>
                        <a:pt x="2296" y="213"/>
                      </a:lnTo>
                      <a:lnTo>
                        <a:pt x="2300" y="211"/>
                      </a:lnTo>
                      <a:lnTo>
                        <a:pt x="2305" y="206"/>
                      </a:lnTo>
                      <a:lnTo>
                        <a:pt x="2309" y="202"/>
                      </a:lnTo>
                      <a:lnTo>
                        <a:pt x="2312" y="197"/>
                      </a:lnTo>
                      <a:lnTo>
                        <a:pt x="2316" y="191"/>
                      </a:lnTo>
                      <a:lnTo>
                        <a:pt x="2319" y="184"/>
                      </a:lnTo>
                      <a:lnTo>
                        <a:pt x="2326" y="183"/>
                      </a:lnTo>
                      <a:lnTo>
                        <a:pt x="2334" y="180"/>
                      </a:lnTo>
                      <a:lnTo>
                        <a:pt x="2339" y="179"/>
                      </a:lnTo>
                      <a:lnTo>
                        <a:pt x="2342" y="177"/>
                      </a:lnTo>
                      <a:lnTo>
                        <a:pt x="2344" y="174"/>
                      </a:lnTo>
                      <a:lnTo>
                        <a:pt x="2345" y="172"/>
                      </a:lnTo>
                      <a:lnTo>
                        <a:pt x="2378" y="172"/>
                      </a:lnTo>
                      <a:lnTo>
                        <a:pt x="2376" y="178"/>
                      </a:lnTo>
                      <a:lnTo>
                        <a:pt x="2372" y="185"/>
                      </a:lnTo>
                      <a:lnTo>
                        <a:pt x="2369" y="189"/>
                      </a:lnTo>
                      <a:lnTo>
                        <a:pt x="2367" y="193"/>
                      </a:lnTo>
                      <a:lnTo>
                        <a:pt x="2366" y="198"/>
                      </a:lnTo>
                      <a:lnTo>
                        <a:pt x="2365" y="202"/>
                      </a:lnTo>
                      <a:lnTo>
                        <a:pt x="2365" y="216"/>
                      </a:lnTo>
                      <a:lnTo>
                        <a:pt x="2365" y="228"/>
                      </a:lnTo>
                      <a:lnTo>
                        <a:pt x="2405" y="228"/>
                      </a:lnTo>
                      <a:lnTo>
                        <a:pt x="2401" y="213"/>
                      </a:lnTo>
                      <a:lnTo>
                        <a:pt x="2400" y="203"/>
                      </a:lnTo>
                      <a:lnTo>
                        <a:pt x="2401" y="195"/>
                      </a:lnTo>
                      <a:lnTo>
                        <a:pt x="2405" y="184"/>
                      </a:lnTo>
                      <a:lnTo>
                        <a:pt x="2430" y="184"/>
                      </a:lnTo>
                      <a:lnTo>
                        <a:pt x="2454" y="182"/>
                      </a:lnTo>
                      <a:lnTo>
                        <a:pt x="2465" y="180"/>
                      </a:lnTo>
                      <a:lnTo>
                        <a:pt x="2476" y="178"/>
                      </a:lnTo>
                      <a:lnTo>
                        <a:pt x="2487" y="175"/>
                      </a:lnTo>
                      <a:lnTo>
                        <a:pt x="2497" y="172"/>
                      </a:lnTo>
                      <a:lnTo>
                        <a:pt x="2506" y="168"/>
                      </a:lnTo>
                      <a:lnTo>
                        <a:pt x="2513" y="164"/>
                      </a:lnTo>
                      <a:lnTo>
                        <a:pt x="2521" y="159"/>
                      </a:lnTo>
                      <a:lnTo>
                        <a:pt x="2526" y="153"/>
                      </a:lnTo>
                      <a:lnTo>
                        <a:pt x="2532" y="146"/>
                      </a:lnTo>
                      <a:lnTo>
                        <a:pt x="2535" y="139"/>
                      </a:lnTo>
                      <a:lnTo>
                        <a:pt x="2537" y="131"/>
                      </a:lnTo>
                      <a:lnTo>
                        <a:pt x="2539" y="123"/>
                      </a:lnTo>
                      <a:lnTo>
                        <a:pt x="2532" y="123"/>
                      </a:lnTo>
                      <a:lnTo>
                        <a:pt x="2518" y="123"/>
                      </a:lnTo>
                      <a:lnTo>
                        <a:pt x="2501" y="123"/>
                      </a:lnTo>
                      <a:lnTo>
                        <a:pt x="2491" y="123"/>
                      </a:lnTo>
                      <a:lnTo>
                        <a:pt x="2487" y="120"/>
                      </a:lnTo>
                      <a:lnTo>
                        <a:pt x="2483" y="115"/>
                      </a:lnTo>
                      <a:lnTo>
                        <a:pt x="2479" y="110"/>
                      </a:lnTo>
                      <a:lnTo>
                        <a:pt x="2477" y="105"/>
                      </a:lnTo>
                      <a:lnTo>
                        <a:pt x="2473" y="93"/>
                      </a:lnTo>
                      <a:lnTo>
                        <a:pt x="2472" y="85"/>
                      </a:lnTo>
                      <a:lnTo>
                        <a:pt x="2473" y="81"/>
                      </a:lnTo>
                      <a:lnTo>
                        <a:pt x="2476" y="75"/>
                      </a:lnTo>
                      <a:lnTo>
                        <a:pt x="2480" y="69"/>
                      </a:lnTo>
                      <a:lnTo>
                        <a:pt x="2487" y="62"/>
                      </a:lnTo>
                      <a:lnTo>
                        <a:pt x="2495" y="55"/>
                      </a:lnTo>
                      <a:lnTo>
                        <a:pt x="2503" y="48"/>
                      </a:lnTo>
                      <a:lnTo>
                        <a:pt x="2512" y="40"/>
                      </a:lnTo>
                      <a:lnTo>
                        <a:pt x="2523" y="33"/>
                      </a:lnTo>
                      <a:lnTo>
                        <a:pt x="2534" y="26"/>
                      </a:lnTo>
                      <a:lnTo>
                        <a:pt x="2545" y="20"/>
                      </a:lnTo>
                      <a:lnTo>
                        <a:pt x="2556" y="15"/>
                      </a:lnTo>
                      <a:lnTo>
                        <a:pt x="2567" y="10"/>
                      </a:lnTo>
                      <a:lnTo>
                        <a:pt x="2577" y="6"/>
                      </a:lnTo>
                      <a:lnTo>
                        <a:pt x="2587" y="2"/>
                      </a:lnTo>
                      <a:lnTo>
                        <a:pt x="2597" y="0"/>
                      </a:lnTo>
                      <a:lnTo>
                        <a:pt x="2604" y="0"/>
                      </a:lnTo>
                      <a:lnTo>
                        <a:pt x="2611" y="0"/>
                      </a:lnTo>
                      <a:lnTo>
                        <a:pt x="2621" y="0"/>
                      </a:lnTo>
                      <a:lnTo>
                        <a:pt x="2631" y="0"/>
                      </a:lnTo>
                      <a:lnTo>
                        <a:pt x="2637" y="0"/>
                      </a:lnTo>
                      <a:lnTo>
                        <a:pt x="2638" y="8"/>
                      </a:lnTo>
                      <a:lnTo>
                        <a:pt x="2638" y="16"/>
                      </a:lnTo>
                      <a:lnTo>
                        <a:pt x="2640" y="24"/>
                      </a:lnTo>
                      <a:lnTo>
                        <a:pt x="2642" y="30"/>
                      </a:lnTo>
                      <a:lnTo>
                        <a:pt x="2646" y="42"/>
                      </a:lnTo>
                      <a:lnTo>
                        <a:pt x="2651" y="53"/>
                      </a:lnTo>
                      <a:lnTo>
                        <a:pt x="2656" y="62"/>
                      </a:lnTo>
                      <a:lnTo>
                        <a:pt x="2660" y="71"/>
                      </a:lnTo>
                      <a:lnTo>
                        <a:pt x="2663" y="81"/>
                      </a:lnTo>
                      <a:lnTo>
                        <a:pt x="2664" y="91"/>
                      </a:lnTo>
                      <a:lnTo>
                        <a:pt x="2664" y="95"/>
                      </a:lnTo>
                      <a:lnTo>
                        <a:pt x="2663" y="97"/>
                      </a:lnTo>
                      <a:lnTo>
                        <a:pt x="2660" y="100"/>
                      </a:lnTo>
                      <a:lnTo>
                        <a:pt x="2658" y="101"/>
                      </a:lnTo>
                      <a:lnTo>
                        <a:pt x="2652" y="103"/>
                      </a:lnTo>
                      <a:lnTo>
                        <a:pt x="2644" y="105"/>
                      </a:lnTo>
                      <a:lnTo>
                        <a:pt x="2635" y="106"/>
                      </a:lnTo>
                      <a:lnTo>
                        <a:pt x="2627" y="108"/>
                      </a:lnTo>
                      <a:lnTo>
                        <a:pt x="2624" y="109"/>
                      </a:lnTo>
                      <a:lnTo>
                        <a:pt x="2622" y="111"/>
                      </a:lnTo>
                      <a:lnTo>
                        <a:pt x="2620" y="114"/>
                      </a:lnTo>
                      <a:lnTo>
                        <a:pt x="2618" y="117"/>
                      </a:lnTo>
                      <a:lnTo>
                        <a:pt x="2627" y="118"/>
                      </a:lnTo>
                      <a:lnTo>
                        <a:pt x="2637" y="120"/>
                      </a:lnTo>
                      <a:lnTo>
                        <a:pt x="2647" y="122"/>
                      </a:lnTo>
                      <a:lnTo>
                        <a:pt x="2657" y="123"/>
                      </a:lnTo>
                      <a:lnTo>
                        <a:pt x="2653" y="127"/>
                      </a:lnTo>
                      <a:lnTo>
                        <a:pt x="2649" y="132"/>
                      </a:lnTo>
                      <a:lnTo>
                        <a:pt x="2647" y="137"/>
                      </a:lnTo>
                      <a:lnTo>
                        <a:pt x="2646" y="142"/>
                      </a:lnTo>
                      <a:lnTo>
                        <a:pt x="2644" y="153"/>
                      </a:lnTo>
                      <a:lnTo>
                        <a:pt x="2644" y="166"/>
                      </a:lnTo>
                      <a:lnTo>
                        <a:pt x="2645" y="168"/>
                      </a:lnTo>
                      <a:lnTo>
                        <a:pt x="2646" y="169"/>
                      </a:lnTo>
                      <a:lnTo>
                        <a:pt x="2648" y="169"/>
                      </a:lnTo>
                      <a:lnTo>
                        <a:pt x="2652" y="168"/>
                      </a:lnTo>
                      <a:lnTo>
                        <a:pt x="2658" y="167"/>
                      </a:lnTo>
                      <a:lnTo>
                        <a:pt x="2664" y="166"/>
                      </a:lnTo>
                      <a:lnTo>
                        <a:pt x="2664" y="160"/>
                      </a:lnTo>
                      <a:lnTo>
                        <a:pt x="2664" y="153"/>
                      </a:lnTo>
                      <a:lnTo>
                        <a:pt x="2672" y="151"/>
                      </a:lnTo>
                      <a:lnTo>
                        <a:pt x="2680" y="148"/>
                      </a:lnTo>
                      <a:lnTo>
                        <a:pt x="2685" y="145"/>
                      </a:lnTo>
                      <a:lnTo>
                        <a:pt x="2689" y="142"/>
                      </a:lnTo>
                      <a:lnTo>
                        <a:pt x="2692" y="139"/>
                      </a:lnTo>
                      <a:lnTo>
                        <a:pt x="2696" y="137"/>
                      </a:lnTo>
                      <a:lnTo>
                        <a:pt x="2700" y="135"/>
                      </a:lnTo>
                      <a:lnTo>
                        <a:pt x="2704" y="135"/>
                      </a:lnTo>
                      <a:lnTo>
                        <a:pt x="2709" y="137"/>
                      </a:lnTo>
                      <a:lnTo>
                        <a:pt x="2715" y="138"/>
                      </a:lnTo>
                      <a:lnTo>
                        <a:pt x="2724" y="139"/>
                      </a:lnTo>
                      <a:lnTo>
                        <a:pt x="2733" y="140"/>
                      </a:lnTo>
                      <a:lnTo>
                        <a:pt x="2749" y="141"/>
                      </a:lnTo>
                      <a:lnTo>
                        <a:pt x="2757" y="141"/>
                      </a:lnTo>
                      <a:lnTo>
                        <a:pt x="2752" y="153"/>
                      </a:lnTo>
                      <a:lnTo>
                        <a:pt x="2745" y="164"/>
                      </a:lnTo>
                      <a:lnTo>
                        <a:pt x="2738" y="173"/>
                      </a:lnTo>
                      <a:lnTo>
                        <a:pt x="2731" y="180"/>
                      </a:lnTo>
                      <a:lnTo>
                        <a:pt x="2723" y="188"/>
                      </a:lnTo>
                      <a:lnTo>
                        <a:pt x="2716" y="196"/>
                      </a:lnTo>
                      <a:lnTo>
                        <a:pt x="2710" y="204"/>
                      </a:lnTo>
                      <a:lnTo>
                        <a:pt x="2704" y="216"/>
                      </a:lnTo>
                      <a:lnTo>
                        <a:pt x="2712" y="217"/>
                      </a:lnTo>
                      <a:lnTo>
                        <a:pt x="2719" y="218"/>
                      </a:lnTo>
                      <a:lnTo>
                        <a:pt x="2725" y="218"/>
                      </a:lnTo>
                      <a:lnTo>
                        <a:pt x="2732" y="218"/>
                      </a:lnTo>
                      <a:lnTo>
                        <a:pt x="2744" y="216"/>
                      </a:lnTo>
                      <a:lnTo>
                        <a:pt x="2750" y="216"/>
                      </a:lnTo>
                      <a:lnTo>
                        <a:pt x="2780" y="194"/>
                      </a:lnTo>
                      <a:lnTo>
                        <a:pt x="2810" y="172"/>
                      </a:lnTo>
                      <a:lnTo>
                        <a:pt x="2817" y="167"/>
                      </a:lnTo>
                      <a:lnTo>
                        <a:pt x="2825" y="163"/>
                      </a:lnTo>
                      <a:lnTo>
                        <a:pt x="2834" y="159"/>
                      </a:lnTo>
                      <a:lnTo>
                        <a:pt x="2843" y="155"/>
                      </a:lnTo>
                      <a:lnTo>
                        <a:pt x="2853" y="151"/>
                      </a:lnTo>
                      <a:lnTo>
                        <a:pt x="2862" y="149"/>
                      </a:lnTo>
                      <a:lnTo>
                        <a:pt x="2872" y="147"/>
                      </a:lnTo>
                      <a:lnTo>
                        <a:pt x="2883" y="147"/>
                      </a:lnTo>
                      <a:lnTo>
                        <a:pt x="2884" y="139"/>
                      </a:lnTo>
                      <a:lnTo>
                        <a:pt x="2885" y="132"/>
                      </a:lnTo>
                      <a:lnTo>
                        <a:pt x="2888" y="126"/>
                      </a:lnTo>
                      <a:lnTo>
                        <a:pt x="2891" y="121"/>
                      </a:lnTo>
                      <a:lnTo>
                        <a:pt x="2895" y="116"/>
                      </a:lnTo>
                      <a:lnTo>
                        <a:pt x="2900" y="111"/>
                      </a:lnTo>
                      <a:lnTo>
                        <a:pt x="2905" y="107"/>
                      </a:lnTo>
                      <a:lnTo>
                        <a:pt x="2912" y="104"/>
                      </a:lnTo>
                      <a:lnTo>
                        <a:pt x="2918" y="101"/>
                      </a:lnTo>
                      <a:lnTo>
                        <a:pt x="2925" y="98"/>
                      </a:lnTo>
                      <a:lnTo>
                        <a:pt x="2932" y="96"/>
                      </a:lnTo>
                      <a:lnTo>
                        <a:pt x="2939" y="94"/>
                      </a:lnTo>
                      <a:lnTo>
                        <a:pt x="2955" y="92"/>
                      </a:lnTo>
                      <a:lnTo>
                        <a:pt x="2970" y="91"/>
                      </a:lnTo>
                      <a:lnTo>
                        <a:pt x="2978" y="92"/>
                      </a:lnTo>
                      <a:lnTo>
                        <a:pt x="2984" y="93"/>
                      </a:lnTo>
                      <a:lnTo>
                        <a:pt x="2993" y="95"/>
                      </a:lnTo>
                      <a:lnTo>
                        <a:pt x="3001" y="98"/>
                      </a:lnTo>
                      <a:lnTo>
                        <a:pt x="3008" y="101"/>
                      </a:lnTo>
                      <a:lnTo>
                        <a:pt x="3017" y="103"/>
                      </a:lnTo>
                      <a:lnTo>
                        <a:pt x="3026" y="104"/>
                      </a:lnTo>
                      <a:lnTo>
                        <a:pt x="3036" y="105"/>
                      </a:lnTo>
                      <a:lnTo>
                        <a:pt x="3036" y="110"/>
                      </a:lnTo>
                      <a:lnTo>
                        <a:pt x="3036" y="117"/>
                      </a:lnTo>
                      <a:lnTo>
                        <a:pt x="3036" y="126"/>
                      </a:lnTo>
                      <a:lnTo>
                        <a:pt x="3036" y="135"/>
                      </a:lnTo>
                      <a:lnTo>
                        <a:pt x="3036" y="139"/>
                      </a:lnTo>
                      <a:lnTo>
                        <a:pt x="3035" y="143"/>
                      </a:lnTo>
                      <a:lnTo>
                        <a:pt x="3033" y="147"/>
                      </a:lnTo>
                      <a:lnTo>
                        <a:pt x="3030" y="150"/>
                      </a:lnTo>
                      <a:lnTo>
                        <a:pt x="3025" y="157"/>
                      </a:lnTo>
                      <a:lnTo>
                        <a:pt x="3018" y="162"/>
                      </a:lnTo>
                      <a:lnTo>
                        <a:pt x="3003" y="170"/>
                      </a:lnTo>
                      <a:lnTo>
                        <a:pt x="2990" y="178"/>
                      </a:lnTo>
                      <a:lnTo>
                        <a:pt x="2982" y="196"/>
                      </a:lnTo>
                      <a:lnTo>
                        <a:pt x="2973" y="214"/>
                      </a:lnTo>
                      <a:lnTo>
                        <a:pt x="2968" y="222"/>
                      </a:lnTo>
                      <a:lnTo>
                        <a:pt x="2963" y="229"/>
                      </a:lnTo>
                      <a:lnTo>
                        <a:pt x="2958" y="236"/>
                      </a:lnTo>
                      <a:lnTo>
                        <a:pt x="2951" y="243"/>
                      </a:lnTo>
                      <a:lnTo>
                        <a:pt x="2945" y="249"/>
                      </a:lnTo>
                      <a:lnTo>
                        <a:pt x="2938" y="254"/>
                      </a:lnTo>
                      <a:lnTo>
                        <a:pt x="2931" y="259"/>
                      </a:lnTo>
                      <a:lnTo>
                        <a:pt x="2923" y="263"/>
                      </a:lnTo>
                      <a:lnTo>
                        <a:pt x="2914" y="267"/>
                      </a:lnTo>
                      <a:lnTo>
                        <a:pt x="2904" y="269"/>
                      </a:lnTo>
                      <a:lnTo>
                        <a:pt x="2894" y="271"/>
                      </a:lnTo>
                      <a:lnTo>
                        <a:pt x="2883" y="271"/>
                      </a:lnTo>
                      <a:lnTo>
                        <a:pt x="2878" y="271"/>
                      </a:lnTo>
                      <a:lnTo>
                        <a:pt x="2872" y="270"/>
                      </a:lnTo>
                      <a:lnTo>
                        <a:pt x="2867" y="268"/>
                      </a:lnTo>
                      <a:lnTo>
                        <a:pt x="2861" y="266"/>
                      </a:lnTo>
                      <a:lnTo>
                        <a:pt x="2856" y="263"/>
                      </a:lnTo>
                      <a:lnTo>
                        <a:pt x="2850" y="260"/>
                      </a:lnTo>
                      <a:lnTo>
                        <a:pt x="2847" y="256"/>
                      </a:lnTo>
                      <a:lnTo>
                        <a:pt x="2844" y="252"/>
                      </a:lnTo>
                      <a:lnTo>
                        <a:pt x="2838" y="257"/>
                      </a:lnTo>
                      <a:lnTo>
                        <a:pt x="2835" y="264"/>
                      </a:lnTo>
                      <a:lnTo>
                        <a:pt x="2834" y="268"/>
                      </a:lnTo>
                      <a:lnTo>
                        <a:pt x="2834" y="272"/>
                      </a:lnTo>
                      <a:lnTo>
                        <a:pt x="2835" y="275"/>
                      </a:lnTo>
                      <a:lnTo>
                        <a:pt x="2837" y="277"/>
                      </a:lnTo>
                      <a:lnTo>
                        <a:pt x="2829" y="278"/>
                      </a:lnTo>
                      <a:lnTo>
                        <a:pt x="2823" y="279"/>
                      </a:lnTo>
                      <a:lnTo>
                        <a:pt x="2817" y="281"/>
                      </a:lnTo>
                      <a:lnTo>
                        <a:pt x="2811" y="283"/>
                      </a:lnTo>
                      <a:lnTo>
                        <a:pt x="2805" y="285"/>
                      </a:lnTo>
                      <a:lnTo>
                        <a:pt x="2801" y="287"/>
                      </a:lnTo>
                      <a:lnTo>
                        <a:pt x="2795" y="289"/>
                      </a:lnTo>
                      <a:lnTo>
                        <a:pt x="2790" y="289"/>
                      </a:lnTo>
                      <a:lnTo>
                        <a:pt x="2783" y="288"/>
                      </a:lnTo>
                      <a:lnTo>
                        <a:pt x="2777" y="286"/>
                      </a:lnTo>
                      <a:lnTo>
                        <a:pt x="2770" y="283"/>
                      </a:lnTo>
                      <a:lnTo>
                        <a:pt x="2765" y="279"/>
                      </a:lnTo>
                      <a:lnTo>
                        <a:pt x="2754" y="271"/>
                      </a:lnTo>
                      <a:lnTo>
                        <a:pt x="2744" y="264"/>
                      </a:lnTo>
                      <a:lnTo>
                        <a:pt x="2730" y="272"/>
                      </a:lnTo>
                      <a:lnTo>
                        <a:pt x="2717" y="281"/>
                      </a:lnTo>
                      <a:lnTo>
                        <a:pt x="2707" y="290"/>
                      </a:lnTo>
                      <a:lnTo>
                        <a:pt x="2696" y="299"/>
                      </a:lnTo>
                      <a:lnTo>
                        <a:pt x="2685" y="307"/>
                      </a:lnTo>
                      <a:lnTo>
                        <a:pt x="2671" y="313"/>
                      </a:lnTo>
                      <a:lnTo>
                        <a:pt x="2664" y="316"/>
                      </a:lnTo>
                      <a:lnTo>
                        <a:pt x="2656" y="318"/>
                      </a:lnTo>
                      <a:lnTo>
                        <a:pt x="2647" y="319"/>
                      </a:lnTo>
                      <a:lnTo>
                        <a:pt x="2637" y="319"/>
                      </a:lnTo>
                      <a:lnTo>
                        <a:pt x="2626" y="319"/>
                      </a:lnTo>
                      <a:lnTo>
                        <a:pt x="2615" y="317"/>
                      </a:lnTo>
                      <a:lnTo>
                        <a:pt x="2602" y="315"/>
                      </a:lnTo>
                      <a:lnTo>
                        <a:pt x="2590" y="312"/>
                      </a:lnTo>
                      <a:lnTo>
                        <a:pt x="2579" y="308"/>
                      </a:lnTo>
                      <a:lnTo>
                        <a:pt x="2569" y="304"/>
                      </a:lnTo>
                      <a:lnTo>
                        <a:pt x="2562" y="300"/>
                      </a:lnTo>
                      <a:lnTo>
                        <a:pt x="2558" y="295"/>
                      </a:lnTo>
                      <a:lnTo>
                        <a:pt x="2518" y="295"/>
                      </a:lnTo>
                      <a:lnTo>
                        <a:pt x="2521" y="303"/>
                      </a:lnTo>
                      <a:lnTo>
                        <a:pt x="2525" y="309"/>
                      </a:lnTo>
                      <a:lnTo>
                        <a:pt x="2530" y="314"/>
                      </a:lnTo>
                      <a:lnTo>
                        <a:pt x="2536" y="318"/>
                      </a:lnTo>
                      <a:lnTo>
                        <a:pt x="2542" y="322"/>
                      </a:lnTo>
                      <a:lnTo>
                        <a:pt x="2550" y="324"/>
                      </a:lnTo>
                      <a:lnTo>
                        <a:pt x="2557" y="326"/>
                      </a:lnTo>
                      <a:lnTo>
                        <a:pt x="2565" y="327"/>
                      </a:lnTo>
                      <a:lnTo>
                        <a:pt x="2601" y="328"/>
                      </a:lnTo>
                      <a:lnTo>
                        <a:pt x="2637" y="326"/>
                      </a:lnTo>
                      <a:lnTo>
                        <a:pt x="2637" y="335"/>
                      </a:lnTo>
                      <a:lnTo>
                        <a:pt x="2638" y="342"/>
                      </a:lnTo>
                      <a:lnTo>
                        <a:pt x="2641" y="349"/>
                      </a:lnTo>
                      <a:lnTo>
                        <a:pt x="2644" y="357"/>
                      </a:lnTo>
                      <a:lnTo>
                        <a:pt x="2619" y="363"/>
                      </a:lnTo>
                      <a:lnTo>
                        <a:pt x="2590" y="371"/>
                      </a:lnTo>
                      <a:lnTo>
                        <a:pt x="2562" y="382"/>
                      </a:lnTo>
                      <a:lnTo>
                        <a:pt x="2531" y="392"/>
                      </a:lnTo>
                      <a:lnTo>
                        <a:pt x="2501" y="402"/>
                      </a:lnTo>
                      <a:lnTo>
                        <a:pt x="2473" y="410"/>
                      </a:lnTo>
                      <a:lnTo>
                        <a:pt x="2458" y="414"/>
                      </a:lnTo>
                      <a:lnTo>
                        <a:pt x="2444" y="416"/>
                      </a:lnTo>
                      <a:lnTo>
                        <a:pt x="2431" y="418"/>
                      </a:lnTo>
                      <a:lnTo>
                        <a:pt x="2419" y="418"/>
                      </a:lnTo>
                      <a:lnTo>
                        <a:pt x="2339" y="400"/>
                      </a:lnTo>
                      <a:lnTo>
                        <a:pt x="2319" y="400"/>
                      </a:lnTo>
                      <a:lnTo>
                        <a:pt x="2340" y="408"/>
                      </a:lnTo>
                      <a:lnTo>
                        <a:pt x="2361" y="416"/>
                      </a:lnTo>
                      <a:lnTo>
                        <a:pt x="2372" y="420"/>
                      </a:lnTo>
                      <a:lnTo>
                        <a:pt x="2382" y="425"/>
                      </a:lnTo>
                      <a:lnTo>
                        <a:pt x="2390" y="430"/>
                      </a:lnTo>
                      <a:lnTo>
                        <a:pt x="2398" y="437"/>
                      </a:lnTo>
                      <a:lnTo>
                        <a:pt x="2394" y="444"/>
                      </a:lnTo>
                      <a:lnTo>
                        <a:pt x="2388" y="449"/>
                      </a:lnTo>
                      <a:lnTo>
                        <a:pt x="2384" y="454"/>
                      </a:lnTo>
                      <a:lnTo>
                        <a:pt x="2378" y="457"/>
                      </a:lnTo>
                      <a:lnTo>
                        <a:pt x="2373" y="461"/>
                      </a:lnTo>
                      <a:lnTo>
                        <a:pt x="2368" y="463"/>
                      </a:lnTo>
                      <a:lnTo>
                        <a:pt x="2363" y="465"/>
                      </a:lnTo>
                      <a:lnTo>
                        <a:pt x="2357" y="467"/>
                      </a:lnTo>
                      <a:lnTo>
                        <a:pt x="2333" y="471"/>
                      </a:lnTo>
                      <a:lnTo>
                        <a:pt x="2306" y="474"/>
                      </a:lnTo>
                      <a:lnTo>
                        <a:pt x="2296" y="477"/>
                      </a:lnTo>
                      <a:lnTo>
                        <a:pt x="2286" y="481"/>
                      </a:lnTo>
                      <a:lnTo>
                        <a:pt x="2277" y="486"/>
                      </a:lnTo>
                      <a:lnTo>
                        <a:pt x="2268" y="492"/>
                      </a:lnTo>
                      <a:lnTo>
                        <a:pt x="2260" y="497"/>
                      </a:lnTo>
                      <a:lnTo>
                        <a:pt x="2251" y="501"/>
                      </a:lnTo>
                      <a:lnTo>
                        <a:pt x="2242" y="504"/>
                      </a:lnTo>
                      <a:lnTo>
                        <a:pt x="2232" y="505"/>
                      </a:lnTo>
                      <a:lnTo>
                        <a:pt x="2232" y="517"/>
                      </a:lnTo>
                      <a:lnTo>
                        <a:pt x="2232" y="529"/>
                      </a:lnTo>
                      <a:lnTo>
                        <a:pt x="2220" y="532"/>
                      </a:lnTo>
                      <a:lnTo>
                        <a:pt x="2208" y="537"/>
                      </a:lnTo>
                      <a:lnTo>
                        <a:pt x="2194" y="542"/>
                      </a:lnTo>
                      <a:lnTo>
                        <a:pt x="2181" y="550"/>
                      </a:lnTo>
                      <a:lnTo>
                        <a:pt x="2166" y="559"/>
                      </a:lnTo>
                      <a:lnTo>
                        <a:pt x="2151" y="568"/>
                      </a:lnTo>
                      <a:lnTo>
                        <a:pt x="2138" y="578"/>
                      </a:lnTo>
                      <a:lnTo>
                        <a:pt x="2123" y="588"/>
                      </a:lnTo>
                      <a:lnTo>
                        <a:pt x="2110" y="601"/>
                      </a:lnTo>
                      <a:lnTo>
                        <a:pt x="2098" y="613"/>
                      </a:lnTo>
                      <a:lnTo>
                        <a:pt x="2087" y="625"/>
                      </a:lnTo>
                      <a:lnTo>
                        <a:pt x="2078" y="637"/>
                      </a:lnTo>
                      <a:lnTo>
                        <a:pt x="2071" y="650"/>
                      </a:lnTo>
                      <a:lnTo>
                        <a:pt x="2064" y="664"/>
                      </a:lnTo>
                      <a:lnTo>
                        <a:pt x="2062" y="670"/>
                      </a:lnTo>
                      <a:lnTo>
                        <a:pt x="2061" y="677"/>
                      </a:lnTo>
                      <a:lnTo>
                        <a:pt x="2060" y="683"/>
                      </a:lnTo>
                      <a:lnTo>
                        <a:pt x="2060" y="689"/>
                      </a:lnTo>
                      <a:lnTo>
                        <a:pt x="2106" y="689"/>
                      </a:lnTo>
                      <a:lnTo>
                        <a:pt x="2104" y="714"/>
                      </a:lnTo>
                      <a:lnTo>
                        <a:pt x="2102" y="736"/>
                      </a:lnTo>
                      <a:lnTo>
                        <a:pt x="2100" y="745"/>
                      </a:lnTo>
                      <a:lnTo>
                        <a:pt x="2100" y="753"/>
                      </a:lnTo>
                      <a:lnTo>
                        <a:pt x="2102" y="757"/>
                      </a:lnTo>
                      <a:lnTo>
                        <a:pt x="2103" y="759"/>
                      </a:lnTo>
                      <a:lnTo>
                        <a:pt x="2104" y="762"/>
                      </a:lnTo>
                      <a:lnTo>
                        <a:pt x="2106" y="763"/>
                      </a:lnTo>
                      <a:lnTo>
                        <a:pt x="2086" y="776"/>
                      </a:lnTo>
                      <a:lnTo>
                        <a:pt x="2087" y="780"/>
                      </a:lnTo>
                      <a:lnTo>
                        <a:pt x="2089" y="784"/>
                      </a:lnTo>
                      <a:lnTo>
                        <a:pt x="2093" y="787"/>
                      </a:lnTo>
                      <a:lnTo>
                        <a:pt x="2097" y="790"/>
                      </a:lnTo>
                      <a:lnTo>
                        <a:pt x="2106" y="793"/>
                      </a:lnTo>
                      <a:lnTo>
                        <a:pt x="2112" y="794"/>
                      </a:lnTo>
                      <a:lnTo>
                        <a:pt x="2193" y="776"/>
                      </a:lnTo>
                      <a:lnTo>
                        <a:pt x="2204" y="782"/>
                      </a:lnTo>
                      <a:lnTo>
                        <a:pt x="2214" y="789"/>
                      </a:lnTo>
                      <a:lnTo>
                        <a:pt x="2223" y="796"/>
                      </a:lnTo>
                      <a:lnTo>
                        <a:pt x="2232" y="803"/>
                      </a:lnTo>
                      <a:lnTo>
                        <a:pt x="2250" y="819"/>
                      </a:lnTo>
                      <a:lnTo>
                        <a:pt x="2266" y="836"/>
                      </a:lnTo>
                      <a:lnTo>
                        <a:pt x="2284" y="852"/>
                      </a:lnTo>
                      <a:lnTo>
                        <a:pt x="2301" y="866"/>
                      </a:lnTo>
                      <a:lnTo>
                        <a:pt x="2311" y="872"/>
                      </a:lnTo>
                      <a:lnTo>
                        <a:pt x="2322" y="878"/>
                      </a:lnTo>
                      <a:lnTo>
                        <a:pt x="2333" y="883"/>
                      </a:lnTo>
                      <a:lnTo>
                        <a:pt x="2345" y="887"/>
                      </a:lnTo>
                      <a:lnTo>
                        <a:pt x="2345" y="891"/>
                      </a:lnTo>
                      <a:lnTo>
                        <a:pt x="2346" y="895"/>
                      </a:lnTo>
                      <a:lnTo>
                        <a:pt x="2347" y="898"/>
                      </a:lnTo>
                      <a:lnTo>
                        <a:pt x="2350" y="901"/>
                      </a:lnTo>
                      <a:lnTo>
                        <a:pt x="2352" y="903"/>
                      </a:lnTo>
                      <a:lnTo>
                        <a:pt x="2354" y="905"/>
                      </a:lnTo>
                      <a:lnTo>
                        <a:pt x="2356" y="906"/>
                      </a:lnTo>
                      <a:lnTo>
                        <a:pt x="2360" y="907"/>
                      </a:lnTo>
                      <a:lnTo>
                        <a:pt x="2367" y="909"/>
                      </a:lnTo>
                      <a:lnTo>
                        <a:pt x="2375" y="908"/>
                      </a:lnTo>
                      <a:lnTo>
                        <a:pt x="2383" y="907"/>
                      </a:lnTo>
                      <a:lnTo>
                        <a:pt x="2391" y="905"/>
                      </a:lnTo>
                      <a:lnTo>
                        <a:pt x="2409" y="900"/>
                      </a:lnTo>
                      <a:lnTo>
                        <a:pt x="2423" y="894"/>
                      </a:lnTo>
                      <a:lnTo>
                        <a:pt x="2434" y="889"/>
                      </a:lnTo>
                      <a:lnTo>
                        <a:pt x="2439" y="887"/>
                      </a:lnTo>
                      <a:lnTo>
                        <a:pt x="2485" y="905"/>
                      </a:lnTo>
                      <a:lnTo>
                        <a:pt x="2479" y="917"/>
                      </a:lnTo>
                      <a:lnTo>
                        <a:pt x="2474" y="925"/>
                      </a:lnTo>
                      <a:lnTo>
                        <a:pt x="2467" y="931"/>
                      </a:lnTo>
                      <a:lnTo>
                        <a:pt x="2458" y="936"/>
                      </a:lnTo>
                      <a:lnTo>
                        <a:pt x="2472" y="949"/>
                      </a:lnTo>
                      <a:lnTo>
                        <a:pt x="2461" y="971"/>
                      </a:lnTo>
                      <a:lnTo>
                        <a:pt x="2450" y="995"/>
                      </a:lnTo>
                      <a:lnTo>
                        <a:pt x="2445" y="1006"/>
                      </a:lnTo>
                      <a:lnTo>
                        <a:pt x="2442" y="1018"/>
                      </a:lnTo>
                      <a:lnTo>
                        <a:pt x="2440" y="1029"/>
                      </a:lnTo>
                      <a:lnTo>
                        <a:pt x="2439" y="1040"/>
                      </a:lnTo>
                      <a:lnTo>
                        <a:pt x="2440" y="1049"/>
                      </a:lnTo>
                      <a:lnTo>
                        <a:pt x="2443" y="1059"/>
                      </a:lnTo>
                      <a:lnTo>
                        <a:pt x="2447" y="1070"/>
                      </a:lnTo>
                      <a:lnTo>
                        <a:pt x="2454" y="1081"/>
                      </a:lnTo>
                      <a:lnTo>
                        <a:pt x="2462" y="1092"/>
                      </a:lnTo>
                      <a:lnTo>
                        <a:pt x="2469" y="1101"/>
                      </a:lnTo>
                      <a:lnTo>
                        <a:pt x="2473" y="1104"/>
                      </a:lnTo>
                      <a:lnTo>
                        <a:pt x="2477" y="1107"/>
                      </a:lnTo>
                      <a:lnTo>
                        <a:pt x="2481" y="1108"/>
                      </a:lnTo>
                      <a:lnTo>
                        <a:pt x="2485" y="1109"/>
                      </a:lnTo>
                      <a:lnTo>
                        <a:pt x="2487" y="1114"/>
                      </a:lnTo>
                      <a:lnTo>
                        <a:pt x="2492" y="1121"/>
                      </a:lnTo>
                      <a:lnTo>
                        <a:pt x="2499" y="1128"/>
                      </a:lnTo>
                      <a:lnTo>
                        <a:pt x="2504" y="1133"/>
                      </a:lnTo>
                      <a:lnTo>
                        <a:pt x="2528" y="1113"/>
                      </a:lnTo>
                      <a:lnTo>
                        <a:pt x="2548" y="1091"/>
                      </a:lnTo>
                      <a:lnTo>
                        <a:pt x="2559" y="1080"/>
                      </a:lnTo>
                      <a:lnTo>
                        <a:pt x="2569" y="1068"/>
                      </a:lnTo>
                      <a:lnTo>
                        <a:pt x="2578" y="1057"/>
                      </a:lnTo>
                      <a:lnTo>
                        <a:pt x="2587" y="1043"/>
                      </a:lnTo>
                      <a:lnTo>
                        <a:pt x="2595" y="1031"/>
                      </a:lnTo>
                      <a:lnTo>
                        <a:pt x="2602" y="1017"/>
                      </a:lnTo>
                      <a:lnTo>
                        <a:pt x="2609" y="1003"/>
                      </a:lnTo>
                      <a:lnTo>
                        <a:pt x="2614" y="987"/>
                      </a:lnTo>
                      <a:lnTo>
                        <a:pt x="2619" y="971"/>
                      </a:lnTo>
                      <a:lnTo>
                        <a:pt x="2622" y="955"/>
                      </a:lnTo>
                      <a:lnTo>
                        <a:pt x="2624" y="937"/>
                      </a:lnTo>
                      <a:lnTo>
                        <a:pt x="2624" y="917"/>
                      </a:lnTo>
                      <a:lnTo>
                        <a:pt x="2638" y="917"/>
                      </a:lnTo>
                      <a:lnTo>
                        <a:pt x="2655" y="914"/>
                      </a:lnTo>
                      <a:lnTo>
                        <a:pt x="2672" y="911"/>
                      </a:lnTo>
                      <a:lnTo>
                        <a:pt x="2690" y="906"/>
                      </a:lnTo>
                      <a:lnTo>
                        <a:pt x="2709" y="900"/>
                      </a:lnTo>
                      <a:lnTo>
                        <a:pt x="2727" y="892"/>
                      </a:lnTo>
                      <a:lnTo>
                        <a:pt x="2746" y="884"/>
                      </a:lnTo>
                      <a:lnTo>
                        <a:pt x="2765" y="873"/>
                      </a:lnTo>
                      <a:lnTo>
                        <a:pt x="2782" y="863"/>
                      </a:lnTo>
                      <a:lnTo>
                        <a:pt x="2798" y="852"/>
                      </a:lnTo>
                      <a:lnTo>
                        <a:pt x="2813" y="840"/>
                      </a:lnTo>
                      <a:lnTo>
                        <a:pt x="2825" y="827"/>
                      </a:lnTo>
                      <a:lnTo>
                        <a:pt x="2831" y="819"/>
                      </a:lnTo>
                      <a:lnTo>
                        <a:pt x="2836" y="813"/>
                      </a:lnTo>
                      <a:lnTo>
                        <a:pt x="2839" y="806"/>
                      </a:lnTo>
                      <a:lnTo>
                        <a:pt x="2844" y="799"/>
                      </a:lnTo>
                      <a:lnTo>
                        <a:pt x="2846" y="792"/>
                      </a:lnTo>
                      <a:lnTo>
                        <a:pt x="2848" y="785"/>
                      </a:lnTo>
                      <a:lnTo>
                        <a:pt x="2849" y="777"/>
                      </a:lnTo>
                      <a:lnTo>
                        <a:pt x="2850" y="770"/>
                      </a:lnTo>
                      <a:lnTo>
                        <a:pt x="2849" y="763"/>
                      </a:lnTo>
                      <a:lnTo>
                        <a:pt x="2848" y="757"/>
                      </a:lnTo>
                      <a:lnTo>
                        <a:pt x="2846" y="752"/>
                      </a:lnTo>
                      <a:lnTo>
                        <a:pt x="2843" y="747"/>
                      </a:lnTo>
                      <a:lnTo>
                        <a:pt x="2835" y="738"/>
                      </a:lnTo>
                      <a:lnTo>
                        <a:pt x="2827" y="731"/>
                      </a:lnTo>
                      <a:lnTo>
                        <a:pt x="2819" y="725"/>
                      </a:lnTo>
                      <a:lnTo>
                        <a:pt x="2811" y="718"/>
                      </a:lnTo>
                      <a:lnTo>
                        <a:pt x="2808" y="715"/>
                      </a:lnTo>
                      <a:lnTo>
                        <a:pt x="2805" y="711"/>
                      </a:lnTo>
                      <a:lnTo>
                        <a:pt x="2804" y="706"/>
                      </a:lnTo>
                      <a:lnTo>
                        <a:pt x="2804" y="702"/>
                      </a:lnTo>
                      <a:lnTo>
                        <a:pt x="2804" y="698"/>
                      </a:lnTo>
                      <a:lnTo>
                        <a:pt x="2808" y="694"/>
                      </a:lnTo>
                      <a:lnTo>
                        <a:pt x="2812" y="688"/>
                      </a:lnTo>
                      <a:lnTo>
                        <a:pt x="2819" y="680"/>
                      </a:lnTo>
                      <a:lnTo>
                        <a:pt x="2833" y="664"/>
                      </a:lnTo>
                      <a:lnTo>
                        <a:pt x="2850" y="645"/>
                      </a:lnTo>
                      <a:lnTo>
                        <a:pt x="2882" y="612"/>
                      </a:lnTo>
                      <a:lnTo>
                        <a:pt x="2896" y="597"/>
                      </a:lnTo>
                      <a:lnTo>
                        <a:pt x="2894" y="593"/>
                      </a:lnTo>
                      <a:lnTo>
                        <a:pt x="2892" y="589"/>
                      </a:lnTo>
                      <a:lnTo>
                        <a:pt x="2891" y="585"/>
                      </a:lnTo>
                      <a:lnTo>
                        <a:pt x="2890" y="581"/>
                      </a:lnTo>
                      <a:lnTo>
                        <a:pt x="2890" y="573"/>
                      </a:lnTo>
                      <a:lnTo>
                        <a:pt x="2892" y="566"/>
                      </a:lnTo>
                      <a:lnTo>
                        <a:pt x="2896" y="558"/>
                      </a:lnTo>
                      <a:lnTo>
                        <a:pt x="2902" y="551"/>
                      </a:lnTo>
                      <a:lnTo>
                        <a:pt x="2909" y="544"/>
                      </a:lnTo>
                      <a:lnTo>
                        <a:pt x="2916" y="535"/>
                      </a:lnTo>
                      <a:lnTo>
                        <a:pt x="2934" y="520"/>
                      </a:lnTo>
                      <a:lnTo>
                        <a:pt x="2951" y="505"/>
                      </a:lnTo>
                      <a:lnTo>
                        <a:pt x="2959" y="498"/>
                      </a:lnTo>
                      <a:lnTo>
                        <a:pt x="2966" y="490"/>
                      </a:lnTo>
                      <a:lnTo>
                        <a:pt x="2972" y="482"/>
                      </a:lnTo>
                      <a:lnTo>
                        <a:pt x="2977" y="474"/>
                      </a:lnTo>
                      <a:lnTo>
                        <a:pt x="3149" y="480"/>
                      </a:lnTo>
                      <a:lnTo>
                        <a:pt x="3149" y="485"/>
                      </a:lnTo>
                      <a:lnTo>
                        <a:pt x="3150" y="490"/>
                      </a:lnTo>
                      <a:lnTo>
                        <a:pt x="3151" y="494"/>
                      </a:lnTo>
                      <a:lnTo>
                        <a:pt x="3153" y="497"/>
                      </a:lnTo>
                      <a:lnTo>
                        <a:pt x="3156" y="500"/>
                      </a:lnTo>
                      <a:lnTo>
                        <a:pt x="3159" y="502"/>
                      </a:lnTo>
                      <a:lnTo>
                        <a:pt x="3161" y="503"/>
                      </a:lnTo>
                      <a:lnTo>
                        <a:pt x="3165" y="504"/>
                      </a:lnTo>
                      <a:lnTo>
                        <a:pt x="3180" y="505"/>
                      </a:lnTo>
                      <a:lnTo>
                        <a:pt x="3196" y="505"/>
                      </a:lnTo>
                      <a:lnTo>
                        <a:pt x="3201" y="509"/>
                      </a:lnTo>
                      <a:lnTo>
                        <a:pt x="3204" y="514"/>
                      </a:lnTo>
                      <a:lnTo>
                        <a:pt x="3208" y="521"/>
                      </a:lnTo>
                      <a:lnTo>
                        <a:pt x="3210" y="529"/>
                      </a:lnTo>
                      <a:lnTo>
                        <a:pt x="3215" y="545"/>
                      </a:lnTo>
                      <a:lnTo>
                        <a:pt x="3216" y="554"/>
                      </a:lnTo>
                      <a:lnTo>
                        <a:pt x="3221" y="556"/>
                      </a:lnTo>
                      <a:lnTo>
                        <a:pt x="3229" y="557"/>
                      </a:lnTo>
                      <a:lnTo>
                        <a:pt x="3238" y="557"/>
                      </a:lnTo>
                      <a:lnTo>
                        <a:pt x="3247" y="557"/>
                      </a:lnTo>
                      <a:lnTo>
                        <a:pt x="3268" y="555"/>
                      </a:lnTo>
                      <a:lnTo>
                        <a:pt x="3288" y="554"/>
                      </a:lnTo>
                      <a:lnTo>
                        <a:pt x="3292" y="566"/>
                      </a:lnTo>
                      <a:lnTo>
                        <a:pt x="3295" y="572"/>
                      </a:lnTo>
                      <a:lnTo>
                        <a:pt x="3288" y="579"/>
                      </a:lnTo>
                      <a:lnTo>
                        <a:pt x="3282" y="585"/>
                      </a:lnTo>
                      <a:lnTo>
                        <a:pt x="3276" y="592"/>
                      </a:lnTo>
                      <a:lnTo>
                        <a:pt x="3272" y="601"/>
                      </a:lnTo>
                      <a:lnTo>
                        <a:pt x="3264" y="616"/>
                      </a:lnTo>
                      <a:lnTo>
                        <a:pt x="3257" y="632"/>
                      </a:lnTo>
                      <a:lnTo>
                        <a:pt x="3251" y="646"/>
                      </a:lnTo>
                      <a:lnTo>
                        <a:pt x="3245" y="660"/>
                      </a:lnTo>
                      <a:lnTo>
                        <a:pt x="3241" y="666"/>
                      </a:lnTo>
                      <a:lnTo>
                        <a:pt x="3238" y="671"/>
                      </a:lnTo>
                      <a:lnTo>
                        <a:pt x="3234" y="675"/>
                      </a:lnTo>
                      <a:lnTo>
                        <a:pt x="3229" y="677"/>
                      </a:lnTo>
                      <a:lnTo>
                        <a:pt x="3238" y="677"/>
                      </a:lnTo>
                      <a:lnTo>
                        <a:pt x="3246" y="677"/>
                      </a:lnTo>
                      <a:lnTo>
                        <a:pt x="3253" y="677"/>
                      </a:lnTo>
                      <a:lnTo>
                        <a:pt x="3262" y="677"/>
                      </a:lnTo>
                      <a:lnTo>
                        <a:pt x="3262" y="683"/>
                      </a:lnTo>
                      <a:lnTo>
                        <a:pt x="3261" y="688"/>
                      </a:lnTo>
                      <a:lnTo>
                        <a:pt x="3259" y="693"/>
                      </a:lnTo>
                      <a:lnTo>
                        <a:pt x="3257" y="697"/>
                      </a:lnTo>
                      <a:lnTo>
                        <a:pt x="3251" y="705"/>
                      </a:lnTo>
                      <a:lnTo>
                        <a:pt x="3245" y="714"/>
                      </a:lnTo>
                      <a:lnTo>
                        <a:pt x="3238" y="721"/>
                      </a:lnTo>
                      <a:lnTo>
                        <a:pt x="3231" y="729"/>
                      </a:lnTo>
                      <a:lnTo>
                        <a:pt x="3226" y="736"/>
                      </a:lnTo>
                      <a:lnTo>
                        <a:pt x="3223" y="745"/>
                      </a:lnTo>
                      <a:lnTo>
                        <a:pt x="3229" y="742"/>
                      </a:lnTo>
                      <a:lnTo>
                        <a:pt x="3237" y="738"/>
                      </a:lnTo>
                      <a:lnTo>
                        <a:pt x="3245" y="734"/>
                      </a:lnTo>
                      <a:lnTo>
                        <a:pt x="3251" y="730"/>
                      </a:lnTo>
                      <a:lnTo>
                        <a:pt x="3264" y="721"/>
                      </a:lnTo>
                      <a:lnTo>
                        <a:pt x="3275" y="715"/>
                      </a:lnTo>
                      <a:lnTo>
                        <a:pt x="3280" y="717"/>
                      </a:lnTo>
                      <a:lnTo>
                        <a:pt x="3284" y="718"/>
                      </a:lnTo>
                      <a:lnTo>
                        <a:pt x="3290" y="718"/>
                      </a:lnTo>
                      <a:lnTo>
                        <a:pt x="3295" y="718"/>
                      </a:lnTo>
                      <a:lnTo>
                        <a:pt x="3307" y="715"/>
                      </a:lnTo>
                      <a:lnTo>
                        <a:pt x="3320" y="709"/>
                      </a:lnTo>
                      <a:lnTo>
                        <a:pt x="3336" y="703"/>
                      </a:lnTo>
                      <a:lnTo>
                        <a:pt x="3351" y="695"/>
                      </a:lnTo>
                      <a:lnTo>
                        <a:pt x="3368" y="685"/>
                      </a:lnTo>
                      <a:lnTo>
                        <a:pt x="3384" y="675"/>
                      </a:lnTo>
                      <a:lnTo>
                        <a:pt x="3417" y="653"/>
                      </a:lnTo>
                      <a:lnTo>
                        <a:pt x="3447" y="632"/>
                      </a:lnTo>
                      <a:lnTo>
                        <a:pt x="3471" y="615"/>
                      </a:lnTo>
                      <a:lnTo>
                        <a:pt x="3488" y="604"/>
                      </a:lnTo>
                      <a:lnTo>
                        <a:pt x="3492" y="613"/>
                      </a:lnTo>
                      <a:lnTo>
                        <a:pt x="3495" y="621"/>
                      </a:lnTo>
                      <a:lnTo>
                        <a:pt x="3496" y="629"/>
                      </a:lnTo>
                      <a:lnTo>
                        <a:pt x="3496" y="637"/>
                      </a:lnTo>
                      <a:lnTo>
                        <a:pt x="3496" y="653"/>
                      </a:lnTo>
                      <a:lnTo>
                        <a:pt x="3495" y="671"/>
                      </a:lnTo>
                      <a:lnTo>
                        <a:pt x="3521" y="671"/>
                      </a:lnTo>
                      <a:lnTo>
                        <a:pt x="3522" y="680"/>
                      </a:lnTo>
                      <a:lnTo>
                        <a:pt x="3523" y="687"/>
                      </a:lnTo>
                      <a:lnTo>
                        <a:pt x="3521" y="692"/>
                      </a:lnTo>
                      <a:lnTo>
                        <a:pt x="3519" y="698"/>
                      </a:lnTo>
                      <a:lnTo>
                        <a:pt x="3514" y="708"/>
                      </a:lnTo>
                      <a:lnTo>
                        <a:pt x="3508" y="721"/>
                      </a:lnTo>
                      <a:lnTo>
                        <a:pt x="3521" y="721"/>
                      </a:lnTo>
                      <a:lnTo>
                        <a:pt x="3534" y="721"/>
                      </a:lnTo>
                      <a:lnTo>
                        <a:pt x="3534" y="732"/>
                      </a:lnTo>
                      <a:lnTo>
                        <a:pt x="3534" y="741"/>
                      </a:lnTo>
                      <a:lnTo>
                        <a:pt x="3534" y="749"/>
                      </a:lnTo>
                      <a:lnTo>
                        <a:pt x="3534" y="757"/>
                      </a:lnTo>
                      <a:lnTo>
                        <a:pt x="3536" y="762"/>
                      </a:lnTo>
                      <a:lnTo>
                        <a:pt x="3540" y="769"/>
                      </a:lnTo>
                      <a:lnTo>
                        <a:pt x="3542" y="772"/>
                      </a:lnTo>
                      <a:lnTo>
                        <a:pt x="3545" y="774"/>
                      </a:lnTo>
                      <a:lnTo>
                        <a:pt x="3550" y="776"/>
                      </a:lnTo>
                      <a:lnTo>
                        <a:pt x="3554" y="776"/>
                      </a:lnTo>
                      <a:lnTo>
                        <a:pt x="3551" y="786"/>
                      </a:lnTo>
                      <a:lnTo>
                        <a:pt x="3548" y="794"/>
                      </a:lnTo>
                      <a:lnTo>
                        <a:pt x="3542" y="800"/>
                      </a:lnTo>
                      <a:lnTo>
                        <a:pt x="3537" y="804"/>
                      </a:lnTo>
                      <a:lnTo>
                        <a:pt x="3526" y="811"/>
                      </a:lnTo>
                      <a:lnTo>
                        <a:pt x="3515" y="818"/>
                      </a:lnTo>
                      <a:lnTo>
                        <a:pt x="3522" y="828"/>
                      </a:lnTo>
                      <a:lnTo>
                        <a:pt x="3530" y="836"/>
                      </a:lnTo>
                      <a:lnTo>
                        <a:pt x="3539" y="844"/>
                      </a:lnTo>
                      <a:lnTo>
                        <a:pt x="3546" y="851"/>
                      </a:lnTo>
                      <a:lnTo>
                        <a:pt x="3556" y="857"/>
                      </a:lnTo>
                      <a:lnTo>
                        <a:pt x="3565" y="863"/>
                      </a:lnTo>
                      <a:lnTo>
                        <a:pt x="3575" y="869"/>
                      </a:lnTo>
                      <a:lnTo>
                        <a:pt x="3584" y="874"/>
                      </a:lnTo>
                      <a:lnTo>
                        <a:pt x="3605" y="885"/>
                      </a:lnTo>
                      <a:lnTo>
                        <a:pt x="3627" y="894"/>
                      </a:lnTo>
                      <a:lnTo>
                        <a:pt x="3650" y="902"/>
                      </a:lnTo>
                      <a:lnTo>
                        <a:pt x="3674" y="911"/>
                      </a:lnTo>
                      <a:lnTo>
                        <a:pt x="3668" y="918"/>
                      </a:lnTo>
                      <a:lnTo>
                        <a:pt x="3662" y="924"/>
                      </a:lnTo>
                      <a:lnTo>
                        <a:pt x="3652" y="930"/>
                      </a:lnTo>
                      <a:lnTo>
                        <a:pt x="3640" y="936"/>
                      </a:lnTo>
                      <a:lnTo>
                        <a:pt x="3615" y="946"/>
                      </a:lnTo>
                      <a:lnTo>
                        <a:pt x="3588" y="954"/>
                      </a:lnTo>
                      <a:lnTo>
                        <a:pt x="3563" y="961"/>
                      </a:lnTo>
                      <a:lnTo>
                        <a:pt x="3545" y="966"/>
                      </a:lnTo>
                      <a:lnTo>
                        <a:pt x="3540" y="968"/>
                      </a:lnTo>
                      <a:lnTo>
                        <a:pt x="3537" y="970"/>
                      </a:lnTo>
                      <a:lnTo>
                        <a:pt x="3537" y="971"/>
                      </a:lnTo>
                      <a:lnTo>
                        <a:pt x="3537" y="972"/>
                      </a:lnTo>
                      <a:lnTo>
                        <a:pt x="3539" y="972"/>
                      </a:lnTo>
                      <a:lnTo>
                        <a:pt x="3541" y="973"/>
                      </a:lnTo>
                      <a:lnTo>
                        <a:pt x="3548" y="974"/>
                      </a:lnTo>
                      <a:lnTo>
                        <a:pt x="3554" y="974"/>
                      </a:lnTo>
                      <a:lnTo>
                        <a:pt x="3560" y="974"/>
                      </a:lnTo>
                      <a:lnTo>
                        <a:pt x="3564" y="972"/>
                      </a:lnTo>
                      <a:lnTo>
                        <a:pt x="3570" y="970"/>
                      </a:lnTo>
                      <a:lnTo>
                        <a:pt x="3575" y="969"/>
                      </a:lnTo>
                      <a:lnTo>
                        <a:pt x="3581" y="967"/>
                      </a:lnTo>
                      <a:lnTo>
                        <a:pt x="3588" y="967"/>
                      </a:lnTo>
                      <a:lnTo>
                        <a:pt x="3598" y="965"/>
                      </a:lnTo>
                      <a:lnTo>
                        <a:pt x="3616" y="961"/>
                      </a:lnTo>
                      <a:lnTo>
                        <a:pt x="3637" y="957"/>
                      </a:lnTo>
                      <a:lnTo>
                        <a:pt x="3654" y="955"/>
                      </a:lnTo>
                      <a:lnTo>
                        <a:pt x="3673" y="955"/>
                      </a:lnTo>
                      <a:lnTo>
                        <a:pt x="3686" y="956"/>
                      </a:lnTo>
                      <a:lnTo>
                        <a:pt x="3695" y="958"/>
                      </a:lnTo>
                      <a:lnTo>
                        <a:pt x="3701" y="959"/>
                      </a:lnTo>
                      <a:lnTo>
                        <a:pt x="3707" y="960"/>
                      </a:lnTo>
                      <a:lnTo>
                        <a:pt x="3713" y="960"/>
                      </a:lnTo>
                      <a:lnTo>
                        <a:pt x="3721" y="958"/>
                      </a:lnTo>
                      <a:lnTo>
                        <a:pt x="3734" y="955"/>
                      </a:lnTo>
                      <a:lnTo>
                        <a:pt x="3734" y="964"/>
                      </a:lnTo>
                      <a:lnTo>
                        <a:pt x="3734" y="972"/>
                      </a:lnTo>
                      <a:lnTo>
                        <a:pt x="3734" y="979"/>
                      </a:lnTo>
                      <a:lnTo>
                        <a:pt x="3734" y="985"/>
                      </a:lnTo>
                      <a:lnTo>
                        <a:pt x="3734" y="998"/>
                      </a:lnTo>
                      <a:lnTo>
                        <a:pt x="3733" y="1007"/>
                      </a:lnTo>
                      <a:lnTo>
                        <a:pt x="3732" y="1014"/>
                      </a:lnTo>
                      <a:lnTo>
                        <a:pt x="3729" y="1018"/>
                      </a:lnTo>
                      <a:lnTo>
                        <a:pt x="3724" y="1022"/>
                      </a:lnTo>
                      <a:lnTo>
                        <a:pt x="3717" y="1024"/>
                      </a:lnTo>
                      <a:lnTo>
                        <a:pt x="3707" y="1026"/>
                      </a:lnTo>
                      <a:lnTo>
                        <a:pt x="3694" y="1028"/>
                      </a:lnTo>
                      <a:lnTo>
                        <a:pt x="3699" y="1037"/>
                      </a:lnTo>
                      <a:lnTo>
                        <a:pt x="3704" y="1047"/>
                      </a:lnTo>
                      <a:lnTo>
                        <a:pt x="3709" y="1054"/>
                      </a:lnTo>
                      <a:lnTo>
                        <a:pt x="3713" y="1059"/>
                      </a:lnTo>
                      <a:lnTo>
                        <a:pt x="3706" y="1068"/>
                      </a:lnTo>
                      <a:lnTo>
                        <a:pt x="3697" y="1076"/>
                      </a:lnTo>
                      <a:lnTo>
                        <a:pt x="3687" y="1083"/>
                      </a:lnTo>
                      <a:lnTo>
                        <a:pt x="3676" y="1087"/>
                      </a:lnTo>
                      <a:lnTo>
                        <a:pt x="3672" y="1089"/>
                      </a:lnTo>
                      <a:lnTo>
                        <a:pt x="3666" y="1090"/>
                      </a:lnTo>
                      <a:lnTo>
                        <a:pt x="3661" y="1091"/>
                      </a:lnTo>
                      <a:lnTo>
                        <a:pt x="3655" y="1091"/>
                      </a:lnTo>
                      <a:lnTo>
                        <a:pt x="3650" y="1090"/>
                      </a:lnTo>
                      <a:lnTo>
                        <a:pt x="3644" y="1089"/>
                      </a:lnTo>
                      <a:lnTo>
                        <a:pt x="3639" y="1087"/>
                      </a:lnTo>
                      <a:lnTo>
                        <a:pt x="3634" y="1084"/>
                      </a:lnTo>
                      <a:lnTo>
                        <a:pt x="3627" y="1089"/>
                      </a:lnTo>
                      <a:lnTo>
                        <a:pt x="3617" y="1093"/>
                      </a:lnTo>
                      <a:lnTo>
                        <a:pt x="3608" y="1096"/>
                      </a:lnTo>
                      <a:lnTo>
                        <a:pt x="3598" y="1099"/>
                      </a:lnTo>
                      <a:lnTo>
                        <a:pt x="3577" y="1104"/>
                      </a:lnTo>
                      <a:lnTo>
                        <a:pt x="3556" y="1108"/>
                      </a:lnTo>
                      <a:lnTo>
                        <a:pt x="3546" y="1110"/>
                      </a:lnTo>
                      <a:lnTo>
                        <a:pt x="3538" y="1113"/>
                      </a:lnTo>
                      <a:lnTo>
                        <a:pt x="3529" y="1116"/>
                      </a:lnTo>
                      <a:lnTo>
                        <a:pt x="3522" y="1120"/>
                      </a:lnTo>
                      <a:lnTo>
                        <a:pt x="3516" y="1124"/>
                      </a:lnTo>
                      <a:lnTo>
                        <a:pt x="3511" y="1130"/>
                      </a:lnTo>
                      <a:lnTo>
                        <a:pt x="3509" y="1137"/>
                      </a:lnTo>
                      <a:lnTo>
                        <a:pt x="3508" y="1145"/>
                      </a:lnTo>
                      <a:lnTo>
                        <a:pt x="3501" y="1145"/>
                      </a:lnTo>
                      <a:lnTo>
                        <a:pt x="3489" y="1159"/>
                      </a:lnTo>
                      <a:lnTo>
                        <a:pt x="3480" y="1168"/>
                      </a:lnTo>
                      <a:lnTo>
                        <a:pt x="3474" y="1172"/>
                      </a:lnTo>
                      <a:lnTo>
                        <a:pt x="3467" y="1174"/>
                      </a:lnTo>
                      <a:lnTo>
                        <a:pt x="3459" y="1176"/>
                      </a:lnTo>
                      <a:lnTo>
                        <a:pt x="3448" y="1176"/>
                      </a:lnTo>
                      <a:lnTo>
                        <a:pt x="3336" y="1164"/>
                      </a:lnTo>
                      <a:lnTo>
                        <a:pt x="3301" y="1164"/>
                      </a:lnTo>
                      <a:lnTo>
                        <a:pt x="3264" y="1164"/>
                      </a:lnTo>
                      <a:lnTo>
                        <a:pt x="3228" y="1164"/>
                      </a:lnTo>
                      <a:lnTo>
                        <a:pt x="3189" y="1164"/>
                      </a:lnTo>
                      <a:lnTo>
                        <a:pt x="3169" y="1165"/>
                      </a:lnTo>
                      <a:lnTo>
                        <a:pt x="3151" y="1168"/>
                      </a:lnTo>
                      <a:lnTo>
                        <a:pt x="3135" y="1172"/>
                      </a:lnTo>
                      <a:lnTo>
                        <a:pt x="3119" y="1177"/>
                      </a:lnTo>
                      <a:lnTo>
                        <a:pt x="3105" y="1183"/>
                      </a:lnTo>
                      <a:lnTo>
                        <a:pt x="3093" y="1191"/>
                      </a:lnTo>
                      <a:lnTo>
                        <a:pt x="3081" y="1198"/>
                      </a:lnTo>
                      <a:lnTo>
                        <a:pt x="3070" y="1207"/>
                      </a:lnTo>
                      <a:lnTo>
                        <a:pt x="3047" y="1225"/>
                      </a:lnTo>
                      <a:lnTo>
                        <a:pt x="3025" y="1242"/>
                      </a:lnTo>
                      <a:lnTo>
                        <a:pt x="3013" y="1250"/>
                      </a:lnTo>
                      <a:lnTo>
                        <a:pt x="3000" y="1257"/>
                      </a:lnTo>
                      <a:lnTo>
                        <a:pt x="2985" y="1263"/>
                      </a:lnTo>
                      <a:lnTo>
                        <a:pt x="2970" y="1269"/>
                      </a:lnTo>
                      <a:lnTo>
                        <a:pt x="2959" y="1272"/>
                      </a:lnTo>
                      <a:lnTo>
                        <a:pt x="2948" y="1276"/>
                      </a:lnTo>
                      <a:lnTo>
                        <a:pt x="2936" y="1281"/>
                      </a:lnTo>
                      <a:lnTo>
                        <a:pt x="2924" y="1286"/>
                      </a:lnTo>
                      <a:lnTo>
                        <a:pt x="2912" y="1293"/>
                      </a:lnTo>
                      <a:lnTo>
                        <a:pt x="2900" y="1300"/>
                      </a:lnTo>
                      <a:lnTo>
                        <a:pt x="2887" y="1308"/>
                      </a:lnTo>
                      <a:lnTo>
                        <a:pt x="2876" y="1316"/>
                      </a:lnTo>
                      <a:lnTo>
                        <a:pt x="2864" y="1326"/>
                      </a:lnTo>
                      <a:lnTo>
                        <a:pt x="2853" y="1335"/>
                      </a:lnTo>
                      <a:lnTo>
                        <a:pt x="2843" y="1344"/>
                      </a:lnTo>
                      <a:lnTo>
                        <a:pt x="2834" y="1354"/>
                      </a:lnTo>
                      <a:lnTo>
                        <a:pt x="2825" y="1363"/>
                      </a:lnTo>
                      <a:lnTo>
                        <a:pt x="2819" y="1373"/>
                      </a:lnTo>
                      <a:lnTo>
                        <a:pt x="2814" y="1383"/>
                      </a:lnTo>
                      <a:lnTo>
                        <a:pt x="2811" y="1392"/>
                      </a:lnTo>
                      <a:lnTo>
                        <a:pt x="2819" y="1392"/>
                      </a:lnTo>
                      <a:lnTo>
                        <a:pt x="2825" y="1391"/>
                      </a:lnTo>
                      <a:lnTo>
                        <a:pt x="2832" y="1389"/>
                      </a:lnTo>
                      <a:lnTo>
                        <a:pt x="2836" y="1387"/>
                      </a:lnTo>
                      <a:lnTo>
                        <a:pt x="2840" y="1385"/>
                      </a:lnTo>
                      <a:lnTo>
                        <a:pt x="2845" y="1382"/>
                      </a:lnTo>
                      <a:lnTo>
                        <a:pt x="2847" y="1379"/>
                      </a:lnTo>
                      <a:lnTo>
                        <a:pt x="2850" y="1375"/>
                      </a:lnTo>
                      <a:lnTo>
                        <a:pt x="2855" y="1369"/>
                      </a:lnTo>
                      <a:lnTo>
                        <a:pt x="2859" y="1363"/>
                      </a:lnTo>
                      <a:lnTo>
                        <a:pt x="2861" y="1361"/>
                      </a:lnTo>
                      <a:lnTo>
                        <a:pt x="2864" y="1358"/>
                      </a:lnTo>
                      <a:lnTo>
                        <a:pt x="2867" y="1356"/>
                      </a:lnTo>
                      <a:lnTo>
                        <a:pt x="2870" y="1355"/>
                      </a:lnTo>
                      <a:lnTo>
                        <a:pt x="2888" y="1346"/>
                      </a:lnTo>
                      <a:lnTo>
                        <a:pt x="2905" y="1337"/>
                      </a:lnTo>
                      <a:lnTo>
                        <a:pt x="2923" y="1327"/>
                      </a:lnTo>
                      <a:lnTo>
                        <a:pt x="2940" y="1315"/>
                      </a:lnTo>
                      <a:lnTo>
                        <a:pt x="2976" y="1293"/>
                      </a:lnTo>
                      <a:lnTo>
                        <a:pt x="3012" y="1271"/>
                      </a:lnTo>
                      <a:lnTo>
                        <a:pt x="3029" y="1260"/>
                      </a:lnTo>
                      <a:lnTo>
                        <a:pt x="3048" y="1251"/>
                      </a:lnTo>
                      <a:lnTo>
                        <a:pt x="3067" y="1242"/>
                      </a:lnTo>
                      <a:lnTo>
                        <a:pt x="3085" y="1235"/>
                      </a:lnTo>
                      <a:lnTo>
                        <a:pt x="3104" y="1228"/>
                      </a:lnTo>
                      <a:lnTo>
                        <a:pt x="3123" y="1224"/>
                      </a:lnTo>
                      <a:lnTo>
                        <a:pt x="3142" y="1221"/>
                      </a:lnTo>
                      <a:lnTo>
                        <a:pt x="3162" y="1220"/>
                      </a:lnTo>
                      <a:lnTo>
                        <a:pt x="3171" y="1220"/>
                      </a:lnTo>
                      <a:lnTo>
                        <a:pt x="3179" y="1222"/>
                      </a:lnTo>
                      <a:lnTo>
                        <a:pt x="3189" y="1225"/>
                      </a:lnTo>
                      <a:lnTo>
                        <a:pt x="3196" y="1229"/>
                      </a:lnTo>
                      <a:lnTo>
                        <a:pt x="3204" y="1234"/>
                      </a:lnTo>
                      <a:lnTo>
                        <a:pt x="3210" y="1240"/>
                      </a:lnTo>
                      <a:lnTo>
                        <a:pt x="3213" y="1244"/>
                      </a:lnTo>
                      <a:lnTo>
                        <a:pt x="3214" y="1248"/>
                      </a:lnTo>
                      <a:lnTo>
                        <a:pt x="3215" y="1252"/>
                      </a:lnTo>
                      <a:lnTo>
                        <a:pt x="3216" y="1256"/>
                      </a:lnTo>
                      <a:lnTo>
                        <a:pt x="3215" y="1265"/>
                      </a:lnTo>
                      <a:lnTo>
                        <a:pt x="3213" y="1274"/>
                      </a:lnTo>
                      <a:lnTo>
                        <a:pt x="3208" y="1281"/>
                      </a:lnTo>
                      <a:lnTo>
                        <a:pt x="3203" y="1287"/>
                      </a:lnTo>
                      <a:lnTo>
                        <a:pt x="3197" y="1293"/>
                      </a:lnTo>
                      <a:lnTo>
                        <a:pt x="3191" y="1296"/>
                      </a:lnTo>
                      <a:lnTo>
                        <a:pt x="3183" y="1299"/>
                      </a:lnTo>
                      <a:lnTo>
                        <a:pt x="3175" y="1299"/>
                      </a:lnTo>
                      <a:lnTo>
                        <a:pt x="3165" y="1299"/>
                      </a:lnTo>
                      <a:lnTo>
                        <a:pt x="3156" y="1298"/>
                      </a:lnTo>
                      <a:lnTo>
                        <a:pt x="3146" y="1296"/>
                      </a:lnTo>
                      <a:lnTo>
                        <a:pt x="3136" y="1293"/>
                      </a:lnTo>
                      <a:lnTo>
                        <a:pt x="3126" y="1291"/>
                      </a:lnTo>
                      <a:lnTo>
                        <a:pt x="3116" y="1289"/>
                      </a:lnTo>
                      <a:lnTo>
                        <a:pt x="3106" y="1288"/>
                      </a:lnTo>
                      <a:lnTo>
                        <a:pt x="3096" y="1287"/>
                      </a:lnTo>
                      <a:lnTo>
                        <a:pt x="3089" y="1288"/>
                      </a:lnTo>
                      <a:lnTo>
                        <a:pt x="3082" y="1289"/>
                      </a:lnTo>
                      <a:lnTo>
                        <a:pt x="3077" y="1290"/>
                      </a:lnTo>
                      <a:lnTo>
                        <a:pt x="3072" y="1292"/>
                      </a:lnTo>
                      <a:lnTo>
                        <a:pt x="3068" y="1294"/>
                      </a:lnTo>
                      <a:lnTo>
                        <a:pt x="3066" y="1298"/>
                      </a:lnTo>
                      <a:lnTo>
                        <a:pt x="3063" y="1301"/>
                      </a:lnTo>
                      <a:lnTo>
                        <a:pt x="3063" y="1306"/>
                      </a:lnTo>
                      <a:lnTo>
                        <a:pt x="3129" y="1331"/>
                      </a:lnTo>
                      <a:lnTo>
                        <a:pt x="3140" y="1329"/>
                      </a:lnTo>
                      <a:lnTo>
                        <a:pt x="3152" y="1325"/>
                      </a:lnTo>
                      <a:lnTo>
                        <a:pt x="3159" y="1324"/>
                      </a:lnTo>
                      <a:lnTo>
                        <a:pt x="3164" y="1323"/>
                      </a:lnTo>
                      <a:lnTo>
                        <a:pt x="3171" y="1323"/>
                      </a:lnTo>
                      <a:lnTo>
                        <a:pt x="3175" y="1325"/>
                      </a:lnTo>
                      <a:lnTo>
                        <a:pt x="3170" y="1333"/>
                      </a:lnTo>
                      <a:lnTo>
                        <a:pt x="3164" y="1340"/>
                      </a:lnTo>
                      <a:lnTo>
                        <a:pt x="3158" y="1346"/>
                      </a:lnTo>
                      <a:lnTo>
                        <a:pt x="3151" y="1351"/>
                      </a:lnTo>
                      <a:lnTo>
                        <a:pt x="3145" y="1356"/>
                      </a:lnTo>
                      <a:lnTo>
                        <a:pt x="3140" y="1361"/>
                      </a:lnTo>
                      <a:lnTo>
                        <a:pt x="3138" y="1364"/>
                      </a:lnTo>
                      <a:lnTo>
                        <a:pt x="3137" y="1367"/>
                      </a:lnTo>
                      <a:lnTo>
                        <a:pt x="3136" y="1370"/>
                      </a:lnTo>
                      <a:lnTo>
                        <a:pt x="3136" y="1373"/>
                      </a:lnTo>
                      <a:lnTo>
                        <a:pt x="3136" y="1380"/>
                      </a:lnTo>
                      <a:lnTo>
                        <a:pt x="3137" y="1386"/>
                      </a:lnTo>
                      <a:lnTo>
                        <a:pt x="3138" y="1391"/>
                      </a:lnTo>
                      <a:lnTo>
                        <a:pt x="3140" y="1396"/>
                      </a:lnTo>
                      <a:lnTo>
                        <a:pt x="3144" y="1401"/>
                      </a:lnTo>
                      <a:lnTo>
                        <a:pt x="3146" y="1405"/>
                      </a:lnTo>
                      <a:lnTo>
                        <a:pt x="3149" y="1410"/>
                      </a:lnTo>
                      <a:lnTo>
                        <a:pt x="3153" y="1413"/>
                      </a:lnTo>
                      <a:lnTo>
                        <a:pt x="3162" y="1420"/>
                      </a:lnTo>
                      <a:lnTo>
                        <a:pt x="3173" y="1426"/>
                      </a:lnTo>
                      <a:lnTo>
                        <a:pt x="3184" y="1431"/>
                      </a:lnTo>
                      <a:lnTo>
                        <a:pt x="3196" y="1436"/>
                      </a:lnTo>
                      <a:lnTo>
                        <a:pt x="3209" y="1439"/>
                      </a:lnTo>
                      <a:lnTo>
                        <a:pt x="3224" y="1441"/>
                      </a:lnTo>
                      <a:lnTo>
                        <a:pt x="3237" y="1442"/>
                      </a:lnTo>
                      <a:lnTo>
                        <a:pt x="3251" y="1443"/>
                      </a:lnTo>
                      <a:lnTo>
                        <a:pt x="3277" y="1443"/>
                      </a:lnTo>
                      <a:lnTo>
                        <a:pt x="3302" y="1442"/>
                      </a:lnTo>
                      <a:lnTo>
                        <a:pt x="3302" y="1466"/>
                      </a:lnTo>
                      <a:lnTo>
                        <a:pt x="3292" y="1469"/>
                      </a:lnTo>
                      <a:lnTo>
                        <a:pt x="3283" y="1471"/>
                      </a:lnTo>
                      <a:lnTo>
                        <a:pt x="3274" y="1472"/>
                      </a:lnTo>
                      <a:lnTo>
                        <a:pt x="3265" y="1472"/>
                      </a:lnTo>
                      <a:lnTo>
                        <a:pt x="3257" y="1472"/>
                      </a:lnTo>
                      <a:lnTo>
                        <a:pt x="3248" y="1473"/>
                      </a:lnTo>
                      <a:lnTo>
                        <a:pt x="3239" y="1474"/>
                      </a:lnTo>
                      <a:lnTo>
                        <a:pt x="3229" y="1478"/>
                      </a:lnTo>
                      <a:lnTo>
                        <a:pt x="3213" y="1485"/>
                      </a:lnTo>
                      <a:lnTo>
                        <a:pt x="3198" y="1494"/>
                      </a:lnTo>
                      <a:lnTo>
                        <a:pt x="3184" y="1502"/>
                      </a:lnTo>
                      <a:lnTo>
                        <a:pt x="3172" y="1510"/>
                      </a:lnTo>
                      <a:lnTo>
                        <a:pt x="3158" y="1519"/>
                      </a:lnTo>
                      <a:lnTo>
                        <a:pt x="3144" y="1527"/>
                      </a:lnTo>
                      <a:lnTo>
                        <a:pt x="3128" y="1536"/>
                      </a:lnTo>
                      <a:lnTo>
                        <a:pt x="3109" y="1546"/>
                      </a:lnTo>
                      <a:lnTo>
                        <a:pt x="3099" y="1550"/>
                      </a:lnTo>
                      <a:lnTo>
                        <a:pt x="3088" y="1553"/>
                      </a:lnTo>
                      <a:lnTo>
                        <a:pt x="3077" y="1555"/>
                      </a:lnTo>
                      <a:lnTo>
                        <a:pt x="3066" y="1556"/>
                      </a:lnTo>
                      <a:lnTo>
                        <a:pt x="3056" y="1558"/>
                      </a:lnTo>
                      <a:lnTo>
                        <a:pt x="3047" y="1561"/>
                      </a:lnTo>
                      <a:lnTo>
                        <a:pt x="3044" y="1563"/>
                      </a:lnTo>
                      <a:lnTo>
                        <a:pt x="3040" y="1565"/>
                      </a:lnTo>
                      <a:lnTo>
                        <a:pt x="3038" y="1568"/>
                      </a:lnTo>
                      <a:lnTo>
                        <a:pt x="3036" y="1571"/>
                      </a:lnTo>
                      <a:lnTo>
                        <a:pt x="3026" y="1567"/>
                      </a:lnTo>
                      <a:lnTo>
                        <a:pt x="3018" y="1564"/>
                      </a:lnTo>
                      <a:lnTo>
                        <a:pt x="3015" y="1562"/>
                      </a:lnTo>
                      <a:lnTo>
                        <a:pt x="3012" y="1560"/>
                      </a:lnTo>
                      <a:lnTo>
                        <a:pt x="3011" y="1557"/>
                      </a:lnTo>
                      <a:lnTo>
                        <a:pt x="3010" y="1553"/>
                      </a:lnTo>
                      <a:lnTo>
                        <a:pt x="3010" y="1546"/>
                      </a:lnTo>
                      <a:lnTo>
                        <a:pt x="3012" y="1539"/>
                      </a:lnTo>
                      <a:lnTo>
                        <a:pt x="3013" y="1533"/>
                      </a:lnTo>
                      <a:lnTo>
                        <a:pt x="3016" y="1528"/>
                      </a:lnTo>
                      <a:lnTo>
                        <a:pt x="3019" y="1524"/>
                      </a:lnTo>
                      <a:lnTo>
                        <a:pt x="3024" y="1519"/>
                      </a:lnTo>
                      <a:lnTo>
                        <a:pt x="3028" y="1516"/>
                      </a:lnTo>
                      <a:lnTo>
                        <a:pt x="3033" y="1512"/>
                      </a:lnTo>
                      <a:lnTo>
                        <a:pt x="3045" y="1506"/>
                      </a:lnTo>
                      <a:lnTo>
                        <a:pt x="3058" y="1501"/>
                      </a:lnTo>
                      <a:lnTo>
                        <a:pt x="3072" y="1497"/>
                      </a:lnTo>
                      <a:lnTo>
                        <a:pt x="3086" y="1493"/>
                      </a:lnTo>
                      <a:lnTo>
                        <a:pt x="3117" y="1487"/>
                      </a:lnTo>
                      <a:lnTo>
                        <a:pt x="3147" y="1482"/>
                      </a:lnTo>
                      <a:lnTo>
                        <a:pt x="3160" y="1479"/>
                      </a:lnTo>
                      <a:lnTo>
                        <a:pt x="3172" y="1475"/>
                      </a:lnTo>
                      <a:lnTo>
                        <a:pt x="3182" y="1471"/>
                      </a:lnTo>
                      <a:lnTo>
                        <a:pt x="3189" y="1466"/>
                      </a:lnTo>
                      <a:lnTo>
                        <a:pt x="3178" y="1463"/>
                      </a:lnTo>
                      <a:lnTo>
                        <a:pt x="3169" y="1460"/>
                      </a:lnTo>
                      <a:lnTo>
                        <a:pt x="3160" y="1456"/>
                      </a:lnTo>
                      <a:lnTo>
                        <a:pt x="3153" y="1451"/>
                      </a:lnTo>
                      <a:lnTo>
                        <a:pt x="3147" y="1448"/>
                      </a:lnTo>
                      <a:lnTo>
                        <a:pt x="3139" y="1445"/>
                      </a:lnTo>
                      <a:lnTo>
                        <a:pt x="3131" y="1442"/>
                      </a:lnTo>
                      <a:lnTo>
                        <a:pt x="3123" y="1442"/>
                      </a:lnTo>
                      <a:lnTo>
                        <a:pt x="3117" y="1442"/>
                      </a:lnTo>
                      <a:lnTo>
                        <a:pt x="3113" y="1443"/>
                      </a:lnTo>
                      <a:lnTo>
                        <a:pt x="3107" y="1445"/>
                      </a:lnTo>
                      <a:lnTo>
                        <a:pt x="3103" y="1446"/>
                      </a:lnTo>
                      <a:lnTo>
                        <a:pt x="3093" y="1452"/>
                      </a:lnTo>
                      <a:lnTo>
                        <a:pt x="3083" y="1458"/>
                      </a:lnTo>
                      <a:lnTo>
                        <a:pt x="3074" y="1464"/>
                      </a:lnTo>
                      <a:lnTo>
                        <a:pt x="3066" y="1470"/>
                      </a:lnTo>
                      <a:lnTo>
                        <a:pt x="3057" y="1475"/>
                      </a:lnTo>
                      <a:lnTo>
                        <a:pt x="3049" y="1478"/>
                      </a:lnTo>
                      <a:lnTo>
                        <a:pt x="3044" y="1479"/>
                      </a:lnTo>
                      <a:lnTo>
                        <a:pt x="3036" y="1481"/>
                      </a:lnTo>
                      <a:lnTo>
                        <a:pt x="3026" y="1483"/>
                      </a:lnTo>
                      <a:lnTo>
                        <a:pt x="3016" y="1484"/>
                      </a:lnTo>
                      <a:lnTo>
                        <a:pt x="3010" y="1478"/>
                      </a:lnTo>
                    </a:path>
                  </a:pathLst>
                </a:custGeom>
                <a:grpFill/>
                <a:ln w="9525" cap="flat" cmpd="sng">
                  <a:solidFill>
                    <a:schemeClr val="bg1"/>
                  </a:solidFill>
                  <a:prstDash val="solid"/>
                  <a:round/>
                  <a:headEnd type="none" w="med" len="med"/>
                  <a:tailEnd type="none" w="med" len="med"/>
                </a:ln>
                <a:effectLst/>
              </p:spPr>
              <p:txBody>
                <a:bodyPr/>
                <a:lstStyle/>
                <a:p>
                  <a:endParaRPr lang="en-GB" sz="1637"/>
                </a:p>
              </p:txBody>
            </p:sp>
          </p:grpSp>
        </p:grpSp>
        <p:grpSp>
          <p:nvGrpSpPr>
            <p:cNvPr id="18" name="Group 254"/>
            <p:cNvGrpSpPr/>
            <p:nvPr/>
          </p:nvGrpSpPr>
          <p:grpSpPr>
            <a:xfrm>
              <a:off x="3434295" y="1216676"/>
              <a:ext cx="5023905" cy="4566961"/>
              <a:chOff x="3434295" y="1216676"/>
              <a:chExt cx="5023905" cy="4566961"/>
            </a:xfrm>
            <a:grpFill/>
          </p:grpSpPr>
          <p:sp>
            <p:nvSpPr>
              <p:cNvPr id="19" name="Freeform 22"/>
              <p:cNvSpPr>
                <a:spLocks/>
              </p:cNvSpPr>
              <p:nvPr>
                <p:custDataLst>
                  <p:tags r:id="rId2"/>
                </p:custDataLst>
              </p:nvPr>
            </p:nvSpPr>
            <p:spPr bwMode="auto">
              <a:xfrm>
                <a:off x="4477548" y="1299061"/>
                <a:ext cx="3346382" cy="1212483"/>
              </a:xfrm>
              <a:custGeom>
                <a:avLst/>
                <a:gdLst>
                  <a:gd name="T0" fmla="*/ 315287 w 7049"/>
                  <a:gd name="T1" fmla="*/ 909433 h 2048"/>
                  <a:gd name="T2" fmla="*/ 465321 w 7049"/>
                  <a:gd name="T3" fmla="*/ 1016487 h 2048"/>
                  <a:gd name="T4" fmla="*/ 527073 w 7049"/>
                  <a:gd name="T5" fmla="*/ 951940 h 2048"/>
                  <a:gd name="T6" fmla="*/ 727987 w 7049"/>
                  <a:gd name="T7" fmla="*/ 770893 h 2048"/>
                  <a:gd name="T8" fmla="*/ 1138513 w 7049"/>
                  <a:gd name="T9" fmla="*/ 690078 h 2048"/>
                  <a:gd name="T10" fmla="*/ 1456845 w 7049"/>
                  <a:gd name="T11" fmla="*/ 784012 h 2048"/>
                  <a:gd name="T12" fmla="*/ 1598615 w 7049"/>
                  <a:gd name="T13" fmla="*/ 754625 h 2048"/>
                  <a:gd name="T14" fmla="*/ 1798660 w 7049"/>
                  <a:gd name="T15" fmla="*/ 782963 h 2048"/>
                  <a:gd name="T16" fmla="*/ 1990441 w 7049"/>
                  <a:gd name="T17" fmla="*/ 791884 h 2048"/>
                  <a:gd name="T18" fmla="*/ 2069589 w 7049"/>
                  <a:gd name="T19" fmla="*/ 719990 h 2048"/>
                  <a:gd name="T20" fmla="*/ 2242236 w 7049"/>
                  <a:gd name="T21" fmla="*/ 774566 h 2048"/>
                  <a:gd name="T22" fmla="*/ 2441411 w 7049"/>
                  <a:gd name="T23" fmla="*/ 838589 h 2048"/>
                  <a:gd name="T24" fmla="*/ 2437062 w 7049"/>
                  <a:gd name="T25" fmla="*/ 967683 h 2048"/>
                  <a:gd name="T26" fmla="*/ 2545347 w 7049"/>
                  <a:gd name="T27" fmla="*/ 845936 h 2048"/>
                  <a:gd name="T28" fmla="*/ 2422276 w 7049"/>
                  <a:gd name="T29" fmla="*/ 659116 h 2048"/>
                  <a:gd name="T30" fmla="*/ 2318340 w 7049"/>
                  <a:gd name="T31" fmla="*/ 601916 h 2048"/>
                  <a:gd name="T32" fmla="*/ 2547086 w 7049"/>
                  <a:gd name="T33" fmla="*/ 515328 h 2048"/>
                  <a:gd name="T34" fmla="*/ 2597967 w 7049"/>
                  <a:gd name="T35" fmla="*/ 431364 h 2048"/>
                  <a:gd name="T36" fmla="*/ 2666678 w 7049"/>
                  <a:gd name="T37" fmla="*/ 399353 h 2048"/>
                  <a:gd name="T38" fmla="*/ 2694075 w 7049"/>
                  <a:gd name="T39" fmla="*/ 511130 h 2048"/>
                  <a:gd name="T40" fmla="*/ 2762351 w 7049"/>
                  <a:gd name="T41" fmla="*/ 656492 h 2048"/>
                  <a:gd name="T42" fmla="*/ 2859329 w 7049"/>
                  <a:gd name="T43" fmla="*/ 739931 h 2048"/>
                  <a:gd name="T44" fmla="*/ 2855415 w 7049"/>
                  <a:gd name="T45" fmla="*/ 637076 h 2048"/>
                  <a:gd name="T46" fmla="*/ 2771484 w 7049"/>
                  <a:gd name="T47" fmla="*/ 544191 h 2048"/>
                  <a:gd name="T48" fmla="*/ 2847153 w 7049"/>
                  <a:gd name="T49" fmla="*/ 464425 h 2048"/>
                  <a:gd name="T50" fmla="*/ 2957612 w 7049"/>
                  <a:gd name="T51" fmla="*/ 411423 h 2048"/>
                  <a:gd name="T52" fmla="*/ 2882378 w 7049"/>
                  <a:gd name="T53" fmla="*/ 324310 h 2048"/>
                  <a:gd name="T54" fmla="*/ 2956742 w 7049"/>
                  <a:gd name="T55" fmla="*/ 333756 h 2048"/>
                  <a:gd name="T56" fmla="*/ 2983705 w 7049"/>
                  <a:gd name="T57" fmla="*/ 284952 h 2048"/>
                  <a:gd name="T58" fmla="*/ 2826713 w 7049"/>
                  <a:gd name="T59" fmla="*/ 242446 h 2048"/>
                  <a:gd name="T60" fmla="*/ 2540998 w 7049"/>
                  <a:gd name="T61" fmla="*/ 215157 h 2048"/>
                  <a:gd name="T62" fmla="*/ 2475766 w 7049"/>
                  <a:gd name="T63" fmla="*/ 217781 h 2048"/>
                  <a:gd name="T64" fmla="*/ 2170481 w 7049"/>
                  <a:gd name="T65" fmla="*/ 184196 h 2048"/>
                  <a:gd name="T66" fmla="*/ 2056108 w 7049"/>
                  <a:gd name="T67" fmla="*/ 152184 h 2048"/>
                  <a:gd name="T68" fmla="*/ 1918686 w 7049"/>
                  <a:gd name="T69" fmla="*/ 152184 h 2048"/>
                  <a:gd name="T70" fmla="*/ 1743430 w 7049"/>
                  <a:gd name="T71" fmla="*/ 166878 h 2048"/>
                  <a:gd name="T72" fmla="*/ 1554258 w 7049"/>
                  <a:gd name="T73" fmla="*/ 136966 h 2048"/>
                  <a:gd name="T74" fmla="*/ 1430752 w 7049"/>
                  <a:gd name="T75" fmla="*/ 128045 h 2048"/>
                  <a:gd name="T76" fmla="*/ 1308116 w 7049"/>
                  <a:gd name="T77" fmla="*/ 123322 h 2048"/>
                  <a:gd name="T78" fmla="*/ 1184610 w 7049"/>
                  <a:gd name="T79" fmla="*/ 30437 h 2048"/>
                  <a:gd name="T80" fmla="*/ 1138078 w 7049"/>
                  <a:gd name="T81" fmla="*/ 73468 h 2048"/>
                  <a:gd name="T82" fmla="*/ 928032 w 7049"/>
                  <a:gd name="T83" fmla="*/ 87637 h 2048"/>
                  <a:gd name="T84" fmla="*/ 938904 w 7049"/>
                  <a:gd name="T85" fmla="*/ 104955 h 2048"/>
                  <a:gd name="T86" fmla="*/ 955864 w 7049"/>
                  <a:gd name="T87" fmla="*/ 179473 h 2048"/>
                  <a:gd name="T88" fmla="*/ 840621 w 7049"/>
                  <a:gd name="T89" fmla="*/ 134342 h 2048"/>
                  <a:gd name="T90" fmla="*/ 777129 w 7049"/>
                  <a:gd name="T91" fmla="*/ 143263 h 2048"/>
                  <a:gd name="T92" fmla="*/ 833663 w 7049"/>
                  <a:gd name="T93" fmla="*/ 234049 h 2048"/>
                  <a:gd name="T94" fmla="*/ 902809 w 7049"/>
                  <a:gd name="T95" fmla="*/ 277605 h 2048"/>
                  <a:gd name="T96" fmla="*/ 818877 w 7049"/>
                  <a:gd name="T97" fmla="*/ 311191 h 2048"/>
                  <a:gd name="T98" fmla="*/ 796698 w 7049"/>
                  <a:gd name="T99" fmla="*/ 243495 h 2048"/>
                  <a:gd name="T100" fmla="*/ 704939 w 7049"/>
                  <a:gd name="T101" fmla="*/ 121223 h 2048"/>
                  <a:gd name="T102" fmla="*/ 705809 w 7049"/>
                  <a:gd name="T103" fmla="*/ 236673 h 2048"/>
                  <a:gd name="T104" fmla="*/ 538380 w 7049"/>
                  <a:gd name="T105" fmla="*/ 208335 h 2048"/>
                  <a:gd name="T106" fmla="*/ 520985 w 7049"/>
                  <a:gd name="T107" fmla="*/ 250317 h 2048"/>
                  <a:gd name="T108" fmla="*/ 394870 w 7049"/>
                  <a:gd name="T109" fmla="*/ 262387 h 2048"/>
                  <a:gd name="T110" fmla="*/ 300936 w 7049"/>
                  <a:gd name="T111" fmla="*/ 253466 h 2048"/>
                  <a:gd name="T112" fmla="*/ 261797 w 7049"/>
                  <a:gd name="T113" fmla="*/ 306993 h 2048"/>
                  <a:gd name="T114" fmla="*/ 176996 w 7049"/>
                  <a:gd name="T115" fmla="*/ 387808 h 2048"/>
                  <a:gd name="T116" fmla="*/ 169603 w 7049"/>
                  <a:gd name="T117" fmla="*/ 321162 h 2048"/>
                  <a:gd name="T118" fmla="*/ 65232 w 7049"/>
                  <a:gd name="T119" fmla="*/ 230901 h 2048"/>
                  <a:gd name="T120" fmla="*/ 30876 w 7049"/>
                  <a:gd name="T121" fmla="*/ 317488 h 2048"/>
                  <a:gd name="T122" fmla="*/ 48706 w 7049"/>
                  <a:gd name="T123" fmla="*/ 502733 h 204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049" h="2048">
                    <a:moveTo>
                      <a:pt x="365" y="1401"/>
                    </a:moveTo>
                    <a:lnTo>
                      <a:pt x="373" y="1401"/>
                    </a:lnTo>
                    <a:lnTo>
                      <a:pt x="405" y="1401"/>
                    </a:lnTo>
                    <a:lnTo>
                      <a:pt x="425" y="1388"/>
                    </a:lnTo>
                    <a:lnTo>
                      <a:pt x="471" y="1388"/>
                    </a:lnTo>
                    <a:lnTo>
                      <a:pt x="491" y="1401"/>
                    </a:lnTo>
                    <a:lnTo>
                      <a:pt x="519" y="1426"/>
                    </a:lnTo>
                    <a:lnTo>
                      <a:pt x="505" y="1451"/>
                    </a:lnTo>
                    <a:lnTo>
                      <a:pt x="558" y="1451"/>
                    </a:lnTo>
                    <a:lnTo>
                      <a:pt x="578" y="1499"/>
                    </a:lnTo>
                    <a:lnTo>
                      <a:pt x="604" y="1493"/>
                    </a:lnTo>
                    <a:lnTo>
                      <a:pt x="632" y="1512"/>
                    </a:lnTo>
                    <a:lnTo>
                      <a:pt x="665" y="1499"/>
                    </a:lnTo>
                    <a:lnTo>
                      <a:pt x="698" y="1524"/>
                    </a:lnTo>
                    <a:lnTo>
                      <a:pt x="737" y="1524"/>
                    </a:lnTo>
                    <a:lnTo>
                      <a:pt x="778" y="1543"/>
                    </a:lnTo>
                    <a:lnTo>
                      <a:pt x="817" y="1555"/>
                    </a:lnTo>
                    <a:lnTo>
                      <a:pt x="811" y="1586"/>
                    </a:lnTo>
                    <a:lnTo>
                      <a:pt x="804" y="1623"/>
                    </a:lnTo>
                    <a:lnTo>
                      <a:pt x="817" y="1647"/>
                    </a:lnTo>
                    <a:lnTo>
                      <a:pt x="784" y="1647"/>
                    </a:lnTo>
                    <a:lnTo>
                      <a:pt x="744" y="1660"/>
                    </a:lnTo>
                    <a:lnTo>
                      <a:pt x="737" y="1691"/>
                    </a:lnTo>
                    <a:lnTo>
                      <a:pt x="743" y="1690"/>
                    </a:lnTo>
                    <a:lnTo>
                      <a:pt x="757" y="1685"/>
                    </a:lnTo>
                    <a:lnTo>
                      <a:pt x="752" y="1691"/>
                    </a:lnTo>
                    <a:lnTo>
                      <a:pt x="747" y="1696"/>
                    </a:lnTo>
                    <a:lnTo>
                      <a:pt x="743" y="1701"/>
                    </a:lnTo>
                    <a:lnTo>
                      <a:pt x="737" y="1705"/>
                    </a:lnTo>
                    <a:lnTo>
                      <a:pt x="725" y="1713"/>
                    </a:lnTo>
                    <a:lnTo>
                      <a:pt x="711" y="1721"/>
                    </a:lnTo>
                    <a:lnTo>
                      <a:pt x="712" y="1724"/>
                    </a:lnTo>
                    <a:lnTo>
                      <a:pt x="715" y="1728"/>
                    </a:lnTo>
                    <a:lnTo>
                      <a:pt x="719" y="1731"/>
                    </a:lnTo>
                    <a:lnTo>
                      <a:pt x="725" y="1733"/>
                    </a:lnTo>
                    <a:lnTo>
                      <a:pt x="736" y="1738"/>
                    </a:lnTo>
                    <a:lnTo>
                      <a:pt x="744" y="1740"/>
                    </a:lnTo>
                    <a:lnTo>
                      <a:pt x="741" y="1749"/>
                    </a:lnTo>
                    <a:lnTo>
                      <a:pt x="738" y="1756"/>
                    </a:lnTo>
                    <a:lnTo>
                      <a:pt x="734" y="1763"/>
                    </a:lnTo>
                    <a:lnTo>
                      <a:pt x="728" y="1769"/>
                    </a:lnTo>
                    <a:lnTo>
                      <a:pt x="722" y="1774"/>
                    </a:lnTo>
                    <a:lnTo>
                      <a:pt x="715" y="1779"/>
                    </a:lnTo>
                    <a:lnTo>
                      <a:pt x="707" y="1785"/>
                    </a:lnTo>
                    <a:lnTo>
                      <a:pt x="698" y="1790"/>
                    </a:lnTo>
                    <a:lnTo>
                      <a:pt x="696" y="1796"/>
                    </a:lnTo>
                    <a:lnTo>
                      <a:pt x="698" y="1801"/>
                    </a:lnTo>
                    <a:lnTo>
                      <a:pt x="700" y="1806"/>
                    </a:lnTo>
                    <a:lnTo>
                      <a:pt x="702" y="1809"/>
                    </a:lnTo>
                    <a:lnTo>
                      <a:pt x="706" y="1812"/>
                    </a:lnTo>
                    <a:lnTo>
                      <a:pt x="711" y="1815"/>
                    </a:lnTo>
                    <a:lnTo>
                      <a:pt x="716" y="1817"/>
                    </a:lnTo>
                    <a:lnTo>
                      <a:pt x="722" y="1819"/>
                    </a:lnTo>
                    <a:lnTo>
                      <a:pt x="734" y="1823"/>
                    </a:lnTo>
                    <a:lnTo>
                      <a:pt x="747" y="1828"/>
                    </a:lnTo>
                    <a:lnTo>
                      <a:pt x="754" y="1831"/>
                    </a:lnTo>
                    <a:lnTo>
                      <a:pt x="759" y="1835"/>
                    </a:lnTo>
                    <a:lnTo>
                      <a:pt x="766" y="1840"/>
                    </a:lnTo>
                    <a:lnTo>
                      <a:pt x="771" y="1845"/>
                    </a:lnTo>
                    <a:lnTo>
                      <a:pt x="781" y="1854"/>
                    </a:lnTo>
                    <a:lnTo>
                      <a:pt x="794" y="1861"/>
                    </a:lnTo>
                    <a:lnTo>
                      <a:pt x="807" y="1868"/>
                    </a:lnTo>
                    <a:lnTo>
                      <a:pt x="823" y="1875"/>
                    </a:lnTo>
                    <a:lnTo>
                      <a:pt x="856" y="1887"/>
                    </a:lnTo>
                    <a:lnTo>
                      <a:pt x="890" y="1901"/>
                    </a:lnTo>
                    <a:lnTo>
                      <a:pt x="897" y="1901"/>
                    </a:lnTo>
                    <a:lnTo>
                      <a:pt x="950" y="1919"/>
                    </a:lnTo>
                    <a:lnTo>
                      <a:pt x="996" y="1931"/>
                    </a:lnTo>
                    <a:lnTo>
                      <a:pt x="1024" y="1919"/>
                    </a:lnTo>
                    <a:lnTo>
                      <a:pt x="1070" y="1937"/>
                    </a:lnTo>
                    <a:lnTo>
                      <a:pt x="1096" y="1956"/>
                    </a:lnTo>
                    <a:lnTo>
                      <a:pt x="1136" y="1950"/>
                    </a:lnTo>
                    <a:lnTo>
                      <a:pt x="1176" y="1962"/>
                    </a:lnTo>
                    <a:lnTo>
                      <a:pt x="1203" y="1980"/>
                    </a:lnTo>
                    <a:lnTo>
                      <a:pt x="1249" y="2005"/>
                    </a:lnTo>
                    <a:lnTo>
                      <a:pt x="1282" y="2030"/>
                    </a:lnTo>
                    <a:lnTo>
                      <a:pt x="1316" y="2048"/>
                    </a:lnTo>
                    <a:lnTo>
                      <a:pt x="1342" y="2011"/>
                    </a:lnTo>
                    <a:lnTo>
                      <a:pt x="1355" y="2011"/>
                    </a:lnTo>
                    <a:lnTo>
                      <a:pt x="1350" y="2009"/>
                    </a:lnTo>
                    <a:lnTo>
                      <a:pt x="1345" y="2006"/>
                    </a:lnTo>
                    <a:lnTo>
                      <a:pt x="1341" y="2001"/>
                    </a:lnTo>
                    <a:lnTo>
                      <a:pt x="1337" y="1998"/>
                    </a:lnTo>
                    <a:lnTo>
                      <a:pt x="1333" y="1994"/>
                    </a:lnTo>
                    <a:lnTo>
                      <a:pt x="1331" y="1989"/>
                    </a:lnTo>
                    <a:lnTo>
                      <a:pt x="1329" y="1985"/>
                    </a:lnTo>
                    <a:lnTo>
                      <a:pt x="1329" y="1980"/>
                    </a:lnTo>
                    <a:lnTo>
                      <a:pt x="1318" y="1972"/>
                    </a:lnTo>
                    <a:lnTo>
                      <a:pt x="1296" y="1952"/>
                    </a:lnTo>
                    <a:lnTo>
                      <a:pt x="1283" y="1941"/>
                    </a:lnTo>
                    <a:lnTo>
                      <a:pt x="1273" y="1931"/>
                    </a:lnTo>
                    <a:lnTo>
                      <a:pt x="1265" y="1923"/>
                    </a:lnTo>
                    <a:lnTo>
                      <a:pt x="1262" y="1919"/>
                    </a:lnTo>
                    <a:lnTo>
                      <a:pt x="1255" y="1887"/>
                    </a:lnTo>
                    <a:lnTo>
                      <a:pt x="1255" y="1869"/>
                    </a:lnTo>
                    <a:lnTo>
                      <a:pt x="1245" y="1869"/>
                    </a:lnTo>
                    <a:lnTo>
                      <a:pt x="1237" y="1866"/>
                    </a:lnTo>
                    <a:lnTo>
                      <a:pt x="1229" y="1862"/>
                    </a:lnTo>
                    <a:lnTo>
                      <a:pt x="1222" y="1857"/>
                    </a:lnTo>
                    <a:lnTo>
                      <a:pt x="1217" y="1851"/>
                    </a:lnTo>
                    <a:lnTo>
                      <a:pt x="1212" y="1844"/>
                    </a:lnTo>
                    <a:lnTo>
                      <a:pt x="1210" y="1835"/>
                    </a:lnTo>
                    <a:lnTo>
                      <a:pt x="1209" y="1826"/>
                    </a:lnTo>
                    <a:lnTo>
                      <a:pt x="1210" y="1821"/>
                    </a:lnTo>
                    <a:lnTo>
                      <a:pt x="1212" y="1814"/>
                    </a:lnTo>
                    <a:lnTo>
                      <a:pt x="1216" y="1807"/>
                    </a:lnTo>
                    <a:lnTo>
                      <a:pt x="1220" y="1799"/>
                    </a:lnTo>
                    <a:lnTo>
                      <a:pt x="1229" y="1786"/>
                    </a:lnTo>
                    <a:lnTo>
                      <a:pt x="1236" y="1777"/>
                    </a:lnTo>
                    <a:lnTo>
                      <a:pt x="1254" y="1767"/>
                    </a:lnTo>
                    <a:lnTo>
                      <a:pt x="1272" y="1758"/>
                    </a:lnTo>
                    <a:lnTo>
                      <a:pt x="1287" y="1749"/>
                    </a:lnTo>
                    <a:lnTo>
                      <a:pt x="1303" y="1740"/>
                    </a:lnTo>
                    <a:lnTo>
                      <a:pt x="1309" y="1728"/>
                    </a:lnTo>
                    <a:lnTo>
                      <a:pt x="1282" y="1721"/>
                    </a:lnTo>
                    <a:lnTo>
                      <a:pt x="1309" y="1703"/>
                    </a:lnTo>
                    <a:lnTo>
                      <a:pt x="1282" y="1679"/>
                    </a:lnTo>
                    <a:lnTo>
                      <a:pt x="1255" y="1654"/>
                    </a:lnTo>
                    <a:lnTo>
                      <a:pt x="1216" y="1654"/>
                    </a:lnTo>
                    <a:lnTo>
                      <a:pt x="1203" y="1629"/>
                    </a:lnTo>
                    <a:lnTo>
                      <a:pt x="1183" y="1617"/>
                    </a:lnTo>
                    <a:lnTo>
                      <a:pt x="1176" y="1586"/>
                    </a:lnTo>
                    <a:lnTo>
                      <a:pt x="1176" y="1549"/>
                    </a:lnTo>
                    <a:lnTo>
                      <a:pt x="1189" y="1524"/>
                    </a:lnTo>
                    <a:lnTo>
                      <a:pt x="1196" y="1499"/>
                    </a:lnTo>
                    <a:lnTo>
                      <a:pt x="1229" y="1518"/>
                    </a:lnTo>
                    <a:lnTo>
                      <a:pt x="1262" y="1530"/>
                    </a:lnTo>
                    <a:lnTo>
                      <a:pt x="1282" y="1524"/>
                    </a:lnTo>
                    <a:lnTo>
                      <a:pt x="1255" y="1493"/>
                    </a:lnTo>
                    <a:lnTo>
                      <a:pt x="1289" y="1475"/>
                    </a:lnTo>
                    <a:lnTo>
                      <a:pt x="1322" y="1444"/>
                    </a:lnTo>
                    <a:lnTo>
                      <a:pt x="1355" y="1438"/>
                    </a:lnTo>
                    <a:lnTo>
                      <a:pt x="1395" y="1438"/>
                    </a:lnTo>
                    <a:lnTo>
                      <a:pt x="1422" y="1426"/>
                    </a:lnTo>
                    <a:lnTo>
                      <a:pt x="1468" y="1438"/>
                    </a:lnTo>
                    <a:lnTo>
                      <a:pt x="1514" y="1457"/>
                    </a:lnTo>
                    <a:lnTo>
                      <a:pt x="1555" y="1493"/>
                    </a:lnTo>
                    <a:lnTo>
                      <a:pt x="1601" y="1487"/>
                    </a:lnTo>
                    <a:lnTo>
                      <a:pt x="1641" y="1469"/>
                    </a:lnTo>
                    <a:lnTo>
                      <a:pt x="1674" y="1469"/>
                    </a:lnTo>
                    <a:lnTo>
                      <a:pt x="1714" y="1463"/>
                    </a:lnTo>
                    <a:lnTo>
                      <a:pt x="1754" y="1481"/>
                    </a:lnTo>
                    <a:lnTo>
                      <a:pt x="1800" y="1493"/>
                    </a:lnTo>
                    <a:lnTo>
                      <a:pt x="1847" y="1487"/>
                    </a:lnTo>
                    <a:lnTo>
                      <a:pt x="1893" y="1469"/>
                    </a:lnTo>
                    <a:lnTo>
                      <a:pt x="1893" y="1444"/>
                    </a:lnTo>
                    <a:lnTo>
                      <a:pt x="1860" y="1438"/>
                    </a:lnTo>
                    <a:lnTo>
                      <a:pt x="1821" y="1426"/>
                    </a:lnTo>
                    <a:lnTo>
                      <a:pt x="1793" y="1414"/>
                    </a:lnTo>
                    <a:lnTo>
                      <a:pt x="1834" y="1401"/>
                    </a:lnTo>
                    <a:lnTo>
                      <a:pt x="1827" y="1364"/>
                    </a:lnTo>
                    <a:lnTo>
                      <a:pt x="1880" y="1358"/>
                    </a:lnTo>
                    <a:lnTo>
                      <a:pt x="1814" y="1309"/>
                    </a:lnTo>
                    <a:lnTo>
                      <a:pt x="1920" y="1291"/>
                    </a:lnTo>
                    <a:lnTo>
                      <a:pt x="2006" y="1284"/>
                    </a:lnTo>
                    <a:lnTo>
                      <a:pt x="2020" y="1259"/>
                    </a:lnTo>
                    <a:lnTo>
                      <a:pt x="2080" y="1253"/>
                    </a:lnTo>
                    <a:lnTo>
                      <a:pt x="2139" y="1241"/>
                    </a:lnTo>
                    <a:lnTo>
                      <a:pt x="2159" y="1216"/>
                    </a:lnTo>
                    <a:lnTo>
                      <a:pt x="2226" y="1229"/>
                    </a:lnTo>
                    <a:lnTo>
                      <a:pt x="2265" y="1222"/>
                    </a:lnTo>
                    <a:lnTo>
                      <a:pt x="2292" y="1241"/>
                    </a:lnTo>
                    <a:lnTo>
                      <a:pt x="2298" y="1291"/>
                    </a:lnTo>
                    <a:lnTo>
                      <a:pt x="2339" y="1291"/>
                    </a:lnTo>
                    <a:lnTo>
                      <a:pt x="2352" y="1277"/>
                    </a:lnTo>
                    <a:lnTo>
                      <a:pt x="2372" y="1291"/>
                    </a:lnTo>
                    <a:lnTo>
                      <a:pt x="2411" y="1297"/>
                    </a:lnTo>
                    <a:lnTo>
                      <a:pt x="2431" y="1297"/>
                    </a:lnTo>
                    <a:lnTo>
                      <a:pt x="2431" y="1333"/>
                    </a:lnTo>
                    <a:lnTo>
                      <a:pt x="2472" y="1327"/>
                    </a:lnTo>
                    <a:lnTo>
                      <a:pt x="2511" y="1309"/>
                    </a:lnTo>
                    <a:lnTo>
                      <a:pt x="2551" y="1277"/>
                    </a:lnTo>
                    <a:lnTo>
                      <a:pt x="2577" y="1265"/>
                    </a:lnTo>
                    <a:lnTo>
                      <a:pt x="2577" y="1297"/>
                    </a:lnTo>
                    <a:lnTo>
                      <a:pt x="2618" y="1315"/>
                    </a:lnTo>
                    <a:lnTo>
                      <a:pt x="2664" y="1333"/>
                    </a:lnTo>
                    <a:lnTo>
                      <a:pt x="2704" y="1376"/>
                    </a:lnTo>
                    <a:lnTo>
                      <a:pt x="2757" y="1420"/>
                    </a:lnTo>
                    <a:lnTo>
                      <a:pt x="2803" y="1457"/>
                    </a:lnTo>
                    <a:lnTo>
                      <a:pt x="2823" y="1487"/>
                    </a:lnTo>
                    <a:lnTo>
                      <a:pt x="2836" y="1457"/>
                    </a:lnTo>
                    <a:lnTo>
                      <a:pt x="2864" y="1451"/>
                    </a:lnTo>
                    <a:lnTo>
                      <a:pt x="2884" y="1475"/>
                    </a:lnTo>
                    <a:lnTo>
                      <a:pt x="2923" y="1487"/>
                    </a:lnTo>
                    <a:lnTo>
                      <a:pt x="2969" y="1481"/>
                    </a:lnTo>
                    <a:lnTo>
                      <a:pt x="2997" y="1469"/>
                    </a:lnTo>
                    <a:lnTo>
                      <a:pt x="3036" y="1499"/>
                    </a:lnTo>
                    <a:lnTo>
                      <a:pt x="3082" y="1524"/>
                    </a:lnTo>
                    <a:lnTo>
                      <a:pt x="3123" y="1549"/>
                    </a:lnTo>
                    <a:lnTo>
                      <a:pt x="3176" y="1555"/>
                    </a:lnTo>
                    <a:lnTo>
                      <a:pt x="3182" y="1562"/>
                    </a:lnTo>
                    <a:lnTo>
                      <a:pt x="3186" y="1560"/>
                    </a:lnTo>
                    <a:lnTo>
                      <a:pt x="3189" y="1557"/>
                    </a:lnTo>
                    <a:lnTo>
                      <a:pt x="3193" y="1556"/>
                    </a:lnTo>
                    <a:lnTo>
                      <a:pt x="3198" y="1555"/>
                    </a:lnTo>
                    <a:lnTo>
                      <a:pt x="3211" y="1555"/>
                    </a:lnTo>
                    <a:lnTo>
                      <a:pt x="3228" y="1555"/>
                    </a:lnTo>
                    <a:lnTo>
                      <a:pt x="3234" y="1554"/>
                    </a:lnTo>
                    <a:lnTo>
                      <a:pt x="3239" y="1552"/>
                    </a:lnTo>
                    <a:lnTo>
                      <a:pt x="3246" y="1549"/>
                    </a:lnTo>
                    <a:lnTo>
                      <a:pt x="3251" y="1546"/>
                    </a:lnTo>
                    <a:lnTo>
                      <a:pt x="3261" y="1539"/>
                    </a:lnTo>
                    <a:lnTo>
                      <a:pt x="3269" y="1537"/>
                    </a:lnTo>
                    <a:lnTo>
                      <a:pt x="3278" y="1536"/>
                    </a:lnTo>
                    <a:lnTo>
                      <a:pt x="3288" y="1534"/>
                    </a:lnTo>
                    <a:lnTo>
                      <a:pt x="3296" y="1531"/>
                    </a:lnTo>
                    <a:lnTo>
                      <a:pt x="3304" y="1527"/>
                    </a:lnTo>
                    <a:lnTo>
                      <a:pt x="3320" y="1517"/>
                    </a:lnTo>
                    <a:lnTo>
                      <a:pt x="3335" y="1506"/>
                    </a:lnTo>
                    <a:lnTo>
                      <a:pt x="3350" y="1494"/>
                    </a:lnTo>
                    <a:lnTo>
                      <a:pt x="3366" y="1485"/>
                    </a:lnTo>
                    <a:lnTo>
                      <a:pt x="3374" y="1481"/>
                    </a:lnTo>
                    <a:lnTo>
                      <a:pt x="3383" y="1478"/>
                    </a:lnTo>
                    <a:lnTo>
                      <a:pt x="3392" y="1476"/>
                    </a:lnTo>
                    <a:lnTo>
                      <a:pt x="3402" y="1475"/>
                    </a:lnTo>
                    <a:lnTo>
                      <a:pt x="3413" y="1476"/>
                    </a:lnTo>
                    <a:lnTo>
                      <a:pt x="3423" y="1477"/>
                    </a:lnTo>
                    <a:lnTo>
                      <a:pt x="3432" y="1479"/>
                    </a:lnTo>
                    <a:lnTo>
                      <a:pt x="3439" y="1481"/>
                    </a:lnTo>
                    <a:lnTo>
                      <a:pt x="3447" y="1483"/>
                    </a:lnTo>
                    <a:lnTo>
                      <a:pt x="3453" y="1485"/>
                    </a:lnTo>
                    <a:lnTo>
                      <a:pt x="3461" y="1487"/>
                    </a:lnTo>
                    <a:lnTo>
                      <a:pt x="3468" y="1487"/>
                    </a:lnTo>
                    <a:lnTo>
                      <a:pt x="3494" y="1475"/>
                    </a:lnTo>
                    <a:lnTo>
                      <a:pt x="3507" y="1475"/>
                    </a:lnTo>
                    <a:lnTo>
                      <a:pt x="3522" y="1475"/>
                    </a:lnTo>
                    <a:lnTo>
                      <a:pt x="3522" y="1483"/>
                    </a:lnTo>
                    <a:lnTo>
                      <a:pt x="3524" y="1490"/>
                    </a:lnTo>
                    <a:lnTo>
                      <a:pt x="3526" y="1496"/>
                    </a:lnTo>
                    <a:lnTo>
                      <a:pt x="3528" y="1501"/>
                    </a:lnTo>
                    <a:lnTo>
                      <a:pt x="3535" y="1510"/>
                    </a:lnTo>
                    <a:lnTo>
                      <a:pt x="3541" y="1518"/>
                    </a:lnTo>
                    <a:lnTo>
                      <a:pt x="3720" y="1518"/>
                    </a:lnTo>
                    <a:lnTo>
                      <a:pt x="3721" y="1510"/>
                    </a:lnTo>
                    <a:lnTo>
                      <a:pt x="3720" y="1501"/>
                    </a:lnTo>
                    <a:lnTo>
                      <a:pt x="3718" y="1494"/>
                    </a:lnTo>
                    <a:lnTo>
                      <a:pt x="3716" y="1488"/>
                    </a:lnTo>
                    <a:lnTo>
                      <a:pt x="3713" y="1482"/>
                    </a:lnTo>
                    <a:lnTo>
                      <a:pt x="3708" y="1477"/>
                    </a:lnTo>
                    <a:lnTo>
                      <a:pt x="3704" y="1472"/>
                    </a:lnTo>
                    <a:lnTo>
                      <a:pt x="3699" y="1467"/>
                    </a:lnTo>
                    <a:lnTo>
                      <a:pt x="3691" y="1459"/>
                    </a:lnTo>
                    <a:lnTo>
                      <a:pt x="3682" y="1449"/>
                    </a:lnTo>
                    <a:lnTo>
                      <a:pt x="3679" y="1443"/>
                    </a:lnTo>
                    <a:lnTo>
                      <a:pt x="3676" y="1438"/>
                    </a:lnTo>
                    <a:lnTo>
                      <a:pt x="3674" y="1432"/>
                    </a:lnTo>
                    <a:lnTo>
                      <a:pt x="3674" y="1426"/>
                    </a:lnTo>
                    <a:lnTo>
                      <a:pt x="3674" y="1418"/>
                    </a:lnTo>
                    <a:lnTo>
                      <a:pt x="3674" y="1411"/>
                    </a:lnTo>
                    <a:lnTo>
                      <a:pt x="3674" y="1404"/>
                    </a:lnTo>
                    <a:lnTo>
                      <a:pt x="3674" y="1395"/>
                    </a:lnTo>
                    <a:lnTo>
                      <a:pt x="3687" y="1388"/>
                    </a:lnTo>
                    <a:lnTo>
                      <a:pt x="3880" y="1426"/>
                    </a:lnTo>
                    <a:lnTo>
                      <a:pt x="3883" y="1437"/>
                    </a:lnTo>
                    <a:lnTo>
                      <a:pt x="3886" y="1446"/>
                    </a:lnTo>
                    <a:lnTo>
                      <a:pt x="3890" y="1456"/>
                    </a:lnTo>
                    <a:lnTo>
                      <a:pt x="3895" y="1464"/>
                    </a:lnTo>
                    <a:lnTo>
                      <a:pt x="3900" y="1472"/>
                    </a:lnTo>
                    <a:lnTo>
                      <a:pt x="3906" y="1478"/>
                    </a:lnTo>
                    <a:lnTo>
                      <a:pt x="3914" y="1484"/>
                    </a:lnTo>
                    <a:lnTo>
                      <a:pt x="3920" y="1489"/>
                    </a:lnTo>
                    <a:lnTo>
                      <a:pt x="3929" y="1493"/>
                    </a:lnTo>
                    <a:lnTo>
                      <a:pt x="3938" y="1496"/>
                    </a:lnTo>
                    <a:lnTo>
                      <a:pt x="3948" y="1499"/>
                    </a:lnTo>
                    <a:lnTo>
                      <a:pt x="3957" y="1502"/>
                    </a:lnTo>
                    <a:lnTo>
                      <a:pt x="3968" y="1504"/>
                    </a:lnTo>
                    <a:lnTo>
                      <a:pt x="3981" y="1505"/>
                    </a:lnTo>
                    <a:lnTo>
                      <a:pt x="3993" y="1506"/>
                    </a:lnTo>
                    <a:lnTo>
                      <a:pt x="4006" y="1506"/>
                    </a:lnTo>
                    <a:lnTo>
                      <a:pt x="4018" y="1506"/>
                    </a:lnTo>
                    <a:lnTo>
                      <a:pt x="4029" y="1502"/>
                    </a:lnTo>
                    <a:lnTo>
                      <a:pt x="4039" y="1500"/>
                    </a:lnTo>
                    <a:lnTo>
                      <a:pt x="4050" y="1496"/>
                    </a:lnTo>
                    <a:lnTo>
                      <a:pt x="4060" y="1493"/>
                    </a:lnTo>
                    <a:lnTo>
                      <a:pt x="4069" y="1490"/>
                    </a:lnTo>
                    <a:lnTo>
                      <a:pt x="4080" y="1488"/>
                    </a:lnTo>
                    <a:lnTo>
                      <a:pt x="4093" y="1487"/>
                    </a:lnTo>
                    <a:lnTo>
                      <a:pt x="4108" y="1488"/>
                    </a:lnTo>
                    <a:lnTo>
                      <a:pt x="4123" y="1490"/>
                    </a:lnTo>
                    <a:lnTo>
                      <a:pt x="4136" y="1492"/>
                    </a:lnTo>
                    <a:lnTo>
                      <a:pt x="4150" y="1496"/>
                    </a:lnTo>
                    <a:lnTo>
                      <a:pt x="4162" y="1500"/>
                    </a:lnTo>
                    <a:lnTo>
                      <a:pt x="4173" y="1506"/>
                    </a:lnTo>
                    <a:lnTo>
                      <a:pt x="4184" y="1511"/>
                    </a:lnTo>
                    <a:lnTo>
                      <a:pt x="4195" y="1517"/>
                    </a:lnTo>
                    <a:lnTo>
                      <a:pt x="4214" y="1528"/>
                    </a:lnTo>
                    <a:lnTo>
                      <a:pt x="4233" y="1539"/>
                    </a:lnTo>
                    <a:lnTo>
                      <a:pt x="4243" y="1544"/>
                    </a:lnTo>
                    <a:lnTo>
                      <a:pt x="4253" y="1548"/>
                    </a:lnTo>
                    <a:lnTo>
                      <a:pt x="4262" y="1552"/>
                    </a:lnTo>
                    <a:lnTo>
                      <a:pt x="4272" y="1555"/>
                    </a:lnTo>
                    <a:lnTo>
                      <a:pt x="4306" y="1555"/>
                    </a:lnTo>
                    <a:lnTo>
                      <a:pt x="4334" y="1555"/>
                    </a:lnTo>
                    <a:lnTo>
                      <a:pt x="4358" y="1555"/>
                    </a:lnTo>
                    <a:lnTo>
                      <a:pt x="4378" y="1555"/>
                    </a:lnTo>
                    <a:lnTo>
                      <a:pt x="4396" y="1555"/>
                    </a:lnTo>
                    <a:lnTo>
                      <a:pt x="4412" y="1555"/>
                    </a:lnTo>
                    <a:lnTo>
                      <a:pt x="4427" y="1555"/>
                    </a:lnTo>
                    <a:lnTo>
                      <a:pt x="4445" y="1555"/>
                    </a:lnTo>
                    <a:lnTo>
                      <a:pt x="4455" y="1554"/>
                    </a:lnTo>
                    <a:lnTo>
                      <a:pt x="4464" y="1553"/>
                    </a:lnTo>
                    <a:lnTo>
                      <a:pt x="4470" y="1550"/>
                    </a:lnTo>
                    <a:lnTo>
                      <a:pt x="4476" y="1547"/>
                    </a:lnTo>
                    <a:lnTo>
                      <a:pt x="4480" y="1544"/>
                    </a:lnTo>
                    <a:lnTo>
                      <a:pt x="4485" y="1539"/>
                    </a:lnTo>
                    <a:lnTo>
                      <a:pt x="4488" y="1535"/>
                    </a:lnTo>
                    <a:lnTo>
                      <a:pt x="4490" y="1530"/>
                    </a:lnTo>
                    <a:lnTo>
                      <a:pt x="4495" y="1522"/>
                    </a:lnTo>
                    <a:lnTo>
                      <a:pt x="4503" y="1514"/>
                    </a:lnTo>
                    <a:lnTo>
                      <a:pt x="4509" y="1511"/>
                    </a:lnTo>
                    <a:lnTo>
                      <a:pt x="4514" y="1508"/>
                    </a:lnTo>
                    <a:lnTo>
                      <a:pt x="4522" y="1507"/>
                    </a:lnTo>
                    <a:lnTo>
                      <a:pt x="4531" y="1506"/>
                    </a:lnTo>
                    <a:lnTo>
                      <a:pt x="4554" y="1507"/>
                    </a:lnTo>
                    <a:lnTo>
                      <a:pt x="4577" y="1509"/>
                    </a:lnTo>
                    <a:lnTo>
                      <a:pt x="4599" y="1512"/>
                    </a:lnTo>
                    <a:lnTo>
                      <a:pt x="4620" y="1515"/>
                    </a:lnTo>
                    <a:lnTo>
                      <a:pt x="4651" y="1522"/>
                    </a:lnTo>
                    <a:lnTo>
                      <a:pt x="4663" y="1524"/>
                    </a:lnTo>
                    <a:lnTo>
                      <a:pt x="4678" y="1524"/>
                    </a:lnTo>
                    <a:lnTo>
                      <a:pt x="4690" y="1524"/>
                    </a:lnTo>
                    <a:lnTo>
                      <a:pt x="4700" y="1524"/>
                    </a:lnTo>
                    <a:lnTo>
                      <a:pt x="4711" y="1524"/>
                    </a:lnTo>
                    <a:lnTo>
                      <a:pt x="4718" y="1524"/>
                    </a:lnTo>
                    <a:lnTo>
                      <a:pt x="4727" y="1521"/>
                    </a:lnTo>
                    <a:lnTo>
                      <a:pt x="4737" y="1518"/>
                    </a:lnTo>
                    <a:lnTo>
                      <a:pt x="4746" y="1513"/>
                    </a:lnTo>
                    <a:lnTo>
                      <a:pt x="4755" y="1508"/>
                    </a:lnTo>
                    <a:lnTo>
                      <a:pt x="4763" y="1501"/>
                    </a:lnTo>
                    <a:lnTo>
                      <a:pt x="4771" y="1494"/>
                    </a:lnTo>
                    <a:lnTo>
                      <a:pt x="4777" y="1487"/>
                    </a:lnTo>
                    <a:lnTo>
                      <a:pt x="4771" y="1484"/>
                    </a:lnTo>
                    <a:lnTo>
                      <a:pt x="4766" y="1481"/>
                    </a:lnTo>
                    <a:lnTo>
                      <a:pt x="4760" y="1476"/>
                    </a:lnTo>
                    <a:lnTo>
                      <a:pt x="4756" y="1471"/>
                    </a:lnTo>
                    <a:lnTo>
                      <a:pt x="4750" y="1465"/>
                    </a:lnTo>
                    <a:lnTo>
                      <a:pt x="4747" y="1458"/>
                    </a:lnTo>
                    <a:lnTo>
                      <a:pt x="4745" y="1452"/>
                    </a:lnTo>
                    <a:lnTo>
                      <a:pt x="4744" y="1444"/>
                    </a:lnTo>
                    <a:lnTo>
                      <a:pt x="4745" y="1435"/>
                    </a:lnTo>
                    <a:lnTo>
                      <a:pt x="4747" y="1428"/>
                    </a:lnTo>
                    <a:lnTo>
                      <a:pt x="4750" y="1422"/>
                    </a:lnTo>
                    <a:lnTo>
                      <a:pt x="4754" y="1417"/>
                    </a:lnTo>
                    <a:lnTo>
                      <a:pt x="4757" y="1411"/>
                    </a:lnTo>
                    <a:lnTo>
                      <a:pt x="4760" y="1405"/>
                    </a:lnTo>
                    <a:lnTo>
                      <a:pt x="4762" y="1398"/>
                    </a:lnTo>
                    <a:lnTo>
                      <a:pt x="4763" y="1388"/>
                    </a:lnTo>
                    <a:lnTo>
                      <a:pt x="4763" y="1382"/>
                    </a:lnTo>
                    <a:lnTo>
                      <a:pt x="4761" y="1377"/>
                    </a:lnTo>
                    <a:lnTo>
                      <a:pt x="4759" y="1372"/>
                    </a:lnTo>
                    <a:lnTo>
                      <a:pt x="4756" y="1369"/>
                    </a:lnTo>
                    <a:lnTo>
                      <a:pt x="4747" y="1363"/>
                    </a:lnTo>
                    <a:lnTo>
                      <a:pt x="4737" y="1359"/>
                    </a:lnTo>
                    <a:lnTo>
                      <a:pt x="4727" y="1355"/>
                    </a:lnTo>
                    <a:lnTo>
                      <a:pt x="4718" y="1350"/>
                    </a:lnTo>
                    <a:lnTo>
                      <a:pt x="4715" y="1347"/>
                    </a:lnTo>
                    <a:lnTo>
                      <a:pt x="4713" y="1343"/>
                    </a:lnTo>
                    <a:lnTo>
                      <a:pt x="4711" y="1339"/>
                    </a:lnTo>
                    <a:lnTo>
                      <a:pt x="4711" y="1333"/>
                    </a:lnTo>
                    <a:lnTo>
                      <a:pt x="4711" y="1324"/>
                    </a:lnTo>
                    <a:lnTo>
                      <a:pt x="4711" y="1315"/>
                    </a:lnTo>
                    <a:lnTo>
                      <a:pt x="4830" y="1297"/>
                    </a:lnTo>
                    <a:lnTo>
                      <a:pt x="4869" y="1307"/>
                    </a:lnTo>
                    <a:lnTo>
                      <a:pt x="4898" y="1315"/>
                    </a:lnTo>
                    <a:lnTo>
                      <a:pt x="4928" y="1322"/>
                    </a:lnTo>
                    <a:lnTo>
                      <a:pt x="4963" y="1333"/>
                    </a:lnTo>
                    <a:lnTo>
                      <a:pt x="4974" y="1338"/>
                    </a:lnTo>
                    <a:lnTo>
                      <a:pt x="4985" y="1343"/>
                    </a:lnTo>
                    <a:lnTo>
                      <a:pt x="4995" y="1349"/>
                    </a:lnTo>
                    <a:lnTo>
                      <a:pt x="5005" y="1356"/>
                    </a:lnTo>
                    <a:lnTo>
                      <a:pt x="5021" y="1371"/>
                    </a:lnTo>
                    <a:lnTo>
                      <a:pt x="5038" y="1386"/>
                    </a:lnTo>
                    <a:lnTo>
                      <a:pt x="5046" y="1395"/>
                    </a:lnTo>
                    <a:lnTo>
                      <a:pt x="5054" y="1402"/>
                    </a:lnTo>
                    <a:lnTo>
                      <a:pt x="5063" y="1408"/>
                    </a:lnTo>
                    <a:lnTo>
                      <a:pt x="5073" y="1414"/>
                    </a:lnTo>
                    <a:lnTo>
                      <a:pt x="5084" y="1419"/>
                    </a:lnTo>
                    <a:lnTo>
                      <a:pt x="5095" y="1423"/>
                    </a:lnTo>
                    <a:lnTo>
                      <a:pt x="5108" y="1425"/>
                    </a:lnTo>
                    <a:lnTo>
                      <a:pt x="5122" y="1426"/>
                    </a:lnTo>
                    <a:lnTo>
                      <a:pt x="5127" y="1438"/>
                    </a:lnTo>
                    <a:lnTo>
                      <a:pt x="5132" y="1449"/>
                    </a:lnTo>
                    <a:lnTo>
                      <a:pt x="5139" y="1459"/>
                    </a:lnTo>
                    <a:lnTo>
                      <a:pt x="5148" y="1468"/>
                    </a:lnTo>
                    <a:lnTo>
                      <a:pt x="5156" y="1476"/>
                    </a:lnTo>
                    <a:lnTo>
                      <a:pt x="5166" y="1484"/>
                    </a:lnTo>
                    <a:lnTo>
                      <a:pt x="5176" y="1490"/>
                    </a:lnTo>
                    <a:lnTo>
                      <a:pt x="5188" y="1496"/>
                    </a:lnTo>
                    <a:lnTo>
                      <a:pt x="5199" y="1502"/>
                    </a:lnTo>
                    <a:lnTo>
                      <a:pt x="5211" y="1508"/>
                    </a:lnTo>
                    <a:lnTo>
                      <a:pt x="5225" y="1512"/>
                    </a:lnTo>
                    <a:lnTo>
                      <a:pt x="5237" y="1516"/>
                    </a:lnTo>
                    <a:lnTo>
                      <a:pt x="5263" y="1524"/>
                    </a:lnTo>
                    <a:lnTo>
                      <a:pt x="5288" y="1530"/>
                    </a:lnTo>
                    <a:lnTo>
                      <a:pt x="5303" y="1536"/>
                    </a:lnTo>
                    <a:lnTo>
                      <a:pt x="5317" y="1542"/>
                    </a:lnTo>
                    <a:lnTo>
                      <a:pt x="5330" y="1550"/>
                    </a:lnTo>
                    <a:lnTo>
                      <a:pt x="5342" y="1558"/>
                    </a:lnTo>
                    <a:lnTo>
                      <a:pt x="5365" y="1577"/>
                    </a:lnTo>
                    <a:lnTo>
                      <a:pt x="5388" y="1595"/>
                    </a:lnTo>
                    <a:lnTo>
                      <a:pt x="5399" y="1604"/>
                    </a:lnTo>
                    <a:lnTo>
                      <a:pt x="5410" y="1612"/>
                    </a:lnTo>
                    <a:lnTo>
                      <a:pt x="5422" y="1621"/>
                    </a:lnTo>
                    <a:lnTo>
                      <a:pt x="5434" y="1628"/>
                    </a:lnTo>
                    <a:lnTo>
                      <a:pt x="5446" y="1633"/>
                    </a:lnTo>
                    <a:lnTo>
                      <a:pt x="5460" y="1638"/>
                    </a:lnTo>
                    <a:lnTo>
                      <a:pt x="5473" y="1640"/>
                    </a:lnTo>
                    <a:lnTo>
                      <a:pt x="5488" y="1641"/>
                    </a:lnTo>
                    <a:lnTo>
                      <a:pt x="5497" y="1641"/>
                    </a:lnTo>
                    <a:lnTo>
                      <a:pt x="5506" y="1640"/>
                    </a:lnTo>
                    <a:lnTo>
                      <a:pt x="5514" y="1638"/>
                    </a:lnTo>
                    <a:lnTo>
                      <a:pt x="5522" y="1635"/>
                    </a:lnTo>
                    <a:lnTo>
                      <a:pt x="5536" y="1628"/>
                    </a:lnTo>
                    <a:lnTo>
                      <a:pt x="5551" y="1620"/>
                    </a:lnTo>
                    <a:lnTo>
                      <a:pt x="5565" y="1611"/>
                    </a:lnTo>
                    <a:lnTo>
                      <a:pt x="5579" y="1605"/>
                    </a:lnTo>
                    <a:lnTo>
                      <a:pt x="5587" y="1602"/>
                    </a:lnTo>
                    <a:lnTo>
                      <a:pt x="5596" y="1600"/>
                    </a:lnTo>
                    <a:lnTo>
                      <a:pt x="5604" y="1599"/>
                    </a:lnTo>
                    <a:lnTo>
                      <a:pt x="5614" y="1598"/>
                    </a:lnTo>
                    <a:lnTo>
                      <a:pt x="5621" y="1599"/>
                    </a:lnTo>
                    <a:lnTo>
                      <a:pt x="5626" y="1601"/>
                    </a:lnTo>
                    <a:lnTo>
                      <a:pt x="5631" y="1604"/>
                    </a:lnTo>
                    <a:lnTo>
                      <a:pt x="5635" y="1607"/>
                    </a:lnTo>
                    <a:lnTo>
                      <a:pt x="5642" y="1613"/>
                    </a:lnTo>
                    <a:lnTo>
                      <a:pt x="5647" y="1617"/>
                    </a:lnTo>
                    <a:lnTo>
                      <a:pt x="5647" y="1629"/>
                    </a:lnTo>
                    <a:lnTo>
                      <a:pt x="5647" y="1638"/>
                    </a:lnTo>
                    <a:lnTo>
                      <a:pt x="5647" y="1645"/>
                    </a:lnTo>
                    <a:lnTo>
                      <a:pt x="5647" y="1654"/>
                    </a:lnTo>
                    <a:lnTo>
                      <a:pt x="5647" y="1662"/>
                    </a:lnTo>
                    <a:lnTo>
                      <a:pt x="5649" y="1672"/>
                    </a:lnTo>
                    <a:lnTo>
                      <a:pt x="5652" y="1679"/>
                    </a:lnTo>
                    <a:lnTo>
                      <a:pt x="5655" y="1686"/>
                    </a:lnTo>
                    <a:lnTo>
                      <a:pt x="5659" y="1693"/>
                    </a:lnTo>
                    <a:lnTo>
                      <a:pt x="5664" y="1699"/>
                    </a:lnTo>
                    <a:lnTo>
                      <a:pt x="5668" y="1704"/>
                    </a:lnTo>
                    <a:lnTo>
                      <a:pt x="5674" y="1709"/>
                    </a:lnTo>
                    <a:lnTo>
                      <a:pt x="5674" y="1790"/>
                    </a:lnTo>
                    <a:lnTo>
                      <a:pt x="5666" y="1791"/>
                    </a:lnTo>
                    <a:lnTo>
                      <a:pt x="5657" y="1792"/>
                    </a:lnTo>
                    <a:lnTo>
                      <a:pt x="5649" y="1792"/>
                    </a:lnTo>
                    <a:lnTo>
                      <a:pt x="5641" y="1792"/>
                    </a:lnTo>
                    <a:lnTo>
                      <a:pt x="5623" y="1790"/>
                    </a:lnTo>
                    <a:lnTo>
                      <a:pt x="5608" y="1790"/>
                    </a:lnTo>
                    <a:lnTo>
                      <a:pt x="5604" y="1790"/>
                    </a:lnTo>
                    <a:lnTo>
                      <a:pt x="5602" y="1792"/>
                    </a:lnTo>
                    <a:lnTo>
                      <a:pt x="5600" y="1794"/>
                    </a:lnTo>
                    <a:lnTo>
                      <a:pt x="5598" y="1796"/>
                    </a:lnTo>
                    <a:lnTo>
                      <a:pt x="5595" y="1802"/>
                    </a:lnTo>
                    <a:lnTo>
                      <a:pt x="5593" y="1808"/>
                    </a:lnTo>
                    <a:lnTo>
                      <a:pt x="5595" y="1818"/>
                    </a:lnTo>
                    <a:lnTo>
                      <a:pt x="5597" y="1827"/>
                    </a:lnTo>
                    <a:lnTo>
                      <a:pt x="5600" y="1835"/>
                    </a:lnTo>
                    <a:lnTo>
                      <a:pt x="5604" y="1844"/>
                    </a:lnTo>
                    <a:lnTo>
                      <a:pt x="5609" y="1852"/>
                    </a:lnTo>
                    <a:lnTo>
                      <a:pt x="5614" y="1859"/>
                    </a:lnTo>
                    <a:lnTo>
                      <a:pt x="5620" y="1865"/>
                    </a:lnTo>
                    <a:lnTo>
                      <a:pt x="5626" y="1871"/>
                    </a:lnTo>
                    <a:lnTo>
                      <a:pt x="5637" y="1881"/>
                    </a:lnTo>
                    <a:lnTo>
                      <a:pt x="5647" y="1890"/>
                    </a:lnTo>
                    <a:lnTo>
                      <a:pt x="5651" y="1896"/>
                    </a:lnTo>
                    <a:lnTo>
                      <a:pt x="5653" y="1899"/>
                    </a:lnTo>
                    <a:lnTo>
                      <a:pt x="5654" y="1903"/>
                    </a:lnTo>
                    <a:lnTo>
                      <a:pt x="5654" y="1907"/>
                    </a:lnTo>
                    <a:lnTo>
                      <a:pt x="5747" y="1919"/>
                    </a:lnTo>
                    <a:lnTo>
                      <a:pt x="5754" y="1918"/>
                    </a:lnTo>
                    <a:lnTo>
                      <a:pt x="5761" y="1917"/>
                    </a:lnTo>
                    <a:lnTo>
                      <a:pt x="5768" y="1915"/>
                    </a:lnTo>
                    <a:lnTo>
                      <a:pt x="5775" y="1912"/>
                    </a:lnTo>
                    <a:lnTo>
                      <a:pt x="5780" y="1908"/>
                    </a:lnTo>
                    <a:lnTo>
                      <a:pt x="5786" y="1904"/>
                    </a:lnTo>
                    <a:lnTo>
                      <a:pt x="5792" y="1899"/>
                    </a:lnTo>
                    <a:lnTo>
                      <a:pt x="5797" y="1892"/>
                    </a:lnTo>
                    <a:lnTo>
                      <a:pt x="5807" y="1880"/>
                    </a:lnTo>
                    <a:lnTo>
                      <a:pt x="5815" y="1865"/>
                    </a:lnTo>
                    <a:lnTo>
                      <a:pt x="5823" y="1850"/>
                    </a:lnTo>
                    <a:lnTo>
                      <a:pt x="5830" y="1832"/>
                    </a:lnTo>
                    <a:lnTo>
                      <a:pt x="5835" y="1815"/>
                    </a:lnTo>
                    <a:lnTo>
                      <a:pt x="5841" y="1797"/>
                    </a:lnTo>
                    <a:lnTo>
                      <a:pt x="5845" y="1779"/>
                    </a:lnTo>
                    <a:lnTo>
                      <a:pt x="5847" y="1763"/>
                    </a:lnTo>
                    <a:lnTo>
                      <a:pt x="5852" y="1733"/>
                    </a:lnTo>
                    <a:lnTo>
                      <a:pt x="5853" y="1709"/>
                    </a:lnTo>
                    <a:lnTo>
                      <a:pt x="5853" y="1694"/>
                    </a:lnTo>
                    <a:lnTo>
                      <a:pt x="5853" y="1677"/>
                    </a:lnTo>
                    <a:lnTo>
                      <a:pt x="5853" y="1657"/>
                    </a:lnTo>
                    <a:lnTo>
                      <a:pt x="5853" y="1635"/>
                    </a:lnTo>
                    <a:lnTo>
                      <a:pt x="5853" y="1623"/>
                    </a:lnTo>
                    <a:lnTo>
                      <a:pt x="5853" y="1612"/>
                    </a:lnTo>
                    <a:lnTo>
                      <a:pt x="5855" y="1607"/>
                    </a:lnTo>
                    <a:lnTo>
                      <a:pt x="5858" y="1604"/>
                    </a:lnTo>
                    <a:lnTo>
                      <a:pt x="5865" y="1601"/>
                    </a:lnTo>
                    <a:lnTo>
                      <a:pt x="5873" y="1598"/>
                    </a:lnTo>
                    <a:lnTo>
                      <a:pt x="5873" y="1568"/>
                    </a:lnTo>
                    <a:lnTo>
                      <a:pt x="5867" y="1564"/>
                    </a:lnTo>
                    <a:lnTo>
                      <a:pt x="5859" y="1558"/>
                    </a:lnTo>
                    <a:lnTo>
                      <a:pt x="5850" y="1551"/>
                    </a:lnTo>
                    <a:lnTo>
                      <a:pt x="5843" y="1543"/>
                    </a:lnTo>
                    <a:lnTo>
                      <a:pt x="5835" y="1534"/>
                    </a:lnTo>
                    <a:lnTo>
                      <a:pt x="5830" y="1525"/>
                    </a:lnTo>
                    <a:lnTo>
                      <a:pt x="5827" y="1520"/>
                    </a:lnTo>
                    <a:lnTo>
                      <a:pt x="5826" y="1516"/>
                    </a:lnTo>
                    <a:lnTo>
                      <a:pt x="5826" y="1511"/>
                    </a:lnTo>
                    <a:lnTo>
                      <a:pt x="5826" y="1506"/>
                    </a:lnTo>
                    <a:lnTo>
                      <a:pt x="5816" y="1498"/>
                    </a:lnTo>
                    <a:lnTo>
                      <a:pt x="5808" y="1490"/>
                    </a:lnTo>
                    <a:lnTo>
                      <a:pt x="5799" y="1481"/>
                    </a:lnTo>
                    <a:lnTo>
                      <a:pt x="5791" y="1472"/>
                    </a:lnTo>
                    <a:lnTo>
                      <a:pt x="5776" y="1451"/>
                    </a:lnTo>
                    <a:lnTo>
                      <a:pt x="5761" y="1428"/>
                    </a:lnTo>
                    <a:lnTo>
                      <a:pt x="5748" y="1404"/>
                    </a:lnTo>
                    <a:lnTo>
                      <a:pt x="5735" y="1378"/>
                    </a:lnTo>
                    <a:lnTo>
                      <a:pt x="5721" y="1353"/>
                    </a:lnTo>
                    <a:lnTo>
                      <a:pt x="5707" y="1327"/>
                    </a:lnTo>
                    <a:lnTo>
                      <a:pt x="5700" y="1316"/>
                    </a:lnTo>
                    <a:lnTo>
                      <a:pt x="5692" y="1307"/>
                    </a:lnTo>
                    <a:lnTo>
                      <a:pt x="5684" y="1299"/>
                    </a:lnTo>
                    <a:lnTo>
                      <a:pt x="5674" y="1291"/>
                    </a:lnTo>
                    <a:lnTo>
                      <a:pt x="5664" y="1285"/>
                    </a:lnTo>
                    <a:lnTo>
                      <a:pt x="5652" y="1279"/>
                    </a:lnTo>
                    <a:lnTo>
                      <a:pt x="5640" y="1274"/>
                    </a:lnTo>
                    <a:lnTo>
                      <a:pt x="5628" y="1270"/>
                    </a:lnTo>
                    <a:lnTo>
                      <a:pt x="5600" y="1263"/>
                    </a:lnTo>
                    <a:lnTo>
                      <a:pt x="5570" y="1256"/>
                    </a:lnTo>
                    <a:lnTo>
                      <a:pt x="5540" y="1249"/>
                    </a:lnTo>
                    <a:lnTo>
                      <a:pt x="5508" y="1241"/>
                    </a:lnTo>
                    <a:lnTo>
                      <a:pt x="5503" y="1252"/>
                    </a:lnTo>
                    <a:lnTo>
                      <a:pt x="5500" y="1265"/>
                    </a:lnTo>
                    <a:lnTo>
                      <a:pt x="5498" y="1272"/>
                    </a:lnTo>
                    <a:lnTo>
                      <a:pt x="5496" y="1279"/>
                    </a:lnTo>
                    <a:lnTo>
                      <a:pt x="5492" y="1285"/>
                    </a:lnTo>
                    <a:lnTo>
                      <a:pt x="5488" y="1291"/>
                    </a:lnTo>
                    <a:lnTo>
                      <a:pt x="5483" y="1284"/>
                    </a:lnTo>
                    <a:lnTo>
                      <a:pt x="5476" y="1278"/>
                    </a:lnTo>
                    <a:lnTo>
                      <a:pt x="5469" y="1275"/>
                    </a:lnTo>
                    <a:lnTo>
                      <a:pt x="5462" y="1272"/>
                    </a:lnTo>
                    <a:lnTo>
                      <a:pt x="5446" y="1267"/>
                    </a:lnTo>
                    <a:lnTo>
                      <a:pt x="5431" y="1264"/>
                    </a:lnTo>
                    <a:lnTo>
                      <a:pt x="5423" y="1262"/>
                    </a:lnTo>
                    <a:lnTo>
                      <a:pt x="5417" y="1260"/>
                    </a:lnTo>
                    <a:lnTo>
                      <a:pt x="5411" y="1257"/>
                    </a:lnTo>
                    <a:lnTo>
                      <a:pt x="5406" y="1254"/>
                    </a:lnTo>
                    <a:lnTo>
                      <a:pt x="5401" y="1249"/>
                    </a:lnTo>
                    <a:lnTo>
                      <a:pt x="5398" y="1244"/>
                    </a:lnTo>
                    <a:lnTo>
                      <a:pt x="5396" y="1237"/>
                    </a:lnTo>
                    <a:lnTo>
                      <a:pt x="5395" y="1229"/>
                    </a:lnTo>
                    <a:lnTo>
                      <a:pt x="5378" y="1226"/>
                    </a:lnTo>
                    <a:lnTo>
                      <a:pt x="5341" y="1218"/>
                    </a:lnTo>
                    <a:lnTo>
                      <a:pt x="5322" y="1214"/>
                    </a:lnTo>
                    <a:lnTo>
                      <a:pt x="5305" y="1210"/>
                    </a:lnTo>
                    <a:lnTo>
                      <a:pt x="5293" y="1207"/>
                    </a:lnTo>
                    <a:lnTo>
                      <a:pt x="5288" y="1204"/>
                    </a:lnTo>
                    <a:lnTo>
                      <a:pt x="5289" y="1197"/>
                    </a:lnTo>
                    <a:lnTo>
                      <a:pt x="5293" y="1191"/>
                    </a:lnTo>
                    <a:lnTo>
                      <a:pt x="5298" y="1185"/>
                    </a:lnTo>
                    <a:lnTo>
                      <a:pt x="5304" y="1180"/>
                    </a:lnTo>
                    <a:lnTo>
                      <a:pt x="5319" y="1167"/>
                    </a:lnTo>
                    <a:lnTo>
                      <a:pt x="5334" y="1154"/>
                    </a:lnTo>
                    <a:lnTo>
                      <a:pt x="5331" y="1147"/>
                    </a:lnTo>
                    <a:lnTo>
                      <a:pt x="5329" y="1140"/>
                    </a:lnTo>
                    <a:lnTo>
                      <a:pt x="5328" y="1132"/>
                    </a:lnTo>
                    <a:lnTo>
                      <a:pt x="5329" y="1125"/>
                    </a:lnTo>
                    <a:lnTo>
                      <a:pt x="5331" y="1117"/>
                    </a:lnTo>
                    <a:lnTo>
                      <a:pt x="5334" y="1108"/>
                    </a:lnTo>
                    <a:lnTo>
                      <a:pt x="5339" y="1100"/>
                    </a:lnTo>
                    <a:lnTo>
                      <a:pt x="5343" y="1092"/>
                    </a:lnTo>
                    <a:lnTo>
                      <a:pt x="5365" y="1064"/>
                    </a:lnTo>
                    <a:lnTo>
                      <a:pt x="5382" y="1043"/>
                    </a:lnTo>
                    <a:lnTo>
                      <a:pt x="5382" y="964"/>
                    </a:lnTo>
                    <a:lnTo>
                      <a:pt x="5388" y="962"/>
                    </a:lnTo>
                    <a:lnTo>
                      <a:pt x="5396" y="961"/>
                    </a:lnTo>
                    <a:lnTo>
                      <a:pt x="5402" y="961"/>
                    </a:lnTo>
                    <a:lnTo>
                      <a:pt x="5409" y="962"/>
                    </a:lnTo>
                    <a:lnTo>
                      <a:pt x="5423" y="963"/>
                    </a:lnTo>
                    <a:lnTo>
                      <a:pt x="5441" y="964"/>
                    </a:lnTo>
                    <a:lnTo>
                      <a:pt x="5465" y="964"/>
                    </a:lnTo>
                    <a:lnTo>
                      <a:pt x="5492" y="966"/>
                    </a:lnTo>
                    <a:lnTo>
                      <a:pt x="5521" y="968"/>
                    </a:lnTo>
                    <a:lnTo>
                      <a:pt x="5552" y="970"/>
                    </a:lnTo>
                    <a:lnTo>
                      <a:pt x="5583" y="972"/>
                    </a:lnTo>
                    <a:lnTo>
                      <a:pt x="5612" y="974"/>
                    </a:lnTo>
                    <a:lnTo>
                      <a:pt x="5641" y="975"/>
                    </a:lnTo>
                    <a:lnTo>
                      <a:pt x="5667" y="976"/>
                    </a:lnTo>
                    <a:lnTo>
                      <a:pt x="5671" y="975"/>
                    </a:lnTo>
                    <a:lnTo>
                      <a:pt x="5677" y="972"/>
                    </a:lnTo>
                    <a:lnTo>
                      <a:pt x="5682" y="968"/>
                    </a:lnTo>
                    <a:lnTo>
                      <a:pt x="5687" y="964"/>
                    </a:lnTo>
                    <a:lnTo>
                      <a:pt x="5674" y="945"/>
                    </a:lnTo>
                    <a:lnTo>
                      <a:pt x="5807" y="945"/>
                    </a:lnTo>
                    <a:lnTo>
                      <a:pt x="5809" y="949"/>
                    </a:lnTo>
                    <a:lnTo>
                      <a:pt x="5816" y="955"/>
                    </a:lnTo>
                    <a:lnTo>
                      <a:pt x="5825" y="962"/>
                    </a:lnTo>
                    <a:lnTo>
                      <a:pt x="5836" y="969"/>
                    </a:lnTo>
                    <a:lnTo>
                      <a:pt x="5857" y="982"/>
                    </a:lnTo>
                    <a:lnTo>
                      <a:pt x="5867" y="988"/>
                    </a:lnTo>
                    <a:lnTo>
                      <a:pt x="5871" y="988"/>
                    </a:lnTo>
                    <a:lnTo>
                      <a:pt x="5875" y="987"/>
                    </a:lnTo>
                    <a:lnTo>
                      <a:pt x="5878" y="985"/>
                    </a:lnTo>
                    <a:lnTo>
                      <a:pt x="5880" y="983"/>
                    </a:lnTo>
                    <a:lnTo>
                      <a:pt x="5884" y="979"/>
                    </a:lnTo>
                    <a:lnTo>
                      <a:pt x="5888" y="973"/>
                    </a:lnTo>
                    <a:lnTo>
                      <a:pt x="5892" y="967"/>
                    </a:lnTo>
                    <a:lnTo>
                      <a:pt x="5898" y="963"/>
                    </a:lnTo>
                    <a:lnTo>
                      <a:pt x="5902" y="961"/>
                    </a:lnTo>
                    <a:lnTo>
                      <a:pt x="5906" y="959"/>
                    </a:lnTo>
                    <a:lnTo>
                      <a:pt x="5913" y="958"/>
                    </a:lnTo>
                    <a:lnTo>
                      <a:pt x="5920" y="958"/>
                    </a:lnTo>
                    <a:lnTo>
                      <a:pt x="5911" y="954"/>
                    </a:lnTo>
                    <a:lnTo>
                      <a:pt x="5904" y="950"/>
                    </a:lnTo>
                    <a:lnTo>
                      <a:pt x="5900" y="945"/>
                    </a:lnTo>
                    <a:lnTo>
                      <a:pt x="5897" y="941"/>
                    </a:lnTo>
                    <a:lnTo>
                      <a:pt x="5894" y="935"/>
                    </a:lnTo>
                    <a:lnTo>
                      <a:pt x="5893" y="927"/>
                    </a:lnTo>
                    <a:lnTo>
                      <a:pt x="5893" y="916"/>
                    </a:lnTo>
                    <a:lnTo>
                      <a:pt x="5893" y="902"/>
                    </a:lnTo>
                    <a:lnTo>
                      <a:pt x="5893" y="886"/>
                    </a:lnTo>
                    <a:lnTo>
                      <a:pt x="5894" y="871"/>
                    </a:lnTo>
                    <a:lnTo>
                      <a:pt x="5897" y="858"/>
                    </a:lnTo>
                    <a:lnTo>
                      <a:pt x="5900" y="846"/>
                    </a:lnTo>
                    <a:lnTo>
                      <a:pt x="5902" y="841"/>
                    </a:lnTo>
                    <a:lnTo>
                      <a:pt x="5904" y="835"/>
                    </a:lnTo>
                    <a:lnTo>
                      <a:pt x="5906" y="831"/>
                    </a:lnTo>
                    <a:lnTo>
                      <a:pt x="5910" y="828"/>
                    </a:lnTo>
                    <a:lnTo>
                      <a:pt x="5913" y="825"/>
                    </a:lnTo>
                    <a:lnTo>
                      <a:pt x="5917" y="823"/>
                    </a:lnTo>
                    <a:lnTo>
                      <a:pt x="5922" y="822"/>
                    </a:lnTo>
                    <a:lnTo>
                      <a:pt x="5926" y="822"/>
                    </a:lnTo>
                    <a:lnTo>
                      <a:pt x="5945" y="822"/>
                    </a:lnTo>
                    <a:lnTo>
                      <a:pt x="5974" y="822"/>
                    </a:lnTo>
                    <a:lnTo>
                      <a:pt x="6006" y="822"/>
                    </a:lnTo>
                    <a:lnTo>
                      <a:pt x="6033" y="822"/>
                    </a:lnTo>
                    <a:lnTo>
                      <a:pt x="6037" y="828"/>
                    </a:lnTo>
                    <a:lnTo>
                      <a:pt x="6045" y="838"/>
                    </a:lnTo>
                    <a:lnTo>
                      <a:pt x="6055" y="849"/>
                    </a:lnTo>
                    <a:lnTo>
                      <a:pt x="6066" y="860"/>
                    </a:lnTo>
                    <a:lnTo>
                      <a:pt x="6077" y="871"/>
                    </a:lnTo>
                    <a:lnTo>
                      <a:pt x="6086" y="881"/>
                    </a:lnTo>
                    <a:lnTo>
                      <a:pt x="6094" y="887"/>
                    </a:lnTo>
                    <a:lnTo>
                      <a:pt x="6099" y="889"/>
                    </a:lnTo>
                    <a:lnTo>
                      <a:pt x="6102" y="881"/>
                    </a:lnTo>
                    <a:lnTo>
                      <a:pt x="6105" y="874"/>
                    </a:lnTo>
                    <a:lnTo>
                      <a:pt x="6108" y="867"/>
                    </a:lnTo>
                    <a:lnTo>
                      <a:pt x="6112" y="861"/>
                    </a:lnTo>
                    <a:lnTo>
                      <a:pt x="6116" y="855"/>
                    </a:lnTo>
                    <a:lnTo>
                      <a:pt x="6119" y="848"/>
                    </a:lnTo>
                    <a:lnTo>
                      <a:pt x="6123" y="839"/>
                    </a:lnTo>
                    <a:lnTo>
                      <a:pt x="6125" y="828"/>
                    </a:lnTo>
                    <a:lnTo>
                      <a:pt x="6128" y="830"/>
                    </a:lnTo>
                    <a:lnTo>
                      <a:pt x="6132" y="831"/>
                    </a:lnTo>
                    <a:lnTo>
                      <a:pt x="6135" y="832"/>
                    </a:lnTo>
                    <a:lnTo>
                      <a:pt x="6139" y="832"/>
                    </a:lnTo>
                    <a:lnTo>
                      <a:pt x="6144" y="832"/>
                    </a:lnTo>
                    <a:lnTo>
                      <a:pt x="6149" y="831"/>
                    </a:lnTo>
                    <a:lnTo>
                      <a:pt x="6153" y="830"/>
                    </a:lnTo>
                    <a:lnTo>
                      <a:pt x="6159" y="828"/>
                    </a:lnTo>
                    <a:lnTo>
                      <a:pt x="6148" y="815"/>
                    </a:lnTo>
                    <a:lnTo>
                      <a:pt x="6137" y="803"/>
                    </a:lnTo>
                    <a:lnTo>
                      <a:pt x="6133" y="796"/>
                    </a:lnTo>
                    <a:lnTo>
                      <a:pt x="6128" y="789"/>
                    </a:lnTo>
                    <a:lnTo>
                      <a:pt x="6126" y="782"/>
                    </a:lnTo>
                    <a:lnTo>
                      <a:pt x="6125" y="772"/>
                    </a:lnTo>
                    <a:lnTo>
                      <a:pt x="6126" y="767"/>
                    </a:lnTo>
                    <a:lnTo>
                      <a:pt x="6128" y="764"/>
                    </a:lnTo>
                    <a:lnTo>
                      <a:pt x="6132" y="761"/>
                    </a:lnTo>
                    <a:lnTo>
                      <a:pt x="6135" y="760"/>
                    </a:lnTo>
                    <a:lnTo>
                      <a:pt x="6140" y="759"/>
                    </a:lnTo>
                    <a:lnTo>
                      <a:pt x="6146" y="759"/>
                    </a:lnTo>
                    <a:lnTo>
                      <a:pt x="6152" y="760"/>
                    </a:lnTo>
                    <a:lnTo>
                      <a:pt x="6159" y="762"/>
                    </a:lnTo>
                    <a:lnTo>
                      <a:pt x="6188" y="771"/>
                    </a:lnTo>
                    <a:lnTo>
                      <a:pt x="6212" y="778"/>
                    </a:lnTo>
                    <a:lnTo>
                      <a:pt x="6202" y="779"/>
                    </a:lnTo>
                    <a:lnTo>
                      <a:pt x="6193" y="782"/>
                    </a:lnTo>
                    <a:lnTo>
                      <a:pt x="6184" y="784"/>
                    </a:lnTo>
                    <a:lnTo>
                      <a:pt x="6179" y="785"/>
                    </a:lnTo>
                    <a:lnTo>
                      <a:pt x="6180" y="792"/>
                    </a:lnTo>
                    <a:lnTo>
                      <a:pt x="6183" y="797"/>
                    </a:lnTo>
                    <a:lnTo>
                      <a:pt x="6186" y="802"/>
                    </a:lnTo>
                    <a:lnTo>
                      <a:pt x="6191" y="807"/>
                    </a:lnTo>
                    <a:lnTo>
                      <a:pt x="6201" y="815"/>
                    </a:lnTo>
                    <a:lnTo>
                      <a:pt x="6211" y="822"/>
                    </a:lnTo>
                    <a:lnTo>
                      <a:pt x="6222" y="829"/>
                    </a:lnTo>
                    <a:lnTo>
                      <a:pt x="6230" y="837"/>
                    </a:lnTo>
                    <a:lnTo>
                      <a:pt x="6234" y="842"/>
                    </a:lnTo>
                    <a:lnTo>
                      <a:pt x="6236" y="847"/>
                    </a:lnTo>
                    <a:lnTo>
                      <a:pt x="6238" y="853"/>
                    </a:lnTo>
                    <a:lnTo>
                      <a:pt x="6238" y="859"/>
                    </a:lnTo>
                    <a:lnTo>
                      <a:pt x="6237" y="867"/>
                    </a:lnTo>
                    <a:lnTo>
                      <a:pt x="6231" y="878"/>
                    </a:lnTo>
                    <a:lnTo>
                      <a:pt x="6224" y="893"/>
                    </a:lnTo>
                    <a:lnTo>
                      <a:pt x="6215" y="907"/>
                    </a:lnTo>
                    <a:lnTo>
                      <a:pt x="6206" y="922"/>
                    </a:lnTo>
                    <a:lnTo>
                      <a:pt x="6200" y="937"/>
                    </a:lnTo>
                    <a:lnTo>
                      <a:pt x="6196" y="944"/>
                    </a:lnTo>
                    <a:lnTo>
                      <a:pt x="6194" y="952"/>
                    </a:lnTo>
                    <a:lnTo>
                      <a:pt x="6192" y="958"/>
                    </a:lnTo>
                    <a:lnTo>
                      <a:pt x="6192" y="964"/>
                    </a:lnTo>
                    <a:lnTo>
                      <a:pt x="6193" y="970"/>
                    </a:lnTo>
                    <a:lnTo>
                      <a:pt x="6195" y="974"/>
                    </a:lnTo>
                    <a:lnTo>
                      <a:pt x="6198" y="977"/>
                    </a:lnTo>
                    <a:lnTo>
                      <a:pt x="6202" y="979"/>
                    </a:lnTo>
                    <a:lnTo>
                      <a:pt x="6205" y="981"/>
                    </a:lnTo>
                    <a:lnTo>
                      <a:pt x="6208" y="984"/>
                    </a:lnTo>
                    <a:lnTo>
                      <a:pt x="6211" y="988"/>
                    </a:lnTo>
                    <a:lnTo>
                      <a:pt x="6212" y="994"/>
                    </a:lnTo>
                    <a:lnTo>
                      <a:pt x="6212" y="1001"/>
                    </a:lnTo>
                    <a:lnTo>
                      <a:pt x="6211" y="1010"/>
                    </a:lnTo>
                    <a:lnTo>
                      <a:pt x="6208" y="1018"/>
                    </a:lnTo>
                    <a:lnTo>
                      <a:pt x="6204" y="1026"/>
                    </a:lnTo>
                    <a:lnTo>
                      <a:pt x="6202" y="1030"/>
                    </a:lnTo>
                    <a:lnTo>
                      <a:pt x="6200" y="1033"/>
                    </a:lnTo>
                    <a:lnTo>
                      <a:pt x="6196" y="1036"/>
                    </a:lnTo>
                    <a:lnTo>
                      <a:pt x="6192" y="1039"/>
                    </a:lnTo>
                    <a:lnTo>
                      <a:pt x="6188" y="1041"/>
                    </a:lnTo>
                    <a:lnTo>
                      <a:pt x="6183" y="1042"/>
                    </a:lnTo>
                    <a:lnTo>
                      <a:pt x="6178" y="1043"/>
                    </a:lnTo>
                    <a:lnTo>
                      <a:pt x="6172" y="1043"/>
                    </a:lnTo>
                    <a:lnTo>
                      <a:pt x="6173" y="1062"/>
                    </a:lnTo>
                    <a:lnTo>
                      <a:pt x="6175" y="1079"/>
                    </a:lnTo>
                    <a:lnTo>
                      <a:pt x="6181" y="1095"/>
                    </a:lnTo>
                    <a:lnTo>
                      <a:pt x="6186" y="1111"/>
                    </a:lnTo>
                    <a:lnTo>
                      <a:pt x="6194" y="1126"/>
                    </a:lnTo>
                    <a:lnTo>
                      <a:pt x="6204" y="1140"/>
                    </a:lnTo>
                    <a:lnTo>
                      <a:pt x="6214" y="1153"/>
                    </a:lnTo>
                    <a:lnTo>
                      <a:pt x="6226" y="1166"/>
                    </a:lnTo>
                    <a:lnTo>
                      <a:pt x="6238" y="1179"/>
                    </a:lnTo>
                    <a:lnTo>
                      <a:pt x="6252" y="1190"/>
                    </a:lnTo>
                    <a:lnTo>
                      <a:pt x="6267" y="1201"/>
                    </a:lnTo>
                    <a:lnTo>
                      <a:pt x="6281" y="1211"/>
                    </a:lnTo>
                    <a:lnTo>
                      <a:pt x="6296" y="1220"/>
                    </a:lnTo>
                    <a:lnTo>
                      <a:pt x="6313" y="1230"/>
                    </a:lnTo>
                    <a:lnTo>
                      <a:pt x="6328" y="1239"/>
                    </a:lnTo>
                    <a:lnTo>
                      <a:pt x="6345" y="1247"/>
                    </a:lnTo>
                    <a:lnTo>
                      <a:pt x="6352" y="1251"/>
                    </a:lnTo>
                    <a:lnTo>
                      <a:pt x="6360" y="1256"/>
                    </a:lnTo>
                    <a:lnTo>
                      <a:pt x="6365" y="1261"/>
                    </a:lnTo>
                    <a:lnTo>
                      <a:pt x="6371" y="1267"/>
                    </a:lnTo>
                    <a:lnTo>
                      <a:pt x="6379" y="1282"/>
                    </a:lnTo>
                    <a:lnTo>
                      <a:pt x="6387" y="1297"/>
                    </a:lnTo>
                    <a:lnTo>
                      <a:pt x="6392" y="1304"/>
                    </a:lnTo>
                    <a:lnTo>
                      <a:pt x="6396" y="1311"/>
                    </a:lnTo>
                    <a:lnTo>
                      <a:pt x="6402" y="1318"/>
                    </a:lnTo>
                    <a:lnTo>
                      <a:pt x="6407" y="1325"/>
                    </a:lnTo>
                    <a:lnTo>
                      <a:pt x="6415" y="1331"/>
                    </a:lnTo>
                    <a:lnTo>
                      <a:pt x="6422" y="1337"/>
                    </a:lnTo>
                    <a:lnTo>
                      <a:pt x="6432" y="1342"/>
                    </a:lnTo>
                    <a:lnTo>
                      <a:pt x="6444" y="1346"/>
                    </a:lnTo>
                    <a:lnTo>
                      <a:pt x="6452" y="1347"/>
                    </a:lnTo>
                    <a:lnTo>
                      <a:pt x="6464" y="1351"/>
                    </a:lnTo>
                    <a:lnTo>
                      <a:pt x="6471" y="1353"/>
                    </a:lnTo>
                    <a:lnTo>
                      <a:pt x="6476" y="1356"/>
                    </a:lnTo>
                    <a:lnTo>
                      <a:pt x="6481" y="1360"/>
                    </a:lnTo>
                    <a:lnTo>
                      <a:pt x="6484" y="1364"/>
                    </a:lnTo>
                    <a:lnTo>
                      <a:pt x="6491" y="1374"/>
                    </a:lnTo>
                    <a:lnTo>
                      <a:pt x="6497" y="1384"/>
                    </a:lnTo>
                    <a:lnTo>
                      <a:pt x="6506" y="1395"/>
                    </a:lnTo>
                    <a:lnTo>
                      <a:pt x="6515" y="1404"/>
                    </a:lnTo>
                    <a:lnTo>
                      <a:pt x="6525" y="1413"/>
                    </a:lnTo>
                    <a:lnTo>
                      <a:pt x="6533" y="1420"/>
                    </a:lnTo>
                    <a:lnTo>
                      <a:pt x="6538" y="1422"/>
                    </a:lnTo>
                    <a:lnTo>
                      <a:pt x="6542" y="1424"/>
                    </a:lnTo>
                    <a:lnTo>
                      <a:pt x="6547" y="1425"/>
                    </a:lnTo>
                    <a:lnTo>
                      <a:pt x="6551" y="1426"/>
                    </a:lnTo>
                    <a:lnTo>
                      <a:pt x="6554" y="1425"/>
                    </a:lnTo>
                    <a:lnTo>
                      <a:pt x="6558" y="1425"/>
                    </a:lnTo>
                    <a:lnTo>
                      <a:pt x="6561" y="1423"/>
                    </a:lnTo>
                    <a:lnTo>
                      <a:pt x="6564" y="1421"/>
                    </a:lnTo>
                    <a:lnTo>
                      <a:pt x="6570" y="1416"/>
                    </a:lnTo>
                    <a:lnTo>
                      <a:pt x="6575" y="1410"/>
                    </a:lnTo>
                    <a:lnTo>
                      <a:pt x="6578" y="1402"/>
                    </a:lnTo>
                    <a:lnTo>
                      <a:pt x="6582" y="1391"/>
                    </a:lnTo>
                    <a:lnTo>
                      <a:pt x="6583" y="1381"/>
                    </a:lnTo>
                    <a:lnTo>
                      <a:pt x="6584" y="1370"/>
                    </a:lnTo>
                    <a:lnTo>
                      <a:pt x="6583" y="1366"/>
                    </a:lnTo>
                    <a:lnTo>
                      <a:pt x="6582" y="1362"/>
                    </a:lnTo>
                    <a:lnTo>
                      <a:pt x="6579" y="1359"/>
                    </a:lnTo>
                    <a:lnTo>
                      <a:pt x="6576" y="1356"/>
                    </a:lnTo>
                    <a:lnTo>
                      <a:pt x="6570" y="1350"/>
                    </a:lnTo>
                    <a:lnTo>
                      <a:pt x="6561" y="1345"/>
                    </a:lnTo>
                    <a:lnTo>
                      <a:pt x="6552" y="1340"/>
                    </a:lnTo>
                    <a:lnTo>
                      <a:pt x="6544" y="1333"/>
                    </a:lnTo>
                    <a:lnTo>
                      <a:pt x="6542" y="1329"/>
                    </a:lnTo>
                    <a:lnTo>
                      <a:pt x="6539" y="1325"/>
                    </a:lnTo>
                    <a:lnTo>
                      <a:pt x="6538" y="1320"/>
                    </a:lnTo>
                    <a:lnTo>
                      <a:pt x="6538" y="1315"/>
                    </a:lnTo>
                    <a:lnTo>
                      <a:pt x="6539" y="1313"/>
                    </a:lnTo>
                    <a:lnTo>
                      <a:pt x="6542" y="1310"/>
                    </a:lnTo>
                    <a:lnTo>
                      <a:pt x="6547" y="1308"/>
                    </a:lnTo>
                    <a:lnTo>
                      <a:pt x="6552" y="1306"/>
                    </a:lnTo>
                    <a:lnTo>
                      <a:pt x="6565" y="1301"/>
                    </a:lnTo>
                    <a:lnTo>
                      <a:pt x="6577" y="1297"/>
                    </a:lnTo>
                    <a:lnTo>
                      <a:pt x="6569" y="1280"/>
                    </a:lnTo>
                    <a:lnTo>
                      <a:pt x="6560" y="1268"/>
                    </a:lnTo>
                    <a:lnTo>
                      <a:pt x="6550" y="1256"/>
                    </a:lnTo>
                    <a:lnTo>
                      <a:pt x="6538" y="1241"/>
                    </a:lnTo>
                    <a:lnTo>
                      <a:pt x="6540" y="1239"/>
                    </a:lnTo>
                    <a:lnTo>
                      <a:pt x="6544" y="1238"/>
                    </a:lnTo>
                    <a:lnTo>
                      <a:pt x="6550" y="1237"/>
                    </a:lnTo>
                    <a:lnTo>
                      <a:pt x="6556" y="1236"/>
                    </a:lnTo>
                    <a:lnTo>
                      <a:pt x="6572" y="1235"/>
                    </a:lnTo>
                    <a:lnTo>
                      <a:pt x="6590" y="1235"/>
                    </a:lnTo>
                    <a:lnTo>
                      <a:pt x="6583" y="1229"/>
                    </a:lnTo>
                    <a:lnTo>
                      <a:pt x="6572" y="1219"/>
                    </a:lnTo>
                    <a:lnTo>
                      <a:pt x="6566" y="1214"/>
                    </a:lnTo>
                    <a:lnTo>
                      <a:pt x="6562" y="1210"/>
                    </a:lnTo>
                    <a:lnTo>
                      <a:pt x="6559" y="1207"/>
                    </a:lnTo>
                    <a:lnTo>
                      <a:pt x="6558" y="1204"/>
                    </a:lnTo>
                    <a:lnTo>
                      <a:pt x="6550" y="1199"/>
                    </a:lnTo>
                    <a:lnTo>
                      <a:pt x="6544" y="1194"/>
                    </a:lnTo>
                    <a:lnTo>
                      <a:pt x="6540" y="1187"/>
                    </a:lnTo>
                    <a:lnTo>
                      <a:pt x="6537" y="1180"/>
                    </a:lnTo>
                    <a:lnTo>
                      <a:pt x="6533" y="1173"/>
                    </a:lnTo>
                    <a:lnTo>
                      <a:pt x="6532" y="1163"/>
                    </a:lnTo>
                    <a:lnTo>
                      <a:pt x="6531" y="1153"/>
                    </a:lnTo>
                    <a:lnTo>
                      <a:pt x="6531" y="1142"/>
                    </a:lnTo>
                    <a:lnTo>
                      <a:pt x="6536" y="1142"/>
                    </a:lnTo>
                    <a:lnTo>
                      <a:pt x="6540" y="1140"/>
                    </a:lnTo>
                    <a:lnTo>
                      <a:pt x="6545" y="1138"/>
                    </a:lnTo>
                    <a:lnTo>
                      <a:pt x="6549" y="1136"/>
                    </a:lnTo>
                    <a:lnTo>
                      <a:pt x="6552" y="1133"/>
                    </a:lnTo>
                    <a:lnTo>
                      <a:pt x="6555" y="1130"/>
                    </a:lnTo>
                    <a:lnTo>
                      <a:pt x="6556" y="1127"/>
                    </a:lnTo>
                    <a:lnTo>
                      <a:pt x="6558" y="1124"/>
                    </a:lnTo>
                    <a:lnTo>
                      <a:pt x="6539" y="1118"/>
                    </a:lnTo>
                    <a:lnTo>
                      <a:pt x="6522" y="1110"/>
                    </a:lnTo>
                    <a:lnTo>
                      <a:pt x="6508" y="1103"/>
                    </a:lnTo>
                    <a:lnTo>
                      <a:pt x="6496" y="1095"/>
                    </a:lnTo>
                    <a:lnTo>
                      <a:pt x="6476" y="1078"/>
                    </a:lnTo>
                    <a:lnTo>
                      <a:pt x="6460" y="1063"/>
                    </a:lnTo>
                    <a:lnTo>
                      <a:pt x="6452" y="1055"/>
                    </a:lnTo>
                    <a:lnTo>
                      <a:pt x="6444" y="1048"/>
                    </a:lnTo>
                    <a:lnTo>
                      <a:pt x="6437" y="1043"/>
                    </a:lnTo>
                    <a:lnTo>
                      <a:pt x="6427" y="1039"/>
                    </a:lnTo>
                    <a:lnTo>
                      <a:pt x="6417" y="1036"/>
                    </a:lnTo>
                    <a:lnTo>
                      <a:pt x="6406" y="1035"/>
                    </a:lnTo>
                    <a:lnTo>
                      <a:pt x="6393" y="1035"/>
                    </a:lnTo>
                    <a:lnTo>
                      <a:pt x="6377" y="1037"/>
                    </a:lnTo>
                    <a:lnTo>
                      <a:pt x="6375" y="1038"/>
                    </a:lnTo>
                    <a:lnTo>
                      <a:pt x="6373" y="1037"/>
                    </a:lnTo>
                    <a:lnTo>
                      <a:pt x="6372" y="1036"/>
                    </a:lnTo>
                    <a:lnTo>
                      <a:pt x="6370" y="1035"/>
                    </a:lnTo>
                    <a:lnTo>
                      <a:pt x="6368" y="1031"/>
                    </a:lnTo>
                    <a:lnTo>
                      <a:pt x="6365" y="1025"/>
                    </a:lnTo>
                    <a:lnTo>
                      <a:pt x="6363" y="1009"/>
                    </a:lnTo>
                    <a:lnTo>
                      <a:pt x="6360" y="990"/>
                    </a:lnTo>
                    <a:lnTo>
                      <a:pt x="6358" y="981"/>
                    </a:lnTo>
                    <a:lnTo>
                      <a:pt x="6354" y="972"/>
                    </a:lnTo>
                    <a:lnTo>
                      <a:pt x="6351" y="963"/>
                    </a:lnTo>
                    <a:lnTo>
                      <a:pt x="6346" y="956"/>
                    </a:lnTo>
                    <a:lnTo>
                      <a:pt x="6340" y="949"/>
                    </a:lnTo>
                    <a:lnTo>
                      <a:pt x="6332" y="943"/>
                    </a:lnTo>
                    <a:lnTo>
                      <a:pt x="6328" y="941"/>
                    </a:lnTo>
                    <a:lnTo>
                      <a:pt x="6323" y="940"/>
                    </a:lnTo>
                    <a:lnTo>
                      <a:pt x="6317" y="939"/>
                    </a:lnTo>
                    <a:lnTo>
                      <a:pt x="6312" y="939"/>
                    </a:lnTo>
                    <a:lnTo>
                      <a:pt x="6392" y="889"/>
                    </a:lnTo>
                    <a:lnTo>
                      <a:pt x="6396" y="890"/>
                    </a:lnTo>
                    <a:lnTo>
                      <a:pt x="6399" y="894"/>
                    </a:lnTo>
                    <a:lnTo>
                      <a:pt x="6403" y="898"/>
                    </a:lnTo>
                    <a:lnTo>
                      <a:pt x="6405" y="902"/>
                    </a:lnTo>
                    <a:lnTo>
                      <a:pt x="6408" y="907"/>
                    </a:lnTo>
                    <a:lnTo>
                      <a:pt x="6413" y="911"/>
                    </a:lnTo>
                    <a:lnTo>
                      <a:pt x="6415" y="912"/>
                    </a:lnTo>
                    <a:lnTo>
                      <a:pt x="6418" y="913"/>
                    </a:lnTo>
                    <a:lnTo>
                      <a:pt x="6421" y="914"/>
                    </a:lnTo>
                    <a:lnTo>
                      <a:pt x="6425" y="914"/>
                    </a:lnTo>
                    <a:lnTo>
                      <a:pt x="6435" y="913"/>
                    </a:lnTo>
                    <a:lnTo>
                      <a:pt x="6446" y="910"/>
                    </a:lnTo>
                    <a:lnTo>
                      <a:pt x="6458" y="906"/>
                    </a:lnTo>
                    <a:lnTo>
                      <a:pt x="6470" y="901"/>
                    </a:lnTo>
                    <a:lnTo>
                      <a:pt x="6495" y="888"/>
                    </a:lnTo>
                    <a:lnTo>
                      <a:pt x="6525" y="877"/>
                    </a:lnTo>
                    <a:lnTo>
                      <a:pt x="6544" y="877"/>
                    </a:lnTo>
                    <a:lnTo>
                      <a:pt x="6547" y="885"/>
                    </a:lnTo>
                    <a:lnTo>
                      <a:pt x="6551" y="893"/>
                    </a:lnTo>
                    <a:lnTo>
                      <a:pt x="6556" y="899"/>
                    </a:lnTo>
                    <a:lnTo>
                      <a:pt x="6562" y="905"/>
                    </a:lnTo>
                    <a:lnTo>
                      <a:pt x="6576" y="915"/>
                    </a:lnTo>
                    <a:lnTo>
                      <a:pt x="6590" y="927"/>
                    </a:lnTo>
                    <a:lnTo>
                      <a:pt x="6596" y="906"/>
                    </a:lnTo>
                    <a:lnTo>
                      <a:pt x="6601" y="884"/>
                    </a:lnTo>
                    <a:lnTo>
                      <a:pt x="6605" y="873"/>
                    </a:lnTo>
                    <a:lnTo>
                      <a:pt x="6609" y="863"/>
                    </a:lnTo>
                    <a:lnTo>
                      <a:pt x="6614" y="854"/>
                    </a:lnTo>
                    <a:lnTo>
                      <a:pt x="6619" y="845"/>
                    </a:lnTo>
                    <a:lnTo>
                      <a:pt x="6626" y="835"/>
                    </a:lnTo>
                    <a:lnTo>
                      <a:pt x="6633" y="827"/>
                    </a:lnTo>
                    <a:lnTo>
                      <a:pt x="6642" y="821"/>
                    </a:lnTo>
                    <a:lnTo>
                      <a:pt x="6651" y="815"/>
                    </a:lnTo>
                    <a:lnTo>
                      <a:pt x="6662" y="810"/>
                    </a:lnTo>
                    <a:lnTo>
                      <a:pt x="6674" y="806"/>
                    </a:lnTo>
                    <a:lnTo>
                      <a:pt x="6688" y="804"/>
                    </a:lnTo>
                    <a:lnTo>
                      <a:pt x="6704" y="803"/>
                    </a:lnTo>
                    <a:lnTo>
                      <a:pt x="6701" y="799"/>
                    </a:lnTo>
                    <a:lnTo>
                      <a:pt x="6700" y="794"/>
                    </a:lnTo>
                    <a:lnTo>
                      <a:pt x="6700" y="790"/>
                    </a:lnTo>
                    <a:lnTo>
                      <a:pt x="6701" y="785"/>
                    </a:lnTo>
                    <a:lnTo>
                      <a:pt x="6702" y="775"/>
                    </a:lnTo>
                    <a:lnTo>
                      <a:pt x="6704" y="766"/>
                    </a:lnTo>
                    <a:lnTo>
                      <a:pt x="6709" y="770"/>
                    </a:lnTo>
                    <a:lnTo>
                      <a:pt x="6715" y="773"/>
                    </a:lnTo>
                    <a:lnTo>
                      <a:pt x="6721" y="775"/>
                    </a:lnTo>
                    <a:lnTo>
                      <a:pt x="6729" y="777"/>
                    </a:lnTo>
                    <a:lnTo>
                      <a:pt x="6744" y="778"/>
                    </a:lnTo>
                    <a:lnTo>
                      <a:pt x="6763" y="778"/>
                    </a:lnTo>
                    <a:lnTo>
                      <a:pt x="6774" y="781"/>
                    </a:lnTo>
                    <a:lnTo>
                      <a:pt x="6787" y="784"/>
                    </a:lnTo>
                    <a:lnTo>
                      <a:pt x="6795" y="785"/>
                    </a:lnTo>
                    <a:lnTo>
                      <a:pt x="6801" y="784"/>
                    </a:lnTo>
                    <a:lnTo>
                      <a:pt x="6809" y="783"/>
                    </a:lnTo>
                    <a:lnTo>
                      <a:pt x="6817" y="778"/>
                    </a:lnTo>
                    <a:lnTo>
                      <a:pt x="6813" y="767"/>
                    </a:lnTo>
                    <a:lnTo>
                      <a:pt x="6813" y="762"/>
                    </a:lnTo>
                    <a:lnTo>
                      <a:pt x="6816" y="757"/>
                    </a:lnTo>
                    <a:lnTo>
                      <a:pt x="6817" y="742"/>
                    </a:lnTo>
                    <a:lnTo>
                      <a:pt x="6790" y="738"/>
                    </a:lnTo>
                    <a:lnTo>
                      <a:pt x="6766" y="733"/>
                    </a:lnTo>
                    <a:lnTo>
                      <a:pt x="6743" y="727"/>
                    </a:lnTo>
                    <a:lnTo>
                      <a:pt x="6722" y="720"/>
                    </a:lnTo>
                    <a:lnTo>
                      <a:pt x="6685" y="706"/>
                    </a:lnTo>
                    <a:lnTo>
                      <a:pt x="6650" y="692"/>
                    </a:lnTo>
                    <a:lnTo>
                      <a:pt x="6632" y="685"/>
                    </a:lnTo>
                    <a:lnTo>
                      <a:pt x="6616" y="678"/>
                    </a:lnTo>
                    <a:lnTo>
                      <a:pt x="6598" y="672"/>
                    </a:lnTo>
                    <a:lnTo>
                      <a:pt x="6579" y="666"/>
                    </a:lnTo>
                    <a:lnTo>
                      <a:pt x="6561" y="662"/>
                    </a:lnTo>
                    <a:lnTo>
                      <a:pt x="6541" y="658"/>
                    </a:lnTo>
                    <a:lnTo>
                      <a:pt x="6520" y="656"/>
                    </a:lnTo>
                    <a:lnTo>
                      <a:pt x="6497" y="655"/>
                    </a:lnTo>
                    <a:lnTo>
                      <a:pt x="6543" y="659"/>
                    </a:lnTo>
                    <a:lnTo>
                      <a:pt x="6582" y="663"/>
                    </a:lnTo>
                    <a:lnTo>
                      <a:pt x="6592" y="663"/>
                    </a:lnTo>
                    <a:lnTo>
                      <a:pt x="6600" y="663"/>
                    </a:lnTo>
                    <a:lnTo>
                      <a:pt x="6610" y="662"/>
                    </a:lnTo>
                    <a:lnTo>
                      <a:pt x="6619" y="660"/>
                    </a:lnTo>
                    <a:lnTo>
                      <a:pt x="6628" y="658"/>
                    </a:lnTo>
                    <a:lnTo>
                      <a:pt x="6638" y="654"/>
                    </a:lnTo>
                    <a:lnTo>
                      <a:pt x="6648" y="649"/>
                    </a:lnTo>
                    <a:lnTo>
                      <a:pt x="6657" y="643"/>
                    </a:lnTo>
                    <a:lnTo>
                      <a:pt x="6653" y="637"/>
                    </a:lnTo>
                    <a:lnTo>
                      <a:pt x="6649" y="632"/>
                    </a:lnTo>
                    <a:lnTo>
                      <a:pt x="6644" y="627"/>
                    </a:lnTo>
                    <a:lnTo>
                      <a:pt x="6639" y="624"/>
                    </a:lnTo>
                    <a:lnTo>
                      <a:pt x="6628" y="618"/>
                    </a:lnTo>
                    <a:lnTo>
                      <a:pt x="6616" y="612"/>
                    </a:lnTo>
                    <a:lnTo>
                      <a:pt x="6605" y="607"/>
                    </a:lnTo>
                    <a:lnTo>
                      <a:pt x="6593" y="601"/>
                    </a:lnTo>
                    <a:lnTo>
                      <a:pt x="6587" y="598"/>
                    </a:lnTo>
                    <a:lnTo>
                      <a:pt x="6581" y="593"/>
                    </a:lnTo>
                    <a:lnTo>
                      <a:pt x="6576" y="588"/>
                    </a:lnTo>
                    <a:lnTo>
                      <a:pt x="6571" y="582"/>
                    </a:lnTo>
                    <a:lnTo>
                      <a:pt x="6597" y="582"/>
                    </a:lnTo>
                    <a:lnTo>
                      <a:pt x="6600" y="587"/>
                    </a:lnTo>
                    <a:lnTo>
                      <a:pt x="6605" y="592"/>
                    </a:lnTo>
                    <a:lnTo>
                      <a:pt x="6610" y="599"/>
                    </a:lnTo>
                    <a:lnTo>
                      <a:pt x="6617" y="604"/>
                    </a:lnTo>
                    <a:lnTo>
                      <a:pt x="6626" y="610"/>
                    </a:lnTo>
                    <a:lnTo>
                      <a:pt x="6634" y="615"/>
                    </a:lnTo>
                    <a:lnTo>
                      <a:pt x="6640" y="617"/>
                    </a:lnTo>
                    <a:lnTo>
                      <a:pt x="6645" y="618"/>
                    </a:lnTo>
                    <a:lnTo>
                      <a:pt x="6651" y="619"/>
                    </a:lnTo>
                    <a:lnTo>
                      <a:pt x="6657" y="619"/>
                    </a:lnTo>
                    <a:lnTo>
                      <a:pt x="6665" y="618"/>
                    </a:lnTo>
                    <a:lnTo>
                      <a:pt x="6670" y="617"/>
                    </a:lnTo>
                    <a:lnTo>
                      <a:pt x="6673" y="615"/>
                    </a:lnTo>
                    <a:lnTo>
                      <a:pt x="6675" y="612"/>
                    </a:lnTo>
                    <a:lnTo>
                      <a:pt x="6678" y="610"/>
                    </a:lnTo>
                    <a:lnTo>
                      <a:pt x="6683" y="608"/>
                    </a:lnTo>
                    <a:lnTo>
                      <a:pt x="6691" y="606"/>
                    </a:lnTo>
                    <a:lnTo>
                      <a:pt x="6704" y="606"/>
                    </a:lnTo>
                    <a:lnTo>
                      <a:pt x="6718" y="606"/>
                    </a:lnTo>
                    <a:lnTo>
                      <a:pt x="6730" y="607"/>
                    </a:lnTo>
                    <a:lnTo>
                      <a:pt x="6742" y="609"/>
                    </a:lnTo>
                    <a:lnTo>
                      <a:pt x="6752" y="612"/>
                    </a:lnTo>
                    <a:lnTo>
                      <a:pt x="6762" y="616"/>
                    </a:lnTo>
                    <a:lnTo>
                      <a:pt x="6771" y="619"/>
                    </a:lnTo>
                    <a:lnTo>
                      <a:pt x="6778" y="623"/>
                    </a:lnTo>
                    <a:lnTo>
                      <a:pt x="6786" y="627"/>
                    </a:lnTo>
                    <a:lnTo>
                      <a:pt x="6799" y="636"/>
                    </a:lnTo>
                    <a:lnTo>
                      <a:pt x="6812" y="645"/>
                    </a:lnTo>
                    <a:lnTo>
                      <a:pt x="6827" y="654"/>
                    </a:lnTo>
                    <a:lnTo>
                      <a:pt x="6843" y="661"/>
                    </a:lnTo>
                    <a:lnTo>
                      <a:pt x="6943" y="661"/>
                    </a:lnTo>
                    <a:lnTo>
                      <a:pt x="6945" y="667"/>
                    </a:lnTo>
                    <a:lnTo>
                      <a:pt x="6950" y="673"/>
                    </a:lnTo>
                    <a:lnTo>
                      <a:pt x="6955" y="676"/>
                    </a:lnTo>
                    <a:lnTo>
                      <a:pt x="6961" y="678"/>
                    </a:lnTo>
                    <a:lnTo>
                      <a:pt x="6971" y="680"/>
                    </a:lnTo>
                    <a:lnTo>
                      <a:pt x="6982" y="680"/>
                    </a:lnTo>
                    <a:lnTo>
                      <a:pt x="6989" y="680"/>
                    </a:lnTo>
                    <a:lnTo>
                      <a:pt x="7006" y="680"/>
                    </a:lnTo>
                    <a:lnTo>
                      <a:pt x="7027" y="678"/>
                    </a:lnTo>
                    <a:lnTo>
                      <a:pt x="7049" y="674"/>
                    </a:lnTo>
                    <a:lnTo>
                      <a:pt x="7031" y="668"/>
                    </a:lnTo>
                    <a:lnTo>
                      <a:pt x="7011" y="659"/>
                    </a:lnTo>
                    <a:lnTo>
                      <a:pt x="7002" y="654"/>
                    </a:lnTo>
                    <a:lnTo>
                      <a:pt x="6996" y="647"/>
                    </a:lnTo>
                    <a:lnTo>
                      <a:pt x="6993" y="644"/>
                    </a:lnTo>
                    <a:lnTo>
                      <a:pt x="6991" y="640"/>
                    </a:lnTo>
                    <a:lnTo>
                      <a:pt x="6989" y="636"/>
                    </a:lnTo>
                    <a:lnTo>
                      <a:pt x="6989" y="631"/>
                    </a:lnTo>
                    <a:lnTo>
                      <a:pt x="6990" y="621"/>
                    </a:lnTo>
                    <a:lnTo>
                      <a:pt x="6991" y="614"/>
                    </a:lnTo>
                    <a:lnTo>
                      <a:pt x="6992" y="608"/>
                    </a:lnTo>
                    <a:lnTo>
                      <a:pt x="6992" y="602"/>
                    </a:lnTo>
                    <a:lnTo>
                      <a:pt x="6991" y="593"/>
                    </a:lnTo>
                    <a:lnTo>
                      <a:pt x="6989" y="582"/>
                    </a:lnTo>
                    <a:lnTo>
                      <a:pt x="6975" y="581"/>
                    </a:lnTo>
                    <a:lnTo>
                      <a:pt x="6961" y="579"/>
                    </a:lnTo>
                    <a:lnTo>
                      <a:pt x="6947" y="577"/>
                    </a:lnTo>
                    <a:lnTo>
                      <a:pt x="6934" y="573"/>
                    </a:lnTo>
                    <a:lnTo>
                      <a:pt x="6910" y="564"/>
                    </a:lnTo>
                    <a:lnTo>
                      <a:pt x="6886" y="553"/>
                    </a:lnTo>
                    <a:lnTo>
                      <a:pt x="6861" y="543"/>
                    </a:lnTo>
                    <a:lnTo>
                      <a:pt x="6835" y="535"/>
                    </a:lnTo>
                    <a:lnTo>
                      <a:pt x="6821" y="531"/>
                    </a:lnTo>
                    <a:lnTo>
                      <a:pt x="6807" y="529"/>
                    </a:lnTo>
                    <a:lnTo>
                      <a:pt x="6793" y="527"/>
                    </a:lnTo>
                    <a:lnTo>
                      <a:pt x="6776" y="526"/>
                    </a:lnTo>
                    <a:lnTo>
                      <a:pt x="6769" y="527"/>
                    </a:lnTo>
                    <a:lnTo>
                      <a:pt x="6761" y="531"/>
                    </a:lnTo>
                    <a:lnTo>
                      <a:pt x="6756" y="533"/>
                    </a:lnTo>
                    <a:lnTo>
                      <a:pt x="6753" y="536"/>
                    </a:lnTo>
                    <a:lnTo>
                      <a:pt x="6751" y="540"/>
                    </a:lnTo>
                    <a:lnTo>
                      <a:pt x="6750" y="544"/>
                    </a:lnTo>
                    <a:lnTo>
                      <a:pt x="6751" y="547"/>
                    </a:lnTo>
                    <a:lnTo>
                      <a:pt x="6752" y="548"/>
                    </a:lnTo>
                    <a:lnTo>
                      <a:pt x="6754" y="550"/>
                    </a:lnTo>
                    <a:lnTo>
                      <a:pt x="6757" y="552"/>
                    </a:lnTo>
                    <a:lnTo>
                      <a:pt x="6765" y="555"/>
                    </a:lnTo>
                    <a:lnTo>
                      <a:pt x="6775" y="559"/>
                    </a:lnTo>
                    <a:lnTo>
                      <a:pt x="6785" y="563"/>
                    </a:lnTo>
                    <a:lnTo>
                      <a:pt x="6795" y="567"/>
                    </a:lnTo>
                    <a:lnTo>
                      <a:pt x="6799" y="570"/>
                    </a:lnTo>
                    <a:lnTo>
                      <a:pt x="6803" y="574"/>
                    </a:lnTo>
                    <a:lnTo>
                      <a:pt x="6807" y="577"/>
                    </a:lnTo>
                    <a:lnTo>
                      <a:pt x="6810" y="582"/>
                    </a:lnTo>
                    <a:lnTo>
                      <a:pt x="6778" y="567"/>
                    </a:lnTo>
                    <a:lnTo>
                      <a:pt x="6751" y="552"/>
                    </a:lnTo>
                    <a:lnTo>
                      <a:pt x="6728" y="539"/>
                    </a:lnTo>
                    <a:lnTo>
                      <a:pt x="6706" y="528"/>
                    </a:lnTo>
                    <a:lnTo>
                      <a:pt x="6684" y="517"/>
                    </a:lnTo>
                    <a:lnTo>
                      <a:pt x="6660" y="506"/>
                    </a:lnTo>
                    <a:lnTo>
                      <a:pt x="6631" y="494"/>
                    </a:lnTo>
                    <a:lnTo>
                      <a:pt x="6597" y="483"/>
                    </a:lnTo>
                    <a:lnTo>
                      <a:pt x="6573" y="477"/>
                    </a:lnTo>
                    <a:lnTo>
                      <a:pt x="6548" y="471"/>
                    </a:lnTo>
                    <a:lnTo>
                      <a:pt x="6525" y="466"/>
                    </a:lnTo>
                    <a:lnTo>
                      <a:pt x="6500" y="462"/>
                    </a:lnTo>
                    <a:lnTo>
                      <a:pt x="6454" y="455"/>
                    </a:lnTo>
                    <a:lnTo>
                      <a:pt x="6408" y="450"/>
                    </a:lnTo>
                    <a:lnTo>
                      <a:pt x="6363" y="443"/>
                    </a:lnTo>
                    <a:lnTo>
                      <a:pt x="6318" y="436"/>
                    </a:lnTo>
                    <a:lnTo>
                      <a:pt x="6295" y="432"/>
                    </a:lnTo>
                    <a:lnTo>
                      <a:pt x="6272" y="427"/>
                    </a:lnTo>
                    <a:lnTo>
                      <a:pt x="6249" y="422"/>
                    </a:lnTo>
                    <a:lnTo>
                      <a:pt x="6225" y="415"/>
                    </a:lnTo>
                    <a:lnTo>
                      <a:pt x="6146" y="415"/>
                    </a:lnTo>
                    <a:lnTo>
                      <a:pt x="6133" y="407"/>
                    </a:lnTo>
                    <a:lnTo>
                      <a:pt x="6121" y="402"/>
                    </a:lnTo>
                    <a:lnTo>
                      <a:pt x="6114" y="400"/>
                    </a:lnTo>
                    <a:lnTo>
                      <a:pt x="6106" y="398"/>
                    </a:lnTo>
                    <a:lnTo>
                      <a:pt x="6096" y="397"/>
                    </a:lnTo>
                    <a:lnTo>
                      <a:pt x="6085" y="397"/>
                    </a:lnTo>
                    <a:lnTo>
                      <a:pt x="6071" y="398"/>
                    </a:lnTo>
                    <a:lnTo>
                      <a:pt x="6058" y="400"/>
                    </a:lnTo>
                    <a:lnTo>
                      <a:pt x="6045" y="403"/>
                    </a:lnTo>
                    <a:lnTo>
                      <a:pt x="6033" y="406"/>
                    </a:lnTo>
                    <a:lnTo>
                      <a:pt x="6020" y="410"/>
                    </a:lnTo>
                    <a:lnTo>
                      <a:pt x="6007" y="412"/>
                    </a:lnTo>
                    <a:lnTo>
                      <a:pt x="5993" y="415"/>
                    </a:lnTo>
                    <a:lnTo>
                      <a:pt x="5979" y="415"/>
                    </a:lnTo>
                    <a:lnTo>
                      <a:pt x="5971" y="415"/>
                    </a:lnTo>
                    <a:lnTo>
                      <a:pt x="5960" y="412"/>
                    </a:lnTo>
                    <a:lnTo>
                      <a:pt x="5945" y="409"/>
                    </a:lnTo>
                    <a:lnTo>
                      <a:pt x="5929" y="405"/>
                    </a:lnTo>
                    <a:lnTo>
                      <a:pt x="5913" y="400"/>
                    </a:lnTo>
                    <a:lnTo>
                      <a:pt x="5899" y="395"/>
                    </a:lnTo>
                    <a:lnTo>
                      <a:pt x="5887" y="389"/>
                    </a:lnTo>
                    <a:lnTo>
                      <a:pt x="5880" y="384"/>
                    </a:lnTo>
                    <a:lnTo>
                      <a:pt x="5833" y="384"/>
                    </a:lnTo>
                    <a:lnTo>
                      <a:pt x="5835" y="394"/>
                    </a:lnTo>
                    <a:lnTo>
                      <a:pt x="5838" y="402"/>
                    </a:lnTo>
                    <a:lnTo>
                      <a:pt x="5843" y="410"/>
                    </a:lnTo>
                    <a:lnTo>
                      <a:pt x="5847" y="417"/>
                    </a:lnTo>
                    <a:lnTo>
                      <a:pt x="5853" y="423"/>
                    </a:lnTo>
                    <a:lnTo>
                      <a:pt x="5859" y="429"/>
                    </a:lnTo>
                    <a:lnTo>
                      <a:pt x="5866" y="435"/>
                    </a:lnTo>
                    <a:lnTo>
                      <a:pt x="5872" y="439"/>
                    </a:lnTo>
                    <a:lnTo>
                      <a:pt x="5895" y="454"/>
                    </a:lnTo>
                    <a:lnTo>
                      <a:pt x="5906" y="459"/>
                    </a:lnTo>
                    <a:lnTo>
                      <a:pt x="5883" y="448"/>
                    </a:lnTo>
                    <a:lnTo>
                      <a:pt x="5860" y="435"/>
                    </a:lnTo>
                    <a:lnTo>
                      <a:pt x="5848" y="430"/>
                    </a:lnTo>
                    <a:lnTo>
                      <a:pt x="5834" y="425"/>
                    </a:lnTo>
                    <a:lnTo>
                      <a:pt x="5826" y="424"/>
                    </a:lnTo>
                    <a:lnTo>
                      <a:pt x="5819" y="422"/>
                    </a:lnTo>
                    <a:lnTo>
                      <a:pt x="5810" y="422"/>
                    </a:lnTo>
                    <a:lnTo>
                      <a:pt x="5800" y="421"/>
                    </a:lnTo>
                    <a:lnTo>
                      <a:pt x="5804" y="417"/>
                    </a:lnTo>
                    <a:lnTo>
                      <a:pt x="5807" y="412"/>
                    </a:lnTo>
                    <a:lnTo>
                      <a:pt x="5809" y="405"/>
                    </a:lnTo>
                    <a:lnTo>
                      <a:pt x="5813" y="397"/>
                    </a:lnTo>
                    <a:lnTo>
                      <a:pt x="5796" y="397"/>
                    </a:lnTo>
                    <a:lnTo>
                      <a:pt x="5781" y="396"/>
                    </a:lnTo>
                    <a:lnTo>
                      <a:pt x="5767" y="395"/>
                    </a:lnTo>
                    <a:lnTo>
                      <a:pt x="5754" y="390"/>
                    </a:lnTo>
                    <a:lnTo>
                      <a:pt x="5753" y="395"/>
                    </a:lnTo>
                    <a:lnTo>
                      <a:pt x="5752" y="399"/>
                    </a:lnTo>
                    <a:lnTo>
                      <a:pt x="5751" y="402"/>
                    </a:lnTo>
                    <a:lnTo>
                      <a:pt x="5748" y="405"/>
                    </a:lnTo>
                    <a:lnTo>
                      <a:pt x="5745" y="407"/>
                    </a:lnTo>
                    <a:lnTo>
                      <a:pt x="5742" y="409"/>
                    </a:lnTo>
                    <a:lnTo>
                      <a:pt x="5737" y="411"/>
                    </a:lnTo>
                    <a:lnTo>
                      <a:pt x="5733" y="412"/>
                    </a:lnTo>
                    <a:lnTo>
                      <a:pt x="5724" y="414"/>
                    </a:lnTo>
                    <a:lnTo>
                      <a:pt x="5714" y="415"/>
                    </a:lnTo>
                    <a:lnTo>
                      <a:pt x="5703" y="415"/>
                    </a:lnTo>
                    <a:lnTo>
                      <a:pt x="5693" y="415"/>
                    </a:lnTo>
                    <a:lnTo>
                      <a:pt x="5667" y="415"/>
                    </a:lnTo>
                    <a:lnTo>
                      <a:pt x="5643" y="413"/>
                    </a:lnTo>
                    <a:lnTo>
                      <a:pt x="5621" y="411"/>
                    </a:lnTo>
                    <a:lnTo>
                      <a:pt x="5599" y="409"/>
                    </a:lnTo>
                    <a:lnTo>
                      <a:pt x="5578" y="407"/>
                    </a:lnTo>
                    <a:lnTo>
                      <a:pt x="5557" y="408"/>
                    </a:lnTo>
                    <a:lnTo>
                      <a:pt x="5546" y="409"/>
                    </a:lnTo>
                    <a:lnTo>
                      <a:pt x="5536" y="410"/>
                    </a:lnTo>
                    <a:lnTo>
                      <a:pt x="5525" y="412"/>
                    </a:lnTo>
                    <a:lnTo>
                      <a:pt x="5514" y="415"/>
                    </a:lnTo>
                    <a:lnTo>
                      <a:pt x="5528" y="430"/>
                    </a:lnTo>
                    <a:lnTo>
                      <a:pt x="5539" y="439"/>
                    </a:lnTo>
                    <a:lnTo>
                      <a:pt x="5551" y="450"/>
                    </a:lnTo>
                    <a:lnTo>
                      <a:pt x="5567" y="465"/>
                    </a:lnTo>
                    <a:lnTo>
                      <a:pt x="5531" y="450"/>
                    </a:lnTo>
                    <a:lnTo>
                      <a:pt x="5497" y="437"/>
                    </a:lnTo>
                    <a:lnTo>
                      <a:pt x="5465" y="426"/>
                    </a:lnTo>
                    <a:lnTo>
                      <a:pt x="5433" y="414"/>
                    </a:lnTo>
                    <a:lnTo>
                      <a:pt x="5419" y="407"/>
                    </a:lnTo>
                    <a:lnTo>
                      <a:pt x="5404" y="400"/>
                    </a:lnTo>
                    <a:lnTo>
                      <a:pt x="5388" y="392"/>
                    </a:lnTo>
                    <a:lnTo>
                      <a:pt x="5374" y="383"/>
                    </a:lnTo>
                    <a:lnTo>
                      <a:pt x="5360" y="373"/>
                    </a:lnTo>
                    <a:lnTo>
                      <a:pt x="5344" y="362"/>
                    </a:lnTo>
                    <a:lnTo>
                      <a:pt x="5330" y="350"/>
                    </a:lnTo>
                    <a:lnTo>
                      <a:pt x="5315" y="336"/>
                    </a:lnTo>
                    <a:lnTo>
                      <a:pt x="5109" y="336"/>
                    </a:lnTo>
                    <a:lnTo>
                      <a:pt x="5104" y="337"/>
                    </a:lnTo>
                    <a:lnTo>
                      <a:pt x="5099" y="339"/>
                    </a:lnTo>
                    <a:lnTo>
                      <a:pt x="5094" y="343"/>
                    </a:lnTo>
                    <a:lnTo>
                      <a:pt x="5090" y="348"/>
                    </a:lnTo>
                    <a:lnTo>
                      <a:pt x="5009" y="354"/>
                    </a:lnTo>
                    <a:lnTo>
                      <a:pt x="5003" y="353"/>
                    </a:lnTo>
                    <a:lnTo>
                      <a:pt x="4996" y="353"/>
                    </a:lnTo>
                    <a:lnTo>
                      <a:pt x="4991" y="351"/>
                    </a:lnTo>
                    <a:lnTo>
                      <a:pt x="4986" y="349"/>
                    </a:lnTo>
                    <a:lnTo>
                      <a:pt x="4979" y="344"/>
                    </a:lnTo>
                    <a:lnTo>
                      <a:pt x="4972" y="339"/>
                    </a:lnTo>
                    <a:lnTo>
                      <a:pt x="4964" y="332"/>
                    </a:lnTo>
                    <a:lnTo>
                      <a:pt x="4956" y="327"/>
                    </a:lnTo>
                    <a:lnTo>
                      <a:pt x="4951" y="325"/>
                    </a:lnTo>
                    <a:lnTo>
                      <a:pt x="4945" y="324"/>
                    </a:lnTo>
                    <a:lnTo>
                      <a:pt x="4938" y="323"/>
                    </a:lnTo>
                    <a:lnTo>
                      <a:pt x="4929" y="323"/>
                    </a:lnTo>
                    <a:lnTo>
                      <a:pt x="4924" y="323"/>
                    </a:lnTo>
                    <a:lnTo>
                      <a:pt x="4918" y="324"/>
                    </a:lnTo>
                    <a:lnTo>
                      <a:pt x="4916" y="326"/>
                    </a:lnTo>
                    <a:lnTo>
                      <a:pt x="4913" y="329"/>
                    </a:lnTo>
                    <a:lnTo>
                      <a:pt x="4911" y="331"/>
                    </a:lnTo>
                    <a:lnTo>
                      <a:pt x="4907" y="333"/>
                    </a:lnTo>
                    <a:lnTo>
                      <a:pt x="4903" y="334"/>
                    </a:lnTo>
                    <a:lnTo>
                      <a:pt x="4896" y="336"/>
                    </a:lnTo>
                    <a:lnTo>
                      <a:pt x="4884" y="334"/>
                    </a:lnTo>
                    <a:lnTo>
                      <a:pt x="4873" y="332"/>
                    </a:lnTo>
                    <a:lnTo>
                      <a:pt x="4863" y="328"/>
                    </a:lnTo>
                    <a:lnTo>
                      <a:pt x="4853" y="324"/>
                    </a:lnTo>
                    <a:lnTo>
                      <a:pt x="4836" y="314"/>
                    </a:lnTo>
                    <a:lnTo>
                      <a:pt x="4816" y="304"/>
                    </a:lnTo>
                    <a:lnTo>
                      <a:pt x="4830" y="292"/>
                    </a:lnTo>
                    <a:lnTo>
                      <a:pt x="4826" y="290"/>
                    </a:lnTo>
                    <a:lnTo>
                      <a:pt x="4816" y="286"/>
                    </a:lnTo>
                    <a:lnTo>
                      <a:pt x="4808" y="284"/>
                    </a:lnTo>
                    <a:lnTo>
                      <a:pt x="4799" y="282"/>
                    </a:lnTo>
                    <a:lnTo>
                      <a:pt x="4789" y="281"/>
                    </a:lnTo>
                    <a:lnTo>
                      <a:pt x="4777" y="279"/>
                    </a:lnTo>
                    <a:lnTo>
                      <a:pt x="4766" y="281"/>
                    </a:lnTo>
                    <a:lnTo>
                      <a:pt x="4757" y="281"/>
                    </a:lnTo>
                    <a:lnTo>
                      <a:pt x="4748" y="283"/>
                    </a:lnTo>
                    <a:lnTo>
                      <a:pt x="4740" y="285"/>
                    </a:lnTo>
                    <a:lnTo>
                      <a:pt x="4728" y="290"/>
                    </a:lnTo>
                    <a:lnTo>
                      <a:pt x="4717" y="295"/>
                    </a:lnTo>
                    <a:lnTo>
                      <a:pt x="4710" y="301"/>
                    </a:lnTo>
                    <a:lnTo>
                      <a:pt x="4701" y="306"/>
                    </a:lnTo>
                    <a:lnTo>
                      <a:pt x="4698" y="308"/>
                    </a:lnTo>
                    <a:lnTo>
                      <a:pt x="4693" y="309"/>
                    </a:lnTo>
                    <a:lnTo>
                      <a:pt x="4689" y="310"/>
                    </a:lnTo>
                    <a:lnTo>
                      <a:pt x="4683" y="310"/>
                    </a:lnTo>
                    <a:lnTo>
                      <a:pt x="4670" y="310"/>
                    </a:lnTo>
                    <a:lnTo>
                      <a:pt x="4657" y="310"/>
                    </a:lnTo>
                    <a:lnTo>
                      <a:pt x="4657" y="279"/>
                    </a:lnTo>
                    <a:lnTo>
                      <a:pt x="4650" y="275"/>
                    </a:lnTo>
                    <a:lnTo>
                      <a:pt x="4644" y="272"/>
                    </a:lnTo>
                    <a:lnTo>
                      <a:pt x="4638" y="271"/>
                    </a:lnTo>
                    <a:lnTo>
                      <a:pt x="4633" y="270"/>
                    </a:lnTo>
                    <a:lnTo>
                      <a:pt x="4627" y="271"/>
                    </a:lnTo>
                    <a:lnTo>
                      <a:pt x="4621" y="272"/>
                    </a:lnTo>
                    <a:lnTo>
                      <a:pt x="4613" y="275"/>
                    </a:lnTo>
                    <a:lnTo>
                      <a:pt x="4604" y="279"/>
                    </a:lnTo>
                    <a:lnTo>
                      <a:pt x="4603" y="277"/>
                    </a:lnTo>
                    <a:lnTo>
                      <a:pt x="4601" y="275"/>
                    </a:lnTo>
                    <a:lnTo>
                      <a:pt x="4599" y="273"/>
                    </a:lnTo>
                    <a:lnTo>
                      <a:pt x="4597" y="272"/>
                    </a:lnTo>
                    <a:lnTo>
                      <a:pt x="4589" y="270"/>
                    </a:lnTo>
                    <a:lnTo>
                      <a:pt x="4579" y="268"/>
                    </a:lnTo>
                    <a:lnTo>
                      <a:pt x="4557" y="267"/>
                    </a:lnTo>
                    <a:lnTo>
                      <a:pt x="4532" y="267"/>
                    </a:lnTo>
                    <a:lnTo>
                      <a:pt x="4486" y="271"/>
                    </a:lnTo>
                    <a:lnTo>
                      <a:pt x="4465" y="273"/>
                    </a:lnTo>
                    <a:lnTo>
                      <a:pt x="4398" y="273"/>
                    </a:lnTo>
                    <a:lnTo>
                      <a:pt x="4399" y="276"/>
                    </a:lnTo>
                    <a:lnTo>
                      <a:pt x="4400" y="279"/>
                    </a:lnTo>
                    <a:lnTo>
                      <a:pt x="4402" y="283"/>
                    </a:lnTo>
                    <a:lnTo>
                      <a:pt x="4405" y="285"/>
                    </a:lnTo>
                    <a:lnTo>
                      <a:pt x="4409" y="288"/>
                    </a:lnTo>
                    <a:lnTo>
                      <a:pt x="4412" y="290"/>
                    </a:lnTo>
                    <a:lnTo>
                      <a:pt x="4415" y="292"/>
                    </a:lnTo>
                    <a:lnTo>
                      <a:pt x="4418" y="292"/>
                    </a:lnTo>
                    <a:lnTo>
                      <a:pt x="4420" y="299"/>
                    </a:lnTo>
                    <a:lnTo>
                      <a:pt x="4425" y="307"/>
                    </a:lnTo>
                    <a:lnTo>
                      <a:pt x="4432" y="316"/>
                    </a:lnTo>
                    <a:lnTo>
                      <a:pt x="4438" y="323"/>
                    </a:lnTo>
                    <a:lnTo>
                      <a:pt x="4429" y="323"/>
                    </a:lnTo>
                    <a:lnTo>
                      <a:pt x="4420" y="324"/>
                    </a:lnTo>
                    <a:lnTo>
                      <a:pt x="4412" y="326"/>
                    </a:lnTo>
                    <a:lnTo>
                      <a:pt x="4403" y="329"/>
                    </a:lnTo>
                    <a:lnTo>
                      <a:pt x="4394" y="331"/>
                    </a:lnTo>
                    <a:lnTo>
                      <a:pt x="4383" y="333"/>
                    </a:lnTo>
                    <a:lnTo>
                      <a:pt x="4373" y="334"/>
                    </a:lnTo>
                    <a:lnTo>
                      <a:pt x="4358" y="336"/>
                    </a:lnTo>
                    <a:lnTo>
                      <a:pt x="4337" y="334"/>
                    </a:lnTo>
                    <a:lnTo>
                      <a:pt x="4317" y="331"/>
                    </a:lnTo>
                    <a:lnTo>
                      <a:pt x="4295" y="327"/>
                    </a:lnTo>
                    <a:lnTo>
                      <a:pt x="4272" y="323"/>
                    </a:lnTo>
                    <a:lnTo>
                      <a:pt x="4250" y="318"/>
                    </a:lnTo>
                    <a:lnTo>
                      <a:pt x="4228" y="314"/>
                    </a:lnTo>
                    <a:lnTo>
                      <a:pt x="4206" y="311"/>
                    </a:lnTo>
                    <a:lnTo>
                      <a:pt x="4186" y="310"/>
                    </a:lnTo>
                    <a:lnTo>
                      <a:pt x="4176" y="310"/>
                    </a:lnTo>
                    <a:lnTo>
                      <a:pt x="4166" y="310"/>
                    </a:lnTo>
                    <a:lnTo>
                      <a:pt x="4166" y="348"/>
                    </a:lnTo>
                    <a:lnTo>
                      <a:pt x="4139" y="348"/>
                    </a:lnTo>
                    <a:lnTo>
                      <a:pt x="4131" y="345"/>
                    </a:lnTo>
                    <a:lnTo>
                      <a:pt x="4122" y="342"/>
                    </a:lnTo>
                    <a:lnTo>
                      <a:pt x="4113" y="340"/>
                    </a:lnTo>
                    <a:lnTo>
                      <a:pt x="4102" y="338"/>
                    </a:lnTo>
                    <a:lnTo>
                      <a:pt x="4082" y="333"/>
                    </a:lnTo>
                    <a:lnTo>
                      <a:pt x="4060" y="330"/>
                    </a:lnTo>
                    <a:lnTo>
                      <a:pt x="4039" y="326"/>
                    </a:lnTo>
                    <a:lnTo>
                      <a:pt x="4019" y="321"/>
                    </a:lnTo>
                    <a:lnTo>
                      <a:pt x="4009" y="318"/>
                    </a:lnTo>
                    <a:lnTo>
                      <a:pt x="4000" y="314"/>
                    </a:lnTo>
                    <a:lnTo>
                      <a:pt x="3993" y="310"/>
                    </a:lnTo>
                    <a:lnTo>
                      <a:pt x="3986" y="304"/>
                    </a:lnTo>
                    <a:lnTo>
                      <a:pt x="3946" y="304"/>
                    </a:lnTo>
                    <a:lnTo>
                      <a:pt x="3953" y="317"/>
                    </a:lnTo>
                    <a:lnTo>
                      <a:pt x="3960" y="329"/>
                    </a:lnTo>
                    <a:lnTo>
                      <a:pt x="3941" y="318"/>
                    </a:lnTo>
                    <a:lnTo>
                      <a:pt x="3920" y="305"/>
                    </a:lnTo>
                    <a:lnTo>
                      <a:pt x="3898" y="294"/>
                    </a:lnTo>
                    <a:lnTo>
                      <a:pt x="3880" y="286"/>
                    </a:lnTo>
                    <a:lnTo>
                      <a:pt x="3820" y="286"/>
                    </a:lnTo>
                    <a:lnTo>
                      <a:pt x="3820" y="287"/>
                    </a:lnTo>
                    <a:lnTo>
                      <a:pt x="3819" y="288"/>
                    </a:lnTo>
                    <a:lnTo>
                      <a:pt x="3818" y="288"/>
                    </a:lnTo>
                    <a:lnTo>
                      <a:pt x="3816" y="287"/>
                    </a:lnTo>
                    <a:lnTo>
                      <a:pt x="3809" y="286"/>
                    </a:lnTo>
                    <a:lnTo>
                      <a:pt x="3800" y="283"/>
                    </a:lnTo>
                    <a:lnTo>
                      <a:pt x="3777" y="274"/>
                    </a:lnTo>
                    <a:lnTo>
                      <a:pt x="3752" y="265"/>
                    </a:lnTo>
                    <a:lnTo>
                      <a:pt x="3727" y="256"/>
                    </a:lnTo>
                    <a:lnTo>
                      <a:pt x="3706" y="249"/>
                    </a:lnTo>
                    <a:lnTo>
                      <a:pt x="3698" y="247"/>
                    </a:lnTo>
                    <a:lnTo>
                      <a:pt x="3694" y="246"/>
                    </a:lnTo>
                    <a:lnTo>
                      <a:pt x="3693" y="246"/>
                    </a:lnTo>
                    <a:lnTo>
                      <a:pt x="3692" y="247"/>
                    </a:lnTo>
                    <a:lnTo>
                      <a:pt x="3693" y="248"/>
                    </a:lnTo>
                    <a:lnTo>
                      <a:pt x="3694" y="249"/>
                    </a:lnTo>
                    <a:lnTo>
                      <a:pt x="3677" y="249"/>
                    </a:lnTo>
                    <a:lnTo>
                      <a:pt x="3663" y="251"/>
                    </a:lnTo>
                    <a:lnTo>
                      <a:pt x="3650" y="253"/>
                    </a:lnTo>
                    <a:lnTo>
                      <a:pt x="3637" y="255"/>
                    </a:lnTo>
                    <a:lnTo>
                      <a:pt x="3624" y="257"/>
                    </a:lnTo>
                    <a:lnTo>
                      <a:pt x="3608" y="259"/>
                    </a:lnTo>
                    <a:lnTo>
                      <a:pt x="3593" y="261"/>
                    </a:lnTo>
                    <a:lnTo>
                      <a:pt x="3574" y="261"/>
                    </a:lnTo>
                    <a:lnTo>
                      <a:pt x="3559" y="261"/>
                    </a:lnTo>
                    <a:lnTo>
                      <a:pt x="3544" y="260"/>
                    </a:lnTo>
                    <a:lnTo>
                      <a:pt x="3528" y="258"/>
                    </a:lnTo>
                    <a:lnTo>
                      <a:pt x="3515" y="256"/>
                    </a:lnTo>
                    <a:lnTo>
                      <a:pt x="3488" y="252"/>
                    </a:lnTo>
                    <a:lnTo>
                      <a:pt x="3461" y="246"/>
                    </a:lnTo>
                    <a:lnTo>
                      <a:pt x="3435" y="240"/>
                    </a:lnTo>
                    <a:lnTo>
                      <a:pt x="3408" y="236"/>
                    </a:lnTo>
                    <a:lnTo>
                      <a:pt x="3394" y="234"/>
                    </a:lnTo>
                    <a:lnTo>
                      <a:pt x="3379" y="232"/>
                    </a:lnTo>
                    <a:lnTo>
                      <a:pt x="3365" y="231"/>
                    </a:lnTo>
                    <a:lnTo>
                      <a:pt x="3348" y="231"/>
                    </a:lnTo>
                    <a:lnTo>
                      <a:pt x="3334" y="227"/>
                    </a:lnTo>
                    <a:lnTo>
                      <a:pt x="3313" y="219"/>
                    </a:lnTo>
                    <a:lnTo>
                      <a:pt x="3304" y="216"/>
                    </a:lnTo>
                    <a:lnTo>
                      <a:pt x="3296" y="214"/>
                    </a:lnTo>
                    <a:lnTo>
                      <a:pt x="3293" y="214"/>
                    </a:lnTo>
                    <a:lnTo>
                      <a:pt x="3291" y="215"/>
                    </a:lnTo>
                    <a:lnTo>
                      <a:pt x="3289" y="216"/>
                    </a:lnTo>
                    <a:lnTo>
                      <a:pt x="3289" y="218"/>
                    </a:lnTo>
                    <a:lnTo>
                      <a:pt x="3289" y="221"/>
                    </a:lnTo>
                    <a:lnTo>
                      <a:pt x="3290" y="226"/>
                    </a:lnTo>
                    <a:lnTo>
                      <a:pt x="3292" y="229"/>
                    </a:lnTo>
                    <a:lnTo>
                      <a:pt x="3295" y="233"/>
                    </a:lnTo>
                    <a:lnTo>
                      <a:pt x="3302" y="240"/>
                    </a:lnTo>
                    <a:lnTo>
                      <a:pt x="3310" y="247"/>
                    </a:lnTo>
                    <a:lnTo>
                      <a:pt x="3320" y="252"/>
                    </a:lnTo>
                    <a:lnTo>
                      <a:pt x="3328" y="257"/>
                    </a:lnTo>
                    <a:lnTo>
                      <a:pt x="3336" y="260"/>
                    </a:lnTo>
                    <a:lnTo>
                      <a:pt x="3341" y="261"/>
                    </a:lnTo>
                    <a:lnTo>
                      <a:pt x="3332" y="260"/>
                    </a:lnTo>
                    <a:lnTo>
                      <a:pt x="3323" y="257"/>
                    </a:lnTo>
                    <a:lnTo>
                      <a:pt x="3314" y="255"/>
                    </a:lnTo>
                    <a:lnTo>
                      <a:pt x="3305" y="251"/>
                    </a:lnTo>
                    <a:lnTo>
                      <a:pt x="3290" y="244"/>
                    </a:lnTo>
                    <a:lnTo>
                      <a:pt x="3273" y="235"/>
                    </a:lnTo>
                    <a:lnTo>
                      <a:pt x="3257" y="225"/>
                    </a:lnTo>
                    <a:lnTo>
                      <a:pt x="3239" y="213"/>
                    </a:lnTo>
                    <a:lnTo>
                      <a:pt x="3219" y="203"/>
                    </a:lnTo>
                    <a:lnTo>
                      <a:pt x="3195" y="193"/>
                    </a:lnTo>
                    <a:lnTo>
                      <a:pt x="3198" y="192"/>
                    </a:lnTo>
                    <a:lnTo>
                      <a:pt x="3200" y="190"/>
                    </a:lnTo>
                    <a:lnTo>
                      <a:pt x="3201" y="186"/>
                    </a:lnTo>
                    <a:lnTo>
                      <a:pt x="3201" y="181"/>
                    </a:lnTo>
                    <a:lnTo>
                      <a:pt x="3202" y="173"/>
                    </a:lnTo>
                    <a:lnTo>
                      <a:pt x="3202" y="169"/>
                    </a:lnTo>
                    <a:lnTo>
                      <a:pt x="3169" y="169"/>
                    </a:lnTo>
                    <a:lnTo>
                      <a:pt x="3164" y="170"/>
                    </a:lnTo>
                    <a:lnTo>
                      <a:pt x="3159" y="173"/>
                    </a:lnTo>
                    <a:lnTo>
                      <a:pt x="3154" y="177"/>
                    </a:lnTo>
                    <a:lnTo>
                      <a:pt x="3149" y="181"/>
                    </a:lnTo>
                    <a:lnTo>
                      <a:pt x="3153" y="187"/>
                    </a:lnTo>
                    <a:lnTo>
                      <a:pt x="3156" y="193"/>
                    </a:lnTo>
                    <a:lnTo>
                      <a:pt x="3144" y="196"/>
                    </a:lnTo>
                    <a:lnTo>
                      <a:pt x="3133" y="199"/>
                    </a:lnTo>
                    <a:lnTo>
                      <a:pt x="3122" y="203"/>
                    </a:lnTo>
                    <a:lnTo>
                      <a:pt x="3112" y="206"/>
                    </a:lnTo>
                    <a:lnTo>
                      <a:pt x="3093" y="215"/>
                    </a:lnTo>
                    <a:lnTo>
                      <a:pt x="3076" y="225"/>
                    </a:lnTo>
                    <a:lnTo>
                      <a:pt x="3058" y="235"/>
                    </a:lnTo>
                    <a:lnTo>
                      <a:pt x="3040" y="245"/>
                    </a:lnTo>
                    <a:lnTo>
                      <a:pt x="3030" y="249"/>
                    </a:lnTo>
                    <a:lnTo>
                      <a:pt x="3020" y="253"/>
                    </a:lnTo>
                    <a:lnTo>
                      <a:pt x="3008" y="257"/>
                    </a:lnTo>
                    <a:lnTo>
                      <a:pt x="2997" y="261"/>
                    </a:lnTo>
                    <a:lnTo>
                      <a:pt x="2997" y="257"/>
                    </a:lnTo>
                    <a:lnTo>
                      <a:pt x="2998" y="252"/>
                    </a:lnTo>
                    <a:lnTo>
                      <a:pt x="2999" y="248"/>
                    </a:lnTo>
                    <a:lnTo>
                      <a:pt x="3002" y="243"/>
                    </a:lnTo>
                    <a:lnTo>
                      <a:pt x="3008" y="235"/>
                    </a:lnTo>
                    <a:lnTo>
                      <a:pt x="3016" y="226"/>
                    </a:lnTo>
                    <a:lnTo>
                      <a:pt x="3026" y="217"/>
                    </a:lnTo>
                    <a:lnTo>
                      <a:pt x="3038" y="209"/>
                    </a:lnTo>
                    <a:lnTo>
                      <a:pt x="3052" y="201"/>
                    </a:lnTo>
                    <a:lnTo>
                      <a:pt x="3065" y="193"/>
                    </a:lnTo>
                    <a:lnTo>
                      <a:pt x="3093" y="179"/>
                    </a:lnTo>
                    <a:lnTo>
                      <a:pt x="3122" y="165"/>
                    </a:lnTo>
                    <a:lnTo>
                      <a:pt x="3148" y="154"/>
                    </a:lnTo>
                    <a:lnTo>
                      <a:pt x="3169" y="144"/>
                    </a:lnTo>
                    <a:lnTo>
                      <a:pt x="3157" y="136"/>
                    </a:lnTo>
                    <a:lnTo>
                      <a:pt x="3144" y="129"/>
                    </a:lnTo>
                    <a:lnTo>
                      <a:pt x="3130" y="122"/>
                    </a:lnTo>
                    <a:lnTo>
                      <a:pt x="3114" y="115"/>
                    </a:lnTo>
                    <a:lnTo>
                      <a:pt x="3098" y="107"/>
                    </a:lnTo>
                    <a:lnTo>
                      <a:pt x="3080" y="102"/>
                    </a:lnTo>
                    <a:lnTo>
                      <a:pt x="3063" y="96"/>
                    </a:lnTo>
                    <a:lnTo>
                      <a:pt x="3044" y="91"/>
                    </a:lnTo>
                    <a:lnTo>
                      <a:pt x="3024" y="86"/>
                    </a:lnTo>
                    <a:lnTo>
                      <a:pt x="3004" y="82"/>
                    </a:lnTo>
                    <a:lnTo>
                      <a:pt x="2985" y="79"/>
                    </a:lnTo>
                    <a:lnTo>
                      <a:pt x="2965" y="76"/>
                    </a:lnTo>
                    <a:lnTo>
                      <a:pt x="2944" y="74"/>
                    </a:lnTo>
                    <a:lnTo>
                      <a:pt x="2923" y="72"/>
                    </a:lnTo>
                    <a:lnTo>
                      <a:pt x="2903" y="71"/>
                    </a:lnTo>
                    <a:lnTo>
                      <a:pt x="2884" y="70"/>
                    </a:lnTo>
                    <a:lnTo>
                      <a:pt x="2875" y="71"/>
                    </a:lnTo>
                    <a:lnTo>
                      <a:pt x="2867" y="72"/>
                    </a:lnTo>
                    <a:lnTo>
                      <a:pt x="2862" y="74"/>
                    </a:lnTo>
                    <a:lnTo>
                      <a:pt x="2856" y="76"/>
                    </a:lnTo>
                    <a:lnTo>
                      <a:pt x="2850" y="79"/>
                    </a:lnTo>
                    <a:lnTo>
                      <a:pt x="2843" y="81"/>
                    </a:lnTo>
                    <a:lnTo>
                      <a:pt x="2834" y="82"/>
                    </a:lnTo>
                    <a:lnTo>
                      <a:pt x="2823" y="83"/>
                    </a:lnTo>
                    <a:lnTo>
                      <a:pt x="2723" y="64"/>
                    </a:lnTo>
                    <a:lnTo>
                      <a:pt x="2724" y="58"/>
                    </a:lnTo>
                    <a:lnTo>
                      <a:pt x="2726" y="52"/>
                    </a:lnTo>
                    <a:lnTo>
                      <a:pt x="2729" y="47"/>
                    </a:lnTo>
                    <a:lnTo>
                      <a:pt x="2731" y="42"/>
                    </a:lnTo>
                    <a:lnTo>
                      <a:pt x="2738" y="33"/>
                    </a:lnTo>
                    <a:lnTo>
                      <a:pt x="2744" y="21"/>
                    </a:lnTo>
                    <a:lnTo>
                      <a:pt x="2743" y="19"/>
                    </a:lnTo>
                    <a:lnTo>
                      <a:pt x="2742" y="17"/>
                    </a:lnTo>
                    <a:lnTo>
                      <a:pt x="2739" y="15"/>
                    </a:lnTo>
                    <a:lnTo>
                      <a:pt x="2735" y="13"/>
                    </a:lnTo>
                    <a:lnTo>
                      <a:pt x="2727" y="10"/>
                    </a:lnTo>
                    <a:lnTo>
                      <a:pt x="2717" y="9"/>
                    </a:lnTo>
                    <a:lnTo>
                      <a:pt x="2712" y="5"/>
                    </a:lnTo>
                    <a:lnTo>
                      <a:pt x="2707" y="1"/>
                    </a:lnTo>
                    <a:lnTo>
                      <a:pt x="2701" y="0"/>
                    </a:lnTo>
                    <a:lnTo>
                      <a:pt x="2696" y="0"/>
                    </a:lnTo>
                    <a:lnTo>
                      <a:pt x="2691" y="3"/>
                    </a:lnTo>
                    <a:lnTo>
                      <a:pt x="2687" y="7"/>
                    </a:lnTo>
                    <a:lnTo>
                      <a:pt x="2685" y="13"/>
                    </a:lnTo>
                    <a:lnTo>
                      <a:pt x="2684" y="21"/>
                    </a:lnTo>
                    <a:lnTo>
                      <a:pt x="2667" y="24"/>
                    </a:lnTo>
                    <a:lnTo>
                      <a:pt x="2653" y="29"/>
                    </a:lnTo>
                    <a:lnTo>
                      <a:pt x="2641" y="34"/>
                    </a:lnTo>
                    <a:lnTo>
                      <a:pt x="2630" y="40"/>
                    </a:lnTo>
                    <a:lnTo>
                      <a:pt x="2610" y="53"/>
                    </a:lnTo>
                    <a:lnTo>
                      <a:pt x="2590" y="64"/>
                    </a:lnTo>
                    <a:lnTo>
                      <a:pt x="2618" y="83"/>
                    </a:lnTo>
                    <a:lnTo>
                      <a:pt x="2611" y="83"/>
                    </a:lnTo>
                    <a:lnTo>
                      <a:pt x="2597" y="83"/>
                    </a:lnTo>
                    <a:lnTo>
                      <a:pt x="2575" y="83"/>
                    </a:lnTo>
                    <a:lnTo>
                      <a:pt x="2551" y="83"/>
                    </a:lnTo>
                    <a:lnTo>
                      <a:pt x="2567" y="97"/>
                    </a:lnTo>
                    <a:lnTo>
                      <a:pt x="2587" y="118"/>
                    </a:lnTo>
                    <a:lnTo>
                      <a:pt x="2598" y="128"/>
                    </a:lnTo>
                    <a:lnTo>
                      <a:pt x="2610" y="136"/>
                    </a:lnTo>
                    <a:lnTo>
                      <a:pt x="2617" y="140"/>
                    </a:lnTo>
                    <a:lnTo>
                      <a:pt x="2623" y="142"/>
                    </a:lnTo>
                    <a:lnTo>
                      <a:pt x="2630" y="144"/>
                    </a:lnTo>
                    <a:lnTo>
                      <a:pt x="2638" y="144"/>
                    </a:lnTo>
                    <a:lnTo>
                      <a:pt x="2630" y="144"/>
                    </a:lnTo>
                    <a:lnTo>
                      <a:pt x="2623" y="142"/>
                    </a:lnTo>
                    <a:lnTo>
                      <a:pt x="2618" y="140"/>
                    </a:lnTo>
                    <a:lnTo>
                      <a:pt x="2611" y="137"/>
                    </a:lnTo>
                    <a:lnTo>
                      <a:pt x="2600" y="130"/>
                    </a:lnTo>
                    <a:lnTo>
                      <a:pt x="2590" y="121"/>
                    </a:lnTo>
                    <a:lnTo>
                      <a:pt x="2579" y="110"/>
                    </a:lnTo>
                    <a:lnTo>
                      <a:pt x="2567" y="100"/>
                    </a:lnTo>
                    <a:lnTo>
                      <a:pt x="2561" y="95"/>
                    </a:lnTo>
                    <a:lnTo>
                      <a:pt x="2554" y="90"/>
                    </a:lnTo>
                    <a:lnTo>
                      <a:pt x="2547" y="86"/>
                    </a:lnTo>
                    <a:lnTo>
                      <a:pt x="2538" y="83"/>
                    </a:lnTo>
                    <a:lnTo>
                      <a:pt x="2465" y="114"/>
                    </a:lnTo>
                    <a:lnTo>
                      <a:pt x="2462" y="110"/>
                    </a:lnTo>
                    <a:lnTo>
                      <a:pt x="2455" y="104"/>
                    </a:lnTo>
                    <a:lnTo>
                      <a:pt x="2451" y="100"/>
                    </a:lnTo>
                    <a:lnTo>
                      <a:pt x="2446" y="98"/>
                    </a:lnTo>
                    <a:lnTo>
                      <a:pt x="2439" y="95"/>
                    </a:lnTo>
                    <a:lnTo>
                      <a:pt x="2431" y="95"/>
                    </a:lnTo>
                    <a:lnTo>
                      <a:pt x="2410" y="95"/>
                    </a:lnTo>
                    <a:lnTo>
                      <a:pt x="2391" y="98"/>
                    </a:lnTo>
                    <a:lnTo>
                      <a:pt x="2372" y="101"/>
                    </a:lnTo>
                    <a:lnTo>
                      <a:pt x="2354" y="105"/>
                    </a:lnTo>
                    <a:lnTo>
                      <a:pt x="2319" y="117"/>
                    </a:lnTo>
                    <a:lnTo>
                      <a:pt x="2284" y="129"/>
                    </a:lnTo>
                    <a:lnTo>
                      <a:pt x="2250" y="141"/>
                    </a:lnTo>
                    <a:lnTo>
                      <a:pt x="2214" y="152"/>
                    </a:lnTo>
                    <a:lnTo>
                      <a:pt x="2195" y="156"/>
                    </a:lnTo>
                    <a:lnTo>
                      <a:pt x="2175" y="159"/>
                    </a:lnTo>
                    <a:lnTo>
                      <a:pt x="2155" y="161"/>
                    </a:lnTo>
                    <a:lnTo>
                      <a:pt x="2133" y="162"/>
                    </a:lnTo>
                    <a:lnTo>
                      <a:pt x="2134" y="167"/>
                    </a:lnTo>
                    <a:lnTo>
                      <a:pt x="2137" y="173"/>
                    </a:lnTo>
                    <a:lnTo>
                      <a:pt x="2142" y="178"/>
                    </a:lnTo>
                    <a:lnTo>
                      <a:pt x="2149" y="183"/>
                    </a:lnTo>
                    <a:lnTo>
                      <a:pt x="2157" y="187"/>
                    </a:lnTo>
                    <a:lnTo>
                      <a:pt x="2167" y="190"/>
                    </a:lnTo>
                    <a:lnTo>
                      <a:pt x="2175" y="193"/>
                    </a:lnTo>
                    <a:lnTo>
                      <a:pt x="2185" y="193"/>
                    </a:lnTo>
                    <a:lnTo>
                      <a:pt x="2186" y="198"/>
                    </a:lnTo>
                    <a:lnTo>
                      <a:pt x="2187" y="203"/>
                    </a:lnTo>
                    <a:lnTo>
                      <a:pt x="2190" y="208"/>
                    </a:lnTo>
                    <a:lnTo>
                      <a:pt x="2192" y="213"/>
                    </a:lnTo>
                    <a:lnTo>
                      <a:pt x="2198" y="225"/>
                    </a:lnTo>
                    <a:lnTo>
                      <a:pt x="2207" y="235"/>
                    </a:lnTo>
                    <a:lnTo>
                      <a:pt x="2216" y="244"/>
                    </a:lnTo>
                    <a:lnTo>
                      <a:pt x="2225" y="251"/>
                    </a:lnTo>
                    <a:lnTo>
                      <a:pt x="2233" y="257"/>
                    </a:lnTo>
                    <a:lnTo>
                      <a:pt x="2239" y="261"/>
                    </a:lnTo>
                    <a:lnTo>
                      <a:pt x="2233" y="261"/>
                    </a:lnTo>
                    <a:lnTo>
                      <a:pt x="2227" y="260"/>
                    </a:lnTo>
                    <a:lnTo>
                      <a:pt x="2223" y="259"/>
                    </a:lnTo>
                    <a:lnTo>
                      <a:pt x="2217" y="257"/>
                    </a:lnTo>
                    <a:lnTo>
                      <a:pt x="2214" y="254"/>
                    </a:lnTo>
                    <a:lnTo>
                      <a:pt x="2209" y="251"/>
                    </a:lnTo>
                    <a:lnTo>
                      <a:pt x="2206" y="248"/>
                    </a:lnTo>
                    <a:lnTo>
                      <a:pt x="2203" y="244"/>
                    </a:lnTo>
                    <a:lnTo>
                      <a:pt x="2198" y="236"/>
                    </a:lnTo>
                    <a:lnTo>
                      <a:pt x="2195" y="225"/>
                    </a:lnTo>
                    <a:lnTo>
                      <a:pt x="2193" y="213"/>
                    </a:lnTo>
                    <a:lnTo>
                      <a:pt x="2192" y="200"/>
                    </a:lnTo>
                    <a:lnTo>
                      <a:pt x="2190" y="201"/>
                    </a:lnTo>
                    <a:lnTo>
                      <a:pt x="2186" y="202"/>
                    </a:lnTo>
                    <a:lnTo>
                      <a:pt x="2182" y="202"/>
                    </a:lnTo>
                    <a:lnTo>
                      <a:pt x="2179" y="202"/>
                    </a:lnTo>
                    <a:lnTo>
                      <a:pt x="2169" y="200"/>
                    </a:lnTo>
                    <a:lnTo>
                      <a:pt x="2159" y="200"/>
                    </a:lnTo>
                    <a:lnTo>
                      <a:pt x="2150" y="200"/>
                    </a:lnTo>
                    <a:lnTo>
                      <a:pt x="2141" y="202"/>
                    </a:lnTo>
                    <a:lnTo>
                      <a:pt x="2134" y="205"/>
                    </a:lnTo>
                    <a:lnTo>
                      <a:pt x="2126" y="209"/>
                    </a:lnTo>
                    <a:lnTo>
                      <a:pt x="2118" y="212"/>
                    </a:lnTo>
                    <a:lnTo>
                      <a:pt x="2111" y="215"/>
                    </a:lnTo>
                    <a:lnTo>
                      <a:pt x="2102" y="217"/>
                    </a:lnTo>
                    <a:lnTo>
                      <a:pt x="2093" y="218"/>
                    </a:lnTo>
                    <a:lnTo>
                      <a:pt x="2083" y="217"/>
                    </a:lnTo>
                    <a:lnTo>
                      <a:pt x="2073" y="214"/>
                    </a:lnTo>
                    <a:lnTo>
                      <a:pt x="2066" y="210"/>
                    </a:lnTo>
                    <a:lnTo>
                      <a:pt x="2059" y="206"/>
                    </a:lnTo>
                    <a:lnTo>
                      <a:pt x="2020" y="218"/>
                    </a:lnTo>
                    <a:lnTo>
                      <a:pt x="2013" y="218"/>
                    </a:lnTo>
                    <a:lnTo>
                      <a:pt x="2000" y="219"/>
                    </a:lnTo>
                    <a:lnTo>
                      <a:pt x="1992" y="221"/>
                    </a:lnTo>
                    <a:lnTo>
                      <a:pt x="1985" y="223"/>
                    </a:lnTo>
                    <a:lnTo>
                      <a:pt x="1983" y="225"/>
                    </a:lnTo>
                    <a:lnTo>
                      <a:pt x="1981" y="227"/>
                    </a:lnTo>
                    <a:lnTo>
                      <a:pt x="1980" y="229"/>
                    </a:lnTo>
                    <a:lnTo>
                      <a:pt x="1980" y="231"/>
                    </a:lnTo>
                    <a:lnTo>
                      <a:pt x="1980" y="234"/>
                    </a:lnTo>
                    <a:lnTo>
                      <a:pt x="1982" y="238"/>
                    </a:lnTo>
                    <a:lnTo>
                      <a:pt x="1984" y="242"/>
                    </a:lnTo>
                    <a:lnTo>
                      <a:pt x="1988" y="245"/>
                    </a:lnTo>
                    <a:lnTo>
                      <a:pt x="1996" y="253"/>
                    </a:lnTo>
                    <a:lnTo>
                      <a:pt x="2009" y="261"/>
                    </a:lnTo>
                    <a:lnTo>
                      <a:pt x="2023" y="270"/>
                    </a:lnTo>
                    <a:lnTo>
                      <a:pt x="2038" y="278"/>
                    </a:lnTo>
                    <a:lnTo>
                      <a:pt x="2056" y="287"/>
                    </a:lnTo>
                    <a:lnTo>
                      <a:pt x="2074" y="295"/>
                    </a:lnTo>
                    <a:lnTo>
                      <a:pt x="2112" y="311"/>
                    </a:lnTo>
                    <a:lnTo>
                      <a:pt x="2148" y="324"/>
                    </a:lnTo>
                    <a:lnTo>
                      <a:pt x="2178" y="334"/>
                    </a:lnTo>
                    <a:lnTo>
                      <a:pt x="2198" y="342"/>
                    </a:lnTo>
                    <a:lnTo>
                      <a:pt x="2200" y="352"/>
                    </a:lnTo>
                    <a:lnTo>
                      <a:pt x="2202" y="361"/>
                    </a:lnTo>
                    <a:lnTo>
                      <a:pt x="2204" y="369"/>
                    </a:lnTo>
                    <a:lnTo>
                      <a:pt x="2207" y="376"/>
                    </a:lnTo>
                    <a:lnTo>
                      <a:pt x="2216" y="389"/>
                    </a:lnTo>
                    <a:lnTo>
                      <a:pt x="2226" y="403"/>
                    </a:lnTo>
                    <a:lnTo>
                      <a:pt x="2214" y="405"/>
                    </a:lnTo>
                    <a:lnTo>
                      <a:pt x="2203" y="404"/>
                    </a:lnTo>
                    <a:lnTo>
                      <a:pt x="2193" y="402"/>
                    </a:lnTo>
                    <a:lnTo>
                      <a:pt x="2184" y="399"/>
                    </a:lnTo>
                    <a:lnTo>
                      <a:pt x="2177" y="394"/>
                    </a:lnTo>
                    <a:lnTo>
                      <a:pt x="2169" y="387"/>
                    </a:lnTo>
                    <a:lnTo>
                      <a:pt x="2161" y="381"/>
                    </a:lnTo>
                    <a:lnTo>
                      <a:pt x="2155" y="374"/>
                    </a:lnTo>
                    <a:lnTo>
                      <a:pt x="2142" y="360"/>
                    </a:lnTo>
                    <a:lnTo>
                      <a:pt x="2129" y="345"/>
                    </a:lnTo>
                    <a:lnTo>
                      <a:pt x="2123" y="339"/>
                    </a:lnTo>
                    <a:lnTo>
                      <a:pt x="2115" y="332"/>
                    </a:lnTo>
                    <a:lnTo>
                      <a:pt x="2107" y="327"/>
                    </a:lnTo>
                    <a:lnTo>
                      <a:pt x="2100" y="323"/>
                    </a:lnTo>
                    <a:lnTo>
                      <a:pt x="2065" y="315"/>
                    </a:lnTo>
                    <a:lnTo>
                      <a:pt x="2020" y="305"/>
                    </a:lnTo>
                    <a:lnTo>
                      <a:pt x="2009" y="302"/>
                    </a:lnTo>
                    <a:lnTo>
                      <a:pt x="1999" y="298"/>
                    </a:lnTo>
                    <a:lnTo>
                      <a:pt x="1989" y="293"/>
                    </a:lnTo>
                    <a:lnTo>
                      <a:pt x="1980" y="288"/>
                    </a:lnTo>
                    <a:lnTo>
                      <a:pt x="1972" y="281"/>
                    </a:lnTo>
                    <a:lnTo>
                      <a:pt x="1967" y="273"/>
                    </a:lnTo>
                    <a:lnTo>
                      <a:pt x="1964" y="269"/>
                    </a:lnTo>
                    <a:lnTo>
                      <a:pt x="1962" y="265"/>
                    </a:lnTo>
                    <a:lnTo>
                      <a:pt x="1960" y="260"/>
                    </a:lnTo>
                    <a:lnTo>
                      <a:pt x="1960" y="255"/>
                    </a:lnTo>
                    <a:lnTo>
                      <a:pt x="1947" y="255"/>
                    </a:lnTo>
                    <a:lnTo>
                      <a:pt x="1940" y="255"/>
                    </a:lnTo>
                    <a:lnTo>
                      <a:pt x="1933" y="256"/>
                    </a:lnTo>
                    <a:lnTo>
                      <a:pt x="1927" y="258"/>
                    </a:lnTo>
                    <a:lnTo>
                      <a:pt x="1922" y="261"/>
                    </a:lnTo>
                    <a:lnTo>
                      <a:pt x="1916" y="264"/>
                    </a:lnTo>
                    <a:lnTo>
                      <a:pt x="1910" y="267"/>
                    </a:lnTo>
                    <a:lnTo>
                      <a:pt x="1903" y="270"/>
                    </a:lnTo>
                    <a:lnTo>
                      <a:pt x="1895" y="272"/>
                    </a:lnTo>
                    <a:lnTo>
                      <a:pt x="1887" y="273"/>
                    </a:lnTo>
                    <a:lnTo>
                      <a:pt x="1882" y="287"/>
                    </a:lnTo>
                    <a:lnTo>
                      <a:pt x="1879" y="297"/>
                    </a:lnTo>
                    <a:lnTo>
                      <a:pt x="1877" y="301"/>
                    </a:lnTo>
                    <a:lnTo>
                      <a:pt x="1875" y="305"/>
                    </a:lnTo>
                    <a:lnTo>
                      <a:pt x="1871" y="308"/>
                    </a:lnTo>
                    <a:lnTo>
                      <a:pt x="1867" y="310"/>
                    </a:lnTo>
                    <a:lnTo>
                      <a:pt x="1871" y="316"/>
                    </a:lnTo>
                    <a:lnTo>
                      <a:pt x="1876" y="320"/>
                    </a:lnTo>
                    <a:lnTo>
                      <a:pt x="1882" y="325"/>
                    </a:lnTo>
                    <a:lnTo>
                      <a:pt x="1889" y="328"/>
                    </a:lnTo>
                    <a:lnTo>
                      <a:pt x="1903" y="334"/>
                    </a:lnTo>
                    <a:lnTo>
                      <a:pt x="1921" y="340"/>
                    </a:lnTo>
                    <a:lnTo>
                      <a:pt x="1959" y="349"/>
                    </a:lnTo>
                    <a:lnTo>
                      <a:pt x="2000" y="360"/>
                    </a:lnTo>
                    <a:lnTo>
                      <a:pt x="1954" y="360"/>
                    </a:lnTo>
                    <a:lnTo>
                      <a:pt x="1929" y="354"/>
                    </a:lnTo>
                    <a:lnTo>
                      <a:pt x="1906" y="349"/>
                    </a:lnTo>
                    <a:lnTo>
                      <a:pt x="1886" y="344"/>
                    </a:lnTo>
                    <a:lnTo>
                      <a:pt x="1866" y="338"/>
                    </a:lnTo>
                    <a:lnTo>
                      <a:pt x="1857" y="333"/>
                    </a:lnTo>
                    <a:lnTo>
                      <a:pt x="1849" y="328"/>
                    </a:lnTo>
                    <a:lnTo>
                      <a:pt x="1842" y="322"/>
                    </a:lnTo>
                    <a:lnTo>
                      <a:pt x="1835" y="315"/>
                    </a:lnTo>
                    <a:lnTo>
                      <a:pt x="1828" y="307"/>
                    </a:lnTo>
                    <a:lnTo>
                      <a:pt x="1823" y="298"/>
                    </a:lnTo>
                    <a:lnTo>
                      <a:pt x="1817" y="287"/>
                    </a:lnTo>
                    <a:lnTo>
                      <a:pt x="1814" y="273"/>
                    </a:lnTo>
                    <a:lnTo>
                      <a:pt x="1787" y="273"/>
                    </a:lnTo>
                    <a:lnTo>
                      <a:pt x="1787" y="282"/>
                    </a:lnTo>
                    <a:lnTo>
                      <a:pt x="1786" y="288"/>
                    </a:lnTo>
                    <a:lnTo>
                      <a:pt x="1785" y="293"/>
                    </a:lnTo>
                    <a:lnTo>
                      <a:pt x="1782" y="298"/>
                    </a:lnTo>
                    <a:lnTo>
                      <a:pt x="1776" y="306"/>
                    </a:lnTo>
                    <a:lnTo>
                      <a:pt x="1767" y="316"/>
                    </a:lnTo>
                    <a:lnTo>
                      <a:pt x="1771" y="323"/>
                    </a:lnTo>
                    <a:lnTo>
                      <a:pt x="1775" y="328"/>
                    </a:lnTo>
                    <a:lnTo>
                      <a:pt x="1779" y="332"/>
                    </a:lnTo>
                    <a:lnTo>
                      <a:pt x="1785" y="336"/>
                    </a:lnTo>
                    <a:lnTo>
                      <a:pt x="1793" y="342"/>
                    </a:lnTo>
                    <a:lnTo>
                      <a:pt x="1803" y="346"/>
                    </a:lnTo>
                    <a:lnTo>
                      <a:pt x="1813" y="351"/>
                    </a:lnTo>
                    <a:lnTo>
                      <a:pt x="1823" y="358"/>
                    </a:lnTo>
                    <a:lnTo>
                      <a:pt x="1827" y="363"/>
                    </a:lnTo>
                    <a:lnTo>
                      <a:pt x="1832" y="369"/>
                    </a:lnTo>
                    <a:lnTo>
                      <a:pt x="1836" y="376"/>
                    </a:lnTo>
                    <a:lnTo>
                      <a:pt x="1841" y="384"/>
                    </a:lnTo>
                    <a:lnTo>
                      <a:pt x="1842" y="389"/>
                    </a:lnTo>
                    <a:lnTo>
                      <a:pt x="1843" y="396"/>
                    </a:lnTo>
                    <a:lnTo>
                      <a:pt x="1844" y="402"/>
                    </a:lnTo>
                    <a:lnTo>
                      <a:pt x="1844" y="409"/>
                    </a:lnTo>
                    <a:lnTo>
                      <a:pt x="1844" y="415"/>
                    </a:lnTo>
                    <a:lnTo>
                      <a:pt x="1844" y="420"/>
                    </a:lnTo>
                    <a:lnTo>
                      <a:pt x="1845" y="424"/>
                    </a:lnTo>
                    <a:lnTo>
                      <a:pt x="1847" y="427"/>
                    </a:lnTo>
                    <a:lnTo>
                      <a:pt x="1859" y="436"/>
                    </a:lnTo>
                    <a:lnTo>
                      <a:pt x="1868" y="444"/>
                    </a:lnTo>
                    <a:lnTo>
                      <a:pt x="1872" y="448"/>
                    </a:lnTo>
                    <a:lnTo>
                      <a:pt x="1878" y="451"/>
                    </a:lnTo>
                    <a:lnTo>
                      <a:pt x="1884" y="452"/>
                    </a:lnTo>
                    <a:lnTo>
                      <a:pt x="1893" y="453"/>
                    </a:lnTo>
                    <a:lnTo>
                      <a:pt x="1902" y="452"/>
                    </a:lnTo>
                    <a:lnTo>
                      <a:pt x="1910" y="450"/>
                    </a:lnTo>
                    <a:lnTo>
                      <a:pt x="1917" y="446"/>
                    </a:lnTo>
                    <a:lnTo>
                      <a:pt x="1923" y="443"/>
                    </a:lnTo>
                    <a:lnTo>
                      <a:pt x="1929" y="439"/>
                    </a:lnTo>
                    <a:lnTo>
                      <a:pt x="1936" y="436"/>
                    </a:lnTo>
                    <a:lnTo>
                      <a:pt x="1944" y="434"/>
                    </a:lnTo>
                    <a:lnTo>
                      <a:pt x="1954" y="433"/>
                    </a:lnTo>
                    <a:lnTo>
                      <a:pt x="1961" y="434"/>
                    </a:lnTo>
                    <a:lnTo>
                      <a:pt x="1970" y="435"/>
                    </a:lnTo>
                    <a:lnTo>
                      <a:pt x="1978" y="437"/>
                    </a:lnTo>
                    <a:lnTo>
                      <a:pt x="1985" y="439"/>
                    </a:lnTo>
                    <a:lnTo>
                      <a:pt x="1999" y="445"/>
                    </a:lnTo>
                    <a:lnTo>
                      <a:pt x="2013" y="453"/>
                    </a:lnTo>
                    <a:lnTo>
                      <a:pt x="2027" y="459"/>
                    </a:lnTo>
                    <a:lnTo>
                      <a:pt x="2041" y="465"/>
                    </a:lnTo>
                    <a:lnTo>
                      <a:pt x="2048" y="467"/>
                    </a:lnTo>
                    <a:lnTo>
                      <a:pt x="2056" y="469"/>
                    </a:lnTo>
                    <a:lnTo>
                      <a:pt x="2065" y="470"/>
                    </a:lnTo>
                    <a:lnTo>
                      <a:pt x="2073" y="471"/>
                    </a:lnTo>
                    <a:lnTo>
                      <a:pt x="2076" y="482"/>
                    </a:lnTo>
                    <a:lnTo>
                      <a:pt x="2078" y="492"/>
                    </a:lnTo>
                    <a:lnTo>
                      <a:pt x="2082" y="503"/>
                    </a:lnTo>
                    <a:lnTo>
                      <a:pt x="2086" y="511"/>
                    </a:lnTo>
                    <a:lnTo>
                      <a:pt x="2090" y="515"/>
                    </a:lnTo>
                    <a:lnTo>
                      <a:pt x="2093" y="518"/>
                    </a:lnTo>
                    <a:lnTo>
                      <a:pt x="2097" y="522"/>
                    </a:lnTo>
                    <a:lnTo>
                      <a:pt x="2102" y="525"/>
                    </a:lnTo>
                    <a:lnTo>
                      <a:pt x="2106" y="527"/>
                    </a:lnTo>
                    <a:lnTo>
                      <a:pt x="2113" y="529"/>
                    </a:lnTo>
                    <a:lnTo>
                      <a:pt x="2118" y="531"/>
                    </a:lnTo>
                    <a:lnTo>
                      <a:pt x="2126" y="532"/>
                    </a:lnTo>
                    <a:lnTo>
                      <a:pt x="2111" y="532"/>
                    </a:lnTo>
                    <a:lnTo>
                      <a:pt x="2100" y="532"/>
                    </a:lnTo>
                    <a:lnTo>
                      <a:pt x="2093" y="532"/>
                    </a:lnTo>
                    <a:lnTo>
                      <a:pt x="2086" y="531"/>
                    </a:lnTo>
                    <a:lnTo>
                      <a:pt x="2081" y="530"/>
                    </a:lnTo>
                    <a:lnTo>
                      <a:pt x="2076" y="529"/>
                    </a:lnTo>
                    <a:lnTo>
                      <a:pt x="2067" y="524"/>
                    </a:lnTo>
                    <a:lnTo>
                      <a:pt x="2059" y="519"/>
                    </a:lnTo>
                    <a:lnTo>
                      <a:pt x="2052" y="513"/>
                    </a:lnTo>
                    <a:lnTo>
                      <a:pt x="2046" y="506"/>
                    </a:lnTo>
                    <a:lnTo>
                      <a:pt x="2040" y="497"/>
                    </a:lnTo>
                    <a:lnTo>
                      <a:pt x="2035" y="489"/>
                    </a:lnTo>
                    <a:lnTo>
                      <a:pt x="2030" y="481"/>
                    </a:lnTo>
                    <a:lnTo>
                      <a:pt x="2024" y="473"/>
                    </a:lnTo>
                    <a:lnTo>
                      <a:pt x="2017" y="466"/>
                    </a:lnTo>
                    <a:lnTo>
                      <a:pt x="2011" y="460"/>
                    </a:lnTo>
                    <a:lnTo>
                      <a:pt x="2002" y="454"/>
                    </a:lnTo>
                    <a:lnTo>
                      <a:pt x="1992" y="450"/>
                    </a:lnTo>
                    <a:lnTo>
                      <a:pt x="1980" y="448"/>
                    </a:lnTo>
                    <a:lnTo>
                      <a:pt x="1967" y="446"/>
                    </a:lnTo>
                    <a:lnTo>
                      <a:pt x="1959" y="446"/>
                    </a:lnTo>
                    <a:lnTo>
                      <a:pt x="1953" y="449"/>
                    </a:lnTo>
                    <a:lnTo>
                      <a:pt x="1946" y="451"/>
                    </a:lnTo>
                    <a:lnTo>
                      <a:pt x="1939" y="453"/>
                    </a:lnTo>
                    <a:lnTo>
                      <a:pt x="1927" y="459"/>
                    </a:lnTo>
                    <a:lnTo>
                      <a:pt x="1913" y="465"/>
                    </a:lnTo>
                    <a:lnTo>
                      <a:pt x="1918" y="477"/>
                    </a:lnTo>
                    <a:lnTo>
                      <a:pt x="1932" y="499"/>
                    </a:lnTo>
                    <a:lnTo>
                      <a:pt x="1939" y="512"/>
                    </a:lnTo>
                    <a:lnTo>
                      <a:pt x="1947" y="523"/>
                    </a:lnTo>
                    <a:lnTo>
                      <a:pt x="1954" y="532"/>
                    </a:lnTo>
                    <a:lnTo>
                      <a:pt x="1960" y="538"/>
                    </a:lnTo>
                    <a:lnTo>
                      <a:pt x="1945" y="554"/>
                    </a:lnTo>
                    <a:lnTo>
                      <a:pt x="1929" y="573"/>
                    </a:lnTo>
                    <a:lnTo>
                      <a:pt x="1924" y="578"/>
                    </a:lnTo>
                    <a:lnTo>
                      <a:pt x="1918" y="581"/>
                    </a:lnTo>
                    <a:lnTo>
                      <a:pt x="1913" y="585"/>
                    </a:lnTo>
                    <a:lnTo>
                      <a:pt x="1906" y="588"/>
                    </a:lnTo>
                    <a:lnTo>
                      <a:pt x="1900" y="590"/>
                    </a:lnTo>
                    <a:lnTo>
                      <a:pt x="1892" y="592"/>
                    </a:lnTo>
                    <a:lnTo>
                      <a:pt x="1883" y="593"/>
                    </a:lnTo>
                    <a:lnTo>
                      <a:pt x="1873" y="594"/>
                    </a:lnTo>
                    <a:lnTo>
                      <a:pt x="1855" y="595"/>
                    </a:lnTo>
                    <a:lnTo>
                      <a:pt x="1838" y="597"/>
                    </a:lnTo>
                    <a:lnTo>
                      <a:pt x="1823" y="600"/>
                    </a:lnTo>
                    <a:lnTo>
                      <a:pt x="1810" y="603"/>
                    </a:lnTo>
                    <a:lnTo>
                      <a:pt x="1797" y="604"/>
                    </a:lnTo>
                    <a:lnTo>
                      <a:pt x="1785" y="604"/>
                    </a:lnTo>
                    <a:lnTo>
                      <a:pt x="1779" y="603"/>
                    </a:lnTo>
                    <a:lnTo>
                      <a:pt x="1772" y="601"/>
                    </a:lnTo>
                    <a:lnTo>
                      <a:pt x="1767" y="598"/>
                    </a:lnTo>
                    <a:lnTo>
                      <a:pt x="1760" y="594"/>
                    </a:lnTo>
                    <a:lnTo>
                      <a:pt x="1778" y="593"/>
                    </a:lnTo>
                    <a:lnTo>
                      <a:pt x="1793" y="591"/>
                    </a:lnTo>
                    <a:lnTo>
                      <a:pt x="1806" y="589"/>
                    </a:lnTo>
                    <a:lnTo>
                      <a:pt x="1821" y="588"/>
                    </a:lnTo>
                    <a:lnTo>
                      <a:pt x="1826" y="587"/>
                    </a:lnTo>
                    <a:lnTo>
                      <a:pt x="1832" y="586"/>
                    </a:lnTo>
                    <a:lnTo>
                      <a:pt x="1837" y="585"/>
                    </a:lnTo>
                    <a:lnTo>
                      <a:pt x="1843" y="583"/>
                    </a:lnTo>
                    <a:lnTo>
                      <a:pt x="1847" y="580"/>
                    </a:lnTo>
                    <a:lnTo>
                      <a:pt x="1852" y="577"/>
                    </a:lnTo>
                    <a:lnTo>
                      <a:pt x="1856" y="573"/>
                    </a:lnTo>
                    <a:lnTo>
                      <a:pt x="1859" y="569"/>
                    </a:lnTo>
                    <a:lnTo>
                      <a:pt x="1866" y="560"/>
                    </a:lnTo>
                    <a:lnTo>
                      <a:pt x="1870" y="548"/>
                    </a:lnTo>
                    <a:lnTo>
                      <a:pt x="1872" y="538"/>
                    </a:lnTo>
                    <a:lnTo>
                      <a:pt x="1873" y="526"/>
                    </a:lnTo>
                    <a:lnTo>
                      <a:pt x="1873" y="520"/>
                    </a:lnTo>
                    <a:lnTo>
                      <a:pt x="1873" y="512"/>
                    </a:lnTo>
                    <a:lnTo>
                      <a:pt x="1873" y="499"/>
                    </a:lnTo>
                    <a:lnTo>
                      <a:pt x="1873" y="483"/>
                    </a:lnTo>
                    <a:lnTo>
                      <a:pt x="1860" y="480"/>
                    </a:lnTo>
                    <a:lnTo>
                      <a:pt x="1849" y="476"/>
                    </a:lnTo>
                    <a:lnTo>
                      <a:pt x="1839" y="470"/>
                    </a:lnTo>
                    <a:lnTo>
                      <a:pt x="1832" y="464"/>
                    </a:lnTo>
                    <a:lnTo>
                      <a:pt x="1824" y="457"/>
                    </a:lnTo>
                    <a:lnTo>
                      <a:pt x="1817" y="449"/>
                    </a:lnTo>
                    <a:lnTo>
                      <a:pt x="1812" y="440"/>
                    </a:lnTo>
                    <a:lnTo>
                      <a:pt x="1806" y="431"/>
                    </a:lnTo>
                    <a:lnTo>
                      <a:pt x="1796" y="413"/>
                    </a:lnTo>
                    <a:lnTo>
                      <a:pt x="1785" y="396"/>
                    </a:lnTo>
                    <a:lnTo>
                      <a:pt x="1778" y="387"/>
                    </a:lnTo>
                    <a:lnTo>
                      <a:pt x="1771" y="379"/>
                    </a:lnTo>
                    <a:lnTo>
                      <a:pt x="1764" y="372"/>
                    </a:lnTo>
                    <a:lnTo>
                      <a:pt x="1754" y="366"/>
                    </a:lnTo>
                    <a:lnTo>
                      <a:pt x="1708" y="348"/>
                    </a:lnTo>
                    <a:lnTo>
                      <a:pt x="1705" y="342"/>
                    </a:lnTo>
                    <a:lnTo>
                      <a:pt x="1707" y="333"/>
                    </a:lnTo>
                    <a:lnTo>
                      <a:pt x="1708" y="324"/>
                    </a:lnTo>
                    <a:lnTo>
                      <a:pt x="1709" y="313"/>
                    </a:lnTo>
                    <a:lnTo>
                      <a:pt x="1710" y="303"/>
                    </a:lnTo>
                    <a:lnTo>
                      <a:pt x="1709" y="294"/>
                    </a:lnTo>
                    <a:lnTo>
                      <a:pt x="1708" y="290"/>
                    </a:lnTo>
                    <a:lnTo>
                      <a:pt x="1707" y="286"/>
                    </a:lnTo>
                    <a:lnTo>
                      <a:pt x="1704" y="283"/>
                    </a:lnTo>
                    <a:lnTo>
                      <a:pt x="1701" y="279"/>
                    </a:lnTo>
                    <a:lnTo>
                      <a:pt x="1698" y="276"/>
                    </a:lnTo>
                    <a:lnTo>
                      <a:pt x="1693" y="273"/>
                    </a:lnTo>
                    <a:lnTo>
                      <a:pt x="1689" y="271"/>
                    </a:lnTo>
                    <a:lnTo>
                      <a:pt x="1682" y="269"/>
                    </a:lnTo>
                    <a:lnTo>
                      <a:pt x="1669" y="266"/>
                    </a:lnTo>
                    <a:lnTo>
                      <a:pt x="1654" y="263"/>
                    </a:lnTo>
                    <a:lnTo>
                      <a:pt x="1618" y="261"/>
                    </a:lnTo>
                    <a:lnTo>
                      <a:pt x="1581" y="261"/>
                    </a:lnTo>
                    <a:lnTo>
                      <a:pt x="1596" y="257"/>
                    </a:lnTo>
                    <a:lnTo>
                      <a:pt x="1609" y="253"/>
                    </a:lnTo>
                    <a:lnTo>
                      <a:pt x="1613" y="249"/>
                    </a:lnTo>
                    <a:lnTo>
                      <a:pt x="1618" y="245"/>
                    </a:lnTo>
                    <a:lnTo>
                      <a:pt x="1620" y="239"/>
                    </a:lnTo>
                    <a:lnTo>
                      <a:pt x="1621" y="231"/>
                    </a:lnTo>
                    <a:lnTo>
                      <a:pt x="1608" y="231"/>
                    </a:lnTo>
                    <a:lnTo>
                      <a:pt x="1596" y="231"/>
                    </a:lnTo>
                    <a:lnTo>
                      <a:pt x="1581" y="231"/>
                    </a:lnTo>
                    <a:lnTo>
                      <a:pt x="1562" y="231"/>
                    </a:lnTo>
                    <a:lnTo>
                      <a:pt x="1559" y="246"/>
                    </a:lnTo>
                    <a:lnTo>
                      <a:pt x="1555" y="263"/>
                    </a:lnTo>
                    <a:lnTo>
                      <a:pt x="1550" y="279"/>
                    </a:lnTo>
                    <a:lnTo>
                      <a:pt x="1548" y="292"/>
                    </a:lnTo>
                    <a:lnTo>
                      <a:pt x="1548" y="294"/>
                    </a:lnTo>
                    <a:lnTo>
                      <a:pt x="1550" y="295"/>
                    </a:lnTo>
                    <a:lnTo>
                      <a:pt x="1552" y="295"/>
                    </a:lnTo>
                    <a:lnTo>
                      <a:pt x="1555" y="295"/>
                    </a:lnTo>
                    <a:lnTo>
                      <a:pt x="1559" y="293"/>
                    </a:lnTo>
                    <a:lnTo>
                      <a:pt x="1562" y="292"/>
                    </a:lnTo>
                    <a:lnTo>
                      <a:pt x="1562" y="323"/>
                    </a:lnTo>
                    <a:lnTo>
                      <a:pt x="1552" y="327"/>
                    </a:lnTo>
                    <a:lnTo>
                      <a:pt x="1543" y="331"/>
                    </a:lnTo>
                    <a:lnTo>
                      <a:pt x="1537" y="332"/>
                    </a:lnTo>
                    <a:lnTo>
                      <a:pt x="1531" y="334"/>
                    </a:lnTo>
                    <a:lnTo>
                      <a:pt x="1524" y="334"/>
                    </a:lnTo>
                    <a:lnTo>
                      <a:pt x="1514" y="336"/>
                    </a:lnTo>
                    <a:lnTo>
                      <a:pt x="1514" y="345"/>
                    </a:lnTo>
                    <a:lnTo>
                      <a:pt x="1514" y="354"/>
                    </a:lnTo>
                    <a:lnTo>
                      <a:pt x="1532" y="375"/>
                    </a:lnTo>
                    <a:lnTo>
                      <a:pt x="1555" y="404"/>
                    </a:lnTo>
                    <a:lnTo>
                      <a:pt x="1562" y="411"/>
                    </a:lnTo>
                    <a:lnTo>
                      <a:pt x="1569" y="418"/>
                    </a:lnTo>
                    <a:lnTo>
                      <a:pt x="1577" y="424"/>
                    </a:lnTo>
                    <a:lnTo>
                      <a:pt x="1585" y="429"/>
                    </a:lnTo>
                    <a:lnTo>
                      <a:pt x="1593" y="433"/>
                    </a:lnTo>
                    <a:lnTo>
                      <a:pt x="1602" y="437"/>
                    </a:lnTo>
                    <a:lnTo>
                      <a:pt x="1611" y="439"/>
                    </a:lnTo>
                    <a:lnTo>
                      <a:pt x="1621" y="439"/>
                    </a:lnTo>
                    <a:lnTo>
                      <a:pt x="1622" y="445"/>
                    </a:lnTo>
                    <a:lnTo>
                      <a:pt x="1623" y="451"/>
                    </a:lnTo>
                    <a:lnTo>
                      <a:pt x="1625" y="455"/>
                    </a:lnTo>
                    <a:lnTo>
                      <a:pt x="1629" y="458"/>
                    </a:lnTo>
                    <a:lnTo>
                      <a:pt x="1636" y="465"/>
                    </a:lnTo>
                    <a:lnTo>
                      <a:pt x="1645" y="471"/>
                    </a:lnTo>
                    <a:lnTo>
                      <a:pt x="1654" y="477"/>
                    </a:lnTo>
                    <a:lnTo>
                      <a:pt x="1663" y="483"/>
                    </a:lnTo>
                    <a:lnTo>
                      <a:pt x="1667" y="487"/>
                    </a:lnTo>
                    <a:lnTo>
                      <a:pt x="1670" y="491"/>
                    </a:lnTo>
                    <a:lnTo>
                      <a:pt x="1673" y="496"/>
                    </a:lnTo>
                    <a:lnTo>
                      <a:pt x="1674" y="501"/>
                    </a:lnTo>
                    <a:lnTo>
                      <a:pt x="1667" y="501"/>
                    </a:lnTo>
                    <a:lnTo>
                      <a:pt x="1654" y="501"/>
                    </a:lnTo>
                    <a:lnTo>
                      <a:pt x="1645" y="499"/>
                    </a:lnTo>
                    <a:lnTo>
                      <a:pt x="1625" y="494"/>
                    </a:lnTo>
                    <a:lnTo>
                      <a:pt x="1599" y="487"/>
                    </a:lnTo>
                    <a:lnTo>
                      <a:pt x="1568" y="478"/>
                    </a:lnTo>
                    <a:lnTo>
                      <a:pt x="1539" y="468"/>
                    </a:lnTo>
                    <a:lnTo>
                      <a:pt x="1513" y="458"/>
                    </a:lnTo>
                    <a:lnTo>
                      <a:pt x="1502" y="453"/>
                    </a:lnTo>
                    <a:lnTo>
                      <a:pt x="1495" y="448"/>
                    </a:lnTo>
                    <a:lnTo>
                      <a:pt x="1492" y="445"/>
                    </a:lnTo>
                    <a:lnTo>
                      <a:pt x="1490" y="443"/>
                    </a:lnTo>
                    <a:lnTo>
                      <a:pt x="1488" y="441"/>
                    </a:lnTo>
                    <a:lnTo>
                      <a:pt x="1488" y="439"/>
                    </a:lnTo>
                    <a:lnTo>
                      <a:pt x="1467" y="439"/>
                    </a:lnTo>
                    <a:lnTo>
                      <a:pt x="1432" y="436"/>
                    </a:lnTo>
                    <a:lnTo>
                      <a:pt x="1389" y="432"/>
                    </a:lnTo>
                    <a:lnTo>
                      <a:pt x="1343" y="425"/>
                    </a:lnTo>
                    <a:lnTo>
                      <a:pt x="1320" y="421"/>
                    </a:lnTo>
                    <a:lnTo>
                      <a:pt x="1298" y="417"/>
                    </a:lnTo>
                    <a:lnTo>
                      <a:pt x="1277" y="412"/>
                    </a:lnTo>
                    <a:lnTo>
                      <a:pt x="1260" y="406"/>
                    </a:lnTo>
                    <a:lnTo>
                      <a:pt x="1251" y="403"/>
                    </a:lnTo>
                    <a:lnTo>
                      <a:pt x="1244" y="400"/>
                    </a:lnTo>
                    <a:lnTo>
                      <a:pt x="1238" y="397"/>
                    </a:lnTo>
                    <a:lnTo>
                      <a:pt x="1232" y="394"/>
                    </a:lnTo>
                    <a:lnTo>
                      <a:pt x="1228" y="389"/>
                    </a:lnTo>
                    <a:lnTo>
                      <a:pt x="1225" y="386"/>
                    </a:lnTo>
                    <a:lnTo>
                      <a:pt x="1223" y="382"/>
                    </a:lnTo>
                    <a:lnTo>
                      <a:pt x="1222" y="378"/>
                    </a:lnTo>
                    <a:lnTo>
                      <a:pt x="1210" y="381"/>
                    </a:lnTo>
                    <a:lnTo>
                      <a:pt x="1203" y="384"/>
                    </a:lnTo>
                    <a:lnTo>
                      <a:pt x="1203" y="389"/>
                    </a:lnTo>
                    <a:lnTo>
                      <a:pt x="1204" y="395"/>
                    </a:lnTo>
                    <a:lnTo>
                      <a:pt x="1205" y="399"/>
                    </a:lnTo>
                    <a:lnTo>
                      <a:pt x="1207" y="403"/>
                    </a:lnTo>
                    <a:lnTo>
                      <a:pt x="1211" y="410"/>
                    </a:lnTo>
                    <a:lnTo>
                      <a:pt x="1218" y="416"/>
                    </a:lnTo>
                    <a:lnTo>
                      <a:pt x="1225" y="421"/>
                    </a:lnTo>
                    <a:lnTo>
                      <a:pt x="1233" y="425"/>
                    </a:lnTo>
                    <a:lnTo>
                      <a:pt x="1243" y="429"/>
                    </a:lnTo>
                    <a:lnTo>
                      <a:pt x="1253" y="433"/>
                    </a:lnTo>
                    <a:lnTo>
                      <a:pt x="1274" y="442"/>
                    </a:lnTo>
                    <a:lnTo>
                      <a:pt x="1295" y="452"/>
                    </a:lnTo>
                    <a:lnTo>
                      <a:pt x="1305" y="458"/>
                    </a:lnTo>
                    <a:lnTo>
                      <a:pt x="1313" y="465"/>
                    </a:lnTo>
                    <a:lnTo>
                      <a:pt x="1322" y="473"/>
                    </a:lnTo>
                    <a:lnTo>
                      <a:pt x="1329" y="483"/>
                    </a:lnTo>
                    <a:lnTo>
                      <a:pt x="1319" y="483"/>
                    </a:lnTo>
                    <a:lnTo>
                      <a:pt x="1309" y="483"/>
                    </a:lnTo>
                    <a:lnTo>
                      <a:pt x="1297" y="481"/>
                    </a:lnTo>
                    <a:lnTo>
                      <a:pt x="1281" y="477"/>
                    </a:lnTo>
                    <a:lnTo>
                      <a:pt x="1272" y="475"/>
                    </a:lnTo>
                    <a:lnTo>
                      <a:pt x="1262" y="473"/>
                    </a:lnTo>
                    <a:lnTo>
                      <a:pt x="1252" y="471"/>
                    </a:lnTo>
                    <a:lnTo>
                      <a:pt x="1242" y="471"/>
                    </a:lnTo>
                    <a:lnTo>
                      <a:pt x="1232" y="471"/>
                    </a:lnTo>
                    <a:lnTo>
                      <a:pt x="1221" y="473"/>
                    </a:lnTo>
                    <a:lnTo>
                      <a:pt x="1210" y="475"/>
                    </a:lnTo>
                    <a:lnTo>
                      <a:pt x="1198" y="477"/>
                    </a:lnTo>
                    <a:lnTo>
                      <a:pt x="1174" y="484"/>
                    </a:lnTo>
                    <a:lnTo>
                      <a:pt x="1149" y="492"/>
                    </a:lnTo>
                    <a:lnTo>
                      <a:pt x="1122" y="500"/>
                    </a:lnTo>
                    <a:lnTo>
                      <a:pt x="1097" y="508"/>
                    </a:lnTo>
                    <a:lnTo>
                      <a:pt x="1085" y="510"/>
                    </a:lnTo>
                    <a:lnTo>
                      <a:pt x="1073" y="512"/>
                    </a:lnTo>
                    <a:lnTo>
                      <a:pt x="1061" y="514"/>
                    </a:lnTo>
                    <a:lnTo>
                      <a:pt x="1050" y="514"/>
                    </a:lnTo>
                    <a:lnTo>
                      <a:pt x="1046" y="513"/>
                    </a:lnTo>
                    <a:lnTo>
                      <a:pt x="1042" y="511"/>
                    </a:lnTo>
                    <a:lnTo>
                      <a:pt x="1040" y="507"/>
                    </a:lnTo>
                    <a:lnTo>
                      <a:pt x="1040" y="503"/>
                    </a:lnTo>
                    <a:lnTo>
                      <a:pt x="1040" y="496"/>
                    </a:lnTo>
                    <a:lnTo>
                      <a:pt x="1042" y="490"/>
                    </a:lnTo>
                    <a:lnTo>
                      <a:pt x="1046" y="484"/>
                    </a:lnTo>
                    <a:lnTo>
                      <a:pt x="1050" y="477"/>
                    </a:lnTo>
                    <a:lnTo>
                      <a:pt x="1040" y="473"/>
                    </a:lnTo>
                    <a:lnTo>
                      <a:pt x="1030" y="472"/>
                    </a:lnTo>
                    <a:lnTo>
                      <a:pt x="1019" y="471"/>
                    </a:lnTo>
                    <a:lnTo>
                      <a:pt x="1009" y="471"/>
                    </a:lnTo>
                    <a:lnTo>
                      <a:pt x="1007" y="475"/>
                    </a:lnTo>
                    <a:lnTo>
                      <a:pt x="1004" y="477"/>
                    </a:lnTo>
                    <a:lnTo>
                      <a:pt x="999" y="479"/>
                    </a:lnTo>
                    <a:lnTo>
                      <a:pt x="994" y="480"/>
                    </a:lnTo>
                    <a:lnTo>
                      <a:pt x="984" y="480"/>
                    </a:lnTo>
                    <a:lnTo>
                      <a:pt x="972" y="479"/>
                    </a:lnTo>
                    <a:lnTo>
                      <a:pt x="961" y="477"/>
                    </a:lnTo>
                    <a:lnTo>
                      <a:pt x="949" y="477"/>
                    </a:lnTo>
                    <a:lnTo>
                      <a:pt x="943" y="477"/>
                    </a:lnTo>
                    <a:lnTo>
                      <a:pt x="939" y="478"/>
                    </a:lnTo>
                    <a:lnTo>
                      <a:pt x="934" y="480"/>
                    </a:lnTo>
                    <a:lnTo>
                      <a:pt x="930" y="483"/>
                    </a:lnTo>
                    <a:lnTo>
                      <a:pt x="924" y="489"/>
                    </a:lnTo>
                    <a:lnTo>
                      <a:pt x="916" y="495"/>
                    </a:lnTo>
                    <a:lnTo>
                      <a:pt x="908" y="500"/>
                    </a:lnTo>
                    <a:lnTo>
                      <a:pt x="900" y="505"/>
                    </a:lnTo>
                    <a:lnTo>
                      <a:pt x="882" y="513"/>
                    </a:lnTo>
                    <a:lnTo>
                      <a:pt x="864" y="522"/>
                    </a:lnTo>
                    <a:lnTo>
                      <a:pt x="857" y="526"/>
                    </a:lnTo>
                    <a:lnTo>
                      <a:pt x="849" y="532"/>
                    </a:lnTo>
                    <a:lnTo>
                      <a:pt x="841" y="538"/>
                    </a:lnTo>
                    <a:lnTo>
                      <a:pt x="836" y="545"/>
                    </a:lnTo>
                    <a:lnTo>
                      <a:pt x="830" y="553"/>
                    </a:lnTo>
                    <a:lnTo>
                      <a:pt x="827" y="564"/>
                    </a:lnTo>
                    <a:lnTo>
                      <a:pt x="825" y="575"/>
                    </a:lnTo>
                    <a:lnTo>
                      <a:pt x="824" y="588"/>
                    </a:lnTo>
                    <a:lnTo>
                      <a:pt x="810" y="584"/>
                    </a:lnTo>
                    <a:lnTo>
                      <a:pt x="797" y="581"/>
                    </a:lnTo>
                    <a:lnTo>
                      <a:pt x="791" y="581"/>
                    </a:lnTo>
                    <a:lnTo>
                      <a:pt x="784" y="582"/>
                    </a:lnTo>
                    <a:lnTo>
                      <a:pt x="778" y="584"/>
                    </a:lnTo>
                    <a:lnTo>
                      <a:pt x="771" y="588"/>
                    </a:lnTo>
                    <a:lnTo>
                      <a:pt x="758" y="582"/>
                    </a:lnTo>
                    <a:lnTo>
                      <a:pt x="740" y="575"/>
                    </a:lnTo>
                    <a:lnTo>
                      <a:pt x="732" y="571"/>
                    </a:lnTo>
                    <a:lnTo>
                      <a:pt x="724" y="566"/>
                    </a:lnTo>
                    <a:lnTo>
                      <a:pt x="716" y="562"/>
                    </a:lnTo>
                    <a:lnTo>
                      <a:pt x="711" y="556"/>
                    </a:lnTo>
                    <a:lnTo>
                      <a:pt x="711" y="526"/>
                    </a:lnTo>
                    <a:lnTo>
                      <a:pt x="721" y="526"/>
                    </a:lnTo>
                    <a:lnTo>
                      <a:pt x="730" y="526"/>
                    </a:lnTo>
                    <a:lnTo>
                      <a:pt x="738" y="526"/>
                    </a:lnTo>
                    <a:lnTo>
                      <a:pt x="744" y="526"/>
                    </a:lnTo>
                    <a:lnTo>
                      <a:pt x="740" y="516"/>
                    </a:lnTo>
                    <a:lnTo>
                      <a:pt x="736" y="507"/>
                    </a:lnTo>
                    <a:lnTo>
                      <a:pt x="730" y="499"/>
                    </a:lnTo>
                    <a:lnTo>
                      <a:pt x="723" y="493"/>
                    </a:lnTo>
                    <a:lnTo>
                      <a:pt x="714" y="488"/>
                    </a:lnTo>
                    <a:lnTo>
                      <a:pt x="704" y="485"/>
                    </a:lnTo>
                    <a:lnTo>
                      <a:pt x="692" y="483"/>
                    </a:lnTo>
                    <a:lnTo>
                      <a:pt x="678" y="483"/>
                    </a:lnTo>
                    <a:lnTo>
                      <a:pt x="668" y="483"/>
                    </a:lnTo>
                    <a:lnTo>
                      <a:pt x="656" y="483"/>
                    </a:lnTo>
                    <a:lnTo>
                      <a:pt x="643" y="483"/>
                    </a:lnTo>
                    <a:lnTo>
                      <a:pt x="624" y="483"/>
                    </a:lnTo>
                    <a:lnTo>
                      <a:pt x="627" y="487"/>
                    </a:lnTo>
                    <a:lnTo>
                      <a:pt x="632" y="491"/>
                    </a:lnTo>
                    <a:lnTo>
                      <a:pt x="636" y="495"/>
                    </a:lnTo>
                    <a:lnTo>
                      <a:pt x="640" y="498"/>
                    </a:lnTo>
                    <a:lnTo>
                      <a:pt x="645" y="501"/>
                    </a:lnTo>
                    <a:lnTo>
                      <a:pt x="648" y="506"/>
                    </a:lnTo>
                    <a:lnTo>
                      <a:pt x="650" y="510"/>
                    </a:lnTo>
                    <a:lnTo>
                      <a:pt x="651" y="514"/>
                    </a:lnTo>
                    <a:lnTo>
                      <a:pt x="650" y="519"/>
                    </a:lnTo>
                    <a:lnTo>
                      <a:pt x="649" y="523"/>
                    </a:lnTo>
                    <a:lnTo>
                      <a:pt x="648" y="525"/>
                    </a:lnTo>
                    <a:lnTo>
                      <a:pt x="646" y="528"/>
                    </a:lnTo>
                    <a:lnTo>
                      <a:pt x="643" y="530"/>
                    </a:lnTo>
                    <a:lnTo>
                      <a:pt x="638" y="532"/>
                    </a:lnTo>
                    <a:lnTo>
                      <a:pt x="647" y="541"/>
                    </a:lnTo>
                    <a:lnTo>
                      <a:pt x="656" y="550"/>
                    </a:lnTo>
                    <a:lnTo>
                      <a:pt x="661" y="554"/>
                    </a:lnTo>
                    <a:lnTo>
                      <a:pt x="668" y="557"/>
                    </a:lnTo>
                    <a:lnTo>
                      <a:pt x="676" y="561"/>
                    </a:lnTo>
                    <a:lnTo>
                      <a:pt x="684" y="564"/>
                    </a:lnTo>
                    <a:lnTo>
                      <a:pt x="684" y="619"/>
                    </a:lnTo>
                    <a:lnTo>
                      <a:pt x="677" y="619"/>
                    </a:lnTo>
                    <a:lnTo>
                      <a:pt x="665" y="619"/>
                    </a:lnTo>
                    <a:lnTo>
                      <a:pt x="659" y="610"/>
                    </a:lnTo>
                    <a:lnTo>
                      <a:pt x="654" y="604"/>
                    </a:lnTo>
                    <a:lnTo>
                      <a:pt x="647" y="599"/>
                    </a:lnTo>
                    <a:lnTo>
                      <a:pt x="639" y="595"/>
                    </a:lnTo>
                    <a:lnTo>
                      <a:pt x="623" y="589"/>
                    </a:lnTo>
                    <a:lnTo>
                      <a:pt x="604" y="582"/>
                    </a:lnTo>
                    <a:lnTo>
                      <a:pt x="602" y="585"/>
                    </a:lnTo>
                    <a:lnTo>
                      <a:pt x="599" y="589"/>
                    </a:lnTo>
                    <a:lnTo>
                      <a:pt x="594" y="593"/>
                    </a:lnTo>
                    <a:lnTo>
                      <a:pt x="588" y="597"/>
                    </a:lnTo>
                    <a:lnTo>
                      <a:pt x="575" y="606"/>
                    </a:lnTo>
                    <a:lnTo>
                      <a:pt x="559" y="615"/>
                    </a:lnTo>
                    <a:lnTo>
                      <a:pt x="544" y="624"/>
                    </a:lnTo>
                    <a:lnTo>
                      <a:pt x="531" y="631"/>
                    </a:lnTo>
                    <a:lnTo>
                      <a:pt x="525" y="635"/>
                    </a:lnTo>
                    <a:lnTo>
                      <a:pt x="522" y="638"/>
                    </a:lnTo>
                    <a:lnTo>
                      <a:pt x="519" y="641"/>
                    </a:lnTo>
                    <a:lnTo>
                      <a:pt x="519" y="643"/>
                    </a:lnTo>
                    <a:lnTo>
                      <a:pt x="519" y="647"/>
                    </a:lnTo>
                    <a:lnTo>
                      <a:pt x="520" y="651"/>
                    </a:lnTo>
                    <a:lnTo>
                      <a:pt x="521" y="655"/>
                    </a:lnTo>
                    <a:lnTo>
                      <a:pt x="523" y="658"/>
                    </a:lnTo>
                    <a:lnTo>
                      <a:pt x="528" y="663"/>
                    </a:lnTo>
                    <a:lnTo>
                      <a:pt x="536" y="667"/>
                    </a:lnTo>
                    <a:lnTo>
                      <a:pt x="543" y="673"/>
                    </a:lnTo>
                    <a:lnTo>
                      <a:pt x="549" y="678"/>
                    </a:lnTo>
                    <a:lnTo>
                      <a:pt x="551" y="681"/>
                    </a:lnTo>
                    <a:lnTo>
                      <a:pt x="555" y="685"/>
                    </a:lnTo>
                    <a:lnTo>
                      <a:pt x="557" y="688"/>
                    </a:lnTo>
                    <a:lnTo>
                      <a:pt x="558" y="693"/>
                    </a:lnTo>
                    <a:lnTo>
                      <a:pt x="471" y="693"/>
                    </a:lnTo>
                    <a:lnTo>
                      <a:pt x="467" y="705"/>
                    </a:lnTo>
                    <a:lnTo>
                      <a:pt x="464" y="721"/>
                    </a:lnTo>
                    <a:lnTo>
                      <a:pt x="460" y="730"/>
                    </a:lnTo>
                    <a:lnTo>
                      <a:pt x="457" y="736"/>
                    </a:lnTo>
                    <a:lnTo>
                      <a:pt x="454" y="739"/>
                    </a:lnTo>
                    <a:lnTo>
                      <a:pt x="452" y="740"/>
                    </a:lnTo>
                    <a:lnTo>
                      <a:pt x="448" y="742"/>
                    </a:lnTo>
                    <a:lnTo>
                      <a:pt x="445" y="742"/>
                    </a:lnTo>
                    <a:lnTo>
                      <a:pt x="433" y="742"/>
                    </a:lnTo>
                    <a:lnTo>
                      <a:pt x="420" y="741"/>
                    </a:lnTo>
                    <a:lnTo>
                      <a:pt x="407" y="739"/>
                    </a:lnTo>
                    <a:lnTo>
                      <a:pt x="393" y="736"/>
                    </a:lnTo>
                    <a:lnTo>
                      <a:pt x="380" y="733"/>
                    </a:lnTo>
                    <a:lnTo>
                      <a:pt x="367" y="729"/>
                    </a:lnTo>
                    <a:lnTo>
                      <a:pt x="355" y="723"/>
                    </a:lnTo>
                    <a:lnTo>
                      <a:pt x="344" y="718"/>
                    </a:lnTo>
                    <a:lnTo>
                      <a:pt x="333" y="711"/>
                    </a:lnTo>
                    <a:lnTo>
                      <a:pt x="323" y="704"/>
                    </a:lnTo>
                    <a:lnTo>
                      <a:pt x="314" y="696"/>
                    </a:lnTo>
                    <a:lnTo>
                      <a:pt x="307" y="687"/>
                    </a:lnTo>
                    <a:lnTo>
                      <a:pt x="301" y="678"/>
                    </a:lnTo>
                    <a:lnTo>
                      <a:pt x="296" y="666"/>
                    </a:lnTo>
                    <a:lnTo>
                      <a:pt x="293" y="655"/>
                    </a:lnTo>
                    <a:lnTo>
                      <a:pt x="292" y="643"/>
                    </a:lnTo>
                    <a:lnTo>
                      <a:pt x="289" y="636"/>
                    </a:lnTo>
                    <a:lnTo>
                      <a:pt x="286" y="625"/>
                    </a:lnTo>
                    <a:lnTo>
                      <a:pt x="273" y="622"/>
                    </a:lnTo>
                    <a:lnTo>
                      <a:pt x="254" y="616"/>
                    </a:lnTo>
                    <a:lnTo>
                      <a:pt x="232" y="609"/>
                    </a:lnTo>
                    <a:lnTo>
                      <a:pt x="209" y="601"/>
                    </a:lnTo>
                    <a:lnTo>
                      <a:pt x="188" y="592"/>
                    </a:lnTo>
                    <a:lnTo>
                      <a:pt x="169" y="582"/>
                    </a:lnTo>
                    <a:lnTo>
                      <a:pt x="163" y="578"/>
                    </a:lnTo>
                    <a:lnTo>
                      <a:pt x="157" y="573"/>
                    </a:lnTo>
                    <a:lnTo>
                      <a:pt x="154" y="568"/>
                    </a:lnTo>
                    <a:lnTo>
                      <a:pt x="153" y="564"/>
                    </a:lnTo>
                    <a:lnTo>
                      <a:pt x="162" y="567"/>
                    </a:lnTo>
                    <a:lnTo>
                      <a:pt x="183" y="574"/>
                    </a:lnTo>
                    <a:lnTo>
                      <a:pt x="211" y="582"/>
                    </a:lnTo>
                    <a:lnTo>
                      <a:pt x="244" y="590"/>
                    </a:lnTo>
                    <a:lnTo>
                      <a:pt x="277" y="598"/>
                    </a:lnTo>
                    <a:lnTo>
                      <a:pt x="308" y="605"/>
                    </a:lnTo>
                    <a:lnTo>
                      <a:pt x="332" y="610"/>
                    </a:lnTo>
                    <a:lnTo>
                      <a:pt x="345" y="612"/>
                    </a:lnTo>
                    <a:lnTo>
                      <a:pt x="368" y="612"/>
                    </a:lnTo>
                    <a:lnTo>
                      <a:pt x="390" y="612"/>
                    </a:lnTo>
                    <a:lnTo>
                      <a:pt x="414" y="612"/>
                    </a:lnTo>
                    <a:lnTo>
                      <a:pt x="445" y="612"/>
                    </a:lnTo>
                    <a:lnTo>
                      <a:pt x="454" y="612"/>
                    </a:lnTo>
                    <a:lnTo>
                      <a:pt x="461" y="611"/>
                    </a:lnTo>
                    <a:lnTo>
                      <a:pt x="469" y="609"/>
                    </a:lnTo>
                    <a:lnTo>
                      <a:pt x="477" y="607"/>
                    </a:lnTo>
                    <a:lnTo>
                      <a:pt x="490" y="601"/>
                    </a:lnTo>
                    <a:lnTo>
                      <a:pt x="502" y="594"/>
                    </a:lnTo>
                    <a:lnTo>
                      <a:pt x="514" y="585"/>
                    </a:lnTo>
                    <a:lnTo>
                      <a:pt x="524" y="576"/>
                    </a:lnTo>
                    <a:lnTo>
                      <a:pt x="535" y="567"/>
                    </a:lnTo>
                    <a:lnTo>
                      <a:pt x="545" y="556"/>
                    </a:lnTo>
                    <a:lnTo>
                      <a:pt x="536" y="547"/>
                    </a:lnTo>
                    <a:lnTo>
                      <a:pt x="527" y="536"/>
                    </a:lnTo>
                    <a:lnTo>
                      <a:pt x="523" y="531"/>
                    </a:lnTo>
                    <a:lnTo>
                      <a:pt x="517" y="527"/>
                    </a:lnTo>
                    <a:lnTo>
                      <a:pt x="512" y="523"/>
                    </a:lnTo>
                    <a:lnTo>
                      <a:pt x="505" y="520"/>
                    </a:lnTo>
                    <a:lnTo>
                      <a:pt x="500" y="518"/>
                    </a:lnTo>
                    <a:lnTo>
                      <a:pt x="484" y="511"/>
                    </a:lnTo>
                    <a:lnTo>
                      <a:pt x="459" y="499"/>
                    </a:lnTo>
                    <a:lnTo>
                      <a:pt x="424" y="487"/>
                    </a:lnTo>
                    <a:lnTo>
                      <a:pt x="403" y="481"/>
                    </a:lnTo>
                    <a:lnTo>
                      <a:pt x="379" y="475"/>
                    </a:lnTo>
                    <a:lnTo>
                      <a:pt x="352" y="469"/>
                    </a:lnTo>
                    <a:lnTo>
                      <a:pt x="323" y="463"/>
                    </a:lnTo>
                    <a:lnTo>
                      <a:pt x="291" y="458"/>
                    </a:lnTo>
                    <a:lnTo>
                      <a:pt x="256" y="453"/>
                    </a:lnTo>
                    <a:lnTo>
                      <a:pt x="219" y="449"/>
                    </a:lnTo>
                    <a:lnTo>
                      <a:pt x="179" y="446"/>
                    </a:lnTo>
                    <a:lnTo>
                      <a:pt x="172" y="446"/>
                    </a:lnTo>
                    <a:lnTo>
                      <a:pt x="165" y="445"/>
                    </a:lnTo>
                    <a:lnTo>
                      <a:pt x="158" y="444"/>
                    </a:lnTo>
                    <a:lnTo>
                      <a:pt x="152" y="442"/>
                    </a:lnTo>
                    <a:lnTo>
                      <a:pt x="150" y="440"/>
                    </a:lnTo>
                    <a:lnTo>
                      <a:pt x="146" y="438"/>
                    </a:lnTo>
                    <a:lnTo>
                      <a:pt x="144" y="436"/>
                    </a:lnTo>
                    <a:lnTo>
                      <a:pt x="143" y="433"/>
                    </a:lnTo>
                    <a:lnTo>
                      <a:pt x="141" y="425"/>
                    </a:lnTo>
                    <a:lnTo>
                      <a:pt x="140" y="415"/>
                    </a:lnTo>
                    <a:lnTo>
                      <a:pt x="120" y="420"/>
                    </a:lnTo>
                    <a:lnTo>
                      <a:pt x="99" y="425"/>
                    </a:lnTo>
                    <a:lnTo>
                      <a:pt x="77" y="431"/>
                    </a:lnTo>
                    <a:lnTo>
                      <a:pt x="53" y="439"/>
                    </a:lnTo>
                    <a:lnTo>
                      <a:pt x="50" y="441"/>
                    </a:lnTo>
                    <a:lnTo>
                      <a:pt x="43" y="445"/>
                    </a:lnTo>
                    <a:lnTo>
                      <a:pt x="40" y="446"/>
                    </a:lnTo>
                    <a:lnTo>
                      <a:pt x="37" y="448"/>
                    </a:lnTo>
                    <a:lnTo>
                      <a:pt x="34" y="448"/>
                    </a:lnTo>
                    <a:lnTo>
                      <a:pt x="33" y="446"/>
                    </a:lnTo>
                    <a:lnTo>
                      <a:pt x="0" y="483"/>
                    </a:lnTo>
                    <a:lnTo>
                      <a:pt x="4" y="488"/>
                    </a:lnTo>
                    <a:lnTo>
                      <a:pt x="8" y="493"/>
                    </a:lnTo>
                    <a:lnTo>
                      <a:pt x="13" y="498"/>
                    </a:lnTo>
                    <a:lnTo>
                      <a:pt x="18" y="503"/>
                    </a:lnTo>
                    <a:lnTo>
                      <a:pt x="29" y="509"/>
                    </a:lnTo>
                    <a:lnTo>
                      <a:pt x="40" y="515"/>
                    </a:lnTo>
                    <a:lnTo>
                      <a:pt x="62" y="524"/>
                    </a:lnTo>
                    <a:lnTo>
                      <a:pt x="79" y="532"/>
                    </a:lnTo>
                    <a:lnTo>
                      <a:pt x="77" y="540"/>
                    </a:lnTo>
                    <a:lnTo>
                      <a:pt x="74" y="547"/>
                    </a:lnTo>
                    <a:lnTo>
                      <a:pt x="71" y="552"/>
                    </a:lnTo>
                    <a:lnTo>
                      <a:pt x="67" y="556"/>
                    </a:lnTo>
                    <a:lnTo>
                      <a:pt x="64" y="562"/>
                    </a:lnTo>
                    <a:lnTo>
                      <a:pt x="62" y="567"/>
                    </a:lnTo>
                    <a:lnTo>
                      <a:pt x="61" y="574"/>
                    </a:lnTo>
                    <a:lnTo>
                      <a:pt x="60" y="582"/>
                    </a:lnTo>
                    <a:lnTo>
                      <a:pt x="61" y="589"/>
                    </a:lnTo>
                    <a:lnTo>
                      <a:pt x="65" y="597"/>
                    </a:lnTo>
                    <a:lnTo>
                      <a:pt x="71" y="605"/>
                    </a:lnTo>
                    <a:lnTo>
                      <a:pt x="77" y="614"/>
                    </a:lnTo>
                    <a:lnTo>
                      <a:pt x="84" y="621"/>
                    </a:lnTo>
                    <a:lnTo>
                      <a:pt x="90" y="626"/>
                    </a:lnTo>
                    <a:lnTo>
                      <a:pt x="96" y="630"/>
                    </a:lnTo>
                    <a:lnTo>
                      <a:pt x="99" y="631"/>
                    </a:lnTo>
                    <a:lnTo>
                      <a:pt x="100" y="647"/>
                    </a:lnTo>
                    <a:lnTo>
                      <a:pt x="102" y="662"/>
                    </a:lnTo>
                    <a:lnTo>
                      <a:pt x="106" y="677"/>
                    </a:lnTo>
                    <a:lnTo>
                      <a:pt x="111" y="689"/>
                    </a:lnTo>
                    <a:lnTo>
                      <a:pt x="117" y="700"/>
                    </a:lnTo>
                    <a:lnTo>
                      <a:pt x="123" y="710"/>
                    </a:lnTo>
                    <a:lnTo>
                      <a:pt x="131" y="719"/>
                    </a:lnTo>
                    <a:lnTo>
                      <a:pt x="140" y="728"/>
                    </a:lnTo>
                    <a:lnTo>
                      <a:pt x="149" y="736"/>
                    </a:lnTo>
                    <a:lnTo>
                      <a:pt x="158" y="743"/>
                    </a:lnTo>
                    <a:lnTo>
                      <a:pt x="168" y="750"/>
                    </a:lnTo>
                    <a:lnTo>
                      <a:pt x="178" y="756"/>
                    </a:lnTo>
                    <a:lnTo>
                      <a:pt x="199" y="767"/>
                    </a:lnTo>
                    <a:lnTo>
                      <a:pt x="219" y="778"/>
                    </a:lnTo>
                    <a:lnTo>
                      <a:pt x="184" y="815"/>
                    </a:lnTo>
                    <a:lnTo>
                      <a:pt x="146" y="856"/>
                    </a:lnTo>
                    <a:lnTo>
                      <a:pt x="128" y="875"/>
                    </a:lnTo>
                    <a:lnTo>
                      <a:pt x="109" y="892"/>
                    </a:lnTo>
                    <a:lnTo>
                      <a:pt x="100" y="899"/>
                    </a:lnTo>
                    <a:lnTo>
                      <a:pt x="90" y="905"/>
                    </a:lnTo>
                    <a:lnTo>
                      <a:pt x="82" y="910"/>
                    </a:lnTo>
                    <a:lnTo>
                      <a:pt x="73" y="914"/>
                    </a:lnTo>
                    <a:lnTo>
                      <a:pt x="74" y="917"/>
                    </a:lnTo>
                    <a:lnTo>
                      <a:pt x="75" y="920"/>
                    </a:lnTo>
                    <a:lnTo>
                      <a:pt x="77" y="923"/>
                    </a:lnTo>
                    <a:lnTo>
                      <a:pt x="80" y="926"/>
                    </a:lnTo>
                    <a:lnTo>
                      <a:pt x="88" y="934"/>
                    </a:lnTo>
                    <a:lnTo>
                      <a:pt x="96" y="942"/>
                    </a:lnTo>
                    <a:lnTo>
                      <a:pt x="105" y="951"/>
                    </a:lnTo>
                    <a:lnTo>
                      <a:pt x="112" y="958"/>
                    </a:lnTo>
                    <a:lnTo>
                      <a:pt x="118" y="965"/>
                    </a:lnTo>
                    <a:lnTo>
                      <a:pt x="120" y="970"/>
                    </a:lnTo>
                    <a:lnTo>
                      <a:pt x="116" y="976"/>
                    </a:lnTo>
                    <a:lnTo>
                      <a:pt x="112" y="981"/>
                    </a:lnTo>
                    <a:lnTo>
                      <a:pt x="110" y="987"/>
                    </a:lnTo>
                    <a:lnTo>
                      <a:pt x="109" y="993"/>
                    </a:lnTo>
                    <a:lnTo>
                      <a:pt x="109" y="1005"/>
                    </a:lnTo>
                    <a:lnTo>
                      <a:pt x="111" y="1017"/>
                    </a:lnTo>
                    <a:lnTo>
                      <a:pt x="113" y="1029"/>
                    </a:lnTo>
                    <a:lnTo>
                      <a:pt x="116" y="1042"/>
                    </a:lnTo>
                    <a:lnTo>
                      <a:pt x="117" y="1048"/>
                    </a:lnTo>
                    <a:lnTo>
                      <a:pt x="116" y="1054"/>
                    </a:lnTo>
                    <a:lnTo>
                      <a:pt x="114" y="1062"/>
                    </a:lnTo>
                    <a:lnTo>
                      <a:pt x="113" y="1069"/>
                    </a:lnTo>
                    <a:lnTo>
                      <a:pt x="120" y="1090"/>
                    </a:lnTo>
                    <a:lnTo>
                      <a:pt x="130" y="1115"/>
                    </a:lnTo>
                    <a:lnTo>
                      <a:pt x="142" y="1139"/>
                    </a:lnTo>
                    <a:lnTo>
                      <a:pt x="153" y="1160"/>
                    </a:lnTo>
                    <a:lnTo>
                      <a:pt x="192" y="1180"/>
                    </a:lnTo>
                    <a:lnTo>
                      <a:pt x="232" y="1180"/>
                    </a:lnTo>
                    <a:lnTo>
                      <a:pt x="240" y="1204"/>
                    </a:lnTo>
                    <a:lnTo>
                      <a:pt x="279" y="1192"/>
                    </a:lnTo>
                    <a:lnTo>
                      <a:pt x="312" y="1204"/>
                    </a:lnTo>
                    <a:lnTo>
                      <a:pt x="319" y="1253"/>
                    </a:lnTo>
                    <a:lnTo>
                      <a:pt x="365" y="1291"/>
                    </a:lnTo>
                    <a:lnTo>
                      <a:pt x="399" y="1309"/>
                    </a:lnTo>
                    <a:lnTo>
                      <a:pt x="425" y="1327"/>
                    </a:lnTo>
                    <a:lnTo>
                      <a:pt x="399" y="1346"/>
                    </a:lnTo>
                    <a:lnTo>
                      <a:pt x="352" y="1333"/>
                    </a:lnTo>
                    <a:lnTo>
                      <a:pt x="358" y="1358"/>
                    </a:lnTo>
                    <a:lnTo>
                      <a:pt x="373" y="1370"/>
                    </a:lnTo>
                    <a:lnTo>
                      <a:pt x="373" y="1401"/>
                    </a:lnTo>
                    <a:lnTo>
                      <a:pt x="365" y="1401"/>
                    </a:lnTo>
                  </a:path>
                </a:pathLst>
              </a:custGeom>
              <a:grpFill/>
              <a:ln w="9525" cap="flat" cmpd="sng">
                <a:solidFill>
                  <a:srgbClr val="FFFFFF"/>
                </a:solidFill>
                <a:prstDash val="solid"/>
                <a:round/>
                <a:headEnd type="none" w="med" len="med"/>
                <a:tailEnd type="none" w="med" len="med"/>
              </a:ln>
              <a:effectLst/>
            </p:spPr>
            <p:txBody>
              <a:bodyPr/>
              <a:lstStyle/>
              <a:p>
                <a:endParaRPr lang="en-GB" sz="1637"/>
              </a:p>
            </p:txBody>
          </p:sp>
          <p:sp>
            <p:nvSpPr>
              <p:cNvPr id="20" name="Freeform 32"/>
              <p:cNvSpPr>
                <a:spLocks/>
              </p:cNvSpPr>
              <p:nvPr>
                <p:custDataLst>
                  <p:tags r:id="rId3"/>
                </p:custDataLst>
              </p:nvPr>
            </p:nvSpPr>
            <p:spPr bwMode="auto">
              <a:xfrm>
                <a:off x="3983648" y="3492992"/>
                <a:ext cx="324068" cy="325956"/>
              </a:xfrm>
              <a:custGeom>
                <a:avLst/>
                <a:gdLst>
                  <a:gd name="T0" fmla="*/ 2655 w 671"/>
                  <a:gd name="T1" fmla="*/ 201563 h 549"/>
                  <a:gd name="T2" fmla="*/ 3539 w 671"/>
                  <a:gd name="T3" fmla="*/ 166303 h 549"/>
                  <a:gd name="T4" fmla="*/ 7521 w 671"/>
                  <a:gd name="T5" fmla="*/ 151041 h 549"/>
                  <a:gd name="T6" fmla="*/ 23006 w 671"/>
                  <a:gd name="T7" fmla="*/ 125253 h 549"/>
                  <a:gd name="T8" fmla="*/ 31412 w 671"/>
                  <a:gd name="T9" fmla="*/ 107886 h 549"/>
                  <a:gd name="T10" fmla="*/ 32297 w 671"/>
                  <a:gd name="T11" fmla="*/ 87888 h 549"/>
                  <a:gd name="T12" fmla="*/ 32297 w 671"/>
                  <a:gd name="T13" fmla="*/ 72100 h 549"/>
                  <a:gd name="T14" fmla="*/ 23891 w 671"/>
                  <a:gd name="T15" fmla="*/ 56838 h 549"/>
                  <a:gd name="T16" fmla="*/ 26988 w 671"/>
                  <a:gd name="T17" fmla="*/ 41576 h 549"/>
                  <a:gd name="T18" fmla="*/ 33624 w 671"/>
                  <a:gd name="T19" fmla="*/ 26314 h 549"/>
                  <a:gd name="T20" fmla="*/ 42472 w 671"/>
                  <a:gd name="T21" fmla="*/ 13157 h 549"/>
                  <a:gd name="T22" fmla="*/ 53090 w 671"/>
                  <a:gd name="T23" fmla="*/ 3684 h 549"/>
                  <a:gd name="T24" fmla="*/ 64593 w 671"/>
                  <a:gd name="T25" fmla="*/ 0 h 549"/>
                  <a:gd name="T26" fmla="*/ 76538 w 671"/>
                  <a:gd name="T27" fmla="*/ 2631 h 549"/>
                  <a:gd name="T28" fmla="*/ 91138 w 671"/>
                  <a:gd name="T29" fmla="*/ 13683 h 549"/>
                  <a:gd name="T30" fmla="*/ 104411 w 671"/>
                  <a:gd name="T31" fmla="*/ 23682 h 549"/>
                  <a:gd name="T32" fmla="*/ 114586 w 671"/>
                  <a:gd name="T33" fmla="*/ 26314 h 549"/>
                  <a:gd name="T34" fmla="*/ 120338 w 671"/>
                  <a:gd name="T35" fmla="*/ 23156 h 549"/>
                  <a:gd name="T36" fmla="*/ 125647 w 671"/>
                  <a:gd name="T37" fmla="*/ 18420 h 549"/>
                  <a:gd name="T38" fmla="*/ 132726 w 671"/>
                  <a:gd name="T39" fmla="*/ 16841 h 549"/>
                  <a:gd name="T40" fmla="*/ 140689 w 671"/>
                  <a:gd name="T41" fmla="*/ 20525 h 549"/>
                  <a:gd name="T42" fmla="*/ 149095 w 671"/>
                  <a:gd name="T43" fmla="*/ 34208 h 549"/>
                  <a:gd name="T44" fmla="*/ 156174 w 671"/>
                  <a:gd name="T45" fmla="*/ 41576 h 549"/>
                  <a:gd name="T46" fmla="*/ 163695 w 671"/>
                  <a:gd name="T47" fmla="*/ 42628 h 549"/>
                  <a:gd name="T48" fmla="*/ 168562 w 671"/>
                  <a:gd name="T49" fmla="*/ 39471 h 549"/>
                  <a:gd name="T50" fmla="*/ 175640 w 671"/>
                  <a:gd name="T51" fmla="*/ 29471 h 549"/>
                  <a:gd name="T52" fmla="*/ 185373 w 671"/>
                  <a:gd name="T53" fmla="*/ 19998 h 549"/>
                  <a:gd name="T54" fmla="*/ 202628 w 671"/>
                  <a:gd name="T55" fmla="*/ 11578 h 549"/>
                  <a:gd name="T56" fmla="*/ 215458 w 671"/>
                  <a:gd name="T57" fmla="*/ 13157 h 549"/>
                  <a:gd name="T58" fmla="*/ 226076 w 671"/>
                  <a:gd name="T59" fmla="*/ 18420 h 549"/>
                  <a:gd name="T60" fmla="*/ 237579 w 671"/>
                  <a:gd name="T61" fmla="*/ 22630 h 549"/>
                  <a:gd name="T62" fmla="*/ 252621 w 671"/>
                  <a:gd name="T63" fmla="*/ 20525 h 549"/>
                  <a:gd name="T64" fmla="*/ 285803 w 671"/>
                  <a:gd name="T65" fmla="*/ 35260 h 549"/>
                  <a:gd name="T66" fmla="*/ 294208 w 671"/>
                  <a:gd name="T67" fmla="*/ 55259 h 549"/>
                  <a:gd name="T68" fmla="*/ 275627 w 671"/>
                  <a:gd name="T69" fmla="*/ 96308 h 549"/>
                  <a:gd name="T70" fmla="*/ 262354 w 671"/>
                  <a:gd name="T71" fmla="*/ 122622 h 549"/>
                  <a:gd name="T72" fmla="*/ 252179 w 671"/>
                  <a:gd name="T73" fmla="*/ 153146 h 549"/>
                  <a:gd name="T74" fmla="*/ 243330 w 671"/>
                  <a:gd name="T75" fmla="*/ 180512 h 549"/>
                  <a:gd name="T76" fmla="*/ 232270 w 671"/>
                  <a:gd name="T77" fmla="*/ 214194 h 549"/>
                  <a:gd name="T78" fmla="*/ 228288 w 671"/>
                  <a:gd name="T79" fmla="*/ 222088 h 549"/>
                  <a:gd name="T80" fmla="*/ 221209 w 671"/>
                  <a:gd name="T81" fmla="*/ 231035 h 549"/>
                  <a:gd name="T82" fmla="*/ 213246 w 671"/>
                  <a:gd name="T83" fmla="*/ 233140 h 549"/>
                  <a:gd name="T84" fmla="*/ 203070 w 671"/>
                  <a:gd name="T85" fmla="*/ 227351 h 549"/>
                  <a:gd name="T86" fmla="*/ 194664 w 671"/>
                  <a:gd name="T87" fmla="*/ 221562 h 549"/>
                  <a:gd name="T88" fmla="*/ 180507 w 671"/>
                  <a:gd name="T89" fmla="*/ 223141 h 549"/>
                  <a:gd name="T90" fmla="*/ 168562 w 671"/>
                  <a:gd name="T91" fmla="*/ 232087 h 549"/>
                  <a:gd name="T92" fmla="*/ 161040 w 671"/>
                  <a:gd name="T93" fmla="*/ 246823 h 549"/>
                  <a:gd name="T94" fmla="*/ 151307 w 671"/>
                  <a:gd name="T95" fmla="*/ 274189 h 549"/>
                  <a:gd name="T96" fmla="*/ 143786 w 671"/>
                  <a:gd name="T97" fmla="*/ 288925 h 549"/>
                  <a:gd name="T98" fmla="*/ 101314 w 671"/>
                  <a:gd name="T99" fmla="*/ 287346 h 549"/>
                  <a:gd name="T100" fmla="*/ 96005 w 671"/>
                  <a:gd name="T101" fmla="*/ 288399 h 549"/>
                  <a:gd name="T102" fmla="*/ 79193 w 671"/>
                  <a:gd name="T103" fmla="*/ 285767 h 549"/>
                  <a:gd name="T104" fmla="*/ 71229 w 671"/>
                  <a:gd name="T105" fmla="*/ 284189 h 549"/>
                  <a:gd name="T106" fmla="*/ 63708 w 671"/>
                  <a:gd name="T107" fmla="*/ 279452 h 549"/>
                  <a:gd name="T108" fmla="*/ 57072 w 671"/>
                  <a:gd name="T109" fmla="*/ 271032 h 549"/>
                  <a:gd name="T110" fmla="*/ 52648 w 671"/>
                  <a:gd name="T111" fmla="*/ 261032 h 549"/>
                  <a:gd name="T112" fmla="*/ 49993 w 671"/>
                  <a:gd name="T113" fmla="*/ 248402 h 549"/>
                  <a:gd name="T114" fmla="*/ 44242 w 671"/>
                  <a:gd name="T115" fmla="*/ 242087 h 549"/>
                  <a:gd name="T116" fmla="*/ 36721 w 671"/>
                  <a:gd name="T117" fmla="*/ 235245 h 549"/>
                  <a:gd name="T118" fmla="*/ 27872 w 671"/>
                  <a:gd name="T119" fmla="*/ 227351 h 549"/>
                  <a:gd name="T120" fmla="*/ 17254 w 671"/>
                  <a:gd name="T121" fmla="*/ 225772 h 549"/>
                  <a:gd name="T122" fmla="*/ 0 w 671"/>
                  <a:gd name="T123" fmla="*/ 230508 h 54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671" h="549">
                    <a:moveTo>
                      <a:pt x="0" y="438"/>
                    </a:moveTo>
                    <a:lnTo>
                      <a:pt x="4" y="405"/>
                    </a:lnTo>
                    <a:lnTo>
                      <a:pt x="6" y="383"/>
                    </a:lnTo>
                    <a:lnTo>
                      <a:pt x="7" y="360"/>
                    </a:lnTo>
                    <a:lnTo>
                      <a:pt x="7" y="327"/>
                    </a:lnTo>
                    <a:lnTo>
                      <a:pt x="8" y="316"/>
                    </a:lnTo>
                    <a:lnTo>
                      <a:pt x="9" y="306"/>
                    </a:lnTo>
                    <a:lnTo>
                      <a:pt x="12" y="296"/>
                    </a:lnTo>
                    <a:lnTo>
                      <a:pt x="17" y="287"/>
                    </a:lnTo>
                    <a:lnTo>
                      <a:pt x="28" y="270"/>
                    </a:lnTo>
                    <a:lnTo>
                      <a:pt x="40" y="254"/>
                    </a:lnTo>
                    <a:lnTo>
                      <a:pt x="52" y="238"/>
                    </a:lnTo>
                    <a:lnTo>
                      <a:pt x="63" y="222"/>
                    </a:lnTo>
                    <a:lnTo>
                      <a:pt x="67" y="214"/>
                    </a:lnTo>
                    <a:lnTo>
                      <a:pt x="71" y="205"/>
                    </a:lnTo>
                    <a:lnTo>
                      <a:pt x="73" y="196"/>
                    </a:lnTo>
                    <a:lnTo>
                      <a:pt x="73" y="185"/>
                    </a:lnTo>
                    <a:lnTo>
                      <a:pt x="73" y="167"/>
                    </a:lnTo>
                    <a:lnTo>
                      <a:pt x="73" y="156"/>
                    </a:lnTo>
                    <a:lnTo>
                      <a:pt x="73" y="148"/>
                    </a:lnTo>
                    <a:lnTo>
                      <a:pt x="73" y="137"/>
                    </a:lnTo>
                    <a:lnTo>
                      <a:pt x="63" y="126"/>
                    </a:lnTo>
                    <a:lnTo>
                      <a:pt x="53" y="117"/>
                    </a:lnTo>
                    <a:lnTo>
                      <a:pt x="54" y="108"/>
                    </a:lnTo>
                    <a:lnTo>
                      <a:pt x="55" y="99"/>
                    </a:lnTo>
                    <a:lnTo>
                      <a:pt x="57" y="89"/>
                    </a:lnTo>
                    <a:lnTo>
                      <a:pt x="61" y="79"/>
                    </a:lnTo>
                    <a:lnTo>
                      <a:pt x="65" y="68"/>
                    </a:lnTo>
                    <a:lnTo>
                      <a:pt x="71" y="59"/>
                    </a:lnTo>
                    <a:lnTo>
                      <a:pt x="76" y="50"/>
                    </a:lnTo>
                    <a:lnTo>
                      <a:pt x="83" y="41"/>
                    </a:lnTo>
                    <a:lnTo>
                      <a:pt x="89" y="33"/>
                    </a:lnTo>
                    <a:lnTo>
                      <a:pt x="96" y="25"/>
                    </a:lnTo>
                    <a:lnTo>
                      <a:pt x="104" y="17"/>
                    </a:lnTo>
                    <a:lnTo>
                      <a:pt x="112" y="12"/>
                    </a:lnTo>
                    <a:lnTo>
                      <a:pt x="120" y="7"/>
                    </a:lnTo>
                    <a:lnTo>
                      <a:pt x="129" y="3"/>
                    </a:lnTo>
                    <a:lnTo>
                      <a:pt x="138" y="1"/>
                    </a:lnTo>
                    <a:lnTo>
                      <a:pt x="146" y="0"/>
                    </a:lnTo>
                    <a:lnTo>
                      <a:pt x="156" y="1"/>
                    </a:lnTo>
                    <a:lnTo>
                      <a:pt x="164" y="3"/>
                    </a:lnTo>
                    <a:lnTo>
                      <a:pt x="173" y="5"/>
                    </a:lnTo>
                    <a:lnTo>
                      <a:pt x="179" y="8"/>
                    </a:lnTo>
                    <a:lnTo>
                      <a:pt x="194" y="16"/>
                    </a:lnTo>
                    <a:lnTo>
                      <a:pt x="206" y="26"/>
                    </a:lnTo>
                    <a:lnTo>
                      <a:pt x="217" y="35"/>
                    </a:lnTo>
                    <a:lnTo>
                      <a:pt x="230" y="42"/>
                    </a:lnTo>
                    <a:lnTo>
                      <a:pt x="236" y="45"/>
                    </a:lnTo>
                    <a:lnTo>
                      <a:pt x="243" y="48"/>
                    </a:lnTo>
                    <a:lnTo>
                      <a:pt x="251" y="49"/>
                    </a:lnTo>
                    <a:lnTo>
                      <a:pt x="259" y="50"/>
                    </a:lnTo>
                    <a:lnTo>
                      <a:pt x="264" y="49"/>
                    </a:lnTo>
                    <a:lnTo>
                      <a:pt x="268" y="47"/>
                    </a:lnTo>
                    <a:lnTo>
                      <a:pt x="272" y="44"/>
                    </a:lnTo>
                    <a:lnTo>
                      <a:pt x="276" y="41"/>
                    </a:lnTo>
                    <a:lnTo>
                      <a:pt x="279" y="37"/>
                    </a:lnTo>
                    <a:lnTo>
                      <a:pt x="284" y="35"/>
                    </a:lnTo>
                    <a:lnTo>
                      <a:pt x="288" y="32"/>
                    </a:lnTo>
                    <a:lnTo>
                      <a:pt x="292" y="32"/>
                    </a:lnTo>
                    <a:lnTo>
                      <a:pt x="300" y="32"/>
                    </a:lnTo>
                    <a:lnTo>
                      <a:pt x="308" y="34"/>
                    </a:lnTo>
                    <a:lnTo>
                      <a:pt x="313" y="36"/>
                    </a:lnTo>
                    <a:lnTo>
                      <a:pt x="318" y="39"/>
                    </a:lnTo>
                    <a:lnTo>
                      <a:pt x="325" y="47"/>
                    </a:lnTo>
                    <a:lnTo>
                      <a:pt x="332" y="56"/>
                    </a:lnTo>
                    <a:lnTo>
                      <a:pt x="337" y="65"/>
                    </a:lnTo>
                    <a:lnTo>
                      <a:pt x="344" y="73"/>
                    </a:lnTo>
                    <a:lnTo>
                      <a:pt x="348" y="76"/>
                    </a:lnTo>
                    <a:lnTo>
                      <a:pt x="353" y="79"/>
                    </a:lnTo>
                    <a:lnTo>
                      <a:pt x="358" y="81"/>
                    </a:lnTo>
                    <a:lnTo>
                      <a:pt x="366" y="81"/>
                    </a:lnTo>
                    <a:lnTo>
                      <a:pt x="370" y="81"/>
                    </a:lnTo>
                    <a:lnTo>
                      <a:pt x="375" y="80"/>
                    </a:lnTo>
                    <a:lnTo>
                      <a:pt x="378" y="77"/>
                    </a:lnTo>
                    <a:lnTo>
                      <a:pt x="381" y="75"/>
                    </a:lnTo>
                    <a:lnTo>
                      <a:pt x="387" y="70"/>
                    </a:lnTo>
                    <a:lnTo>
                      <a:pt x="392" y="63"/>
                    </a:lnTo>
                    <a:lnTo>
                      <a:pt x="397" y="56"/>
                    </a:lnTo>
                    <a:lnTo>
                      <a:pt x="403" y="49"/>
                    </a:lnTo>
                    <a:lnTo>
                      <a:pt x="410" y="43"/>
                    </a:lnTo>
                    <a:lnTo>
                      <a:pt x="419" y="38"/>
                    </a:lnTo>
                    <a:lnTo>
                      <a:pt x="433" y="30"/>
                    </a:lnTo>
                    <a:lnTo>
                      <a:pt x="446" y="25"/>
                    </a:lnTo>
                    <a:lnTo>
                      <a:pt x="458" y="22"/>
                    </a:lnTo>
                    <a:lnTo>
                      <a:pt x="468" y="21"/>
                    </a:lnTo>
                    <a:lnTo>
                      <a:pt x="478" y="22"/>
                    </a:lnTo>
                    <a:lnTo>
                      <a:pt x="487" y="25"/>
                    </a:lnTo>
                    <a:lnTo>
                      <a:pt x="496" y="28"/>
                    </a:lnTo>
                    <a:lnTo>
                      <a:pt x="503" y="31"/>
                    </a:lnTo>
                    <a:lnTo>
                      <a:pt x="511" y="35"/>
                    </a:lnTo>
                    <a:lnTo>
                      <a:pt x="520" y="38"/>
                    </a:lnTo>
                    <a:lnTo>
                      <a:pt x="528" y="41"/>
                    </a:lnTo>
                    <a:lnTo>
                      <a:pt x="537" y="43"/>
                    </a:lnTo>
                    <a:lnTo>
                      <a:pt x="547" y="43"/>
                    </a:lnTo>
                    <a:lnTo>
                      <a:pt x="559" y="42"/>
                    </a:lnTo>
                    <a:lnTo>
                      <a:pt x="571" y="39"/>
                    </a:lnTo>
                    <a:lnTo>
                      <a:pt x="586" y="33"/>
                    </a:lnTo>
                    <a:lnTo>
                      <a:pt x="632" y="74"/>
                    </a:lnTo>
                    <a:lnTo>
                      <a:pt x="646" y="67"/>
                    </a:lnTo>
                    <a:lnTo>
                      <a:pt x="651" y="81"/>
                    </a:lnTo>
                    <a:lnTo>
                      <a:pt x="658" y="93"/>
                    </a:lnTo>
                    <a:lnTo>
                      <a:pt x="665" y="105"/>
                    </a:lnTo>
                    <a:lnTo>
                      <a:pt x="671" y="117"/>
                    </a:lnTo>
                    <a:lnTo>
                      <a:pt x="646" y="152"/>
                    </a:lnTo>
                    <a:lnTo>
                      <a:pt x="623" y="183"/>
                    </a:lnTo>
                    <a:lnTo>
                      <a:pt x="612" y="199"/>
                    </a:lnTo>
                    <a:lnTo>
                      <a:pt x="602" y="216"/>
                    </a:lnTo>
                    <a:lnTo>
                      <a:pt x="593" y="233"/>
                    </a:lnTo>
                    <a:lnTo>
                      <a:pt x="584" y="254"/>
                    </a:lnTo>
                    <a:lnTo>
                      <a:pt x="578" y="273"/>
                    </a:lnTo>
                    <a:lnTo>
                      <a:pt x="570" y="291"/>
                    </a:lnTo>
                    <a:lnTo>
                      <a:pt x="564" y="309"/>
                    </a:lnTo>
                    <a:lnTo>
                      <a:pt x="557" y="326"/>
                    </a:lnTo>
                    <a:lnTo>
                      <a:pt x="550" y="343"/>
                    </a:lnTo>
                    <a:lnTo>
                      <a:pt x="543" y="363"/>
                    </a:lnTo>
                    <a:lnTo>
                      <a:pt x="534" y="383"/>
                    </a:lnTo>
                    <a:lnTo>
                      <a:pt x="525" y="407"/>
                    </a:lnTo>
                    <a:lnTo>
                      <a:pt x="524" y="410"/>
                    </a:lnTo>
                    <a:lnTo>
                      <a:pt x="521" y="416"/>
                    </a:lnTo>
                    <a:lnTo>
                      <a:pt x="516" y="422"/>
                    </a:lnTo>
                    <a:lnTo>
                      <a:pt x="511" y="428"/>
                    </a:lnTo>
                    <a:lnTo>
                      <a:pt x="505" y="434"/>
                    </a:lnTo>
                    <a:lnTo>
                      <a:pt x="500" y="439"/>
                    </a:lnTo>
                    <a:lnTo>
                      <a:pt x="496" y="443"/>
                    </a:lnTo>
                    <a:lnTo>
                      <a:pt x="492" y="444"/>
                    </a:lnTo>
                    <a:lnTo>
                      <a:pt x="482" y="443"/>
                    </a:lnTo>
                    <a:lnTo>
                      <a:pt x="474" y="440"/>
                    </a:lnTo>
                    <a:lnTo>
                      <a:pt x="466" y="436"/>
                    </a:lnTo>
                    <a:lnTo>
                      <a:pt x="459" y="432"/>
                    </a:lnTo>
                    <a:lnTo>
                      <a:pt x="453" y="428"/>
                    </a:lnTo>
                    <a:lnTo>
                      <a:pt x="446" y="424"/>
                    </a:lnTo>
                    <a:lnTo>
                      <a:pt x="440" y="421"/>
                    </a:lnTo>
                    <a:lnTo>
                      <a:pt x="432" y="420"/>
                    </a:lnTo>
                    <a:lnTo>
                      <a:pt x="419" y="421"/>
                    </a:lnTo>
                    <a:lnTo>
                      <a:pt x="408" y="424"/>
                    </a:lnTo>
                    <a:lnTo>
                      <a:pt x="398" y="428"/>
                    </a:lnTo>
                    <a:lnTo>
                      <a:pt x="389" y="434"/>
                    </a:lnTo>
                    <a:lnTo>
                      <a:pt x="381" y="441"/>
                    </a:lnTo>
                    <a:lnTo>
                      <a:pt x="375" y="449"/>
                    </a:lnTo>
                    <a:lnTo>
                      <a:pt x="369" y="458"/>
                    </a:lnTo>
                    <a:lnTo>
                      <a:pt x="364" y="469"/>
                    </a:lnTo>
                    <a:lnTo>
                      <a:pt x="355" y="489"/>
                    </a:lnTo>
                    <a:lnTo>
                      <a:pt x="346" y="510"/>
                    </a:lnTo>
                    <a:lnTo>
                      <a:pt x="342" y="521"/>
                    </a:lnTo>
                    <a:lnTo>
                      <a:pt x="336" y="531"/>
                    </a:lnTo>
                    <a:lnTo>
                      <a:pt x="332" y="541"/>
                    </a:lnTo>
                    <a:lnTo>
                      <a:pt x="325" y="549"/>
                    </a:lnTo>
                    <a:lnTo>
                      <a:pt x="233" y="543"/>
                    </a:lnTo>
                    <a:lnTo>
                      <a:pt x="231" y="545"/>
                    </a:lnTo>
                    <a:lnTo>
                      <a:pt x="229" y="546"/>
                    </a:lnTo>
                    <a:lnTo>
                      <a:pt x="227" y="547"/>
                    </a:lnTo>
                    <a:lnTo>
                      <a:pt x="223" y="548"/>
                    </a:lnTo>
                    <a:lnTo>
                      <a:pt x="217" y="548"/>
                    </a:lnTo>
                    <a:lnTo>
                      <a:pt x="209" y="547"/>
                    </a:lnTo>
                    <a:lnTo>
                      <a:pt x="193" y="545"/>
                    </a:lnTo>
                    <a:lnTo>
                      <a:pt x="179" y="543"/>
                    </a:lnTo>
                    <a:lnTo>
                      <a:pt x="173" y="543"/>
                    </a:lnTo>
                    <a:lnTo>
                      <a:pt x="167" y="542"/>
                    </a:lnTo>
                    <a:lnTo>
                      <a:pt x="161" y="540"/>
                    </a:lnTo>
                    <a:lnTo>
                      <a:pt x="155" y="537"/>
                    </a:lnTo>
                    <a:lnTo>
                      <a:pt x="150" y="534"/>
                    </a:lnTo>
                    <a:lnTo>
                      <a:pt x="144" y="531"/>
                    </a:lnTo>
                    <a:lnTo>
                      <a:pt x="139" y="527"/>
                    </a:lnTo>
                    <a:lnTo>
                      <a:pt x="134" y="521"/>
                    </a:lnTo>
                    <a:lnTo>
                      <a:pt x="129" y="515"/>
                    </a:lnTo>
                    <a:lnTo>
                      <a:pt x="126" y="509"/>
                    </a:lnTo>
                    <a:lnTo>
                      <a:pt x="122" y="503"/>
                    </a:lnTo>
                    <a:lnTo>
                      <a:pt x="119" y="496"/>
                    </a:lnTo>
                    <a:lnTo>
                      <a:pt x="117" y="489"/>
                    </a:lnTo>
                    <a:lnTo>
                      <a:pt x="115" y="481"/>
                    </a:lnTo>
                    <a:lnTo>
                      <a:pt x="113" y="472"/>
                    </a:lnTo>
                    <a:lnTo>
                      <a:pt x="113" y="462"/>
                    </a:lnTo>
                    <a:lnTo>
                      <a:pt x="106" y="462"/>
                    </a:lnTo>
                    <a:lnTo>
                      <a:pt x="100" y="460"/>
                    </a:lnTo>
                    <a:lnTo>
                      <a:pt x="95" y="457"/>
                    </a:lnTo>
                    <a:lnTo>
                      <a:pt x="90" y="454"/>
                    </a:lnTo>
                    <a:lnTo>
                      <a:pt x="83" y="447"/>
                    </a:lnTo>
                    <a:lnTo>
                      <a:pt x="74" y="439"/>
                    </a:lnTo>
                    <a:lnTo>
                      <a:pt x="70" y="435"/>
                    </a:lnTo>
                    <a:lnTo>
                      <a:pt x="63" y="432"/>
                    </a:lnTo>
                    <a:lnTo>
                      <a:pt x="56" y="430"/>
                    </a:lnTo>
                    <a:lnTo>
                      <a:pt x="49" y="429"/>
                    </a:lnTo>
                    <a:lnTo>
                      <a:pt x="39" y="429"/>
                    </a:lnTo>
                    <a:lnTo>
                      <a:pt x="28" y="430"/>
                    </a:lnTo>
                    <a:lnTo>
                      <a:pt x="15" y="433"/>
                    </a:lnTo>
                    <a:lnTo>
                      <a:pt x="0" y="438"/>
                    </a:lnTo>
                  </a:path>
                </a:pathLst>
              </a:custGeom>
              <a:grpFill/>
              <a:ln w="9525" cmpd="sng">
                <a:solidFill>
                  <a:srgbClr val="FFFFFF"/>
                </a:solidFill>
                <a:prstDash val="solid"/>
                <a:round/>
                <a:headEnd/>
                <a:tailEnd/>
              </a:ln>
            </p:spPr>
            <p:txBody>
              <a:bodyPr/>
              <a:lstStyle/>
              <a:p>
                <a:endParaRPr lang="en-GB" sz="1637"/>
              </a:p>
            </p:txBody>
          </p:sp>
          <p:sp>
            <p:nvSpPr>
              <p:cNvPr id="21" name="Freeform 33"/>
              <p:cNvSpPr>
                <a:spLocks/>
              </p:cNvSpPr>
              <p:nvPr>
                <p:custDataLst>
                  <p:tags r:id="rId4"/>
                </p:custDataLst>
              </p:nvPr>
            </p:nvSpPr>
            <p:spPr bwMode="auto">
              <a:xfrm>
                <a:off x="4903861" y="3340761"/>
                <a:ext cx="166366" cy="191633"/>
              </a:xfrm>
              <a:custGeom>
                <a:avLst/>
                <a:gdLst>
                  <a:gd name="T0" fmla="*/ 138778 w 358"/>
                  <a:gd name="T1" fmla="*/ 168304 h 327"/>
                  <a:gd name="T2" fmla="*/ 140906 w 358"/>
                  <a:gd name="T3" fmla="*/ 166745 h 327"/>
                  <a:gd name="T4" fmla="*/ 143460 w 358"/>
                  <a:gd name="T5" fmla="*/ 165187 h 327"/>
                  <a:gd name="T6" fmla="*/ 147292 w 358"/>
                  <a:gd name="T7" fmla="*/ 165187 h 327"/>
                  <a:gd name="T8" fmla="*/ 151549 w 358"/>
                  <a:gd name="T9" fmla="*/ 168304 h 327"/>
                  <a:gd name="T10" fmla="*/ 135798 w 358"/>
                  <a:gd name="T11" fmla="*/ 148045 h 327"/>
                  <a:gd name="T12" fmla="*/ 118344 w 358"/>
                  <a:gd name="T13" fmla="*/ 122072 h 327"/>
                  <a:gd name="T14" fmla="*/ 107702 w 358"/>
                  <a:gd name="T15" fmla="*/ 105969 h 327"/>
                  <a:gd name="T16" fmla="*/ 98762 w 358"/>
                  <a:gd name="T17" fmla="*/ 96619 h 327"/>
                  <a:gd name="T18" fmla="*/ 93228 w 358"/>
                  <a:gd name="T19" fmla="*/ 94021 h 327"/>
                  <a:gd name="T20" fmla="*/ 88545 w 358"/>
                  <a:gd name="T21" fmla="*/ 93502 h 327"/>
                  <a:gd name="T22" fmla="*/ 85565 w 358"/>
                  <a:gd name="T23" fmla="*/ 92983 h 327"/>
                  <a:gd name="T24" fmla="*/ 84714 w 358"/>
                  <a:gd name="T25" fmla="*/ 90385 h 327"/>
                  <a:gd name="T26" fmla="*/ 84288 w 358"/>
                  <a:gd name="T27" fmla="*/ 88307 h 327"/>
                  <a:gd name="T28" fmla="*/ 83011 w 358"/>
                  <a:gd name="T29" fmla="*/ 87788 h 327"/>
                  <a:gd name="T30" fmla="*/ 78328 w 358"/>
                  <a:gd name="T31" fmla="*/ 89346 h 327"/>
                  <a:gd name="T32" fmla="*/ 72794 w 358"/>
                  <a:gd name="T33" fmla="*/ 89346 h 327"/>
                  <a:gd name="T34" fmla="*/ 70240 w 358"/>
                  <a:gd name="T35" fmla="*/ 87269 h 327"/>
                  <a:gd name="T36" fmla="*/ 68112 w 358"/>
                  <a:gd name="T37" fmla="*/ 83632 h 327"/>
                  <a:gd name="T38" fmla="*/ 64706 w 358"/>
                  <a:gd name="T39" fmla="*/ 74802 h 327"/>
                  <a:gd name="T40" fmla="*/ 60875 w 358"/>
                  <a:gd name="T41" fmla="*/ 68049 h 327"/>
                  <a:gd name="T42" fmla="*/ 56618 w 358"/>
                  <a:gd name="T43" fmla="*/ 61815 h 327"/>
                  <a:gd name="T44" fmla="*/ 54064 w 358"/>
                  <a:gd name="T45" fmla="*/ 54543 h 327"/>
                  <a:gd name="T46" fmla="*/ 51935 w 358"/>
                  <a:gd name="T47" fmla="*/ 43634 h 327"/>
                  <a:gd name="T48" fmla="*/ 50658 w 358"/>
                  <a:gd name="T49" fmla="*/ 27531 h 327"/>
                  <a:gd name="T50" fmla="*/ 49807 w 358"/>
                  <a:gd name="T51" fmla="*/ 11947 h 327"/>
                  <a:gd name="T52" fmla="*/ 47678 w 358"/>
                  <a:gd name="T53" fmla="*/ 0 h 327"/>
                  <a:gd name="T54" fmla="*/ 31076 w 358"/>
                  <a:gd name="T55" fmla="*/ 13506 h 327"/>
                  <a:gd name="T56" fmla="*/ 25968 w 358"/>
                  <a:gd name="T57" fmla="*/ 17142 h 327"/>
                  <a:gd name="T58" fmla="*/ 14048 w 358"/>
                  <a:gd name="T59" fmla="*/ 25973 h 327"/>
                  <a:gd name="T60" fmla="*/ 8940 w 358"/>
                  <a:gd name="T61" fmla="*/ 31687 h 327"/>
                  <a:gd name="T62" fmla="*/ 7237 w 358"/>
                  <a:gd name="T63" fmla="*/ 37401 h 327"/>
                  <a:gd name="T64" fmla="*/ 6811 w 358"/>
                  <a:gd name="T65" fmla="*/ 43115 h 327"/>
                  <a:gd name="T66" fmla="*/ 8514 w 358"/>
                  <a:gd name="T67" fmla="*/ 48309 h 327"/>
                  <a:gd name="T68" fmla="*/ 9365 w 358"/>
                  <a:gd name="T69" fmla="*/ 51946 h 327"/>
                  <a:gd name="T70" fmla="*/ 8514 w 358"/>
                  <a:gd name="T71" fmla="*/ 57140 h 327"/>
                  <a:gd name="T72" fmla="*/ 6385 w 358"/>
                  <a:gd name="T73" fmla="*/ 63893 h 327"/>
                  <a:gd name="T74" fmla="*/ 2980 w 358"/>
                  <a:gd name="T75" fmla="*/ 70646 h 327"/>
                  <a:gd name="T76" fmla="*/ 0 w 358"/>
                  <a:gd name="T77" fmla="*/ 80516 h 327"/>
                  <a:gd name="T78" fmla="*/ 0 w 358"/>
                  <a:gd name="T79" fmla="*/ 90385 h 327"/>
                  <a:gd name="T80" fmla="*/ 2128 w 358"/>
                  <a:gd name="T81" fmla="*/ 94541 h 327"/>
                  <a:gd name="T82" fmla="*/ 4683 w 358"/>
                  <a:gd name="T83" fmla="*/ 97138 h 327"/>
                  <a:gd name="T84" fmla="*/ 8514 w 358"/>
                  <a:gd name="T85" fmla="*/ 96619 h 327"/>
                  <a:gd name="T86" fmla="*/ 18731 w 358"/>
                  <a:gd name="T87" fmla="*/ 87269 h 327"/>
                  <a:gd name="T88" fmla="*/ 25542 w 358"/>
                  <a:gd name="T89" fmla="*/ 83632 h 327"/>
                  <a:gd name="T90" fmla="*/ 32353 w 358"/>
                  <a:gd name="T91" fmla="*/ 77918 h 327"/>
                  <a:gd name="T92" fmla="*/ 39590 w 358"/>
                  <a:gd name="T93" fmla="*/ 82593 h 327"/>
                  <a:gd name="T94" fmla="*/ 46827 w 358"/>
                  <a:gd name="T95" fmla="*/ 85191 h 327"/>
                  <a:gd name="T96" fmla="*/ 60449 w 358"/>
                  <a:gd name="T97" fmla="*/ 93502 h 327"/>
                  <a:gd name="T98" fmla="*/ 69389 w 358"/>
                  <a:gd name="T99" fmla="*/ 98697 h 327"/>
                  <a:gd name="T100" fmla="*/ 83437 w 358"/>
                  <a:gd name="T101" fmla="*/ 108566 h 327"/>
                  <a:gd name="T102" fmla="*/ 93228 w 358"/>
                  <a:gd name="T103" fmla="*/ 116878 h 327"/>
                  <a:gd name="T104" fmla="*/ 104296 w 358"/>
                  <a:gd name="T105" fmla="*/ 126747 h 327"/>
                  <a:gd name="T106" fmla="*/ 108979 w 358"/>
                  <a:gd name="T107" fmla="*/ 131942 h 327"/>
                  <a:gd name="T108" fmla="*/ 113661 w 358"/>
                  <a:gd name="T109" fmla="*/ 140253 h 327"/>
                  <a:gd name="T110" fmla="*/ 114513 w 358"/>
                  <a:gd name="T111" fmla="*/ 144928 h 327"/>
                  <a:gd name="T112" fmla="*/ 114513 w 358"/>
                  <a:gd name="T113" fmla="*/ 148564 h 327"/>
                  <a:gd name="T114" fmla="*/ 114939 w 358"/>
                  <a:gd name="T115" fmla="*/ 150642 h 327"/>
                  <a:gd name="T116" fmla="*/ 117493 w 358"/>
                  <a:gd name="T117" fmla="*/ 151681 h 327"/>
                  <a:gd name="T118" fmla="*/ 124304 w 358"/>
                  <a:gd name="T119" fmla="*/ 156876 h 327"/>
                  <a:gd name="T120" fmla="*/ 135372 w 358"/>
                  <a:gd name="T121" fmla="*/ 166745 h 32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358" h="327">
                    <a:moveTo>
                      <a:pt x="325" y="327"/>
                    </a:moveTo>
                    <a:lnTo>
                      <a:pt x="326" y="324"/>
                    </a:lnTo>
                    <a:lnTo>
                      <a:pt x="329" y="322"/>
                    </a:lnTo>
                    <a:lnTo>
                      <a:pt x="331" y="321"/>
                    </a:lnTo>
                    <a:lnTo>
                      <a:pt x="332" y="321"/>
                    </a:lnTo>
                    <a:lnTo>
                      <a:pt x="337" y="318"/>
                    </a:lnTo>
                    <a:lnTo>
                      <a:pt x="342" y="317"/>
                    </a:lnTo>
                    <a:lnTo>
                      <a:pt x="346" y="318"/>
                    </a:lnTo>
                    <a:lnTo>
                      <a:pt x="351" y="319"/>
                    </a:lnTo>
                    <a:lnTo>
                      <a:pt x="356" y="324"/>
                    </a:lnTo>
                    <a:lnTo>
                      <a:pt x="358" y="327"/>
                    </a:lnTo>
                    <a:lnTo>
                      <a:pt x="319" y="285"/>
                    </a:lnTo>
                    <a:lnTo>
                      <a:pt x="302" y="265"/>
                    </a:lnTo>
                    <a:lnTo>
                      <a:pt x="278" y="235"/>
                    </a:lnTo>
                    <a:lnTo>
                      <a:pt x="265" y="219"/>
                    </a:lnTo>
                    <a:lnTo>
                      <a:pt x="253" y="204"/>
                    </a:lnTo>
                    <a:lnTo>
                      <a:pt x="241" y="193"/>
                    </a:lnTo>
                    <a:lnTo>
                      <a:pt x="232" y="186"/>
                    </a:lnTo>
                    <a:lnTo>
                      <a:pt x="225" y="182"/>
                    </a:lnTo>
                    <a:lnTo>
                      <a:pt x="219" y="181"/>
                    </a:lnTo>
                    <a:lnTo>
                      <a:pt x="213" y="180"/>
                    </a:lnTo>
                    <a:lnTo>
                      <a:pt x="208" y="180"/>
                    </a:lnTo>
                    <a:lnTo>
                      <a:pt x="205" y="180"/>
                    </a:lnTo>
                    <a:lnTo>
                      <a:pt x="201" y="179"/>
                    </a:lnTo>
                    <a:lnTo>
                      <a:pt x="200" y="177"/>
                    </a:lnTo>
                    <a:lnTo>
                      <a:pt x="199" y="174"/>
                    </a:lnTo>
                    <a:lnTo>
                      <a:pt x="199" y="172"/>
                    </a:lnTo>
                    <a:lnTo>
                      <a:pt x="198" y="170"/>
                    </a:lnTo>
                    <a:lnTo>
                      <a:pt x="197" y="169"/>
                    </a:lnTo>
                    <a:lnTo>
                      <a:pt x="195" y="169"/>
                    </a:lnTo>
                    <a:lnTo>
                      <a:pt x="190" y="170"/>
                    </a:lnTo>
                    <a:lnTo>
                      <a:pt x="184" y="172"/>
                    </a:lnTo>
                    <a:lnTo>
                      <a:pt x="178" y="173"/>
                    </a:lnTo>
                    <a:lnTo>
                      <a:pt x="171" y="172"/>
                    </a:lnTo>
                    <a:lnTo>
                      <a:pt x="168" y="170"/>
                    </a:lnTo>
                    <a:lnTo>
                      <a:pt x="165" y="168"/>
                    </a:lnTo>
                    <a:lnTo>
                      <a:pt x="162" y="165"/>
                    </a:lnTo>
                    <a:lnTo>
                      <a:pt x="160" y="161"/>
                    </a:lnTo>
                    <a:lnTo>
                      <a:pt x="156" y="152"/>
                    </a:lnTo>
                    <a:lnTo>
                      <a:pt x="152" y="144"/>
                    </a:lnTo>
                    <a:lnTo>
                      <a:pt x="147" y="138"/>
                    </a:lnTo>
                    <a:lnTo>
                      <a:pt x="143" y="131"/>
                    </a:lnTo>
                    <a:lnTo>
                      <a:pt x="138" y="125"/>
                    </a:lnTo>
                    <a:lnTo>
                      <a:pt x="133" y="119"/>
                    </a:lnTo>
                    <a:lnTo>
                      <a:pt x="129" y="112"/>
                    </a:lnTo>
                    <a:lnTo>
                      <a:pt x="127" y="105"/>
                    </a:lnTo>
                    <a:lnTo>
                      <a:pt x="123" y="96"/>
                    </a:lnTo>
                    <a:lnTo>
                      <a:pt x="122" y="84"/>
                    </a:lnTo>
                    <a:lnTo>
                      <a:pt x="121" y="69"/>
                    </a:lnTo>
                    <a:lnTo>
                      <a:pt x="119" y="53"/>
                    </a:lnTo>
                    <a:lnTo>
                      <a:pt x="118" y="37"/>
                    </a:lnTo>
                    <a:lnTo>
                      <a:pt x="117" y="23"/>
                    </a:lnTo>
                    <a:lnTo>
                      <a:pt x="115" y="10"/>
                    </a:lnTo>
                    <a:lnTo>
                      <a:pt x="112" y="0"/>
                    </a:lnTo>
                    <a:lnTo>
                      <a:pt x="93" y="0"/>
                    </a:lnTo>
                    <a:lnTo>
                      <a:pt x="73" y="26"/>
                    </a:lnTo>
                    <a:lnTo>
                      <a:pt x="70" y="28"/>
                    </a:lnTo>
                    <a:lnTo>
                      <a:pt x="61" y="33"/>
                    </a:lnTo>
                    <a:lnTo>
                      <a:pt x="48" y="41"/>
                    </a:lnTo>
                    <a:lnTo>
                      <a:pt x="33" y="50"/>
                    </a:lnTo>
                    <a:lnTo>
                      <a:pt x="27" y="55"/>
                    </a:lnTo>
                    <a:lnTo>
                      <a:pt x="21" y="61"/>
                    </a:lnTo>
                    <a:lnTo>
                      <a:pt x="18" y="66"/>
                    </a:lnTo>
                    <a:lnTo>
                      <a:pt x="17" y="72"/>
                    </a:lnTo>
                    <a:lnTo>
                      <a:pt x="16" y="78"/>
                    </a:lnTo>
                    <a:lnTo>
                      <a:pt x="16" y="83"/>
                    </a:lnTo>
                    <a:lnTo>
                      <a:pt x="18" y="88"/>
                    </a:lnTo>
                    <a:lnTo>
                      <a:pt x="20" y="93"/>
                    </a:lnTo>
                    <a:lnTo>
                      <a:pt x="21" y="96"/>
                    </a:lnTo>
                    <a:lnTo>
                      <a:pt x="22" y="100"/>
                    </a:lnTo>
                    <a:lnTo>
                      <a:pt x="22" y="104"/>
                    </a:lnTo>
                    <a:lnTo>
                      <a:pt x="20" y="110"/>
                    </a:lnTo>
                    <a:lnTo>
                      <a:pt x="18" y="117"/>
                    </a:lnTo>
                    <a:lnTo>
                      <a:pt x="15" y="123"/>
                    </a:lnTo>
                    <a:lnTo>
                      <a:pt x="11" y="130"/>
                    </a:lnTo>
                    <a:lnTo>
                      <a:pt x="7" y="136"/>
                    </a:lnTo>
                    <a:lnTo>
                      <a:pt x="3" y="146"/>
                    </a:lnTo>
                    <a:lnTo>
                      <a:pt x="0" y="155"/>
                    </a:lnTo>
                    <a:lnTo>
                      <a:pt x="0" y="164"/>
                    </a:lnTo>
                    <a:lnTo>
                      <a:pt x="0" y="174"/>
                    </a:lnTo>
                    <a:lnTo>
                      <a:pt x="1" y="176"/>
                    </a:lnTo>
                    <a:lnTo>
                      <a:pt x="5" y="182"/>
                    </a:lnTo>
                    <a:lnTo>
                      <a:pt x="8" y="185"/>
                    </a:lnTo>
                    <a:lnTo>
                      <a:pt x="11" y="187"/>
                    </a:lnTo>
                    <a:lnTo>
                      <a:pt x="15" y="187"/>
                    </a:lnTo>
                    <a:lnTo>
                      <a:pt x="20" y="186"/>
                    </a:lnTo>
                    <a:lnTo>
                      <a:pt x="31" y="177"/>
                    </a:lnTo>
                    <a:lnTo>
                      <a:pt x="44" y="168"/>
                    </a:lnTo>
                    <a:lnTo>
                      <a:pt x="55" y="163"/>
                    </a:lnTo>
                    <a:lnTo>
                      <a:pt x="60" y="161"/>
                    </a:lnTo>
                    <a:lnTo>
                      <a:pt x="73" y="149"/>
                    </a:lnTo>
                    <a:lnTo>
                      <a:pt x="76" y="150"/>
                    </a:lnTo>
                    <a:lnTo>
                      <a:pt x="84" y="155"/>
                    </a:lnTo>
                    <a:lnTo>
                      <a:pt x="93" y="159"/>
                    </a:lnTo>
                    <a:lnTo>
                      <a:pt x="99" y="161"/>
                    </a:lnTo>
                    <a:lnTo>
                      <a:pt x="110" y="164"/>
                    </a:lnTo>
                    <a:lnTo>
                      <a:pt x="126" y="170"/>
                    </a:lnTo>
                    <a:lnTo>
                      <a:pt x="142" y="180"/>
                    </a:lnTo>
                    <a:lnTo>
                      <a:pt x="153" y="186"/>
                    </a:lnTo>
                    <a:lnTo>
                      <a:pt x="163" y="190"/>
                    </a:lnTo>
                    <a:lnTo>
                      <a:pt x="179" y="199"/>
                    </a:lnTo>
                    <a:lnTo>
                      <a:pt x="196" y="209"/>
                    </a:lnTo>
                    <a:lnTo>
                      <a:pt x="206" y="216"/>
                    </a:lnTo>
                    <a:lnTo>
                      <a:pt x="219" y="225"/>
                    </a:lnTo>
                    <a:lnTo>
                      <a:pt x="232" y="235"/>
                    </a:lnTo>
                    <a:lnTo>
                      <a:pt x="245" y="244"/>
                    </a:lnTo>
                    <a:lnTo>
                      <a:pt x="252" y="247"/>
                    </a:lnTo>
                    <a:lnTo>
                      <a:pt x="256" y="254"/>
                    </a:lnTo>
                    <a:lnTo>
                      <a:pt x="266" y="265"/>
                    </a:lnTo>
                    <a:lnTo>
                      <a:pt x="267" y="270"/>
                    </a:lnTo>
                    <a:lnTo>
                      <a:pt x="268" y="274"/>
                    </a:lnTo>
                    <a:lnTo>
                      <a:pt x="269" y="279"/>
                    </a:lnTo>
                    <a:lnTo>
                      <a:pt x="269" y="283"/>
                    </a:lnTo>
                    <a:lnTo>
                      <a:pt x="269" y="286"/>
                    </a:lnTo>
                    <a:lnTo>
                      <a:pt x="269" y="289"/>
                    </a:lnTo>
                    <a:lnTo>
                      <a:pt x="270" y="290"/>
                    </a:lnTo>
                    <a:lnTo>
                      <a:pt x="273" y="291"/>
                    </a:lnTo>
                    <a:lnTo>
                      <a:pt x="276" y="292"/>
                    </a:lnTo>
                    <a:lnTo>
                      <a:pt x="284" y="296"/>
                    </a:lnTo>
                    <a:lnTo>
                      <a:pt x="292" y="302"/>
                    </a:lnTo>
                    <a:lnTo>
                      <a:pt x="301" y="309"/>
                    </a:lnTo>
                    <a:lnTo>
                      <a:pt x="318" y="321"/>
                    </a:lnTo>
                    <a:lnTo>
                      <a:pt x="325" y="327"/>
                    </a:lnTo>
                  </a:path>
                </a:pathLst>
              </a:custGeom>
              <a:grpFill/>
              <a:ln w="9525" cmpd="sng">
                <a:solidFill>
                  <a:srgbClr val="FFFFFF"/>
                </a:solidFill>
                <a:prstDash val="solid"/>
                <a:round/>
                <a:headEnd/>
                <a:tailEnd/>
              </a:ln>
            </p:spPr>
            <p:txBody>
              <a:bodyPr/>
              <a:lstStyle/>
              <a:p>
                <a:endParaRPr lang="en-GB" sz="1637"/>
              </a:p>
            </p:txBody>
          </p:sp>
          <p:sp>
            <p:nvSpPr>
              <p:cNvPr id="22" name="Freeform 35"/>
              <p:cNvSpPr>
                <a:spLocks/>
              </p:cNvSpPr>
              <p:nvPr>
                <p:custDataLst>
                  <p:tags r:id="rId5"/>
                </p:custDataLst>
              </p:nvPr>
            </p:nvSpPr>
            <p:spPr bwMode="auto">
              <a:xfrm>
                <a:off x="5259121" y="3030923"/>
                <a:ext cx="20796" cy="64475"/>
              </a:xfrm>
              <a:custGeom>
                <a:avLst/>
                <a:gdLst>
                  <a:gd name="T0" fmla="*/ 17278 w 43"/>
                  <a:gd name="T1" fmla="*/ 57150 h 93"/>
                  <a:gd name="T2" fmla="*/ 13734 w 43"/>
                  <a:gd name="T3" fmla="*/ 55921 h 93"/>
                  <a:gd name="T4" fmla="*/ 11519 w 43"/>
                  <a:gd name="T5" fmla="*/ 54692 h 93"/>
                  <a:gd name="T6" fmla="*/ 9303 w 43"/>
                  <a:gd name="T7" fmla="*/ 53463 h 93"/>
                  <a:gd name="T8" fmla="*/ 7974 w 43"/>
                  <a:gd name="T9" fmla="*/ 51619 h 93"/>
                  <a:gd name="T10" fmla="*/ 6645 w 43"/>
                  <a:gd name="T11" fmla="*/ 48547 h 93"/>
                  <a:gd name="T12" fmla="*/ 6202 w 43"/>
                  <a:gd name="T13" fmla="*/ 44860 h 93"/>
                  <a:gd name="T14" fmla="*/ 5759 w 43"/>
                  <a:gd name="T15" fmla="*/ 39944 h 93"/>
                  <a:gd name="T16" fmla="*/ 4873 w 43"/>
                  <a:gd name="T17" fmla="*/ 33798 h 93"/>
                  <a:gd name="T18" fmla="*/ 4873 w 43"/>
                  <a:gd name="T19" fmla="*/ 29497 h 93"/>
                  <a:gd name="T20" fmla="*/ 3987 w 43"/>
                  <a:gd name="T21" fmla="*/ 25810 h 93"/>
                  <a:gd name="T22" fmla="*/ 2658 w 43"/>
                  <a:gd name="T23" fmla="*/ 23352 h 93"/>
                  <a:gd name="T24" fmla="*/ 1772 w 43"/>
                  <a:gd name="T25" fmla="*/ 22123 h 93"/>
                  <a:gd name="T26" fmla="*/ 886 w 43"/>
                  <a:gd name="T27" fmla="*/ 20894 h 93"/>
                  <a:gd name="T28" fmla="*/ 0 w 43"/>
                  <a:gd name="T29" fmla="*/ 19665 h 93"/>
                  <a:gd name="T30" fmla="*/ 886 w 43"/>
                  <a:gd name="T31" fmla="*/ 17821 h 93"/>
                  <a:gd name="T32" fmla="*/ 2215 w 43"/>
                  <a:gd name="T33" fmla="*/ 14748 h 93"/>
                  <a:gd name="T34" fmla="*/ 2658 w 43"/>
                  <a:gd name="T35" fmla="*/ 17206 h 93"/>
                  <a:gd name="T36" fmla="*/ 3101 w 43"/>
                  <a:gd name="T37" fmla="*/ 17821 h 93"/>
                  <a:gd name="T38" fmla="*/ 3544 w 43"/>
                  <a:gd name="T39" fmla="*/ 18435 h 93"/>
                  <a:gd name="T40" fmla="*/ 3987 w 43"/>
                  <a:gd name="T41" fmla="*/ 17821 h 93"/>
                  <a:gd name="T42" fmla="*/ 4873 w 43"/>
                  <a:gd name="T43" fmla="*/ 15363 h 93"/>
                  <a:gd name="T44" fmla="*/ 6202 w 43"/>
                  <a:gd name="T45" fmla="*/ 11676 h 93"/>
                  <a:gd name="T46" fmla="*/ 7088 w 43"/>
                  <a:gd name="T47" fmla="*/ 7374 h 93"/>
                  <a:gd name="T48" fmla="*/ 8860 w 43"/>
                  <a:gd name="T49" fmla="*/ 3687 h 93"/>
                  <a:gd name="T50" fmla="*/ 9747 w 43"/>
                  <a:gd name="T51" fmla="*/ 2458 h 93"/>
                  <a:gd name="T52" fmla="*/ 11076 w 43"/>
                  <a:gd name="T53" fmla="*/ 1229 h 93"/>
                  <a:gd name="T54" fmla="*/ 12405 w 43"/>
                  <a:gd name="T55" fmla="*/ 0 h 93"/>
                  <a:gd name="T56" fmla="*/ 14177 w 43"/>
                  <a:gd name="T57" fmla="*/ 0 h 93"/>
                  <a:gd name="T58" fmla="*/ 14620 w 43"/>
                  <a:gd name="T59" fmla="*/ 6145 h 93"/>
                  <a:gd name="T60" fmla="*/ 14620 w 43"/>
                  <a:gd name="T61" fmla="*/ 9832 h 93"/>
                  <a:gd name="T62" fmla="*/ 14620 w 43"/>
                  <a:gd name="T63" fmla="*/ 12290 h 93"/>
                  <a:gd name="T64" fmla="*/ 14177 w 43"/>
                  <a:gd name="T65" fmla="*/ 14134 h 93"/>
                  <a:gd name="T66" fmla="*/ 14177 w 43"/>
                  <a:gd name="T67" fmla="*/ 16592 h 93"/>
                  <a:gd name="T68" fmla="*/ 14177 w 43"/>
                  <a:gd name="T69" fmla="*/ 19050 h 93"/>
                  <a:gd name="T70" fmla="*/ 15506 w 43"/>
                  <a:gd name="T71" fmla="*/ 22123 h 93"/>
                  <a:gd name="T72" fmla="*/ 17278 w 43"/>
                  <a:gd name="T73" fmla="*/ 26424 h 93"/>
                  <a:gd name="T74" fmla="*/ 16835 w 43"/>
                  <a:gd name="T75" fmla="*/ 27039 h 93"/>
                  <a:gd name="T76" fmla="*/ 16392 w 43"/>
                  <a:gd name="T77" fmla="*/ 27653 h 93"/>
                  <a:gd name="T78" fmla="*/ 16392 w 43"/>
                  <a:gd name="T79" fmla="*/ 29497 h 93"/>
                  <a:gd name="T80" fmla="*/ 16835 w 43"/>
                  <a:gd name="T81" fmla="*/ 31340 h 93"/>
                  <a:gd name="T82" fmla="*/ 17278 w 43"/>
                  <a:gd name="T83" fmla="*/ 36256 h 93"/>
                  <a:gd name="T84" fmla="*/ 18164 w 43"/>
                  <a:gd name="T85" fmla="*/ 41787 h 93"/>
                  <a:gd name="T86" fmla="*/ 18607 w 43"/>
                  <a:gd name="T87" fmla="*/ 46703 h 93"/>
                  <a:gd name="T88" fmla="*/ 19050 w 43"/>
                  <a:gd name="T89" fmla="*/ 52234 h 93"/>
                  <a:gd name="T90" fmla="*/ 19050 w 43"/>
                  <a:gd name="T91" fmla="*/ 54077 h 93"/>
                  <a:gd name="T92" fmla="*/ 18607 w 43"/>
                  <a:gd name="T93" fmla="*/ 55921 h 93"/>
                  <a:gd name="T94" fmla="*/ 17721 w 43"/>
                  <a:gd name="T95" fmla="*/ 56535 h 93"/>
                  <a:gd name="T96" fmla="*/ 17278 w 43"/>
                  <a:gd name="T97" fmla="*/ 57150 h 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43" h="93">
                    <a:moveTo>
                      <a:pt x="39" y="93"/>
                    </a:moveTo>
                    <a:lnTo>
                      <a:pt x="31" y="91"/>
                    </a:lnTo>
                    <a:lnTo>
                      <a:pt x="26" y="89"/>
                    </a:lnTo>
                    <a:lnTo>
                      <a:pt x="21" y="87"/>
                    </a:lnTo>
                    <a:lnTo>
                      <a:pt x="18" y="84"/>
                    </a:lnTo>
                    <a:lnTo>
                      <a:pt x="15" y="79"/>
                    </a:lnTo>
                    <a:lnTo>
                      <a:pt x="14" y="73"/>
                    </a:lnTo>
                    <a:lnTo>
                      <a:pt x="13" y="65"/>
                    </a:lnTo>
                    <a:lnTo>
                      <a:pt x="11" y="55"/>
                    </a:lnTo>
                    <a:lnTo>
                      <a:pt x="11" y="48"/>
                    </a:lnTo>
                    <a:lnTo>
                      <a:pt x="9" y="42"/>
                    </a:lnTo>
                    <a:lnTo>
                      <a:pt x="6" y="38"/>
                    </a:lnTo>
                    <a:lnTo>
                      <a:pt x="4" y="36"/>
                    </a:lnTo>
                    <a:lnTo>
                      <a:pt x="2" y="34"/>
                    </a:lnTo>
                    <a:lnTo>
                      <a:pt x="0" y="32"/>
                    </a:lnTo>
                    <a:lnTo>
                      <a:pt x="2" y="29"/>
                    </a:lnTo>
                    <a:lnTo>
                      <a:pt x="5" y="24"/>
                    </a:lnTo>
                    <a:lnTo>
                      <a:pt x="6" y="28"/>
                    </a:lnTo>
                    <a:lnTo>
                      <a:pt x="7" y="29"/>
                    </a:lnTo>
                    <a:lnTo>
                      <a:pt x="8" y="30"/>
                    </a:lnTo>
                    <a:lnTo>
                      <a:pt x="9" y="29"/>
                    </a:lnTo>
                    <a:lnTo>
                      <a:pt x="11" y="25"/>
                    </a:lnTo>
                    <a:lnTo>
                      <a:pt x="14" y="19"/>
                    </a:lnTo>
                    <a:lnTo>
                      <a:pt x="16" y="12"/>
                    </a:lnTo>
                    <a:lnTo>
                      <a:pt x="20" y="6"/>
                    </a:lnTo>
                    <a:lnTo>
                      <a:pt x="22" y="4"/>
                    </a:lnTo>
                    <a:lnTo>
                      <a:pt x="25" y="2"/>
                    </a:lnTo>
                    <a:lnTo>
                      <a:pt x="28" y="0"/>
                    </a:lnTo>
                    <a:lnTo>
                      <a:pt x="32" y="0"/>
                    </a:lnTo>
                    <a:lnTo>
                      <a:pt x="33" y="10"/>
                    </a:lnTo>
                    <a:lnTo>
                      <a:pt x="33" y="16"/>
                    </a:lnTo>
                    <a:lnTo>
                      <a:pt x="33" y="20"/>
                    </a:lnTo>
                    <a:lnTo>
                      <a:pt x="32" y="23"/>
                    </a:lnTo>
                    <a:lnTo>
                      <a:pt x="32" y="27"/>
                    </a:lnTo>
                    <a:lnTo>
                      <a:pt x="32" y="31"/>
                    </a:lnTo>
                    <a:lnTo>
                      <a:pt x="35" y="36"/>
                    </a:lnTo>
                    <a:lnTo>
                      <a:pt x="39" y="43"/>
                    </a:lnTo>
                    <a:lnTo>
                      <a:pt x="38" y="44"/>
                    </a:lnTo>
                    <a:lnTo>
                      <a:pt x="37" y="45"/>
                    </a:lnTo>
                    <a:lnTo>
                      <a:pt x="37" y="48"/>
                    </a:lnTo>
                    <a:lnTo>
                      <a:pt x="38" y="51"/>
                    </a:lnTo>
                    <a:lnTo>
                      <a:pt x="39" y="59"/>
                    </a:lnTo>
                    <a:lnTo>
                      <a:pt x="41" y="68"/>
                    </a:lnTo>
                    <a:lnTo>
                      <a:pt x="42" y="76"/>
                    </a:lnTo>
                    <a:lnTo>
                      <a:pt x="43" y="85"/>
                    </a:lnTo>
                    <a:lnTo>
                      <a:pt x="43" y="88"/>
                    </a:lnTo>
                    <a:lnTo>
                      <a:pt x="42" y="91"/>
                    </a:lnTo>
                    <a:lnTo>
                      <a:pt x="40" y="92"/>
                    </a:lnTo>
                    <a:lnTo>
                      <a:pt x="39" y="93"/>
                    </a:lnTo>
                  </a:path>
                </a:pathLst>
              </a:custGeom>
              <a:grpFill/>
              <a:ln w="9525" cmpd="sng">
                <a:solidFill>
                  <a:srgbClr val="FFFFFF"/>
                </a:solidFill>
                <a:prstDash val="solid"/>
                <a:round/>
                <a:headEnd/>
                <a:tailEnd/>
              </a:ln>
            </p:spPr>
            <p:txBody>
              <a:bodyPr/>
              <a:lstStyle/>
              <a:p>
                <a:endParaRPr lang="en-GB" sz="1637"/>
              </a:p>
            </p:txBody>
          </p:sp>
          <p:sp>
            <p:nvSpPr>
              <p:cNvPr id="23" name="Freeform 36"/>
              <p:cNvSpPr>
                <a:spLocks/>
              </p:cNvSpPr>
              <p:nvPr>
                <p:custDataLst>
                  <p:tags r:id="rId6"/>
                </p:custDataLst>
              </p:nvPr>
            </p:nvSpPr>
            <p:spPr bwMode="auto">
              <a:xfrm>
                <a:off x="5389095" y="3036297"/>
                <a:ext cx="15596" cy="64475"/>
              </a:xfrm>
              <a:custGeom>
                <a:avLst/>
                <a:gdLst>
                  <a:gd name="T0" fmla="*/ 14287 w 40"/>
                  <a:gd name="T1" fmla="*/ 57150 h 56"/>
                  <a:gd name="T2" fmla="*/ 13215 w 40"/>
                  <a:gd name="T3" fmla="*/ 46945 h 56"/>
                  <a:gd name="T4" fmla="*/ 11787 w 40"/>
                  <a:gd name="T5" fmla="*/ 38780 h 56"/>
                  <a:gd name="T6" fmla="*/ 10001 w 40"/>
                  <a:gd name="T7" fmla="*/ 32657 h 56"/>
                  <a:gd name="T8" fmla="*/ 8215 w 40"/>
                  <a:gd name="T9" fmla="*/ 28575 h 56"/>
                  <a:gd name="T10" fmla="*/ 3929 w 40"/>
                  <a:gd name="T11" fmla="*/ 21431 h 56"/>
                  <a:gd name="T12" fmla="*/ 0 w 40"/>
                  <a:gd name="T13" fmla="*/ 12246 h 56"/>
                  <a:gd name="T14" fmla="*/ 4643 w 40"/>
                  <a:gd name="T15" fmla="*/ 4082 h 56"/>
                  <a:gd name="T16" fmla="*/ 7144 w 40"/>
                  <a:gd name="T17" fmla="*/ 0 h 56"/>
                  <a:gd name="T18" fmla="*/ 10001 w 40"/>
                  <a:gd name="T19" fmla="*/ 12246 h 56"/>
                  <a:gd name="T20" fmla="*/ 12501 w 40"/>
                  <a:gd name="T21" fmla="*/ 22452 h 56"/>
                  <a:gd name="T22" fmla="*/ 13215 w 40"/>
                  <a:gd name="T23" fmla="*/ 25513 h 56"/>
                  <a:gd name="T24" fmla="*/ 13930 w 40"/>
                  <a:gd name="T25" fmla="*/ 29596 h 56"/>
                  <a:gd name="T26" fmla="*/ 13930 w 40"/>
                  <a:gd name="T27" fmla="*/ 33678 h 56"/>
                  <a:gd name="T28" fmla="*/ 14287 w 40"/>
                  <a:gd name="T29" fmla="*/ 37760 h 56"/>
                  <a:gd name="T30" fmla="*/ 14287 w 40"/>
                  <a:gd name="T31" fmla="*/ 44904 h 56"/>
                  <a:gd name="T32" fmla="*/ 14287 w 40"/>
                  <a:gd name="T33" fmla="*/ 46945 h 56"/>
                  <a:gd name="T34" fmla="*/ 14287 w 40"/>
                  <a:gd name="T35" fmla="*/ 50006 h 56"/>
                  <a:gd name="T36" fmla="*/ 14287 w 40"/>
                  <a:gd name="T37" fmla="*/ 57150 h 5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0" h="56">
                    <a:moveTo>
                      <a:pt x="40" y="56"/>
                    </a:moveTo>
                    <a:lnTo>
                      <a:pt x="37" y="46"/>
                    </a:lnTo>
                    <a:lnTo>
                      <a:pt x="33" y="38"/>
                    </a:lnTo>
                    <a:lnTo>
                      <a:pt x="28" y="32"/>
                    </a:lnTo>
                    <a:lnTo>
                      <a:pt x="23" y="28"/>
                    </a:lnTo>
                    <a:lnTo>
                      <a:pt x="11" y="21"/>
                    </a:lnTo>
                    <a:lnTo>
                      <a:pt x="0" y="12"/>
                    </a:lnTo>
                    <a:lnTo>
                      <a:pt x="13" y="4"/>
                    </a:lnTo>
                    <a:lnTo>
                      <a:pt x="20" y="0"/>
                    </a:lnTo>
                    <a:lnTo>
                      <a:pt x="28" y="12"/>
                    </a:lnTo>
                    <a:lnTo>
                      <a:pt x="35" y="22"/>
                    </a:lnTo>
                    <a:lnTo>
                      <a:pt x="37" y="25"/>
                    </a:lnTo>
                    <a:lnTo>
                      <a:pt x="39" y="29"/>
                    </a:lnTo>
                    <a:lnTo>
                      <a:pt x="39" y="33"/>
                    </a:lnTo>
                    <a:lnTo>
                      <a:pt x="40" y="37"/>
                    </a:lnTo>
                    <a:lnTo>
                      <a:pt x="40" y="44"/>
                    </a:lnTo>
                    <a:lnTo>
                      <a:pt x="40" y="46"/>
                    </a:lnTo>
                    <a:lnTo>
                      <a:pt x="40" y="49"/>
                    </a:lnTo>
                    <a:lnTo>
                      <a:pt x="40" y="56"/>
                    </a:lnTo>
                  </a:path>
                </a:pathLst>
              </a:custGeom>
              <a:grpFill/>
              <a:ln w="9525" cmpd="sng">
                <a:solidFill>
                  <a:srgbClr val="FFFFFF"/>
                </a:solidFill>
                <a:prstDash val="solid"/>
                <a:round/>
                <a:headEnd/>
                <a:tailEnd/>
              </a:ln>
            </p:spPr>
            <p:txBody>
              <a:bodyPr/>
              <a:lstStyle/>
              <a:p>
                <a:endParaRPr lang="en-GB" sz="1637"/>
              </a:p>
            </p:txBody>
          </p:sp>
          <p:sp>
            <p:nvSpPr>
              <p:cNvPr id="24" name="Freeform 69"/>
              <p:cNvSpPr>
                <a:spLocks/>
              </p:cNvSpPr>
              <p:nvPr>
                <p:custDataLst>
                  <p:tags r:id="rId7"/>
                </p:custDataLst>
              </p:nvPr>
            </p:nvSpPr>
            <p:spPr bwMode="auto">
              <a:xfrm>
                <a:off x="8160128" y="4635628"/>
                <a:ext cx="13864" cy="64475"/>
              </a:xfrm>
              <a:custGeom>
                <a:avLst/>
                <a:gdLst>
                  <a:gd name="T0" fmla="*/ 0 w 33"/>
                  <a:gd name="T1" fmla="*/ 57150 h 62"/>
                  <a:gd name="T2" fmla="*/ 0 w 33"/>
                  <a:gd name="T3" fmla="*/ 48854 h 62"/>
                  <a:gd name="T4" fmla="*/ 0 w 33"/>
                  <a:gd name="T5" fmla="*/ 41480 h 62"/>
                  <a:gd name="T6" fmla="*/ 0 w 33"/>
                  <a:gd name="T7" fmla="*/ 34106 h 62"/>
                  <a:gd name="T8" fmla="*/ 0 w 33"/>
                  <a:gd name="T9" fmla="*/ 28575 h 62"/>
                  <a:gd name="T10" fmla="*/ 0 w 33"/>
                  <a:gd name="T11" fmla="*/ 23966 h 62"/>
                  <a:gd name="T12" fmla="*/ 770 w 33"/>
                  <a:gd name="T13" fmla="*/ 20279 h 62"/>
                  <a:gd name="T14" fmla="*/ 1539 w 33"/>
                  <a:gd name="T15" fmla="*/ 15670 h 62"/>
                  <a:gd name="T16" fmla="*/ 3079 w 33"/>
                  <a:gd name="T17" fmla="*/ 11983 h 62"/>
                  <a:gd name="T18" fmla="*/ 5388 w 33"/>
                  <a:gd name="T19" fmla="*/ 5531 h 62"/>
                  <a:gd name="T20" fmla="*/ 7697 w 33"/>
                  <a:gd name="T21" fmla="*/ 0 h 62"/>
                  <a:gd name="T22" fmla="*/ 10006 w 33"/>
                  <a:gd name="T23" fmla="*/ 5531 h 62"/>
                  <a:gd name="T24" fmla="*/ 12700 w 33"/>
                  <a:gd name="T25" fmla="*/ 11983 h 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3" h="62">
                    <a:moveTo>
                      <a:pt x="0" y="62"/>
                    </a:moveTo>
                    <a:lnTo>
                      <a:pt x="0" y="53"/>
                    </a:lnTo>
                    <a:lnTo>
                      <a:pt x="0" y="45"/>
                    </a:lnTo>
                    <a:lnTo>
                      <a:pt x="0" y="37"/>
                    </a:lnTo>
                    <a:lnTo>
                      <a:pt x="0" y="31"/>
                    </a:lnTo>
                    <a:lnTo>
                      <a:pt x="0" y="26"/>
                    </a:lnTo>
                    <a:lnTo>
                      <a:pt x="2" y="22"/>
                    </a:lnTo>
                    <a:lnTo>
                      <a:pt x="4" y="17"/>
                    </a:lnTo>
                    <a:lnTo>
                      <a:pt x="8" y="13"/>
                    </a:lnTo>
                    <a:lnTo>
                      <a:pt x="14" y="6"/>
                    </a:lnTo>
                    <a:lnTo>
                      <a:pt x="20" y="0"/>
                    </a:lnTo>
                    <a:lnTo>
                      <a:pt x="26" y="6"/>
                    </a:lnTo>
                    <a:lnTo>
                      <a:pt x="33" y="13"/>
                    </a:lnTo>
                  </a:path>
                </a:pathLst>
              </a:custGeom>
              <a:grpFill/>
              <a:ln w="9525" cmpd="sng">
                <a:solidFill>
                  <a:srgbClr val="FFFFFF"/>
                </a:solidFill>
                <a:prstDash val="solid"/>
                <a:round/>
                <a:headEnd/>
                <a:tailEnd/>
              </a:ln>
            </p:spPr>
            <p:txBody>
              <a:bodyPr/>
              <a:lstStyle/>
              <a:p>
                <a:endParaRPr lang="en-GB" sz="1637"/>
              </a:p>
            </p:txBody>
          </p:sp>
          <p:sp>
            <p:nvSpPr>
              <p:cNvPr id="25" name="Freeform 70"/>
              <p:cNvSpPr>
                <a:spLocks/>
              </p:cNvSpPr>
              <p:nvPr>
                <p:custDataLst>
                  <p:tags r:id="rId8"/>
                </p:custDataLst>
              </p:nvPr>
            </p:nvSpPr>
            <p:spPr bwMode="auto">
              <a:xfrm>
                <a:off x="8170525" y="4737713"/>
                <a:ext cx="10398" cy="66265"/>
              </a:xfrm>
              <a:custGeom>
                <a:avLst/>
                <a:gdLst>
                  <a:gd name="T0" fmla="*/ 0 w 26"/>
                  <a:gd name="T1" fmla="*/ 58737 h 18"/>
                  <a:gd name="T2" fmla="*/ 0 w 26"/>
                  <a:gd name="T3" fmla="*/ 0 h 18"/>
                  <a:gd name="T4" fmla="*/ 9525 w 26"/>
                  <a:gd name="T5" fmla="*/ 0 h 18"/>
                  <a:gd name="T6" fmla="*/ 2198 w 26"/>
                  <a:gd name="T7" fmla="*/ 39158 h 18"/>
                  <a:gd name="T8" fmla="*/ 2198 w 26"/>
                  <a:gd name="T9" fmla="*/ 19579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6" h="18">
                    <a:moveTo>
                      <a:pt x="0" y="18"/>
                    </a:moveTo>
                    <a:lnTo>
                      <a:pt x="0" y="0"/>
                    </a:lnTo>
                    <a:lnTo>
                      <a:pt x="26" y="0"/>
                    </a:lnTo>
                    <a:lnTo>
                      <a:pt x="6" y="12"/>
                    </a:lnTo>
                    <a:lnTo>
                      <a:pt x="6" y="6"/>
                    </a:lnTo>
                  </a:path>
                </a:pathLst>
              </a:custGeom>
              <a:grpFill/>
              <a:ln w="9525" cmpd="sng">
                <a:solidFill>
                  <a:srgbClr val="FFFFFF"/>
                </a:solidFill>
                <a:prstDash val="solid"/>
                <a:round/>
                <a:headEnd/>
                <a:tailEnd/>
              </a:ln>
            </p:spPr>
            <p:txBody>
              <a:bodyPr/>
              <a:lstStyle/>
              <a:p>
                <a:endParaRPr lang="en-GB" sz="1637"/>
              </a:p>
            </p:txBody>
          </p:sp>
          <p:sp>
            <p:nvSpPr>
              <p:cNvPr id="26" name="Freeform 71"/>
              <p:cNvSpPr>
                <a:spLocks/>
              </p:cNvSpPr>
              <p:nvPr>
                <p:custDataLst>
                  <p:tags r:id="rId9"/>
                </p:custDataLst>
              </p:nvPr>
            </p:nvSpPr>
            <p:spPr bwMode="auto">
              <a:xfrm>
                <a:off x="8295300" y="4635628"/>
                <a:ext cx="84917" cy="146859"/>
              </a:xfrm>
              <a:custGeom>
                <a:avLst/>
                <a:gdLst>
                  <a:gd name="T0" fmla="*/ 77788 w 180"/>
                  <a:gd name="T1" fmla="*/ 120412 h 240"/>
                  <a:gd name="T2" fmla="*/ 75627 w 180"/>
                  <a:gd name="T3" fmla="*/ 120954 h 240"/>
                  <a:gd name="T4" fmla="*/ 73899 w 180"/>
                  <a:gd name="T5" fmla="*/ 120954 h 240"/>
                  <a:gd name="T6" fmla="*/ 72170 w 180"/>
                  <a:gd name="T7" fmla="*/ 122039 h 240"/>
                  <a:gd name="T8" fmla="*/ 70874 w 180"/>
                  <a:gd name="T9" fmla="*/ 123124 h 240"/>
                  <a:gd name="T10" fmla="*/ 68281 w 180"/>
                  <a:gd name="T11" fmla="*/ 125836 h 240"/>
                  <a:gd name="T12" fmla="*/ 66120 w 180"/>
                  <a:gd name="T13" fmla="*/ 130175 h 240"/>
                  <a:gd name="T14" fmla="*/ 60502 w 180"/>
                  <a:gd name="T15" fmla="*/ 125836 h 240"/>
                  <a:gd name="T16" fmla="*/ 56612 w 180"/>
                  <a:gd name="T17" fmla="*/ 120954 h 240"/>
                  <a:gd name="T18" fmla="*/ 53155 w 180"/>
                  <a:gd name="T19" fmla="*/ 116073 h 240"/>
                  <a:gd name="T20" fmla="*/ 50994 w 180"/>
                  <a:gd name="T21" fmla="*/ 111734 h 240"/>
                  <a:gd name="T22" fmla="*/ 48401 w 180"/>
                  <a:gd name="T23" fmla="*/ 105767 h 240"/>
                  <a:gd name="T24" fmla="*/ 45808 w 180"/>
                  <a:gd name="T25" fmla="*/ 100343 h 240"/>
                  <a:gd name="T26" fmla="*/ 42351 w 180"/>
                  <a:gd name="T27" fmla="*/ 94377 h 240"/>
                  <a:gd name="T28" fmla="*/ 37598 w 180"/>
                  <a:gd name="T29" fmla="*/ 87326 h 240"/>
                  <a:gd name="T30" fmla="*/ 35437 w 180"/>
                  <a:gd name="T31" fmla="*/ 82987 h 240"/>
                  <a:gd name="T32" fmla="*/ 32412 w 180"/>
                  <a:gd name="T33" fmla="*/ 79190 h 240"/>
                  <a:gd name="T34" fmla="*/ 30251 w 180"/>
                  <a:gd name="T35" fmla="*/ 75393 h 240"/>
                  <a:gd name="T36" fmla="*/ 26794 w 180"/>
                  <a:gd name="T37" fmla="*/ 72139 h 240"/>
                  <a:gd name="T38" fmla="*/ 20743 w 180"/>
                  <a:gd name="T39" fmla="*/ 65630 h 240"/>
                  <a:gd name="T40" fmla="*/ 14261 w 180"/>
                  <a:gd name="T41" fmla="*/ 59664 h 240"/>
                  <a:gd name="T42" fmla="*/ 11668 w 180"/>
                  <a:gd name="T43" fmla="*/ 56409 h 240"/>
                  <a:gd name="T44" fmla="*/ 9075 w 180"/>
                  <a:gd name="T45" fmla="*/ 53155 h 240"/>
                  <a:gd name="T46" fmla="*/ 6482 w 180"/>
                  <a:gd name="T47" fmla="*/ 49900 h 240"/>
                  <a:gd name="T48" fmla="*/ 4322 w 180"/>
                  <a:gd name="T49" fmla="*/ 45561 h 240"/>
                  <a:gd name="T50" fmla="*/ 2593 w 180"/>
                  <a:gd name="T51" fmla="*/ 41764 h 240"/>
                  <a:gd name="T52" fmla="*/ 1729 w 180"/>
                  <a:gd name="T53" fmla="*/ 36883 h 240"/>
                  <a:gd name="T54" fmla="*/ 432 w 180"/>
                  <a:gd name="T55" fmla="*/ 32544 h 240"/>
                  <a:gd name="T56" fmla="*/ 0 w 180"/>
                  <a:gd name="T57" fmla="*/ 27120 h 240"/>
                  <a:gd name="T58" fmla="*/ 0 w 180"/>
                  <a:gd name="T59" fmla="*/ 18984 h 240"/>
                  <a:gd name="T60" fmla="*/ 0 w 180"/>
                  <a:gd name="T61" fmla="*/ 13560 h 240"/>
                  <a:gd name="T62" fmla="*/ 0 w 180"/>
                  <a:gd name="T63" fmla="*/ 8136 h 240"/>
                  <a:gd name="T64" fmla="*/ 0 w 180"/>
                  <a:gd name="T65" fmla="*/ 0 h 240"/>
                  <a:gd name="T66" fmla="*/ 4322 w 180"/>
                  <a:gd name="T67" fmla="*/ 4339 h 240"/>
                  <a:gd name="T68" fmla="*/ 8211 w 180"/>
                  <a:gd name="T69" fmla="*/ 9221 h 240"/>
                  <a:gd name="T70" fmla="*/ 11668 w 180"/>
                  <a:gd name="T71" fmla="*/ 14645 h 240"/>
                  <a:gd name="T72" fmla="*/ 14693 w 180"/>
                  <a:gd name="T73" fmla="*/ 20611 h 240"/>
                  <a:gd name="T74" fmla="*/ 17718 w 180"/>
                  <a:gd name="T75" fmla="*/ 26035 h 240"/>
                  <a:gd name="T76" fmla="*/ 19879 w 180"/>
                  <a:gd name="T77" fmla="*/ 31459 h 240"/>
                  <a:gd name="T78" fmla="*/ 22040 w 180"/>
                  <a:gd name="T79" fmla="*/ 35798 h 240"/>
                  <a:gd name="T80" fmla="*/ 23336 w 180"/>
                  <a:gd name="T81" fmla="*/ 40137 h 240"/>
                  <a:gd name="T82" fmla="*/ 25929 w 180"/>
                  <a:gd name="T83" fmla="*/ 46646 h 240"/>
                  <a:gd name="T84" fmla="*/ 28522 w 180"/>
                  <a:gd name="T85" fmla="*/ 53155 h 240"/>
                  <a:gd name="T86" fmla="*/ 31980 w 180"/>
                  <a:gd name="T87" fmla="*/ 58036 h 240"/>
                  <a:gd name="T88" fmla="*/ 35437 w 180"/>
                  <a:gd name="T89" fmla="*/ 62918 h 240"/>
                  <a:gd name="T90" fmla="*/ 43216 w 180"/>
                  <a:gd name="T91" fmla="*/ 72139 h 240"/>
                  <a:gd name="T92" fmla="*/ 51427 w 180"/>
                  <a:gd name="T93" fmla="*/ 80817 h 240"/>
                  <a:gd name="T94" fmla="*/ 60070 w 180"/>
                  <a:gd name="T95" fmla="*/ 88953 h 240"/>
                  <a:gd name="T96" fmla="*/ 66984 w 180"/>
                  <a:gd name="T97" fmla="*/ 97631 h 240"/>
                  <a:gd name="T98" fmla="*/ 70441 w 180"/>
                  <a:gd name="T99" fmla="*/ 102513 h 240"/>
                  <a:gd name="T100" fmla="*/ 73034 w 180"/>
                  <a:gd name="T101" fmla="*/ 107937 h 240"/>
                  <a:gd name="T102" fmla="*/ 75627 w 180"/>
                  <a:gd name="T103" fmla="*/ 113903 h 240"/>
                  <a:gd name="T104" fmla="*/ 77788 w 180"/>
                  <a:gd name="T105" fmla="*/ 120412 h 2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180" h="240">
                    <a:moveTo>
                      <a:pt x="180" y="222"/>
                    </a:moveTo>
                    <a:lnTo>
                      <a:pt x="175" y="223"/>
                    </a:lnTo>
                    <a:lnTo>
                      <a:pt x="171" y="223"/>
                    </a:lnTo>
                    <a:lnTo>
                      <a:pt x="167" y="225"/>
                    </a:lnTo>
                    <a:lnTo>
                      <a:pt x="164" y="227"/>
                    </a:lnTo>
                    <a:lnTo>
                      <a:pt x="158" y="232"/>
                    </a:lnTo>
                    <a:lnTo>
                      <a:pt x="153" y="240"/>
                    </a:lnTo>
                    <a:lnTo>
                      <a:pt x="140" y="232"/>
                    </a:lnTo>
                    <a:lnTo>
                      <a:pt x="131" y="223"/>
                    </a:lnTo>
                    <a:lnTo>
                      <a:pt x="123" y="214"/>
                    </a:lnTo>
                    <a:lnTo>
                      <a:pt x="118" y="206"/>
                    </a:lnTo>
                    <a:lnTo>
                      <a:pt x="112" y="195"/>
                    </a:lnTo>
                    <a:lnTo>
                      <a:pt x="106" y="185"/>
                    </a:lnTo>
                    <a:lnTo>
                      <a:pt x="98" y="174"/>
                    </a:lnTo>
                    <a:lnTo>
                      <a:pt x="87" y="161"/>
                    </a:lnTo>
                    <a:lnTo>
                      <a:pt x="82" y="153"/>
                    </a:lnTo>
                    <a:lnTo>
                      <a:pt x="75" y="146"/>
                    </a:lnTo>
                    <a:lnTo>
                      <a:pt x="70" y="139"/>
                    </a:lnTo>
                    <a:lnTo>
                      <a:pt x="62" y="133"/>
                    </a:lnTo>
                    <a:lnTo>
                      <a:pt x="48" y="121"/>
                    </a:lnTo>
                    <a:lnTo>
                      <a:pt x="33" y="110"/>
                    </a:lnTo>
                    <a:lnTo>
                      <a:pt x="27" y="104"/>
                    </a:lnTo>
                    <a:lnTo>
                      <a:pt x="21" y="98"/>
                    </a:lnTo>
                    <a:lnTo>
                      <a:pt x="15" y="92"/>
                    </a:lnTo>
                    <a:lnTo>
                      <a:pt x="10" y="84"/>
                    </a:lnTo>
                    <a:lnTo>
                      <a:pt x="6" y="77"/>
                    </a:lnTo>
                    <a:lnTo>
                      <a:pt x="4" y="68"/>
                    </a:lnTo>
                    <a:lnTo>
                      <a:pt x="1" y="60"/>
                    </a:lnTo>
                    <a:lnTo>
                      <a:pt x="0" y="50"/>
                    </a:lnTo>
                    <a:lnTo>
                      <a:pt x="0" y="35"/>
                    </a:lnTo>
                    <a:lnTo>
                      <a:pt x="0" y="25"/>
                    </a:lnTo>
                    <a:lnTo>
                      <a:pt x="0" y="15"/>
                    </a:lnTo>
                    <a:lnTo>
                      <a:pt x="0" y="0"/>
                    </a:lnTo>
                    <a:lnTo>
                      <a:pt x="10" y="8"/>
                    </a:lnTo>
                    <a:lnTo>
                      <a:pt x="19" y="17"/>
                    </a:lnTo>
                    <a:lnTo>
                      <a:pt x="27" y="27"/>
                    </a:lnTo>
                    <a:lnTo>
                      <a:pt x="34" y="38"/>
                    </a:lnTo>
                    <a:lnTo>
                      <a:pt x="41" y="48"/>
                    </a:lnTo>
                    <a:lnTo>
                      <a:pt x="46" y="58"/>
                    </a:lnTo>
                    <a:lnTo>
                      <a:pt x="51" y="66"/>
                    </a:lnTo>
                    <a:lnTo>
                      <a:pt x="54" y="74"/>
                    </a:lnTo>
                    <a:lnTo>
                      <a:pt x="60" y="86"/>
                    </a:lnTo>
                    <a:lnTo>
                      <a:pt x="66" y="98"/>
                    </a:lnTo>
                    <a:lnTo>
                      <a:pt x="74" y="107"/>
                    </a:lnTo>
                    <a:lnTo>
                      <a:pt x="82" y="116"/>
                    </a:lnTo>
                    <a:lnTo>
                      <a:pt x="100" y="133"/>
                    </a:lnTo>
                    <a:lnTo>
                      <a:pt x="119" y="149"/>
                    </a:lnTo>
                    <a:lnTo>
                      <a:pt x="139" y="164"/>
                    </a:lnTo>
                    <a:lnTo>
                      <a:pt x="155" y="180"/>
                    </a:lnTo>
                    <a:lnTo>
                      <a:pt x="163" y="189"/>
                    </a:lnTo>
                    <a:lnTo>
                      <a:pt x="169" y="199"/>
                    </a:lnTo>
                    <a:lnTo>
                      <a:pt x="175" y="210"/>
                    </a:lnTo>
                    <a:lnTo>
                      <a:pt x="180" y="222"/>
                    </a:lnTo>
                  </a:path>
                </a:pathLst>
              </a:custGeom>
              <a:grpFill/>
              <a:ln w="9525" cmpd="sng">
                <a:solidFill>
                  <a:srgbClr val="FFFFFF"/>
                </a:solidFill>
                <a:prstDash val="solid"/>
                <a:round/>
                <a:headEnd/>
                <a:tailEnd/>
              </a:ln>
            </p:spPr>
            <p:txBody>
              <a:bodyPr/>
              <a:lstStyle/>
              <a:p>
                <a:endParaRPr lang="en-GB" sz="1637"/>
              </a:p>
            </p:txBody>
          </p:sp>
          <p:sp>
            <p:nvSpPr>
              <p:cNvPr id="27" name="Freeform 72"/>
              <p:cNvSpPr>
                <a:spLocks/>
              </p:cNvSpPr>
              <p:nvPr>
                <p:custDataLst>
                  <p:tags r:id="rId10"/>
                </p:custDataLst>
              </p:nvPr>
            </p:nvSpPr>
            <p:spPr bwMode="auto">
              <a:xfrm>
                <a:off x="8295300" y="4605182"/>
                <a:ext cx="15597" cy="64475"/>
              </a:xfrm>
              <a:custGeom>
                <a:avLst/>
                <a:gdLst>
                  <a:gd name="T0" fmla="*/ 0 w 27"/>
                  <a:gd name="T1" fmla="*/ 0 h 30"/>
                  <a:gd name="T2" fmla="*/ 529 w 27"/>
                  <a:gd name="T3" fmla="*/ 9525 h 30"/>
                  <a:gd name="T4" fmla="*/ 1588 w 27"/>
                  <a:gd name="T5" fmla="*/ 20955 h 30"/>
                  <a:gd name="T6" fmla="*/ 2117 w 27"/>
                  <a:gd name="T7" fmla="*/ 26670 h 30"/>
                  <a:gd name="T8" fmla="*/ 2117 w 27"/>
                  <a:gd name="T9" fmla="*/ 36195 h 30"/>
                  <a:gd name="T10" fmla="*/ 1588 w 27"/>
                  <a:gd name="T11" fmla="*/ 45720 h 30"/>
                  <a:gd name="T12" fmla="*/ 0 w 27"/>
                  <a:gd name="T13" fmla="*/ 57150 h 30"/>
                  <a:gd name="T14" fmla="*/ 8996 w 27"/>
                  <a:gd name="T15" fmla="*/ 51435 h 30"/>
                  <a:gd name="T16" fmla="*/ 14288 w 27"/>
                  <a:gd name="T17" fmla="*/ 45720 h 30"/>
                  <a:gd name="T18" fmla="*/ 12171 w 27"/>
                  <a:gd name="T19" fmla="*/ 38100 h 30"/>
                  <a:gd name="T20" fmla="*/ 8996 w 27"/>
                  <a:gd name="T21" fmla="*/ 22860 h 30"/>
                  <a:gd name="T22" fmla="*/ 5821 w 27"/>
                  <a:gd name="T23" fmla="*/ 15240 h 30"/>
                  <a:gd name="T24" fmla="*/ 3704 w 27"/>
                  <a:gd name="T25" fmla="*/ 7620 h 30"/>
                  <a:gd name="T26" fmla="*/ 2117 w 27"/>
                  <a:gd name="T27" fmla="*/ 1905 h 30"/>
                  <a:gd name="T28" fmla="*/ 0 w 27"/>
                  <a:gd name="T29" fmla="*/ 0 h 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7" h="30">
                    <a:moveTo>
                      <a:pt x="0" y="0"/>
                    </a:moveTo>
                    <a:lnTo>
                      <a:pt x="1" y="5"/>
                    </a:lnTo>
                    <a:lnTo>
                      <a:pt x="3" y="11"/>
                    </a:lnTo>
                    <a:lnTo>
                      <a:pt x="4" y="14"/>
                    </a:lnTo>
                    <a:lnTo>
                      <a:pt x="4" y="19"/>
                    </a:lnTo>
                    <a:lnTo>
                      <a:pt x="3" y="24"/>
                    </a:lnTo>
                    <a:lnTo>
                      <a:pt x="0" y="30"/>
                    </a:lnTo>
                    <a:lnTo>
                      <a:pt x="17" y="27"/>
                    </a:lnTo>
                    <a:lnTo>
                      <a:pt x="27" y="24"/>
                    </a:lnTo>
                    <a:lnTo>
                      <a:pt x="23" y="20"/>
                    </a:lnTo>
                    <a:lnTo>
                      <a:pt x="17" y="12"/>
                    </a:lnTo>
                    <a:lnTo>
                      <a:pt x="11" y="8"/>
                    </a:lnTo>
                    <a:lnTo>
                      <a:pt x="7" y="4"/>
                    </a:lnTo>
                    <a:lnTo>
                      <a:pt x="4" y="1"/>
                    </a:lnTo>
                    <a:lnTo>
                      <a:pt x="0" y="0"/>
                    </a:lnTo>
                  </a:path>
                </a:pathLst>
              </a:custGeom>
              <a:grpFill/>
              <a:ln w="9525" cmpd="sng">
                <a:solidFill>
                  <a:srgbClr val="FFFFFF"/>
                </a:solidFill>
                <a:prstDash val="solid"/>
                <a:round/>
                <a:headEnd/>
                <a:tailEnd/>
              </a:ln>
            </p:spPr>
            <p:txBody>
              <a:bodyPr/>
              <a:lstStyle/>
              <a:p>
                <a:endParaRPr lang="en-GB" sz="1637"/>
              </a:p>
            </p:txBody>
          </p:sp>
          <p:grpSp>
            <p:nvGrpSpPr>
              <p:cNvPr id="28" name="Group 73"/>
              <p:cNvGrpSpPr>
                <a:grpSpLocks/>
              </p:cNvGrpSpPr>
              <p:nvPr>
                <p:custDataLst>
                  <p:tags r:id="rId11"/>
                </p:custDataLst>
              </p:nvPr>
            </p:nvGrpSpPr>
            <p:grpSpPr bwMode="auto">
              <a:xfrm>
                <a:off x="7957370" y="5192618"/>
                <a:ext cx="500830" cy="456696"/>
                <a:chOff x="5372" y="3323"/>
                <a:chExt cx="341" cy="253"/>
              </a:xfrm>
              <a:grpFill/>
            </p:grpSpPr>
            <p:sp>
              <p:nvSpPr>
                <p:cNvPr id="271" name="Freeform 74"/>
                <p:cNvSpPr>
                  <a:spLocks/>
                </p:cNvSpPr>
                <p:nvPr/>
              </p:nvSpPr>
              <p:spPr bwMode="auto">
                <a:xfrm>
                  <a:off x="5372" y="3565"/>
                  <a:ext cx="16" cy="11"/>
                </a:xfrm>
                <a:custGeom>
                  <a:avLst/>
                  <a:gdLst>
                    <a:gd name="T0" fmla="*/ 0 w 53"/>
                    <a:gd name="T1" fmla="*/ 10 h 33"/>
                    <a:gd name="T2" fmla="*/ 1 w 53"/>
                    <a:gd name="T3" fmla="*/ 9 h 33"/>
                    <a:gd name="T4" fmla="*/ 2 w 53"/>
                    <a:gd name="T5" fmla="*/ 7 h 33"/>
                    <a:gd name="T6" fmla="*/ 5 w 53"/>
                    <a:gd name="T7" fmla="*/ 5 h 33"/>
                    <a:gd name="T8" fmla="*/ 6 w 53"/>
                    <a:gd name="T9" fmla="*/ 4 h 33"/>
                    <a:gd name="T10" fmla="*/ 9 w 53"/>
                    <a:gd name="T11" fmla="*/ 2 h 33"/>
                    <a:gd name="T12" fmla="*/ 11 w 53"/>
                    <a:gd name="T13" fmla="*/ 1 h 33"/>
                    <a:gd name="T14" fmla="*/ 14 w 53"/>
                    <a:gd name="T15" fmla="*/ 0 h 33"/>
                    <a:gd name="T16" fmla="*/ 16 w 53"/>
                    <a:gd name="T17" fmla="*/ 0 h 33"/>
                    <a:gd name="T18" fmla="*/ 16 w 53"/>
                    <a:gd name="T19" fmla="*/ 6 h 33"/>
                    <a:gd name="T20" fmla="*/ 11 w 53"/>
                    <a:gd name="T21" fmla="*/ 8 h 33"/>
                    <a:gd name="T22" fmla="*/ 8 w 53"/>
                    <a:gd name="T23" fmla="*/ 10 h 33"/>
                    <a:gd name="T24" fmla="*/ 6 w 53"/>
                    <a:gd name="T25" fmla="*/ 11 h 33"/>
                    <a:gd name="T26" fmla="*/ 5 w 53"/>
                    <a:gd name="T27" fmla="*/ 11 h 33"/>
                    <a:gd name="T28" fmla="*/ 3 w 53"/>
                    <a:gd name="T29" fmla="*/ 11 h 33"/>
                    <a:gd name="T30" fmla="*/ 0 w 53"/>
                    <a:gd name="T31" fmla="*/ 10 h 3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33">
                      <a:moveTo>
                        <a:pt x="0" y="31"/>
                      </a:moveTo>
                      <a:lnTo>
                        <a:pt x="4" y="26"/>
                      </a:lnTo>
                      <a:lnTo>
                        <a:pt x="8" y="21"/>
                      </a:lnTo>
                      <a:lnTo>
                        <a:pt x="15" y="16"/>
                      </a:lnTo>
                      <a:lnTo>
                        <a:pt x="21" y="11"/>
                      </a:lnTo>
                      <a:lnTo>
                        <a:pt x="29" y="7"/>
                      </a:lnTo>
                      <a:lnTo>
                        <a:pt x="38" y="3"/>
                      </a:lnTo>
                      <a:lnTo>
                        <a:pt x="45" y="1"/>
                      </a:lnTo>
                      <a:lnTo>
                        <a:pt x="53" y="0"/>
                      </a:lnTo>
                      <a:lnTo>
                        <a:pt x="53" y="18"/>
                      </a:lnTo>
                      <a:lnTo>
                        <a:pt x="38" y="24"/>
                      </a:lnTo>
                      <a:lnTo>
                        <a:pt x="27" y="30"/>
                      </a:lnTo>
                      <a:lnTo>
                        <a:pt x="21" y="32"/>
                      </a:lnTo>
                      <a:lnTo>
                        <a:pt x="16" y="33"/>
                      </a:lnTo>
                      <a:lnTo>
                        <a:pt x="9" y="33"/>
                      </a:lnTo>
                      <a:lnTo>
                        <a:pt x="0" y="31"/>
                      </a:lnTo>
                    </a:path>
                  </a:pathLst>
                </a:custGeom>
                <a:grpFill/>
                <a:ln w="9525" cap="flat" cmpd="sng">
                  <a:solidFill>
                    <a:srgbClr val="FFFFFF"/>
                  </a:solidFill>
                  <a:prstDash val="solid"/>
                  <a:round/>
                  <a:headEnd type="none" w="med" len="med"/>
                  <a:tailEnd type="none" w="med" len="med"/>
                </a:ln>
                <a:effectLst/>
              </p:spPr>
              <p:txBody>
                <a:bodyPr/>
                <a:lstStyle/>
                <a:p>
                  <a:endParaRPr lang="en-GB" sz="1637"/>
                </a:p>
              </p:txBody>
            </p:sp>
            <p:sp>
              <p:nvSpPr>
                <p:cNvPr id="272" name="Freeform 75"/>
                <p:cNvSpPr>
                  <a:spLocks/>
                </p:cNvSpPr>
                <p:nvPr/>
              </p:nvSpPr>
              <p:spPr bwMode="auto">
                <a:xfrm>
                  <a:off x="5379" y="3446"/>
                  <a:ext cx="202" cy="117"/>
                </a:xfrm>
                <a:custGeom>
                  <a:avLst/>
                  <a:gdLst>
                    <a:gd name="T0" fmla="*/ 8 w 631"/>
                    <a:gd name="T1" fmla="*/ 97 h 358"/>
                    <a:gd name="T2" fmla="*/ 16 w 631"/>
                    <a:gd name="T3" fmla="*/ 95 h 358"/>
                    <a:gd name="T4" fmla="*/ 21 w 631"/>
                    <a:gd name="T5" fmla="*/ 91 h 358"/>
                    <a:gd name="T6" fmla="*/ 25 w 631"/>
                    <a:gd name="T7" fmla="*/ 83 h 358"/>
                    <a:gd name="T8" fmla="*/ 32 w 631"/>
                    <a:gd name="T9" fmla="*/ 84 h 358"/>
                    <a:gd name="T10" fmla="*/ 40 w 631"/>
                    <a:gd name="T11" fmla="*/ 83 h 358"/>
                    <a:gd name="T12" fmla="*/ 45 w 631"/>
                    <a:gd name="T13" fmla="*/ 81 h 358"/>
                    <a:gd name="T14" fmla="*/ 52 w 631"/>
                    <a:gd name="T15" fmla="*/ 75 h 358"/>
                    <a:gd name="T16" fmla="*/ 58 w 631"/>
                    <a:gd name="T17" fmla="*/ 68 h 358"/>
                    <a:gd name="T18" fmla="*/ 68 w 631"/>
                    <a:gd name="T19" fmla="*/ 63 h 358"/>
                    <a:gd name="T20" fmla="*/ 83 w 631"/>
                    <a:gd name="T21" fmla="*/ 57 h 358"/>
                    <a:gd name="T22" fmla="*/ 105 w 631"/>
                    <a:gd name="T23" fmla="*/ 50 h 358"/>
                    <a:gd name="T24" fmla="*/ 116 w 631"/>
                    <a:gd name="T25" fmla="*/ 45 h 358"/>
                    <a:gd name="T26" fmla="*/ 125 w 631"/>
                    <a:gd name="T27" fmla="*/ 42 h 358"/>
                    <a:gd name="T28" fmla="*/ 130 w 631"/>
                    <a:gd name="T29" fmla="*/ 42 h 358"/>
                    <a:gd name="T30" fmla="*/ 141 w 631"/>
                    <a:gd name="T31" fmla="*/ 35 h 358"/>
                    <a:gd name="T32" fmla="*/ 150 w 631"/>
                    <a:gd name="T33" fmla="*/ 26 h 358"/>
                    <a:gd name="T34" fmla="*/ 153 w 631"/>
                    <a:gd name="T35" fmla="*/ 21 h 358"/>
                    <a:gd name="T36" fmla="*/ 161 w 631"/>
                    <a:gd name="T37" fmla="*/ 19 h 358"/>
                    <a:gd name="T38" fmla="*/ 172 w 631"/>
                    <a:gd name="T39" fmla="*/ 12 h 358"/>
                    <a:gd name="T40" fmla="*/ 182 w 631"/>
                    <a:gd name="T41" fmla="*/ 4 h 358"/>
                    <a:gd name="T42" fmla="*/ 189 w 631"/>
                    <a:gd name="T43" fmla="*/ 0 h 358"/>
                    <a:gd name="T44" fmla="*/ 193 w 631"/>
                    <a:gd name="T45" fmla="*/ 7 h 358"/>
                    <a:gd name="T46" fmla="*/ 198 w 631"/>
                    <a:gd name="T47" fmla="*/ 10 h 358"/>
                    <a:gd name="T48" fmla="*/ 200 w 631"/>
                    <a:gd name="T49" fmla="*/ 15 h 358"/>
                    <a:gd name="T50" fmla="*/ 192 w 631"/>
                    <a:gd name="T51" fmla="*/ 29 h 358"/>
                    <a:gd name="T52" fmla="*/ 182 w 631"/>
                    <a:gd name="T53" fmla="*/ 41 h 358"/>
                    <a:gd name="T54" fmla="*/ 169 w 631"/>
                    <a:gd name="T55" fmla="*/ 50 h 358"/>
                    <a:gd name="T56" fmla="*/ 156 w 631"/>
                    <a:gd name="T57" fmla="*/ 57 h 358"/>
                    <a:gd name="T58" fmla="*/ 142 w 631"/>
                    <a:gd name="T59" fmla="*/ 59 h 358"/>
                    <a:gd name="T60" fmla="*/ 140 w 631"/>
                    <a:gd name="T61" fmla="*/ 64 h 358"/>
                    <a:gd name="T62" fmla="*/ 139 w 631"/>
                    <a:gd name="T63" fmla="*/ 65 h 358"/>
                    <a:gd name="T64" fmla="*/ 126 w 631"/>
                    <a:gd name="T65" fmla="*/ 65 h 358"/>
                    <a:gd name="T66" fmla="*/ 117 w 631"/>
                    <a:gd name="T67" fmla="*/ 69 h 358"/>
                    <a:gd name="T68" fmla="*/ 111 w 631"/>
                    <a:gd name="T69" fmla="*/ 69 h 358"/>
                    <a:gd name="T70" fmla="*/ 108 w 631"/>
                    <a:gd name="T71" fmla="*/ 67 h 358"/>
                    <a:gd name="T72" fmla="*/ 100 w 631"/>
                    <a:gd name="T73" fmla="*/ 79 h 358"/>
                    <a:gd name="T74" fmla="*/ 87 w 631"/>
                    <a:gd name="T75" fmla="*/ 92 h 358"/>
                    <a:gd name="T76" fmla="*/ 70 w 631"/>
                    <a:gd name="T77" fmla="*/ 103 h 358"/>
                    <a:gd name="T78" fmla="*/ 53 w 631"/>
                    <a:gd name="T79" fmla="*/ 112 h 358"/>
                    <a:gd name="T80" fmla="*/ 35 w 631"/>
                    <a:gd name="T81" fmla="*/ 117 h 358"/>
                    <a:gd name="T82" fmla="*/ 23 w 631"/>
                    <a:gd name="T83" fmla="*/ 116 h 358"/>
                    <a:gd name="T84" fmla="*/ 18 w 631"/>
                    <a:gd name="T85" fmla="*/ 114 h 358"/>
                    <a:gd name="T86" fmla="*/ 11 w 631"/>
                    <a:gd name="T87" fmla="*/ 111 h 35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631" h="358">
                      <a:moveTo>
                        <a:pt x="0" y="327"/>
                      </a:moveTo>
                      <a:lnTo>
                        <a:pt x="7" y="297"/>
                      </a:lnTo>
                      <a:lnTo>
                        <a:pt x="24" y="296"/>
                      </a:lnTo>
                      <a:lnTo>
                        <a:pt x="39" y="293"/>
                      </a:lnTo>
                      <a:lnTo>
                        <a:pt x="44" y="292"/>
                      </a:lnTo>
                      <a:lnTo>
                        <a:pt x="50" y="290"/>
                      </a:lnTo>
                      <a:lnTo>
                        <a:pt x="54" y="287"/>
                      </a:lnTo>
                      <a:lnTo>
                        <a:pt x="58" y="285"/>
                      </a:lnTo>
                      <a:lnTo>
                        <a:pt x="65" y="277"/>
                      </a:lnTo>
                      <a:lnTo>
                        <a:pt x="70" y="270"/>
                      </a:lnTo>
                      <a:lnTo>
                        <a:pt x="75" y="262"/>
                      </a:lnTo>
                      <a:lnTo>
                        <a:pt x="79" y="253"/>
                      </a:lnTo>
                      <a:lnTo>
                        <a:pt x="87" y="255"/>
                      </a:lnTo>
                      <a:lnTo>
                        <a:pt x="93" y="256"/>
                      </a:lnTo>
                      <a:lnTo>
                        <a:pt x="100" y="256"/>
                      </a:lnTo>
                      <a:lnTo>
                        <a:pt x="106" y="256"/>
                      </a:lnTo>
                      <a:lnTo>
                        <a:pt x="116" y="254"/>
                      </a:lnTo>
                      <a:lnTo>
                        <a:pt x="126" y="253"/>
                      </a:lnTo>
                      <a:lnTo>
                        <a:pt x="131" y="252"/>
                      </a:lnTo>
                      <a:lnTo>
                        <a:pt x="136" y="250"/>
                      </a:lnTo>
                      <a:lnTo>
                        <a:pt x="141" y="247"/>
                      </a:lnTo>
                      <a:lnTo>
                        <a:pt x="145" y="244"/>
                      </a:lnTo>
                      <a:lnTo>
                        <a:pt x="153" y="237"/>
                      </a:lnTo>
                      <a:lnTo>
                        <a:pt x="162" y="229"/>
                      </a:lnTo>
                      <a:lnTo>
                        <a:pt x="168" y="220"/>
                      </a:lnTo>
                      <a:lnTo>
                        <a:pt x="175" y="213"/>
                      </a:lnTo>
                      <a:lnTo>
                        <a:pt x="180" y="208"/>
                      </a:lnTo>
                      <a:lnTo>
                        <a:pt x="186" y="204"/>
                      </a:lnTo>
                      <a:lnTo>
                        <a:pt x="199" y="198"/>
                      </a:lnTo>
                      <a:lnTo>
                        <a:pt x="211" y="192"/>
                      </a:lnTo>
                      <a:lnTo>
                        <a:pt x="223" y="187"/>
                      </a:lnTo>
                      <a:lnTo>
                        <a:pt x="235" y="182"/>
                      </a:lnTo>
                      <a:lnTo>
                        <a:pt x="260" y="175"/>
                      </a:lnTo>
                      <a:lnTo>
                        <a:pt x="283" y="167"/>
                      </a:lnTo>
                      <a:lnTo>
                        <a:pt x="308" y="160"/>
                      </a:lnTo>
                      <a:lnTo>
                        <a:pt x="329" y="152"/>
                      </a:lnTo>
                      <a:lnTo>
                        <a:pt x="340" y="147"/>
                      </a:lnTo>
                      <a:lnTo>
                        <a:pt x="351" y="142"/>
                      </a:lnTo>
                      <a:lnTo>
                        <a:pt x="361" y="137"/>
                      </a:lnTo>
                      <a:lnTo>
                        <a:pt x="372" y="130"/>
                      </a:lnTo>
                      <a:lnTo>
                        <a:pt x="382" y="130"/>
                      </a:lnTo>
                      <a:lnTo>
                        <a:pt x="392" y="130"/>
                      </a:lnTo>
                      <a:lnTo>
                        <a:pt x="396" y="130"/>
                      </a:lnTo>
                      <a:lnTo>
                        <a:pt x="401" y="129"/>
                      </a:lnTo>
                      <a:lnTo>
                        <a:pt x="406" y="127"/>
                      </a:lnTo>
                      <a:lnTo>
                        <a:pt x="413" y="124"/>
                      </a:lnTo>
                      <a:lnTo>
                        <a:pt x="426" y="117"/>
                      </a:lnTo>
                      <a:lnTo>
                        <a:pt x="440" y="107"/>
                      </a:lnTo>
                      <a:lnTo>
                        <a:pt x="454" y="97"/>
                      </a:lnTo>
                      <a:lnTo>
                        <a:pt x="465" y="86"/>
                      </a:lnTo>
                      <a:lnTo>
                        <a:pt x="469" y="80"/>
                      </a:lnTo>
                      <a:lnTo>
                        <a:pt x="473" y="74"/>
                      </a:lnTo>
                      <a:lnTo>
                        <a:pt x="477" y="69"/>
                      </a:lnTo>
                      <a:lnTo>
                        <a:pt x="478" y="63"/>
                      </a:lnTo>
                      <a:lnTo>
                        <a:pt x="488" y="62"/>
                      </a:lnTo>
                      <a:lnTo>
                        <a:pt x="496" y="61"/>
                      </a:lnTo>
                      <a:lnTo>
                        <a:pt x="504" y="58"/>
                      </a:lnTo>
                      <a:lnTo>
                        <a:pt x="512" y="54"/>
                      </a:lnTo>
                      <a:lnTo>
                        <a:pt x="525" y="46"/>
                      </a:lnTo>
                      <a:lnTo>
                        <a:pt x="537" y="36"/>
                      </a:lnTo>
                      <a:lnTo>
                        <a:pt x="549" y="26"/>
                      </a:lnTo>
                      <a:lnTo>
                        <a:pt x="561" y="16"/>
                      </a:lnTo>
                      <a:lnTo>
                        <a:pt x="568" y="11"/>
                      </a:lnTo>
                      <a:lnTo>
                        <a:pt x="575" y="7"/>
                      </a:lnTo>
                      <a:lnTo>
                        <a:pt x="583" y="4"/>
                      </a:lnTo>
                      <a:lnTo>
                        <a:pt x="591" y="0"/>
                      </a:lnTo>
                      <a:lnTo>
                        <a:pt x="594" y="10"/>
                      </a:lnTo>
                      <a:lnTo>
                        <a:pt x="597" y="16"/>
                      </a:lnTo>
                      <a:lnTo>
                        <a:pt x="602" y="22"/>
                      </a:lnTo>
                      <a:lnTo>
                        <a:pt x="606" y="25"/>
                      </a:lnTo>
                      <a:lnTo>
                        <a:pt x="612" y="28"/>
                      </a:lnTo>
                      <a:lnTo>
                        <a:pt x="617" y="30"/>
                      </a:lnTo>
                      <a:lnTo>
                        <a:pt x="624" y="31"/>
                      </a:lnTo>
                      <a:lnTo>
                        <a:pt x="631" y="31"/>
                      </a:lnTo>
                      <a:lnTo>
                        <a:pt x="625" y="46"/>
                      </a:lnTo>
                      <a:lnTo>
                        <a:pt x="618" y="61"/>
                      </a:lnTo>
                      <a:lnTo>
                        <a:pt x="611" y="75"/>
                      </a:lnTo>
                      <a:lnTo>
                        <a:pt x="601" y="88"/>
                      </a:lnTo>
                      <a:lnTo>
                        <a:pt x="591" y="101"/>
                      </a:lnTo>
                      <a:lnTo>
                        <a:pt x="580" y="114"/>
                      </a:lnTo>
                      <a:lnTo>
                        <a:pt x="568" y="125"/>
                      </a:lnTo>
                      <a:lnTo>
                        <a:pt x="556" y="136"/>
                      </a:lnTo>
                      <a:lnTo>
                        <a:pt x="543" y="145"/>
                      </a:lnTo>
                      <a:lnTo>
                        <a:pt x="529" y="154"/>
                      </a:lnTo>
                      <a:lnTo>
                        <a:pt x="515" y="161"/>
                      </a:lnTo>
                      <a:lnTo>
                        <a:pt x="501" y="167"/>
                      </a:lnTo>
                      <a:lnTo>
                        <a:pt x="487" y="173"/>
                      </a:lnTo>
                      <a:lnTo>
                        <a:pt x="473" y="177"/>
                      </a:lnTo>
                      <a:lnTo>
                        <a:pt x="459" y="179"/>
                      </a:lnTo>
                      <a:lnTo>
                        <a:pt x="445" y="180"/>
                      </a:lnTo>
                      <a:lnTo>
                        <a:pt x="443" y="189"/>
                      </a:lnTo>
                      <a:lnTo>
                        <a:pt x="439" y="195"/>
                      </a:lnTo>
                      <a:lnTo>
                        <a:pt x="438" y="197"/>
                      </a:lnTo>
                      <a:lnTo>
                        <a:pt x="436" y="199"/>
                      </a:lnTo>
                      <a:lnTo>
                        <a:pt x="435" y="200"/>
                      </a:lnTo>
                      <a:lnTo>
                        <a:pt x="433" y="200"/>
                      </a:lnTo>
                      <a:lnTo>
                        <a:pt x="422" y="199"/>
                      </a:lnTo>
                      <a:lnTo>
                        <a:pt x="405" y="198"/>
                      </a:lnTo>
                      <a:lnTo>
                        <a:pt x="395" y="199"/>
                      </a:lnTo>
                      <a:lnTo>
                        <a:pt x="385" y="202"/>
                      </a:lnTo>
                      <a:lnTo>
                        <a:pt x="376" y="206"/>
                      </a:lnTo>
                      <a:lnTo>
                        <a:pt x="367" y="210"/>
                      </a:lnTo>
                      <a:lnTo>
                        <a:pt x="358" y="213"/>
                      </a:lnTo>
                      <a:lnTo>
                        <a:pt x="351" y="213"/>
                      </a:lnTo>
                      <a:lnTo>
                        <a:pt x="347" y="212"/>
                      </a:lnTo>
                      <a:lnTo>
                        <a:pt x="344" y="211"/>
                      </a:lnTo>
                      <a:lnTo>
                        <a:pt x="342" y="208"/>
                      </a:lnTo>
                      <a:lnTo>
                        <a:pt x="338" y="204"/>
                      </a:lnTo>
                      <a:lnTo>
                        <a:pt x="333" y="216"/>
                      </a:lnTo>
                      <a:lnTo>
                        <a:pt x="324" y="229"/>
                      </a:lnTo>
                      <a:lnTo>
                        <a:pt x="313" y="241"/>
                      </a:lnTo>
                      <a:lnTo>
                        <a:pt x="301" y="254"/>
                      </a:lnTo>
                      <a:lnTo>
                        <a:pt x="288" y="267"/>
                      </a:lnTo>
                      <a:lnTo>
                        <a:pt x="272" y="280"/>
                      </a:lnTo>
                      <a:lnTo>
                        <a:pt x="256" y="293"/>
                      </a:lnTo>
                      <a:lnTo>
                        <a:pt x="238" y="304"/>
                      </a:lnTo>
                      <a:lnTo>
                        <a:pt x="220" y="315"/>
                      </a:lnTo>
                      <a:lnTo>
                        <a:pt x="202" y="325"/>
                      </a:lnTo>
                      <a:lnTo>
                        <a:pt x="182" y="334"/>
                      </a:lnTo>
                      <a:lnTo>
                        <a:pt x="164" y="343"/>
                      </a:lnTo>
                      <a:lnTo>
                        <a:pt x="145" y="349"/>
                      </a:lnTo>
                      <a:lnTo>
                        <a:pt x="127" y="354"/>
                      </a:lnTo>
                      <a:lnTo>
                        <a:pt x="110" y="357"/>
                      </a:lnTo>
                      <a:lnTo>
                        <a:pt x="93" y="358"/>
                      </a:lnTo>
                      <a:lnTo>
                        <a:pt x="80" y="358"/>
                      </a:lnTo>
                      <a:lnTo>
                        <a:pt x="71" y="356"/>
                      </a:lnTo>
                      <a:lnTo>
                        <a:pt x="65" y="354"/>
                      </a:lnTo>
                      <a:lnTo>
                        <a:pt x="60" y="351"/>
                      </a:lnTo>
                      <a:lnTo>
                        <a:pt x="56" y="348"/>
                      </a:lnTo>
                      <a:lnTo>
                        <a:pt x="51" y="345"/>
                      </a:lnTo>
                      <a:lnTo>
                        <a:pt x="44" y="343"/>
                      </a:lnTo>
                      <a:lnTo>
                        <a:pt x="33" y="340"/>
                      </a:lnTo>
                      <a:lnTo>
                        <a:pt x="0" y="327"/>
                      </a:lnTo>
                    </a:path>
                  </a:pathLst>
                </a:custGeom>
                <a:grpFill/>
                <a:ln w="9525" cap="flat" cmpd="sng">
                  <a:solidFill>
                    <a:srgbClr val="FFFFFF"/>
                  </a:solidFill>
                  <a:prstDash val="solid"/>
                  <a:round/>
                  <a:headEnd type="none" w="med" len="med"/>
                  <a:tailEnd type="none" w="med" len="med"/>
                </a:ln>
                <a:effectLst/>
              </p:spPr>
              <p:txBody>
                <a:bodyPr/>
                <a:lstStyle/>
                <a:p>
                  <a:endParaRPr lang="en-GB" sz="1637"/>
                </a:p>
              </p:txBody>
            </p:sp>
            <p:sp>
              <p:nvSpPr>
                <p:cNvPr id="273" name="Freeform 76"/>
                <p:cNvSpPr>
                  <a:spLocks/>
                </p:cNvSpPr>
                <p:nvPr/>
              </p:nvSpPr>
              <p:spPr bwMode="auto">
                <a:xfrm>
                  <a:off x="5597" y="3323"/>
                  <a:ext cx="116" cy="141"/>
                </a:xfrm>
                <a:custGeom>
                  <a:avLst/>
                  <a:gdLst>
                    <a:gd name="T0" fmla="*/ 19 w 359"/>
                    <a:gd name="T1" fmla="*/ 94 h 431"/>
                    <a:gd name="T2" fmla="*/ 31 w 359"/>
                    <a:gd name="T3" fmla="*/ 88 h 431"/>
                    <a:gd name="T4" fmla="*/ 53 w 359"/>
                    <a:gd name="T5" fmla="*/ 68 h 431"/>
                    <a:gd name="T6" fmla="*/ 56 w 359"/>
                    <a:gd name="T7" fmla="*/ 55 h 431"/>
                    <a:gd name="T8" fmla="*/ 58 w 359"/>
                    <a:gd name="T9" fmla="*/ 49 h 431"/>
                    <a:gd name="T10" fmla="*/ 62 w 359"/>
                    <a:gd name="T11" fmla="*/ 45 h 431"/>
                    <a:gd name="T12" fmla="*/ 61 w 359"/>
                    <a:gd name="T13" fmla="*/ 41 h 431"/>
                    <a:gd name="T14" fmla="*/ 58 w 359"/>
                    <a:gd name="T15" fmla="*/ 31 h 431"/>
                    <a:gd name="T16" fmla="*/ 56 w 359"/>
                    <a:gd name="T17" fmla="*/ 11 h 431"/>
                    <a:gd name="T18" fmla="*/ 59 w 359"/>
                    <a:gd name="T19" fmla="*/ 0 h 431"/>
                    <a:gd name="T20" fmla="*/ 63 w 359"/>
                    <a:gd name="T21" fmla="*/ 4 h 431"/>
                    <a:gd name="T22" fmla="*/ 67 w 359"/>
                    <a:gd name="T23" fmla="*/ 9 h 431"/>
                    <a:gd name="T24" fmla="*/ 75 w 359"/>
                    <a:gd name="T25" fmla="*/ 18 h 431"/>
                    <a:gd name="T26" fmla="*/ 77 w 359"/>
                    <a:gd name="T27" fmla="*/ 24 h 431"/>
                    <a:gd name="T28" fmla="*/ 77 w 359"/>
                    <a:gd name="T29" fmla="*/ 29 h 431"/>
                    <a:gd name="T30" fmla="*/ 73 w 359"/>
                    <a:gd name="T31" fmla="*/ 33 h 431"/>
                    <a:gd name="T32" fmla="*/ 66 w 359"/>
                    <a:gd name="T33" fmla="*/ 39 h 431"/>
                    <a:gd name="T34" fmla="*/ 64 w 359"/>
                    <a:gd name="T35" fmla="*/ 43 h 431"/>
                    <a:gd name="T36" fmla="*/ 64 w 359"/>
                    <a:gd name="T37" fmla="*/ 49 h 431"/>
                    <a:gd name="T38" fmla="*/ 66 w 359"/>
                    <a:gd name="T39" fmla="*/ 52 h 431"/>
                    <a:gd name="T40" fmla="*/ 73 w 359"/>
                    <a:gd name="T41" fmla="*/ 52 h 431"/>
                    <a:gd name="T42" fmla="*/ 75 w 359"/>
                    <a:gd name="T43" fmla="*/ 50 h 431"/>
                    <a:gd name="T44" fmla="*/ 75 w 359"/>
                    <a:gd name="T45" fmla="*/ 44 h 431"/>
                    <a:gd name="T46" fmla="*/ 84 w 359"/>
                    <a:gd name="T47" fmla="*/ 63 h 431"/>
                    <a:gd name="T48" fmla="*/ 88 w 359"/>
                    <a:gd name="T49" fmla="*/ 68 h 431"/>
                    <a:gd name="T50" fmla="*/ 94 w 359"/>
                    <a:gd name="T51" fmla="*/ 72 h 431"/>
                    <a:gd name="T52" fmla="*/ 97 w 359"/>
                    <a:gd name="T53" fmla="*/ 71 h 431"/>
                    <a:gd name="T54" fmla="*/ 101 w 359"/>
                    <a:gd name="T55" fmla="*/ 67 h 431"/>
                    <a:gd name="T56" fmla="*/ 110 w 359"/>
                    <a:gd name="T57" fmla="*/ 63 h 431"/>
                    <a:gd name="T58" fmla="*/ 115 w 359"/>
                    <a:gd name="T59" fmla="*/ 67 h 431"/>
                    <a:gd name="T60" fmla="*/ 111 w 359"/>
                    <a:gd name="T61" fmla="*/ 79 h 431"/>
                    <a:gd name="T62" fmla="*/ 104 w 359"/>
                    <a:gd name="T63" fmla="*/ 85 h 431"/>
                    <a:gd name="T64" fmla="*/ 95 w 359"/>
                    <a:gd name="T65" fmla="*/ 90 h 431"/>
                    <a:gd name="T66" fmla="*/ 80 w 359"/>
                    <a:gd name="T67" fmla="*/ 94 h 431"/>
                    <a:gd name="T68" fmla="*/ 67 w 359"/>
                    <a:gd name="T69" fmla="*/ 98 h 431"/>
                    <a:gd name="T70" fmla="*/ 62 w 359"/>
                    <a:gd name="T71" fmla="*/ 101 h 431"/>
                    <a:gd name="T72" fmla="*/ 58 w 359"/>
                    <a:gd name="T73" fmla="*/ 111 h 431"/>
                    <a:gd name="T74" fmla="*/ 53 w 359"/>
                    <a:gd name="T75" fmla="*/ 116 h 431"/>
                    <a:gd name="T76" fmla="*/ 35 w 359"/>
                    <a:gd name="T77" fmla="*/ 129 h 431"/>
                    <a:gd name="T78" fmla="*/ 16 w 359"/>
                    <a:gd name="T79" fmla="*/ 139 h 431"/>
                    <a:gd name="T80" fmla="*/ 6 w 359"/>
                    <a:gd name="T81" fmla="*/ 141 h 431"/>
                    <a:gd name="T82" fmla="*/ 2 w 359"/>
                    <a:gd name="T83" fmla="*/ 139 h 431"/>
                    <a:gd name="T84" fmla="*/ 0 w 359"/>
                    <a:gd name="T85" fmla="*/ 136 h 431"/>
                    <a:gd name="T86" fmla="*/ 0 w 359"/>
                    <a:gd name="T87" fmla="*/ 132 h 431"/>
                    <a:gd name="T88" fmla="*/ 3 w 359"/>
                    <a:gd name="T89" fmla="*/ 128 h 431"/>
                    <a:gd name="T90" fmla="*/ 18 w 359"/>
                    <a:gd name="T91" fmla="*/ 122 h 431"/>
                    <a:gd name="T92" fmla="*/ 24 w 359"/>
                    <a:gd name="T93" fmla="*/ 115 h 431"/>
                    <a:gd name="T94" fmla="*/ 23 w 359"/>
                    <a:gd name="T95" fmla="*/ 110 h 431"/>
                    <a:gd name="T96" fmla="*/ 21 w 359"/>
                    <a:gd name="T97" fmla="*/ 107 h 431"/>
                    <a:gd name="T98" fmla="*/ 16 w 359"/>
                    <a:gd name="T99" fmla="*/ 105 h 431"/>
                    <a:gd name="T100" fmla="*/ 6 w 359"/>
                    <a:gd name="T101" fmla="*/ 105 h 43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59" h="431">
                      <a:moveTo>
                        <a:pt x="39" y="296"/>
                      </a:moveTo>
                      <a:lnTo>
                        <a:pt x="50" y="292"/>
                      </a:lnTo>
                      <a:lnTo>
                        <a:pt x="60" y="288"/>
                      </a:lnTo>
                      <a:lnTo>
                        <a:pt x="70" y="284"/>
                      </a:lnTo>
                      <a:lnTo>
                        <a:pt x="79" y="279"/>
                      </a:lnTo>
                      <a:lnTo>
                        <a:pt x="95" y="269"/>
                      </a:lnTo>
                      <a:lnTo>
                        <a:pt x="110" y="257"/>
                      </a:lnTo>
                      <a:lnTo>
                        <a:pt x="138" y="233"/>
                      </a:lnTo>
                      <a:lnTo>
                        <a:pt x="165" y="209"/>
                      </a:lnTo>
                      <a:lnTo>
                        <a:pt x="166" y="198"/>
                      </a:lnTo>
                      <a:lnTo>
                        <a:pt x="170" y="175"/>
                      </a:lnTo>
                      <a:lnTo>
                        <a:pt x="172" y="168"/>
                      </a:lnTo>
                      <a:lnTo>
                        <a:pt x="174" y="162"/>
                      </a:lnTo>
                      <a:lnTo>
                        <a:pt x="176" y="156"/>
                      </a:lnTo>
                      <a:lnTo>
                        <a:pt x="180" y="149"/>
                      </a:lnTo>
                      <a:lnTo>
                        <a:pt x="183" y="144"/>
                      </a:lnTo>
                      <a:lnTo>
                        <a:pt x="188" y="140"/>
                      </a:lnTo>
                      <a:lnTo>
                        <a:pt x="193" y="137"/>
                      </a:lnTo>
                      <a:lnTo>
                        <a:pt x="199" y="135"/>
                      </a:lnTo>
                      <a:lnTo>
                        <a:pt x="194" y="131"/>
                      </a:lnTo>
                      <a:lnTo>
                        <a:pt x="190" y="126"/>
                      </a:lnTo>
                      <a:lnTo>
                        <a:pt x="186" y="119"/>
                      </a:lnTo>
                      <a:lnTo>
                        <a:pt x="184" y="112"/>
                      </a:lnTo>
                      <a:lnTo>
                        <a:pt x="179" y="94"/>
                      </a:lnTo>
                      <a:lnTo>
                        <a:pt x="175" y="75"/>
                      </a:lnTo>
                      <a:lnTo>
                        <a:pt x="174" y="54"/>
                      </a:lnTo>
                      <a:lnTo>
                        <a:pt x="173" y="34"/>
                      </a:lnTo>
                      <a:lnTo>
                        <a:pt x="172" y="16"/>
                      </a:lnTo>
                      <a:lnTo>
                        <a:pt x="172" y="0"/>
                      </a:lnTo>
                      <a:lnTo>
                        <a:pt x="182" y="0"/>
                      </a:lnTo>
                      <a:lnTo>
                        <a:pt x="192" y="0"/>
                      </a:lnTo>
                      <a:lnTo>
                        <a:pt x="193" y="6"/>
                      </a:lnTo>
                      <a:lnTo>
                        <a:pt x="194" y="11"/>
                      </a:lnTo>
                      <a:lnTo>
                        <a:pt x="196" y="16"/>
                      </a:lnTo>
                      <a:lnTo>
                        <a:pt x="199" y="20"/>
                      </a:lnTo>
                      <a:lnTo>
                        <a:pt x="207" y="29"/>
                      </a:lnTo>
                      <a:lnTo>
                        <a:pt x="216" y="37"/>
                      </a:lnTo>
                      <a:lnTo>
                        <a:pt x="224" y="47"/>
                      </a:lnTo>
                      <a:lnTo>
                        <a:pt x="231" y="56"/>
                      </a:lnTo>
                      <a:lnTo>
                        <a:pt x="235" y="62"/>
                      </a:lnTo>
                      <a:lnTo>
                        <a:pt x="237" y="67"/>
                      </a:lnTo>
                      <a:lnTo>
                        <a:pt x="238" y="73"/>
                      </a:lnTo>
                      <a:lnTo>
                        <a:pt x="239" y="80"/>
                      </a:lnTo>
                      <a:lnTo>
                        <a:pt x="238" y="84"/>
                      </a:lnTo>
                      <a:lnTo>
                        <a:pt x="237" y="88"/>
                      </a:lnTo>
                      <a:lnTo>
                        <a:pt x="235" y="92"/>
                      </a:lnTo>
                      <a:lnTo>
                        <a:pt x="232" y="95"/>
                      </a:lnTo>
                      <a:lnTo>
                        <a:pt x="226" y="102"/>
                      </a:lnTo>
                      <a:lnTo>
                        <a:pt x="219" y="108"/>
                      </a:lnTo>
                      <a:lnTo>
                        <a:pt x="211" y="114"/>
                      </a:lnTo>
                      <a:lnTo>
                        <a:pt x="205" y="120"/>
                      </a:lnTo>
                      <a:lnTo>
                        <a:pt x="203" y="123"/>
                      </a:lnTo>
                      <a:lnTo>
                        <a:pt x="200" y="127"/>
                      </a:lnTo>
                      <a:lnTo>
                        <a:pt x="199" y="131"/>
                      </a:lnTo>
                      <a:lnTo>
                        <a:pt x="199" y="135"/>
                      </a:lnTo>
                      <a:lnTo>
                        <a:pt x="199" y="143"/>
                      </a:lnTo>
                      <a:lnTo>
                        <a:pt x="199" y="149"/>
                      </a:lnTo>
                      <a:lnTo>
                        <a:pt x="200" y="155"/>
                      </a:lnTo>
                      <a:lnTo>
                        <a:pt x="203" y="157"/>
                      </a:lnTo>
                      <a:lnTo>
                        <a:pt x="205" y="159"/>
                      </a:lnTo>
                      <a:lnTo>
                        <a:pt x="210" y="160"/>
                      </a:lnTo>
                      <a:lnTo>
                        <a:pt x="217" y="160"/>
                      </a:lnTo>
                      <a:lnTo>
                        <a:pt x="226" y="160"/>
                      </a:lnTo>
                      <a:lnTo>
                        <a:pt x="229" y="160"/>
                      </a:lnTo>
                      <a:lnTo>
                        <a:pt x="232" y="158"/>
                      </a:lnTo>
                      <a:lnTo>
                        <a:pt x="233" y="153"/>
                      </a:lnTo>
                      <a:lnTo>
                        <a:pt x="233" y="150"/>
                      </a:lnTo>
                      <a:lnTo>
                        <a:pt x="233" y="142"/>
                      </a:lnTo>
                      <a:lnTo>
                        <a:pt x="232" y="135"/>
                      </a:lnTo>
                      <a:lnTo>
                        <a:pt x="244" y="163"/>
                      </a:lnTo>
                      <a:lnTo>
                        <a:pt x="255" y="188"/>
                      </a:lnTo>
                      <a:lnTo>
                        <a:pt x="259" y="193"/>
                      </a:lnTo>
                      <a:lnTo>
                        <a:pt x="262" y="198"/>
                      </a:lnTo>
                      <a:lnTo>
                        <a:pt x="266" y="203"/>
                      </a:lnTo>
                      <a:lnTo>
                        <a:pt x="271" y="208"/>
                      </a:lnTo>
                      <a:lnTo>
                        <a:pt x="276" y="213"/>
                      </a:lnTo>
                      <a:lnTo>
                        <a:pt x="283" y="216"/>
                      </a:lnTo>
                      <a:lnTo>
                        <a:pt x="291" y="219"/>
                      </a:lnTo>
                      <a:lnTo>
                        <a:pt x="298" y="222"/>
                      </a:lnTo>
                      <a:lnTo>
                        <a:pt x="299" y="220"/>
                      </a:lnTo>
                      <a:lnTo>
                        <a:pt x="300" y="217"/>
                      </a:lnTo>
                      <a:lnTo>
                        <a:pt x="303" y="215"/>
                      </a:lnTo>
                      <a:lnTo>
                        <a:pt x="305" y="212"/>
                      </a:lnTo>
                      <a:lnTo>
                        <a:pt x="312" y="206"/>
                      </a:lnTo>
                      <a:lnTo>
                        <a:pt x="321" y="201"/>
                      </a:lnTo>
                      <a:lnTo>
                        <a:pt x="331" y="197"/>
                      </a:lnTo>
                      <a:lnTo>
                        <a:pt x="341" y="194"/>
                      </a:lnTo>
                      <a:lnTo>
                        <a:pt x="350" y="192"/>
                      </a:lnTo>
                      <a:lnTo>
                        <a:pt x="359" y="191"/>
                      </a:lnTo>
                      <a:lnTo>
                        <a:pt x="355" y="206"/>
                      </a:lnTo>
                      <a:lnTo>
                        <a:pt x="352" y="219"/>
                      </a:lnTo>
                      <a:lnTo>
                        <a:pt x="348" y="231"/>
                      </a:lnTo>
                      <a:lnTo>
                        <a:pt x="342" y="240"/>
                      </a:lnTo>
                      <a:lnTo>
                        <a:pt x="336" y="248"/>
                      </a:lnTo>
                      <a:lnTo>
                        <a:pt x="329" y="255"/>
                      </a:lnTo>
                      <a:lnTo>
                        <a:pt x="321" y="261"/>
                      </a:lnTo>
                      <a:lnTo>
                        <a:pt x="314" y="267"/>
                      </a:lnTo>
                      <a:lnTo>
                        <a:pt x="305" y="271"/>
                      </a:lnTo>
                      <a:lnTo>
                        <a:pt x="295" y="275"/>
                      </a:lnTo>
                      <a:lnTo>
                        <a:pt x="284" y="278"/>
                      </a:lnTo>
                      <a:lnTo>
                        <a:pt x="272" y="281"/>
                      </a:lnTo>
                      <a:lnTo>
                        <a:pt x="247" y="288"/>
                      </a:lnTo>
                      <a:lnTo>
                        <a:pt x="219" y="296"/>
                      </a:lnTo>
                      <a:lnTo>
                        <a:pt x="213" y="297"/>
                      </a:lnTo>
                      <a:lnTo>
                        <a:pt x="208" y="299"/>
                      </a:lnTo>
                      <a:lnTo>
                        <a:pt x="204" y="301"/>
                      </a:lnTo>
                      <a:lnTo>
                        <a:pt x="199" y="303"/>
                      </a:lnTo>
                      <a:lnTo>
                        <a:pt x="193" y="308"/>
                      </a:lnTo>
                      <a:lnTo>
                        <a:pt x="188" y="314"/>
                      </a:lnTo>
                      <a:lnTo>
                        <a:pt x="183" y="328"/>
                      </a:lnTo>
                      <a:lnTo>
                        <a:pt x="179" y="339"/>
                      </a:lnTo>
                      <a:lnTo>
                        <a:pt x="175" y="344"/>
                      </a:lnTo>
                      <a:lnTo>
                        <a:pt x="170" y="350"/>
                      </a:lnTo>
                      <a:lnTo>
                        <a:pt x="163" y="356"/>
                      </a:lnTo>
                      <a:lnTo>
                        <a:pt x="154" y="363"/>
                      </a:lnTo>
                      <a:lnTo>
                        <a:pt x="134" y="379"/>
                      </a:lnTo>
                      <a:lnTo>
                        <a:pt x="109" y="394"/>
                      </a:lnTo>
                      <a:lnTo>
                        <a:pt x="84" y="408"/>
                      </a:lnTo>
                      <a:lnTo>
                        <a:pt x="59" y="420"/>
                      </a:lnTo>
                      <a:lnTo>
                        <a:pt x="48" y="424"/>
                      </a:lnTo>
                      <a:lnTo>
                        <a:pt x="37" y="428"/>
                      </a:lnTo>
                      <a:lnTo>
                        <a:pt x="28" y="430"/>
                      </a:lnTo>
                      <a:lnTo>
                        <a:pt x="19" y="431"/>
                      </a:lnTo>
                      <a:lnTo>
                        <a:pt x="15" y="430"/>
                      </a:lnTo>
                      <a:lnTo>
                        <a:pt x="11" y="429"/>
                      </a:lnTo>
                      <a:lnTo>
                        <a:pt x="7" y="426"/>
                      </a:lnTo>
                      <a:lnTo>
                        <a:pt x="5" y="423"/>
                      </a:lnTo>
                      <a:lnTo>
                        <a:pt x="3" y="420"/>
                      </a:lnTo>
                      <a:lnTo>
                        <a:pt x="1" y="415"/>
                      </a:lnTo>
                      <a:lnTo>
                        <a:pt x="0" y="411"/>
                      </a:lnTo>
                      <a:lnTo>
                        <a:pt x="0" y="406"/>
                      </a:lnTo>
                      <a:lnTo>
                        <a:pt x="1" y="402"/>
                      </a:lnTo>
                      <a:lnTo>
                        <a:pt x="2" y="398"/>
                      </a:lnTo>
                      <a:lnTo>
                        <a:pt x="5" y="395"/>
                      </a:lnTo>
                      <a:lnTo>
                        <a:pt x="9" y="391"/>
                      </a:lnTo>
                      <a:lnTo>
                        <a:pt x="19" y="386"/>
                      </a:lnTo>
                      <a:lnTo>
                        <a:pt x="31" y="382"/>
                      </a:lnTo>
                      <a:lnTo>
                        <a:pt x="56" y="374"/>
                      </a:lnTo>
                      <a:lnTo>
                        <a:pt x="73" y="369"/>
                      </a:lnTo>
                      <a:lnTo>
                        <a:pt x="73" y="360"/>
                      </a:lnTo>
                      <a:lnTo>
                        <a:pt x="73" y="351"/>
                      </a:lnTo>
                      <a:lnTo>
                        <a:pt x="72" y="345"/>
                      </a:lnTo>
                      <a:lnTo>
                        <a:pt x="72" y="339"/>
                      </a:lnTo>
                      <a:lnTo>
                        <a:pt x="71" y="335"/>
                      </a:lnTo>
                      <a:lnTo>
                        <a:pt x="69" y="331"/>
                      </a:lnTo>
                      <a:lnTo>
                        <a:pt x="67" y="328"/>
                      </a:lnTo>
                      <a:lnTo>
                        <a:pt x="64" y="326"/>
                      </a:lnTo>
                      <a:lnTo>
                        <a:pt x="62" y="324"/>
                      </a:lnTo>
                      <a:lnTo>
                        <a:pt x="59" y="322"/>
                      </a:lnTo>
                      <a:lnTo>
                        <a:pt x="51" y="320"/>
                      </a:lnTo>
                      <a:lnTo>
                        <a:pt x="41" y="319"/>
                      </a:lnTo>
                      <a:lnTo>
                        <a:pt x="31" y="320"/>
                      </a:lnTo>
                      <a:lnTo>
                        <a:pt x="19" y="320"/>
                      </a:lnTo>
                      <a:lnTo>
                        <a:pt x="39" y="296"/>
                      </a:lnTo>
                    </a:path>
                  </a:pathLst>
                </a:custGeom>
                <a:grpFill/>
                <a:ln w="9525" cap="flat" cmpd="sng">
                  <a:solidFill>
                    <a:srgbClr val="FFFFFF"/>
                  </a:solidFill>
                  <a:prstDash val="solid"/>
                  <a:round/>
                  <a:headEnd type="none" w="med" len="med"/>
                  <a:tailEnd type="none" w="med" len="med"/>
                </a:ln>
                <a:effectLst/>
              </p:spPr>
              <p:txBody>
                <a:bodyPr/>
                <a:lstStyle/>
                <a:p>
                  <a:endParaRPr lang="en-GB" sz="1637"/>
                </a:p>
              </p:txBody>
            </p:sp>
          </p:grpSp>
          <p:sp>
            <p:nvSpPr>
              <p:cNvPr id="29" name="Freeform 78"/>
              <p:cNvSpPr>
                <a:spLocks/>
              </p:cNvSpPr>
              <p:nvPr>
                <p:custDataLst>
                  <p:tags r:id="rId12"/>
                </p:custDataLst>
              </p:nvPr>
            </p:nvSpPr>
            <p:spPr bwMode="auto">
              <a:xfrm>
                <a:off x="8361153" y="4694730"/>
                <a:ext cx="15597" cy="64475"/>
              </a:xfrm>
              <a:custGeom>
                <a:avLst/>
                <a:gdLst>
                  <a:gd name="T0" fmla="*/ 0 w 33"/>
                  <a:gd name="T1" fmla="*/ 0 h 24"/>
                  <a:gd name="T2" fmla="*/ 2165 w 33"/>
                  <a:gd name="T3" fmla="*/ 11906 h 24"/>
                  <a:gd name="T4" fmla="*/ 4330 w 33"/>
                  <a:gd name="T5" fmla="*/ 23813 h 24"/>
                  <a:gd name="T6" fmla="*/ 4763 w 33"/>
                  <a:gd name="T7" fmla="*/ 30956 h 24"/>
                  <a:gd name="T8" fmla="*/ 5196 w 33"/>
                  <a:gd name="T9" fmla="*/ 38100 h 24"/>
                  <a:gd name="T10" fmla="*/ 5629 w 33"/>
                  <a:gd name="T11" fmla="*/ 47625 h 24"/>
                  <a:gd name="T12" fmla="*/ 5629 w 33"/>
                  <a:gd name="T13" fmla="*/ 57150 h 24"/>
                  <a:gd name="T14" fmla="*/ 14288 w 33"/>
                  <a:gd name="T15" fmla="*/ 0 h 24"/>
                  <a:gd name="T16" fmla="*/ 10391 w 33"/>
                  <a:gd name="T17" fmla="*/ 0 h 24"/>
                  <a:gd name="T18" fmla="*/ 6928 w 33"/>
                  <a:gd name="T19" fmla="*/ 0 h 24"/>
                  <a:gd name="T20" fmla="*/ 3897 w 33"/>
                  <a:gd name="T21" fmla="*/ 0 h 24"/>
                  <a:gd name="T22" fmla="*/ 0 w 33"/>
                  <a:gd name="T23" fmla="*/ 0 h 2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3" h="24">
                    <a:moveTo>
                      <a:pt x="0" y="0"/>
                    </a:moveTo>
                    <a:lnTo>
                      <a:pt x="5" y="5"/>
                    </a:lnTo>
                    <a:lnTo>
                      <a:pt x="10" y="10"/>
                    </a:lnTo>
                    <a:lnTo>
                      <a:pt x="11" y="13"/>
                    </a:lnTo>
                    <a:lnTo>
                      <a:pt x="12" y="16"/>
                    </a:lnTo>
                    <a:lnTo>
                      <a:pt x="13" y="20"/>
                    </a:lnTo>
                    <a:lnTo>
                      <a:pt x="13" y="24"/>
                    </a:lnTo>
                    <a:lnTo>
                      <a:pt x="33" y="0"/>
                    </a:lnTo>
                    <a:lnTo>
                      <a:pt x="24" y="0"/>
                    </a:lnTo>
                    <a:lnTo>
                      <a:pt x="16" y="0"/>
                    </a:lnTo>
                    <a:lnTo>
                      <a:pt x="9" y="0"/>
                    </a:lnTo>
                    <a:lnTo>
                      <a:pt x="0" y="0"/>
                    </a:lnTo>
                  </a:path>
                </a:pathLst>
              </a:custGeom>
              <a:grpFill/>
              <a:ln w="9525" cmpd="sng">
                <a:solidFill>
                  <a:srgbClr val="FFFFFF"/>
                </a:solidFill>
                <a:prstDash val="solid"/>
                <a:round/>
                <a:headEnd/>
                <a:tailEnd/>
              </a:ln>
            </p:spPr>
            <p:txBody>
              <a:bodyPr/>
              <a:lstStyle/>
              <a:p>
                <a:endParaRPr lang="en-GB" sz="1637"/>
              </a:p>
            </p:txBody>
          </p:sp>
          <p:sp>
            <p:nvSpPr>
              <p:cNvPr id="30" name="Freeform 79"/>
              <p:cNvSpPr>
                <a:spLocks/>
              </p:cNvSpPr>
              <p:nvPr>
                <p:custDataLst>
                  <p:tags r:id="rId13"/>
                </p:custDataLst>
              </p:nvPr>
            </p:nvSpPr>
            <p:spPr bwMode="auto">
              <a:xfrm>
                <a:off x="8385415" y="4705476"/>
                <a:ext cx="19063" cy="66265"/>
              </a:xfrm>
              <a:custGeom>
                <a:avLst/>
                <a:gdLst>
                  <a:gd name="T0" fmla="*/ 13759 w 33"/>
                  <a:gd name="T1" fmla="*/ 58737 h 25"/>
                  <a:gd name="T2" fmla="*/ 15346 w 33"/>
                  <a:gd name="T3" fmla="*/ 51689 h 25"/>
                  <a:gd name="T4" fmla="*/ 17463 w 33"/>
                  <a:gd name="T5" fmla="*/ 42291 h 25"/>
                  <a:gd name="T6" fmla="*/ 17463 w 33"/>
                  <a:gd name="T7" fmla="*/ 0 h 25"/>
                  <a:gd name="T8" fmla="*/ 13230 w 33"/>
                  <a:gd name="T9" fmla="*/ 0 h 25"/>
                  <a:gd name="T10" fmla="*/ 8467 w 33"/>
                  <a:gd name="T11" fmla="*/ 0 h 25"/>
                  <a:gd name="T12" fmla="*/ 3175 w 33"/>
                  <a:gd name="T13" fmla="*/ 0 h 25"/>
                  <a:gd name="T14" fmla="*/ 0 w 33"/>
                  <a:gd name="T15" fmla="*/ 0 h 25"/>
                  <a:gd name="T16" fmla="*/ 13759 w 33"/>
                  <a:gd name="T17" fmla="*/ 58737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25">
                    <a:moveTo>
                      <a:pt x="26" y="25"/>
                    </a:moveTo>
                    <a:lnTo>
                      <a:pt x="29" y="22"/>
                    </a:lnTo>
                    <a:lnTo>
                      <a:pt x="33" y="18"/>
                    </a:lnTo>
                    <a:lnTo>
                      <a:pt x="33" y="0"/>
                    </a:lnTo>
                    <a:lnTo>
                      <a:pt x="25" y="0"/>
                    </a:lnTo>
                    <a:lnTo>
                      <a:pt x="16" y="0"/>
                    </a:lnTo>
                    <a:lnTo>
                      <a:pt x="6" y="0"/>
                    </a:lnTo>
                    <a:lnTo>
                      <a:pt x="0" y="0"/>
                    </a:lnTo>
                    <a:lnTo>
                      <a:pt x="26" y="25"/>
                    </a:lnTo>
                  </a:path>
                </a:pathLst>
              </a:custGeom>
              <a:grpFill/>
              <a:ln w="9525" cmpd="sng">
                <a:solidFill>
                  <a:srgbClr val="FFFFFF"/>
                </a:solidFill>
                <a:prstDash val="solid"/>
                <a:round/>
                <a:headEnd/>
                <a:tailEnd/>
              </a:ln>
            </p:spPr>
            <p:txBody>
              <a:bodyPr/>
              <a:lstStyle/>
              <a:p>
                <a:endParaRPr lang="en-GB" sz="1637"/>
              </a:p>
            </p:txBody>
          </p:sp>
          <p:sp>
            <p:nvSpPr>
              <p:cNvPr id="31" name="Freeform 81"/>
              <p:cNvSpPr>
                <a:spLocks/>
              </p:cNvSpPr>
              <p:nvPr>
                <p:custDataLst>
                  <p:tags r:id="rId14"/>
                </p:custDataLst>
              </p:nvPr>
            </p:nvSpPr>
            <p:spPr bwMode="auto">
              <a:xfrm>
                <a:off x="7700889" y="3602242"/>
                <a:ext cx="6932" cy="64475"/>
              </a:xfrm>
              <a:custGeom>
                <a:avLst/>
                <a:gdLst>
                  <a:gd name="T0" fmla="*/ 6350 w 16"/>
                  <a:gd name="T1" fmla="*/ 0 h 25"/>
                  <a:gd name="T2" fmla="*/ 6350 w 16"/>
                  <a:gd name="T3" fmla="*/ 13716 h 25"/>
                  <a:gd name="T4" fmla="*/ 5556 w 16"/>
                  <a:gd name="T5" fmla="*/ 29718 h 25"/>
                  <a:gd name="T6" fmla="*/ 5159 w 16"/>
                  <a:gd name="T7" fmla="*/ 36576 h 25"/>
                  <a:gd name="T8" fmla="*/ 4366 w 16"/>
                  <a:gd name="T9" fmla="*/ 45720 h 25"/>
                  <a:gd name="T10" fmla="*/ 2778 w 16"/>
                  <a:gd name="T11" fmla="*/ 52578 h 25"/>
                  <a:gd name="T12" fmla="*/ 1191 w 16"/>
                  <a:gd name="T13" fmla="*/ 57150 h 25"/>
                  <a:gd name="T14" fmla="*/ 397 w 16"/>
                  <a:gd name="T15" fmla="*/ 54864 h 25"/>
                  <a:gd name="T16" fmla="*/ 0 w 16"/>
                  <a:gd name="T17" fmla="*/ 48006 h 25"/>
                  <a:gd name="T18" fmla="*/ 397 w 16"/>
                  <a:gd name="T19" fmla="*/ 41148 h 25"/>
                  <a:gd name="T20" fmla="*/ 794 w 16"/>
                  <a:gd name="T21" fmla="*/ 29718 h 25"/>
                  <a:gd name="T22" fmla="*/ 1588 w 16"/>
                  <a:gd name="T23" fmla="*/ 20574 h 25"/>
                  <a:gd name="T24" fmla="*/ 2778 w 16"/>
                  <a:gd name="T25" fmla="*/ 9144 h 25"/>
                  <a:gd name="T26" fmla="*/ 4366 w 16"/>
                  <a:gd name="T27" fmla="*/ 2286 h 25"/>
                  <a:gd name="T28" fmla="*/ 6350 w 16"/>
                  <a:gd name="T29" fmla="*/ 0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6" h="25">
                    <a:moveTo>
                      <a:pt x="16" y="0"/>
                    </a:moveTo>
                    <a:lnTo>
                      <a:pt x="16" y="6"/>
                    </a:lnTo>
                    <a:lnTo>
                      <a:pt x="14" y="13"/>
                    </a:lnTo>
                    <a:lnTo>
                      <a:pt x="13" y="16"/>
                    </a:lnTo>
                    <a:lnTo>
                      <a:pt x="11" y="20"/>
                    </a:lnTo>
                    <a:lnTo>
                      <a:pt x="7" y="23"/>
                    </a:lnTo>
                    <a:lnTo>
                      <a:pt x="3" y="25"/>
                    </a:lnTo>
                    <a:lnTo>
                      <a:pt x="1" y="24"/>
                    </a:lnTo>
                    <a:lnTo>
                      <a:pt x="0" y="21"/>
                    </a:lnTo>
                    <a:lnTo>
                      <a:pt x="1" y="18"/>
                    </a:lnTo>
                    <a:lnTo>
                      <a:pt x="2" y="13"/>
                    </a:lnTo>
                    <a:lnTo>
                      <a:pt x="4" y="9"/>
                    </a:lnTo>
                    <a:lnTo>
                      <a:pt x="7" y="4"/>
                    </a:lnTo>
                    <a:lnTo>
                      <a:pt x="11" y="1"/>
                    </a:lnTo>
                    <a:lnTo>
                      <a:pt x="16" y="0"/>
                    </a:lnTo>
                  </a:path>
                </a:pathLst>
              </a:custGeom>
              <a:grpFill/>
              <a:ln w="9525" cmpd="sng">
                <a:solidFill>
                  <a:srgbClr val="FFFFFF"/>
                </a:solidFill>
                <a:prstDash val="solid"/>
                <a:round/>
                <a:headEnd/>
                <a:tailEnd/>
              </a:ln>
            </p:spPr>
            <p:txBody>
              <a:bodyPr/>
              <a:lstStyle/>
              <a:p>
                <a:endParaRPr lang="en-GB" sz="1637"/>
              </a:p>
            </p:txBody>
          </p:sp>
          <p:sp>
            <p:nvSpPr>
              <p:cNvPr id="32" name="Freeform 82"/>
              <p:cNvSpPr>
                <a:spLocks/>
              </p:cNvSpPr>
              <p:nvPr>
                <p:custDataLst>
                  <p:tags r:id="rId15"/>
                </p:custDataLst>
              </p:nvPr>
            </p:nvSpPr>
            <p:spPr bwMode="auto">
              <a:xfrm>
                <a:off x="7823930" y="3476874"/>
                <a:ext cx="5199" cy="64475"/>
              </a:xfrm>
              <a:custGeom>
                <a:avLst/>
                <a:gdLst>
                  <a:gd name="T0" fmla="*/ 0 w 14"/>
                  <a:gd name="T1" fmla="*/ 0 h 18"/>
                  <a:gd name="T2" fmla="*/ 1021 w 14"/>
                  <a:gd name="T3" fmla="*/ 3175 h 18"/>
                  <a:gd name="T4" fmla="*/ 1701 w 14"/>
                  <a:gd name="T5" fmla="*/ 6350 h 18"/>
                  <a:gd name="T6" fmla="*/ 2382 w 14"/>
                  <a:gd name="T7" fmla="*/ 12700 h 18"/>
                  <a:gd name="T8" fmla="*/ 3062 w 14"/>
                  <a:gd name="T9" fmla="*/ 22225 h 18"/>
                  <a:gd name="T10" fmla="*/ 4423 w 14"/>
                  <a:gd name="T11" fmla="*/ 41275 h 18"/>
                  <a:gd name="T12" fmla="*/ 4763 w 14"/>
                  <a:gd name="T13" fmla="*/ 57150 h 18"/>
                  <a:gd name="T14" fmla="*/ 0 w 14"/>
                  <a:gd name="T15" fmla="*/ 0 h 1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4" h="18">
                    <a:moveTo>
                      <a:pt x="0" y="0"/>
                    </a:moveTo>
                    <a:lnTo>
                      <a:pt x="3" y="1"/>
                    </a:lnTo>
                    <a:lnTo>
                      <a:pt x="5" y="2"/>
                    </a:lnTo>
                    <a:lnTo>
                      <a:pt x="7" y="4"/>
                    </a:lnTo>
                    <a:lnTo>
                      <a:pt x="9" y="7"/>
                    </a:lnTo>
                    <a:lnTo>
                      <a:pt x="13" y="13"/>
                    </a:lnTo>
                    <a:lnTo>
                      <a:pt x="14" y="18"/>
                    </a:lnTo>
                    <a:lnTo>
                      <a:pt x="0" y="0"/>
                    </a:lnTo>
                  </a:path>
                </a:pathLst>
              </a:custGeom>
              <a:grpFill/>
              <a:ln w="9525" cmpd="sng">
                <a:solidFill>
                  <a:srgbClr val="FFFFFF"/>
                </a:solidFill>
                <a:prstDash val="solid"/>
                <a:round/>
                <a:headEnd/>
                <a:tailEnd/>
              </a:ln>
            </p:spPr>
            <p:txBody>
              <a:bodyPr/>
              <a:lstStyle/>
              <a:p>
                <a:endParaRPr lang="en-GB" sz="1637"/>
              </a:p>
            </p:txBody>
          </p:sp>
          <p:sp>
            <p:nvSpPr>
              <p:cNvPr id="33" name="Freeform 83"/>
              <p:cNvSpPr>
                <a:spLocks/>
              </p:cNvSpPr>
              <p:nvPr>
                <p:custDataLst>
                  <p:tags r:id="rId16"/>
                </p:custDataLst>
              </p:nvPr>
            </p:nvSpPr>
            <p:spPr bwMode="auto">
              <a:xfrm>
                <a:off x="7990296" y="4264899"/>
                <a:ext cx="29461" cy="66265"/>
              </a:xfrm>
              <a:custGeom>
                <a:avLst/>
                <a:gdLst>
                  <a:gd name="T0" fmla="*/ 0 w 67"/>
                  <a:gd name="T1" fmla="*/ 0 h 74"/>
                  <a:gd name="T2" fmla="*/ 403 w 67"/>
                  <a:gd name="T3" fmla="*/ 13494 h 74"/>
                  <a:gd name="T4" fmla="*/ 1208 w 67"/>
                  <a:gd name="T5" fmla="*/ 23812 h 74"/>
                  <a:gd name="T6" fmla="*/ 2820 w 67"/>
                  <a:gd name="T7" fmla="*/ 32543 h 74"/>
                  <a:gd name="T8" fmla="*/ 4834 w 67"/>
                  <a:gd name="T9" fmla="*/ 39687 h 74"/>
                  <a:gd name="T10" fmla="*/ 6848 w 67"/>
                  <a:gd name="T11" fmla="*/ 46037 h 74"/>
                  <a:gd name="T12" fmla="*/ 9265 w 67"/>
                  <a:gd name="T13" fmla="*/ 50800 h 74"/>
                  <a:gd name="T14" fmla="*/ 11279 w 67"/>
                  <a:gd name="T15" fmla="*/ 54768 h 74"/>
                  <a:gd name="T16" fmla="*/ 13293 w 67"/>
                  <a:gd name="T17" fmla="*/ 58737 h 74"/>
                  <a:gd name="T18" fmla="*/ 17723 w 67"/>
                  <a:gd name="T19" fmla="*/ 51593 h 74"/>
                  <a:gd name="T20" fmla="*/ 22154 w 67"/>
                  <a:gd name="T21" fmla="*/ 43656 h 74"/>
                  <a:gd name="T22" fmla="*/ 23766 w 67"/>
                  <a:gd name="T23" fmla="*/ 38893 h 74"/>
                  <a:gd name="T24" fmla="*/ 25377 w 67"/>
                  <a:gd name="T25" fmla="*/ 34131 h 74"/>
                  <a:gd name="T26" fmla="*/ 26585 w 67"/>
                  <a:gd name="T27" fmla="*/ 29369 h 74"/>
                  <a:gd name="T28" fmla="*/ 26988 w 67"/>
                  <a:gd name="T29" fmla="*/ 23812 h 74"/>
                  <a:gd name="T30" fmla="*/ 26988 w 67"/>
                  <a:gd name="T31" fmla="*/ 19844 h 74"/>
                  <a:gd name="T32" fmla="*/ 26988 w 67"/>
                  <a:gd name="T33" fmla="*/ 14287 h 74"/>
                  <a:gd name="T34" fmla="*/ 26988 w 67"/>
                  <a:gd name="T35" fmla="*/ 7144 h 74"/>
                  <a:gd name="T36" fmla="*/ 26988 w 67"/>
                  <a:gd name="T37" fmla="*/ 0 h 74"/>
                  <a:gd name="T38" fmla="*/ 19335 w 67"/>
                  <a:gd name="T39" fmla="*/ 0 h 74"/>
                  <a:gd name="T40" fmla="*/ 13293 w 67"/>
                  <a:gd name="T41" fmla="*/ 0 h 74"/>
                  <a:gd name="T42" fmla="*/ 6848 w 67"/>
                  <a:gd name="T43" fmla="*/ 0 h 74"/>
                  <a:gd name="T44" fmla="*/ 0 w 67"/>
                  <a:gd name="T45" fmla="*/ 0 h 7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7" h="74">
                    <a:moveTo>
                      <a:pt x="0" y="0"/>
                    </a:moveTo>
                    <a:lnTo>
                      <a:pt x="1" y="17"/>
                    </a:lnTo>
                    <a:lnTo>
                      <a:pt x="3" y="30"/>
                    </a:lnTo>
                    <a:lnTo>
                      <a:pt x="7" y="41"/>
                    </a:lnTo>
                    <a:lnTo>
                      <a:pt x="12" y="50"/>
                    </a:lnTo>
                    <a:lnTo>
                      <a:pt x="17" y="58"/>
                    </a:lnTo>
                    <a:lnTo>
                      <a:pt x="23" y="64"/>
                    </a:lnTo>
                    <a:lnTo>
                      <a:pt x="28" y="69"/>
                    </a:lnTo>
                    <a:lnTo>
                      <a:pt x="33" y="74"/>
                    </a:lnTo>
                    <a:lnTo>
                      <a:pt x="44" y="65"/>
                    </a:lnTo>
                    <a:lnTo>
                      <a:pt x="55" y="55"/>
                    </a:lnTo>
                    <a:lnTo>
                      <a:pt x="59" y="49"/>
                    </a:lnTo>
                    <a:lnTo>
                      <a:pt x="63" y="43"/>
                    </a:lnTo>
                    <a:lnTo>
                      <a:pt x="66" y="37"/>
                    </a:lnTo>
                    <a:lnTo>
                      <a:pt x="67" y="30"/>
                    </a:lnTo>
                    <a:lnTo>
                      <a:pt x="67" y="25"/>
                    </a:lnTo>
                    <a:lnTo>
                      <a:pt x="67" y="18"/>
                    </a:lnTo>
                    <a:lnTo>
                      <a:pt x="67" y="9"/>
                    </a:lnTo>
                    <a:lnTo>
                      <a:pt x="67" y="0"/>
                    </a:lnTo>
                    <a:lnTo>
                      <a:pt x="48" y="0"/>
                    </a:lnTo>
                    <a:lnTo>
                      <a:pt x="33" y="0"/>
                    </a:lnTo>
                    <a:lnTo>
                      <a:pt x="17" y="0"/>
                    </a:lnTo>
                    <a:lnTo>
                      <a:pt x="0" y="0"/>
                    </a:lnTo>
                  </a:path>
                </a:pathLst>
              </a:custGeom>
              <a:grpFill/>
              <a:ln w="9525" cmpd="sng">
                <a:solidFill>
                  <a:srgbClr val="FFFFFF"/>
                </a:solidFill>
                <a:prstDash val="solid"/>
                <a:round/>
                <a:headEnd/>
                <a:tailEnd/>
              </a:ln>
            </p:spPr>
            <p:txBody>
              <a:bodyPr/>
              <a:lstStyle/>
              <a:p>
                <a:endParaRPr lang="en-GB" sz="1637"/>
              </a:p>
            </p:txBody>
          </p:sp>
          <p:sp>
            <p:nvSpPr>
              <p:cNvPr id="34" name="Freeform 84"/>
              <p:cNvSpPr>
                <a:spLocks/>
              </p:cNvSpPr>
              <p:nvPr>
                <p:custDataLst>
                  <p:tags r:id="rId17"/>
                </p:custDataLst>
              </p:nvPr>
            </p:nvSpPr>
            <p:spPr bwMode="auto">
              <a:xfrm>
                <a:off x="8059615" y="4281017"/>
                <a:ext cx="13864" cy="64475"/>
              </a:xfrm>
              <a:custGeom>
                <a:avLst/>
                <a:gdLst>
                  <a:gd name="T0" fmla="*/ 0 w 34"/>
                  <a:gd name="T1" fmla="*/ 0 h 38"/>
                  <a:gd name="T2" fmla="*/ 747 w 34"/>
                  <a:gd name="T3" fmla="*/ 4512 h 38"/>
                  <a:gd name="T4" fmla="*/ 1494 w 34"/>
                  <a:gd name="T5" fmla="*/ 10528 h 38"/>
                  <a:gd name="T6" fmla="*/ 1868 w 34"/>
                  <a:gd name="T7" fmla="*/ 16543 h 38"/>
                  <a:gd name="T8" fmla="*/ 2241 w 34"/>
                  <a:gd name="T9" fmla="*/ 24063 h 38"/>
                  <a:gd name="T10" fmla="*/ 3735 w 34"/>
                  <a:gd name="T11" fmla="*/ 42111 h 38"/>
                  <a:gd name="T12" fmla="*/ 4856 w 34"/>
                  <a:gd name="T13" fmla="*/ 57150 h 38"/>
                  <a:gd name="T14" fmla="*/ 5976 w 34"/>
                  <a:gd name="T15" fmla="*/ 55646 h 38"/>
                  <a:gd name="T16" fmla="*/ 7471 w 34"/>
                  <a:gd name="T17" fmla="*/ 54142 h 38"/>
                  <a:gd name="T18" fmla="*/ 8591 w 34"/>
                  <a:gd name="T19" fmla="*/ 51134 h 38"/>
                  <a:gd name="T20" fmla="*/ 9712 w 34"/>
                  <a:gd name="T21" fmla="*/ 46622 h 38"/>
                  <a:gd name="T22" fmla="*/ 10459 w 34"/>
                  <a:gd name="T23" fmla="*/ 42111 h 38"/>
                  <a:gd name="T24" fmla="*/ 11953 w 34"/>
                  <a:gd name="T25" fmla="*/ 36095 h 38"/>
                  <a:gd name="T26" fmla="*/ 12326 w 34"/>
                  <a:gd name="T27" fmla="*/ 31583 h 38"/>
                  <a:gd name="T28" fmla="*/ 12700 w 34"/>
                  <a:gd name="T29" fmla="*/ 28575 h 38"/>
                  <a:gd name="T30" fmla="*/ 11579 w 34"/>
                  <a:gd name="T31" fmla="*/ 27071 h 38"/>
                  <a:gd name="T32" fmla="*/ 10459 w 34"/>
                  <a:gd name="T33" fmla="*/ 25567 h 38"/>
                  <a:gd name="T34" fmla="*/ 9712 w 34"/>
                  <a:gd name="T35" fmla="*/ 21055 h 38"/>
                  <a:gd name="T36" fmla="*/ 8965 w 34"/>
                  <a:gd name="T37" fmla="*/ 18047 h 38"/>
                  <a:gd name="T38" fmla="*/ 7097 w 34"/>
                  <a:gd name="T39" fmla="*/ 9024 h 38"/>
                  <a:gd name="T40" fmla="*/ 4856 w 34"/>
                  <a:gd name="T41" fmla="*/ 0 h 38"/>
                  <a:gd name="T42" fmla="*/ 2241 w 34"/>
                  <a:gd name="T43" fmla="*/ 0 h 38"/>
                  <a:gd name="T44" fmla="*/ 0 w 34"/>
                  <a:gd name="T45" fmla="*/ 0 h 3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34" h="38">
                    <a:moveTo>
                      <a:pt x="0" y="0"/>
                    </a:moveTo>
                    <a:lnTo>
                      <a:pt x="2" y="3"/>
                    </a:lnTo>
                    <a:lnTo>
                      <a:pt x="4" y="7"/>
                    </a:lnTo>
                    <a:lnTo>
                      <a:pt x="5" y="11"/>
                    </a:lnTo>
                    <a:lnTo>
                      <a:pt x="6" y="16"/>
                    </a:lnTo>
                    <a:lnTo>
                      <a:pt x="10" y="28"/>
                    </a:lnTo>
                    <a:lnTo>
                      <a:pt x="13" y="38"/>
                    </a:lnTo>
                    <a:lnTo>
                      <a:pt x="16" y="37"/>
                    </a:lnTo>
                    <a:lnTo>
                      <a:pt x="20" y="36"/>
                    </a:lnTo>
                    <a:lnTo>
                      <a:pt x="23" y="34"/>
                    </a:lnTo>
                    <a:lnTo>
                      <a:pt x="26" y="31"/>
                    </a:lnTo>
                    <a:lnTo>
                      <a:pt x="28" y="28"/>
                    </a:lnTo>
                    <a:lnTo>
                      <a:pt x="32" y="24"/>
                    </a:lnTo>
                    <a:lnTo>
                      <a:pt x="33" y="21"/>
                    </a:lnTo>
                    <a:lnTo>
                      <a:pt x="34" y="19"/>
                    </a:lnTo>
                    <a:lnTo>
                      <a:pt x="31" y="18"/>
                    </a:lnTo>
                    <a:lnTo>
                      <a:pt x="28" y="17"/>
                    </a:lnTo>
                    <a:lnTo>
                      <a:pt x="26" y="14"/>
                    </a:lnTo>
                    <a:lnTo>
                      <a:pt x="24" y="12"/>
                    </a:lnTo>
                    <a:lnTo>
                      <a:pt x="19" y="6"/>
                    </a:lnTo>
                    <a:lnTo>
                      <a:pt x="13" y="0"/>
                    </a:lnTo>
                    <a:lnTo>
                      <a:pt x="6" y="0"/>
                    </a:lnTo>
                    <a:lnTo>
                      <a:pt x="0" y="0"/>
                    </a:lnTo>
                  </a:path>
                </a:pathLst>
              </a:custGeom>
              <a:grpFill/>
              <a:ln w="9525" cmpd="sng">
                <a:solidFill>
                  <a:srgbClr val="FFFFFF"/>
                </a:solidFill>
                <a:prstDash val="solid"/>
                <a:round/>
                <a:headEnd/>
                <a:tailEnd/>
              </a:ln>
            </p:spPr>
            <p:txBody>
              <a:bodyPr/>
              <a:lstStyle/>
              <a:p>
                <a:endParaRPr lang="en-GB" sz="1637"/>
              </a:p>
            </p:txBody>
          </p:sp>
          <p:sp>
            <p:nvSpPr>
              <p:cNvPr id="35" name="Freeform 85"/>
              <p:cNvSpPr>
                <a:spLocks/>
              </p:cNvSpPr>
              <p:nvPr>
                <p:custDataLst>
                  <p:tags r:id="rId18"/>
                </p:custDataLst>
              </p:nvPr>
            </p:nvSpPr>
            <p:spPr bwMode="auto">
              <a:xfrm>
                <a:off x="7903647" y="4028491"/>
                <a:ext cx="27728" cy="62683"/>
              </a:xfrm>
              <a:custGeom>
                <a:avLst/>
                <a:gdLst>
                  <a:gd name="T0" fmla="*/ 25400 w 53"/>
                  <a:gd name="T1" fmla="*/ 55562 h 23"/>
                  <a:gd name="T2" fmla="*/ 25400 w 53"/>
                  <a:gd name="T3" fmla="*/ 9663 h 23"/>
                  <a:gd name="T4" fmla="*/ 23483 w 53"/>
                  <a:gd name="T5" fmla="*/ 4831 h 23"/>
                  <a:gd name="T6" fmla="*/ 21566 w 53"/>
                  <a:gd name="T7" fmla="*/ 2416 h 23"/>
                  <a:gd name="T8" fmla="*/ 20128 w 53"/>
                  <a:gd name="T9" fmla="*/ 0 h 23"/>
                  <a:gd name="T10" fmla="*/ 18211 w 53"/>
                  <a:gd name="T11" fmla="*/ 0 h 23"/>
                  <a:gd name="T12" fmla="*/ 14857 w 53"/>
                  <a:gd name="T13" fmla="*/ 2416 h 23"/>
                  <a:gd name="T14" fmla="*/ 11502 w 53"/>
                  <a:gd name="T15" fmla="*/ 9663 h 23"/>
                  <a:gd name="T16" fmla="*/ 5272 w 53"/>
                  <a:gd name="T17" fmla="*/ 31405 h 23"/>
                  <a:gd name="T18" fmla="*/ 0 w 53"/>
                  <a:gd name="T19" fmla="*/ 55562 h 23"/>
                  <a:gd name="T20" fmla="*/ 25400 w 53"/>
                  <a:gd name="T21" fmla="*/ 55562 h 2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3" h="23">
                    <a:moveTo>
                      <a:pt x="53" y="23"/>
                    </a:moveTo>
                    <a:lnTo>
                      <a:pt x="53" y="4"/>
                    </a:lnTo>
                    <a:lnTo>
                      <a:pt x="49" y="2"/>
                    </a:lnTo>
                    <a:lnTo>
                      <a:pt x="45" y="1"/>
                    </a:lnTo>
                    <a:lnTo>
                      <a:pt x="42" y="0"/>
                    </a:lnTo>
                    <a:lnTo>
                      <a:pt x="38" y="0"/>
                    </a:lnTo>
                    <a:lnTo>
                      <a:pt x="31" y="1"/>
                    </a:lnTo>
                    <a:lnTo>
                      <a:pt x="24" y="4"/>
                    </a:lnTo>
                    <a:lnTo>
                      <a:pt x="11" y="13"/>
                    </a:lnTo>
                    <a:lnTo>
                      <a:pt x="0" y="23"/>
                    </a:lnTo>
                    <a:lnTo>
                      <a:pt x="53" y="23"/>
                    </a:lnTo>
                  </a:path>
                </a:pathLst>
              </a:custGeom>
              <a:grpFill/>
              <a:ln w="9525" cmpd="sng">
                <a:solidFill>
                  <a:srgbClr val="FFFFFF"/>
                </a:solidFill>
                <a:prstDash val="solid"/>
                <a:round/>
                <a:headEnd/>
                <a:tailEnd/>
              </a:ln>
            </p:spPr>
            <p:txBody>
              <a:bodyPr/>
              <a:lstStyle/>
              <a:p>
                <a:endParaRPr lang="en-GB" sz="1637"/>
              </a:p>
            </p:txBody>
          </p:sp>
          <p:sp>
            <p:nvSpPr>
              <p:cNvPr id="36" name="Freeform 86"/>
              <p:cNvSpPr>
                <a:spLocks/>
              </p:cNvSpPr>
              <p:nvPr>
                <p:custDataLst>
                  <p:tags r:id="rId19"/>
                </p:custDataLst>
              </p:nvPr>
            </p:nvSpPr>
            <p:spPr bwMode="auto">
              <a:xfrm>
                <a:off x="7841259" y="3999836"/>
                <a:ext cx="12131" cy="64475"/>
              </a:xfrm>
              <a:custGeom>
                <a:avLst/>
                <a:gdLst>
                  <a:gd name="T0" fmla="*/ 0 w 26"/>
                  <a:gd name="T1" fmla="*/ 0 h 12"/>
                  <a:gd name="T2" fmla="*/ 1710 w 26"/>
                  <a:gd name="T3" fmla="*/ 19050 h 12"/>
                  <a:gd name="T4" fmla="*/ 4702 w 26"/>
                  <a:gd name="T5" fmla="*/ 38100 h 12"/>
                  <a:gd name="T6" fmla="*/ 5984 w 26"/>
                  <a:gd name="T7" fmla="*/ 42863 h 12"/>
                  <a:gd name="T8" fmla="*/ 7694 w 26"/>
                  <a:gd name="T9" fmla="*/ 52388 h 12"/>
                  <a:gd name="T10" fmla="*/ 9403 w 26"/>
                  <a:gd name="T11" fmla="*/ 52388 h 12"/>
                  <a:gd name="T12" fmla="*/ 11113 w 26"/>
                  <a:gd name="T13" fmla="*/ 57150 h 12"/>
                  <a:gd name="T14" fmla="*/ 8976 w 26"/>
                  <a:gd name="T15" fmla="*/ 33338 h 12"/>
                  <a:gd name="T16" fmla="*/ 5557 w 26"/>
                  <a:gd name="T17" fmla="*/ 14288 h 12"/>
                  <a:gd name="T18" fmla="*/ 2137 w 26"/>
                  <a:gd name="T19" fmla="*/ 4763 h 12"/>
                  <a:gd name="T20" fmla="*/ 0 w 26"/>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6" h="12">
                    <a:moveTo>
                      <a:pt x="0" y="0"/>
                    </a:moveTo>
                    <a:lnTo>
                      <a:pt x="4" y="4"/>
                    </a:lnTo>
                    <a:lnTo>
                      <a:pt x="11" y="8"/>
                    </a:lnTo>
                    <a:lnTo>
                      <a:pt x="14" y="9"/>
                    </a:lnTo>
                    <a:lnTo>
                      <a:pt x="18" y="11"/>
                    </a:lnTo>
                    <a:lnTo>
                      <a:pt x="22" y="11"/>
                    </a:lnTo>
                    <a:lnTo>
                      <a:pt x="26" y="12"/>
                    </a:lnTo>
                    <a:lnTo>
                      <a:pt x="21" y="7"/>
                    </a:lnTo>
                    <a:lnTo>
                      <a:pt x="13" y="3"/>
                    </a:lnTo>
                    <a:lnTo>
                      <a:pt x="5" y="1"/>
                    </a:lnTo>
                    <a:lnTo>
                      <a:pt x="0" y="0"/>
                    </a:lnTo>
                  </a:path>
                </a:pathLst>
              </a:custGeom>
              <a:grpFill/>
              <a:ln w="9525" cmpd="sng">
                <a:solidFill>
                  <a:srgbClr val="FFFFFF"/>
                </a:solidFill>
                <a:prstDash val="solid"/>
                <a:round/>
                <a:headEnd/>
                <a:tailEnd/>
              </a:ln>
            </p:spPr>
            <p:txBody>
              <a:bodyPr/>
              <a:lstStyle/>
              <a:p>
                <a:endParaRPr lang="en-GB" sz="1637"/>
              </a:p>
            </p:txBody>
          </p:sp>
          <p:sp>
            <p:nvSpPr>
              <p:cNvPr id="37" name="Freeform 87"/>
              <p:cNvSpPr>
                <a:spLocks/>
              </p:cNvSpPr>
              <p:nvPr>
                <p:custDataLst>
                  <p:tags r:id="rId20"/>
                </p:custDataLst>
              </p:nvPr>
            </p:nvSpPr>
            <p:spPr bwMode="auto">
              <a:xfrm>
                <a:off x="8059615" y="4374147"/>
                <a:ext cx="34660" cy="64475"/>
              </a:xfrm>
              <a:custGeom>
                <a:avLst/>
                <a:gdLst>
                  <a:gd name="T0" fmla="*/ 0 w 73"/>
                  <a:gd name="T1" fmla="*/ 0 h 57150"/>
                  <a:gd name="T2" fmla="*/ 8699 w 73"/>
                  <a:gd name="T3" fmla="*/ 0 h 57150"/>
                  <a:gd name="T4" fmla="*/ 16092 w 73"/>
                  <a:gd name="T5" fmla="*/ 0 h 57150"/>
                  <a:gd name="T6" fmla="*/ 23921 w 73"/>
                  <a:gd name="T7" fmla="*/ 0 h 57150"/>
                  <a:gd name="T8" fmla="*/ 31750 w 73"/>
                  <a:gd name="T9" fmla="*/ 0 h 5715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3" h="57150">
                    <a:moveTo>
                      <a:pt x="0" y="0"/>
                    </a:moveTo>
                    <a:lnTo>
                      <a:pt x="20" y="0"/>
                    </a:lnTo>
                    <a:lnTo>
                      <a:pt x="37" y="0"/>
                    </a:lnTo>
                    <a:lnTo>
                      <a:pt x="55" y="0"/>
                    </a:lnTo>
                    <a:lnTo>
                      <a:pt x="73" y="0"/>
                    </a:lnTo>
                  </a:path>
                </a:pathLst>
              </a:custGeom>
              <a:grpFill/>
              <a:ln w="9525" cmpd="sng">
                <a:solidFill>
                  <a:srgbClr val="FFFFFF"/>
                </a:solidFill>
                <a:prstDash val="solid"/>
                <a:round/>
                <a:headEnd/>
                <a:tailEnd/>
              </a:ln>
            </p:spPr>
            <p:txBody>
              <a:bodyPr/>
              <a:lstStyle/>
              <a:p>
                <a:endParaRPr lang="en-GB" sz="1637"/>
              </a:p>
            </p:txBody>
          </p:sp>
          <p:sp>
            <p:nvSpPr>
              <p:cNvPr id="38" name="Freeform 88"/>
              <p:cNvSpPr>
                <a:spLocks/>
              </p:cNvSpPr>
              <p:nvPr>
                <p:custDataLst>
                  <p:tags r:id="rId21"/>
                </p:custDataLst>
              </p:nvPr>
            </p:nvSpPr>
            <p:spPr bwMode="auto">
              <a:xfrm>
                <a:off x="8011091" y="4361611"/>
                <a:ext cx="24262" cy="64475"/>
              </a:xfrm>
              <a:custGeom>
                <a:avLst/>
                <a:gdLst>
                  <a:gd name="T0" fmla="*/ 0 w 53"/>
                  <a:gd name="T1" fmla="*/ 0 h 3"/>
                  <a:gd name="T2" fmla="*/ 5871 w 53"/>
                  <a:gd name="T3" fmla="*/ 0 h 3"/>
                  <a:gd name="T4" fmla="*/ 11322 w 53"/>
                  <a:gd name="T5" fmla="*/ 57150 h 3"/>
                  <a:gd name="T6" fmla="*/ 13419 w 53"/>
                  <a:gd name="T7" fmla="*/ 57150 h 3"/>
                  <a:gd name="T8" fmla="*/ 16354 w 53"/>
                  <a:gd name="T9" fmla="*/ 57150 h 3"/>
                  <a:gd name="T10" fmla="*/ 18870 w 53"/>
                  <a:gd name="T11" fmla="*/ 19050 h 3"/>
                  <a:gd name="T12" fmla="*/ 22225 w 53"/>
                  <a:gd name="T13" fmla="*/ 0 h 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3" h="3">
                    <a:moveTo>
                      <a:pt x="0" y="0"/>
                    </a:moveTo>
                    <a:lnTo>
                      <a:pt x="14" y="0"/>
                    </a:lnTo>
                    <a:lnTo>
                      <a:pt x="27" y="3"/>
                    </a:lnTo>
                    <a:lnTo>
                      <a:pt x="32" y="3"/>
                    </a:lnTo>
                    <a:lnTo>
                      <a:pt x="39" y="3"/>
                    </a:lnTo>
                    <a:lnTo>
                      <a:pt x="45" y="1"/>
                    </a:lnTo>
                    <a:lnTo>
                      <a:pt x="53" y="0"/>
                    </a:lnTo>
                  </a:path>
                </a:pathLst>
              </a:custGeom>
              <a:grpFill/>
              <a:ln w="9525" cmpd="sng">
                <a:solidFill>
                  <a:srgbClr val="FFFFFF"/>
                </a:solidFill>
                <a:prstDash val="solid"/>
                <a:round/>
                <a:headEnd/>
                <a:tailEnd/>
              </a:ln>
            </p:spPr>
            <p:txBody>
              <a:bodyPr/>
              <a:lstStyle/>
              <a:p>
                <a:endParaRPr lang="en-GB" sz="1637"/>
              </a:p>
            </p:txBody>
          </p:sp>
          <p:sp>
            <p:nvSpPr>
              <p:cNvPr id="39" name="Line 89"/>
              <p:cNvSpPr>
                <a:spLocks noChangeShapeType="1"/>
              </p:cNvSpPr>
              <p:nvPr>
                <p:custDataLst>
                  <p:tags r:id="rId22"/>
                </p:custDataLst>
              </p:nvPr>
            </p:nvSpPr>
            <p:spPr bwMode="auto">
              <a:xfrm>
                <a:off x="8047485" y="4345491"/>
                <a:ext cx="22528" cy="7164"/>
              </a:xfrm>
              <a:prstGeom prst="line">
                <a:avLst/>
              </a:prstGeom>
              <a:grpFill/>
              <a:ln w="9525">
                <a:solidFill>
                  <a:srgbClr val="FFFFFF"/>
                </a:solidFill>
                <a:round/>
                <a:headEnd/>
                <a:tailEnd/>
              </a:ln>
            </p:spPr>
            <p:txBody>
              <a:bodyPr/>
              <a:lstStyle/>
              <a:p>
                <a:endParaRPr lang="en-GB" sz="1637"/>
              </a:p>
            </p:txBody>
          </p:sp>
          <p:sp>
            <p:nvSpPr>
              <p:cNvPr id="40" name="Freeform 90"/>
              <p:cNvSpPr>
                <a:spLocks/>
              </p:cNvSpPr>
              <p:nvPr>
                <p:custDataLst>
                  <p:tags r:id="rId23"/>
                </p:custDataLst>
              </p:nvPr>
            </p:nvSpPr>
            <p:spPr bwMode="auto">
              <a:xfrm>
                <a:off x="8070013" y="4352655"/>
                <a:ext cx="1734" cy="64475"/>
              </a:xfrm>
              <a:custGeom>
                <a:avLst/>
                <a:gdLst>
                  <a:gd name="T0" fmla="*/ 0 w 1588"/>
                  <a:gd name="T1" fmla="*/ 0 h 13"/>
                  <a:gd name="T2" fmla="*/ 0 w 1588"/>
                  <a:gd name="T3" fmla="*/ 26377 h 13"/>
                  <a:gd name="T4" fmla="*/ 0 w 1588"/>
                  <a:gd name="T5" fmla="*/ 57150 h 13"/>
                  <a:gd name="T6" fmla="*/ 0 60000 65536"/>
                  <a:gd name="T7" fmla="*/ 0 60000 65536"/>
                  <a:gd name="T8" fmla="*/ 0 60000 65536"/>
                </a:gdLst>
                <a:ahLst/>
                <a:cxnLst>
                  <a:cxn ang="T6">
                    <a:pos x="T0" y="T1"/>
                  </a:cxn>
                  <a:cxn ang="T7">
                    <a:pos x="T2" y="T3"/>
                  </a:cxn>
                  <a:cxn ang="T8">
                    <a:pos x="T4" y="T5"/>
                  </a:cxn>
                </a:cxnLst>
                <a:rect l="0" t="0" r="r" b="b"/>
                <a:pathLst>
                  <a:path w="1588" h="13">
                    <a:moveTo>
                      <a:pt x="0" y="0"/>
                    </a:moveTo>
                    <a:lnTo>
                      <a:pt x="0" y="6"/>
                    </a:lnTo>
                    <a:lnTo>
                      <a:pt x="0" y="13"/>
                    </a:lnTo>
                  </a:path>
                </a:pathLst>
              </a:custGeom>
              <a:grpFill/>
              <a:ln w="9525" cmpd="sng">
                <a:solidFill>
                  <a:srgbClr val="FFFFFF"/>
                </a:solidFill>
                <a:prstDash val="solid"/>
                <a:round/>
                <a:headEnd/>
                <a:tailEnd/>
              </a:ln>
            </p:spPr>
            <p:txBody>
              <a:bodyPr/>
              <a:lstStyle/>
              <a:p>
                <a:endParaRPr lang="en-GB" sz="1637"/>
              </a:p>
            </p:txBody>
          </p:sp>
          <p:sp>
            <p:nvSpPr>
              <p:cNvPr id="41" name="Freeform 91"/>
              <p:cNvSpPr>
                <a:spLocks/>
              </p:cNvSpPr>
              <p:nvPr>
                <p:custDataLst>
                  <p:tags r:id="rId24"/>
                </p:custDataLst>
              </p:nvPr>
            </p:nvSpPr>
            <p:spPr bwMode="auto">
              <a:xfrm>
                <a:off x="8019757" y="4345491"/>
                <a:ext cx="15596" cy="66266"/>
              </a:xfrm>
              <a:custGeom>
                <a:avLst/>
                <a:gdLst>
                  <a:gd name="T0" fmla="*/ 0 w 26"/>
                  <a:gd name="T1" fmla="*/ 0 h 58738"/>
                  <a:gd name="T2" fmla="*/ 8243 w 26"/>
                  <a:gd name="T3" fmla="*/ 0 h 58738"/>
                  <a:gd name="T4" fmla="*/ 14287 w 26"/>
                  <a:gd name="T5" fmla="*/ 0 h 58738"/>
                  <a:gd name="T6" fmla="*/ 0 60000 65536"/>
                  <a:gd name="T7" fmla="*/ 0 60000 65536"/>
                  <a:gd name="T8" fmla="*/ 0 60000 65536"/>
                </a:gdLst>
                <a:ahLst/>
                <a:cxnLst>
                  <a:cxn ang="T6">
                    <a:pos x="T0" y="T1"/>
                  </a:cxn>
                  <a:cxn ang="T7">
                    <a:pos x="T2" y="T3"/>
                  </a:cxn>
                  <a:cxn ang="T8">
                    <a:pos x="T4" y="T5"/>
                  </a:cxn>
                </a:cxnLst>
                <a:rect l="0" t="0" r="r" b="b"/>
                <a:pathLst>
                  <a:path w="26" h="58738">
                    <a:moveTo>
                      <a:pt x="0" y="0"/>
                    </a:moveTo>
                    <a:lnTo>
                      <a:pt x="15" y="0"/>
                    </a:lnTo>
                    <a:lnTo>
                      <a:pt x="26" y="0"/>
                    </a:lnTo>
                  </a:path>
                </a:pathLst>
              </a:custGeom>
              <a:grpFill/>
              <a:ln w="9525" cmpd="sng">
                <a:solidFill>
                  <a:srgbClr val="FFFFFF"/>
                </a:solidFill>
                <a:prstDash val="solid"/>
                <a:round/>
                <a:headEnd/>
                <a:tailEnd/>
              </a:ln>
            </p:spPr>
            <p:txBody>
              <a:bodyPr/>
              <a:lstStyle/>
              <a:p>
                <a:endParaRPr lang="en-GB" sz="1637"/>
              </a:p>
            </p:txBody>
          </p:sp>
          <p:sp>
            <p:nvSpPr>
              <p:cNvPr id="42" name="Freeform 92"/>
              <p:cNvSpPr>
                <a:spLocks/>
              </p:cNvSpPr>
              <p:nvPr>
                <p:custDataLst>
                  <p:tags r:id="rId25"/>
                </p:custDataLst>
              </p:nvPr>
            </p:nvSpPr>
            <p:spPr bwMode="auto">
              <a:xfrm>
                <a:off x="8012825" y="4324000"/>
                <a:ext cx="6932" cy="68057"/>
              </a:xfrm>
              <a:custGeom>
                <a:avLst/>
                <a:gdLst>
                  <a:gd name="T0" fmla="*/ 6350 w 20"/>
                  <a:gd name="T1" fmla="*/ 0 h 25"/>
                  <a:gd name="T2" fmla="*/ 0 w 20"/>
                  <a:gd name="T3" fmla="*/ 31369 h 25"/>
                  <a:gd name="T4" fmla="*/ 1270 w 20"/>
                  <a:gd name="T5" fmla="*/ 43434 h 25"/>
                  <a:gd name="T6" fmla="*/ 3175 w 20"/>
                  <a:gd name="T7" fmla="*/ 50673 h 25"/>
                  <a:gd name="T8" fmla="*/ 4445 w 20"/>
                  <a:gd name="T9" fmla="*/ 57912 h 25"/>
                  <a:gd name="T10" fmla="*/ 6350 w 20"/>
                  <a:gd name="T11" fmla="*/ 60325 h 25"/>
                  <a:gd name="T12" fmla="*/ 6350 w 20"/>
                  <a:gd name="T13" fmla="*/ 0 h 2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25">
                    <a:moveTo>
                      <a:pt x="20" y="0"/>
                    </a:moveTo>
                    <a:lnTo>
                      <a:pt x="0" y="13"/>
                    </a:lnTo>
                    <a:lnTo>
                      <a:pt x="4" y="18"/>
                    </a:lnTo>
                    <a:lnTo>
                      <a:pt x="10" y="21"/>
                    </a:lnTo>
                    <a:lnTo>
                      <a:pt x="14" y="24"/>
                    </a:lnTo>
                    <a:lnTo>
                      <a:pt x="20" y="25"/>
                    </a:lnTo>
                    <a:lnTo>
                      <a:pt x="20" y="0"/>
                    </a:lnTo>
                  </a:path>
                </a:pathLst>
              </a:custGeom>
              <a:grpFill/>
              <a:ln w="9525" cmpd="sng">
                <a:solidFill>
                  <a:srgbClr val="FFFFFF"/>
                </a:solidFill>
                <a:prstDash val="solid"/>
                <a:round/>
                <a:headEnd/>
                <a:tailEnd/>
              </a:ln>
            </p:spPr>
            <p:txBody>
              <a:bodyPr/>
              <a:lstStyle/>
              <a:p>
                <a:endParaRPr lang="en-GB" sz="1637"/>
              </a:p>
            </p:txBody>
          </p:sp>
          <p:sp>
            <p:nvSpPr>
              <p:cNvPr id="43" name="Freeform 93"/>
              <p:cNvSpPr>
                <a:spLocks/>
              </p:cNvSpPr>
              <p:nvPr>
                <p:custDataLst>
                  <p:tags r:id="rId26"/>
                </p:custDataLst>
              </p:nvPr>
            </p:nvSpPr>
            <p:spPr bwMode="auto">
              <a:xfrm>
                <a:off x="8101206" y="4015954"/>
                <a:ext cx="1734" cy="64475"/>
              </a:xfrm>
              <a:custGeom>
                <a:avLst/>
                <a:gdLst>
                  <a:gd name="T0" fmla="*/ 0 w 6"/>
                  <a:gd name="T1" fmla="*/ 57150 h 24"/>
                  <a:gd name="T2" fmla="*/ 0 w 6"/>
                  <a:gd name="T3" fmla="*/ 0 h 24"/>
                  <a:gd name="T4" fmla="*/ 1588 w 6"/>
                  <a:gd name="T5" fmla="*/ 28575 h 24"/>
                  <a:gd name="T6" fmla="*/ 0 w 6"/>
                  <a:gd name="T7" fmla="*/ 57150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 h="24">
                    <a:moveTo>
                      <a:pt x="0" y="24"/>
                    </a:moveTo>
                    <a:lnTo>
                      <a:pt x="0" y="0"/>
                    </a:lnTo>
                    <a:lnTo>
                      <a:pt x="6" y="12"/>
                    </a:lnTo>
                    <a:lnTo>
                      <a:pt x="0" y="24"/>
                    </a:lnTo>
                  </a:path>
                </a:pathLst>
              </a:custGeom>
              <a:grpFill/>
              <a:ln w="9525" cmpd="sng">
                <a:solidFill>
                  <a:srgbClr val="FFFFFF"/>
                </a:solidFill>
                <a:prstDash val="solid"/>
                <a:round/>
                <a:headEnd/>
                <a:tailEnd/>
              </a:ln>
            </p:spPr>
            <p:txBody>
              <a:bodyPr/>
              <a:lstStyle/>
              <a:p>
                <a:endParaRPr lang="en-GB" sz="1637"/>
              </a:p>
            </p:txBody>
          </p:sp>
          <p:grpSp>
            <p:nvGrpSpPr>
              <p:cNvPr id="44" name="Group 94"/>
              <p:cNvGrpSpPr>
                <a:grpSpLocks/>
              </p:cNvGrpSpPr>
              <p:nvPr>
                <p:custDataLst>
                  <p:tags r:id="rId27"/>
                </p:custDataLst>
              </p:nvPr>
            </p:nvGrpSpPr>
            <p:grpSpPr bwMode="auto">
              <a:xfrm>
                <a:off x="7964302" y="3645225"/>
                <a:ext cx="178496" cy="128949"/>
                <a:chOff x="5379" y="2466"/>
                <a:chExt cx="122" cy="71"/>
              </a:xfrm>
              <a:grpFill/>
            </p:grpSpPr>
            <p:sp>
              <p:nvSpPr>
                <p:cNvPr id="262" name="Freeform 95"/>
                <p:cNvSpPr>
                  <a:spLocks/>
                </p:cNvSpPr>
                <p:nvPr/>
              </p:nvSpPr>
              <p:spPr bwMode="auto">
                <a:xfrm>
                  <a:off x="5428" y="2492"/>
                  <a:ext cx="6" cy="9"/>
                </a:xfrm>
                <a:custGeom>
                  <a:avLst/>
                  <a:gdLst>
                    <a:gd name="T0" fmla="*/ 6 w 19"/>
                    <a:gd name="T1" fmla="*/ 9 h 25"/>
                    <a:gd name="T2" fmla="*/ 6 w 19"/>
                    <a:gd name="T3" fmla="*/ 7 h 25"/>
                    <a:gd name="T4" fmla="*/ 5 w 19"/>
                    <a:gd name="T5" fmla="*/ 4 h 25"/>
                    <a:gd name="T6" fmla="*/ 5 w 19"/>
                    <a:gd name="T7" fmla="*/ 3 h 25"/>
                    <a:gd name="T8" fmla="*/ 5 w 19"/>
                    <a:gd name="T9" fmla="*/ 2 h 25"/>
                    <a:gd name="T10" fmla="*/ 5 w 19"/>
                    <a:gd name="T11" fmla="*/ 1 h 25"/>
                    <a:gd name="T12" fmla="*/ 6 w 19"/>
                    <a:gd name="T13" fmla="*/ 0 h 25"/>
                    <a:gd name="T14" fmla="*/ 0 w 19"/>
                    <a:gd name="T15" fmla="*/ 0 h 25"/>
                    <a:gd name="T16" fmla="*/ 0 w 19"/>
                    <a:gd name="T17" fmla="*/ 3 h 25"/>
                    <a:gd name="T18" fmla="*/ 2 w 19"/>
                    <a:gd name="T19" fmla="*/ 5 h 25"/>
                    <a:gd name="T20" fmla="*/ 2 w 19"/>
                    <a:gd name="T21" fmla="*/ 7 h 25"/>
                    <a:gd name="T22" fmla="*/ 3 w 19"/>
                    <a:gd name="T23" fmla="*/ 8 h 25"/>
                    <a:gd name="T24" fmla="*/ 5 w 19"/>
                    <a:gd name="T25" fmla="*/ 9 h 25"/>
                    <a:gd name="T26" fmla="*/ 6 w 19"/>
                    <a:gd name="T27" fmla="*/ 9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9" h="25">
                      <a:moveTo>
                        <a:pt x="19" y="25"/>
                      </a:moveTo>
                      <a:lnTo>
                        <a:pt x="18" y="20"/>
                      </a:lnTo>
                      <a:lnTo>
                        <a:pt x="17" y="12"/>
                      </a:lnTo>
                      <a:lnTo>
                        <a:pt x="16" y="9"/>
                      </a:lnTo>
                      <a:lnTo>
                        <a:pt x="17" y="6"/>
                      </a:lnTo>
                      <a:lnTo>
                        <a:pt x="17" y="3"/>
                      </a:lnTo>
                      <a:lnTo>
                        <a:pt x="19" y="0"/>
                      </a:lnTo>
                      <a:lnTo>
                        <a:pt x="0" y="0"/>
                      </a:lnTo>
                      <a:lnTo>
                        <a:pt x="1" y="7"/>
                      </a:lnTo>
                      <a:lnTo>
                        <a:pt x="5" y="15"/>
                      </a:lnTo>
                      <a:lnTo>
                        <a:pt x="7" y="19"/>
                      </a:lnTo>
                      <a:lnTo>
                        <a:pt x="11" y="23"/>
                      </a:lnTo>
                      <a:lnTo>
                        <a:pt x="15" y="25"/>
                      </a:lnTo>
                      <a:lnTo>
                        <a:pt x="19" y="25"/>
                      </a:lnTo>
                    </a:path>
                  </a:pathLst>
                </a:custGeom>
                <a:grpFill/>
                <a:ln w="9525" cmpd="sng">
                  <a:solidFill>
                    <a:srgbClr val="FFFFFF"/>
                  </a:solidFill>
                  <a:prstDash val="solid"/>
                  <a:round/>
                  <a:headEnd/>
                  <a:tailEnd/>
                </a:ln>
              </p:spPr>
              <p:txBody>
                <a:bodyPr/>
                <a:lstStyle/>
                <a:p>
                  <a:endParaRPr lang="en-GB" sz="1637"/>
                </a:p>
              </p:txBody>
            </p:sp>
            <p:sp>
              <p:nvSpPr>
                <p:cNvPr id="263" name="Freeform 96"/>
                <p:cNvSpPr>
                  <a:spLocks/>
                </p:cNvSpPr>
                <p:nvPr/>
              </p:nvSpPr>
              <p:spPr bwMode="auto">
                <a:xfrm>
                  <a:off x="5379" y="2505"/>
                  <a:ext cx="7" cy="6"/>
                </a:xfrm>
                <a:custGeom>
                  <a:avLst/>
                  <a:gdLst>
                    <a:gd name="T0" fmla="*/ 7 w 26"/>
                    <a:gd name="T1" fmla="*/ 6 h 18"/>
                    <a:gd name="T2" fmla="*/ 2 w 26"/>
                    <a:gd name="T3" fmla="*/ 6 h 18"/>
                    <a:gd name="T4" fmla="*/ 1 w 26"/>
                    <a:gd name="T5" fmla="*/ 3 h 18"/>
                    <a:gd name="T6" fmla="*/ 0 w 26"/>
                    <a:gd name="T7" fmla="*/ 0 h 18"/>
                    <a:gd name="T8" fmla="*/ 2 w 26"/>
                    <a:gd name="T9" fmla="*/ 1 h 18"/>
                    <a:gd name="T10" fmla="*/ 4 w 26"/>
                    <a:gd name="T11" fmla="*/ 2 h 18"/>
                    <a:gd name="T12" fmla="*/ 5 w 26"/>
                    <a:gd name="T13" fmla="*/ 4 h 18"/>
                    <a:gd name="T14" fmla="*/ 7 w 26"/>
                    <a:gd name="T15" fmla="*/ 6 h 1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6" h="18">
                      <a:moveTo>
                        <a:pt x="26" y="18"/>
                      </a:moveTo>
                      <a:lnTo>
                        <a:pt x="7" y="18"/>
                      </a:lnTo>
                      <a:lnTo>
                        <a:pt x="3" y="9"/>
                      </a:lnTo>
                      <a:lnTo>
                        <a:pt x="0" y="0"/>
                      </a:lnTo>
                      <a:lnTo>
                        <a:pt x="6" y="2"/>
                      </a:lnTo>
                      <a:lnTo>
                        <a:pt x="13" y="6"/>
                      </a:lnTo>
                      <a:lnTo>
                        <a:pt x="20" y="12"/>
                      </a:lnTo>
                      <a:lnTo>
                        <a:pt x="26" y="18"/>
                      </a:lnTo>
                    </a:path>
                  </a:pathLst>
                </a:custGeom>
                <a:grpFill/>
                <a:ln w="9525" cmpd="sng">
                  <a:solidFill>
                    <a:srgbClr val="FFFFFF"/>
                  </a:solidFill>
                  <a:prstDash val="solid"/>
                  <a:round/>
                  <a:headEnd/>
                  <a:tailEnd/>
                </a:ln>
              </p:spPr>
              <p:txBody>
                <a:bodyPr/>
                <a:lstStyle/>
                <a:p>
                  <a:endParaRPr lang="en-GB" sz="1637"/>
                </a:p>
              </p:txBody>
            </p:sp>
            <p:sp>
              <p:nvSpPr>
                <p:cNvPr id="264" name="Freeform 97"/>
                <p:cNvSpPr>
                  <a:spLocks/>
                </p:cNvSpPr>
                <p:nvPr/>
              </p:nvSpPr>
              <p:spPr bwMode="auto">
                <a:xfrm>
                  <a:off x="5392" y="2466"/>
                  <a:ext cx="5" cy="6"/>
                </a:xfrm>
                <a:custGeom>
                  <a:avLst/>
                  <a:gdLst>
                    <a:gd name="T0" fmla="*/ 0 w 13"/>
                    <a:gd name="T1" fmla="*/ 6 h 18"/>
                    <a:gd name="T2" fmla="*/ 5 w 13"/>
                    <a:gd name="T3" fmla="*/ 0 h 18"/>
                    <a:gd name="T4" fmla="*/ 0 w 13"/>
                    <a:gd name="T5" fmla="*/ 6 h 18"/>
                    <a:gd name="T6" fmla="*/ 0 60000 65536"/>
                    <a:gd name="T7" fmla="*/ 0 60000 65536"/>
                    <a:gd name="T8" fmla="*/ 0 60000 65536"/>
                  </a:gdLst>
                  <a:ahLst/>
                  <a:cxnLst>
                    <a:cxn ang="T6">
                      <a:pos x="T0" y="T1"/>
                    </a:cxn>
                    <a:cxn ang="T7">
                      <a:pos x="T2" y="T3"/>
                    </a:cxn>
                    <a:cxn ang="T8">
                      <a:pos x="T4" y="T5"/>
                    </a:cxn>
                  </a:cxnLst>
                  <a:rect l="0" t="0" r="r" b="b"/>
                  <a:pathLst>
                    <a:path w="13" h="18">
                      <a:moveTo>
                        <a:pt x="0" y="18"/>
                      </a:moveTo>
                      <a:lnTo>
                        <a:pt x="13" y="0"/>
                      </a:lnTo>
                      <a:lnTo>
                        <a:pt x="0" y="18"/>
                      </a:lnTo>
                    </a:path>
                  </a:pathLst>
                </a:custGeom>
                <a:grpFill/>
                <a:ln w="9525" cmpd="sng">
                  <a:solidFill>
                    <a:srgbClr val="FFFFFF"/>
                  </a:solidFill>
                  <a:prstDash val="solid"/>
                  <a:round/>
                  <a:headEnd/>
                  <a:tailEnd/>
                </a:ln>
              </p:spPr>
              <p:txBody>
                <a:bodyPr/>
                <a:lstStyle/>
                <a:p>
                  <a:endParaRPr lang="en-GB" sz="1637"/>
                </a:p>
              </p:txBody>
            </p:sp>
            <p:sp>
              <p:nvSpPr>
                <p:cNvPr id="265" name="Freeform 98"/>
                <p:cNvSpPr>
                  <a:spLocks/>
                </p:cNvSpPr>
                <p:nvPr/>
              </p:nvSpPr>
              <p:spPr bwMode="auto">
                <a:xfrm>
                  <a:off x="5426" y="2468"/>
                  <a:ext cx="8" cy="8"/>
                </a:xfrm>
                <a:custGeom>
                  <a:avLst/>
                  <a:gdLst>
                    <a:gd name="T0" fmla="*/ 0 w 26"/>
                    <a:gd name="T1" fmla="*/ 8 h 24"/>
                    <a:gd name="T2" fmla="*/ 1 w 26"/>
                    <a:gd name="T3" fmla="*/ 8 h 24"/>
                    <a:gd name="T4" fmla="*/ 2 w 26"/>
                    <a:gd name="T5" fmla="*/ 7 h 24"/>
                    <a:gd name="T6" fmla="*/ 3 w 26"/>
                    <a:gd name="T7" fmla="*/ 6 h 24"/>
                    <a:gd name="T8" fmla="*/ 5 w 26"/>
                    <a:gd name="T9" fmla="*/ 5 h 24"/>
                    <a:gd name="T10" fmla="*/ 6 w 26"/>
                    <a:gd name="T11" fmla="*/ 4 h 24"/>
                    <a:gd name="T12" fmla="*/ 7 w 26"/>
                    <a:gd name="T13" fmla="*/ 3 h 24"/>
                    <a:gd name="T14" fmla="*/ 8 w 26"/>
                    <a:gd name="T15" fmla="*/ 1 h 24"/>
                    <a:gd name="T16" fmla="*/ 8 w 26"/>
                    <a:gd name="T17" fmla="*/ 0 h 24"/>
                    <a:gd name="T18" fmla="*/ 0 w 26"/>
                    <a:gd name="T19" fmla="*/ 8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6" h="24">
                      <a:moveTo>
                        <a:pt x="0" y="24"/>
                      </a:moveTo>
                      <a:lnTo>
                        <a:pt x="3" y="23"/>
                      </a:lnTo>
                      <a:lnTo>
                        <a:pt x="7" y="22"/>
                      </a:lnTo>
                      <a:lnTo>
                        <a:pt x="11" y="19"/>
                      </a:lnTo>
                      <a:lnTo>
                        <a:pt x="16" y="16"/>
                      </a:lnTo>
                      <a:lnTo>
                        <a:pt x="20" y="13"/>
                      </a:lnTo>
                      <a:lnTo>
                        <a:pt x="23" y="9"/>
                      </a:lnTo>
                      <a:lnTo>
                        <a:pt x="25" y="4"/>
                      </a:lnTo>
                      <a:lnTo>
                        <a:pt x="26" y="0"/>
                      </a:lnTo>
                      <a:lnTo>
                        <a:pt x="0" y="24"/>
                      </a:lnTo>
                    </a:path>
                  </a:pathLst>
                </a:custGeom>
                <a:grpFill/>
                <a:ln w="9525" cmpd="sng">
                  <a:solidFill>
                    <a:srgbClr val="FFFFFF"/>
                  </a:solidFill>
                  <a:prstDash val="solid"/>
                  <a:round/>
                  <a:headEnd/>
                  <a:tailEnd/>
                </a:ln>
              </p:spPr>
              <p:txBody>
                <a:bodyPr/>
                <a:lstStyle/>
                <a:p>
                  <a:endParaRPr lang="en-GB" sz="1637"/>
                </a:p>
              </p:txBody>
            </p:sp>
            <p:sp>
              <p:nvSpPr>
                <p:cNvPr id="266" name="Freeform 99"/>
                <p:cNvSpPr>
                  <a:spLocks/>
                </p:cNvSpPr>
                <p:nvPr/>
              </p:nvSpPr>
              <p:spPr bwMode="auto">
                <a:xfrm>
                  <a:off x="5490" y="2490"/>
                  <a:ext cx="11" cy="2"/>
                </a:xfrm>
                <a:custGeom>
                  <a:avLst/>
                  <a:gdLst>
                    <a:gd name="T0" fmla="*/ 0 w 34"/>
                    <a:gd name="T1" fmla="*/ 2 h 6"/>
                    <a:gd name="T2" fmla="*/ 3 w 34"/>
                    <a:gd name="T3" fmla="*/ 2 h 6"/>
                    <a:gd name="T4" fmla="*/ 6 w 34"/>
                    <a:gd name="T5" fmla="*/ 2 h 6"/>
                    <a:gd name="T6" fmla="*/ 8 w 34"/>
                    <a:gd name="T7" fmla="*/ 1 h 6"/>
                    <a:gd name="T8" fmla="*/ 11 w 34"/>
                    <a:gd name="T9" fmla="*/ 0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4" h="6">
                      <a:moveTo>
                        <a:pt x="0" y="6"/>
                      </a:moveTo>
                      <a:lnTo>
                        <a:pt x="10" y="6"/>
                      </a:lnTo>
                      <a:lnTo>
                        <a:pt x="17" y="5"/>
                      </a:lnTo>
                      <a:lnTo>
                        <a:pt x="25" y="4"/>
                      </a:lnTo>
                      <a:lnTo>
                        <a:pt x="34" y="0"/>
                      </a:lnTo>
                    </a:path>
                  </a:pathLst>
                </a:custGeom>
                <a:grpFill/>
                <a:ln w="9525" cmpd="sng">
                  <a:solidFill>
                    <a:srgbClr val="FFFFFF"/>
                  </a:solidFill>
                  <a:prstDash val="solid"/>
                  <a:round/>
                  <a:headEnd/>
                  <a:tailEnd/>
                </a:ln>
              </p:spPr>
              <p:txBody>
                <a:bodyPr/>
                <a:lstStyle/>
                <a:p>
                  <a:endParaRPr lang="en-GB" sz="1637"/>
                </a:p>
              </p:txBody>
            </p:sp>
            <p:sp>
              <p:nvSpPr>
                <p:cNvPr id="267" name="Line 100"/>
                <p:cNvSpPr>
                  <a:spLocks noChangeShapeType="1"/>
                </p:cNvSpPr>
                <p:nvPr/>
              </p:nvSpPr>
              <p:spPr bwMode="auto">
                <a:xfrm flipH="1">
                  <a:off x="5495" y="2490"/>
                  <a:ext cx="6" cy="1"/>
                </a:xfrm>
                <a:prstGeom prst="line">
                  <a:avLst/>
                </a:prstGeom>
                <a:grpFill/>
                <a:ln w="9525">
                  <a:solidFill>
                    <a:srgbClr val="FFFFFF"/>
                  </a:solidFill>
                  <a:round/>
                  <a:headEnd/>
                  <a:tailEnd/>
                </a:ln>
              </p:spPr>
              <p:txBody>
                <a:bodyPr/>
                <a:lstStyle/>
                <a:p>
                  <a:endParaRPr lang="en-GB" sz="1637"/>
                </a:p>
              </p:txBody>
            </p:sp>
            <p:sp>
              <p:nvSpPr>
                <p:cNvPr id="268" name="Freeform 101"/>
                <p:cNvSpPr>
                  <a:spLocks/>
                </p:cNvSpPr>
                <p:nvPr/>
              </p:nvSpPr>
              <p:spPr bwMode="auto">
                <a:xfrm>
                  <a:off x="5464" y="2530"/>
                  <a:ext cx="1" cy="7"/>
                </a:xfrm>
                <a:custGeom>
                  <a:avLst/>
                  <a:gdLst>
                    <a:gd name="T0" fmla="*/ 0 w 1"/>
                    <a:gd name="T1" fmla="*/ 7 h 19"/>
                    <a:gd name="T2" fmla="*/ 0 w 1"/>
                    <a:gd name="T3" fmla="*/ 3 h 19"/>
                    <a:gd name="T4" fmla="*/ 0 w 1"/>
                    <a:gd name="T5" fmla="*/ 0 h 19"/>
                    <a:gd name="T6" fmla="*/ 0 60000 65536"/>
                    <a:gd name="T7" fmla="*/ 0 60000 65536"/>
                    <a:gd name="T8" fmla="*/ 0 60000 65536"/>
                  </a:gdLst>
                  <a:ahLst/>
                  <a:cxnLst>
                    <a:cxn ang="T6">
                      <a:pos x="T0" y="T1"/>
                    </a:cxn>
                    <a:cxn ang="T7">
                      <a:pos x="T2" y="T3"/>
                    </a:cxn>
                    <a:cxn ang="T8">
                      <a:pos x="T4" y="T5"/>
                    </a:cxn>
                  </a:cxnLst>
                  <a:rect l="0" t="0" r="r" b="b"/>
                  <a:pathLst>
                    <a:path w="1" h="19">
                      <a:moveTo>
                        <a:pt x="0" y="19"/>
                      </a:moveTo>
                      <a:lnTo>
                        <a:pt x="0" y="9"/>
                      </a:lnTo>
                      <a:lnTo>
                        <a:pt x="0" y="0"/>
                      </a:lnTo>
                    </a:path>
                  </a:pathLst>
                </a:custGeom>
                <a:grpFill/>
                <a:ln w="9525" cmpd="sng">
                  <a:solidFill>
                    <a:srgbClr val="FFFFFF"/>
                  </a:solidFill>
                  <a:prstDash val="solid"/>
                  <a:round/>
                  <a:headEnd/>
                  <a:tailEnd/>
                </a:ln>
              </p:spPr>
              <p:txBody>
                <a:bodyPr/>
                <a:lstStyle/>
                <a:p>
                  <a:endParaRPr lang="en-GB" sz="1637"/>
                </a:p>
              </p:txBody>
            </p:sp>
            <p:sp>
              <p:nvSpPr>
                <p:cNvPr id="269" name="Line 102"/>
                <p:cNvSpPr>
                  <a:spLocks noChangeShapeType="1"/>
                </p:cNvSpPr>
                <p:nvPr/>
              </p:nvSpPr>
              <p:spPr bwMode="auto">
                <a:xfrm>
                  <a:off x="5464" y="2530"/>
                  <a:ext cx="6" cy="1"/>
                </a:xfrm>
                <a:prstGeom prst="line">
                  <a:avLst/>
                </a:prstGeom>
                <a:grpFill/>
                <a:ln w="9525">
                  <a:solidFill>
                    <a:srgbClr val="FFFFFF"/>
                  </a:solidFill>
                  <a:round/>
                  <a:headEnd/>
                  <a:tailEnd/>
                </a:ln>
              </p:spPr>
              <p:txBody>
                <a:bodyPr/>
                <a:lstStyle/>
                <a:p>
                  <a:endParaRPr lang="en-GB" sz="1637"/>
                </a:p>
              </p:txBody>
            </p:sp>
            <p:sp>
              <p:nvSpPr>
                <p:cNvPr id="270" name="Freeform 103"/>
                <p:cNvSpPr>
                  <a:spLocks/>
                </p:cNvSpPr>
                <p:nvPr/>
              </p:nvSpPr>
              <p:spPr bwMode="auto">
                <a:xfrm>
                  <a:off x="5466" y="2530"/>
                  <a:ext cx="4" cy="2"/>
                </a:xfrm>
                <a:custGeom>
                  <a:avLst/>
                  <a:gdLst>
                    <a:gd name="T0" fmla="*/ 4 w 14"/>
                    <a:gd name="T1" fmla="*/ 0 h 6"/>
                    <a:gd name="T2" fmla="*/ 2 w 14"/>
                    <a:gd name="T3" fmla="*/ 1 h 6"/>
                    <a:gd name="T4" fmla="*/ 0 w 14"/>
                    <a:gd name="T5" fmla="*/ 2 h 6"/>
                    <a:gd name="T6" fmla="*/ 0 60000 65536"/>
                    <a:gd name="T7" fmla="*/ 0 60000 65536"/>
                    <a:gd name="T8" fmla="*/ 0 60000 65536"/>
                  </a:gdLst>
                  <a:ahLst/>
                  <a:cxnLst>
                    <a:cxn ang="T6">
                      <a:pos x="T0" y="T1"/>
                    </a:cxn>
                    <a:cxn ang="T7">
                      <a:pos x="T2" y="T3"/>
                    </a:cxn>
                    <a:cxn ang="T8">
                      <a:pos x="T4" y="T5"/>
                    </a:cxn>
                  </a:cxnLst>
                  <a:rect l="0" t="0" r="r" b="b"/>
                  <a:pathLst>
                    <a:path w="14" h="6">
                      <a:moveTo>
                        <a:pt x="14" y="0"/>
                      </a:moveTo>
                      <a:lnTo>
                        <a:pt x="7" y="3"/>
                      </a:lnTo>
                      <a:lnTo>
                        <a:pt x="0" y="6"/>
                      </a:lnTo>
                    </a:path>
                  </a:pathLst>
                </a:custGeom>
                <a:grpFill/>
                <a:ln w="9525" cmpd="sng">
                  <a:solidFill>
                    <a:srgbClr val="FFFFFF"/>
                  </a:solidFill>
                  <a:prstDash val="solid"/>
                  <a:round/>
                  <a:headEnd/>
                  <a:tailEnd/>
                </a:ln>
              </p:spPr>
              <p:txBody>
                <a:bodyPr/>
                <a:lstStyle/>
                <a:p>
                  <a:endParaRPr lang="en-GB" sz="1637"/>
                </a:p>
              </p:txBody>
            </p:sp>
          </p:grpSp>
          <p:sp>
            <p:nvSpPr>
              <p:cNvPr id="45" name="Freeform 104"/>
              <p:cNvSpPr>
                <a:spLocks/>
              </p:cNvSpPr>
              <p:nvPr>
                <p:custDataLst>
                  <p:tags r:id="rId28"/>
                </p:custDataLst>
              </p:nvPr>
            </p:nvSpPr>
            <p:spPr bwMode="auto">
              <a:xfrm>
                <a:off x="6418484" y="3489410"/>
                <a:ext cx="6932" cy="64475"/>
              </a:xfrm>
              <a:custGeom>
                <a:avLst/>
                <a:gdLst>
                  <a:gd name="T0" fmla="*/ 3175 w 26"/>
                  <a:gd name="T1" fmla="*/ 57150 h 111"/>
                  <a:gd name="T2" fmla="*/ 2198 w 26"/>
                  <a:gd name="T3" fmla="*/ 53031 h 111"/>
                  <a:gd name="T4" fmla="*/ 977 w 26"/>
                  <a:gd name="T5" fmla="*/ 48912 h 111"/>
                  <a:gd name="T6" fmla="*/ 488 w 26"/>
                  <a:gd name="T7" fmla="*/ 46853 h 111"/>
                  <a:gd name="T8" fmla="*/ 244 w 26"/>
                  <a:gd name="T9" fmla="*/ 44793 h 111"/>
                  <a:gd name="T10" fmla="*/ 0 w 26"/>
                  <a:gd name="T11" fmla="*/ 41189 h 111"/>
                  <a:gd name="T12" fmla="*/ 0 w 26"/>
                  <a:gd name="T13" fmla="*/ 38100 h 111"/>
                  <a:gd name="T14" fmla="*/ 0 w 26"/>
                  <a:gd name="T15" fmla="*/ 31407 h 111"/>
                  <a:gd name="T16" fmla="*/ 244 w 26"/>
                  <a:gd name="T17" fmla="*/ 26258 h 111"/>
                  <a:gd name="T18" fmla="*/ 733 w 26"/>
                  <a:gd name="T19" fmla="*/ 21109 h 111"/>
                  <a:gd name="T20" fmla="*/ 1221 w 26"/>
                  <a:gd name="T21" fmla="*/ 16991 h 111"/>
                  <a:gd name="T22" fmla="*/ 2198 w 26"/>
                  <a:gd name="T23" fmla="*/ 12357 h 111"/>
                  <a:gd name="T24" fmla="*/ 3419 w 26"/>
                  <a:gd name="T25" fmla="*/ 8753 h 111"/>
                  <a:gd name="T26" fmla="*/ 4885 w 26"/>
                  <a:gd name="T27" fmla="*/ 4634 h 111"/>
                  <a:gd name="T28" fmla="*/ 6350 w 26"/>
                  <a:gd name="T29" fmla="*/ 0 h 111"/>
                  <a:gd name="T30" fmla="*/ 6350 w 26"/>
                  <a:gd name="T31" fmla="*/ 3089 h 111"/>
                  <a:gd name="T32" fmla="*/ 6350 w 26"/>
                  <a:gd name="T33" fmla="*/ 6693 h 111"/>
                  <a:gd name="T34" fmla="*/ 6350 w 26"/>
                  <a:gd name="T35" fmla="*/ 11327 h 111"/>
                  <a:gd name="T36" fmla="*/ 6350 w 26"/>
                  <a:gd name="T37" fmla="*/ 16476 h 111"/>
                  <a:gd name="T38" fmla="*/ 6106 w 26"/>
                  <a:gd name="T39" fmla="*/ 22654 h 111"/>
                  <a:gd name="T40" fmla="*/ 5373 w 26"/>
                  <a:gd name="T41" fmla="*/ 28832 h 111"/>
                  <a:gd name="T42" fmla="*/ 4396 w 26"/>
                  <a:gd name="T43" fmla="*/ 34496 h 111"/>
                  <a:gd name="T44" fmla="*/ 3175 w 26"/>
                  <a:gd name="T45" fmla="*/ 41189 h 111"/>
                  <a:gd name="T46" fmla="*/ 3175 w 26"/>
                  <a:gd name="T47" fmla="*/ 57150 h 11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6" h="111">
                    <a:moveTo>
                      <a:pt x="13" y="111"/>
                    </a:moveTo>
                    <a:lnTo>
                      <a:pt x="9" y="103"/>
                    </a:lnTo>
                    <a:lnTo>
                      <a:pt x="4" y="95"/>
                    </a:lnTo>
                    <a:lnTo>
                      <a:pt x="2" y="91"/>
                    </a:lnTo>
                    <a:lnTo>
                      <a:pt x="1" y="87"/>
                    </a:lnTo>
                    <a:lnTo>
                      <a:pt x="0" y="80"/>
                    </a:lnTo>
                    <a:lnTo>
                      <a:pt x="0" y="74"/>
                    </a:lnTo>
                    <a:lnTo>
                      <a:pt x="0" y="61"/>
                    </a:lnTo>
                    <a:lnTo>
                      <a:pt x="1" y="51"/>
                    </a:lnTo>
                    <a:lnTo>
                      <a:pt x="3" y="41"/>
                    </a:lnTo>
                    <a:lnTo>
                      <a:pt x="5" y="33"/>
                    </a:lnTo>
                    <a:lnTo>
                      <a:pt x="9" y="24"/>
                    </a:lnTo>
                    <a:lnTo>
                      <a:pt x="14" y="17"/>
                    </a:lnTo>
                    <a:lnTo>
                      <a:pt x="20" y="9"/>
                    </a:lnTo>
                    <a:lnTo>
                      <a:pt x="26" y="0"/>
                    </a:lnTo>
                    <a:lnTo>
                      <a:pt x="26" y="6"/>
                    </a:lnTo>
                    <a:lnTo>
                      <a:pt x="26" y="13"/>
                    </a:lnTo>
                    <a:lnTo>
                      <a:pt x="26" y="22"/>
                    </a:lnTo>
                    <a:lnTo>
                      <a:pt x="26" y="32"/>
                    </a:lnTo>
                    <a:lnTo>
                      <a:pt x="25" y="44"/>
                    </a:lnTo>
                    <a:lnTo>
                      <a:pt x="22" y="56"/>
                    </a:lnTo>
                    <a:lnTo>
                      <a:pt x="18" y="67"/>
                    </a:lnTo>
                    <a:lnTo>
                      <a:pt x="13" y="80"/>
                    </a:lnTo>
                    <a:lnTo>
                      <a:pt x="13" y="111"/>
                    </a:lnTo>
                  </a:path>
                </a:pathLst>
              </a:custGeom>
              <a:grpFill/>
              <a:ln w="9525" cmpd="sng">
                <a:solidFill>
                  <a:srgbClr val="FFFFFF"/>
                </a:solidFill>
                <a:prstDash val="solid"/>
                <a:round/>
                <a:headEnd/>
                <a:tailEnd/>
              </a:ln>
            </p:spPr>
            <p:txBody>
              <a:bodyPr/>
              <a:lstStyle/>
              <a:p>
                <a:endParaRPr lang="en-GB" sz="1637"/>
              </a:p>
            </p:txBody>
          </p:sp>
          <p:sp>
            <p:nvSpPr>
              <p:cNvPr id="46" name="Freeform 106"/>
              <p:cNvSpPr>
                <a:spLocks/>
              </p:cNvSpPr>
              <p:nvPr>
                <p:custDataLst>
                  <p:tags r:id="rId29"/>
                </p:custDataLst>
              </p:nvPr>
            </p:nvSpPr>
            <p:spPr bwMode="auto">
              <a:xfrm>
                <a:off x="5546795" y="5720953"/>
                <a:ext cx="32927" cy="62684"/>
              </a:xfrm>
              <a:custGeom>
                <a:avLst/>
                <a:gdLst>
                  <a:gd name="T0" fmla="*/ 0 w 66"/>
                  <a:gd name="T1" fmla="*/ 0 h 44"/>
                  <a:gd name="T2" fmla="*/ 5941 w 66"/>
                  <a:gd name="T3" fmla="*/ 1263 h 44"/>
                  <a:gd name="T4" fmla="*/ 10511 w 66"/>
                  <a:gd name="T5" fmla="*/ 2526 h 44"/>
                  <a:gd name="T6" fmla="*/ 14624 w 66"/>
                  <a:gd name="T7" fmla="*/ 5051 h 44"/>
                  <a:gd name="T8" fmla="*/ 17367 w 66"/>
                  <a:gd name="T9" fmla="*/ 8840 h 44"/>
                  <a:gd name="T10" fmla="*/ 20109 w 66"/>
                  <a:gd name="T11" fmla="*/ 11365 h 44"/>
                  <a:gd name="T12" fmla="*/ 22851 w 66"/>
                  <a:gd name="T13" fmla="*/ 13891 h 44"/>
                  <a:gd name="T14" fmla="*/ 26050 w 66"/>
                  <a:gd name="T15" fmla="*/ 15154 h 44"/>
                  <a:gd name="T16" fmla="*/ 30163 w 66"/>
                  <a:gd name="T17" fmla="*/ 16416 h 44"/>
                  <a:gd name="T18" fmla="*/ 29706 w 66"/>
                  <a:gd name="T19" fmla="*/ 21468 h 44"/>
                  <a:gd name="T20" fmla="*/ 28335 w 66"/>
                  <a:gd name="T21" fmla="*/ 26519 h 44"/>
                  <a:gd name="T22" fmla="*/ 27421 w 66"/>
                  <a:gd name="T23" fmla="*/ 31570 h 44"/>
                  <a:gd name="T24" fmla="*/ 26050 w 66"/>
                  <a:gd name="T25" fmla="*/ 35358 h 44"/>
                  <a:gd name="T26" fmla="*/ 22394 w 66"/>
                  <a:gd name="T27" fmla="*/ 42935 h 44"/>
                  <a:gd name="T28" fmla="*/ 18281 w 66"/>
                  <a:gd name="T29" fmla="*/ 49249 h 44"/>
                  <a:gd name="T30" fmla="*/ 14167 w 66"/>
                  <a:gd name="T31" fmla="*/ 53037 h 44"/>
                  <a:gd name="T32" fmla="*/ 9597 w 66"/>
                  <a:gd name="T33" fmla="*/ 55563 h 44"/>
                  <a:gd name="T34" fmla="*/ 4570 w 66"/>
                  <a:gd name="T35" fmla="*/ 55563 h 44"/>
                  <a:gd name="T36" fmla="*/ 0 w 66"/>
                  <a:gd name="T37" fmla="*/ 54300 h 44"/>
                  <a:gd name="T38" fmla="*/ 0 w 66"/>
                  <a:gd name="T39" fmla="*/ 39147 h 44"/>
                  <a:gd name="T40" fmla="*/ 0 w 66"/>
                  <a:gd name="T41" fmla="*/ 27782 h 44"/>
                  <a:gd name="T42" fmla="*/ 0 w 66"/>
                  <a:gd name="T43" fmla="*/ 15154 h 44"/>
                  <a:gd name="T44" fmla="*/ 0 w 66"/>
                  <a:gd name="T45" fmla="*/ 0 h 4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6" h="44">
                    <a:moveTo>
                      <a:pt x="0" y="0"/>
                    </a:moveTo>
                    <a:lnTo>
                      <a:pt x="13" y="1"/>
                    </a:lnTo>
                    <a:lnTo>
                      <a:pt x="23" y="2"/>
                    </a:lnTo>
                    <a:lnTo>
                      <a:pt x="32" y="4"/>
                    </a:lnTo>
                    <a:lnTo>
                      <a:pt x="38" y="7"/>
                    </a:lnTo>
                    <a:lnTo>
                      <a:pt x="44" y="9"/>
                    </a:lnTo>
                    <a:lnTo>
                      <a:pt x="50" y="11"/>
                    </a:lnTo>
                    <a:lnTo>
                      <a:pt x="57" y="12"/>
                    </a:lnTo>
                    <a:lnTo>
                      <a:pt x="66" y="13"/>
                    </a:lnTo>
                    <a:lnTo>
                      <a:pt x="65" y="17"/>
                    </a:lnTo>
                    <a:lnTo>
                      <a:pt x="62" y="21"/>
                    </a:lnTo>
                    <a:lnTo>
                      <a:pt x="60" y="25"/>
                    </a:lnTo>
                    <a:lnTo>
                      <a:pt x="57" y="28"/>
                    </a:lnTo>
                    <a:lnTo>
                      <a:pt x="49" y="34"/>
                    </a:lnTo>
                    <a:lnTo>
                      <a:pt x="40" y="39"/>
                    </a:lnTo>
                    <a:lnTo>
                      <a:pt x="31" y="42"/>
                    </a:lnTo>
                    <a:lnTo>
                      <a:pt x="21" y="44"/>
                    </a:lnTo>
                    <a:lnTo>
                      <a:pt x="10" y="44"/>
                    </a:lnTo>
                    <a:lnTo>
                      <a:pt x="0" y="43"/>
                    </a:lnTo>
                    <a:lnTo>
                      <a:pt x="0" y="31"/>
                    </a:lnTo>
                    <a:lnTo>
                      <a:pt x="0" y="22"/>
                    </a:lnTo>
                    <a:lnTo>
                      <a:pt x="0" y="12"/>
                    </a:lnTo>
                    <a:lnTo>
                      <a:pt x="0" y="0"/>
                    </a:lnTo>
                  </a:path>
                </a:pathLst>
              </a:custGeom>
              <a:grpFill/>
              <a:ln w="9525" cmpd="sng">
                <a:solidFill>
                  <a:srgbClr val="FFFFFF"/>
                </a:solidFill>
                <a:prstDash val="solid"/>
                <a:round/>
                <a:headEnd/>
                <a:tailEnd/>
              </a:ln>
            </p:spPr>
            <p:txBody>
              <a:bodyPr/>
              <a:lstStyle/>
              <a:p>
                <a:endParaRPr lang="en-GB" sz="1637"/>
              </a:p>
            </p:txBody>
          </p:sp>
          <p:sp>
            <p:nvSpPr>
              <p:cNvPr id="47" name="Freeform 107"/>
              <p:cNvSpPr>
                <a:spLocks/>
              </p:cNvSpPr>
              <p:nvPr>
                <p:custDataLst>
                  <p:tags r:id="rId30"/>
                </p:custDataLst>
              </p:nvPr>
            </p:nvSpPr>
            <p:spPr bwMode="auto">
              <a:xfrm>
                <a:off x="7898448" y="2078130"/>
                <a:ext cx="22528" cy="64475"/>
              </a:xfrm>
              <a:custGeom>
                <a:avLst/>
                <a:gdLst>
                  <a:gd name="T0" fmla="*/ 20637 w 46"/>
                  <a:gd name="T1" fmla="*/ 0 h 16"/>
                  <a:gd name="T2" fmla="*/ 17945 w 46"/>
                  <a:gd name="T3" fmla="*/ 25003 h 16"/>
                  <a:gd name="T4" fmla="*/ 15702 w 46"/>
                  <a:gd name="T5" fmla="*/ 46434 h 16"/>
                  <a:gd name="T6" fmla="*/ 13908 w 46"/>
                  <a:gd name="T7" fmla="*/ 50006 h 16"/>
                  <a:gd name="T8" fmla="*/ 13010 w 46"/>
                  <a:gd name="T9" fmla="*/ 53578 h 16"/>
                  <a:gd name="T10" fmla="*/ 11664 w 46"/>
                  <a:gd name="T11" fmla="*/ 57150 h 16"/>
                  <a:gd name="T12" fmla="*/ 10319 w 46"/>
                  <a:gd name="T13" fmla="*/ 57150 h 16"/>
                  <a:gd name="T14" fmla="*/ 7178 w 46"/>
                  <a:gd name="T15" fmla="*/ 50006 h 16"/>
                  <a:gd name="T16" fmla="*/ 4935 w 46"/>
                  <a:gd name="T17" fmla="*/ 39291 h 16"/>
                  <a:gd name="T18" fmla="*/ 2243 w 46"/>
                  <a:gd name="T19" fmla="*/ 21431 h 16"/>
                  <a:gd name="T20" fmla="*/ 0 w 46"/>
                  <a:gd name="T21" fmla="*/ 0 h 16"/>
                  <a:gd name="T22" fmla="*/ 20637 w 46"/>
                  <a:gd name="T23" fmla="*/ 0 h 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6" h="16">
                    <a:moveTo>
                      <a:pt x="46" y="0"/>
                    </a:moveTo>
                    <a:lnTo>
                      <a:pt x="40" y="7"/>
                    </a:lnTo>
                    <a:lnTo>
                      <a:pt x="35" y="13"/>
                    </a:lnTo>
                    <a:lnTo>
                      <a:pt x="31" y="14"/>
                    </a:lnTo>
                    <a:lnTo>
                      <a:pt x="29" y="15"/>
                    </a:lnTo>
                    <a:lnTo>
                      <a:pt x="26" y="16"/>
                    </a:lnTo>
                    <a:lnTo>
                      <a:pt x="23" y="16"/>
                    </a:lnTo>
                    <a:lnTo>
                      <a:pt x="16" y="14"/>
                    </a:lnTo>
                    <a:lnTo>
                      <a:pt x="11" y="11"/>
                    </a:lnTo>
                    <a:lnTo>
                      <a:pt x="5" y="6"/>
                    </a:lnTo>
                    <a:lnTo>
                      <a:pt x="0" y="0"/>
                    </a:lnTo>
                    <a:lnTo>
                      <a:pt x="46" y="0"/>
                    </a:lnTo>
                  </a:path>
                </a:pathLst>
              </a:custGeom>
              <a:grpFill/>
              <a:ln w="9525" cmpd="sng">
                <a:solidFill>
                  <a:srgbClr val="FFFFFF"/>
                </a:solidFill>
                <a:prstDash val="solid"/>
                <a:round/>
                <a:headEnd/>
                <a:tailEnd/>
              </a:ln>
            </p:spPr>
            <p:txBody>
              <a:bodyPr/>
              <a:lstStyle/>
              <a:p>
                <a:endParaRPr lang="en-GB" sz="1637"/>
              </a:p>
            </p:txBody>
          </p:sp>
          <p:sp>
            <p:nvSpPr>
              <p:cNvPr id="48" name="Freeform 108"/>
              <p:cNvSpPr>
                <a:spLocks/>
              </p:cNvSpPr>
              <p:nvPr>
                <p:custDataLst>
                  <p:tags r:id="rId31"/>
                </p:custDataLst>
              </p:nvPr>
            </p:nvSpPr>
            <p:spPr bwMode="auto">
              <a:xfrm>
                <a:off x="8090808" y="2115741"/>
                <a:ext cx="17330" cy="64475"/>
              </a:xfrm>
              <a:custGeom>
                <a:avLst/>
                <a:gdLst>
                  <a:gd name="T0" fmla="*/ 15875 w 39"/>
                  <a:gd name="T1" fmla="*/ 54952 h 26"/>
                  <a:gd name="T2" fmla="*/ 14654 w 39"/>
                  <a:gd name="T3" fmla="*/ 57150 h 26"/>
                  <a:gd name="T4" fmla="*/ 13026 w 39"/>
                  <a:gd name="T5" fmla="*/ 57150 h 26"/>
                  <a:gd name="T6" fmla="*/ 11397 w 39"/>
                  <a:gd name="T7" fmla="*/ 57150 h 26"/>
                  <a:gd name="T8" fmla="*/ 10176 w 39"/>
                  <a:gd name="T9" fmla="*/ 54952 h 26"/>
                  <a:gd name="T10" fmla="*/ 7327 w 39"/>
                  <a:gd name="T11" fmla="*/ 48358 h 26"/>
                  <a:gd name="T12" fmla="*/ 4885 w 39"/>
                  <a:gd name="T13" fmla="*/ 39565 h 26"/>
                  <a:gd name="T14" fmla="*/ 2849 w 39"/>
                  <a:gd name="T15" fmla="*/ 28575 h 26"/>
                  <a:gd name="T16" fmla="*/ 1221 w 39"/>
                  <a:gd name="T17" fmla="*/ 15387 h 26"/>
                  <a:gd name="T18" fmla="*/ 407 w 39"/>
                  <a:gd name="T19" fmla="*/ 6594 h 26"/>
                  <a:gd name="T20" fmla="*/ 0 w 39"/>
                  <a:gd name="T21" fmla="*/ 0 h 26"/>
                  <a:gd name="T22" fmla="*/ 4478 w 39"/>
                  <a:gd name="T23" fmla="*/ 13188 h 26"/>
                  <a:gd name="T24" fmla="*/ 8955 w 39"/>
                  <a:gd name="T25" fmla="*/ 28575 h 26"/>
                  <a:gd name="T26" fmla="*/ 13433 w 39"/>
                  <a:gd name="T27" fmla="*/ 43962 h 26"/>
                  <a:gd name="T28" fmla="*/ 15875 w 39"/>
                  <a:gd name="T29" fmla="*/ 54952 h 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9" h="26">
                    <a:moveTo>
                      <a:pt x="39" y="25"/>
                    </a:moveTo>
                    <a:lnTo>
                      <a:pt x="36" y="26"/>
                    </a:lnTo>
                    <a:lnTo>
                      <a:pt x="32" y="26"/>
                    </a:lnTo>
                    <a:lnTo>
                      <a:pt x="28" y="26"/>
                    </a:lnTo>
                    <a:lnTo>
                      <a:pt x="25" y="25"/>
                    </a:lnTo>
                    <a:lnTo>
                      <a:pt x="18" y="22"/>
                    </a:lnTo>
                    <a:lnTo>
                      <a:pt x="12" y="18"/>
                    </a:lnTo>
                    <a:lnTo>
                      <a:pt x="7" y="13"/>
                    </a:lnTo>
                    <a:lnTo>
                      <a:pt x="3" y="7"/>
                    </a:lnTo>
                    <a:lnTo>
                      <a:pt x="1" y="3"/>
                    </a:lnTo>
                    <a:lnTo>
                      <a:pt x="0" y="0"/>
                    </a:lnTo>
                    <a:lnTo>
                      <a:pt x="11" y="6"/>
                    </a:lnTo>
                    <a:lnTo>
                      <a:pt x="22" y="13"/>
                    </a:lnTo>
                    <a:lnTo>
                      <a:pt x="33" y="20"/>
                    </a:lnTo>
                    <a:lnTo>
                      <a:pt x="39" y="25"/>
                    </a:lnTo>
                  </a:path>
                </a:pathLst>
              </a:custGeom>
              <a:grpFill/>
              <a:ln w="9525" cmpd="sng">
                <a:solidFill>
                  <a:srgbClr val="FFFFFF"/>
                </a:solidFill>
                <a:prstDash val="solid"/>
                <a:round/>
                <a:headEnd/>
                <a:tailEnd/>
              </a:ln>
            </p:spPr>
            <p:txBody>
              <a:bodyPr/>
              <a:lstStyle/>
              <a:p>
                <a:endParaRPr lang="en-GB" sz="1637"/>
              </a:p>
            </p:txBody>
          </p:sp>
          <p:sp>
            <p:nvSpPr>
              <p:cNvPr id="49" name="Freeform 113"/>
              <p:cNvSpPr>
                <a:spLocks/>
              </p:cNvSpPr>
              <p:nvPr>
                <p:custDataLst>
                  <p:tags r:id="rId32"/>
                </p:custDataLst>
              </p:nvPr>
            </p:nvSpPr>
            <p:spPr bwMode="auto">
              <a:xfrm>
                <a:off x="3747963" y="1780830"/>
                <a:ext cx="10398" cy="64475"/>
              </a:xfrm>
              <a:custGeom>
                <a:avLst/>
                <a:gdLst>
                  <a:gd name="T0" fmla="*/ 0 w 33"/>
                  <a:gd name="T1" fmla="*/ 22123 h 31"/>
                  <a:gd name="T2" fmla="*/ 5484 w 33"/>
                  <a:gd name="T3" fmla="*/ 0 h 31"/>
                  <a:gd name="T4" fmla="*/ 6927 w 33"/>
                  <a:gd name="T5" fmla="*/ 9218 h 31"/>
                  <a:gd name="T6" fmla="*/ 8082 w 33"/>
                  <a:gd name="T7" fmla="*/ 22123 h 31"/>
                  <a:gd name="T8" fmla="*/ 9236 w 33"/>
                  <a:gd name="T9" fmla="*/ 40558 h 31"/>
                  <a:gd name="T10" fmla="*/ 9525 w 33"/>
                  <a:gd name="T11" fmla="*/ 57150 h 31"/>
                  <a:gd name="T12" fmla="*/ 7793 w 33"/>
                  <a:gd name="T13" fmla="*/ 55306 h 31"/>
                  <a:gd name="T14" fmla="*/ 6350 w 33"/>
                  <a:gd name="T15" fmla="*/ 51619 h 31"/>
                  <a:gd name="T16" fmla="*/ 4618 w 33"/>
                  <a:gd name="T17" fmla="*/ 46089 h 31"/>
                  <a:gd name="T18" fmla="*/ 3175 w 33"/>
                  <a:gd name="T19" fmla="*/ 40558 h 31"/>
                  <a:gd name="T20" fmla="*/ 866 w 33"/>
                  <a:gd name="T21" fmla="*/ 27653 h 31"/>
                  <a:gd name="T22" fmla="*/ 0 w 33"/>
                  <a:gd name="T23" fmla="*/ 22123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3" h="31">
                    <a:moveTo>
                      <a:pt x="0" y="12"/>
                    </a:moveTo>
                    <a:lnTo>
                      <a:pt x="19" y="0"/>
                    </a:lnTo>
                    <a:lnTo>
                      <a:pt x="24" y="5"/>
                    </a:lnTo>
                    <a:lnTo>
                      <a:pt x="28" y="12"/>
                    </a:lnTo>
                    <a:lnTo>
                      <a:pt x="32" y="22"/>
                    </a:lnTo>
                    <a:lnTo>
                      <a:pt x="33" y="31"/>
                    </a:lnTo>
                    <a:lnTo>
                      <a:pt x="27" y="30"/>
                    </a:lnTo>
                    <a:lnTo>
                      <a:pt x="22" y="28"/>
                    </a:lnTo>
                    <a:lnTo>
                      <a:pt x="16" y="25"/>
                    </a:lnTo>
                    <a:lnTo>
                      <a:pt x="11" y="22"/>
                    </a:lnTo>
                    <a:lnTo>
                      <a:pt x="3" y="15"/>
                    </a:lnTo>
                    <a:lnTo>
                      <a:pt x="0" y="12"/>
                    </a:lnTo>
                  </a:path>
                </a:pathLst>
              </a:custGeom>
              <a:grpFill/>
              <a:ln w="9525" cmpd="sng">
                <a:solidFill>
                  <a:srgbClr val="FFFFFF"/>
                </a:solidFill>
                <a:prstDash val="solid"/>
                <a:round/>
                <a:headEnd/>
                <a:tailEnd/>
              </a:ln>
            </p:spPr>
            <p:txBody>
              <a:bodyPr/>
              <a:lstStyle/>
              <a:p>
                <a:endParaRPr lang="en-GB" sz="1637"/>
              </a:p>
            </p:txBody>
          </p:sp>
          <p:sp>
            <p:nvSpPr>
              <p:cNvPr id="50" name="Freeform 114"/>
              <p:cNvSpPr>
                <a:spLocks/>
              </p:cNvSpPr>
              <p:nvPr>
                <p:custDataLst>
                  <p:tags r:id="rId33"/>
                </p:custDataLst>
              </p:nvPr>
            </p:nvSpPr>
            <p:spPr bwMode="auto">
              <a:xfrm>
                <a:off x="3732367" y="1519349"/>
                <a:ext cx="3466" cy="64475"/>
              </a:xfrm>
              <a:custGeom>
                <a:avLst/>
                <a:gdLst>
                  <a:gd name="T0" fmla="*/ 3175 w 14"/>
                  <a:gd name="T1" fmla="*/ 0 h 6"/>
                  <a:gd name="T2" fmla="*/ 0 w 14"/>
                  <a:gd name="T3" fmla="*/ 57150 h 6"/>
                  <a:gd name="T4" fmla="*/ 3175 w 14"/>
                  <a:gd name="T5" fmla="*/ 0 h 6"/>
                  <a:gd name="T6" fmla="*/ 0 60000 65536"/>
                  <a:gd name="T7" fmla="*/ 0 60000 65536"/>
                  <a:gd name="T8" fmla="*/ 0 60000 65536"/>
                </a:gdLst>
                <a:ahLst/>
                <a:cxnLst>
                  <a:cxn ang="T6">
                    <a:pos x="T0" y="T1"/>
                  </a:cxn>
                  <a:cxn ang="T7">
                    <a:pos x="T2" y="T3"/>
                  </a:cxn>
                  <a:cxn ang="T8">
                    <a:pos x="T4" y="T5"/>
                  </a:cxn>
                </a:cxnLst>
                <a:rect l="0" t="0" r="r" b="b"/>
                <a:pathLst>
                  <a:path w="14" h="6">
                    <a:moveTo>
                      <a:pt x="14" y="0"/>
                    </a:moveTo>
                    <a:lnTo>
                      <a:pt x="0" y="6"/>
                    </a:lnTo>
                    <a:lnTo>
                      <a:pt x="14" y="0"/>
                    </a:lnTo>
                  </a:path>
                </a:pathLst>
              </a:custGeom>
              <a:grpFill/>
              <a:ln w="9525" cmpd="sng">
                <a:solidFill>
                  <a:srgbClr val="FFFFFF"/>
                </a:solidFill>
                <a:prstDash val="solid"/>
                <a:round/>
                <a:headEnd/>
                <a:tailEnd/>
              </a:ln>
            </p:spPr>
            <p:txBody>
              <a:bodyPr/>
              <a:lstStyle/>
              <a:p>
                <a:endParaRPr lang="en-GB" sz="1637"/>
              </a:p>
            </p:txBody>
          </p:sp>
          <p:sp>
            <p:nvSpPr>
              <p:cNvPr id="51" name="Freeform 115"/>
              <p:cNvSpPr>
                <a:spLocks/>
              </p:cNvSpPr>
              <p:nvPr>
                <p:custDataLst>
                  <p:tags r:id="rId34"/>
                </p:custDataLst>
              </p:nvPr>
            </p:nvSpPr>
            <p:spPr bwMode="auto">
              <a:xfrm>
                <a:off x="5349236" y="3525229"/>
                <a:ext cx="27728" cy="62684"/>
              </a:xfrm>
              <a:custGeom>
                <a:avLst/>
                <a:gdLst>
                  <a:gd name="T0" fmla="*/ 25400 w 59"/>
                  <a:gd name="T1" fmla="*/ 10754 h 31"/>
                  <a:gd name="T2" fmla="*/ 24539 w 59"/>
                  <a:gd name="T3" fmla="*/ 19716 h 31"/>
                  <a:gd name="T4" fmla="*/ 22817 w 59"/>
                  <a:gd name="T5" fmla="*/ 26885 h 31"/>
                  <a:gd name="T6" fmla="*/ 21095 w 59"/>
                  <a:gd name="T7" fmla="*/ 34055 h 31"/>
                  <a:gd name="T8" fmla="*/ 19373 w 59"/>
                  <a:gd name="T9" fmla="*/ 43017 h 31"/>
                  <a:gd name="T10" fmla="*/ 17220 w 59"/>
                  <a:gd name="T11" fmla="*/ 48394 h 31"/>
                  <a:gd name="T12" fmla="*/ 15498 w 59"/>
                  <a:gd name="T13" fmla="*/ 51978 h 31"/>
                  <a:gd name="T14" fmla="*/ 12915 w 59"/>
                  <a:gd name="T15" fmla="*/ 55563 h 31"/>
                  <a:gd name="T16" fmla="*/ 11193 w 59"/>
                  <a:gd name="T17" fmla="*/ 55563 h 31"/>
                  <a:gd name="T18" fmla="*/ 9041 w 59"/>
                  <a:gd name="T19" fmla="*/ 55563 h 31"/>
                  <a:gd name="T20" fmla="*/ 7319 w 59"/>
                  <a:gd name="T21" fmla="*/ 53771 h 31"/>
                  <a:gd name="T22" fmla="*/ 6027 w 59"/>
                  <a:gd name="T23" fmla="*/ 51978 h 31"/>
                  <a:gd name="T24" fmla="*/ 4736 w 59"/>
                  <a:gd name="T25" fmla="*/ 48394 h 31"/>
                  <a:gd name="T26" fmla="*/ 1722 w 59"/>
                  <a:gd name="T27" fmla="*/ 35847 h 31"/>
                  <a:gd name="T28" fmla="*/ 0 w 59"/>
                  <a:gd name="T29" fmla="*/ 21508 h 31"/>
                  <a:gd name="T30" fmla="*/ 431 w 59"/>
                  <a:gd name="T31" fmla="*/ 16131 h 31"/>
                  <a:gd name="T32" fmla="*/ 1292 w 59"/>
                  <a:gd name="T33" fmla="*/ 10754 h 31"/>
                  <a:gd name="T34" fmla="*/ 2153 w 59"/>
                  <a:gd name="T35" fmla="*/ 7169 h 31"/>
                  <a:gd name="T36" fmla="*/ 3444 w 59"/>
                  <a:gd name="T37" fmla="*/ 5377 h 31"/>
                  <a:gd name="T38" fmla="*/ 6888 w 59"/>
                  <a:gd name="T39" fmla="*/ 1792 h 31"/>
                  <a:gd name="T40" fmla="*/ 10332 w 59"/>
                  <a:gd name="T41" fmla="*/ 0 h 31"/>
                  <a:gd name="T42" fmla="*/ 14637 w 59"/>
                  <a:gd name="T43" fmla="*/ 0 h 31"/>
                  <a:gd name="T44" fmla="*/ 18081 w 59"/>
                  <a:gd name="T45" fmla="*/ 3585 h 31"/>
                  <a:gd name="T46" fmla="*/ 21956 w 59"/>
                  <a:gd name="T47" fmla="*/ 7169 h 31"/>
                  <a:gd name="T48" fmla="*/ 25400 w 59"/>
                  <a:gd name="T49" fmla="*/ 10754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grpFill/>
              <a:ln w="9525" cmpd="sng">
                <a:solidFill>
                  <a:srgbClr val="FFFFFF"/>
                </a:solidFill>
                <a:prstDash val="solid"/>
                <a:round/>
                <a:headEnd/>
                <a:tailEnd/>
              </a:ln>
            </p:spPr>
            <p:txBody>
              <a:bodyPr/>
              <a:lstStyle/>
              <a:p>
                <a:endParaRPr lang="en-GB" sz="1637"/>
              </a:p>
            </p:txBody>
          </p:sp>
          <p:sp>
            <p:nvSpPr>
              <p:cNvPr id="52" name="Freeform 116"/>
              <p:cNvSpPr>
                <a:spLocks/>
              </p:cNvSpPr>
              <p:nvPr>
                <p:custDataLst>
                  <p:tags r:id="rId35"/>
                </p:custDataLst>
              </p:nvPr>
            </p:nvSpPr>
            <p:spPr bwMode="auto">
              <a:xfrm>
                <a:off x="5025169" y="3369416"/>
                <a:ext cx="20796" cy="66265"/>
              </a:xfrm>
              <a:custGeom>
                <a:avLst/>
                <a:gdLst>
                  <a:gd name="T0" fmla="*/ 5674 w 47"/>
                  <a:gd name="T1" fmla="*/ 0 h 68"/>
                  <a:gd name="T2" fmla="*/ 3243 w 47"/>
                  <a:gd name="T3" fmla="*/ 8638 h 68"/>
                  <a:gd name="T4" fmla="*/ 1621 w 47"/>
                  <a:gd name="T5" fmla="*/ 16412 h 68"/>
                  <a:gd name="T6" fmla="*/ 811 w 47"/>
                  <a:gd name="T7" fmla="*/ 24186 h 68"/>
                  <a:gd name="T8" fmla="*/ 0 w 47"/>
                  <a:gd name="T9" fmla="*/ 31960 h 68"/>
                  <a:gd name="T10" fmla="*/ 0 w 47"/>
                  <a:gd name="T11" fmla="*/ 36279 h 68"/>
                  <a:gd name="T12" fmla="*/ 811 w 47"/>
                  <a:gd name="T13" fmla="*/ 40598 h 68"/>
                  <a:gd name="T14" fmla="*/ 1216 w 47"/>
                  <a:gd name="T15" fmla="*/ 44053 h 68"/>
                  <a:gd name="T16" fmla="*/ 2027 w 47"/>
                  <a:gd name="T17" fmla="*/ 47508 h 68"/>
                  <a:gd name="T18" fmla="*/ 2837 w 47"/>
                  <a:gd name="T19" fmla="*/ 50099 h 68"/>
                  <a:gd name="T20" fmla="*/ 3648 w 47"/>
                  <a:gd name="T21" fmla="*/ 51827 h 68"/>
                  <a:gd name="T22" fmla="*/ 5269 w 47"/>
                  <a:gd name="T23" fmla="*/ 53554 h 68"/>
                  <a:gd name="T24" fmla="*/ 6485 w 47"/>
                  <a:gd name="T25" fmla="*/ 55282 h 68"/>
                  <a:gd name="T26" fmla="*/ 8917 w 47"/>
                  <a:gd name="T27" fmla="*/ 57873 h 68"/>
                  <a:gd name="T28" fmla="*/ 12565 w 47"/>
                  <a:gd name="T29" fmla="*/ 58737 h 68"/>
                  <a:gd name="T30" fmla="*/ 15807 w 47"/>
                  <a:gd name="T31" fmla="*/ 58737 h 68"/>
                  <a:gd name="T32" fmla="*/ 19050 w 47"/>
                  <a:gd name="T33" fmla="*/ 58737 h 68"/>
                  <a:gd name="T34" fmla="*/ 16618 w 47"/>
                  <a:gd name="T35" fmla="*/ 50099 h 68"/>
                  <a:gd name="T36" fmla="*/ 15402 w 47"/>
                  <a:gd name="T37" fmla="*/ 41461 h 68"/>
                  <a:gd name="T38" fmla="*/ 14591 w 47"/>
                  <a:gd name="T39" fmla="*/ 37143 h 68"/>
                  <a:gd name="T40" fmla="*/ 14186 w 47"/>
                  <a:gd name="T41" fmla="*/ 32824 h 68"/>
                  <a:gd name="T42" fmla="*/ 13376 w 47"/>
                  <a:gd name="T43" fmla="*/ 26777 h 68"/>
                  <a:gd name="T44" fmla="*/ 13376 w 47"/>
                  <a:gd name="T45" fmla="*/ 21594 h 68"/>
                  <a:gd name="T46" fmla="*/ 9728 w 47"/>
                  <a:gd name="T47" fmla="*/ 11229 h 68"/>
                  <a:gd name="T48" fmla="*/ 5674 w 47"/>
                  <a:gd name="T49" fmla="*/ 0 h 6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7" h="68">
                    <a:moveTo>
                      <a:pt x="14" y="0"/>
                    </a:moveTo>
                    <a:lnTo>
                      <a:pt x="8" y="10"/>
                    </a:lnTo>
                    <a:lnTo>
                      <a:pt x="4" y="19"/>
                    </a:lnTo>
                    <a:lnTo>
                      <a:pt x="2" y="28"/>
                    </a:lnTo>
                    <a:lnTo>
                      <a:pt x="0" y="37"/>
                    </a:lnTo>
                    <a:lnTo>
                      <a:pt x="0" y="42"/>
                    </a:lnTo>
                    <a:lnTo>
                      <a:pt x="2" y="47"/>
                    </a:lnTo>
                    <a:lnTo>
                      <a:pt x="3" y="51"/>
                    </a:lnTo>
                    <a:lnTo>
                      <a:pt x="5" y="55"/>
                    </a:lnTo>
                    <a:lnTo>
                      <a:pt x="7" y="58"/>
                    </a:lnTo>
                    <a:lnTo>
                      <a:pt x="9" y="60"/>
                    </a:lnTo>
                    <a:lnTo>
                      <a:pt x="13" y="62"/>
                    </a:lnTo>
                    <a:lnTo>
                      <a:pt x="16" y="64"/>
                    </a:lnTo>
                    <a:lnTo>
                      <a:pt x="22" y="67"/>
                    </a:lnTo>
                    <a:lnTo>
                      <a:pt x="31" y="68"/>
                    </a:lnTo>
                    <a:lnTo>
                      <a:pt x="39" y="68"/>
                    </a:lnTo>
                    <a:lnTo>
                      <a:pt x="47" y="68"/>
                    </a:lnTo>
                    <a:lnTo>
                      <a:pt x="41" y="58"/>
                    </a:lnTo>
                    <a:lnTo>
                      <a:pt x="38" y="48"/>
                    </a:lnTo>
                    <a:lnTo>
                      <a:pt x="36" y="43"/>
                    </a:lnTo>
                    <a:lnTo>
                      <a:pt x="35" y="38"/>
                    </a:lnTo>
                    <a:lnTo>
                      <a:pt x="33" y="31"/>
                    </a:lnTo>
                    <a:lnTo>
                      <a:pt x="33" y="25"/>
                    </a:lnTo>
                    <a:lnTo>
                      <a:pt x="24" y="13"/>
                    </a:lnTo>
                    <a:lnTo>
                      <a:pt x="14" y="0"/>
                    </a:lnTo>
                  </a:path>
                </a:pathLst>
              </a:custGeom>
              <a:grpFill/>
              <a:ln w="9525" cmpd="sng">
                <a:solidFill>
                  <a:srgbClr val="FFFFFF"/>
                </a:solidFill>
                <a:prstDash val="solid"/>
                <a:round/>
                <a:headEnd/>
                <a:tailEnd/>
              </a:ln>
            </p:spPr>
            <p:txBody>
              <a:bodyPr/>
              <a:lstStyle/>
              <a:p>
                <a:endParaRPr lang="en-GB" sz="1637"/>
              </a:p>
            </p:txBody>
          </p:sp>
          <p:grpSp>
            <p:nvGrpSpPr>
              <p:cNvPr id="53" name="Group 117"/>
              <p:cNvGrpSpPr>
                <a:grpSpLocks/>
              </p:cNvGrpSpPr>
              <p:nvPr>
                <p:custDataLst>
                  <p:tags r:id="rId36"/>
                </p:custDataLst>
              </p:nvPr>
            </p:nvGrpSpPr>
            <p:grpSpPr bwMode="auto">
              <a:xfrm>
                <a:off x="5867397" y="3580750"/>
                <a:ext cx="50256" cy="422668"/>
                <a:chOff x="3950" y="2430"/>
                <a:chExt cx="36" cy="234"/>
              </a:xfrm>
              <a:grpFill/>
            </p:grpSpPr>
            <p:sp>
              <p:nvSpPr>
                <p:cNvPr id="231" name="Freeform 118"/>
                <p:cNvSpPr>
                  <a:spLocks/>
                </p:cNvSpPr>
                <p:nvPr/>
              </p:nvSpPr>
              <p:spPr bwMode="auto">
                <a:xfrm>
                  <a:off x="3975" y="2658"/>
                  <a:ext cx="6" cy="6"/>
                </a:xfrm>
                <a:custGeom>
                  <a:avLst/>
                  <a:gdLst>
                    <a:gd name="T0" fmla="*/ 0 w 19"/>
                    <a:gd name="T1" fmla="*/ 0 h 20"/>
                    <a:gd name="T2" fmla="*/ 0 w 19"/>
                    <a:gd name="T3" fmla="*/ 6 h 20"/>
                    <a:gd name="T4" fmla="*/ 6 w 19"/>
                    <a:gd name="T5" fmla="*/ 4 h 20"/>
                    <a:gd name="T6" fmla="*/ 4 w 19"/>
                    <a:gd name="T7" fmla="*/ 2 h 20"/>
                    <a:gd name="T8" fmla="*/ 3 w 19"/>
                    <a:gd name="T9" fmla="*/ 1 h 20"/>
                    <a:gd name="T10" fmla="*/ 1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20">
                      <a:moveTo>
                        <a:pt x="0" y="0"/>
                      </a:moveTo>
                      <a:lnTo>
                        <a:pt x="0" y="20"/>
                      </a:lnTo>
                      <a:lnTo>
                        <a:pt x="19" y="14"/>
                      </a:lnTo>
                      <a:lnTo>
                        <a:pt x="14" y="8"/>
                      </a:lnTo>
                      <a:lnTo>
                        <a:pt x="10" y="4"/>
                      </a:lnTo>
                      <a:lnTo>
                        <a:pt x="4" y="1"/>
                      </a:lnTo>
                      <a:lnTo>
                        <a:pt x="0" y="0"/>
                      </a:lnTo>
                    </a:path>
                  </a:pathLst>
                </a:custGeom>
                <a:grpFill/>
                <a:ln w="9525" cmpd="sng">
                  <a:solidFill>
                    <a:srgbClr val="FFFFFF"/>
                  </a:solidFill>
                  <a:prstDash val="solid"/>
                  <a:round/>
                  <a:headEnd/>
                  <a:tailEnd/>
                </a:ln>
              </p:spPr>
              <p:txBody>
                <a:bodyPr/>
                <a:lstStyle/>
                <a:p>
                  <a:endParaRPr lang="en-GB" sz="1637"/>
                </a:p>
              </p:txBody>
            </p:sp>
            <p:sp>
              <p:nvSpPr>
                <p:cNvPr id="232" name="Freeform 119"/>
                <p:cNvSpPr>
                  <a:spLocks/>
                </p:cNvSpPr>
                <p:nvPr/>
              </p:nvSpPr>
              <p:spPr bwMode="auto">
                <a:xfrm>
                  <a:off x="3975" y="2644"/>
                  <a:ext cx="6" cy="4"/>
                </a:xfrm>
                <a:custGeom>
                  <a:avLst/>
                  <a:gdLst>
                    <a:gd name="T0" fmla="*/ 4 w 19"/>
                    <a:gd name="T1" fmla="*/ 4 h 12"/>
                    <a:gd name="T2" fmla="*/ 6 w 19"/>
                    <a:gd name="T3" fmla="*/ 0 h 12"/>
                    <a:gd name="T4" fmla="*/ 0 w 19"/>
                    <a:gd name="T5" fmla="*/ 0 h 12"/>
                    <a:gd name="T6" fmla="*/ 4 w 19"/>
                    <a:gd name="T7" fmla="*/ 4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13" y="12"/>
                      </a:moveTo>
                      <a:lnTo>
                        <a:pt x="19" y="0"/>
                      </a:lnTo>
                      <a:lnTo>
                        <a:pt x="0" y="0"/>
                      </a:lnTo>
                      <a:lnTo>
                        <a:pt x="13" y="12"/>
                      </a:lnTo>
                    </a:path>
                  </a:pathLst>
                </a:custGeom>
                <a:grpFill/>
                <a:ln w="9525" cmpd="sng">
                  <a:solidFill>
                    <a:srgbClr val="FFFFFF"/>
                  </a:solidFill>
                  <a:prstDash val="solid"/>
                  <a:round/>
                  <a:headEnd/>
                  <a:tailEnd/>
                </a:ln>
              </p:spPr>
              <p:txBody>
                <a:bodyPr/>
                <a:lstStyle/>
                <a:p>
                  <a:endParaRPr lang="en-GB" sz="1637"/>
                </a:p>
              </p:txBody>
            </p:sp>
            <p:sp>
              <p:nvSpPr>
                <p:cNvPr id="233" name="Freeform 120"/>
                <p:cNvSpPr>
                  <a:spLocks/>
                </p:cNvSpPr>
                <p:nvPr/>
              </p:nvSpPr>
              <p:spPr bwMode="auto">
                <a:xfrm>
                  <a:off x="3975" y="2637"/>
                  <a:ext cx="6" cy="1"/>
                </a:xfrm>
                <a:custGeom>
                  <a:avLst/>
                  <a:gdLst>
                    <a:gd name="T0" fmla="*/ 0 w 19"/>
                    <a:gd name="T1" fmla="*/ 0 h 1"/>
                    <a:gd name="T2" fmla="*/ 3 w 19"/>
                    <a:gd name="T3" fmla="*/ 0 h 1"/>
                    <a:gd name="T4" fmla="*/ 6 w 19"/>
                    <a:gd name="T5" fmla="*/ 0 h 1"/>
                    <a:gd name="T6" fmla="*/ 3 w 19"/>
                    <a:gd name="T7" fmla="*/ 0 h 1"/>
                    <a:gd name="T8" fmla="*/ 0 w 19"/>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 h="1">
                      <a:moveTo>
                        <a:pt x="0" y="0"/>
                      </a:moveTo>
                      <a:lnTo>
                        <a:pt x="10" y="0"/>
                      </a:lnTo>
                      <a:lnTo>
                        <a:pt x="19" y="0"/>
                      </a:lnTo>
                      <a:lnTo>
                        <a:pt x="10" y="0"/>
                      </a:lnTo>
                      <a:lnTo>
                        <a:pt x="0" y="0"/>
                      </a:lnTo>
                    </a:path>
                  </a:pathLst>
                </a:custGeom>
                <a:grpFill/>
                <a:ln w="9525" cmpd="sng">
                  <a:solidFill>
                    <a:srgbClr val="FFFFFF"/>
                  </a:solidFill>
                  <a:prstDash val="solid"/>
                  <a:round/>
                  <a:headEnd/>
                  <a:tailEnd/>
                </a:ln>
              </p:spPr>
              <p:txBody>
                <a:bodyPr/>
                <a:lstStyle/>
                <a:p>
                  <a:endParaRPr lang="en-GB" sz="1637"/>
                </a:p>
              </p:txBody>
            </p:sp>
            <p:sp>
              <p:nvSpPr>
                <p:cNvPr id="234" name="Rectangle 121"/>
                <p:cNvSpPr>
                  <a:spLocks noChangeArrowheads="1"/>
                </p:cNvSpPr>
                <p:nvPr/>
              </p:nvSpPr>
              <p:spPr bwMode="auto">
                <a:xfrm>
                  <a:off x="3975" y="2632"/>
                  <a:ext cx="8" cy="2"/>
                </a:xfrm>
                <a:prstGeom prst="rect">
                  <a:avLst/>
                </a:prstGeom>
                <a:grpFill/>
                <a:ln w="9525">
                  <a:solidFill>
                    <a:srgbClr val="FFFFFF"/>
                  </a:solidFill>
                  <a:miter lim="800000"/>
                  <a:headEnd/>
                  <a:tailEnd/>
                </a:ln>
              </p:spPr>
              <p:txBody>
                <a:bodyPr/>
                <a:lstStyle/>
                <a:p>
                  <a:endParaRPr lang="en-US" sz="1637"/>
                </a:p>
              </p:txBody>
            </p:sp>
            <p:sp>
              <p:nvSpPr>
                <p:cNvPr id="235" name="Line 122"/>
                <p:cNvSpPr>
                  <a:spLocks noChangeShapeType="1"/>
                </p:cNvSpPr>
                <p:nvPr/>
              </p:nvSpPr>
              <p:spPr bwMode="auto">
                <a:xfrm flipV="1">
                  <a:off x="3972" y="2595"/>
                  <a:ext cx="5" cy="4"/>
                </a:xfrm>
                <a:prstGeom prst="line">
                  <a:avLst/>
                </a:prstGeom>
                <a:grpFill/>
                <a:ln w="9525">
                  <a:solidFill>
                    <a:srgbClr val="FFFFFF"/>
                  </a:solidFill>
                  <a:round/>
                  <a:headEnd/>
                  <a:tailEnd/>
                </a:ln>
              </p:spPr>
              <p:txBody>
                <a:bodyPr/>
                <a:lstStyle/>
                <a:p>
                  <a:endParaRPr lang="en-GB" sz="1637"/>
                </a:p>
              </p:txBody>
            </p:sp>
            <p:sp>
              <p:nvSpPr>
                <p:cNvPr id="236" name="Freeform 123"/>
                <p:cNvSpPr>
                  <a:spLocks/>
                </p:cNvSpPr>
                <p:nvPr/>
              </p:nvSpPr>
              <p:spPr bwMode="auto">
                <a:xfrm>
                  <a:off x="3975" y="2595"/>
                  <a:ext cx="2" cy="1"/>
                </a:xfrm>
                <a:custGeom>
                  <a:avLst/>
                  <a:gdLst>
                    <a:gd name="T0" fmla="*/ 2 w 6"/>
                    <a:gd name="T1" fmla="*/ 0 h 3"/>
                    <a:gd name="T2" fmla="*/ 2 w 6"/>
                    <a:gd name="T3" fmla="*/ 0 h 3"/>
                    <a:gd name="T4" fmla="*/ 1 w 6"/>
                    <a:gd name="T5" fmla="*/ 1 h 3"/>
                    <a:gd name="T6" fmla="*/ 0 w 6"/>
                    <a:gd name="T7" fmla="*/ 1 h 3"/>
                    <a:gd name="T8" fmla="*/ 0 w 6"/>
                    <a:gd name="T9" fmla="*/ 1 h 3"/>
                    <a:gd name="T10" fmla="*/ 0 w 6"/>
                    <a:gd name="T11" fmla="*/ 1 h 3"/>
                    <a:gd name="T12" fmla="*/ 0 w 6"/>
                    <a:gd name="T13" fmla="*/ 0 h 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 h="3">
                      <a:moveTo>
                        <a:pt x="6" y="0"/>
                      </a:moveTo>
                      <a:lnTo>
                        <a:pt x="5" y="1"/>
                      </a:lnTo>
                      <a:lnTo>
                        <a:pt x="3" y="2"/>
                      </a:lnTo>
                      <a:lnTo>
                        <a:pt x="1" y="3"/>
                      </a:lnTo>
                      <a:lnTo>
                        <a:pt x="0" y="2"/>
                      </a:lnTo>
                      <a:lnTo>
                        <a:pt x="0" y="0"/>
                      </a:lnTo>
                    </a:path>
                  </a:pathLst>
                </a:custGeom>
                <a:grpFill/>
                <a:ln w="9525" cmpd="sng">
                  <a:solidFill>
                    <a:srgbClr val="FFFFFF"/>
                  </a:solidFill>
                  <a:prstDash val="solid"/>
                  <a:round/>
                  <a:headEnd/>
                  <a:tailEnd/>
                </a:ln>
              </p:spPr>
              <p:txBody>
                <a:bodyPr/>
                <a:lstStyle/>
                <a:p>
                  <a:endParaRPr lang="en-GB" sz="1637"/>
                </a:p>
              </p:txBody>
            </p:sp>
            <p:sp>
              <p:nvSpPr>
                <p:cNvPr id="237" name="Freeform 124"/>
                <p:cNvSpPr>
                  <a:spLocks/>
                </p:cNvSpPr>
                <p:nvPr/>
              </p:nvSpPr>
              <p:spPr bwMode="auto">
                <a:xfrm>
                  <a:off x="3981" y="2555"/>
                  <a:ext cx="5" cy="8"/>
                </a:xfrm>
                <a:custGeom>
                  <a:avLst/>
                  <a:gdLst>
                    <a:gd name="T0" fmla="*/ 5 w 14"/>
                    <a:gd name="T1" fmla="*/ 0 h 24"/>
                    <a:gd name="T2" fmla="*/ 5 w 14"/>
                    <a:gd name="T3" fmla="*/ 2 h 24"/>
                    <a:gd name="T4" fmla="*/ 3 w 14"/>
                    <a:gd name="T5" fmla="*/ 4 h 24"/>
                    <a:gd name="T6" fmla="*/ 2 w 14"/>
                    <a:gd name="T7" fmla="*/ 6 h 24"/>
                    <a:gd name="T8" fmla="*/ 0 w 14"/>
                    <a:gd name="T9" fmla="*/ 8 h 24"/>
                    <a:gd name="T10" fmla="*/ 0 w 14"/>
                    <a:gd name="T11" fmla="*/ 5 h 24"/>
                    <a:gd name="T12" fmla="*/ 0 w 14"/>
                    <a:gd name="T13" fmla="*/ 4 h 2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 h="24">
                      <a:moveTo>
                        <a:pt x="14" y="0"/>
                      </a:moveTo>
                      <a:lnTo>
                        <a:pt x="13" y="5"/>
                      </a:lnTo>
                      <a:lnTo>
                        <a:pt x="9" y="12"/>
                      </a:lnTo>
                      <a:lnTo>
                        <a:pt x="5" y="19"/>
                      </a:lnTo>
                      <a:lnTo>
                        <a:pt x="0" y="24"/>
                      </a:lnTo>
                      <a:lnTo>
                        <a:pt x="0" y="16"/>
                      </a:lnTo>
                      <a:lnTo>
                        <a:pt x="0" y="12"/>
                      </a:lnTo>
                    </a:path>
                  </a:pathLst>
                </a:custGeom>
                <a:grpFill/>
                <a:ln w="9525" cmpd="sng">
                  <a:solidFill>
                    <a:srgbClr val="FFFFFF"/>
                  </a:solidFill>
                  <a:prstDash val="solid"/>
                  <a:round/>
                  <a:headEnd/>
                  <a:tailEnd/>
                </a:ln>
              </p:spPr>
              <p:txBody>
                <a:bodyPr/>
                <a:lstStyle/>
                <a:p>
                  <a:endParaRPr lang="en-GB" sz="1637"/>
                </a:p>
              </p:txBody>
            </p:sp>
            <p:sp>
              <p:nvSpPr>
                <p:cNvPr id="238" name="Line 125"/>
                <p:cNvSpPr>
                  <a:spLocks noChangeShapeType="1"/>
                </p:cNvSpPr>
                <p:nvPr/>
              </p:nvSpPr>
              <p:spPr bwMode="auto">
                <a:xfrm>
                  <a:off x="3981" y="2559"/>
                  <a:ext cx="2" cy="1"/>
                </a:xfrm>
                <a:prstGeom prst="line">
                  <a:avLst/>
                </a:prstGeom>
                <a:grpFill/>
                <a:ln w="9525">
                  <a:solidFill>
                    <a:srgbClr val="FFFFFF"/>
                  </a:solidFill>
                  <a:round/>
                  <a:headEnd/>
                  <a:tailEnd/>
                </a:ln>
              </p:spPr>
              <p:txBody>
                <a:bodyPr/>
                <a:lstStyle/>
                <a:p>
                  <a:endParaRPr lang="en-GB" sz="1637"/>
                </a:p>
              </p:txBody>
            </p:sp>
            <p:sp>
              <p:nvSpPr>
                <p:cNvPr id="239" name="Freeform 126"/>
                <p:cNvSpPr>
                  <a:spLocks/>
                </p:cNvSpPr>
                <p:nvPr/>
              </p:nvSpPr>
              <p:spPr bwMode="auto">
                <a:xfrm>
                  <a:off x="3977" y="2572"/>
                  <a:ext cx="4" cy="3"/>
                </a:xfrm>
                <a:custGeom>
                  <a:avLst/>
                  <a:gdLst>
                    <a:gd name="T0" fmla="*/ 4 w 13"/>
                    <a:gd name="T1" fmla="*/ 3 h 12"/>
                    <a:gd name="T2" fmla="*/ 0 w 13"/>
                    <a:gd name="T3" fmla="*/ 0 h 12"/>
                    <a:gd name="T4" fmla="*/ 4 w 13"/>
                    <a:gd name="T5" fmla="*/ 3 h 12"/>
                    <a:gd name="T6" fmla="*/ 0 60000 65536"/>
                    <a:gd name="T7" fmla="*/ 0 60000 65536"/>
                    <a:gd name="T8" fmla="*/ 0 60000 65536"/>
                  </a:gdLst>
                  <a:ahLst/>
                  <a:cxnLst>
                    <a:cxn ang="T6">
                      <a:pos x="T0" y="T1"/>
                    </a:cxn>
                    <a:cxn ang="T7">
                      <a:pos x="T2" y="T3"/>
                    </a:cxn>
                    <a:cxn ang="T8">
                      <a:pos x="T4" y="T5"/>
                    </a:cxn>
                  </a:cxnLst>
                  <a:rect l="0" t="0" r="r" b="b"/>
                  <a:pathLst>
                    <a:path w="13" h="12">
                      <a:moveTo>
                        <a:pt x="13" y="12"/>
                      </a:moveTo>
                      <a:lnTo>
                        <a:pt x="0" y="0"/>
                      </a:lnTo>
                      <a:lnTo>
                        <a:pt x="13" y="12"/>
                      </a:lnTo>
                    </a:path>
                  </a:pathLst>
                </a:custGeom>
                <a:grpFill/>
                <a:ln w="9525" cmpd="sng">
                  <a:solidFill>
                    <a:srgbClr val="FFFFFF"/>
                  </a:solidFill>
                  <a:prstDash val="solid"/>
                  <a:round/>
                  <a:headEnd/>
                  <a:tailEnd/>
                </a:ln>
              </p:spPr>
              <p:txBody>
                <a:bodyPr/>
                <a:lstStyle/>
                <a:p>
                  <a:endParaRPr lang="en-GB" sz="1637"/>
                </a:p>
              </p:txBody>
            </p:sp>
            <p:sp>
              <p:nvSpPr>
                <p:cNvPr id="240" name="Freeform 127"/>
                <p:cNvSpPr>
                  <a:spLocks/>
                </p:cNvSpPr>
                <p:nvPr/>
              </p:nvSpPr>
              <p:spPr bwMode="auto">
                <a:xfrm>
                  <a:off x="3981" y="2585"/>
                  <a:ext cx="2" cy="6"/>
                </a:xfrm>
                <a:custGeom>
                  <a:avLst/>
                  <a:gdLst>
                    <a:gd name="T0" fmla="*/ 0 w 7"/>
                    <a:gd name="T1" fmla="*/ 0 h 19"/>
                    <a:gd name="T2" fmla="*/ 0 w 7"/>
                    <a:gd name="T3" fmla="*/ 6 h 19"/>
                    <a:gd name="T4" fmla="*/ 0 w 7"/>
                    <a:gd name="T5" fmla="*/ 0 h 19"/>
                    <a:gd name="T6" fmla="*/ 2 w 7"/>
                    <a:gd name="T7" fmla="*/ 0 h 1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9">
                      <a:moveTo>
                        <a:pt x="0" y="0"/>
                      </a:moveTo>
                      <a:lnTo>
                        <a:pt x="0" y="19"/>
                      </a:lnTo>
                      <a:lnTo>
                        <a:pt x="0" y="0"/>
                      </a:lnTo>
                      <a:lnTo>
                        <a:pt x="7" y="0"/>
                      </a:lnTo>
                    </a:path>
                  </a:pathLst>
                </a:custGeom>
                <a:grpFill/>
                <a:ln w="9525" cmpd="sng">
                  <a:solidFill>
                    <a:srgbClr val="FFFFFF"/>
                  </a:solidFill>
                  <a:prstDash val="solid"/>
                  <a:round/>
                  <a:headEnd/>
                  <a:tailEnd/>
                </a:ln>
              </p:spPr>
              <p:txBody>
                <a:bodyPr/>
                <a:lstStyle/>
                <a:p>
                  <a:endParaRPr lang="en-GB" sz="1637"/>
                </a:p>
              </p:txBody>
            </p:sp>
            <p:sp>
              <p:nvSpPr>
                <p:cNvPr id="241" name="Line 128"/>
                <p:cNvSpPr>
                  <a:spLocks noChangeShapeType="1"/>
                </p:cNvSpPr>
                <p:nvPr/>
              </p:nvSpPr>
              <p:spPr bwMode="auto">
                <a:xfrm flipV="1">
                  <a:off x="3981" y="2599"/>
                  <a:ext cx="1" cy="4"/>
                </a:xfrm>
                <a:prstGeom prst="line">
                  <a:avLst/>
                </a:prstGeom>
                <a:grpFill/>
                <a:ln w="9525">
                  <a:solidFill>
                    <a:srgbClr val="FFFFFF"/>
                  </a:solidFill>
                  <a:round/>
                  <a:headEnd/>
                  <a:tailEnd/>
                </a:ln>
              </p:spPr>
              <p:txBody>
                <a:bodyPr/>
                <a:lstStyle/>
                <a:p>
                  <a:endParaRPr lang="en-GB" sz="1637"/>
                </a:p>
              </p:txBody>
            </p:sp>
            <p:sp>
              <p:nvSpPr>
                <p:cNvPr id="242" name="Freeform 129"/>
                <p:cNvSpPr>
                  <a:spLocks/>
                </p:cNvSpPr>
                <p:nvPr/>
              </p:nvSpPr>
              <p:spPr bwMode="auto">
                <a:xfrm>
                  <a:off x="3970" y="2545"/>
                  <a:ext cx="2" cy="6"/>
                </a:xfrm>
                <a:custGeom>
                  <a:avLst/>
                  <a:gdLst>
                    <a:gd name="T0" fmla="*/ 0 w 8"/>
                    <a:gd name="T1" fmla="*/ 6 h 18"/>
                    <a:gd name="T2" fmla="*/ 2 w 8"/>
                    <a:gd name="T3" fmla="*/ 2 h 18"/>
                    <a:gd name="T4" fmla="*/ 0 w 8"/>
                    <a:gd name="T5" fmla="*/ 0 h 18"/>
                    <a:gd name="T6" fmla="*/ 0 w 8"/>
                    <a:gd name="T7" fmla="*/ 6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 h="18">
                      <a:moveTo>
                        <a:pt x="0" y="18"/>
                      </a:moveTo>
                      <a:lnTo>
                        <a:pt x="8" y="6"/>
                      </a:lnTo>
                      <a:lnTo>
                        <a:pt x="0" y="0"/>
                      </a:lnTo>
                      <a:lnTo>
                        <a:pt x="0" y="18"/>
                      </a:lnTo>
                    </a:path>
                  </a:pathLst>
                </a:custGeom>
                <a:grpFill/>
                <a:ln w="9525" cmpd="sng">
                  <a:solidFill>
                    <a:srgbClr val="FFFFFF"/>
                  </a:solidFill>
                  <a:prstDash val="solid"/>
                  <a:round/>
                  <a:headEnd/>
                  <a:tailEnd/>
                </a:ln>
              </p:spPr>
              <p:txBody>
                <a:bodyPr/>
                <a:lstStyle/>
                <a:p>
                  <a:endParaRPr lang="en-GB" sz="1637"/>
                </a:p>
              </p:txBody>
            </p:sp>
            <p:sp>
              <p:nvSpPr>
                <p:cNvPr id="243" name="Freeform 130"/>
                <p:cNvSpPr>
                  <a:spLocks/>
                </p:cNvSpPr>
                <p:nvPr/>
              </p:nvSpPr>
              <p:spPr bwMode="auto">
                <a:xfrm>
                  <a:off x="3968" y="2532"/>
                  <a:ext cx="2" cy="7"/>
                </a:xfrm>
                <a:custGeom>
                  <a:avLst/>
                  <a:gdLst>
                    <a:gd name="T0" fmla="*/ 0 w 6"/>
                    <a:gd name="T1" fmla="*/ 0 h 19"/>
                    <a:gd name="T2" fmla="*/ 0 w 6"/>
                    <a:gd name="T3" fmla="*/ 7 h 19"/>
                    <a:gd name="T4" fmla="*/ 2 w 6"/>
                    <a:gd name="T5" fmla="*/ 5 h 19"/>
                    <a:gd name="T6" fmla="*/ 0 60000 65536"/>
                    <a:gd name="T7" fmla="*/ 0 60000 65536"/>
                    <a:gd name="T8" fmla="*/ 0 60000 65536"/>
                  </a:gdLst>
                  <a:ahLst/>
                  <a:cxnLst>
                    <a:cxn ang="T6">
                      <a:pos x="T0" y="T1"/>
                    </a:cxn>
                    <a:cxn ang="T7">
                      <a:pos x="T2" y="T3"/>
                    </a:cxn>
                    <a:cxn ang="T8">
                      <a:pos x="T4" y="T5"/>
                    </a:cxn>
                  </a:cxnLst>
                  <a:rect l="0" t="0" r="r" b="b"/>
                  <a:pathLst>
                    <a:path w="6" h="19">
                      <a:moveTo>
                        <a:pt x="0" y="0"/>
                      </a:moveTo>
                      <a:lnTo>
                        <a:pt x="0" y="19"/>
                      </a:lnTo>
                      <a:lnTo>
                        <a:pt x="6" y="13"/>
                      </a:lnTo>
                    </a:path>
                  </a:pathLst>
                </a:custGeom>
                <a:grpFill/>
                <a:ln w="9525" cmpd="sng">
                  <a:solidFill>
                    <a:srgbClr val="FFFFFF"/>
                  </a:solidFill>
                  <a:prstDash val="solid"/>
                  <a:round/>
                  <a:headEnd/>
                  <a:tailEnd/>
                </a:ln>
              </p:spPr>
              <p:txBody>
                <a:bodyPr/>
                <a:lstStyle/>
                <a:p>
                  <a:endParaRPr lang="en-GB" sz="1637"/>
                </a:p>
              </p:txBody>
            </p:sp>
            <p:sp>
              <p:nvSpPr>
                <p:cNvPr id="244" name="Freeform 131"/>
                <p:cNvSpPr>
                  <a:spLocks/>
                </p:cNvSpPr>
                <p:nvPr/>
              </p:nvSpPr>
              <p:spPr bwMode="auto">
                <a:xfrm>
                  <a:off x="3965" y="2513"/>
                  <a:ext cx="10" cy="5"/>
                </a:xfrm>
                <a:custGeom>
                  <a:avLst/>
                  <a:gdLst>
                    <a:gd name="T0" fmla="*/ 0 w 28"/>
                    <a:gd name="T1" fmla="*/ 0 h 19"/>
                    <a:gd name="T2" fmla="*/ 0 w 28"/>
                    <a:gd name="T3" fmla="*/ 5 h 19"/>
                    <a:gd name="T4" fmla="*/ 10 w 28"/>
                    <a:gd name="T5" fmla="*/ 5 h 19"/>
                    <a:gd name="T6" fmla="*/ 0 60000 65536"/>
                    <a:gd name="T7" fmla="*/ 0 60000 65536"/>
                    <a:gd name="T8" fmla="*/ 0 60000 65536"/>
                  </a:gdLst>
                  <a:ahLst/>
                  <a:cxnLst>
                    <a:cxn ang="T6">
                      <a:pos x="T0" y="T1"/>
                    </a:cxn>
                    <a:cxn ang="T7">
                      <a:pos x="T2" y="T3"/>
                    </a:cxn>
                    <a:cxn ang="T8">
                      <a:pos x="T4" y="T5"/>
                    </a:cxn>
                  </a:cxnLst>
                  <a:rect l="0" t="0" r="r" b="b"/>
                  <a:pathLst>
                    <a:path w="28" h="19">
                      <a:moveTo>
                        <a:pt x="0" y="0"/>
                      </a:moveTo>
                      <a:lnTo>
                        <a:pt x="0" y="19"/>
                      </a:lnTo>
                      <a:lnTo>
                        <a:pt x="28" y="19"/>
                      </a:lnTo>
                    </a:path>
                  </a:pathLst>
                </a:custGeom>
                <a:grpFill/>
                <a:ln w="9525" cmpd="sng">
                  <a:solidFill>
                    <a:srgbClr val="FFFFFF"/>
                  </a:solidFill>
                  <a:prstDash val="solid"/>
                  <a:round/>
                  <a:headEnd/>
                  <a:tailEnd/>
                </a:ln>
              </p:spPr>
              <p:txBody>
                <a:bodyPr/>
                <a:lstStyle/>
                <a:p>
                  <a:endParaRPr lang="en-GB" sz="1637"/>
                </a:p>
              </p:txBody>
            </p:sp>
            <p:sp>
              <p:nvSpPr>
                <p:cNvPr id="245" name="Freeform 132"/>
                <p:cNvSpPr>
                  <a:spLocks/>
                </p:cNvSpPr>
                <p:nvPr/>
              </p:nvSpPr>
              <p:spPr bwMode="auto">
                <a:xfrm>
                  <a:off x="3970" y="2513"/>
                  <a:ext cx="5" cy="5"/>
                </a:xfrm>
                <a:custGeom>
                  <a:avLst/>
                  <a:gdLst>
                    <a:gd name="T0" fmla="*/ 5 w 15"/>
                    <a:gd name="T1" fmla="*/ 5 h 19"/>
                    <a:gd name="T2" fmla="*/ 3 w 15"/>
                    <a:gd name="T3" fmla="*/ 2 h 19"/>
                    <a:gd name="T4" fmla="*/ 0 w 15"/>
                    <a:gd name="T5" fmla="*/ 0 h 19"/>
                    <a:gd name="T6" fmla="*/ 0 60000 65536"/>
                    <a:gd name="T7" fmla="*/ 0 60000 65536"/>
                    <a:gd name="T8" fmla="*/ 0 60000 65536"/>
                  </a:gdLst>
                  <a:ahLst/>
                  <a:cxnLst>
                    <a:cxn ang="T6">
                      <a:pos x="T0" y="T1"/>
                    </a:cxn>
                    <a:cxn ang="T7">
                      <a:pos x="T2" y="T3"/>
                    </a:cxn>
                    <a:cxn ang="T8">
                      <a:pos x="T4" y="T5"/>
                    </a:cxn>
                  </a:cxnLst>
                  <a:rect l="0" t="0" r="r" b="b"/>
                  <a:pathLst>
                    <a:path w="15" h="19">
                      <a:moveTo>
                        <a:pt x="15" y="19"/>
                      </a:moveTo>
                      <a:lnTo>
                        <a:pt x="8" y="9"/>
                      </a:lnTo>
                      <a:lnTo>
                        <a:pt x="0" y="0"/>
                      </a:lnTo>
                    </a:path>
                  </a:pathLst>
                </a:custGeom>
                <a:grpFill/>
                <a:ln w="9525" cmpd="sng">
                  <a:solidFill>
                    <a:srgbClr val="FFFFFF"/>
                  </a:solidFill>
                  <a:prstDash val="solid"/>
                  <a:round/>
                  <a:headEnd/>
                  <a:tailEnd/>
                </a:ln>
              </p:spPr>
              <p:txBody>
                <a:bodyPr/>
                <a:lstStyle/>
                <a:p>
                  <a:endParaRPr lang="en-GB" sz="1637"/>
                </a:p>
              </p:txBody>
            </p:sp>
            <p:sp>
              <p:nvSpPr>
                <p:cNvPr id="246" name="Freeform 133"/>
                <p:cNvSpPr>
                  <a:spLocks/>
                </p:cNvSpPr>
                <p:nvPr/>
              </p:nvSpPr>
              <p:spPr bwMode="auto">
                <a:xfrm>
                  <a:off x="3975" y="2658"/>
                  <a:ext cx="6" cy="6"/>
                </a:xfrm>
                <a:custGeom>
                  <a:avLst/>
                  <a:gdLst>
                    <a:gd name="T0" fmla="*/ 0 w 19"/>
                    <a:gd name="T1" fmla="*/ 0 h 20"/>
                    <a:gd name="T2" fmla="*/ 0 w 19"/>
                    <a:gd name="T3" fmla="*/ 6 h 20"/>
                    <a:gd name="T4" fmla="*/ 6 w 19"/>
                    <a:gd name="T5" fmla="*/ 4 h 20"/>
                    <a:gd name="T6" fmla="*/ 4 w 19"/>
                    <a:gd name="T7" fmla="*/ 2 h 20"/>
                    <a:gd name="T8" fmla="*/ 3 w 19"/>
                    <a:gd name="T9" fmla="*/ 1 h 20"/>
                    <a:gd name="T10" fmla="*/ 1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20">
                      <a:moveTo>
                        <a:pt x="0" y="0"/>
                      </a:moveTo>
                      <a:lnTo>
                        <a:pt x="0" y="20"/>
                      </a:lnTo>
                      <a:lnTo>
                        <a:pt x="19" y="14"/>
                      </a:lnTo>
                      <a:lnTo>
                        <a:pt x="14" y="8"/>
                      </a:lnTo>
                      <a:lnTo>
                        <a:pt x="10" y="4"/>
                      </a:lnTo>
                      <a:lnTo>
                        <a:pt x="4" y="1"/>
                      </a:lnTo>
                      <a:lnTo>
                        <a:pt x="0" y="0"/>
                      </a:lnTo>
                    </a:path>
                  </a:pathLst>
                </a:custGeom>
                <a:grpFill/>
                <a:ln w="9525" cmpd="sng">
                  <a:solidFill>
                    <a:srgbClr val="FFFFFF"/>
                  </a:solidFill>
                  <a:prstDash val="solid"/>
                  <a:round/>
                  <a:headEnd/>
                  <a:tailEnd/>
                </a:ln>
              </p:spPr>
              <p:txBody>
                <a:bodyPr/>
                <a:lstStyle/>
                <a:p>
                  <a:endParaRPr lang="en-GB" sz="1637"/>
                </a:p>
              </p:txBody>
            </p:sp>
            <p:sp>
              <p:nvSpPr>
                <p:cNvPr id="247" name="Freeform 134"/>
                <p:cNvSpPr>
                  <a:spLocks/>
                </p:cNvSpPr>
                <p:nvPr/>
              </p:nvSpPr>
              <p:spPr bwMode="auto">
                <a:xfrm>
                  <a:off x="3975" y="2644"/>
                  <a:ext cx="6" cy="4"/>
                </a:xfrm>
                <a:custGeom>
                  <a:avLst/>
                  <a:gdLst>
                    <a:gd name="T0" fmla="*/ 4 w 19"/>
                    <a:gd name="T1" fmla="*/ 4 h 12"/>
                    <a:gd name="T2" fmla="*/ 6 w 19"/>
                    <a:gd name="T3" fmla="*/ 0 h 12"/>
                    <a:gd name="T4" fmla="*/ 0 w 19"/>
                    <a:gd name="T5" fmla="*/ 0 h 12"/>
                    <a:gd name="T6" fmla="*/ 4 w 19"/>
                    <a:gd name="T7" fmla="*/ 4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13" y="12"/>
                      </a:moveTo>
                      <a:lnTo>
                        <a:pt x="19" y="0"/>
                      </a:lnTo>
                      <a:lnTo>
                        <a:pt x="0" y="0"/>
                      </a:lnTo>
                      <a:lnTo>
                        <a:pt x="13" y="12"/>
                      </a:lnTo>
                    </a:path>
                  </a:pathLst>
                </a:custGeom>
                <a:grpFill/>
                <a:ln w="9525" cmpd="sng">
                  <a:solidFill>
                    <a:srgbClr val="FFFFFF"/>
                  </a:solidFill>
                  <a:prstDash val="solid"/>
                  <a:round/>
                  <a:headEnd/>
                  <a:tailEnd/>
                </a:ln>
              </p:spPr>
              <p:txBody>
                <a:bodyPr/>
                <a:lstStyle/>
                <a:p>
                  <a:endParaRPr lang="en-GB" sz="1637"/>
                </a:p>
              </p:txBody>
            </p:sp>
            <p:sp>
              <p:nvSpPr>
                <p:cNvPr id="248" name="Freeform 135"/>
                <p:cNvSpPr>
                  <a:spLocks/>
                </p:cNvSpPr>
                <p:nvPr/>
              </p:nvSpPr>
              <p:spPr bwMode="auto">
                <a:xfrm>
                  <a:off x="3975" y="2637"/>
                  <a:ext cx="6" cy="1"/>
                </a:xfrm>
                <a:custGeom>
                  <a:avLst/>
                  <a:gdLst>
                    <a:gd name="T0" fmla="*/ 0 w 19"/>
                    <a:gd name="T1" fmla="*/ 0 h 1"/>
                    <a:gd name="T2" fmla="*/ 3 w 19"/>
                    <a:gd name="T3" fmla="*/ 0 h 1"/>
                    <a:gd name="T4" fmla="*/ 6 w 19"/>
                    <a:gd name="T5" fmla="*/ 0 h 1"/>
                    <a:gd name="T6" fmla="*/ 3 w 19"/>
                    <a:gd name="T7" fmla="*/ 0 h 1"/>
                    <a:gd name="T8" fmla="*/ 0 w 19"/>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 h="1">
                      <a:moveTo>
                        <a:pt x="0" y="0"/>
                      </a:moveTo>
                      <a:lnTo>
                        <a:pt x="10" y="0"/>
                      </a:lnTo>
                      <a:lnTo>
                        <a:pt x="19" y="0"/>
                      </a:lnTo>
                      <a:lnTo>
                        <a:pt x="10" y="0"/>
                      </a:lnTo>
                      <a:lnTo>
                        <a:pt x="0" y="0"/>
                      </a:lnTo>
                    </a:path>
                  </a:pathLst>
                </a:custGeom>
                <a:grpFill/>
                <a:ln w="9525" cmpd="sng">
                  <a:solidFill>
                    <a:srgbClr val="FFFFFF"/>
                  </a:solidFill>
                  <a:prstDash val="solid"/>
                  <a:round/>
                  <a:headEnd/>
                  <a:tailEnd/>
                </a:ln>
              </p:spPr>
              <p:txBody>
                <a:bodyPr/>
                <a:lstStyle/>
                <a:p>
                  <a:endParaRPr lang="en-GB" sz="1637"/>
                </a:p>
              </p:txBody>
            </p:sp>
            <p:sp>
              <p:nvSpPr>
                <p:cNvPr id="249" name="Rectangle 136"/>
                <p:cNvSpPr>
                  <a:spLocks noChangeArrowheads="1"/>
                </p:cNvSpPr>
                <p:nvPr/>
              </p:nvSpPr>
              <p:spPr bwMode="auto">
                <a:xfrm>
                  <a:off x="3975" y="2632"/>
                  <a:ext cx="8" cy="2"/>
                </a:xfrm>
                <a:prstGeom prst="rect">
                  <a:avLst/>
                </a:prstGeom>
                <a:grpFill/>
                <a:ln w="9525">
                  <a:solidFill>
                    <a:srgbClr val="FFFFFF"/>
                  </a:solidFill>
                  <a:miter lim="800000"/>
                  <a:headEnd/>
                  <a:tailEnd/>
                </a:ln>
              </p:spPr>
              <p:txBody>
                <a:bodyPr/>
                <a:lstStyle/>
                <a:p>
                  <a:endParaRPr lang="en-US" sz="1637"/>
                </a:p>
              </p:txBody>
            </p:sp>
            <p:sp>
              <p:nvSpPr>
                <p:cNvPr id="250" name="Line 137"/>
                <p:cNvSpPr>
                  <a:spLocks noChangeShapeType="1"/>
                </p:cNvSpPr>
                <p:nvPr/>
              </p:nvSpPr>
              <p:spPr bwMode="auto">
                <a:xfrm flipV="1">
                  <a:off x="3972" y="2595"/>
                  <a:ext cx="5" cy="4"/>
                </a:xfrm>
                <a:prstGeom prst="line">
                  <a:avLst/>
                </a:prstGeom>
                <a:grpFill/>
                <a:ln w="9525">
                  <a:solidFill>
                    <a:srgbClr val="FFFFFF"/>
                  </a:solidFill>
                  <a:round/>
                  <a:headEnd/>
                  <a:tailEnd/>
                </a:ln>
              </p:spPr>
              <p:txBody>
                <a:bodyPr/>
                <a:lstStyle/>
                <a:p>
                  <a:endParaRPr lang="en-GB" sz="1637"/>
                </a:p>
              </p:txBody>
            </p:sp>
            <p:sp>
              <p:nvSpPr>
                <p:cNvPr id="251" name="Freeform 138"/>
                <p:cNvSpPr>
                  <a:spLocks/>
                </p:cNvSpPr>
                <p:nvPr/>
              </p:nvSpPr>
              <p:spPr bwMode="auto">
                <a:xfrm>
                  <a:off x="3975" y="2595"/>
                  <a:ext cx="2" cy="1"/>
                </a:xfrm>
                <a:custGeom>
                  <a:avLst/>
                  <a:gdLst>
                    <a:gd name="T0" fmla="*/ 2 w 6"/>
                    <a:gd name="T1" fmla="*/ 0 h 3"/>
                    <a:gd name="T2" fmla="*/ 2 w 6"/>
                    <a:gd name="T3" fmla="*/ 0 h 3"/>
                    <a:gd name="T4" fmla="*/ 1 w 6"/>
                    <a:gd name="T5" fmla="*/ 1 h 3"/>
                    <a:gd name="T6" fmla="*/ 0 w 6"/>
                    <a:gd name="T7" fmla="*/ 1 h 3"/>
                    <a:gd name="T8" fmla="*/ 0 w 6"/>
                    <a:gd name="T9" fmla="*/ 1 h 3"/>
                    <a:gd name="T10" fmla="*/ 0 w 6"/>
                    <a:gd name="T11" fmla="*/ 1 h 3"/>
                    <a:gd name="T12" fmla="*/ 0 w 6"/>
                    <a:gd name="T13" fmla="*/ 0 h 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 h="3">
                      <a:moveTo>
                        <a:pt x="6" y="0"/>
                      </a:moveTo>
                      <a:lnTo>
                        <a:pt x="5" y="1"/>
                      </a:lnTo>
                      <a:lnTo>
                        <a:pt x="3" y="2"/>
                      </a:lnTo>
                      <a:lnTo>
                        <a:pt x="1" y="3"/>
                      </a:lnTo>
                      <a:lnTo>
                        <a:pt x="0" y="2"/>
                      </a:lnTo>
                      <a:lnTo>
                        <a:pt x="0" y="0"/>
                      </a:lnTo>
                    </a:path>
                  </a:pathLst>
                </a:custGeom>
                <a:grpFill/>
                <a:ln w="9525" cmpd="sng">
                  <a:solidFill>
                    <a:srgbClr val="FFFFFF"/>
                  </a:solidFill>
                  <a:prstDash val="solid"/>
                  <a:round/>
                  <a:headEnd/>
                  <a:tailEnd/>
                </a:ln>
              </p:spPr>
              <p:txBody>
                <a:bodyPr/>
                <a:lstStyle/>
                <a:p>
                  <a:endParaRPr lang="en-GB" sz="1637"/>
                </a:p>
              </p:txBody>
            </p:sp>
            <p:sp>
              <p:nvSpPr>
                <p:cNvPr id="252" name="Freeform 139"/>
                <p:cNvSpPr>
                  <a:spLocks/>
                </p:cNvSpPr>
                <p:nvPr/>
              </p:nvSpPr>
              <p:spPr bwMode="auto">
                <a:xfrm>
                  <a:off x="3981" y="2555"/>
                  <a:ext cx="5" cy="8"/>
                </a:xfrm>
                <a:custGeom>
                  <a:avLst/>
                  <a:gdLst>
                    <a:gd name="T0" fmla="*/ 5 w 14"/>
                    <a:gd name="T1" fmla="*/ 0 h 24"/>
                    <a:gd name="T2" fmla="*/ 5 w 14"/>
                    <a:gd name="T3" fmla="*/ 2 h 24"/>
                    <a:gd name="T4" fmla="*/ 3 w 14"/>
                    <a:gd name="T5" fmla="*/ 4 h 24"/>
                    <a:gd name="T6" fmla="*/ 2 w 14"/>
                    <a:gd name="T7" fmla="*/ 6 h 24"/>
                    <a:gd name="T8" fmla="*/ 0 w 14"/>
                    <a:gd name="T9" fmla="*/ 8 h 24"/>
                    <a:gd name="T10" fmla="*/ 0 w 14"/>
                    <a:gd name="T11" fmla="*/ 5 h 24"/>
                    <a:gd name="T12" fmla="*/ 0 w 14"/>
                    <a:gd name="T13" fmla="*/ 4 h 2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 h="24">
                      <a:moveTo>
                        <a:pt x="14" y="0"/>
                      </a:moveTo>
                      <a:lnTo>
                        <a:pt x="13" y="5"/>
                      </a:lnTo>
                      <a:lnTo>
                        <a:pt x="9" y="12"/>
                      </a:lnTo>
                      <a:lnTo>
                        <a:pt x="5" y="19"/>
                      </a:lnTo>
                      <a:lnTo>
                        <a:pt x="0" y="24"/>
                      </a:lnTo>
                      <a:lnTo>
                        <a:pt x="0" y="16"/>
                      </a:lnTo>
                      <a:lnTo>
                        <a:pt x="0" y="12"/>
                      </a:lnTo>
                    </a:path>
                  </a:pathLst>
                </a:custGeom>
                <a:grpFill/>
                <a:ln w="9525" cmpd="sng">
                  <a:solidFill>
                    <a:srgbClr val="FFFFFF"/>
                  </a:solidFill>
                  <a:prstDash val="solid"/>
                  <a:round/>
                  <a:headEnd/>
                  <a:tailEnd/>
                </a:ln>
              </p:spPr>
              <p:txBody>
                <a:bodyPr/>
                <a:lstStyle/>
                <a:p>
                  <a:endParaRPr lang="en-GB" sz="1637"/>
                </a:p>
              </p:txBody>
            </p:sp>
            <p:sp>
              <p:nvSpPr>
                <p:cNvPr id="253" name="Line 140"/>
                <p:cNvSpPr>
                  <a:spLocks noChangeShapeType="1"/>
                </p:cNvSpPr>
                <p:nvPr/>
              </p:nvSpPr>
              <p:spPr bwMode="auto">
                <a:xfrm>
                  <a:off x="3981" y="2559"/>
                  <a:ext cx="2" cy="1"/>
                </a:xfrm>
                <a:prstGeom prst="line">
                  <a:avLst/>
                </a:prstGeom>
                <a:grpFill/>
                <a:ln w="9525">
                  <a:solidFill>
                    <a:srgbClr val="FFFFFF"/>
                  </a:solidFill>
                  <a:round/>
                  <a:headEnd/>
                  <a:tailEnd/>
                </a:ln>
              </p:spPr>
              <p:txBody>
                <a:bodyPr/>
                <a:lstStyle/>
                <a:p>
                  <a:endParaRPr lang="en-GB" sz="1637"/>
                </a:p>
              </p:txBody>
            </p:sp>
            <p:sp>
              <p:nvSpPr>
                <p:cNvPr id="254" name="Freeform 141"/>
                <p:cNvSpPr>
                  <a:spLocks/>
                </p:cNvSpPr>
                <p:nvPr/>
              </p:nvSpPr>
              <p:spPr bwMode="auto">
                <a:xfrm>
                  <a:off x="3977" y="2572"/>
                  <a:ext cx="4" cy="3"/>
                </a:xfrm>
                <a:custGeom>
                  <a:avLst/>
                  <a:gdLst>
                    <a:gd name="T0" fmla="*/ 4 w 13"/>
                    <a:gd name="T1" fmla="*/ 3 h 12"/>
                    <a:gd name="T2" fmla="*/ 0 w 13"/>
                    <a:gd name="T3" fmla="*/ 0 h 12"/>
                    <a:gd name="T4" fmla="*/ 4 w 13"/>
                    <a:gd name="T5" fmla="*/ 3 h 12"/>
                    <a:gd name="T6" fmla="*/ 0 60000 65536"/>
                    <a:gd name="T7" fmla="*/ 0 60000 65536"/>
                    <a:gd name="T8" fmla="*/ 0 60000 65536"/>
                  </a:gdLst>
                  <a:ahLst/>
                  <a:cxnLst>
                    <a:cxn ang="T6">
                      <a:pos x="T0" y="T1"/>
                    </a:cxn>
                    <a:cxn ang="T7">
                      <a:pos x="T2" y="T3"/>
                    </a:cxn>
                    <a:cxn ang="T8">
                      <a:pos x="T4" y="T5"/>
                    </a:cxn>
                  </a:cxnLst>
                  <a:rect l="0" t="0" r="r" b="b"/>
                  <a:pathLst>
                    <a:path w="13" h="12">
                      <a:moveTo>
                        <a:pt x="13" y="12"/>
                      </a:moveTo>
                      <a:lnTo>
                        <a:pt x="0" y="0"/>
                      </a:lnTo>
                      <a:lnTo>
                        <a:pt x="13" y="12"/>
                      </a:lnTo>
                    </a:path>
                  </a:pathLst>
                </a:custGeom>
                <a:grpFill/>
                <a:ln w="9525" cmpd="sng">
                  <a:solidFill>
                    <a:srgbClr val="FFFFFF"/>
                  </a:solidFill>
                  <a:prstDash val="solid"/>
                  <a:round/>
                  <a:headEnd/>
                  <a:tailEnd/>
                </a:ln>
              </p:spPr>
              <p:txBody>
                <a:bodyPr/>
                <a:lstStyle/>
                <a:p>
                  <a:endParaRPr lang="en-GB" sz="1637"/>
                </a:p>
              </p:txBody>
            </p:sp>
            <p:sp>
              <p:nvSpPr>
                <p:cNvPr id="255" name="Freeform 142"/>
                <p:cNvSpPr>
                  <a:spLocks/>
                </p:cNvSpPr>
                <p:nvPr/>
              </p:nvSpPr>
              <p:spPr bwMode="auto">
                <a:xfrm>
                  <a:off x="3981" y="2585"/>
                  <a:ext cx="2" cy="6"/>
                </a:xfrm>
                <a:custGeom>
                  <a:avLst/>
                  <a:gdLst>
                    <a:gd name="T0" fmla="*/ 0 w 7"/>
                    <a:gd name="T1" fmla="*/ 0 h 19"/>
                    <a:gd name="T2" fmla="*/ 0 w 7"/>
                    <a:gd name="T3" fmla="*/ 6 h 19"/>
                    <a:gd name="T4" fmla="*/ 0 w 7"/>
                    <a:gd name="T5" fmla="*/ 0 h 19"/>
                    <a:gd name="T6" fmla="*/ 2 w 7"/>
                    <a:gd name="T7" fmla="*/ 0 h 1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9">
                      <a:moveTo>
                        <a:pt x="0" y="0"/>
                      </a:moveTo>
                      <a:lnTo>
                        <a:pt x="0" y="19"/>
                      </a:lnTo>
                      <a:lnTo>
                        <a:pt x="0" y="0"/>
                      </a:lnTo>
                      <a:lnTo>
                        <a:pt x="7" y="0"/>
                      </a:lnTo>
                    </a:path>
                  </a:pathLst>
                </a:custGeom>
                <a:grpFill/>
                <a:ln w="9525" cmpd="sng">
                  <a:solidFill>
                    <a:srgbClr val="FFFFFF"/>
                  </a:solidFill>
                  <a:prstDash val="solid"/>
                  <a:round/>
                  <a:headEnd/>
                  <a:tailEnd/>
                </a:ln>
              </p:spPr>
              <p:txBody>
                <a:bodyPr/>
                <a:lstStyle/>
                <a:p>
                  <a:endParaRPr lang="en-GB" sz="1637"/>
                </a:p>
              </p:txBody>
            </p:sp>
            <p:sp>
              <p:nvSpPr>
                <p:cNvPr id="256" name="Line 143"/>
                <p:cNvSpPr>
                  <a:spLocks noChangeShapeType="1"/>
                </p:cNvSpPr>
                <p:nvPr/>
              </p:nvSpPr>
              <p:spPr bwMode="auto">
                <a:xfrm flipV="1">
                  <a:off x="3981" y="2599"/>
                  <a:ext cx="1" cy="4"/>
                </a:xfrm>
                <a:prstGeom prst="line">
                  <a:avLst/>
                </a:prstGeom>
                <a:grpFill/>
                <a:ln w="9525">
                  <a:solidFill>
                    <a:srgbClr val="FFFFFF"/>
                  </a:solidFill>
                  <a:round/>
                  <a:headEnd/>
                  <a:tailEnd/>
                </a:ln>
              </p:spPr>
              <p:txBody>
                <a:bodyPr/>
                <a:lstStyle/>
                <a:p>
                  <a:endParaRPr lang="en-GB" sz="1637"/>
                </a:p>
              </p:txBody>
            </p:sp>
            <p:sp>
              <p:nvSpPr>
                <p:cNvPr id="257" name="Freeform 144"/>
                <p:cNvSpPr>
                  <a:spLocks/>
                </p:cNvSpPr>
                <p:nvPr/>
              </p:nvSpPr>
              <p:spPr bwMode="auto">
                <a:xfrm>
                  <a:off x="3970" y="2545"/>
                  <a:ext cx="2" cy="6"/>
                </a:xfrm>
                <a:custGeom>
                  <a:avLst/>
                  <a:gdLst>
                    <a:gd name="T0" fmla="*/ 0 w 8"/>
                    <a:gd name="T1" fmla="*/ 6 h 18"/>
                    <a:gd name="T2" fmla="*/ 2 w 8"/>
                    <a:gd name="T3" fmla="*/ 2 h 18"/>
                    <a:gd name="T4" fmla="*/ 0 w 8"/>
                    <a:gd name="T5" fmla="*/ 0 h 18"/>
                    <a:gd name="T6" fmla="*/ 0 w 8"/>
                    <a:gd name="T7" fmla="*/ 6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 h="18">
                      <a:moveTo>
                        <a:pt x="0" y="18"/>
                      </a:moveTo>
                      <a:lnTo>
                        <a:pt x="8" y="6"/>
                      </a:lnTo>
                      <a:lnTo>
                        <a:pt x="0" y="0"/>
                      </a:lnTo>
                      <a:lnTo>
                        <a:pt x="0" y="18"/>
                      </a:lnTo>
                    </a:path>
                  </a:pathLst>
                </a:custGeom>
                <a:grpFill/>
                <a:ln w="9525" cmpd="sng">
                  <a:solidFill>
                    <a:srgbClr val="FFFFFF"/>
                  </a:solidFill>
                  <a:prstDash val="solid"/>
                  <a:round/>
                  <a:headEnd/>
                  <a:tailEnd/>
                </a:ln>
              </p:spPr>
              <p:txBody>
                <a:bodyPr/>
                <a:lstStyle/>
                <a:p>
                  <a:endParaRPr lang="en-GB" sz="1637"/>
                </a:p>
              </p:txBody>
            </p:sp>
            <p:sp>
              <p:nvSpPr>
                <p:cNvPr id="258" name="Freeform 145"/>
                <p:cNvSpPr>
                  <a:spLocks/>
                </p:cNvSpPr>
                <p:nvPr/>
              </p:nvSpPr>
              <p:spPr bwMode="auto">
                <a:xfrm>
                  <a:off x="3968" y="2532"/>
                  <a:ext cx="2" cy="7"/>
                </a:xfrm>
                <a:custGeom>
                  <a:avLst/>
                  <a:gdLst>
                    <a:gd name="T0" fmla="*/ 0 w 6"/>
                    <a:gd name="T1" fmla="*/ 0 h 19"/>
                    <a:gd name="T2" fmla="*/ 0 w 6"/>
                    <a:gd name="T3" fmla="*/ 7 h 19"/>
                    <a:gd name="T4" fmla="*/ 2 w 6"/>
                    <a:gd name="T5" fmla="*/ 5 h 19"/>
                    <a:gd name="T6" fmla="*/ 0 60000 65536"/>
                    <a:gd name="T7" fmla="*/ 0 60000 65536"/>
                    <a:gd name="T8" fmla="*/ 0 60000 65536"/>
                  </a:gdLst>
                  <a:ahLst/>
                  <a:cxnLst>
                    <a:cxn ang="T6">
                      <a:pos x="T0" y="T1"/>
                    </a:cxn>
                    <a:cxn ang="T7">
                      <a:pos x="T2" y="T3"/>
                    </a:cxn>
                    <a:cxn ang="T8">
                      <a:pos x="T4" y="T5"/>
                    </a:cxn>
                  </a:cxnLst>
                  <a:rect l="0" t="0" r="r" b="b"/>
                  <a:pathLst>
                    <a:path w="6" h="19">
                      <a:moveTo>
                        <a:pt x="0" y="0"/>
                      </a:moveTo>
                      <a:lnTo>
                        <a:pt x="0" y="19"/>
                      </a:lnTo>
                      <a:lnTo>
                        <a:pt x="6" y="13"/>
                      </a:lnTo>
                    </a:path>
                  </a:pathLst>
                </a:custGeom>
                <a:grpFill/>
                <a:ln w="9525" cmpd="sng">
                  <a:solidFill>
                    <a:srgbClr val="FFFFFF"/>
                  </a:solidFill>
                  <a:prstDash val="solid"/>
                  <a:round/>
                  <a:headEnd/>
                  <a:tailEnd/>
                </a:ln>
              </p:spPr>
              <p:txBody>
                <a:bodyPr/>
                <a:lstStyle/>
                <a:p>
                  <a:endParaRPr lang="en-GB" sz="1637"/>
                </a:p>
              </p:txBody>
            </p:sp>
            <p:sp>
              <p:nvSpPr>
                <p:cNvPr id="259" name="Freeform 146"/>
                <p:cNvSpPr>
                  <a:spLocks/>
                </p:cNvSpPr>
                <p:nvPr/>
              </p:nvSpPr>
              <p:spPr bwMode="auto">
                <a:xfrm>
                  <a:off x="3965" y="2513"/>
                  <a:ext cx="10" cy="5"/>
                </a:xfrm>
                <a:custGeom>
                  <a:avLst/>
                  <a:gdLst>
                    <a:gd name="T0" fmla="*/ 0 w 28"/>
                    <a:gd name="T1" fmla="*/ 0 h 19"/>
                    <a:gd name="T2" fmla="*/ 0 w 28"/>
                    <a:gd name="T3" fmla="*/ 5 h 19"/>
                    <a:gd name="T4" fmla="*/ 10 w 28"/>
                    <a:gd name="T5" fmla="*/ 5 h 19"/>
                    <a:gd name="T6" fmla="*/ 0 60000 65536"/>
                    <a:gd name="T7" fmla="*/ 0 60000 65536"/>
                    <a:gd name="T8" fmla="*/ 0 60000 65536"/>
                  </a:gdLst>
                  <a:ahLst/>
                  <a:cxnLst>
                    <a:cxn ang="T6">
                      <a:pos x="T0" y="T1"/>
                    </a:cxn>
                    <a:cxn ang="T7">
                      <a:pos x="T2" y="T3"/>
                    </a:cxn>
                    <a:cxn ang="T8">
                      <a:pos x="T4" y="T5"/>
                    </a:cxn>
                  </a:cxnLst>
                  <a:rect l="0" t="0" r="r" b="b"/>
                  <a:pathLst>
                    <a:path w="28" h="19">
                      <a:moveTo>
                        <a:pt x="0" y="0"/>
                      </a:moveTo>
                      <a:lnTo>
                        <a:pt x="0" y="19"/>
                      </a:lnTo>
                      <a:lnTo>
                        <a:pt x="28" y="19"/>
                      </a:lnTo>
                    </a:path>
                  </a:pathLst>
                </a:custGeom>
                <a:grpFill/>
                <a:ln w="9525" cmpd="sng">
                  <a:solidFill>
                    <a:srgbClr val="FFFFFF"/>
                  </a:solidFill>
                  <a:prstDash val="solid"/>
                  <a:round/>
                  <a:headEnd/>
                  <a:tailEnd/>
                </a:ln>
              </p:spPr>
              <p:txBody>
                <a:bodyPr/>
                <a:lstStyle/>
                <a:p>
                  <a:endParaRPr lang="en-GB" sz="1637"/>
                </a:p>
              </p:txBody>
            </p:sp>
            <p:sp>
              <p:nvSpPr>
                <p:cNvPr id="260" name="Freeform 147"/>
                <p:cNvSpPr>
                  <a:spLocks/>
                </p:cNvSpPr>
                <p:nvPr/>
              </p:nvSpPr>
              <p:spPr bwMode="auto">
                <a:xfrm>
                  <a:off x="3970" y="2513"/>
                  <a:ext cx="5" cy="5"/>
                </a:xfrm>
                <a:custGeom>
                  <a:avLst/>
                  <a:gdLst>
                    <a:gd name="T0" fmla="*/ 5 w 15"/>
                    <a:gd name="T1" fmla="*/ 5 h 19"/>
                    <a:gd name="T2" fmla="*/ 3 w 15"/>
                    <a:gd name="T3" fmla="*/ 2 h 19"/>
                    <a:gd name="T4" fmla="*/ 0 w 15"/>
                    <a:gd name="T5" fmla="*/ 0 h 19"/>
                    <a:gd name="T6" fmla="*/ 0 60000 65536"/>
                    <a:gd name="T7" fmla="*/ 0 60000 65536"/>
                    <a:gd name="T8" fmla="*/ 0 60000 65536"/>
                  </a:gdLst>
                  <a:ahLst/>
                  <a:cxnLst>
                    <a:cxn ang="T6">
                      <a:pos x="T0" y="T1"/>
                    </a:cxn>
                    <a:cxn ang="T7">
                      <a:pos x="T2" y="T3"/>
                    </a:cxn>
                    <a:cxn ang="T8">
                      <a:pos x="T4" y="T5"/>
                    </a:cxn>
                  </a:cxnLst>
                  <a:rect l="0" t="0" r="r" b="b"/>
                  <a:pathLst>
                    <a:path w="15" h="19">
                      <a:moveTo>
                        <a:pt x="15" y="19"/>
                      </a:moveTo>
                      <a:lnTo>
                        <a:pt x="8" y="9"/>
                      </a:lnTo>
                      <a:lnTo>
                        <a:pt x="0" y="0"/>
                      </a:lnTo>
                    </a:path>
                  </a:pathLst>
                </a:custGeom>
                <a:grpFill/>
                <a:ln w="9525" cmpd="sng">
                  <a:solidFill>
                    <a:srgbClr val="FFFFFF"/>
                  </a:solidFill>
                  <a:prstDash val="solid"/>
                  <a:round/>
                  <a:headEnd/>
                  <a:tailEnd/>
                </a:ln>
              </p:spPr>
              <p:txBody>
                <a:bodyPr/>
                <a:lstStyle/>
                <a:p>
                  <a:endParaRPr lang="en-GB" sz="1637"/>
                </a:p>
              </p:txBody>
            </p:sp>
            <p:sp>
              <p:nvSpPr>
                <p:cNvPr id="261" name="Freeform 148"/>
                <p:cNvSpPr>
                  <a:spLocks/>
                </p:cNvSpPr>
                <p:nvPr/>
              </p:nvSpPr>
              <p:spPr bwMode="auto">
                <a:xfrm>
                  <a:off x="3950" y="2430"/>
                  <a:ext cx="7" cy="6"/>
                </a:xfrm>
                <a:custGeom>
                  <a:avLst/>
                  <a:gdLst>
                    <a:gd name="T0" fmla="*/ 5 w 20"/>
                    <a:gd name="T1" fmla="*/ 6 h 18"/>
                    <a:gd name="T2" fmla="*/ 7 w 20"/>
                    <a:gd name="T3" fmla="*/ 0 h 18"/>
                    <a:gd name="T4" fmla="*/ 0 w 20"/>
                    <a:gd name="T5" fmla="*/ 0 h 18"/>
                    <a:gd name="T6" fmla="*/ 5 w 20"/>
                    <a:gd name="T7" fmla="*/ 6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18">
                      <a:moveTo>
                        <a:pt x="13" y="18"/>
                      </a:moveTo>
                      <a:lnTo>
                        <a:pt x="20" y="0"/>
                      </a:lnTo>
                      <a:lnTo>
                        <a:pt x="0" y="0"/>
                      </a:lnTo>
                      <a:lnTo>
                        <a:pt x="13" y="18"/>
                      </a:lnTo>
                    </a:path>
                  </a:pathLst>
                </a:custGeom>
                <a:grpFill/>
                <a:ln w="9525" cmpd="sng">
                  <a:solidFill>
                    <a:srgbClr val="FFFFFF"/>
                  </a:solidFill>
                  <a:prstDash val="solid"/>
                  <a:round/>
                  <a:headEnd/>
                  <a:tailEnd/>
                </a:ln>
              </p:spPr>
              <p:txBody>
                <a:bodyPr/>
                <a:lstStyle/>
                <a:p>
                  <a:endParaRPr lang="en-GB" sz="1637"/>
                </a:p>
              </p:txBody>
            </p:sp>
          </p:grpSp>
          <p:grpSp>
            <p:nvGrpSpPr>
              <p:cNvPr id="54" name="Group 149"/>
              <p:cNvGrpSpPr>
                <a:grpSpLocks/>
              </p:cNvGrpSpPr>
              <p:nvPr>
                <p:custDataLst>
                  <p:tags r:id="rId37"/>
                </p:custDataLst>
              </p:nvPr>
            </p:nvGrpSpPr>
            <p:grpSpPr bwMode="auto">
              <a:xfrm>
                <a:off x="8122002" y="4144903"/>
                <a:ext cx="202759" cy="241781"/>
                <a:chOff x="5486" y="2743"/>
                <a:chExt cx="137" cy="132"/>
              </a:xfrm>
              <a:grpFill/>
            </p:grpSpPr>
            <p:sp>
              <p:nvSpPr>
                <p:cNvPr id="222" name="Freeform 150"/>
                <p:cNvSpPr>
                  <a:spLocks/>
                </p:cNvSpPr>
                <p:nvPr/>
              </p:nvSpPr>
              <p:spPr bwMode="auto">
                <a:xfrm>
                  <a:off x="5595" y="2806"/>
                  <a:ext cx="13" cy="28"/>
                </a:xfrm>
                <a:custGeom>
                  <a:avLst/>
                  <a:gdLst>
                    <a:gd name="T0" fmla="*/ 0 w 40"/>
                    <a:gd name="T1" fmla="*/ 10 h 87"/>
                    <a:gd name="T2" fmla="*/ 0 w 40"/>
                    <a:gd name="T3" fmla="*/ 14 h 87"/>
                    <a:gd name="T4" fmla="*/ 1 w 40"/>
                    <a:gd name="T5" fmla="*/ 16 h 87"/>
                    <a:gd name="T6" fmla="*/ 2 w 40"/>
                    <a:gd name="T7" fmla="*/ 19 h 87"/>
                    <a:gd name="T8" fmla="*/ 3 w 40"/>
                    <a:gd name="T9" fmla="*/ 21 h 87"/>
                    <a:gd name="T10" fmla="*/ 5 w 40"/>
                    <a:gd name="T11" fmla="*/ 23 h 87"/>
                    <a:gd name="T12" fmla="*/ 7 w 40"/>
                    <a:gd name="T13" fmla="*/ 25 h 87"/>
                    <a:gd name="T14" fmla="*/ 10 w 40"/>
                    <a:gd name="T15" fmla="*/ 26 h 87"/>
                    <a:gd name="T16" fmla="*/ 13 w 40"/>
                    <a:gd name="T17" fmla="*/ 28 h 87"/>
                    <a:gd name="T18" fmla="*/ 11 w 40"/>
                    <a:gd name="T19" fmla="*/ 26 h 87"/>
                    <a:gd name="T20" fmla="*/ 10 w 40"/>
                    <a:gd name="T21" fmla="*/ 25 h 87"/>
                    <a:gd name="T22" fmla="*/ 9 w 40"/>
                    <a:gd name="T23" fmla="*/ 23 h 87"/>
                    <a:gd name="T24" fmla="*/ 8 w 40"/>
                    <a:gd name="T25" fmla="*/ 21 h 87"/>
                    <a:gd name="T26" fmla="*/ 7 w 40"/>
                    <a:gd name="T27" fmla="*/ 17 h 87"/>
                    <a:gd name="T28" fmla="*/ 7 w 40"/>
                    <a:gd name="T29" fmla="*/ 13 h 87"/>
                    <a:gd name="T30" fmla="*/ 6 w 40"/>
                    <a:gd name="T31" fmla="*/ 9 h 87"/>
                    <a:gd name="T32" fmla="*/ 4 w 40"/>
                    <a:gd name="T33" fmla="*/ 5 h 87"/>
                    <a:gd name="T34" fmla="*/ 4 w 40"/>
                    <a:gd name="T35" fmla="*/ 4 h 87"/>
                    <a:gd name="T36" fmla="*/ 3 w 40"/>
                    <a:gd name="T37" fmla="*/ 2 h 87"/>
                    <a:gd name="T38" fmla="*/ 1 w 40"/>
                    <a:gd name="T39" fmla="*/ 1 h 87"/>
                    <a:gd name="T40" fmla="*/ 0 w 40"/>
                    <a:gd name="T41" fmla="*/ 0 h 87"/>
                    <a:gd name="T42" fmla="*/ 0 w 40"/>
                    <a:gd name="T43" fmla="*/ 3 h 87"/>
                    <a:gd name="T44" fmla="*/ 0 w 40"/>
                    <a:gd name="T45" fmla="*/ 5 h 87"/>
                    <a:gd name="T46" fmla="*/ 0 w 40"/>
                    <a:gd name="T47" fmla="*/ 7 h 87"/>
                    <a:gd name="T48" fmla="*/ 0 w 40"/>
                    <a:gd name="T49" fmla="*/ 10 h 8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0" h="87">
                      <a:moveTo>
                        <a:pt x="0" y="31"/>
                      </a:moveTo>
                      <a:lnTo>
                        <a:pt x="0" y="42"/>
                      </a:lnTo>
                      <a:lnTo>
                        <a:pt x="2" y="51"/>
                      </a:lnTo>
                      <a:lnTo>
                        <a:pt x="5" y="59"/>
                      </a:lnTo>
                      <a:lnTo>
                        <a:pt x="10" y="66"/>
                      </a:lnTo>
                      <a:lnTo>
                        <a:pt x="15" y="72"/>
                      </a:lnTo>
                      <a:lnTo>
                        <a:pt x="22" y="77"/>
                      </a:lnTo>
                      <a:lnTo>
                        <a:pt x="31" y="82"/>
                      </a:lnTo>
                      <a:lnTo>
                        <a:pt x="40" y="87"/>
                      </a:lnTo>
                      <a:lnTo>
                        <a:pt x="35" y="82"/>
                      </a:lnTo>
                      <a:lnTo>
                        <a:pt x="32" y="77"/>
                      </a:lnTo>
                      <a:lnTo>
                        <a:pt x="29" y="71"/>
                      </a:lnTo>
                      <a:lnTo>
                        <a:pt x="26" y="65"/>
                      </a:lnTo>
                      <a:lnTo>
                        <a:pt x="22" y="52"/>
                      </a:lnTo>
                      <a:lnTo>
                        <a:pt x="20" y="39"/>
                      </a:lnTo>
                      <a:lnTo>
                        <a:pt x="18" y="27"/>
                      </a:lnTo>
                      <a:lnTo>
                        <a:pt x="13" y="16"/>
                      </a:lnTo>
                      <a:lnTo>
                        <a:pt x="11" y="11"/>
                      </a:lnTo>
                      <a:lnTo>
                        <a:pt x="8" y="6"/>
                      </a:lnTo>
                      <a:lnTo>
                        <a:pt x="4" y="3"/>
                      </a:lnTo>
                      <a:lnTo>
                        <a:pt x="0" y="0"/>
                      </a:lnTo>
                      <a:lnTo>
                        <a:pt x="0" y="9"/>
                      </a:lnTo>
                      <a:lnTo>
                        <a:pt x="0" y="16"/>
                      </a:lnTo>
                      <a:lnTo>
                        <a:pt x="0" y="23"/>
                      </a:lnTo>
                      <a:lnTo>
                        <a:pt x="0" y="31"/>
                      </a:lnTo>
                    </a:path>
                  </a:pathLst>
                </a:custGeom>
                <a:grpFill/>
                <a:ln w="9525" cmpd="sng">
                  <a:solidFill>
                    <a:srgbClr val="FFFFFF"/>
                  </a:solidFill>
                  <a:prstDash val="solid"/>
                  <a:round/>
                  <a:headEnd/>
                  <a:tailEnd/>
                </a:ln>
              </p:spPr>
              <p:txBody>
                <a:bodyPr/>
                <a:lstStyle/>
                <a:p>
                  <a:endParaRPr lang="en-GB" sz="1637"/>
                </a:p>
              </p:txBody>
            </p:sp>
            <p:sp>
              <p:nvSpPr>
                <p:cNvPr id="223" name="Freeform 151"/>
                <p:cNvSpPr>
                  <a:spLocks/>
                </p:cNvSpPr>
                <p:nvPr/>
              </p:nvSpPr>
              <p:spPr bwMode="auto">
                <a:xfrm>
                  <a:off x="5603" y="2842"/>
                  <a:ext cx="20" cy="12"/>
                </a:xfrm>
                <a:custGeom>
                  <a:avLst/>
                  <a:gdLst>
                    <a:gd name="T0" fmla="*/ 0 w 61"/>
                    <a:gd name="T1" fmla="*/ 10 h 37"/>
                    <a:gd name="T2" fmla="*/ 6 w 61"/>
                    <a:gd name="T3" fmla="*/ 10 h 37"/>
                    <a:gd name="T4" fmla="*/ 11 w 61"/>
                    <a:gd name="T5" fmla="*/ 11 h 37"/>
                    <a:gd name="T6" fmla="*/ 16 w 61"/>
                    <a:gd name="T7" fmla="*/ 12 h 37"/>
                    <a:gd name="T8" fmla="*/ 20 w 61"/>
                    <a:gd name="T9" fmla="*/ 12 h 37"/>
                    <a:gd name="T10" fmla="*/ 18 w 61"/>
                    <a:gd name="T11" fmla="*/ 9 h 37"/>
                    <a:gd name="T12" fmla="*/ 16 w 61"/>
                    <a:gd name="T13" fmla="*/ 7 h 37"/>
                    <a:gd name="T14" fmla="*/ 14 w 61"/>
                    <a:gd name="T15" fmla="*/ 6 h 37"/>
                    <a:gd name="T16" fmla="*/ 11 w 61"/>
                    <a:gd name="T17" fmla="*/ 4 h 37"/>
                    <a:gd name="T18" fmla="*/ 9 w 61"/>
                    <a:gd name="T19" fmla="*/ 3 h 37"/>
                    <a:gd name="T20" fmla="*/ 6 w 61"/>
                    <a:gd name="T21" fmla="*/ 2 h 37"/>
                    <a:gd name="T22" fmla="*/ 3 w 61"/>
                    <a:gd name="T23" fmla="*/ 1 h 37"/>
                    <a:gd name="T24" fmla="*/ 0 w 61"/>
                    <a:gd name="T25" fmla="*/ 0 h 37"/>
                    <a:gd name="T26" fmla="*/ 0 w 61"/>
                    <a:gd name="T27" fmla="*/ 10 h 3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61" h="37">
                      <a:moveTo>
                        <a:pt x="0" y="31"/>
                      </a:moveTo>
                      <a:lnTo>
                        <a:pt x="19" y="32"/>
                      </a:lnTo>
                      <a:lnTo>
                        <a:pt x="35" y="34"/>
                      </a:lnTo>
                      <a:lnTo>
                        <a:pt x="49" y="36"/>
                      </a:lnTo>
                      <a:lnTo>
                        <a:pt x="61" y="37"/>
                      </a:lnTo>
                      <a:lnTo>
                        <a:pt x="55" y="29"/>
                      </a:lnTo>
                      <a:lnTo>
                        <a:pt x="49" y="22"/>
                      </a:lnTo>
                      <a:lnTo>
                        <a:pt x="42" y="17"/>
                      </a:lnTo>
                      <a:lnTo>
                        <a:pt x="35" y="12"/>
                      </a:lnTo>
                      <a:lnTo>
                        <a:pt x="28" y="9"/>
                      </a:lnTo>
                      <a:lnTo>
                        <a:pt x="19" y="5"/>
                      </a:lnTo>
                      <a:lnTo>
                        <a:pt x="10" y="2"/>
                      </a:lnTo>
                      <a:lnTo>
                        <a:pt x="0" y="0"/>
                      </a:lnTo>
                      <a:lnTo>
                        <a:pt x="0" y="31"/>
                      </a:lnTo>
                    </a:path>
                  </a:pathLst>
                </a:custGeom>
                <a:grpFill/>
                <a:ln w="9525" cmpd="sng">
                  <a:solidFill>
                    <a:srgbClr val="FFFFFF"/>
                  </a:solidFill>
                  <a:prstDash val="solid"/>
                  <a:round/>
                  <a:headEnd/>
                  <a:tailEnd/>
                </a:ln>
              </p:spPr>
              <p:txBody>
                <a:bodyPr/>
                <a:lstStyle/>
                <a:p>
                  <a:endParaRPr lang="en-GB" sz="1637"/>
                </a:p>
              </p:txBody>
            </p:sp>
            <p:sp>
              <p:nvSpPr>
                <p:cNvPr id="224" name="Freeform 152"/>
                <p:cNvSpPr>
                  <a:spLocks/>
                </p:cNvSpPr>
                <p:nvPr/>
              </p:nvSpPr>
              <p:spPr bwMode="auto">
                <a:xfrm>
                  <a:off x="5568" y="2865"/>
                  <a:ext cx="13" cy="10"/>
                </a:xfrm>
                <a:custGeom>
                  <a:avLst/>
                  <a:gdLst>
                    <a:gd name="T0" fmla="*/ 13 w 40"/>
                    <a:gd name="T1" fmla="*/ 10 h 30"/>
                    <a:gd name="T2" fmla="*/ 11 w 40"/>
                    <a:gd name="T3" fmla="*/ 9 h 30"/>
                    <a:gd name="T4" fmla="*/ 8 w 40"/>
                    <a:gd name="T5" fmla="*/ 8 h 30"/>
                    <a:gd name="T6" fmla="*/ 7 w 40"/>
                    <a:gd name="T7" fmla="*/ 7 h 30"/>
                    <a:gd name="T8" fmla="*/ 5 w 40"/>
                    <a:gd name="T9" fmla="*/ 6 h 30"/>
                    <a:gd name="T10" fmla="*/ 4 w 40"/>
                    <a:gd name="T11" fmla="*/ 5 h 30"/>
                    <a:gd name="T12" fmla="*/ 2 w 40"/>
                    <a:gd name="T13" fmla="*/ 4 h 30"/>
                    <a:gd name="T14" fmla="*/ 1 w 40"/>
                    <a:gd name="T15" fmla="*/ 2 h 30"/>
                    <a:gd name="T16" fmla="*/ 0 w 40"/>
                    <a:gd name="T17" fmla="*/ 0 h 30"/>
                    <a:gd name="T18" fmla="*/ 3 w 40"/>
                    <a:gd name="T19" fmla="*/ 1 h 30"/>
                    <a:gd name="T20" fmla="*/ 5 w 40"/>
                    <a:gd name="T21" fmla="*/ 2 h 30"/>
                    <a:gd name="T22" fmla="*/ 7 w 40"/>
                    <a:gd name="T23" fmla="*/ 3 h 30"/>
                    <a:gd name="T24" fmla="*/ 9 w 40"/>
                    <a:gd name="T25" fmla="*/ 5 h 30"/>
                    <a:gd name="T26" fmla="*/ 11 w 40"/>
                    <a:gd name="T27" fmla="*/ 6 h 30"/>
                    <a:gd name="T28" fmla="*/ 12 w 40"/>
                    <a:gd name="T29" fmla="*/ 8 h 30"/>
                    <a:gd name="T30" fmla="*/ 13 w 40"/>
                    <a:gd name="T31" fmla="*/ 9 h 30"/>
                    <a:gd name="T32" fmla="*/ 13 w 40"/>
                    <a:gd name="T33" fmla="*/ 10 h 3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0" h="30">
                      <a:moveTo>
                        <a:pt x="40" y="30"/>
                      </a:moveTo>
                      <a:lnTo>
                        <a:pt x="33" y="28"/>
                      </a:lnTo>
                      <a:lnTo>
                        <a:pt x="26" y="25"/>
                      </a:lnTo>
                      <a:lnTo>
                        <a:pt x="21" y="22"/>
                      </a:lnTo>
                      <a:lnTo>
                        <a:pt x="15" y="19"/>
                      </a:lnTo>
                      <a:lnTo>
                        <a:pt x="11" y="16"/>
                      </a:lnTo>
                      <a:lnTo>
                        <a:pt x="6" y="11"/>
                      </a:lnTo>
                      <a:lnTo>
                        <a:pt x="3" y="6"/>
                      </a:lnTo>
                      <a:lnTo>
                        <a:pt x="0" y="0"/>
                      </a:lnTo>
                      <a:lnTo>
                        <a:pt x="8" y="2"/>
                      </a:lnTo>
                      <a:lnTo>
                        <a:pt x="15" y="6"/>
                      </a:lnTo>
                      <a:lnTo>
                        <a:pt x="22" y="10"/>
                      </a:lnTo>
                      <a:lnTo>
                        <a:pt x="27" y="15"/>
                      </a:lnTo>
                      <a:lnTo>
                        <a:pt x="33" y="19"/>
                      </a:lnTo>
                      <a:lnTo>
                        <a:pt x="36" y="23"/>
                      </a:lnTo>
                      <a:lnTo>
                        <a:pt x="39" y="27"/>
                      </a:lnTo>
                      <a:lnTo>
                        <a:pt x="40" y="30"/>
                      </a:lnTo>
                    </a:path>
                  </a:pathLst>
                </a:custGeom>
                <a:grpFill/>
                <a:ln w="9525" cmpd="sng">
                  <a:solidFill>
                    <a:srgbClr val="FFFFFF"/>
                  </a:solidFill>
                  <a:prstDash val="solid"/>
                  <a:round/>
                  <a:headEnd/>
                  <a:tailEnd/>
                </a:ln>
              </p:spPr>
              <p:txBody>
                <a:bodyPr/>
                <a:lstStyle/>
                <a:p>
                  <a:endParaRPr lang="en-GB" sz="1637"/>
                </a:p>
              </p:txBody>
            </p:sp>
            <p:sp>
              <p:nvSpPr>
                <p:cNvPr id="225" name="Freeform 153"/>
                <p:cNvSpPr>
                  <a:spLocks/>
                </p:cNvSpPr>
                <p:nvPr/>
              </p:nvSpPr>
              <p:spPr bwMode="auto">
                <a:xfrm>
                  <a:off x="5515" y="2789"/>
                  <a:ext cx="24" cy="26"/>
                </a:xfrm>
                <a:custGeom>
                  <a:avLst/>
                  <a:gdLst>
                    <a:gd name="T0" fmla="*/ 24 w 74"/>
                    <a:gd name="T1" fmla="*/ 26 h 80"/>
                    <a:gd name="T2" fmla="*/ 23 w 74"/>
                    <a:gd name="T3" fmla="*/ 24 h 80"/>
                    <a:gd name="T4" fmla="*/ 23 w 74"/>
                    <a:gd name="T5" fmla="*/ 21 h 80"/>
                    <a:gd name="T6" fmla="*/ 22 w 74"/>
                    <a:gd name="T7" fmla="*/ 20 h 80"/>
                    <a:gd name="T8" fmla="*/ 21 w 74"/>
                    <a:gd name="T9" fmla="*/ 17 h 80"/>
                    <a:gd name="T10" fmla="*/ 19 w 74"/>
                    <a:gd name="T11" fmla="*/ 14 h 80"/>
                    <a:gd name="T12" fmla="*/ 16 w 74"/>
                    <a:gd name="T13" fmla="*/ 11 h 80"/>
                    <a:gd name="T14" fmla="*/ 12 w 74"/>
                    <a:gd name="T15" fmla="*/ 8 h 80"/>
                    <a:gd name="T16" fmla="*/ 9 w 74"/>
                    <a:gd name="T17" fmla="*/ 6 h 80"/>
                    <a:gd name="T18" fmla="*/ 6 w 74"/>
                    <a:gd name="T19" fmla="*/ 3 h 80"/>
                    <a:gd name="T20" fmla="*/ 4 w 74"/>
                    <a:gd name="T21" fmla="*/ 0 h 80"/>
                    <a:gd name="T22" fmla="*/ 3 w 74"/>
                    <a:gd name="T23" fmla="*/ 2 h 80"/>
                    <a:gd name="T24" fmla="*/ 1 w 74"/>
                    <a:gd name="T25" fmla="*/ 3 h 80"/>
                    <a:gd name="T26" fmla="*/ 0 w 74"/>
                    <a:gd name="T27" fmla="*/ 5 h 80"/>
                    <a:gd name="T28" fmla="*/ 0 w 74"/>
                    <a:gd name="T29" fmla="*/ 6 h 80"/>
                    <a:gd name="T30" fmla="*/ 0 w 74"/>
                    <a:gd name="T31" fmla="*/ 8 h 80"/>
                    <a:gd name="T32" fmla="*/ 1 w 74"/>
                    <a:gd name="T33" fmla="*/ 10 h 80"/>
                    <a:gd name="T34" fmla="*/ 1 w 74"/>
                    <a:gd name="T35" fmla="*/ 12 h 80"/>
                    <a:gd name="T36" fmla="*/ 2 w 74"/>
                    <a:gd name="T37" fmla="*/ 13 h 80"/>
                    <a:gd name="T38" fmla="*/ 3 w 74"/>
                    <a:gd name="T39" fmla="*/ 15 h 80"/>
                    <a:gd name="T40" fmla="*/ 5 w 74"/>
                    <a:gd name="T41" fmla="*/ 17 h 80"/>
                    <a:gd name="T42" fmla="*/ 6 w 74"/>
                    <a:gd name="T43" fmla="*/ 18 h 80"/>
                    <a:gd name="T44" fmla="*/ 8 w 74"/>
                    <a:gd name="T45" fmla="*/ 20 h 80"/>
                    <a:gd name="T46" fmla="*/ 10 w 74"/>
                    <a:gd name="T47" fmla="*/ 21 h 80"/>
                    <a:gd name="T48" fmla="*/ 11 w 74"/>
                    <a:gd name="T49" fmla="*/ 22 h 80"/>
                    <a:gd name="T50" fmla="*/ 14 w 74"/>
                    <a:gd name="T51" fmla="*/ 23 h 80"/>
                    <a:gd name="T52" fmla="*/ 15 w 74"/>
                    <a:gd name="T53" fmla="*/ 24 h 80"/>
                    <a:gd name="T54" fmla="*/ 18 w 74"/>
                    <a:gd name="T55" fmla="*/ 25 h 80"/>
                    <a:gd name="T56" fmla="*/ 19 w 74"/>
                    <a:gd name="T57" fmla="*/ 26 h 80"/>
                    <a:gd name="T58" fmla="*/ 22 w 74"/>
                    <a:gd name="T59" fmla="*/ 26 h 80"/>
                    <a:gd name="T60" fmla="*/ 24 w 74"/>
                    <a:gd name="T61" fmla="*/ 26 h 8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74" h="80">
                      <a:moveTo>
                        <a:pt x="74" y="80"/>
                      </a:moveTo>
                      <a:lnTo>
                        <a:pt x="72" y="73"/>
                      </a:lnTo>
                      <a:lnTo>
                        <a:pt x="71" y="66"/>
                      </a:lnTo>
                      <a:lnTo>
                        <a:pt x="69" y="60"/>
                      </a:lnTo>
                      <a:lnTo>
                        <a:pt x="66" y="53"/>
                      </a:lnTo>
                      <a:lnTo>
                        <a:pt x="58" y="42"/>
                      </a:lnTo>
                      <a:lnTo>
                        <a:pt x="48" y="33"/>
                      </a:lnTo>
                      <a:lnTo>
                        <a:pt x="38" y="25"/>
                      </a:lnTo>
                      <a:lnTo>
                        <a:pt x="29" y="17"/>
                      </a:lnTo>
                      <a:lnTo>
                        <a:pt x="20" y="9"/>
                      </a:lnTo>
                      <a:lnTo>
                        <a:pt x="13" y="0"/>
                      </a:lnTo>
                      <a:lnTo>
                        <a:pt x="9" y="5"/>
                      </a:lnTo>
                      <a:lnTo>
                        <a:pt x="4" y="10"/>
                      </a:lnTo>
                      <a:lnTo>
                        <a:pt x="1" y="14"/>
                      </a:lnTo>
                      <a:lnTo>
                        <a:pt x="0" y="19"/>
                      </a:lnTo>
                      <a:lnTo>
                        <a:pt x="0" y="25"/>
                      </a:lnTo>
                      <a:lnTo>
                        <a:pt x="2" y="30"/>
                      </a:lnTo>
                      <a:lnTo>
                        <a:pt x="4" y="36"/>
                      </a:lnTo>
                      <a:lnTo>
                        <a:pt x="7" y="41"/>
                      </a:lnTo>
                      <a:lnTo>
                        <a:pt x="10" y="46"/>
                      </a:lnTo>
                      <a:lnTo>
                        <a:pt x="14" y="51"/>
                      </a:lnTo>
                      <a:lnTo>
                        <a:pt x="19" y="56"/>
                      </a:lnTo>
                      <a:lnTo>
                        <a:pt x="24" y="61"/>
                      </a:lnTo>
                      <a:lnTo>
                        <a:pt x="30" y="66"/>
                      </a:lnTo>
                      <a:lnTo>
                        <a:pt x="35" y="69"/>
                      </a:lnTo>
                      <a:lnTo>
                        <a:pt x="42" y="72"/>
                      </a:lnTo>
                      <a:lnTo>
                        <a:pt x="47" y="75"/>
                      </a:lnTo>
                      <a:lnTo>
                        <a:pt x="54" y="77"/>
                      </a:lnTo>
                      <a:lnTo>
                        <a:pt x="60" y="79"/>
                      </a:lnTo>
                      <a:lnTo>
                        <a:pt x="67" y="80"/>
                      </a:lnTo>
                      <a:lnTo>
                        <a:pt x="74" y="80"/>
                      </a:lnTo>
                    </a:path>
                  </a:pathLst>
                </a:custGeom>
                <a:grpFill/>
                <a:ln w="9525" cmpd="sng">
                  <a:solidFill>
                    <a:srgbClr val="FFFFFF"/>
                  </a:solidFill>
                  <a:prstDash val="solid"/>
                  <a:round/>
                  <a:headEnd/>
                  <a:tailEnd/>
                </a:ln>
              </p:spPr>
              <p:txBody>
                <a:bodyPr/>
                <a:lstStyle/>
                <a:p>
                  <a:endParaRPr lang="en-GB" sz="1637"/>
                </a:p>
              </p:txBody>
            </p:sp>
            <p:sp>
              <p:nvSpPr>
                <p:cNvPr id="226" name="Freeform 154"/>
                <p:cNvSpPr>
                  <a:spLocks/>
                </p:cNvSpPr>
                <p:nvPr/>
              </p:nvSpPr>
              <p:spPr bwMode="auto">
                <a:xfrm>
                  <a:off x="5555" y="2785"/>
                  <a:ext cx="26" cy="27"/>
                </a:xfrm>
                <a:custGeom>
                  <a:avLst/>
                  <a:gdLst>
                    <a:gd name="T0" fmla="*/ 16 w 86"/>
                    <a:gd name="T1" fmla="*/ 27 h 80"/>
                    <a:gd name="T2" fmla="*/ 26 w 86"/>
                    <a:gd name="T3" fmla="*/ 27 h 80"/>
                    <a:gd name="T4" fmla="*/ 26 w 86"/>
                    <a:gd name="T5" fmla="*/ 21 h 80"/>
                    <a:gd name="T6" fmla="*/ 24 w 86"/>
                    <a:gd name="T7" fmla="*/ 20 h 80"/>
                    <a:gd name="T8" fmla="*/ 22 w 86"/>
                    <a:gd name="T9" fmla="*/ 19 h 80"/>
                    <a:gd name="T10" fmla="*/ 20 w 86"/>
                    <a:gd name="T11" fmla="*/ 18 h 80"/>
                    <a:gd name="T12" fmla="*/ 18 w 86"/>
                    <a:gd name="T13" fmla="*/ 17 h 80"/>
                    <a:gd name="T14" fmla="*/ 15 w 86"/>
                    <a:gd name="T15" fmla="*/ 14 h 80"/>
                    <a:gd name="T16" fmla="*/ 13 w 86"/>
                    <a:gd name="T17" fmla="*/ 11 h 80"/>
                    <a:gd name="T18" fmla="*/ 10 w 86"/>
                    <a:gd name="T19" fmla="*/ 8 h 80"/>
                    <a:gd name="T20" fmla="*/ 7 w 86"/>
                    <a:gd name="T21" fmla="*/ 5 h 80"/>
                    <a:gd name="T22" fmla="*/ 4 w 86"/>
                    <a:gd name="T23" fmla="*/ 2 h 80"/>
                    <a:gd name="T24" fmla="*/ 0 w 86"/>
                    <a:gd name="T25" fmla="*/ 0 h 80"/>
                    <a:gd name="T26" fmla="*/ 0 w 86"/>
                    <a:gd name="T27" fmla="*/ 3 h 80"/>
                    <a:gd name="T28" fmla="*/ 2 w 86"/>
                    <a:gd name="T29" fmla="*/ 7 h 80"/>
                    <a:gd name="T30" fmla="*/ 3 w 86"/>
                    <a:gd name="T31" fmla="*/ 11 h 80"/>
                    <a:gd name="T32" fmla="*/ 5 w 86"/>
                    <a:gd name="T33" fmla="*/ 15 h 80"/>
                    <a:gd name="T34" fmla="*/ 8 w 86"/>
                    <a:gd name="T35" fmla="*/ 19 h 80"/>
                    <a:gd name="T36" fmla="*/ 11 w 86"/>
                    <a:gd name="T37" fmla="*/ 23 h 80"/>
                    <a:gd name="T38" fmla="*/ 12 w 86"/>
                    <a:gd name="T39" fmla="*/ 24 h 80"/>
                    <a:gd name="T40" fmla="*/ 14 w 86"/>
                    <a:gd name="T41" fmla="*/ 26 h 80"/>
                    <a:gd name="T42" fmla="*/ 15 w 86"/>
                    <a:gd name="T43" fmla="*/ 27 h 80"/>
                    <a:gd name="T44" fmla="*/ 16 w 86"/>
                    <a:gd name="T45" fmla="*/ 27 h 8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86" h="80">
                      <a:moveTo>
                        <a:pt x="52" y="80"/>
                      </a:moveTo>
                      <a:lnTo>
                        <a:pt x="86" y="80"/>
                      </a:lnTo>
                      <a:lnTo>
                        <a:pt x="86" y="61"/>
                      </a:lnTo>
                      <a:lnTo>
                        <a:pt x="79" y="59"/>
                      </a:lnTo>
                      <a:lnTo>
                        <a:pt x="72" y="56"/>
                      </a:lnTo>
                      <a:lnTo>
                        <a:pt x="67" y="53"/>
                      </a:lnTo>
                      <a:lnTo>
                        <a:pt x="61" y="49"/>
                      </a:lnTo>
                      <a:lnTo>
                        <a:pt x="51" y="41"/>
                      </a:lnTo>
                      <a:lnTo>
                        <a:pt x="43" y="33"/>
                      </a:lnTo>
                      <a:lnTo>
                        <a:pt x="34" y="25"/>
                      </a:lnTo>
                      <a:lnTo>
                        <a:pt x="24" y="16"/>
                      </a:lnTo>
                      <a:lnTo>
                        <a:pt x="13" y="7"/>
                      </a:lnTo>
                      <a:lnTo>
                        <a:pt x="0" y="0"/>
                      </a:lnTo>
                      <a:lnTo>
                        <a:pt x="1" y="8"/>
                      </a:lnTo>
                      <a:lnTo>
                        <a:pt x="5" y="20"/>
                      </a:lnTo>
                      <a:lnTo>
                        <a:pt x="11" y="32"/>
                      </a:lnTo>
                      <a:lnTo>
                        <a:pt x="18" y="44"/>
                      </a:lnTo>
                      <a:lnTo>
                        <a:pt x="27" y="57"/>
                      </a:lnTo>
                      <a:lnTo>
                        <a:pt x="36" y="67"/>
                      </a:lnTo>
                      <a:lnTo>
                        <a:pt x="40" y="72"/>
                      </a:lnTo>
                      <a:lnTo>
                        <a:pt x="45" y="76"/>
                      </a:lnTo>
                      <a:lnTo>
                        <a:pt x="49" y="79"/>
                      </a:lnTo>
                      <a:lnTo>
                        <a:pt x="52" y="80"/>
                      </a:lnTo>
                    </a:path>
                  </a:pathLst>
                </a:custGeom>
                <a:grpFill/>
                <a:ln w="9525" cmpd="sng">
                  <a:solidFill>
                    <a:srgbClr val="FFFFFF"/>
                  </a:solidFill>
                  <a:prstDash val="solid"/>
                  <a:round/>
                  <a:headEnd/>
                  <a:tailEnd/>
                </a:ln>
              </p:spPr>
              <p:txBody>
                <a:bodyPr/>
                <a:lstStyle/>
                <a:p>
                  <a:endParaRPr lang="en-GB" sz="1637"/>
                </a:p>
              </p:txBody>
            </p:sp>
            <p:sp>
              <p:nvSpPr>
                <p:cNvPr id="227" name="Freeform 155"/>
                <p:cNvSpPr>
                  <a:spLocks/>
                </p:cNvSpPr>
                <p:nvPr/>
              </p:nvSpPr>
              <p:spPr bwMode="auto">
                <a:xfrm>
                  <a:off x="5570" y="2825"/>
                  <a:ext cx="25" cy="11"/>
                </a:xfrm>
                <a:custGeom>
                  <a:avLst/>
                  <a:gdLst>
                    <a:gd name="T0" fmla="*/ 0 w 74"/>
                    <a:gd name="T1" fmla="*/ 2 h 31"/>
                    <a:gd name="T2" fmla="*/ 1 w 74"/>
                    <a:gd name="T3" fmla="*/ 4 h 31"/>
                    <a:gd name="T4" fmla="*/ 2 w 74"/>
                    <a:gd name="T5" fmla="*/ 5 h 31"/>
                    <a:gd name="T6" fmla="*/ 3 w 74"/>
                    <a:gd name="T7" fmla="*/ 6 h 31"/>
                    <a:gd name="T8" fmla="*/ 5 w 74"/>
                    <a:gd name="T9" fmla="*/ 7 h 31"/>
                    <a:gd name="T10" fmla="*/ 6 w 74"/>
                    <a:gd name="T11" fmla="*/ 9 h 31"/>
                    <a:gd name="T12" fmla="*/ 8 w 74"/>
                    <a:gd name="T13" fmla="*/ 9 h 31"/>
                    <a:gd name="T14" fmla="*/ 10 w 74"/>
                    <a:gd name="T15" fmla="*/ 10 h 31"/>
                    <a:gd name="T16" fmla="*/ 11 w 74"/>
                    <a:gd name="T17" fmla="*/ 10 h 31"/>
                    <a:gd name="T18" fmla="*/ 16 w 74"/>
                    <a:gd name="T19" fmla="*/ 11 h 31"/>
                    <a:gd name="T20" fmla="*/ 20 w 74"/>
                    <a:gd name="T21" fmla="*/ 11 h 31"/>
                    <a:gd name="T22" fmla="*/ 21 w 74"/>
                    <a:gd name="T23" fmla="*/ 11 h 31"/>
                    <a:gd name="T24" fmla="*/ 23 w 74"/>
                    <a:gd name="T25" fmla="*/ 10 h 31"/>
                    <a:gd name="T26" fmla="*/ 24 w 74"/>
                    <a:gd name="T27" fmla="*/ 10 h 31"/>
                    <a:gd name="T28" fmla="*/ 25 w 74"/>
                    <a:gd name="T29" fmla="*/ 9 h 31"/>
                    <a:gd name="T30" fmla="*/ 22 w 74"/>
                    <a:gd name="T31" fmla="*/ 6 h 31"/>
                    <a:gd name="T32" fmla="*/ 19 w 74"/>
                    <a:gd name="T33" fmla="*/ 5 h 31"/>
                    <a:gd name="T34" fmla="*/ 17 w 74"/>
                    <a:gd name="T35" fmla="*/ 4 h 31"/>
                    <a:gd name="T36" fmla="*/ 16 w 74"/>
                    <a:gd name="T37" fmla="*/ 3 h 31"/>
                    <a:gd name="T38" fmla="*/ 15 w 74"/>
                    <a:gd name="T39" fmla="*/ 2 h 31"/>
                    <a:gd name="T40" fmla="*/ 14 w 74"/>
                    <a:gd name="T41" fmla="*/ 0 h 31"/>
                    <a:gd name="T42" fmla="*/ 11 w 74"/>
                    <a:gd name="T43" fmla="*/ 0 h 31"/>
                    <a:gd name="T44" fmla="*/ 9 w 74"/>
                    <a:gd name="T45" fmla="*/ 0 h 31"/>
                    <a:gd name="T46" fmla="*/ 7 w 74"/>
                    <a:gd name="T47" fmla="*/ 0 h 31"/>
                    <a:gd name="T48" fmla="*/ 6 w 74"/>
                    <a:gd name="T49" fmla="*/ 0 h 31"/>
                    <a:gd name="T50" fmla="*/ 5 w 74"/>
                    <a:gd name="T51" fmla="*/ 0 h 31"/>
                    <a:gd name="T52" fmla="*/ 3 w 74"/>
                    <a:gd name="T53" fmla="*/ 0 h 31"/>
                    <a:gd name="T54" fmla="*/ 2 w 74"/>
                    <a:gd name="T55" fmla="*/ 1 h 31"/>
                    <a:gd name="T56" fmla="*/ 0 w 74"/>
                    <a:gd name="T57" fmla="*/ 2 h 3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grpFill/>
                <a:ln w="9525" cmpd="sng">
                  <a:solidFill>
                    <a:srgbClr val="FFFFFF"/>
                  </a:solidFill>
                  <a:prstDash val="solid"/>
                  <a:round/>
                  <a:headEnd/>
                  <a:tailEnd/>
                </a:ln>
              </p:spPr>
              <p:txBody>
                <a:bodyPr/>
                <a:lstStyle/>
                <a:p>
                  <a:endParaRPr lang="en-GB" sz="1637"/>
                </a:p>
              </p:txBody>
            </p:sp>
            <p:sp>
              <p:nvSpPr>
                <p:cNvPr id="228" name="Freeform 156"/>
                <p:cNvSpPr>
                  <a:spLocks/>
                </p:cNvSpPr>
                <p:nvPr/>
              </p:nvSpPr>
              <p:spPr bwMode="auto">
                <a:xfrm>
                  <a:off x="5562" y="2819"/>
                  <a:ext cx="6" cy="1"/>
                </a:xfrm>
                <a:custGeom>
                  <a:avLst/>
                  <a:gdLst>
                    <a:gd name="T0" fmla="*/ 6 w 20"/>
                    <a:gd name="T1" fmla="*/ 0 h 1"/>
                    <a:gd name="T2" fmla="*/ 0 w 20"/>
                    <a:gd name="T3" fmla="*/ 0 h 1"/>
                    <a:gd name="T4" fmla="*/ 3 w 20"/>
                    <a:gd name="T5" fmla="*/ 0 h 1"/>
                    <a:gd name="T6" fmla="*/ 6 w 20"/>
                    <a:gd name="T7" fmla="*/ 0 h 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1">
                      <a:moveTo>
                        <a:pt x="20" y="0"/>
                      </a:moveTo>
                      <a:lnTo>
                        <a:pt x="0" y="0"/>
                      </a:lnTo>
                      <a:lnTo>
                        <a:pt x="10" y="0"/>
                      </a:lnTo>
                      <a:lnTo>
                        <a:pt x="20" y="0"/>
                      </a:lnTo>
                    </a:path>
                  </a:pathLst>
                </a:custGeom>
                <a:grpFill/>
                <a:ln w="9525" cmpd="sng">
                  <a:solidFill>
                    <a:srgbClr val="FFFFFF"/>
                  </a:solidFill>
                  <a:prstDash val="solid"/>
                  <a:round/>
                  <a:headEnd/>
                  <a:tailEnd/>
                </a:ln>
              </p:spPr>
              <p:txBody>
                <a:bodyPr/>
                <a:lstStyle/>
                <a:p>
                  <a:endParaRPr lang="en-GB" sz="1637"/>
                </a:p>
              </p:txBody>
            </p:sp>
            <p:sp>
              <p:nvSpPr>
                <p:cNvPr id="229" name="Freeform 157"/>
                <p:cNvSpPr>
                  <a:spLocks/>
                </p:cNvSpPr>
                <p:nvPr/>
              </p:nvSpPr>
              <p:spPr bwMode="auto">
                <a:xfrm>
                  <a:off x="5509" y="2769"/>
                  <a:ext cx="32" cy="21"/>
                </a:xfrm>
                <a:custGeom>
                  <a:avLst/>
                  <a:gdLst>
                    <a:gd name="T0" fmla="*/ 2 w 100"/>
                    <a:gd name="T1" fmla="*/ 8 h 65"/>
                    <a:gd name="T2" fmla="*/ 11 w 100"/>
                    <a:gd name="T3" fmla="*/ 13 h 65"/>
                    <a:gd name="T4" fmla="*/ 20 w 100"/>
                    <a:gd name="T5" fmla="*/ 18 h 65"/>
                    <a:gd name="T6" fmla="*/ 23 w 100"/>
                    <a:gd name="T7" fmla="*/ 19 h 65"/>
                    <a:gd name="T8" fmla="*/ 27 w 100"/>
                    <a:gd name="T9" fmla="*/ 21 h 65"/>
                    <a:gd name="T10" fmla="*/ 28 w 100"/>
                    <a:gd name="T11" fmla="*/ 21 h 65"/>
                    <a:gd name="T12" fmla="*/ 29 w 100"/>
                    <a:gd name="T13" fmla="*/ 21 h 65"/>
                    <a:gd name="T14" fmla="*/ 31 w 100"/>
                    <a:gd name="T15" fmla="*/ 21 h 65"/>
                    <a:gd name="T16" fmla="*/ 32 w 100"/>
                    <a:gd name="T17" fmla="*/ 20 h 65"/>
                    <a:gd name="T18" fmla="*/ 30 w 100"/>
                    <a:gd name="T19" fmla="*/ 19 h 65"/>
                    <a:gd name="T20" fmla="*/ 28 w 100"/>
                    <a:gd name="T21" fmla="*/ 18 h 65"/>
                    <a:gd name="T22" fmla="*/ 27 w 100"/>
                    <a:gd name="T23" fmla="*/ 17 h 65"/>
                    <a:gd name="T24" fmla="*/ 25 w 100"/>
                    <a:gd name="T25" fmla="*/ 15 h 65"/>
                    <a:gd name="T26" fmla="*/ 21 w 100"/>
                    <a:gd name="T27" fmla="*/ 11 h 65"/>
                    <a:gd name="T28" fmla="*/ 18 w 100"/>
                    <a:gd name="T29" fmla="*/ 7 h 65"/>
                    <a:gd name="T30" fmla="*/ 17 w 100"/>
                    <a:gd name="T31" fmla="*/ 5 h 65"/>
                    <a:gd name="T32" fmla="*/ 15 w 100"/>
                    <a:gd name="T33" fmla="*/ 3 h 65"/>
                    <a:gd name="T34" fmla="*/ 13 w 100"/>
                    <a:gd name="T35" fmla="*/ 1 h 65"/>
                    <a:gd name="T36" fmla="*/ 11 w 100"/>
                    <a:gd name="T37" fmla="*/ 0 h 65"/>
                    <a:gd name="T38" fmla="*/ 9 w 100"/>
                    <a:gd name="T39" fmla="*/ 0 h 65"/>
                    <a:gd name="T40" fmla="*/ 6 w 100"/>
                    <a:gd name="T41" fmla="*/ 0 h 65"/>
                    <a:gd name="T42" fmla="*/ 3 w 100"/>
                    <a:gd name="T43" fmla="*/ 1 h 65"/>
                    <a:gd name="T44" fmla="*/ 0 w 100"/>
                    <a:gd name="T45" fmla="*/ 2 h 65"/>
                    <a:gd name="T46" fmla="*/ 2 w 100"/>
                    <a:gd name="T47" fmla="*/ 8 h 6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0" h="65">
                      <a:moveTo>
                        <a:pt x="7" y="25"/>
                      </a:moveTo>
                      <a:lnTo>
                        <a:pt x="35" y="40"/>
                      </a:lnTo>
                      <a:lnTo>
                        <a:pt x="61" y="55"/>
                      </a:lnTo>
                      <a:lnTo>
                        <a:pt x="72" y="60"/>
                      </a:lnTo>
                      <a:lnTo>
                        <a:pt x="83" y="65"/>
                      </a:lnTo>
                      <a:lnTo>
                        <a:pt x="87" y="65"/>
                      </a:lnTo>
                      <a:lnTo>
                        <a:pt x="91" y="65"/>
                      </a:lnTo>
                      <a:lnTo>
                        <a:pt x="96" y="65"/>
                      </a:lnTo>
                      <a:lnTo>
                        <a:pt x="100" y="62"/>
                      </a:lnTo>
                      <a:lnTo>
                        <a:pt x="94" y="60"/>
                      </a:lnTo>
                      <a:lnTo>
                        <a:pt x="88" y="56"/>
                      </a:lnTo>
                      <a:lnTo>
                        <a:pt x="83" y="52"/>
                      </a:lnTo>
                      <a:lnTo>
                        <a:pt x="78" y="46"/>
                      </a:lnTo>
                      <a:lnTo>
                        <a:pt x="67" y="34"/>
                      </a:lnTo>
                      <a:lnTo>
                        <a:pt x="57" y="21"/>
                      </a:lnTo>
                      <a:lnTo>
                        <a:pt x="52" y="15"/>
                      </a:lnTo>
                      <a:lnTo>
                        <a:pt x="46" y="10"/>
                      </a:lnTo>
                      <a:lnTo>
                        <a:pt x="40" y="4"/>
                      </a:lnTo>
                      <a:lnTo>
                        <a:pt x="33" y="1"/>
                      </a:lnTo>
                      <a:lnTo>
                        <a:pt x="27" y="0"/>
                      </a:lnTo>
                      <a:lnTo>
                        <a:pt x="18" y="0"/>
                      </a:lnTo>
                      <a:lnTo>
                        <a:pt x="10" y="2"/>
                      </a:lnTo>
                      <a:lnTo>
                        <a:pt x="0" y="6"/>
                      </a:lnTo>
                      <a:lnTo>
                        <a:pt x="7" y="25"/>
                      </a:lnTo>
                    </a:path>
                  </a:pathLst>
                </a:custGeom>
                <a:grpFill/>
                <a:ln w="9525" cmpd="sng">
                  <a:solidFill>
                    <a:srgbClr val="FFFFFF"/>
                  </a:solidFill>
                  <a:prstDash val="solid"/>
                  <a:round/>
                  <a:headEnd/>
                  <a:tailEnd/>
                </a:ln>
              </p:spPr>
              <p:txBody>
                <a:bodyPr/>
                <a:lstStyle/>
                <a:p>
                  <a:endParaRPr lang="en-GB" sz="1637"/>
                </a:p>
              </p:txBody>
            </p:sp>
            <p:sp>
              <p:nvSpPr>
                <p:cNvPr id="230" name="Freeform 158"/>
                <p:cNvSpPr>
                  <a:spLocks/>
                </p:cNvSpPr>
                <p:nvPr/>
              </p:nvSpPr>
              <p:spPr bwMode="auto">
                <a:xfrm>
                  <a:off x="5486" y="2743"/>
                  <a:ext cx="24" cy="34"/>
                </a:xfrm>
                <a:custGeom>
                  <a:avLst/>
                  <a:gdLst>
                    <a:gd name="T0" fmla="*/ 22 w 79"/>
                    <a:gd name="T1" fmla="*/ 28 h 104"/>
                    <a:gd name="T2" fmla="*/ 17 w 79"/>
                    <a:gd name="T3" fmla="*/ 20 h 104"/>
                    <a:gd name="T4" fmla="*/ 13 w 79"/>
                    <a:gd name="T5" fmla="*/ 13 h 104"/>
                    <a:gd name="T6" fmla="*/ 9 w 79"/>
                    <a:gd name="T7" fmla="*/ 7 h 104"/>
                    <a:gd name="T8" fmla="*/ 4 w 79"/>
                    <a:gd name="T9" fmla="*/ 0 h 104"/>
                    <a:gd name="T10" fmla="*/ 2 w 79"/>
                    <a:gd name="T11" fmla="*/ 5 h 104"/>
                    <a:gd name="T12" fmla="*/ 1 w 79"/>
                    <a:gd name="T13" fmla="*/ 11 h 104"/>
                    <a:gd name="T14" fmla="*/ 0 w 79"/>
                    <a:gd name="T15" fmla="*/ 13 h 104"/>
                    <a:gd name="T16" fmla="*/ 0 w 79"/>
                    <a:gd name="T17" fmla="*/ 16 h 104"/>
                    <a:gd name="T18" fmla="*/ 0 w 79"/>
                    <a:gd name="T19" fmla="*/ 18 h 104"/>
                    <a:gd name="T20" fmla="*/ 0 w 79"/>
                    <a:gd name="T21" fmla="*/ 20 h 104"/>
                    <a:gd name="T22" fmla="*/ 0 w 79"/>
                    <a:gd name="T23" fmla="*/ 22 h 104"/>
                    <a:gd name="T24" fmla="*/ 1 w 79"/>
                    <a:gd name="T25" fmla="*/ 24 h 104"/>
                    <a:gd name="T26" fmla="*/ 2 w 79"/>
                    <a:gd name="T27" fmla="*/ 26 h 104"/>
                    <a:gd name="T28" fmla="*/ 3 w 79"/>
                    <a:gd name="T29" fmla="*/ 27 h 104"/>
                    <a:gd name="T30" fmla="*/ 4 w 79"/>
                    <a:gd name="T31" fmla="*/ 29 h 104"/>
                    <a:gd name="T32" fmla="*/ 6 w 79"/>
                    <a:gd name="T33" fmla="*/ 29 h 104"/>
                    <a:gd name="T34" fmla="*/ 8 w 79"/>
                    <a:gd name="T35" fmla="*/ 30 h 104"/>
                    <a:gd name="T36" fmla="*/ 10 w 79"/>
                    <a:gd name="T37" fmla="*/ 30 h 104"/>
                    <a:gd name="T38" fmla="*/ 13 w 79"/>
                    <a:gd name="T39" fmla="*/ 30 h 104"/>
                    <a:gd name="T40" fmla="*/ 16 w 79"/>
                    <a:gd name="T41" fmla="*/ 31 h 104"/>
                    <a:gd name="T42" fmla="*/ 20 w 79"/>
                    <a:gd name="T43" fmla="*/ 33 h 104"/>
                    <a:gd name="T44" fmla="*/ 24 w 79"/>
                    <a:gd name="T45" fmla="*/ 34 h 104"/>
                    <a:gd name="T46" fmla="*/ 22 w 79"/>
                    <a:gd name="T47" fmla="*/ 28 h 10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79" h="104">
                      <a:moveTo>
                        <a:pt x="72" y="85"/>
                      </a:moveTo>
                      <a:lnTo>
                        <a:pt x="56" y="61"/>
                      </a:lnTo>
                      <a:lnTo>
                        <a:pt x="43" y="41"/>
                      </a:lnTo>
                      <a:lnTo>
                        <a:pt x="29" y="20"/>
                      </a:lnTo>
                      <a:lnTo>
                        <a:pt x="12" y="0"/>
                      </a:lnTo>
                      <a:lnTo>
                        <a:pt x="6" y="16"/>
                      </a:lnTo>
                      <a:lnTo>
                        <a:pt x="2" y="33"/>
                      </a:lnTo>
                      <a:lnTo>
                        <a:pt x="0" y="40"/>
                      </a:lnTo>
                      <a:lnTo>
                        <a:pt x="0" y="48"/>
                      </a:lnTo>
                      <a:lnTo>
                        <a:pt x="0" y="55"/>
                      </a:lnTo>
                      <a:lnTo>
                        <a:pt x="0" y="62"/>
                      </a:lnTo>
                      <a:lnTo>
                        <a:pt x="1" y="68"/>
                      </a:lnTo>
                      <a:lnTo>
                        <a:pt x="3" y="74"/>
                      </a:lnTo>
                      <a:lnTo>
                        <a:pt x="6" y="79"/>
                      </a:lnTo>
                      <a:lnTo>
                        <a:pt x="10" y="83"/>
                      </a:lnTo>
                      <a:lnTo>
                        <a:pt x="14" y="88"/>
                      </a:lnTo>
                      <a:lnTo>
                        <a:pt x="20" y="90"/>
                      </a:lnTo>
                      <a:lnTo>
                        <a:pt x="25" y="92"/>
                      </a:lnTo>
                      <a:lnTo>
                        <a:pt x="33" y="92"/>
                      </a:lnTo>
                      <a:lnTo>
                        <a:pt x="43" y="93"/>
                      </a:lnTo>
                      <a:lnTo>
                        <a:pt x="54" y="96"/>
                      </a:lnTo>
                      <a:lnTo>
                        <a:pt x="65" y="100"/>
                      </a:lnTo>
                      <a:lnTo>
                        <a:pt x="79" y="104"/>
                      </a:lnTo>
                      <a:lnTo>
                        <a:pt x="72" y="85"/>
                      </a:lnTo>
                    </a:path>
                  </a:pathLst>
                </a:custGeom>
                <a:grpFill/>
                <a:ln w="9525" cmpd="sng">
                  <a:solidFill>
                    <a:srgbClr val="FFFFFF"/>
                  </a:solidFill>
                  <a:prstDash val="solid"/>
                  <a:round/>
                  <a:headEnd/>
                  <a:tailEnd/>
                </a:ln>
              </p:spPr>
              <p:txBody>
                <a:bodyPr/>
                <a:lstStyle/>
                <a:p>
                  <a:endParaRPr lang="en-GB" sz="1637"/>
                </a:p>
              </p:txBody>
            </p:sp>
          </p:grpSp>
          <p:sp>
            <p:nvSpPr>
              <p:cNvPr id="55" name="Freeform 159"/>
              <p:cNvSpPr>
                <a:spLocks/>
              </p:cNvSpPr>
              <p:nvPr>
                <p:custDataLst>
                  <p:tags r:id="rId38"/>
                </p:custDataLst>
              </p:nvPr>
            </p:nvSpPr>
            <p:spPr bwMode="auto">
              <a:xfrm>
                <a:off x="4132685" y="3849395"/>
                <a:ext cx="12131" cy="62683"/>
              </a:xfrm>
              <a:custGeom>
                <a:avLst/>
                <a:gdLst>
                  <a:gd name="T0" fmla="*/ 11113 w 27"/>
                  <a:gd name="T1" fmla="*/ 0 h 19"/>
                  <a:gd name="T2" fmla="*/ 11113 w 27"/>
                  <a:gd name="T3" fmla="*/ 35092 h 19"/>
                  <a:gd name="T4" fmla="*/ 11113 w 27"/>
                  <a:gd name="T5" fmla="*/ 55562 h 19"/>
                  <a:gd name="T6" fmla="*/ 3704 w 27"/>
                  <a:gd name="T7" fmla="*/ 55562 h 19"/>
                  <a:gd name="T8" fmla="*/ 0 w 27"/>
                  <a:gd name="T9" fmla="*/ 55562 h 19"/>
                  <a:gd name="T10" fmla="*/ 3704 w 27"/>
                  <a:gd name="T11" fmla="*/ 35092 h 19"/>
                  <a:gd name="T12" fmla="*/ 11113 w 27"/>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7" h="19">
                    <a:moveTo>
                      <a:pt x="27" y="0"/>
                    </a:moveTo>
                    <a:lnTo>
                      <a:pt x="27" y="12"/>
                    </a:lnTo>
                    <a:lnTo>
                      <a:pt x="27" y="19"/>
                    </a:lnTo>
                    <a:lnTo>
                      <a:pt x="9" y="19"/>
                    </a:lnTo>
                    <a:lnTo>
                      <a:pt x="0" y="19"/>
                    </a:lnTo>
                    <a:lnTo>
                      <a:pt x="9" y="12"/>
                    </a:lnTo>
                    <a:lnTo>
                      <a:pt x="27" y="0"/>
                    </a:lnTo>
                  </a:path>
                </a:pathLst>
              </a:custGeom>
              <a:grpFill/>
              <a:ln w="9525" cmpd="sng">
                <a:solidFill>
                  <a:srgbClr val="FFFFFF"/>
                </a:solidFill>
                <a:prstDash val="solid"/>
                <a:round/>
                <a:headEnd/>
                <a:tailEnd/>
              </a:ln>
            </p:spPr>
            <p:txBody>
              <a:bodyPr/>
              <a:lstStyle/>
              <a:p>
                <a:endParaRPr lang="en-GB" sz="1637"/>
              </a:p>
            </p:txBody>
          </p:sp>
          <p:sp>
            <p:nvSpPr>
              <p:cNvPr id="56" name="Freeform 160"/>
              <p:cNvSpPr>
                <a:spLocks/>
              </p:cNvSpPr>
              <p:nvPr>
                <p:custDataLst>
                  <p:tags r:id="rId39"/>
                </p:custDataLst>
              </p:nvPr>
            </p:nvSpPr>
            <p:spPr bwMode="auto">
              <a:xfrm>
                <a:off x="4049502" y="4007000"/>
                <a:ext cx="15597" cy="64475"/>
              </a:xfrm>
              <a:custGeom>
                <a:avLst/>
                <a:gdLst>
                  <a:gd name="T0" fmla="*/ 0 w 39"/>
                  <a:gd name="T1" fmla="*/ 0 h 35"/>
                  <a:gd name="T2" fmla="*/ 14288 w 39"/>
                  <a:gd name="T3" fmla="*/ 0 h 35"/>
                  <a:gd name="T4" fmla="*/ 13189 w 39"/>
                  <a:gd name="T5" fmla="*/ 14696 h 35"/>
                  <a:gd name="T6" fmla="*/ 12090 w 39"/>
                  <a:gd name="T7" fmla="*/ 31024 h 35"/>
                  <a:gd name="T8" fmla="*/ 9892 w 39"/>
                  <a:gd name="T9" fmla="*/ 45720 h 35"/>
                  <a:gd name="T10" fmla="*/ 8060 w 39"/>
                  <a:gd name="T11" fmla="*/ 55517 h 35"/>
                  <a:gd name="T12" fmla="*/ 6961 w 39"/>
                  <a:gd name="T13" fmla="*/ 57150 h 35"/>
                  <a:gd name="T14" fmla="*/ 5862 w 39"/>
                  <a:gd name="T15" fmla="*/ 57150 h 35"/>
                  <a:gd name="T16" fmla="*/ 4763 w 39"/>
                  <a:gd name="T17" fmla="*/ 55517 h 35"/>
                  <a:gd name="T18" fmla="*/ 4030 w 39"/>
                  <a:gd name="T19" fmla="*/ 50619 h 35"/>
                  <a:gd name="T20" fmla="*/ 2565 w 39"/>
                  <a:gd name="T21" fmla="*/ 42454 h 35"/>
                  <a:gd name="T22" fmla="*/ 1832 w 39"/>
                  <a:gd name="T23" fmla="*/ 32657 h 35"/>
                  <a:gd name="T24" fmla="*/ 733 w 39"/>
                  <a:gd name="T25" fmla="*/ 17961 h 35"/>
                  <a:gd name="T26" fmla="*/ 0 w 39"/>
                  <a:gd name="T27" fmla="*/ 0 h 3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9" h="35">
                    <a:moveTo>
                      <a:pt x="0" y="0"/>
                    </a:moveTo>
                    <a:lnTo>
                      <a:pt x="39" y="0"/>
                    </a:lnTo>
                    <a:lnTo>
                      <a:pt x="36" y="9"/>
                    </a:lnTo>
                    <a:lnTo>
                      <a:pt x="33" y="19"/>
                    </a:lnTo>
                    <a:lnTo>
                      <a:pt x="27" y="28"/>
                    </a:lnTo>
                    <a:lnTo>
                      <a:pt x="22" y="34"/>
                    </a:lnTo>
                    <a:lnTo>
                      <a:pt x="19" y="35"/>
                    </a:lnTo>
                    <a:lnTo>
                      <a:pt x="16" y="35"/>
                    </a:lnTo>
                    <a:lnTo>
                      <a:pt x="13" y="34"/>
                    </a:lnTo>
                    <a:lnTo>
                      <a:pt x="11" y="31"/>
                    </a:lnTo>
                    <a:lnTo>
                      <a:pt x="7" y="26"/>
                    </a:lnTo>
                    <a:lnTo>
                      <a:pt x="5" y="20"/>
                    </a:lnTo>
                    <a:lnTo>
                      <a:pt x="2" y="11"/>
                    </a:lnTo>
                    <a:lnTo>
                      <a:pt x="0" y="0"/>
                    </a:lnTo>
                  </a:path>
                </a:pathLst>
              </a:custGeom>
              <a:grpFill/>
              <a:ln w="9525" cmpd="sng">
                <a:solidFill>
                  <a:srgbClr val="FFFFFF"/>
                </a:solidFill>
                <a:prstDash val="solid"/>
                <a:round/>
                <a:headEnd/>
                <a:tailEnd/>
              </a:ln>
            </p:spPr>
            <p:txBody>
              <a:bodyPr/>
              <a:lstStyle/>
              <a:p>
                <a:endParaRPr lang="en-GB" sz="1637"/>
              </a:p>
            </p:txBody>
          </p:sp>
          <p:sp>
            <p:nvSpPr>
              <p:cNvPr id="57" name="Freeform 169"/>
              <p:cNvSpPr>
                <a:spLocks/>
              </p:cNvSpPr>
              <p:nvPr>
                <p:custDataLst>
                  <p:tags r:id="rId40"/>
                </p:custDataLst>
              </p:nvPr>
            </p:nvSpPr>
            <p:spPr bwMode="auto">
              <a:xfrm>
                <a:off x="7406282" y="5246347"/>
                <a:ext cx="34660" cy="12536"/>
              </a:xfrm>
              <a:custGeom>
                <a:avLst/>
                <a:gdLst>
                  <a:gd name="T0" fmla="*/ 0 w 79"/>
                  <a:gd name="T1" fmla="*/ 11112 h 23"/>
                  <a:gd name="T2" fmla="*/ 8842 w 79"/>
                  <a:gd name="T3" fmla="*/ 6281 h 23"/>
                  <a:gd name="T4" fmla="*/ 18085 w 79"/>
                  <a:gd name="T5" fmla="*/ 1933 h 23"/>
                  <a:gd name="T6" fmla="*/ 22506 w 79"/>
                  <a:gd name="T7" fmla="*/ 483 h 23"/>
                  <a:gd name="T8" fmla="*/ 26123 w 79"/>
                  <a:gd name="T9" fmla="*/ 0 h 23"/>
                  <a:gd name="T10" fmla="*/ 27731 w 79"/>
                  <a:gd name="T11" fmla="*/ 0 h 23"/>
                  <a:gd name="T12" fmla="*/ 29741 w 79"/>
                  <a:gd name="T13" fmla="*/ 483 h 23"/>
                  <a:gd name="T14" fmla="*/ 30946 w 79"/>
                  <a:gd name="T15" fmla="*/ 966 h 23"/>
                  <a:gd name="T16" fmla="*/ 31750 w 79"/>
                  <a:gd name="T17" fmla="*/ 1933 h 23"/>
                  <a:gd name="T18" fmla="*/ 30946 w 79"/>
                  <a:gd name="T19" fmla="*/ 3865 h 23"/>
                  <a:gd name="T20" fmla="*/ 30142 w 79"/>
                  <a:gd name="T21" fmla="*/ 6281 h 23"/>
                  <a:gd name="T22" fmla="*/ 28937 w 79"/>
                  <a:gd name="T23" fmla="*/ 7730 h 23"/>
                  <a:gd name="T24" fmla="*/ 27329 w 79"/>
                  <a:gd name="T25" fmla="*/ 9179 h 23"/>
                  <a:gd name="T26" fmla="*/ 25722 w 79"/>
                  <a:gd name="T27" fmla="*/ 10146 h 23"/>
                  <a:gd name="T28" fmla="*/ 23712 w 79"/>
                  <a:gd name="T29" fmla="*/ 10629 h 23"/>
                  <a:gd name="T30" fmla="*/ 21301 w 79"/>
                  <a:gd name="T31" fmla="*/ 11112 h 23"/>
                  <a:gd name="T32" fmla="*/ 18487 w 79"/>
                  <a:gd name="T33" fmla="*/ 11112 h 23"/>
                  <a:gd name="T34" fmla="*/ 14870 w 79"/>
                  <a:gd name="T35" fmla="*/ 11112 h 23"/>
                  <a:gd name="T36" fmla="*/ 12861 w 79"/>
                  <a:gd name="T37" fmla="*/ 10146 h 23"/>
                  <a:gd name="T38" fmla="*/ 10449 w 79"/>
                  <a:gd name="T39" fmla="*/ 9663 h 23"/>
                  <a:gd name="T40" fmla="*/ 9244 w 79"/>
                  <a:gd name="T41" fmla="*/ 9179 h 23"/>
                  <a:gd name="T42" fmla="*/ 7636 w 79"/>
                  <a:gd name="T43" fmla="*/ 8696 h 23"/>
                  <a:gd name="T44" fmla="*/ 5627 w 79"/>
                  <a:gd name="T45" fmla="*/ 8696 h 23"/>
                  <a:gd name="T46" fmla="*/ 3617 w 79"/>
                  <a:gd name="T47" fmla="*/ 9663 h 23"/>
                  <a:gd name="T48" fmla="*/ 0 w 79"/>
                  <a:gd name="T49" fmla="*/ 11112 h 2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23">
                    <a:moveTo>
                      <a:pt x="0" y="23"/>
                    </a:moveTo>
                    <a:lnTo>
                      <a:pt x="22" y="13"/>
                    </a:lnTo>
                    <a:lnTo>
                      <a:pt x="45" y="4"/>
                    </a:lnTo>
                    <a:lnTo>
                      <a:pt x="56" y="1"/>
                    </a:lnTo>
                    <a:lnTo>
                      <a:pt x="65" y="0"/>
                    </a:lnTo>
                    <a:lnTo>
                      <a:pt x="69" y="0"/>
                    </a:lnTo>
                    <a:lnTo>
                      <a:pt x="74" y="1"/>
                    </a:lnTo>
                    <a:lnTo>
                      <a:pt x="77" y="2"/>
                    </a:lnTo>
                    <a:lnTo>
                      <a:pt x="79" y="4"/>
                    </a:lnTo>
                    <a:lnTo>
                      <a:pt x="77" y="8"/>
                    </a:lnTo>
                    <a:lnTo>
                      <a:pt x="75" y="13"/>
                    </a:lnTo>
                    <a:lnTo>
                      <a:pt x="72" y="16"/>
                    </a:lnTo>
                    <a:lnTo>
                      <a:pt x="68" y="19"/>
                    </a:lnTo>
                    <a:lnTo>
                      <a:pt x="64" y="21"/>
                    </a:lnTo>
                    <a:lnTo>
                      <a:pt x="59" y="22"/>
                    </a:lnTo>
                    <a:lnTo>
                      <a:pt x="53" y="23"/>
                    </a:lnTo>
                    <a:lnTo>
                      <a:pt x="46" y="23"/>
                    </a:lnTo>
                    <a:lnTo>
                      <a:pt x="37" y="23"/>
                    </a:lnTo>
                    <a:lnTo>
                      <a:pt x="32" y="21"/>
                    </a:lnTo>
                    <a:lnTo>
                      <a:pt x="26" y="20"/>
                    </a:lnTo>
                    <a:lnTo>
                      <a:pt x="23" y="19"/>
                    </a:lnTo>
                    <a:lnTo>
                      <a:pt x="19" y="18"/>
                    </a:lnTo>
                    <a:lnTo>
                      <a:pt x="14" y="18"/>
                    </a:lnTo>
                    <a:lnTo>
                      <a:pt x="9" y="20"/>
                    </a:lnTo>
                    <a:lnTo>
                      <a:pt x="0" y="23"/>
                    </a:lnTo>
                  </a:path>
                </a:pathLst>
              </a:custGeom>
              <a:grpFill/>
              <a:ln w="9525" cmpd="sng">
                <a:solidFill>
                  <a:srgbClr val="FFFFFF"/>
                </a:solidFill>
                <a:prstDash val="solid"/>
                <a:round/>
                <a:headEnd/>
                <a:tailEnd/>
              </a:ln>
            </p:spPr>
            <p:txBody>
              <a:bodyPr/>
              <a:lstStyle/>
              <a:p>
                <a:endParaRPr lang="en-GB" sz="1637"/>
              </a:p>
            </p:txBody>
          </p:sp>
          <p:sp>
            <p:nvSpPr>
              <p:cNvPr id="58" name="Freeform 170"/>
              <p:cNvSpPr>
                <a:spLocks/>
              </p:cNvSpPr>
              <p:nvPr>
                <p:custDataLst>
                  <p:tags r:id="rId41"/>
                </p:custDataLst>
              </p:nvPr>
            </p:nvSpPr>
            <p:spPr bwMode="auto">
              <a:xfrm>
                <a:off x="7532789" y="5396788"/>
                <a:ext cx="1734" cy="5372"/>
              </a:xfrm>
              <a:custGeom>
                <a:avLst/>
                <a:gdLst>
                  <a:gd name="T0" fmla="*/ 0 w 1588"/>
                  <a:gd name="T1" fmla="*/ 0 h 6"/>
                  <a:gd name="T2" fmla="*/ 0 w 1588"/>
                  <a:gd name="T3" fmla="*/ 4762 h 6"/>
                  <a:gd name="T4" fmla="*/ 0 w 1588"/>
                  <a:gd name="T5" fmla="*/ 0 h 6"/>
                  <a:gd name="T6" fmla="*/ 0 60000 65536"/>
                  <a:gd name="T7" fmla="*/ 0 60000 65536"/>
                  <a:gd name="T8" fmla="*/ 0 60000 65536"/>
                </a:gdLst>
                <a:ahLst/>
                <a:cxnLst>
                  <a:cxn ang="T6">
                    <a:pos x="T0" y="T1"/>
                  </a:cxn>
                  <a:cxn ang="T7">
                    <a:pos x="T2" y="T3"/>
                  </a:cxn>
                  <a:cxn ang="T8">
                    <a:pos x="T4" y="T5"/>
                  </a:cxn>
                </a:cxnLst>
                <a:rect l="0" t="0" r="r" b="b"/>
                <a:pathLst>
                  <a:path w="1588" h="6">
                    <a:moveTo>
                      <a:pt x="0" y="0"/>
                    </a:moveTo>
                    <a:lnTo>
                      <a:pt x="0" y="6"/>
                    </a:lnTo>
                    <a:lnTo>
                      <a:pt x="0" y="0"/>
                    </a:lnTo>
                  </a:path>
                </a:pathLst>
              </a:custGeom>
              <a:grpFill/>
              <a:ln w="9525" cmpd="sng">
                <a:solidFill>
                  <a:srgbClr val="FFFFFF"/>
                </a:solidFill>
                <a:prstDash val="solid"/>
                <a:round/>
                <a:headEnd/>
                <a:tailEnd/>
              </a:ln>
            </p:spPr>
            <p:txBody>
              <a:bodyPr/>
              <a:lstStyle/>
              <a:p>
                <a:endParaRPr lang="en-GB" sz="1637"/>
              </a:p>
            </p:txBody>
          </p:sp>
          <p:sp>
            <p:nvSpPr>
              <p:cNvPr id="59" name="Line 171"/>
              <p:cNvSpPr>
                <a:spLocks noChangeShapeType="1"/>
              </p:cNvSpPr>
              <p:nvPr>
                <p:custDataLst>
                  <p:tags r:id="rId42"/>
                </p:custDataLst>
              </p:nvPr>
            </p:nvSpPr>
            <p:spPr bwMode="auto">
              <a:xfrm flipV="1">
                <a:off x="7631570" y="5394997"/>
                <a:ext cx="1732" cy="14328"/>
              </a:xfrm>
              <a:prstGeom prst="line">
                <a:avLst/>
              </a:prstGeom>
              <a:grpFill/>
              <a:ln w="9525">
                <a:solidFill>
                  <a:srgbClr val="FFFFFF"/>
                </a:solidFill>
                <a:round/>
                <a:headEnd/>
                <a:tailEnd/>
              </a:ln>
            </p:spPr>
            <p:txBody>
              <a:bodyPr/>
              <a:lstStyle/>
              <a:p>
                <a:endParaRPr lang="en-GB" sz="1637"/>
              </a:p>
            </p:txBody>
          </p:sp>
          <p:sp>
            <p:nvSpPr>
              <p:cNvPr id="60" name="Freeform 172"/>
              <p:cNvSpPr>
                <a:spLocks/>
              </p:cNvSpPr>
              <p:nvPr>
                <p:custDataLst>
                  <p:tags r:id="rId43"/>
                </p:custDataLst>
              </p:nvPr>
            </p:nvSpPr>
            <p:spPr bwMode="auto">
              <a:xfrm>
                <a:off x="7631570" y="5394997"/>
                <a:ext cx="3466" cy="17910"/>
              </a:xfrm>
              <a:custGeom>
                <a:avLst/>
                <a:gdLst>
                  <a:gd name="T0" fmla="*/ 0 w 5"/>
                  <a:gd name="T1" fmla="*/ 0 h 30"/>
                  <a:gd name="T2" fmla="*/ 1270 w 5"/>
                  <a:gd name="T3" fmla="*/ 529 h 30"/>
                  <a:gd name="T4" fmla="*/ 2540 w 5"/>
                  <a:gd name="T5" fmla="*/ 2117 h 30"/>
                  <a:gd name="T6" fmla="*/ 3175 w 5"/>
                  <a:gd name="T7" fmla="*/ 4233 h 30"/>
                  <a:gd name="T8" fmla="*/ 3175 w 5"/>
                  <a:gd name="T9" fmla="*/ 6879 h 30"/>
                  <a:gd name="T10" fmla="*/ 3175 w 5"/>
                  <a:gd name="T11" fmla="*/ 9525 h 30"/>
                  <a:gd name="T12" fmla="*/ 2540 w 5"/>
                  <a:gd name="T13" fmla="*/ 12171 h 30"/>
                  <a:gd name="T14" fmla="*/ 1270 w 5"/>
                  <a:gd name="T15" fmla="*/ 14287 h 30"/>
                  <a:gd name="T16" fmla="*/ 0 w 5"/>
                  <a:gd name="T17" fmla="*/ 15875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 h="30">
                    <a:moveTo>
                      <a:pt x="0" y="0"/>
                    </a:moveTo>
                    <a:lnTo>
                      <a:pt x="2" y="1"/>
                    </a:lnTo>
                    <a:lnTo>
                      <a:pt x="4" y="4"/>
                    </a:lnTo>
                    <a:lnTo>
                      <a:pt x="5" y="8"/>
                    </a:lnTo>
                    <a:lnTo>
                      <a:pt x="5" y="13"/>
                    </a:lnTo>
                    <a:lnTo>
                      <a:pt x="5" y="18"/>
                    </a:lnTo>
                    <a:lnTo>
                      <a:pt x="4" y="23"/>
                    </a:lnTo>
                    <a:lnTo>
                      <a:pt x="2" y="27"/>
                    </a:lnTo>
                    <a:lnTo>
                      <a:pt x="0" y="30"/>
                    </a:lnTo>
                  </a:path>
                </a:pathLst>
              </a:custGeom>
              <a:grpFill/>
              <a:ln w="9525" cmpd="sng">
                <a:solidFill>
                  <a:srgbClr val="FFFFFF"/>
                </a:solidFill>
                <a:prstDash val="solid"/>
                <a:round/>
                <a:headEnd/>
                <a:tailEnd/>
              </a:ln>
            </p:spPr>
            <p:txBody>
              <a:bodyPr/>
              <a:lstStyle/>
              <a:p>
                <a:endParaRPr lang="en-GB" sz="1637"/>
              </a:p>
            </p:txBody>
          </p:sp>
          <p:sp>
            <p:nvSpPr>
              <p:cNvPr id="61" name="Freeform 173"/>
              <p:cNvSpPr>
                <a:spLocks/>
              </p:cNvSpPr>
              <p:nvPr>
                <p:custDataLst>
                  <p:tags r:id="rId44"/>
                </p:custDataLst>
              </p:nvPr>
            </p:nvSpPr>
            <p:spPr bwMode="auto">
              <a:xfrm>
                <a:off x="7957370" y="4796815"/>
                <a:ext cx="24262" cy="32237"/>
              </a:xfrm>
              <a:custGeom>
                <a:avLst/>
                <a:gdLst>
                  <a:gd name="T0" fmla="*/ 0 w 53"/>
                  <a:gd name="T1" fmla="*/ 6235 h 55"/>
                  <a:gd name="T2" fmla="*/ 419 w 53"/>
                  <a:gd name="T3" fmla="*/ 8832 h 55"/>
                  <a:gd name="T4" fmla="*/ 2097 w 53"/>
                  <a:gd name="T5" fmla="*/ 11430 h 55"/>
                  <a:gd name="T6" fmla="*/ 3774 w 53"/>
                  <a:gd name="T7" fmla="*/ 14028 h 55"/>
                  <a:gd name="T8" fmla="*/ 6290 w 53"/>
                  <a:gd name="T9" fmla="*/ 17145 h 55"/>
                  <a:gd name="T10" fmla="*/ 10903 w 53"/>
                  <a:gd name="T11" fmla="*/ 22860 h 55"/>
                  <a:gd name="T12" fmla="*/ 13838 w 53"/>
                  <a:gd name="T13" fmla="*/ 28575 h 55"/>
                  <a:gd name="T14" fmla="*/ 22225 w 53"/>
                  <a:gd name="T15" fmla="*/ 28575 h 55"/>
                  <a:gd name="T16" fmla="*/ 16774 w 53"/>
                  <a:gd name="T17" fmla="*/ 21301 h 55"/>
                  <a:gd name="T18" fmla="*/ 11742 w 53"/>
                  <a:gd name="T19" fmla="*/ 15067 h 55"/>
                  <a:gd name="T20" fmla="*/ 9645 w 53"/>
                  <a:gd name="T21" fmla="*/ 11950 h 55"/>
                  <a:gd name="T22" fmla="*/ 7967 w 53"/>
                  <a:gd name="T23" fmla="*/ 8313 h 55"/>
                  <a:gd name="T24" fmla="*/ 6709 w 53"/>
                  <a:gd name="T25" fmla="*/ 4156 h 55"/>
                  <a:gd name="T26" fmla="*/ 5871 w 53"/>
                  <a:gd name="T27" fmla="*/ 0 h 55"/>
                  <a:gd name="T28" fmla="*/ 2935 w 53"/>
                  <a:gd name="T29" fmla="*/ 3117 h 55"/>
                  <a:gd name="T30" fmla="*/ 0 w 53"/>
                  <a:gd name="T31" fmla="*/ 6235 h 5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55">
                    <a:moveTo>
                      <a:pt x="0" y="12"/>
                    </a:moveTo>
                    <a:lnTo>
                      <a:pt x="1" y="17"/>
                    </a:lnTo>
                    <a:lnTo>
                      <a:pt x="5" y="22"/>
                    </a:lnTo>
                    <a:lnTo>
                      <a:pt x="9" y="27"/>
                    </a:lnTo>
                    <a:lnTo>
                      <a:pt x="15" y="33"/>
                    </a:lnTo>
                    <a:lnTo>
                      <a:pt x="26" y="44"/>
                    </a:lnTo>
                    <a:lnTo>
                      <a:pt x="33" y="55"/>
                    </a:lnTo>
                    <a:lnTo>
                      <a:pt x="53" y="55"/>
                    </a:lnTo>
                    <a:lnTo>
                      <a:pt x="40" y="41"/>
                    </a:lnTo>
                    <a:lnTo>
                      <a:pt x="28" y="29"/>
                    </a:lnTo>
                    <a:lnTo>
                      <a:pt x="23" y="23"/>
                    </a:lnTo>
                    <a:lnTo>
                      <a:pt x="19" y="16"/>
                    </a:lnTo>
                    <a:lnTo>
                      <a:pt x="16" y="8"/>
                    </a:lnTo>
                    <a:lnTo>
                      <a:pt x="14" y="0"/>
                    </a:lnTo>
                    <a:lnTo>
                      <a:pt x="7" y="6"/>
                    </a:lnTo>
                    <a:lnTo>
                      <a:pt x="0" y="12"/>
                    </a:lnTo>
                  </a:path>
                </a:pathLst>
              </a:custGeom>
              <a:grpFill/>
              <a:ln w="9525" cmpd="sng">
                <a:solidFill>
                  <a:srgbClr val="FFFFFF"/>
                </a:solidFill>
                <a:prstDash val="solid"/>
                <a:round/>
                <a:headEnd/>
                <a:tailEnd/>
              </a:ln>
            </p:spPr>
            <p:txBody>
              <a:bodyPr/>
              <a:lstStyle/>
              <a:p>
                <a:endParaRPr lang="en-GB" sz="1637"/>
              </a:p>
            </p:txBody>
          </p:sp>
          <p:sp>
            <p:nvSpPr>
              <p:cNvPr id="62" name="Freeform 174"/>
              <p:cNvSpPr>
                <a:spLocks/>
              </p:cNvSpPr>
              <p:nvPr>
                <p:custDataLst>
                  <p:tags r:id="rId45"/>
                </p:custDataLst>
              </p:nvPr>
            </p:nvSpPr>
            <p:spPr bwMode="auto">
              <a:xfrm>
                <a:off x="7964302" y="4714430"/>
                <a:ext cx="29460" cy="44775"/>
              </a:xfrm>
              <a:custGeom>
                <a:avLst/>
                <a:gdLst>
                  <a:gd name="T0" fmla="*/ 0 w 65"/>
                  <a:gd name="T1" fmla="*/ 16934 h 75"/>
                  <a:gd name="T2" fmla="*/ 3737 w 65"/>
                  <a:gd name="T3" fmla="*/ 22754 h 75"/>
                  <a:gd name="T4" fmla="*/ 8304 w 65"/>
                  <a:gd name="T5" fmla="*/ 29105 h 75"/>
                  <a:gd name="T6" fmla="*/ 10795 w 65"/>
                  <a:gd name="T7" fmla="*/ 32280 h 75"/>
                  <a:gd name="T8" fmla="*/ 13286 w 65"/>
                  <a:gd name="T9" fmla="*/ 35455 h 75"/>
                  <a:gd name="T10" fmla="*/ 16192 w 65"/>
                  <a:gd name="T11" fmla="*/ 37571 h 75"/>
                  <a:gd name="T12" fmla="*/ 19098 w 65"/>
                  <a:gd name="T13" fmla="*/ 39688 h 75"/>
                  <a:gd name="T14" fmla="*/ 21174 w 65"/>
                  <a:gd name="T15" fmla="*/ 32280 h 75"/>
                  <a:gd name="T16" fmla="*/ 24081 w 65"/>
                  <a:gd name="T17" fmla="*/ 25400 h 75"/>
                  <a:gd name="T18" fmla="*/ 25326 w 65"/>
                  <a:gd name="T19" fmla="*/ 22225 h 75"/>
                  <a:gd name="T20" fmla="*/ 26157 w 65"/>
                  <a:gd name="T21" fmla="*/ 19050 h 75"/>
                  <a:gd name="T22" fmla="*/ 26987 w 65"/>
                  <a:gd name="T23" fmla="*/ 16404 h 75"/>
                  <a:gd name="T24" fmla="*/ 26987 w 65"/>
                  <a:gd name="T25" fmla="*/ 13759 h 75"/>
                  <a:gd name="T26" fmla="*/ 26987 w 65"/>
                  <a:gd name="T27" fmla="*/ 11113 h 75"/>
                  <a:gd name="T28" fmla="*/ 26157 w 65"/>
                  <a:gd name="T29" fmla="*/ 9525 h 75"/>
                  <a:gd name="T30" fmla="*/ 25326 w 65"/>
                  <a:gd name="T31" fmla="*/ 6879 h 75"/>
                  <a:gd name="T32" fmla="*/ 24081 w 65"/>
                  <a:gd name="T33" fmla="*/ 5292 h 75"/>
                  <a:gd name="T34" fmla="*/ 21174 w 65"/>
                  <a:gd name="T35" fmla="*/ 2646 h 75"/>
                  <a:gd name="T36" fmla="*/ 19098 w 65"/>
                  <a:gd name="T37" fmla="*/ 0 h 75"/>
                  <a:gd name="T38" fmla="*/ 14116 w 65"/>
                  <a:gd name="T39" fmla="*/ 0 h 75"/>
                  <a:gd name="T40" fmla="*/ 10795 w 65"/>
                  <a:gd name="T41" fmla="*/ 0 h 75"/>
                  <a:gd name="T42" fmla="*/ 10380 w 65"/>
                  <a:gd name="T43" fmla="*/ 1058 h 75"/>
                  <a:gd name="T44" fmla="*/ 9964 w 65"/>
                  <a:gd name="T45" fmla="*/ 3704 h 75"/>
                  <a:gd name="T46" fmla="*/ 9549 w 65"/>
                  <a:gd name="T47" fmla="*/ 4763 h 75"/>
                  <a:gd name="T48" fmla="*/ 9549 w 65"/>
                  <a:gd name="T49" fmla="*/ 5821 h 75"/>
                  <a:gd name="T50" fmla="*/ 9964 w 65"/>
                  <a:gd name="T51" fmla="*/ 6350 h 75"/>
                  <a:gd name="T52" fmla="*/ 10795 w 65"/>
                  <a:gd name="T53" fmla="*/ 6879 h 7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65" h="75">
                    <a:moveTo>
                      <a:pt x="0" y="32"/>
                    </a:moveTo>
                    <a:lnTo>
                      <a:pt x="9" y="43"/>
                    </a:lnTo>
                    <a:lnTo>
                      <a:pt x="20" y="55"/>
                    </a:lnTo>
                    <a:lnTo>
                      <a:pt x="26" y="61"/>
                    </a:lnTo>
                    <a:lnTo>
                      <a:pt x="32" y="67"/>
                    </a:lnTo>
                    <a:lnTo>
                      <a:pt x="39" y="71"/>
                    </a:lnTo>
                    <a:lnTo>
                      <a:pt x="46" y="75"/>
                    </a:lnTo>
                    <a:lnTo>
                      <a:pt x="51" y="61"/>
                    </a:lnTo>
                    <a:lnTo>
                      <a:pt x="58" y="48"/>
                    </a:lnTo>
                    <a:lnTo>
                      <a:pt x="61" y="42"/>
                    </a:lnTo>
                    <a:lnTo>
                      <a:pt x="63" y="36"/>
                    </a:lnTo>
                    <a:lnTo>
                      <a:pt x="65" y="31"/>
                    </a:lnTo>
                    <a:lnTo>
                      <a:pt x="65" y="26"/>
                    </a:lnTo>
                    <a:lnTo>
                      <a:pt x="65" y="21"/>
                    </a:lnTo>
                    <a:lnTo>
                      <a:pt x="63" y="18"/>
                    </a:lnTo>
                    <a:lnTo>
                      <a:pt x="61" y="13"/>
                    </a:lnTo>
                    <a:lnTo>
                      <a:pt x="58" y="10"/>
                    </a:lnTo>
                    <a:lnTo>
                      <a:pt x="51" y="5"/>
                    </a:lnTo>
                    <a:lnTo>
                      <a:pt x="46" y="0"/>
                    </a:lnTo>
                    <a:lnTo>
                      <a:pt x="34" y="0"/>
                    </a:lnTo>
                    <a:lnTo>
                      <a:pt x="26" y="0"/>
                    </a:lnTo>
                    <a:lnTo>
                      <a:pt x="25" y="2"/>
                    </a:lnTo>
                    <a:lnTo>
                      <a:pt x="24" y="7"/>
                    </a:lnTo>
                    <a:lnTo>
                      <a:pt x="23" y="9"/>
                    </a:lnTo>
                    <a:lnTo>
                      <a:pt x="23" y="11"/>
                    </a:lnTo>
                    <a:lnTo>
                      <a:pt x="24" y="12"/>
                    </a:lnTo>
                    <a:lnTo>
                      <a:pt x="26" y="13"/>
                    </a:lnTo>
                  </a:path>
                </a:pathLst>
              </a:custGeom>
              <a:grpFill/>
              <a:ln w="9525" cmpd="sng">
                <a:solidFill>
                  <a:srgbClr val="FFFFFF"/>
                </a:solidFill>
                <a:prstDash val="solid"/>
                <a:round/>
                <a:headEnd/>
                <a:tailEnd/>
              </a:ln>
            </p:spPr>
            <p:txBody>
              <a:bodyPr/>
              <a:lstStyle/>
              <a:p>
                <a:endParaRPr lang="en-GB" sz="1637"/>
              </a:p>
            </p:txBody>
          </p:sp>
          <p:sp>
            <p:nvSpPr>
              <p:cNvPr id="63" name="Freeform 175"/>
              <p:cNvSpPr>
                <a:spLocks/>
              </p:cNvSpPr>
              <p:nvPr>
                <p:custDataLst>
                  <p:tags r:id="rId46"/>
                </p:custDataLst>
              </p:nvPr>
            </p:nvSpPr>
            <p:spPr bwMode="auto">
              <a:xfrm>
                <a:off x="7938306" y="4687566"/>
                <a:ext cx="19063" cy="34028"/>
              </a:xfrm>
              <a:custGeom>
                <a:avLst/>
                <a:gdLst>
                  <a:gd name="T0" fmla="*/ 0 w 40"/>
                  <a:gd name="T1" fmla="*/ 30162 h 62"/>
                  <a:gd name="T2" fmla="*/ 1310 w 40"/>
                  <a:gd name="T3" fmla="*/ 25297 h 62"/>
                  <a:gd name="T4" fmla="*/ 3056 w 40"/>
                  <a:gd name="T5" fmla="*/ 20919 h 62"/>
                  <a:gd name="T6" fmla="*/ 5239 w 40"/>
                  <a:gd name="T7" fmla="*/ 16054 h 62"/>
                  <a:gd name="T8" fmla="*/ 7422 w 40"/>
                  <a:gd name="T9" fmla="*/ 12162 h 62"/>
                  <a:gd name="T10" fmla="*/ 10041 w 40"/>
                  <a:gd name="T11" fmla="*/ 8270 h 62"/>
                  <a:gd name="T12" fmla="*/ 12661 w 40"/>
                  <a:gd name="T13" fmla="*/ 4378 h 62"/>
                  <a:gd name="T14" fmla="*/ 15280 w 40"/>
                  <a:gd name="T15" fmla="*/ 1459 h 62"/>
                  <a:gd name="T16" fmla="*/ 17463 w 40"/>
                  <a:gd name="T17" fmla="*/ 0 h 6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0" h="62">
                    <a:moveTo>
                      <a:pt x="0" y="62"/>
                    </a:moveTo>
                    <a:lnTo>
                      <a:pt x="3" y="52"/>
                    </a:lnTo>
                    <a:lnTo>
                      <a:pt x="7" y="43"/>
                    </a:lnTo>
                    <a:lnTo>
                      <a:pt x="12" y="33"/>
                    </a:lnTo>
                    <a:lnTo>
                      <a:pt x="17" y="25"/>
                    </a:lnTo>
                    <a:lnTo>
                      <a:pt x="23" y="17"/>
                    </a:lnTo>
                    <a:lnTo>
                      <a:pt x="29" y="9"/>
                    </a:lnTo>
                    <a:lnTo>
                      <a:pt x="35" y="3"/>
                    </a:lnTo>
                    <a:lnTo>
                      <a:pt x="40" y="0"/>
                    </a:lnTo>
                  </a:path>
                </a:pathLst>
              </a:custGeom>
              <a:grpFill/>
              <a:ln w="9525" cmpd="sng">
                <a:solidFill>
                  <a:srgbClr val="FFFFFF"/>
                </a:solidFill>
                <a:prstDash val="solid"/>
                <a:round/>
                <a:headEnd/>
                <a:tailEnd/>
              </a:ln>
            </p:spPr>
            <p:txBody>
              <a:bodyPr/>
              <a:lstStyle/>
              <a:p>
                <a:endParaRPr lang="en-GB" sz="1637"/>
              </a:p>
            </p:txBody>
          </p:sp>
          <p:sp>
            <p:nvSpPr>
              <p:cNvPr id="64" name="Freeform 176"/>
              <p:cNvSpPr>
                <a:spLocks/>
              </p:cNvSpPr>
              <p:nvPr>
                <p:custDataLst>
                  <p:tags r:id="rId47"/>
                </p:custDataLst>
              </p:nvPr>
            </p:nvSpPr>
            <p:spPr bwMode="auto">
              <a:xfrm>
                <a:off x="7849925" y="4549661"/>
                <a:ext cx="74518" cy="155815"/>
              </a:xfrm>
              <a:custGeom>
                <a:avLst/>
                <a:gdLst>
                  <a:gd name="T0" fmla="*/ 68262 w 159"/>
                  <a:gd name="T1" fmla="*/ 138113 h 259"/>
                  <a:gd name="T2" fmla="*/ 68262 w 159"/>
                  <a:gd name="T3" fmla="*/ 133847 h 259"/>
                  <a:gd name="T4" fmla="*/ 68262 w 159"/>
                  <a:gd name="T5" fmla="*/ 130114 h 259"/>
                  <a:gd name="T6" fmla="*/ 68262 w 159"/>
                  <a:gd name="T7" fmla="*/ 125848 h 259"/>
                  <a:gd name="T8" fmla="*/ 68262 w 159"/>
                  <a:gd name="T9" fmla="*/ 121582 h 259"/>
                  <a:gd name="T10" fmla="*/ 68262 w 159"/>
                  <a:gd name="T11" fmla="*/ 119449 h 259"/>
                  <a:gd name="T12" fmla="*/ 67833 w 159"/>
                  <a:gd name="T13" fmla="*/ 116783 h 259"/>
                  <a:gd name="T14" fmla="*/ 66974 w 159"/>
                  <a:gd name="T15" fmla="*/ 114650 h 259"/>
                  <a:gd name="T16" fmla="*/ 65686 w 159"/>
                  <a:gd name="T17" fmla="*/ 111984 h 259"/>
                  <a:gd name="T18" fmla="*/ 62252 w 159"/>
                  <a:gd name="T19" fmla="*/ 107717 h 259"/>
                  <a:gd name="T20" fmla="*/ 57958 w 159"/>
                  <a:gd name="T21" fmla="*/ 103985 h 259"/>
                  <a:gd name="T22" fmla="*/ 53236 w 159"/>
                  <a:gd name="T23" fmla="*/ 100785 h 259"/>
                  <a:gd name="T24" fmla="*/ 48084 w 159"/>
                  <a:gd name="T25" fmla="*/ 98119 h 259"/>
                  <a:gd name="T26" fmla="*/ 42503 w 159"/>
                  <a:gd name="T27" fmla="*/ 95986 h 259"/>
                  <a:gd name="T28" fmla="*/ 37351 w 159"/>
                  <a:gd name="T29" fmla="*/ 95453 h 259"/>
                  <a:gd name="T30" fmla="*/ 36492 w 159"/>
                  <a:gd name="T31" fmla="*/ 94919 h 259"/>
                  <a:gd name="T32" fmla="*/ 35204 w 159"/>
                  <a:gd name="T33" fmla="*/ 94386 h 259"/>
                  <a:gd name="T34" fmla="*/ 34775 w 159"/>
                  <a:gd name="T35" fmla="*/ 93320 h 259"/>
                  <a:gd name="T36" fmla="*/ 34346 w 159"/>
                  <a:gd name="T37" fmla="*/ 92253 h 259"/>
                  <a:gd name="T38" fmla="*/ 34346 w 159"/>
                  <a:gd name="T39" fmla="*/ 89054 h 259"/>
                  <a:gd name="T40" fmla="*/ 34775 w 159"/>
                  <a:gd name="T41" fmla="*/ 85854 h 259"/>
                  <a:gd name="T42" fmla="*/ 36492 w 159"/>
                  <a:gd name="T43" fmla="*/ 78922 h 259"/>
                  <a:gd name="T44" fmla="*/ 37351 w 159"/>
                  <a:gd name="T45" fmla="*/ 75722 h 259"/>
                  <a:gd name="T46" fmla="*/ 31340 w 159"/>
                  <a:gd name="T47" fmla="*/ 75189 h 259"/>
                  <a:gd name="T48" fmla="*/ 25330 w 159"/>
                  <a:gd name="T49" fmla="*/ 74122 h 259"/>
                  <a:gd name="T50" fmla="*/ 20607 w 159"/>
                  <a:gd name="T51" fmla="*/ 71989 h 259"/>
                  <a:gd name="T52" fmla="*/ 17173 w 159"/>
                  <a:gd name="T53" fmla="*/ 68790 h 259"/>
                  <a:gd name="T54" fmla="*/ 13309 w 159"/>
                  <a:gd name="T55" fmla="*/ 64524 h 259"/>
                  <a:gd name="T56" fmla="*/ 10304 w 159"/>
                  <a:gd name="T57" fmla="*/ 60258 h 259"/>
                  <a:gd name="T58" fmla="*/ 7728 w 159"/>
                  <a:gd name="T59" fmla="*/ 55459 h 259"/>
                  <a:gd name="T60" fmla="*/ 5581 w 159"/>
                  <a:gd name="T61" fmla="*/ 50126 h 259"/>
                  <a:gd name="T62" fmla="*/ 3864 w 159"/>
                  <a:gd name="T63" fmla="*/ 44793 h 259"/>
                  <a:gd name="T64" fmla="*/ 3005 w 159"/>
                  <a:gd name="T65" fmla="*/ 38928 h 259"/>
                  <a:gd name="T66" fmla="*/ 2147 w 159"/>
                  <a:gd name="T67" fmla="*/ 31995 h 259"/>
                  <a:gd name="T68" fmla="*/ 859 w 159"/>
                  <a:gd name="T69" fmla="*/ 25596 h 259"/>
                  <a:gd name="T70" fmla="*/ 0 w 159"/>
                  <a:gd name="T71" fmla="*/ 13331 h 259"/>
                  <a:gd name="T72" fmla="*/ 0 w 159"/>
                  <a:gd name="T73" fmla="*/ 0 h 25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59" h="259">
                    <a:moveTo>
                      <a:pt x="159" y="259"/>
                    </a:moveTo>
                    <a:lnTo>
                      <a:pt x="159" y="251"/>
                    </a:lnTo>
                    <a:lnTo>
                      <a:pt x="159" y="244"/>
                    </a:lnTo>
                    <a:lnTo>
                      <a:pt x="159" y="236"/>
                    </a:lnTo>
                    <a:lnTo>
                      <a:pt x="159" y="228"/>
                    </a:lnTo>
                    <a:lnTo>
                      <a:pt x="159" y="224"/>
                    </a:lnTo>
                    <a:lnTo>
                      <a:pt x="158" y="219"/>
                    </a:lnTo>
                    <a:lnTo>
                      <a:pt x="156" y="215"/>
                    </a:lnTo>
                    <a:lnTo>
                      <a:pt x="153" y="210"/>
                    </a:lnTo>
                    <a:lnTo>
                      <a:pt x="145" y="202"/>
                    </a:lnTo>
                    <a:lnTo>
                      <a:pt x="135" y="195"/>
                    </a:lnTo>
                    <a:lnTo>
                      <a:pt x="124" y="189"/>
                    </a:lnTo>
                    <a:lnTo>
                      <a:pt x="112" y="184"/>
                    </a:lnTo>
                    <a:lnTo>
                      <a:pt x="99" y="180"/>
                    </a:lnTo>
                    <a:lnTo>
                      <a:pt x="87" y="179"/>
                    </a:lnTo>
                    <a:lnTo>
                      <a:pt x="85" y="178"/>
                    </a:lnTo>
                    <a:lnTo>
                      <a:pt x="82" y="177"/>
                    </a:lnTo>
                    <a:lnTo>
                      <a:pt x="81" y="175"/>
                    </a:lnTo>
                    <a:lnTo>
                      <a:pt x="80" y="173"/>
                    </a:lnTo>
                    <a:lnTo>
                      <a:pt x="80" y="167"/>
                    </a:lnTo>
                    <a:lnTo>
                      <a:pt x="81" y="161"/>
                    </a:lnTo>
                    <a:lnTo>
                      <a:pt x="85" y="148"/>
                    </a:lnTo>
                    <a:lnTo>
                      <a:pt x="87" y="142"/>
                    </a:lnTo>
                    <a:lnTo>
                      <a:pt x="73" y="141"/>
                    </a:lnTo>
                    <a:lnTo>
                      <a:pt x="59" y="139"/>
                    </a:lnTo>
                    <a:lnTo>
                      <a:pt x="48" y="135"/>
                    </a:lnTo>
                    <a:lnTo>
                      <a:pt x="40" y="129"/>
                    </a:lnTo>
                    <a:lnTo>
                      <a:pt x="31" y="121"/>
                    </a:lnTo>
                    <a:lnTo>
                      <a:pt x="24" y="113"/>
                    </a:lnTo>
                    <a:lnTo>
                      <a:pt x="18" y="104"/>
                    </a:lnTo>
                    <a:lnTo>
                      <a:pt x="13" y="94"/>
                    </a:lnTo>
                    <a:lnTo>
                      <a:pt x="9" y="84"/>
                    </a:lnTo>
                    <a:lnTo>
                      <a:pt x="7" y="73"/>
                    </a:lnTo>
                    <a:lnTo>
                      <a:pt x="5" y="60"/>
                    </a:lnTo>
                    <a:lnTo>
                      <a:pt x="2" y="48"/>
                    </a:lnTo>
                    <a:lnTo>
                      <a:pt x="0" y="25"/>
                    </a:lnTo>
                    <a:lnTo>
                      <a:pt x="0" y="0"/>
                    </a:lnTo>
                  </a:path>
                </a:pathLst>
              </a:custGeom>
              <a:grpFill/>
              <a:ln w="9525" cmpd="sng">
                <a:solidFill>
                  <a:srgbClr val="FFFFFF"/>
                </a:solidFill>
                <a:prstDash val="solid"/>
                <a:round/>
                <a:headEnd/>
                <a:tailEnd/>
              </a:ln>
            </p:spPr>
            <p:txBody>
              <a:bodyPr/>
              <a:lstStyle/>
              <a:p>
                <a:endParaRPr lang="en-GB" sz="1637"/>
              </a:p>
            </p:txBody>
          </p:sp>
          <p:sp>
            <p:nvSpPr>
              <p:cNvPr id="65" name="Line 177"/>
              <p:cNvSpPr>
                <a:spLocks noChangeShapeType="1"/>
              </p:cNvSpPr>
              <p:nvPr>
                <p:custDataLst>
                  <p:tags r:id="rId48"/>
                </p:custDataLst>
              </p:nvPr>
            </p:nvSpPr>
            <p:spPr bwMode="auto">
              <a:xfrm flipH="1" flipV="1">
                <a:off x="7842993" y="4512052"/>
                <a:ext cx="6932" cy="37610"/>
              </a:xfrm>
              <a:prstGeom prst="line">
                <a:avLst/>
              </a:prstGeom>
              <a:grpFill/>
              <a:ln w="9525">
                <a:solidFill>
                  <a:srgbClr val="FFFFFF"/>
                </a:solidFill>
                <a:round/>
                <a:headEnd/>
                <a:tailEnd/>
              </a:ln>
            </p:spPr>
            <p:txBody>
              <a:bodyPr/>
              <a:lstStyle/>
              <a:p>
                <a:endParaRPr lang="en-GB" sz="1637"/>
              </a:p>
            </p:txBody>
          </p:sp>
          <p:sp>
            <p:nvSpPr>
              <p:cNvPr id="66" name="Freeform 178"/>
              <p:cNvSpPr>
                <a:spLocks/>
              </p:cNvSpPr>
              <p:nvPr>
                <p:custDataLst>
                  <p:tags r:id="rId49"/>
                </p:custDataLst>
              </p:nvPr>
            </p:nvSpPr>
            <p:spPr bwMode="auto">
              <a:xfrm>
                <a:off x="7842993" y="4494142"/>
                <a:ext cx="6932" cy="17910"/>
              </a:xfrm>
              <a:custGeom>
                <a:avLst/>
                <a:gdLst>
                  <a:gd name="T0" fmla="*/ 0 w 13"/>
                  <a:gd name="T1" fmla="*/ 15875 h 25"/>
                  <a:gd name="T2" fmla="*/ 488 w 13"/>
                  <a:gd name="T3" fmla="*/ 12065 h 25"/>
                  <a:gd name="T4" fmla="*/ 1954 w 13"/>
                  <a:gd name="T5" fmla="*/ 8255 h 25"/>
                  <a:gd name="T6" fmla="*/ 3908 w 13"/>
                  <a:gd name="T7" fmla="*/ 3810 h 25"/>
                  <a:gd name="T8" fmla="*/ 6350 w 13"/>
                  <a:gd name="T9" fmla="*/ 0 h 2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 h="25">
                    <a:moveTo>
                      <a:pt x="0" y="25"/>
                    </a:moveTo>
                    <a:lnTo>
                      <a:pt x="1" y="19"/>
                    </a:lnTo>
                    <a:lnTo>
                      <a:pt x="4" y="13"/>
                    </a:lnTo>
                    <a:lnTo>
                      <a:pt x="8" y="6"/>
                    </a:lnTo>
                    <a:lnTo>
                      <a:pt x="13" y="0"/>
                    </a:lnTo>
                  </a:path>
                </a:pathLst>
              </a:custGeom>
              <a:grpFill/>
              <a:ln w="9525" cmpd="sng">
                <a:solidFill>
                  <a:srgbClr val="FFFFFF"/>
                </a:solidFill>
                <a:prstDash val="solid"/>
                <a:round/>
                <a:headEnd/>
                <a:tailEnd/>
              </a:ln>
            </p:spPr>
            <p:txBody>
              <a:bodyPr/>
              <a:lstStyle/>
              <a:p>
                <a:endParaRPr lang="en-GB" sz="1637"/>
              </a:p>
            </p:txBody>
          </p:sp>
          <p:sp>
            <p:nvSpPr>
              <p:cNvPr id="67" name="Line 179"/>
              <p:cNvSpPr>
                <a:spLocks noChangeShapeType="1"/>
              </p:cNvSpPr>
              <p:nvPr>
                <p:custDataLst>
                  <p:tags r:id="rId50"/>
                </p:custDataLst>
              </p:nvPr>
            </p:nvSpPr>
            <p:spPr bwMode="auto">
              <a:xfrm flipV="1">
                <a:off x="7849925" y="4479814"/>
                <a:ext cx="0" cy="14328"/>
              </a:xfrm>
              <a:prstGeom prst="line">
                <a:avLst/>
              </a:prstGeom>
              <a:grpFill/>
              <a:ln w="9525">
                <a:solidFill>
                  <a:srgbClr val="FFFFFF"/>
                </a:solidFill>
                <a:round/>
                <a:headEnd/>
                <a:tailEnd/>
              </a:ln>
            </p:spPr>
            <p:txBody>
              <a:bodyPr/>
              <a:lstStyle/>
              <a:p>
                <a:endParaRPr lang="en-GB" sz="1637"/>
              </a:p>
            </p:txBody>
          </p:sp>
          <p:sp>
            <p:nvSpPr>
              <p:cNvPr id="68" name="Freeform 180"/>
              <p:cNvSpPr>
                <a:spLocks/>
              </p:cNvSpPr>
              <p:nvPr>
                <p:custDataLst>
                  <p:tags r:id="rId51"/>
                </p:custDataLst>
              </p:nvPr>
            </p:nvSpPr>
            <p:spPr bwMode="auto">
              <a:xfrm>
                <a:off x="7799668" y="4404594"/>
                <a:ext cx="50257" cy="75221"/>
              </a:xfrm>
              <a:custGeom>
                <a:avLst/>
                <a:gdLst>
                  <a:gd name="T0" fmla="*/ 46038 w 100"/>
                  <a:gd name="T1" fmla="*/ 66675 h 123"/>
                  <a:gd name="T2" fmla="*/ 41434 w 100"/>
                  <a:gd name="T3" fmla="*/ 66133 h 123"/>
                  <a:gd name="T4" fmla="*/ 34989 w 100"/>
                  <a:gd name="T5" fmla="*/ 64507 h 123"/>
                  <a:gd name="T6" fmla="*/ 27623 w 100"/>
                  <a:gd name="T7" fmla="*/ 61796 h 123"/>
                  <a:gd name="T8" fmla="*/ 19796 w 100"/>
                  <a:gd name="T9" fmla="*/ 58002 h 123"/>
                  <a:gd name="T10" fmla="*/ 15653 w 100"/>
                  <a:gd name="T11" fmla="*/ 55834 h 123"/>
                  <a:gd name="T12" fmla="*/ 12430 w 100"/>
                  <a:gd name="T13" fmla="*/ 53665 h 123"/>
                  <a:gd name="T14" fmla="*/ 9208 w 100"/>
                  <a:gd name="T15" fmla="*/ 50955 h 123"/>
                  <a:gd name="T16" fmla="*/ 5985 w 100"/>
                  <a:gd name="T17" fmla="*/ 48245 h 123"/>
                  <a:gd name="T18" fmla="*/ 3683 w 100"/>
                  <a:gd name="T19" fmla="*/ 45534 h 123"/>
                  <a:gd name="T20" fmla="*/ 1842 w 100"/>
                  <a:gd name="T21" fmla="*/ 42824 h 123"/>
                  <a:gd name="T22" fmla="*/ 460 w 100"/>
                  <a:gd name="T23" fmla="*/ 39571 h 123"/>
                  <a:gd name="T24" fmla="*/ 0 w 100"/>
                  <a:gd name="T25" fmla="*/ 36861 h 123"/>
                  <a:gd name="T26" fmla="*/ 921 w 100"/>
                  <a:gd name="T27" fmla="*/ 29814 h 123"/>
                  <a:gd name="T28" fmla="*/ 3223 w 100"/>
                  <a:gd name="T29" fmla="*/ 19515 h 123"/>
                  <a:gd name="T30" fmla="*/ 5064 w 100"/>
                  <a:gd name="T31" fmla="*/ 9215 h 123"/>
                  <a:gd name="T32" fmla="*/ 5985 w 100"/>
                  <a:gd name="T33" fmla="*/ 0 h 12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00" h="123">
                    <a:moveTo>
                      <a:pt x="100" y="123"/>
                    </a:moveTo>
                    <a:lnTo>
                      <a:pt x="90" y="122"/>
                    </a:lnTo>
                    <a:lnTo>
                      <a:pt x="76" y="119"/>
                    </a:lnTo>
                    <a:lnTo>
                      <a:pt x="60" y="114"/>
                    </a:lnTo>
                    <a:lnTo>
                      <a:pt x="43" y="107"/>
                    </a:lnTo>
                    <a:lnTo>
                      <a:pt x="34" y="103"/>
                    </a:lnTo>
                    <a:lnTo>
                      <a:pt x="27" y="99"/>
                    </a:lnTo>
                    <a:lnTo>
                      <a:pt x="20" y="94"/>
                    </a:lnTo>
                    <a:lnTo>
                      <a:pt x="13" y="89"/>
                    </a:lnTo>
                    <a:lnTo>
                      <a:pt x="8" y="84"/>
                    </a:lnTo>
                    <a:lnTo>
                      <a:pt x="4" y="79"/>
                    </a:lnTo>
                    <a:lnTo>
                      <a:pt x="1" y="73"/>
                    </a:lnTo>
                    <a:lnTo>
                      <a:pt x="0" y="68"/>
                    </a:lnTo>
                    <a:lnTo>
                      <a:pt x="2" y="55"/>
                    </a:lnTo>
                    <a:lnTo>
                      <a:pt x="7" y="36"/>
                    </a:lnTo>
                    <a:lnTo>
                      <a:pt x="11" y="17"/>
                    </a:lnTo>
                    <a:lnTo>
                      <a:pt x="13" y="0"/>
                    </a:lnTo>
                  </a:path>
                </a:pathLst>
              </a:custGeom>
              <a:grpFill/>
              <a:ln w="9525" cmpd="sng">
                <a:solidFill>
                  <a:srgbClr val="FFFFFF"/>
                </a:solidFill>
                <a:prstDash val="solid"/>
                <a:round/>
                <a:headEnd/>
                <a:tailEnd/>
              </a:ln>
            </p:spPr>
            <p:txBody>
              <a:bodyPr/>
              <a:lstStyle/>
              <a:p>
                <a:endParaRPr lang="en-GB" sz="1637"/>
              </a:p>
            </p:txBody>
          </p:sp>
          <p:sp>
            <p:nvSpPr>
              <p:cNvPr id="69" name="Freeform 181"/>
              <p:cNvSpPr>
                <a:spLocks/>
              </p:cNvSpPr>
              <p:nvPr>
                <p:custDataLst>
                  <p:tags r:id="rId52"/>
                </p:custDataLst>
              </p:nvPr>
            </p:nvSpPr>
            <p:spPr bwMode="auto">
              <a:xfrm>
                <a:off x="7815265" y="4340119"/>
                <a:ext cx="1732" cy="57311"/>
              </a:xfrm>
              <a:custGeom>
                <a:avLst/>
                <a:gdLst>
                  <a:gd name="T0" fmla="*/ 1587 w 5"/>
                  <a:gd name="T1" fmla="*/ 0 h 99"/>
                  <a:gd name="T2" fmla="*/ 1270 w 5"/>
                  <a:gd name="T3" fmla="*/ 17446 h 99"/>
                  <a:gd name="T4" fmla="*/ 317 w 5"/>
                  <a:gd name="T5" fmla="*/ 30275 h 99"/>
                  <a:gd name="T6" fmla="*/ 0 w 5"/>
                  <a:gd name="T7" fmla="*/ 35406 h 99"/>
                  <a:gd name="T8" fmla="*/ 0 w 5"/>
                  <a:gd name="T9" fmla="*/ 40024 h 99"/>
                  <a:gd name="T10" fmla="*/ 635 w 5"/>
                  <a:gd name="T11" fmla="*/ 44642 h 99"/>
                  <a:gd name="T12" fmla="*/ 1587 w 5"/>
                  <a:gd name="T13" fmla="*/ 50800 h 9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 h="99">
                    <a:moveTo>
                      <a:pt x="5" y="0"/>
                    </a:moveTo>
                    <a:lnTo>
                      <a:pt x="4" y="34"/>
                    </a:lnTo>
                    <a:lnTo>
                      <a:pt x="1" y="59"/>
                    </a:lnTo>
                    <a:lnTo>
                      <a:pt x="0" y="69"/>
                    </a:lnTo>
                    <a:lnTo>
                      <a:pt x="0" y="78"/>
                    </a:lnTo>
                    <a:lnTo>
                      <a:pt x="2" y="87"/>
                    </a:lnTo>
                    <a:lnTo>
                      <a:pt x="5" y="99"/>
                    </a:lnTo>
                  </a:path>
                </a:pathLst>
              </a:custGeom>
              <a:grpFill/>
              <a:ln w="9525" cmpd="sng">
                <a:solidFill>
                  <a:srgbClr val="FFFFFF"/>
                </a:solidFill>
                <a:prstDash val="solid"/>
                <a:round/>
                <a:headEnd/>
                <a:tailEnd/>
              </a:ln>
            </p:spPr>
            <p:txBody>
              <a:bodyPr/>
              <a:lstStyle/>
              <a:p>
                <a:endParaRPr lang="en-GB" sz="1637"/>
              </a:p>
            </p:txBody>
          </p:sp>
          <p:sp>
            <p:nvSpPr>
              <p:cNvPr id="70" name="Freeform 182"/>
              <p:cNvSpPr>
                <a:spLocks/>
              </p:cNvSpPr>
              <p:nvPr>
                <p:custDataLst>
                  <p:tags r:id="rId53"/>
                </p:custDataLst>
              </p:nvPr>
            </p:nvSpPr>
            <p:spPr bwMode="auto">
              <a:xfrm>
                <a:off x="7822197" y="4332955"/>
                <a:ext cx="8664" cy="41192"/>
              </a:xfrm>
              <a:custGeom>
                <a:avLst/>
                <a:gdLst>
                  <a:gd name="T0" fmla="*/ 7937 w 14"/>
                  <a:gd name="T1" fmla="*/ 0 h 68"/>
                  <a:gd name="T2" fmla="*/ 4535 w 14"/>
                  <a:gd name="T3" fmla="*/ 8591 h 68"/>
                  <a:gd name="T4" fmla="*/ 2268 w 14"/>
                  <a:gd name="T5" fmla="*/ 17719 h 68"/>
                  <a:gd name="T6" fmla="*/ 1134 w 14"/>
                  <a:gd name="T7" fmla="*/ 27921 h 68"/>
                  <a:gd name="T8" fmla="*/ 0 w 14"/>
                  <a:gd name="T9" fmla="*/ 36512 h 6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 h="68">
                    <a:moveTo>
                      <a:pt x="14" y="0"/>
                    </a:moveTo>
                    <a:lnTo>
                      <a:pt x="8" y="16"/>
                    </a:lnTo>
                    <a:lnTo>
                      <a:pt x="4" y="33"/>
                    </a:lnTo>
                    <a:lnTo>
                      <a:pt x="2" y="52"/>
                    </a:lnTo>
                    <a:lnTo>
                      <a:pt x="0" y="68"/>
                    </a:lnTo>
                  </a:path>
                </a:pathLst>
              </a:custGeom>
              <a:grpFill/>
              <a:ln w="9525" cmpd="sng">
                <a:solidFill>
                  <a:srgbClr val="FFFFFF"/>
                </a:solidFill>
                <a:prstDash val="solid"/>
                <a:round/>
                <a:headEnd/>
                <a:tailEnd/>
              </a:ln>
            </p:spPr>
            <p:txBody>
              <a:bodyPr/>
              <a:lstStyle/>
              <a:p>
                <a:endParaRPr lang="en-GB" sz="1637"/>
              </a:p>
            </p:txBody>
          </p:sp>
          <p:sp>
            <p:nvSpPr>
              <p:cNvPr id="71" name="Freeform 183"/>
              <p:cNvSpPr>
                <a:spLocks/>
              </p:cNvSpPr>
              <p:nvPr>
                <p:custDataLst>
                  <p:tags r:id="rId54"/>
                </p:custDataLst>
              </p:nvPr>
            </p:nvSpPr>
            <p:spPr bwMode="auto">
              <a:xfrm>
                <a:off x="7839527" y="4311464"/>
                <a:ext cx="1732" cy="25074"/>
              </a:xfrm>
              <a:custGeom>
                <a:avLst/>
                <a:gdLst>
                  <a:gd name="T0" fmla="*/ 0 w 1587"/>
                  <a:gd name="T1" fmla="*/ 0 h 43"/>
                  <a:gd name="T2" fmla="*/ 0 w 1587"/>
                  <a:gd name="T3" fmla="*/ 6719 h 43"/>
                  <a:gd name="T4" fmla="*/ 0 w 1587"/>
                  <a:gd name="T5" fmla="*/ 13438 h 43"/>
                  <a:gd name="T6" fmla="*/ 0 w 1587"/>
                  <a:gd name="T7" fmla="*/ 19124 h 43"/>
                  <a:gd name="T8" fmla="*/ 0 w 1587"/>
                  <a:gd name="T9" fmla="*/ 22225 h 4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43">
                    <a:moveTo>
                      <a:pt x="0" y="0"/>
                    </a:moveTo>
                    <a:lnTo>
                      <a:pt x="0" y="13"/>
                    </a:lnTo>
                    <a:lnTo>
                      <a:pt x="0" y="26"/>
                    </a:lnTo>
                    <a:lnTo>
                      <a:pt x="0" y="37"/>
                    </a:lnTo>
                    <a:lnTo>
                      <a:pt x="0" y="43"/>
                    </a:lnTo>
                  </a:path>
                </a:pathLst>
              </a:custGeom>
              <a:grpFill/>
              <a:ln w="9525" cmpd="sng">
                <a:solidFill>
                  <a:srgbClr val="FFFFFF"/>
                </a:solidFill>
                <a:prstDash val="solid"/>
                <a:round/>
                <a:headEnd/>
                <a:tailEnd/>
              </a:ln>
            </p:spPr>
            <p:txBody>
              <a:bodyPr/>
              <a:lstStyle/>
              <a:p>
                <a:endParaRPr lang="en-GB" sz="1637"/>
              </a:p>
            </p:txBody>
          </p:sp>
          <p:sp>
            <p:nvSpPr>
              <p:cNvPr id="72" name="Line 184"/>
              <p:cNvSpPr>
                <a:spLocks noChangeShapeType="1"/>
              </p:cNvSpPr>
              <p:nvPr>
                <p:custDataLst>
                  <p:tags r:id="rId55"/>
                </p:custDataLst>
              </p:nvPr>
            </p:nvSpPr>
            <p:spPr bwMode="auto">
              <a:xfrm flipV="1">
                <a:off x="7839527" y="4332955"/>
                <a:ext cx="1732" cy="3582"/>
              </a:xfrm>
              <a:prstGeom prst="line">
                <a:avLst/>
              </a:prstGeom>
              <a:grpFill/>
              <a:ln w="9525">
                <a:solidFill>
                  <a:srgbClr val="FFFFFF"/>
                </a:solidFill>
                <a:round/>
                <a:headEnd/>
                <a:tailEnd/>
              </a:ln>
            </p:spPr>
            <p:txBody>
              <a:bodyPr/>
              <a:lstStyle/>
              <a:p>
                <a:endParaRPr lang="en-GB" sz="1637"/>
              </a:p>
            </p:txBody>
          </p:sp>
          <p:sp>
            <p:nvSpPr>
              <p:cNvPr id="73" name="Freeform 185"/>
              <p:cNvSpPr>
                <a:spLocks/>
              </p:cNvSpPr>
              <p:nvPr>
                <p:custDataLst>
                  <p:tags r:id="rId56"/>
                </p:custDataLst>
              </p:nvPr>
            </p:nvSpPr>
            <p:spPr bwMode="auto">
              <a:xfrm>
                <a:off x="7822197" y="4315046"/>
                <a:ext cx="1732" cy="17910"/>
              </a:xfrm>
              <a:custGeom>
                <a:avLst/>
                <a:gdLst>
                  <a:gd name="T0" fmla="*/ 0 w 1587"/>
                  <a:gd name="T1" fmla="*/ 15875 h 31"/>
                  <a:gd name="T2" fmla="*/ 0 w 1587"/>
                  <a:gd name="T3" fmla="*/ 11266 h 31"/>
                  <a:gd name="T4" fmla="*/ 0 w 1587"/>
                  <a:gd name="T5" fmla="*/ 7681 h 31"/>
                  <a:gd name="T6" fmla="*/ 0 w 1587"/>
                  <a:gd name="T7" fmla="*/ 4097 h 31"/>
                  <a:gd name="T8" fmla="*/ 0 w 1587"/>
                  <a:gd name="T9" fmla="*/ 0 h 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31">
                    <a:moveTo>
                      <a:pt x="0" y="31"/>
                    </a:moveTo>
                    <a:lnTo>
                      <a:pt x="0" y="22"/>
                    </a:lnTo>
                    <a:lnTo>
                      <a:pt x="0" y="15"/>
                    </a:lnTo>
                    <a:lnTo>
                      <a:pt x="0" y="8"/>
                    </a:lnTo>
                    <a:lnTo>
                      <a:pt x="0" y="0"/>
                    </a:lnTo>
                  </a:path>
                </a:pathLst>
              </a:custGeom>
              <a:grpFill/>
              <a:ln w="9525" cmpd="sng">
                <a:solidFill>
                  <a:srgbClr val="FFFFFF"/>
                </a:solidFill>
                <a:prstDash val="solid"/>
                <a:round/>
                <a:headEnd/>
                <a:tailEnd/>
              </a:ln>
            </p:spPr>
            <p:txBody>
              <a:bodyPr/>
              <a:lstStyle/>
              <a:p>
                <a:endParaRPr lang="en-GB" sz="1637"/>
              </a:p>
            </p:txBody>
          </p:sp>
          <p:sp>
            <p:nvSpPr>
              <p:cNvPr id="74" name="Freeform 186"/>
              <p:cNvSpPr>
                <a:spLocks/>
              </p:cNvSpPr>
              <p:nvPr>
                <p:custDataLst>
                  <p:tags r:id="rId57"/>
                </p:custDataLst>
              </p:nvPr>
            </p:nvSpPr>
            <p:spPr bwMode="auto">
              <a:xfrm>
                <a:off x="7517193" y="5430816"/>
                <a:ext cx="105711" cy="98504"/>
              </a:xfrm>
              <a:custGeom>
                <a:avLst/>
                <a:gdLst>
                  <a:gd name="T0" fmla="*/ 8177 w 225"/>
                  <a:gd name="T1" fmla="*/ 82608 h 167"/>
                  <a:gd name="T2" fmla="*/ 3013 w 225"/>
                  <a:gd name="T3" fmla="*/ 74242 h 167"/>
                  <a:gd name="T4" fmla="*/ 0 w 225"/>
                  <a:gd name="T5" fmla="*/ 67968 h 167"/>
                  <a:gd name="T6" fmla="*/ 430 w 225"/>
                  <a:gd name="T7" fmla="*/ 56466 h 167"/>
                  <a:gd name="T8" fmla="*/ 4734 w 225"/>
                  <a:gd name="T9" fmla="*/ 35553 h 167"/>
                  <a:gd name="T10" fmla="*/ 10329 w 225"/>
                  <a:gd name="T11" fmla="*/ 20390 h 167"/>
                  <a:gd name="T12" fmla="*/ 14633 w 225"/>
                  <a:gd name="T13" fmla="*/ 10979 h 167"/>
                  <a:gd name="T14" fmla="*/ 18937 w 225"/>
                  <a:gd name="T15" fmla="*/ 4705 h 167"/>
                  <a:gd name="T16" fmla="*/ 23241 w 225"/>
                  <a:gd name="T17" fmla="*/ 523 h 167"/>
                  <a:gd name="T18" fmla="*/ 27975 w 225"/>
                  <a:gd name="T19" fmla="*/ 523 h 167"/>
                  <a:gd name="T20" fmla="*/ 32709 w 225"/>
                  <a:gd name="T21" fmla="*/ 1568 h 167"/>
                  <a:gd name="T22" fmla="*/ 37874 w 225"/>
                  <a:gd name="T23" fmla="*/ 4183 h 167"/>
                  <a:gd name="T24" fmla="*/ 43039 w 225"/>
                  <a:gd name="T25" fmla="*/ 8888 h 167"/>
                  <a:gd name="T26" fmla="*/ 48203 w 225"/>
                  <a:gd name="T27" fmla="*/ 12548 h 167"/>
                  <a:gd name="T28" fmla="*/ 55089 w 225"/>
                  <a:gd name="T29" fmla="*/ 12548 h 167"/>
                  <a:gd name="T30" fmla="*/ 62406 w 225"/>
                  <a:gd name="T31" fmla="*/ 9934 h 167"/>
                  <a:gd name="T32" fmla="*/ 71014 w 225"/>
                  <a:gd name="T33" fmla="*/ 3660 h 167"/>
                  <a:gd name="T34" fmla="*/ 96837 w 225"/>
                  <a:gd name="T35" fmla="*/ 0 h 167"/>
                  <a:gd name="T36" fmla="*/ 92533 w 225"/>
                  <a:gd name="T37" fmla="*/ 11502 h 167"/>
                  <a:gd name="T38" fmla="*/ 86508 w 225"/>
                  <a:gd name="T39" fmla="*/ 21436 h 167"/>
                  <a:gd name="T40" fmla="*/ 72305 w 225"/>
                  <a:gd name="T41" fmla="*/ 37644 h 167"/>
                  <a:gd name="T42" fmla="*/ 59393 w 225"/>
                  <a:gd name="T43" fmla="*/ 52283 h 167"/>
                  <a:gd name="T44" fmla="*/ 55520 w 225"/>
                  <a:gd name="T45" fmla="*/ 59603 h 167"/>
                  <a:gd name="T46" fmla="*/ 54229 w 225"/>
                  <a:gd name="T47" fmla="*/ 67968 h 167"/>
                  <a:gd name="T48" fmla="*/ 52938 w 225"/>
                  <a:gd name="T49" fmla="*/ 65877 h 167"/>
                  <a:gd name="T50" fmla="*/ 51646 w 225"/>
                  <a:gd name="T51" fmla="*/ 61171 h 167"/>
                  <a:gd name="T52" fmla="*/ 45621 w 225"/>
                  <a:gd name="T53" fmla="*/ 63263 h 167"/>
                  <a:gd name="T54" fmla="*/ 41748 w 225"/>
                  <a:gd name="T55" fmla="*/ 66923 h 167"/>
                  <a:gd name="T56" fmla="*/ 34431 w 225"/>
                  <a:gd name="T57" fmla="*/ 75811 h 167"/>
                  <a:gd name="T58" fmla="*/ 30557 w 225"/>
                  <a:gd name="T59" fmla="*/ 79993 h 167"/>
                  <a:gd name="T60" fmla="*/ 25823 w 225"/>
                  <a:gd name="T61" fmla="*/ 83653 h 167"/>
                  <a:gd name="T62" fmla="*/ 19798 w 225"/>
                  <a:gd name="T63" fmla="*/ 86267 h 167"/>
                  <a:gd name="T64" fmla="*/ 11190 w 225"/>
                  <a:gd name="T65" fmla="*/ 87313 h 16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25" h="167">
                    <a:moveTo>
                      <a:pt x="26" y="167"/>
                    </a:moveTo>
                    <a:lnTo>
                      <a:pt x="19" y="158"/>
                    </a:lnTo>
                    <a:lnTo>
                      <a:pt x="10" y="148"/>
                    </a:lnTo>
                    <a:lnTo>
                      <a:pt x="7" y="142"/>
                    </a:lnTo>
                    <a:lnTo>
                      <a:pt x="3" y="136"/>
                    </a:lnTo>
                    <a:lnTo>
                      <a:pt x="0" y="130"/>
                    </a:lnTo>
                    <a:lnTo>
                      <a:pt x="0" y="123"/>
                    </a:lnTo>
                    <a:lnTo>
                      <a:pt x="1" y="108"/>
                    </a:lnTo>
                    <a:lnTo>
                      <a:pt x="5" y="89"/>
                    </a:lnTo>
                    <a:lnTo>
                      <a:pt x="11" y="68"/>
                    </a:lnTo>
                    <a:lnTo>
                      <a:pt x="20" y="48"/>
                    </a:lnTo>
                    <a:lnTo>
                      <a:pt x="24" y="39"/>
                    </a:lnTo>
                    <a:lnTo>
                      <a:pt x="28" y="29"/>
                    </a:lnTo>
                    <a:lnTo>
                      <a:pt x="34" y="21"/>
                    </a:lnTo>
                    <a:lnTo>
                      <a:pt x="38" y="14"/>
                    </a:lnTo>
                    <a:lnTo>
                      <a:pt x="44" y="9"/>
                    </a:lnTo>
                    <a:lnTo>
                      <a:pt x="49" y="4"/>
                    </a:lnTo>
                    <a:lnTo>
                      <a:pt x="54" y="1"/>
                    </a:lnTo>
                    <a:lnTo>
                      <a:pt x="59" y="0"/>
                    </a:lnTo>
                    <a:lnTo>
                      <a:pt x="65" y="1"/>
                    </a:lnTo>
                    <a:lnTo>
                      <a:pt x="70" y="1"/>
                    </a:lnTo>
                    <a:lnTo>
                      <a:pt x="76" y="3"/>
                    </a:lnTo>
                    <a:lnTo>
                      <a:pt x="80" y="4"/>
                    </a:lnTo>
                    <a:lnTo>
                      <a:pt x="88" y="8"/>
                    </a:lnTo>
                    <a:lnTo>
                      <a:pt x="94" y="13"/>
                    </a:lnTo>
                    <a:lnTo>
                      <a:pt x="100" y="17"/>
                    </a:lnTo>
                    <a:lnTo>
                      <a:pt x="106" y="21"/>
                    </a:lnTo>
                    <a:lnTo>
                      <a:pt x="112" y="24"/>
                    </a:lnTo>
                    <a:lnTo>
                      <a:pt x="120" y="25"/>
                    </a:lnTo>
                    <a:lnTo>
                      <a:pt x="128" y="24"/>
                    </a:lnTo>
                    <a:lnTo>
                      <a:pt x="137" y="22"/>
                    </a:lnTo>
                    <a:lnTo>
                      <a:pt x="145" y="19"/>
                    </a:lnTo>
                    <a:lnTo>
                      <a:pt x="151" y="15"/>
                    </a:lnTo>
                    <a:lnTo>
                      <a:pt x="165" y="7"/>
                    </a:lnTo>
                    <a:lnTo>
                      <a:pt x="179" y="0"/>
                    </a:lnTo>
                    <a:lnTo>
                      <a:pt x="225" y="0"/>
                    </a:lnTo>
                    <a:lnTo>
                      <a:pt x="221" y="11"/>
                    </a:lnTo>
                    <a:lnTo>
                      <a:pt x="215" y="22"/>
                    </a:lnTo>
                    <a:lnTo>
                      <a:pt x="209" y="31"/>
                    </a:lnTo>
                    <a:lnTo>
                      <a:pt x="201" y="41"/>
                    </a:lnTo>
                    <a:lnTo>
                      <a:pt x="185" y="57"/>
                    </a:lnTo>
                    <a:lnTo>
                      <a:pt x="168" y="72"/>
                    </a:lnTo>
                    <a:lnTo>
                      <a:pt x="151" y="86"/>
                    </a:lnTo>
                    <a:lnTo>
                      <a:pt x="138" y="100"/>
                    </a:lnTo>
                    <a:lnTo>
                      <a:pt x="133" y="107"/>
                    </a:lnTo>
                    <a:lnTo>
                      <a:pt x="129" y="114"/>
                    </a:lnTo>
                    <a:lnTo>
                      <a:pt x="126" y="122"/>
                    </a:lnTo>
                    <a:lnTo>
                      <a:pt x="126" y="130"/>
                    </a:lnTo>
                    <a:lnTo>
                      <a:pt x="125" y="129"/>
                    </a:lnTo>
                    <a:lnTo>
                      <a:pt x="123" y="126"/>
                    </a:lnTo>
                    <a:lnTo>
                      <a:pt x="120" y="122"/>
                    </a:lnTo>
                    <a:lnTo>
                      <a:pt x="120" y="117"/>
                    </a:lnTo>
                    <a:lnTo>
                      <a:pt x="112" y="119"/>
                    </a:lnTo>
                    <a:lnTo>
                      <a:pt x="106" y="121"/>
                    </a:lnTo>
                    <a:lnTo>
                      <a:pt x="101" y="124"/>
                    </a:lnTo>
                    <a:lnTo>
                      <a:pt x="97" y="128"/>
                    </a:lnTo>
                    <a:lnTo>
                      <a:pt x="88" y="135"/>
                    </a:lnTo>
                    <a:lnTo>
                      <a:pt x="80" y="145"/>
                    </a:lnTo>
                    <a:lnTo>
                      <a:pt x="76" y="149"/>
                    </a:lnTo>
                    <a:lnTo>
                      <a:pt x="71" y="153"/>
                    </a:lnTo>
                    <a:lnTo>
                      <a:pt x="66" y="157"/>
                    </a:lnTo>
                    <a:lnTo>
                      <a:pt x="60" y="160"/>
                    </a:lnTo>
                    <a:lnTo>
                      <a:pt x="54" y="163"/>
                    </a:lnTo>
                    <a:lnTo>
                      <a:pt x="46" y="165"/>
                    </a:lnTo>
                    <a:lnTo>
                      <a:pt x="36" y="166"/>
                    </a:lnTo>
                    <a:lnTo>
                      <a:pt x="26" y="167"/>
                    </a:lnTo>
                  </a:path>
                </a:pathLst>
              </a:custGeom>
              <a:grpFill/>
              <a:ln w="9525" cmpd="sng">
                <a:solidFill>
                  <a:srgbClr val="FFFFFF"/>
                </a:solidFill>
                <a:prstDash val="solid"/>
                <a:round/>
                <a:headEnd/>
                <a:tailEnd/>
              </a:ln>
            </p:spPr>
            <p:txBody>
              <a:bodyPr/>
              <a:lstStyle/>
              <a:p>
                <a:endParaRPr lang="en-GB" sz="1637"/>
              </a:p>
            </p:txBody>
          </p:sp>
          <p:sp>
            <p:nvSpPr>
              <p:cNvPr id="75" name="Freeform 187"/>
              <p:cNvSpPr>
                <a:spLocks/>
              </p:cNvSpPr>
              <p:nvPr>
                <p:custDataLst>
                  <p:tags r:id="rId58"/>
                </p:custDataLst>
              </p:nvPr>
            </p:nvSpPr>
            <p:spPr bwMode="auto">
              <a:xfrm>
                <a:off x="7667962" y="4549661"/>
                <a:ext cx="3466" cy="19701"/>
              </a:xfrm>
              <a:custGeom>
                <a:avLst/>
                <a:gdLst>
                  <a:gd name="T0" fmla="*/ 0 w 7"/>
                  <a:gd name="T1" fmla="*/ 17463 h 31"/>
                  <a:gd name="T2" fmla="*/ 2268 w 7"/>
                  <a:gd name="T3" fmla="*/ 12393 h 31"/>
                  <a:gd name="T4" fmla="*/ 2721 w 7"/>
                  <a:gd name="T5" fmla="*/ 7323 h 31"/>
                  <a:gd name="T6" fmla="*/ 3175 w 7"/>
                  <a:gd name="T7" fmla="*/ 3380 h 31"/>
                  <a:gd name="T8" fmla="*/ 3175 w 7"/>
                  <a:gd name="T9" fmla="*/ 0 h 31"/>
                  <a:gd name="T10" fmla="*/ 2721 w 7"/>
                  <a:gd name="T11" fmla="*/ 3380 h 31"/>
                  <a:gd name="T12" fmla="*/ 1814 w 7"/>
                  <a:gd name="T13" fmla="*/ 7323 h 31"/>
                  <a:gd name="T14" fmla="*/ 454 w 7"/>
                  <a:gd name="T15" fmla="*/ 12393 h 31"/>
                  <a:gd name="T16" fmla="*/ 0 w 7"/>
                  <a:gd name="T17" fmla="*/ 17463 h 3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7" h="31">
                    <a:moveTo>
                      <a:pt x="0" y="31"/>
                    </a:moveTo>
                    <a:lnTo>
                      <a:pt x="5" y="22"/>
                    </a:lnTo>
                    <a:lnTo>
                      <a:pt x="6" y="13"/>
                    </a:lnTo>
                    <a:lnTo>
                      <a:pt x="7" y="6"/>
                    </a:lnTo>
                    <a:lnTo>
                      <a:pt x="7" y="0"/>
                    </a:lnTo>
                    <a:lnTo>
                      <a:pt x="6" y="6"/>
                    </a:lnTo>
                    <a:lnTo>
                      <a:pt x="4" y="13"/>
                    </a:lnTo>
                    <a:lnTo>
                      <a:pt x="1" y="22"/>
                    </a:lnTo>
                    <a:lnTo>
                      <a:pt x="0" y="31"/>
                    </a:lnTo>
                  </a:path>
                </a:pathLst>
              </a:custGeom>
              <a:grpFill/>
              <a:ln w="9525" cmpd="sng">
                <a:solidFill>
                  <a:srgbClr val="FFFFFF"/>
                </a:solidFill>
                <a:prstDash val="solid"/>
                <a:round/>
                <a:headEnd/>
                <a:tailEnd/>
              </a:ln>
            </p:spPr>
            <p:txBody>
              <a:bodyPr/>
              <a:lstStyle/>
              <a:p>
                <a:endParaRPr lang="en-GB" sz="1637"/>
              </a:p>
            </p:txBody>
          </p:sp>
          <p:sp>
            <p:nvSpPr>
              <p:cNvPr id="76" name="Freeform 188"/>
              <p:cNvSpPr>
                <a:spLocks/>
              </p:cNvSpPr>
              <p:nvPr>
                <p:custDataLst>
                  <p:tags r:id="rId59"/>
                </p:custDataLst>
              </p:nvPr>
            </p:nvSpPr>
            <p:spPr bwMode="auto">
              <a:xfrm>
                <a:off x="7595176" y="4461905"/>
                <a:ext cx="17330" cy="17910"/>
              </a:xfrm>
              <a:custGeom>
                <a:avLst/>
                <a:gdLst>
                  <a:gd name="T0" fmla="*/ 15875 w 33"/>
                  <a:gd name="T1" fmla="*/ 15875 h 31"/>
                  <a:gd name="T2" fmla="*/ 15875 w 33"/>
                  <a:gd name="T3" fmla="*/ 0 h 31"/>
                  <a:gd name="T4" fmla="*/ 12989 w 33"/>
                  <a:gd name="T5" fmla="*/ 0 h 31"/>
                  <a:gd name="T6" fmla="*/ 10583 w 33"/>
                  <a:gd name="T7" fmla="*/ 1024 h 31"/>
                  <a:gd name="T8" fmla="*/ 7697 w 33"/>
                  <a:gd name="T9" fmla="*/ 2560 h 31"/>
                  <a:gd name="T10" fmla="*/ 5292 w 33"/>
                  <a:gd name="T11" fmla="*/ 4097 h 31"/>
                  <a:gd name="T12" fmla="*/ 2886 w 33"/>
                  <a:gd name="T13" fmla="*/ 6145 h 31"/>
                  <a:gd name="T14" fmla="*/ 1443 w 33"/>
                  <a:gd name="T15" fmla="*/ 8194 h 31"/>
                  <a:gd name="T16" fmla="*/ 481 w 33"/>
                  <a:gd name="T17" fmla="*/ 10754 h 31"/>
                  <a:gd name="T18" fmla="*/ 0 w 33"/>
                  <a:gd name="T19" fmla="*/ 12802 h 31"/>
                  <a:gd name="T20" fmla="*/ 481 w 33"/>
                  <a:gd name="T21" fmla="*/ 13827 h 31"/>
                  <a:gd name="T22" fmla="*/ 1443 w 33"/>
                  <a:gd name="T23" fmla="*/ 14851 h 31"/>
                  <a:gd name="T24" fmla="*/ 2886 w 33"/>
                  <a:gd name="T25" fmla="*/ 15363 h 31"/>
                  <a:gd name="T26" fmla="*/ 5292 w 33"/>
                  <a:gd name="T27" fmla="*/ 15363 h 31"/>
                  <a:gd name="T28" fmla="*/ 10583 w 33"/>
                  <a:gd name="T29" fmla="*/ 15875 h 31"/>
                  <a:gd name="T30" fmla="*/ 15875 w 33"/>
                  <a:gd name="T31" fmla="*/ 15875 h 3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3" h="31">
                    <a:moveTo>
                      <a:pt x="33" y="31"/>
                    </a:moveTo>
                    <a:lnTo>
                      <a:pt x="33" y="0"/>
                    </a:lnTo>
                    <a:lnTo>
                      <a:pt x="27" y="0"/>
                    </a:lnTo>
                    <a:lnTo>
                      <a:pt x="22" y="2"/>
                    </a:lnTo>
                    <a:lnTo>
                      <a:pt x="16" y="5"/>
                    </a:lnTo>
                    <a:lnTo>
                      <a:pt x="11" y="8"/>
                    </a:lnTo>
                    <a:lnTo>
                      <a:pt x="6" y="12"/>
                    </a:lnTo>
                    <a:lnTo>
                      <a:pt x="3" y="16"/>
                    </a:lnTo>
                    <a:lnTo>
                      <a:pt x="1" y="21"/>
                    </a:lnTo>
                    <a:lnTo>
                      <a:pt x="0" y="25"/>
                    </a:lnTo>
                    <a:lnTo>
                      <a:pt x="1" y="27"/>
                    </a:lnTo>
                    <a:lnTo>
                      <a:pt x="3" y="29"/>
                    </a:lnTo>
                    <a:lnTo>
                      <a:pt x="6" y="30"/>
                    </a:lnTo>
                    <a:lnTo>
                      <a:pt x="11" y="30"/>
                    </a:lnTo>
                    <a:lnTo>
                      <a:pt x="22" y="31"/>
                    </a:lnTo>
                    <a:lnTo>
                      <a:pt x="33" y="31"/>
                    </a:lnTo>
                  </a:path>
                </a:pathLst>
              </a:custGeom>
              <a:grpFill/>
              <a:ln w="9525" cmpd="sng">
                <a:solidFill>
                  <a:srgbClr val="FFFFFF"/>
                </a:solidFill>
                <a:prstDash val="solid"/>
                <a:round/>
                <a:headEnd/>
                <a:tailEnd/>
              </a:ln>
            </p:spPr>
            <p:txBody>
              <a:bodyPr/>
              <a:lstStyle/>
              <a:p>
                <a:endParaRPr lang="en-GB" sz="1637"/>
              </a:p>
            </p:txBody>
          </p:sp>
          <p:sp>
            <p:nvSpPr>
              <p:cNvPr id="77" name="Freeform 189"/>
              <p:cNvSpPr>
                <a:spLocks/>
              </p:cNvSpPr>
              <p:nvPr>
                <p:custDataLst>
                  <p:tags r:id="rId60"/>
                </p:custDataLst>
              </p:nvPr>
            </p:nvSpPr>
            <p:spPr bwMode="auto">
              <a:xfrm>
                <a:off x="7612506" y="4363401"/>
                <a:ext cx="3466" cy="10746"/>
              </a:xfrm>
              <a:custGeom>
                <a:avLst/>
                <a:gdLst>
                  <a:gd name="T0" fmla="*/ 0 w 13"/>
                  <a:gd name="T1" fmla="*/ 9525 h 19"/>
                  <a:gd name="T2" fmla="*/ 488 w 13"/>
                  <a:gd name="T3" fmla="*/ 9024 h 19"/>
                  <a:gd name="T4" fmla="*/ 1221 w 13"/>
                  <a:gd name="T5" fmla="*/ 8522 h 19"/>
                  <a:gd name="T6" fmla="*/ 1710 w 13"/>
                  <a:gd name="T7" fmla="*/ 7520 h 19"/>
                  <a:gd name="T8" fmla="*/ 1954 w 13"/>
                  <a:gd name="T9" fmla="*/ 6016 h 19"/>
                  <a:gd name="T10" fmla="*/ 2931 w 13"/>
                  <a:gd name="T11" fmla="*/ 3008 h 19"/>
                  <a:gd name="T12" fmla="*/ 3175 w 13"/>
                  <a:gd name="T13" fmla="*/ 0 h 19"/>
                  <a:gd name="T14" fmla="*/ 0 w 13"/>
                  <a:gd name="T15" fmla="*/ 9525 h 19"/>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3" h="19">
                    <a:moveTo>
                      <a:pt x="0" y="19"/>
                    </a:moveTo>
                    <a:lnTo>
                      <a:pt x="2" y="18"/>
                    </a:lnTo>
                    <a:lnTo>
                      <a:pt x="5" y="17"/>
                    </a:lnTo>
                    <a:lnTo>
                      <a:pt x="7" y="15"/>
                    </a:lnTo>
                    <a:lnTo>
                      <a:pt x="8" y="12"/>
                    </a:lnTo>
                    <a:lnTo>
                      <a:pt x="12" y="6"/>
                    </a:lnTo>
                    <a:lnTo>
                      <a:pt x="13" y="0"/>
                    </a:lnTo>
                    <a:lnTo>
                      <a:pt x="0" y="19"/>
                    </a:lnTo>
                  </a:path>
                </a:pathLst>
              </a:custGeom>
              <a:grpFill/>
              <a:ln w="9525" cmpd="sng">
                <a:solidFill>
                  <a:srgbClr val="FFFFFF"/>
                </a:solidFill>
                <a:prstDash val="solid"/>
                <a:round/>
                <a:headEnd/>
                <a:tailEnd/>
              </a:ln>
            </p:spPr>
            <p:txBody>
              <a:bodyPr/>
              <a:lstStyle/>
              <a:p>
                <a:endParaRPr lang="en-GB" sz="1637"/>
              </a:p>
            </p:txBody>
          </p:sp>
          <p:sp>
            <p:nvSpPr>
              <p:cNvPr id="78" name="Freeform 190"/>
              <p:cNvSpPr>
                <a:spLocks/>
              </p:cNvSpPr>
              <p:nvPr>
                <p:custDataLst>
                  <p:tags r:id="rId61"/>
                </p:custDataLst>
              </p:nvPr>
            </p:nvSpPr>
            <p:spPr bwMode="auto">
              <a:xfrm>
                <a:off x="7437476" y="4366983"/>
                <a:ext cx="39858" cy="25074"/>
              </a:xfrm>
              <a:custGeom>
                <a:avLst/>
                <a:gdLst>
                  <a:gd name="T0" fmla="*/ 22663 w 87"/>
                  <a:gd name="T1" fmla="*/ 22225 h 42"/>
                  <a:gd name="T2" fmla="*/ 24761 w 87"/>
                  <a:gd name="T3" fmla="*/ 22225 h 42"/>
                  <a:gd name="T4" fmla="*/ 26859 w 87"/>
                  <a:gd name="T5" fmla="*/ 21696 h 42"/>
                  <a:gd name="T6" fmla="*/ 28538 w 87"/>
                  <a:gd name="T7" fmla="*/ 21167 h 42"/>
                  <a:gd name="T8" fmla="*/ 29797 w 87"/>
                  <a:gd name="T9" fmla="*/ 20108 h 42"/>
                  <a:gd name="T10" fmla="*/ 31476 w 87"/>
                  <a:gd name="T11" fmla="*/ 17992 h 42"/>
                  <a:gd name="T12" fmla="*/ 32735 w 87"/>
                  <a:gd name="T13" fmla="*/ 14817 h 42"/>
                  <a:gd name="T14" fmla="*/ 33155 w 87"/>
                  <a:gd name="T15" fmla="*/ 11642 h 42"/>
                  <a:gd name="T16" fmla="*/ 33574 w 87"/>
                  <a:gd name="T17" fmla="*/ 8467 h 42"/>
                  <a:gd name="T18" fmla="*/ 34414 w 87"/>
                  <a:gd name="T19" fmla="*/ 5821 h 42"/>
                  <a:gd name="T20" fmla="*/ 36512 w 87"/>
                  <a:gd name="T21" fmla="*/ 3175 h 42"/>
                  <a:gd name="T22" fmla="*/ 32315 w 87"/>
                  <a:gd name="T23" fmla="*/ 1058 h 42"/>
                  <a:gd name="T24" fmla="*/ 28118 w 87"/>
                  <a:gd name="T25" fmla="*/ 0 h 42"/>
                  <a:gd name="T26" fmla="*/ 23922 w 87"/>
                  <a:gd name="T27" fmla="*/ 0 h 42"/>
                  <a:gd name="T28" fmla="*/ 19725 w 87"/>
                  <a:gd name="T29" fmla="*/ 0 h 42"/>
                  <a:gd name="T30" fmla="*/ 16787 w 87"/>
                  <a:gd name="T31" fmla="*/ 0 h 42"/>
                  <a:gd name="T32" fmla="*/ 13430 w 87"/>
                  <a:gd name="T33" fmla="*/ 1058 h 42"/>
                  <a:gd name="T34" fmla="*/ 10492 w 87"/>
                  <a:gd name="T35" fmla="*/ 2117 h 42"/>
                  <a:gd name="T36" fmla="*/ 7974 w 87"/>
                  <a:gd name="T37" fmla="*/ 3175 h 42"/>
                  <a:gd name="T38" fmla="*/ 3357 w 87"/>
                  <a:gd name="T39" fmla="*/ 6350 h 42"/>
                  <a:gd name="T40" fmla="*/ 0 w 87"/>
                  <a:gd name="T41" fmla="*/ 9525 h 42"/>
                  <a:gd name="T42" fmla="*/ 4616 w 87"/>
                  <a:gd name="T43" fmla="*/ 12700 h 42"/>
                  <a:gd name="T44" fmla="*/ 11331 w 87"/>
                  <a:gd name="T45" fmla="*/ 16933 h 42"/>
                  <a:gd name="T46" fmla="*/ 18046 w 87"/>
                  <a:gd name="T47" fmla="*/ 20638 h 42"/>
                  <a:gd name="T48" fmla="*/ 22663 w 87"/>
                  <a:gd name="T49" fmla="*/ 22225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87" h="42">
                    <a:moveTo>
                      <a:pt x="54" y="42"/>
                    </a:moveTo>
                    <a:lnTo>
                      <a:pt x="59" y="42"/>
                    </a:lnTo>
                    <a:lnTo>
                      <a:pt x="64" y="41"/>
                    </a:lnTo>
                    <a:lnTo>
                      <a:pt x="68" y="40"/>
                    </a:lnTo>
                    <a:lnTo>
                      <a:pt x="71" y="38"/>
                    </a:lnTo>
                    <a:lnTo>
                      <a:pt x="75" y="34"/>
                    </a:lnTo>
                    <a:lnTo>
                      <a:pt x="78" y="28"/>
                    </a:lnTo>
                    <a:lnTo>
                      <a:pt x="79" y="22"/>
                    </a:lnTo>
                    <a:lnTo>
                      <a:pt x="80" y="16"/>
                    </a:lnTo>
                    <a:lnTo>
                      <a:pt x="82" y="11"/>
                    </a:lnTo>
                    <a:lnTo>
                      <a:pt x="87" y="6"/>
                    </a:lnTo>
                    <a:lnTo>
                      <a:pt x="77" y="2"/>
                    </a:lnTo>
                    <a:lnTo>
                      <a:pt x="67" y="0"/>
                    </a:lnTo>
                    <a:lnTo>
                      <a:pt x="57" y="0"/>
                    </a:lnTo>
                    <a:lnTo>
                      <a:pt x="47" y="0"/>
                    </a:lnTo>
                    <a:lnTo>
                      <a:pt x="40" y="0"/>
                    </a:lnTo>
                    <a:lnTo>
                      <a:pt x="32" y="2"/>
                    </a:lnTo>
                    <a:lnTo>
                      <a:pt x="25" y="4"/>
                    </a:lnTo>
                    <a:lnTo>
                      <a:pt x="19" y="6"/>
                    </a:lnTo>
                    <a:lnTo>
                      <a:pt x="8" y="12"/>
                    </a:lnTo>
                    <a:lnTo>
                      <a:pt x="0" y="18"/>
                    </a:lnTo>
                    <a:lnTo>
                      <a:pt x="11" y="24"/>
                    </a:lnTo>
                    <a:lnTo>
                      <a:pt x="27" y="32"/>
                    </a:lnTo>
                    <a:lnTo>
                      <a:pt x="43" y="39"/>
                    </a:lnTo>
                    <a:lnTo>
                      <a:pt x="54" y="42"/>
                    </a:lnTo>
                  </a:path>
                </a:pathLst>
              </a:custGeom>
              <a:grpFill/>
              <a:ln w="9525" cmpd="sng">
                <a:solidFill>
                  <a:srgbClr val="FFFFFF"/>
                </a:solidFill>
                <a:prstDash val="solid"/>
                <a:round/>
                <a:headEnd/>
                <a:tailEnd/>
              </a:ln>
            </p:spPr>
            <p:txBody>
              <a:bodyPr/>
              <a:lstStyle/>
              <a:p>
                <a:endParaRPr lang="en-GB" sz="1637"/>
              </a:p>
            </p:txBody>
          </p:sp>
          <p:sp>
            <p:nvSpPr>
              <p:cNvPr id="79" name="Freeform 191"/>
              <p:cNvSpPr>
                <a:spLocks/>
              </p:cNvSpPr>
              <p:nvPr>
                <p:custDataLst>
                  <p:tags r:id="rId62"/>
                </p:custDataLst>
              </p:nvPr>
            </p:nvSpPr>
            <p:spPr bwMode="auto">
              <a:xfrm>
                <a:off x="7704355" y="4889945"/>
                <a:ext cx="1732" cy="16119"/>
              </a:xfrm>
              <a:custGeom>
                <a:avLst/>
                <a:gdLst>
                  <a:gd name="T0" fmla="*/ 0 w 7"/>
                  <a:gd name="T1" fmla="*/ 0 h 31"/>
                  <a:gd name="T2" fmla="*/ 1587 w 7"/>
                  <a:gd name="T3" fmla="*/ 0 h 31"/>
                  <a:gd name="T4" fmla="*/ 1587 w 7"/>
                  <a:gd name="T5" fmla="*/ 8296 h 31"/>
                  <a:gd name="T6" fmla="*/ 0 w 7"/>
                  <a:gd name="T7" fmla="*/ 14288 h 31"/>
                  <a:gd name="T8" fmla="*/ 0 w 7"/>
                  <a:gd name="T9" fmla="*/ 0 h 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 h="31">
                    <a:moveTo>
                      <a:pt x="0" y="0"/>
                    </a:moveTo>
                    <a:lnTo>
                      <a:pt x="7" y="0"/>
                    </a:lnTo>
                    <a:lnTo>
                      <a:pt x="7" y="18"/>
                    </a:lnTo>
                    <a:lnTo>
                      <a:pt x="0" y="31"/>
                    </a:lnTo>
                    <a:lnTo>
                      <a:pt x="0" y="0"/>
                    </a:lnTo>
                  </a:path>
                </a:pathLst>
              </a:custGeom>
              <a:grpFill/>
              <a:ln w="9525" cmpd="sng">
                <a:solidFill>
                  <a:srgbClr val="FFFFFF"/>
                </a:solidFill>
                <a:prstDash val="solid"/>
                <a:round/>
                <a:headEnd/>
                <a:tailEnd/>
              </a:ln>
            </p:spPr>
            <p:txBody>
              <a:bodyPr/>
              <a:lstStyle/>
              <a:p>
                <a:endParaRPr lang="en-GB" sz="1637"/>
              </a:p>
            </p:txBody>
          </p:sp>
          <p:sp>
            <p:nvSpPr>
              <p:cNvPr id="80" name="Freeform 192"/>
              <p:cNvSpPr>
                <a:spLocks/>
              </p:cNvSpPr>
              <p:nvPr>
                <p:custDataLst>
                  <p:tags r:id="rId63"/>
                </p:custDataLst>
              </p:nvPr>
            </p:nvSpPr>
            <p:spPr bwMode="auto">
              <a:xfrm>
                <a:off x="6870791" y="4332955"/>
                <a:ext cx="1112572" cy="1024432"/>
              </a:xfrm>
              <a:custGeom>
                <a:avLst/>
                <a:gdLst>
                  <a:gd name="T0" fmla="*/ 93526 w 2332"/>
                  <a:gd name="T1" fmla="*/ 370879 h 1731"/>
                  <a:gd name="T2" fmla="*/ 142038 w 2332"/>
                  <a:gd name="T3" fmla="*/ 340453 h 1731"/>
                  <a:gd name="T4" fmla="*/ 190112 w 2332"/>
                  <a:gd name="T5" fmla="*/ 317896 h 1731"/>
                  <a:gd name="T6" fmla="*/ 264409 w 2332"/>
                  <a:gd name="T7" fmla="*/ 299011 h 1731"/>
                  <a:gd name="T8" fmla="*/ 295875 w 2332"/>
                  <a:gd name="T9" fmla="*/ 229242 h 1731"/>
                  <a:gd name="T10" fmla="*/ 331276 w 2332"/>
                  <a:gd name="T11" fmla="*/ 230291 h 1731"/>
                  <a:gd name="T12" fmla="*/ 342639 w 2332"/>
                  <a:gd name="T13" fmla="*/ 190423 h 1731"/>
                  <a:gd name="T14" fmla="*/ 378476 w 2332"/>
                  <a:gd name="T15" fmla="*/ 165768 h 1731"/>
                  <a:gd name="T16" fmla="*/ 410380 w 2332"/>
                  <a:gd name="T17" fmla="*/ 129047 h 1731"/>
                  <a:gd name="T18" fmla="*/ 448839 w 2332"/>
                  <a:gd name="T19" fmla="*/ 116982 h 1731"/>
                  <a:gd name="T20" fmla="*/ 471128 w 2332"/>
                  <a:gd name="T21" fmla="*/ 148981 h 1731"/>
                  <a:gd name="T22" fmla="*/ 496039 w 2332"/>
                  <a:gd name="T23" fmla="*/ 141637 h 1731"/>
                  <a:gd name="T24" fmla="*/ 513958 w 2332"/>
                  <a:gd name="T25" fmla="*/ 90228 h 1731"/>
                  <a:gd name="T26" fmla="*/ 576892 w 2332"/>
                  <a:gd name="T27" fmla="*/ 61376 h 1731"/>
                  <a:gd name="T28" fmla="*/ 583884 w 2332"/>
                  <a:gd name="T29" fmla="*/ 21508 h 1731"/>
                  <a:gd name="T30" fmla="*/ 625840 w 2332"/>
                  <a:gd name="T31" fmla="*/ 56130 h 1731"/>
                  <a:gd name="T32" fmla="*/ 674788 w 2332"/>
                  <a:gd name="T33" fmla="*/ 61376 h 1731"/>
                  <a:gd name="T34" fmla="*/ 640262 w 2332"/>
                  <a:gd name="T35" fmla="*/ 137440 h 1731"/>
                  <a:gd name="T36" fmla="*/ 659492 w 2332"/>
                  <a:gd name="T37" fmla="*/ 174686 h 1731"/>
                  <a:gd name="T38" fmla="*/ 691396 w 2332"/>
                  <a:gd name="T39" fmla="*/ 185702 h 1731"/>
                  <a:gd name="T40" fmla="*/ 728981 w 2332"/>
                  <a:gd name="T41" fmla="*/ 221898 h 1731"/>
                  <a:gd name="T42" fmla="*/ 770937 w 2332"/>
                  <a:gd name="T43" fmla="*/ 216652 h 1731"/>
                  <a:gd name="T44" fmla="*/ 799781 w 2332"/>
                  <a:gd name="T45" fmla="*/ 107539 h 1731"/>
                  <a:gd name="T46" fmla="*/ 832122 w 2332"/>
                  <a:gd name="T47" fmla="*/ 5246 h 1731"/>
                  <a:gd name="T48" fmla="*/ 844796 w 2332"/>
                  <a:gd name="T49" fmla="*/ 41966 h 1731"/>
                  <a:gd name="T50" fmla="*/ 849604 w 2332"/>
                  <a:gd name="T51" fmla="*/ 92326 h 1731"/>
                  <a:gd name="T52" fmla="*/ 867959 w 2332"/>
                  <a:gd name="T53" fmla="*/ 125899 h 1731"/>
                  <a:gd name="T54" fmla="*/ 891560 w 2332"/>
                  <a:gd name="T55" fmla="*/ 225045 h 1731"/>
                  <a:gd name="T56" fmla="*/ 912975 w 2332"/>
                  <a:gd name="T57" fmla="*/ 283274 h 1731"/>
                  <a:gd name="T58" fmla="*/ 945315 w 2332"/>
                  <a:gd name="T59" fmla="*/ 359863 h 1731"/>
                  <a:gd name="T60" fmla="*/ 969790 w 2332"/>
                  <a:gd name="T61" fmla="*/ 403403 h 1731"/>
                  <a:gd name="T62" fmla="*/ 1019175 w 2332"/>
                  <a:gd name="T63" fmla="*/ 467926 h 1731"/>
                  <a:gd name="T64" fmla="*/ 994701 w 2332"/>
                  <a:gd name="T65" fmla="*/ 579662 h 1731"/>
                  <a:gd name="T66" fmla="*/ 912100 w 2332"/>
                  <a:gd name="T67" fmla="*/ 714480 h 1731"/>
                  <a:gd name="T68" fmla="*/ 876263 w 2332"/>
                  <a:gd name="T69" fmla="*/ 751200 h 1731"/>
                  <a:gd name="T70" fmla="*/ 803278 w 2332"/>
                  <a:gd name="T71" fmla="*/ 834609 h 1731"/>
                  <a:gd name="T72" fmla="*/ 764381 w 2332"/>
                  <a:gd name="T73" fmla="*/ 879198 h 1731"/>
                  <a:gd name="T74" fmla="*/ 694455 w 2332"/>
                  <a:gd name="T75" fmla="*/ 905427 h 1731"/>
                  <a:gd name="T76" fmla="*/ 662988 w 2332"/>
                  <a:gd name="T77" fmla="*/ 888116 h 1731"/>
                  <a:gd name="T78" fmla="*/ 616225 w 2332"/>
                  <a:gd name="T79" fmla="*/ 907001 h 1731"/>
                  <a:gd name="T80" fmla="*/ 566840 w 2332"/>
                  <a:gd name="T81" fmla="*/ 888116 h 1731"/>
                  <a:gd name="T82" fmla="*/ 558973 w 2332"/>
                  <a:gd name="T83" fmla="*/ 846674 h 1731"/>
                  <a:gd name="T84" fmla="*/ 551980 w 2332"/>
                  <a:gd name="T85" fmla="*/ 795265 h 1731"/>
                  <a:gd name="T86" fmla="*/ 535373 w 2332"/>
                  <a:gd name="T87" fmla="*/ 786872 h 1731"/>
                  <a:gd name="T88" fmla="*/ 559410 w 2332"/>
                  <a:gd name="T89" fmla="*/ 724971 h 1731"/>
                  <a:gd name="T90" fmla="*/ 475498 w 2332"/>
                  <a:gd name="T91" fmla="*/ 714480 h 1731"/>
                  <a:gd name="T92" fmla="*/ 419995 w 2332"/>
                  <a:gd name="T93" fmla="*/ 672513 h 1731"/>
                  <a:gd name="T94" fmla="*/ 329527 w 2332"/>
                  <a:gd name="T95" fmla="*/ 694021 h 1731"/>
                  <a:gd name="T96" fmla="*/ 221579 w 2332"/>
                  <a:gd name="T97" fmla="*/ 744381 h 1731"/>
                  <a:gd name="T98" fmla="*/ 93526 w 2332"/>
                  <a:gd name="T99" fmla="*/ 772708 h 1731"/>
                  <a:gd name="T100" fmla="*/ 24037 w 2332"/>
                  <a:gd name="T101" fmla="*/ 781626 h 1731"/>
                  <a:gd name="T102" fmla="*/ 874 w 2332"/>
                  <a:gd name="T103" fmla="*/ 746479 h 1731"/>
                  <a:gd name="T104" fmla="*/ 42393 w 2332"/>
                  <a:gd name="T105" fmla="*/ 705037 h 1731"/>
                  <a:gd name="T106" fmla="*/ 32778 w 2332"/>
                  <a:gd name="T107" fmla="*/ 651005 h 1731"/>
                  <a:gd name="T108" fmla="*/ 49385 w 2332"/>
                  <a:gd name="T109" fmla="*/ 613760 h 1731"/>
                  <a:gd name="T110" fmla="*/ 25348 w 2332"/>
                  <a:gd name="T111" fmla="*/ 494680 h 1731"/>
                  <a:gd name="T112" fmla="*/ 49385 w 2332"/>
                  <a:gd name="T113" fmla="*/ 505696 h 1731"/>
                  <a:gd name="T114" fmla="*/ 46326 w 2332"/>
                  <a:gd name="T115" fmla="*/ 452189 h 1731"/>
                  <a:gd name="T116" fmla="*/ 64245 w 2332"/>
                  <a:gd name="T117" fmla="*/ 401305 h 173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332" h="1731">
                    <a:moveTo>
                      <a:pt x="153" y="721"/>
                    </a:moveTo>
                    <a:lnTo>
                      <a:pt x="156" y="727"/>
                    </a:lnTo>
                    <a:lnTo>
                      <a:pt x="159" y="732"/>
                    </a:lnTo>
                    <a:lnTo>
                      <a:pt x="162" y="735"/>
                    </a:lnTo>
                    <a:lnTo>
                      <a:pt x="167" y="738"/>
                    </a:lnTo>
                    <a:lnTo>
                      <a:pt x="173" y="744"/>
                    </a:lnTo>
                    <a:lnTo>
                      <a:pt x="180" y="751"/>
                    </a:lnTo>
                    <a:lnTo>
                      <a:pt x="189" y="744"/>
                    </a:lnTo>
                    <a:lnTo>
                      <a:pt x="195" y="737"/>
                    </a:lnTo>
                    <a:lnTo>
                      <a:pt x="201" y="729"/>
                    </a:lnTo>
                    <a:lnTo>
                      <a:pt x="205" y="722"/>
                    </a:lnTo>
                    <a:lnTo>
                      <a:pt x="210" y="714"/>
                    </a:lnTo>
                    <a:lnTo>
                      <a:pt x="214" y="707"/>
                    </a:lnTo>
                    <a:lnTo>
                      <a:pt x="219" y="701"/>
                    </a:lnTo>
                    <a:lnTo>
                      <a:pt x="226" y="696"/>
                    </a:lnTo>
                    <a:lnTo>
                      <a:pt x="234" y="690"/>
                    </a:lnTo>
                    <a:lnTo>
                      <a:pt x="241" y="685"/>
                    </a:lnTo>
                    <a:lnTo>
                      <a:pt x="249" y="680"/>
                    </a:lnTo>
                    <a:lnTo>
                      <a:pt x="258" y="677"/>
                    </a:lnTo>
                    <a:lnTo>
                      <a:pt x="274" y="672"/>
                    </a:lnTo>
                    <a:lnTo>
                      <a:pt x="290" y="667"/>
                    </a:lnTo>
                    <a:lnTo>
                      <a:pt x="297" y="665"/>
                    </a:lnTo>
                    <a:lnTo>
                      <a:pt x="305" y="661"/>
                    </a:lnTo>
                    <a:lnTo>
                      <a:pt x="312" y="658"/>
                    </a:lnTo>
                    <a:lnTo>
                      <a:pt x="318" y="654"/>
                    </a:lnTo>
                    <a:lnTo>
                      <a:pt x="325" y="649"/>
                    </a:lnTo>
                    <a:lnTo>
                      <a:pt x="330" y="644"/>
                    </a:lnTo>
                    <a:lnTo>
                      <a:pt x="335" y="637"/>
                    </a:lnTo>
                    <a:lnTo>
                      <a:pt x="339" y="628"/>
                    </a:lnTo>
                    <a:lnTo>
                      <a:pt x="360" y="631"/>
                    </a:lnTo>
                    <a:lnTo>
                      <a:pt x="370" y="631"/>
                    </a:lnTo>
                    <a:lnTo>
                      <a:pt x="375" y="629"/>
                    </a:lnTo>
                    <a:lnTo>
                      <a:pt x="385" y="628"/>
                    </a:lnTo>
                    <a:lnTo>
                      <a:pt x="393" y="628"/>
                    </a:lnTo>
                    <a:lnTo>
                      <a:pt x="400" y="627"/>
                    </a:lnTo>
                    <a:lnTo>
                      <a:pt x="405" y="624"/>
                    </a:lnTo>
                    <a:lnTo>
                      <a:pt x="412" y="622"/>
                    </a:lnTo>
                    <a:lnTo>
                      <a:pt x="423" y="615"/>
                    </a:lnTo>
                    <a:lnTo>
                      <a:pt x="435" y="606"/>
                    </a:lnTo>
                    <a:lnTo>
                      <a:pt x="447" y="598"/>
                    </a:lnTo>
                    <a:lnTo>
                      <a:pt x="461" y="592"/>
                    </a:lnTo>
                    <a:lnTo>
                      <a:pt x="469" y="589"/>
                    </a:lnTo>
                    <a:lnTo>
                      <a:pt x="478" y="587"/>
                    </a:lnTo>
                    <a:lnTo>
                      <a:pt x="487" y="585"/>
                    </a:lnTo>
                    <a:lnTo>
                      <a:pt x="498" y="585"/>
                    </a:lnTo>
                    <a:lnTo>
                      <a:pt x="520" y="585"/>
                    </a:lnTo>
                    <a:lnTo>
                      <a:pt x="544" y="584"/>
                    </a:lnTo>
                    <a:lnTo>
                      <a:pt x="558" y="584"/>
                    </a:lnTo>
                    <a:lnTo>
                      <a:pt x="570" y="582"/>
                    </a:lnTo>
                    <a:lnTo>
                      <a:pt x="581" y="581"/>
                    </a:lnTo>
                    <a:lnTo>
                      <a:pt x="592" y="579"/>
                    </a:lnTo>
                    <a:lnTo>
                      <a:pt x="605" y="570"/>
                    </a:lnTo>
                    <a:lnTo>
                      <a:pt x="619" y="558"/>
                    </a:lnTo>
                    <a:lnTo>
                      <a:pt x="635" y="542"/>
                    </a:lnTo>
                    <a:lnTo>
                      <a:pt x="650" y="525"/>
                    </a:lnTo>
                    <a:lnTo>
                      <a:pt x="664" y="508"/>
                    </a:lnTo>
                    <a:lnTo>
                      <a:pt x="677" y="490"/>
                    </a:lnTo>
                    <a:lnTo>
                      <a:pt x="688" y="475"/>
                    </a:lnTo>
                    <a:lnTo>
                      <a:pt x="698" y="462"/>
                    </a:lnTo>
                    <a:lnTo>
                      <a:pt x="695" y="461"/>
                    </a:lnTo>
                    <a:lnTo>
                      <a:pt x="693" y="459"/>
                    </a:lnTo>
                    <a:lnTo>
                      <a:pt x="691" y="456"/>
                    </a:lnTo>
                    <a:lnTo>
                      <a:pt x="688" y="452"/>
                    </a:lnTo>
                    <a:lnTo>
                      <a:pt x="683" y="444"/>
                    </a:lnTo>
                    <a:lnTo>
                      <a:pt x="677" y="437"/>
                    </a:lnTo>
                    <a:lnTo>
                      <a:pt x="688" y="432"/>
                    </a:lnTo>
                    <a:lnTo>
                      <a:pt x="697" y="426"/>
                    </a:lnTo>
                    <a:lnTo>
                      <a:pt x="705" y="419"/>
                    </a:lnTo>
                    <a:lnTo>
                      <a:pt x="710" y="413"/>
                    </a:lnTo>
                    <a:lnTo>
                      <a:pt x="716" y="406"/>
                    </a:lnTo>
                    <a:lnTo>
                      <a:pt x="721" y="399"/>
                    </a:lnTo>
                    <a:lnTo>
                      <a:pt x="729" y="393"/>
                    </a:lnTo>
                    <a:lnTo>
                      <a:pt x="738" y="388"/>
                    </a:lnTo>
                    <a:lnTo>
                      <a:pt x="739" y="399"/>
                    </a:lnTo>
                    <a:lnTo>
                      <a:pt x="741" y="409"/>
                    </a:lnTo>
                    <a:lnTo>
                      <a:pt x="744" y="418"/>
                    </a:lnTo>
                    <a:lnTo>
                      <a:pt x="749" y="425"/>
                    </a:lnTo>
                    <a:lnTo>
                      <a:pt x="758" y="439"/>
                    </a:lnTo>
                    <a:lnTo>
                      <a:pt x="764" y="450"/>
                    </a:lnTo>
                    <a:lnTo>
                      <a:pt x="768" y="437"/>
                    </a:lnTo>
                    <a:lnTo>
                      <a:pt x="770" y="428"/>
                    </a:lnTo>
                    <a:lnTo>
                      <a:pt x="771" y="418"/>
                    </a:lnTo>
                    <a:lnTo>
                      <a:pt x="771" y="406"/>
                    </a:lnTo>
                    <a:lnTo>
                      <a:pt x="775" y="402"/>
                    </a:lnTo>
                    <a:lnTo>
                      <a:pt x="776" y="397"/>
                    </a:lnTo>
                    <a:lnTo>
                      <a:pt x="777" y="391"/>
                    </a:lnTo>
                    <a:lnTo>
                      <a:pt x="777" y="385"/>
                    </a:lnTo>
                    <a:lnTo>
                      <a:pt x="777" y="379"/>
                    </a:lnTo>
                    <a:lnTo>
                      <a:pt x="778" y="373"/>
                    </a:lnTo>
                    <a:lnTo>
                      <a:pt x="781" y="368"/>
                    </a:lnTo>
                    <a:lnTo>
                      <a:pt x="784" y="363"/>
                    </a:lnTo>
                    <a:lnTo>
                      <a:pt x="787" y="370"/>
                    </a:lnTo>
                    <a:lnTo>
                      <a:pt x="790" y="381"/>
                    </a:lnTo>
                    <a:lnTo>
                      <a:pt x="838" y="381"/>
                    </a:lnTo>
                    <a:lnTo>
                      <a:pt x="833" y="369"/>
                    </a:lnTo>
                    <a:lnTo>
                      <a:pt x="832" y="358"/>
                    </a:lnTo>
                    <a:lnTo>
                      <a:pt x="831" y="349"/>
                    </a:lnTo>
                    <a:lnTo>
                      <a:pt x="832" y="341"/>
                    </a:lnTo>
                    <a:lnTo>
                      <a:pt x="835" y="327"/>
                    </a:lnTo>
                    <a:lnTo>
                      <a:pt x="838" y="314"/>
                    </a:lnTo>
                    <a:lnTo>
                      <a:pt x="852" y="315"/>
                    </a:lnTo>
                    <a:lnTo>
                      <a:pt x="860" y="316"/>
                    </a:lnTo>
                    <a:lnTo>
                      <a:pt x="863" y="316"/>
                    </a:lnTo>
                    <a:lnTo>
                      <a:pt x="866" y="316"/>
                    </a:lnTo>
                    <a:lnTo>
                      <a:pt x="871" y="315"/>
                    </a:lnTo>
                    <a:lnTo>
                      <a:pt x="877" y="314"/>
                    </a:lnTo>
                    <a:lnTo>
                      <a:pt x="885" y="295"/>
                    </a:lnTo>
                    <a:lnTo>
                      <a:pt x="891" y="281"/>
                    </a:lnTo>
                    <a:lnTo>
                      <a:pt x="898" y="268"/>
                    </a:lnTo>
                    <a:lnTo>
                      <a:pt x="910" y="252"/>
                    </a:lnTo>
                    <a:lnTo>
                      <a:pt x="916" y="255"/>
                    </a:lnTo>
                    <a:lnTo>
                      <a:pt x="921" y="256"/>
                    </a:lnTo>
                    <a:lnTo>
                      <a:pt x="925" y="256"/>
                    </a:lnTo>
                    <a:lnTo>
                      <a:pt x="930" y="255"/>
                    </a:lnTo>
                    <a:lnTo>
                      <a:pt x="933" y="253"/>
                    </a:lnTo>
                    <a:lnTo>
                      <a:pt x="935" y="250"/>
                    </a:lnTo>
                    <a:lnTo>
                      <a:pt x="939" y="246"/>
                    </a:lnTo>
                    <a:lnTo>
                      <a:pt x="940" y="242"/>
                    </a:lnTo>
                    <a:lnTo>
                      <a:pt x="946" y="224"/>
                    </a:lnTo>
                    <a:lnTo>
                      <a:pt x="951" y="209"/>
                    </a:lnTo>
                    <a:lnTo>
                      <a:pt x="957" y="212"/>
                    </a:lnTo>
                    <a:lnTo>
                      <a:pt x="965" y="214"/>
                    </a:lnTo>
                    <a:lnTo>
                      <a:pt x="973" y="215"/>
                    </a:lnTo>
                    <a:lnTo>
                      <a:pt x="980" y="214"/>
                    </a:lnTo>
                    <a:lnTo>
                      <a:pt x="989" y="214"/>
                    </a:lnTo>
                    <a:lnTo>
                      <a:pt x="998" y="213"/>
                    </a:lnTo>
                    <a:lnTo>
                      <a:pt x="1007" y="213"/>
                    </a:lnTo>
                    <a:lnTo>
                      <a:pt x="1017" y="215"/>
                    </a:lnTo>
                    <a:lnTo>
                      <a:pt x="1022" y="219"/>
                    </a:lnTo>
                    <a:lnTo>
                      <a:pt x="1027" y="223"/>
                    </a:lnTo>
                    <a:lnTo>
                      <a:pt x="1031" y="227"/>
                    </a:lnTo>
                    <a:lnTo>
                      <a:pt x="1033" y="232"/>
                    </a:lnTo>
                    <a:lnTo>
                      <a:pt x="1037" y="244"/>
                    </a:lnTo>
                    <a:lnTo>
                      <a:pt x="1040" y="257"/>
                    </a:lnTo>
                    <a:lnTo>
                      <a:pt x="1043" y="269"/>
                    </a:lnTo>
                    <a:lnTo>
                      <a:pt x="1046" y="280"/>
                    </a:lnTo>
                    <a:lnTo>
                      <a:pt x="1050" y="284"/>
                    </a:lnTo>
                    <a:lnTo>
                      <a:pt x="1053" y="287"/>
                    </a:lnTo>
                    <a:lnTo>
                      <a:pt x="1057" y="289"/>
                    </a:lnTo>
                    <a:lnTo>
                      <a:pt x="1063" y="290"/>
                    </a:lnTo>
                    <a:lnTo>
                      <a:pt x="1069" y="289"/>
                    </a:lnTo>
                    <a:lnTo>
                      <a:pt x="1076" y="286"/>
                    </a:lnTo>
                    <a:lnTo>
                      <a:pt x="1078" y="284"/>
                    </a:lnTo>
                    <a:lnTo>
                      <a:pt x="1081" y="282"/>
                    </a:lnTo>
                    <a:lnTo>
                      <a:pt x="1083" y="280"/>
                    </a:lnTo>
                    <a:lnTo>
                      <a:pt x="1084" y="277"/>
                    </a:lnTo>
                    <a:lnTo>
                      <a:pt x="1088" y="279"/>
                    </a:lnTo>
                    <a:lnTo>
                      <a:pt x="1092" y="280"/>
                    </a:lnTo>
                    <a:lnTo>
                      <a:pt x="1096" y="280"/>
                    </a:lnTo>
                    <a:lnTo>
                      <a:pt x="1099" y="280"/>
                    </a:lnTo>
                    <a:lnTo>
                      <a:pt x="1104" y="278"/>
                    </a:lnTo>
                    <a:lnTo>
                      <a:pt x="1110" y="277"/>
                    </a:lnTo>
                    <a:lnTo>
                      <a:pt x="1120" y="277"/>
                    </a:lnTo>
                    <a:lnTo>
                      <a:pt x="1128" y="276"/>
                    </a:lnTo>
                    <a:lnTo>
                      <a:pt x="1133" y="274"/>
                    </a:lnTo>
                    <a:lnTo>
                      <a:pt x="1135" y="270"/>
                    </a:lnTo>
                    <a:lnTo>
                      <a:pt x="1136" y="261"/>
                    </a:lnTo>
                    <a:lnTo>
                      <a:pt x="1136" y="246"/>
                    </a:lnTo>
                    <a:lnTo>
                      <a:pt x="1136" y="240"/>
                    </a:lnTo>
                    <a:lnTo>
                      <a:pt x="1137" y="234"/>
                    </a:lnTo>
                    <a:lnTo>
                      <a:pt x="1140" y="228"/>
                    </a:lnTo>
                    <a:lnTo>
                      <a:pt x="1143" y="223"/>
                    </a:lnTo>
                    <a:lnTo>
                      <a:pt x="1148" y="212"/>
                    </a:lnTo>
                    <a:lnTo>
                      <a:pt x="1156" y="204"/>
                    </a:lnTo>
                    <a:lnTo>
                      <a:pt x="1164" y="195"/>
                    </a:lnTo>
                    <a:lnTo>
                      <a:pt x="1170" y="186"/>
                    </a:lnTo>
                    <a:lnTo>
                      <a:pt x="1173" y="182"/>
                    </a:lnTo>
                    <a:lnTo>
                      <a:pt x="1175" y="177"/>
                    </a:lnTo>
                    <a:lnTo>
                      <a:pt x="1176" y="172"/>
                    </a:lnTo>
                    <a:lnTo>
                      <a:pt x="1176" y="167"/>
                    </a:lnTo>
                    <a:lnTo>
                      <a:pt x="1189" y="154"/>
                    </a:lnTo>
                    <a:lnTo>
                      <a:pt x="1201" y="146"/>
                    </a:lnTo>
                    <a:lnTo>
                      <a:pt x="1213" y="139"/>
                    </a:lnTo>
                    <a:lnTo>
                      <a:pt x="1225" y="134"/>
                    </a:lnTo>
                    <a:lnTo>
                      <a:pt x="1237" y="131"/>
                    </a:lnTo>
                    <a:lnTo>
                      <a:pt x="1248" y="128"/>
                    </a:lnTo>
                    <a:lnTo>
                      <a:pt x="1259" y="127"/>
                    </a:lnTo>
                    <a:lnTo>
                      <a:pt x="1270" y="126"/>
                    </a:lnTo>
                    <a:lnTo>
                      <a:pt x="1289" y="125"/>
                    </a:lnTo>
                    <a:lnTo>
                      <a:pt x="1305" y="123"/>
                    </a:lnTo>
                    <a:lnTo>
                      <a:pt x="1313" y="121"/>
                    </a:lnTo>
                    <a:lnTo>
                      <a:pt x="1320" y="117"/>
                    </a:lnTo>
                    <a:lnTo>
                      <a:pt x="1324" y="112"/>
                    </a:lnTo>
                    <a:lnTo>
                      <a:pt x="1328" y="104"/>
                    </a:lnTo>
                    <a:lnTo>
                      <a:pt x="1322" y="94"/>
                    </a:lnTo>
                    <a:lnTo>
                      <a:pt x="1314" y="86"/>
                    </a:lnTo>
                    <a:lnTo>
                      <a:pt x="1308" y="80"/>
                    </a:lnTo>
                    <a:lnTo>
                      <a:pt x="1301" y="75"/>
                    </a:lnTo>
                    <a:lnTo>
                      <a:pt x="1297" y="69"/>
                    </a:lnTo>
                    <a:lnTo>
                      <a:pt x="1292" y="64"/>
                    </a:lnTo>
                    <a:lnTo>
                      <a:pt x="1290" y="58"/>
                    </a:lnTo>
                    <a:lnTo>
                      <a:pt x="1289" y="49"/>
                    </a:lnTo>
                    <a:lnTo>
                      <a:pt x="1305" y="48"/>
                    </a:lnTo>
                    <a:lnTo>
                      <a:pt x="1322" y="45"/>
                    </a:lnTo>
                    <a:lnTo>
                      <a:pt x="1336" y="41"/>
                    </a:lnTo>
                    <a:lnTo>
                      <a:pt x="1349" y="36"/>
                    </a:lnTo>
                    <a:lnTo>
                      <a:pt x="1352" y="46"/>
                    </a:lnTo>
                    <a:lnTo>
                      <a:pt x="1356" y="56"/>
                    </a:lnTo>
                    <a:lnTo>
                      <a:pt x="1360" y="64"/>
                    </a:lnTo>
                    <a:lnTo>
                      <a:pt x="1366" y="72"/>
                    </a:lnTo>
                    <a:lnTo>
                      <a:pt x="1372" y="78"/>
                    </a:lnTo>
                    <a:lnTo>
                      <a:pt x="1379" y="84"/>
                    </a:lnTo>
                    <a:lnTo>
                      <a:pt x="1387" y="90"/>
                    </a:lnTo>
                    <a:lnTo>
                      <a:pt x="1394" y="94"/>
                    </a:lnTo>
                    <a:lnTo>
                      <a:pt x="1403" y="98"/>
                    </a:lnTo>
                    <a:lnTo>
                      <a:pt x="1412" y="101"/>
                    </a:lnTo>
                    <a:lnTo>
                      <a:pt x="1422" y="104"/>
                    </a:lnTo>
                    <a:lnTo>
                      <a:pt x="1432" y="107"/>
                    </a:lnTo>
                    <a:lnTo>
                      <a:pt x="1443" y="109"/>
                    </a:lnTo>
                    <a:lnTo>
                      <a:pt x="1453" y="110"/>
                    </a:lnTo>
                    <a:lnTo>
                      <a:pt x="1464" y="111"/>
                    </a:lnTo>
                    <a:lnTo>
                      <a:pt x="1476" y="111"/>
                    </a:lnTo>
                    <a:lnTo>
                      <a:pt x="1481" y="110"/>
                    </a:lnTo>
                    <a:lnTo>
                      <a:pt x="1489" y="108"/>
                    </a:lnTo>
                    <a:lnTo>
                      <a:pt x="1499" y="105"/>
                    </a:lnTo>
                    <a:lnTo>
                      <a:pt x="1509" y="104"/>
                    </a:lnTo>
                    <a:lnTo>
                      <a:pt x="1514" y="109"/>
                    </a:lnTo>
                    <a:lnTo>
                      <a:pt x="1523" y="113"/>
                    </a:lnTo>
                    <a:lnTo>
                      <a:pt x="1532" y="116"/>
                    </a:lnTo>
                    <a:lnTo>
                      <a:pt x="1541" y="117"/>
                    </a:lnTo>
                    <a:lnTo>
                      <a:pt x="1544" y="117"/>
                    </a:lnTo>
                    <a:lnTo>
                      <a:pt x="1547" y="115"/>
                    </a:lnTo>
                    <a:lnTo>
                      <a:pt x="1549" y="113"/>
                    </a:lnTo>
                    <a:lnTo>
                      <a:pt x="1551" y="110"/>
                    </a:lnTo>
                    <a:lnTo>
                      <a:pt x="1557" y="103"/>
                    </a:lnTo>
                    <a:lnTo>
                      <a:pt x="1561" y="98"/>
                    </a:lnTo>
                    <a:lnTo>
                      <a:pt x="1561" y="135"/>
                    </a:lnTo>
                    <a:lnTo>
                      <a:pt x="1556" y="146"/>
                    </a:lnTo>
                    <a:lnTo>
                      <a:pt x="1545" y="163"/>
                    </a:lnTo>
                    <a:lnTo>
                      <a:pt x="1530" y="183"/>
                    </a:lnTo>
                    <a:lnTo>
                      <a:pt x="1513" y="205"/>
                    </a:lnTo>
                    <a:lnTo>
                      <a:pt x="1495" y="228"/>
                    </a:lnTo>
                    <a:lnTo>
                      <a:pt x="1479" y="247"/>
                    </a:lnTo>
                    <a:lnTo>
                      <a:pt x="1465" y="262"/>
                    </a:lnTo>
                    <a:lnTo>
                      <a:pt x="1455" y="270"/>
                    </a:lnTo>
                    <a:lnTo>
                      <a:pt x="1464" y="275"/>
                    </a:lnTo>
                    <a:lnTo>
                      <a:pt x="1470" y="278"/>
                    </a:lnTo>
                    <a:lnTo>
                      <a:pt x="1474" y="282"/>
                    </a:lnTo>
                    <a:lnTo>
                      <a:pt x="1479" y="286"/>
                    </a:lnTo>
                    <a:lnTo>
                      <a:pt x="1485" y="294"/>
                    </a:lnTo>
                    <a:lnTo>
                      <a:pt x="1489" y="302"/>
                    </a:lnTo>
                    <a:lnTo>
                      <a:pt x="1492" y="310"/>
                    </a:lnTo>
                    <a:lnTo>
                      <a:pt x="1495" y="317"/>
                    </a:lnTo>
                    <a:lnTo>
                      <a:pt x="1498" y="321"/>
                    </a:lnTo>
                    <a:lnTo>
                      <a:pt x="1500" y="325"/>
                    </a:lnTo>
                    <a:lnTo>
                      <a:pt x="1504" y="328"/>
                    </a:lnTo>
                    <a:lnTo>
                      <a:pt x="1509" y="333"/>
                    </a:lnTo>
                    <a:lnTo>
                      <a:pt x="1514" y="336"/>
                    </a:lnTo>
                    <a:lnTo>
                      <a:pt x="1520" y="338"/>
                    </a:lnTo>
                    <a:lnTo>
                      <a:pt x="1525" y="339"/>
                    </a:lnTo>
                    <a:lnTo>
                      <a:pt x="1532" y="338"/>
                    </a:lnTo>
                    <a:lnTo>
                      <a:pt x="1538" y="338"/>
                    </a:lnTo>
                    <a:lnTo>
                      <a:pt x="1544" y="337"/>
                    </a:lnTo>
                    <a:lnTo>
                      <a:pt x="1549" y="337"/>
                    </a:lnTo>
                    <a:lnTo>
                      <a:pt x="1555" y="339"/>
                    </a:lnTo>
                    <a:lnTo>
                      <a:pt x="1560" y="340"/>
                    </a:lnTo>
                    <a:lnTo>
                      <a:pt x="1566" y="342"/>
                    </a:lnTo>
                    <a:lnTo>
                      <a:pt x="1570" y="345"/>
                    </a:lnTo>
                    <a:lnTo>
                      <a:pt x="1574" y="347"/>
                    </a:lnTo>
                    <a:lnTo>
                      <a:pt x="1582" y="354"/>
                    </a:lnTo>
                    <a:lnTo>
                      <a:pt x="1588" y="361"/>
                    </a:lnTo>
                    <a:lnTo>
                      <a:pt x="1594" y="368"/>
                    </a:lnTo>
                    <a:lnTo>
                      <a:pt x="1602" y="376"/>
                    </a:lnTo>
                    <a:lnTo>
                      <a:pt x="1605" y="379"/>
                    </a:lnTo>
                    <a:lnTo>
                      <a:pt x="1611" y="382"/>
                    </a:lnTo>
                    <a:lnTo>
                      <a:pt x="1615" y="386"/>
                    </a:lnTo>
                    <a:lnTo>
                      <a:pt x="1622" y="388"/>
                    </a:lnTo>
                    <a:lnTo>
                      <a:pt x="1629" y="391"/>
                    </a:lnTo>
                    <a:lnTo>
                      <a:pt x="1637" y="394"/>
                    </a:lnTo>
                    <a:lnTo>
                      <a:pt x="1644" y="398"/>
                    </a:lnTo>
                    <a:lnTo>
                      <a:pt x="1649" y="403"/>
                    </a:lnTo>
                    <a:lnTo>
                      <a:pt x="1659" y="413"/>
                    </a:lnTo>
                    <a:lnTo>
                      <a:pt x="1668" y="423"/>
                    </a:lnTo>
                    <a:lnTo>
                      <a:pt x="1677" y="433"/>
                    </a:lnTo>
                    <a:lnTo>
                      <a:pt x="1686" y="442"/>
                    </a:lnTo>
                    <a:lnTo>
                      <a:pt x="1692" y="445"/>
                    </a:lnTo>
                    <a:lnTo>
                      <a:pt x="1698" y="448"/>
                    </a:lnTo>
                    <a:lnTo>
                      <a:pt x="1706" y="449"/>
                    </a:lnTo>
                    <a:lnTo>
                      <a:pt x="1714" y="450"/>
                    </a:lnTo>
                    <a:lnTo>
                      <a:pt x="1719" y="449"/>
                    </a:lnTo>
                    <a:lnTo>
                      <a:pt x="1724" y="448"/>
                    </a:lnTo>
                    <a:lnTo>
                      <a:pt x="1729" y="446"/>
                    </a:lnTo>
                    <a:lnTo>
                      <a:pt x="1735" y="444"/>
                    </a:lnTo>
                    <a:lnTo>
                      <a:pt x="1745" y="435"/>
                    </a:lnTo>
                    <a:lnTo>
                      <a:pt x="1754" y="425"/>
                    </a:lnTo>
                    <a:lnTo>
                      <a:pt x="1764" y="413"/>
                    </a:lnTo>
                    <a:lnTo>
                      <a:pt x="1773" y="400"/>
                    </a:lnTo>
                    <a:lnTo>
                      <a:pt x="1782" y="385"/>
                    </a:lnTo>
                    <a:lnTo>
                      <a:pt x="1791" y="368"/>
                    </a:lnTo>
                    <a:lnTo>
                      <a:pt x="1798" y="351"/>
                    </a:lnTo>
                    <a:lnTo>
                      <a:pt x="1805" y="334"/>
                    </a:lnTo>
                    <a:lnTo>
                      <a:pt x="1812" y="316"/>
                    </a:lnTo>
                    <a:lnTo>
                      <a:pt x="1817" y="299"/>
                    </a:lnTo>
                    <a:lnTo>
                      <a:pt x="1821" y="283"/>
                    </a:lnTo>
                    <a:lnTo>
                      <a:pt x="1825" y="266"/>
                    </a:lnTo>
                    <a:lnTo>
                      <a:pt x="1827" y="252"/>
                    </a:lnTo>
                    <a:lnTo>
                      <a:pt x="1827" y="240"/>
                    </a:lnTo>
                    <a:lnTo>
                      <a:pt x="1828" y="223"/>
                    </a:lnTo>
                    <a:lnTo>
                      <a:pt x="1830" y="205"/>
                    </a:lnTo>
                    <a:lnTo>
                      <a:pt x="1834" y="189"/>
                    </a:lnTo>
                    <a:lnTo>
                      <a:pt x="1839" y="174"/>
                    </a:lnTo>
                    <a:lnTo>
                      <a:pt x="1845" y="159"/>
                    </a:lnTo>
                    <a:lnTo>
                      <a:pt x="1850" y="145"/>
                    </a:lnTo>
                    <a:lnTo>
                      <a:pt x="1857" y="131"/>
                    </a:lnTo>
                    <a:lnTo>
                      <a:pt x="1863" y="118"/>
                    </a:lnTo>
                    <a:lnTo>
                      <a:pt x="1877" y="90"/>
                    </a:lnTo>
                    <a:lnTo>
                      <a:pt x="1888" y="63"/>
                    </a:lnTo>
                    <a:lnTo>
                      <a:pt x="1894" y="47"/>
                    </a:lnTo>
                    <a:lnTo>
                      <a:pt x="1897" y="32"/>
                    </a:lnTo>
                    <a:lnTo>
                      <a:pt x="1899" y="17"/>
                    </a:lnTo>
                    <a:lnTo>
                      <a:pt x="1901" y="0"/>
                    </a:lnTo>
                    <a:lnTo>
                      <a:pt x="1904" y="10"/>
                    </a:lnTo>
                    <a:lnTo>
                      <a:pt x="1909" y="21"/>
                    </a:lnTo>
                    <a:lnTo>
                      <a:pt x="1917" y="32"/>
                    </a:lnTo>
                    <a:lnTo>
                      <a:pt x="1925" y="43"/>
                    </a:lnTo>
                    <a:lnTo>
                      <a:pt x="1932" y="55"/>
                    </a:lnTo>
                    <a:lnTo>
                      <a:pt x="1940" y="63"/>
                    </a:lnTo>
                    <a:lnTo>
                      <a:pt x="1948" y="70"/>
                    </a:lnTo>
                    <a:lnTo>
                      <a:pt x="1953" y="74"/>
                    </a:lnTo>
                    <a:lnTo>
                      <a:pt x="1952" y="76"/>
                    </a:lnTo>
                    <a:lnTo>
                      <a:pt x="1950" y="77"/>
                    </a:lnTo>
                    <a:lnTo>
                      <a:pt x="1947" y="78"/>
                    </a:lnTo>
                    <a:lnTo>
                      <a:pt x="1943" y="79"/>
                    </a:lnTo>
                    <a:lnTo>
                      <a:pt x="1937" y="80"/>
                    </a:lnTo>
                    <a:lnTo>
                      <a:pt x="1933" y="80"/>
                    </a:lnTo>
                    <a:lnTo>
                      <a:pt x="1935" y="90"/>
                    </a:lnTo>
                    <a:lnTo>
                      <a:pt x="1937" y="98"/>
                    </a:lnTo>
                    <a:lnTo>
                      <a:pt x="1940" y="104"/>
                    </a:lnTo>
                    <a:lnTo>
                      <a:pt x="1943" y="110"/>
                    </a:lnTo>
                    <a:lnTo>
                      <a:pt x="1947" y="115"/>
                    </a:lnTo>
                    <a:lnTo>
                      <a:pt x="1950" y="121"/>
                    </a:lnTo>
                    <a:lnTo>
                      <a:pt x="1952" y="127"/>
                    </a:lnTo>
                    <a:lnTo>
                      <a:pt x="1953" y="135"/>
                    </a:lnTo>
                    <a:lnTo>
                      <a:pt x="1953" y="144"/>
                    </a:lnTo>
                    <a:lnTo>
                      <a:pt x="1951" y="152"/>
                    </a:lnTo>
                    <a:lnTo>
                      <a:pt x="1949" y="160"/>
                    </a:lnTo>
                    <a:lnTo>
                      <a:pt x="1947" y="169"/>
                    </a:lnTo>
                    <a:lnTo>
                      <a:pt x="1944" y="176"/>
                    </a:lnTo>
                    <a:lnTo>
                      <a:pt x="1942" y="183"/>
                    </a:lnTo>
                    <a:lnTo>
                      <a:pt x="1941" y="190"/>
                    </a:lnTo>
                    <a:lnTo>
                      <a:pt x="1940" y="197"/>
                    </a:lnTo>
                    <a:lnTo>
                      <a:pt x="1940" y="201"/>
                    </a:lnTo>
                    <a:lnTo>
                      <a:pt x="1941" y="206"/>
                    </a:lnTo>
                    <a:lnTo>
                      <a:pt x="1942" y="210"/>
                    </a:lnTo>
                    <a:lnTo>
                      <a:pt x="1944" y="214"/>
                    </a:lnTo>
                    <a:lnTo>
                      <a:pt x="1950" y="222"/>
                    </a:lnTo>
                    <a:lnTo>
                      <a:pt x="1955" y="228"/>
                    </a:lnTo>
                    <a:lnTo>
                      <a:pt x="1963" y="233"/>
                    </a:lnTo>
                    <a:lnTo>
                      <a:pt x="1971" y="237"/>
                    </a:lnTo>
                    <a:lnTo>
                      <a:pt x="1978" y="239"/>
                    </a:lnTo>
                    <a:lnTo>
                      <a:pt x="1986" y="240"/>
                    </a:lnTo>
                    <a:lnTo>
                      <a:pt x="1987" y="244"/>
                    </a:lnTo>
                    <a:lnTo>
                      <a:pt x="1989" y="248"/>
                    </a:lnTo>
                    <a:lnTo>
                      <a:pt x="1993" y="251"/>
                    </a:lnTo>
                    <a:lnTo>
                      <a:pt x="1997" y="254"/>
                    </a:lnTo>
                    <a:lnTo>
                      <a:pt x="2006" y="257"/>
                    </a:lnTo>
                    <a:lnTo>
                      <a:pt x="2014" y="258"/>
                    </a:lnTo>
                    <a:lnTo>
                      <a:pt x="2014" y="278"/>
                    </a:lnTo>
                    <a:lnTo>
                      <a:pt x="2015" y="297"/>
                    </a:lnTo>
                    <a:lnTo>
                      <a:pt x="2017" y="314"/>
                    </a:lnTo>
                    <a:lnTo>
                      <a:pt x="2019" y="332"/>
                    </a:lnTo>
                    <a:lnTo>
                      <a:pt x="2026" y="365"/>
                    </a:lnTo>
                    <a:lnTo>
                      <a:pt x="2033" y="398"/>
                    </a:lnTo>
                    <a:lnTo>
                      <a:pt x="2040" y="429"/>
                    </a:lnTo>
                    <a:lnTo>
                      <a:pt x="2047" y="461"/>
                    </a:lnTo>
                    <a:lnTo>
                      <a:pt x="2050" y="476"/>
                    </a:lnTo>
                    <a:lnTo>
                      <a:pt x="2051" y="491"/>
                    </a:lnTo>
                    <a:lnTo>
                      <a:pt x="2053" y="508"/>
                    </a:lnTo>
                    <a:lnTo>
                      <a:pt x="2053" y="523"/>
                    </a:lnTo>
                    <a:lnTo>
                      <a:pt x="2053" y="526"/>
                    </a:lnTo>
                    <a:lnTo>
                      <a:pt x="2054" y="528"/>
                    </a:lnTo>
                    <a:lnTo>
                      <a:pt x="2056" y="529"/>
                    </a:lnTo>
                    <a:lnTo>
                      <a:pt x="2060" y="531"/>
                    </a:lnTo>
                    <a:lnTo>
                      <a:pt x="2066" y="533"/>
                    </a:lnTo>
                    <a:lnTo>
                      <a:pt x="2074" y="536"/>
                    </a:lnTo>
                    <a:lnTo>
                      <a:pt x="2082" y="538"/>
                    </a:lnTo>
                    <a:lnTo>
                      <a:pt x="2089" y="540"/>
                    </a:lnTo>
                    <a:lnTo>
                      <a:pt x="2096" y="544"/>
                    </a:lnTo>
                    <a:lnTo>
                      <a:pt x="2099" y="548"/>
                    </a:lnTo>
                    <a:lnTo>
                      <a:pt x="2108" y="562"/>
                    </a:lnTo>
                    <a:lnTo>
                      <a:pt x="2116" y="574"/>
                    </a:lnTo>
                    <a:lnTo>
                      <a:pt x="2120" y="578"/>
                    </a:lnTo>
                    <a:lnTo>
                      <a:pt x="2123" y="582"/>
                    </a:lnTo>
                    <a:lnTo>
                      <a:pt x="2128" y="584"/>
                    </a:lnTo>
                    <a:lnTo>
                      <a:pt x="2133" y="585"/>
                    </a:lnTo>
                    <a:lnTo>
                      <a:pt x="2134" y="596"/>
                    </a:lnTo>
                    <a:lnTo>
                      <a:pt x="2139" y="615"/>
                    </a:lnTo>
                    <a:lnTo>
                      <a:pt x="2146" y="637"/>
                    </a:lnTo>
                    <a:lnTo>
                      <a:pt x="2154" y="661"/>
                    </a:lnTo>
                    <a:lnTo>
                      <a:pt x="2163" y="686"/>
                    </a:lnTo>
                    <a:lnTo>
                      <a:pt x="2172" y="707"/>
                    </a:lnTo>
                    <a:lnTo>
                      <a:pt x="2179" y="724"/>
                    </a:lnTo>
                    <a:lnTo>
                      <a:pt x="2186" y="733"/>
                    </a:lnTo>
                    <a:lnTo>
                      <a:pt x="2188" y="735"/>
                    </a:lnTo>
                    <a:lnTo>
                      <a:pt x="2194" y="737"/>
                    </a:lnTo>
                    <a:lnTo>
                      <a:pt x="2201" y="738"/>
                    </a:lnTo>
                    <a:lnTo>
                      <a:pt x="2211" y="739"/>
                    </a:lnTo>
                    <a:lnTo>
                      <a:pt x="2231" y="742"/>
                    </a:lnTo>
                    <a:lnTo>
                      <a:pt x="2245" y="745"/>
                    </a:lnTo>
                    <a:lnTo>
                      <a:pt x="2242" y="756"/>
                    </a:lnTo>
                    <a:lnTo>
                      <a:pt x="2238" y="762"/>
                    </a:lnTo>
                    <a:lnTo>
                      <a:pt x="2231" y="766"/>
                    </a:lnTo>
                    <a:lnTo>
                      <a:pt x="2219" y="769"/>
                    </a:lnTo>
                    <a:lnTo>
                      <a:pt x="2223" y="781"/>
                    </a:lnTo>
                    <a:lnTo>
                      <a:pt x="2228" y="790"/>
                    </a:lnTo>
                    <a:lnTo>
                      <a:pt x="2233" y="800"/>
                    </a:lnTo>
                    <a:lnTo>
                      <a:pt x="2239" y="809"/>
                    </a:lnTo>
                    <a:lnTo>
                      <a:pt x="2251" y="827"/>
                    </a:lnTo>
                    <a:lnTo>
                      <a:pt x="2263" y="846"/>
                    </a:lnTo>
                    <a:lnTo>
                      <a:pt x="2289" y="879"/>
                    </a:lnTo>
                    <a:lnTo>
                      <a:pt x="2312" y="912"/>
                    </a:lnTo>
                    <a:lnTo>
                      <a:pt x="2318" y="907"/>
                    </a:lnTo>
                    <a:lnTo>
                      <a:pt x="2324" y="902"/>
                    </a:lnTo>
                    <a:lnTo>
                      <a:pt x="2328" y="899"/>
                    </a:lnTo>
                    <a:lnTo>
                      <a:pt x="2330" y="896"/>
                    </a:lnTo>
                    <a:lnTo>
                      <a:pt x="2332" y="892"/>
                    </a:lnTo>
                    <a:lnTo>
                      <a:pt x="2332" y="887"/>
                    </a:lnTo>
                    <a:lnTo>
                      <a:pt x="2332" y="896"/>
                    </a:lnTo>
                    <a:lnTo>
                      <a:pt x="2332" y="903"/>
                    </a:lnTo>
                    <a:lnTo>
                      <a:pt x="2332" y="910"/>
                    </a:lnTo>
                    <a:lnTo>
                      <a:pt x="2332" y="918"/>
                    </a:lnTo>
                    <a:lnTo>
                      <a:pt x="2293" y="1010"/>
                    </a:lnTo>
                    <a:lnTo>
                      <a:pt x="2295" y="1024"/>
                    </a:lnTo>
                    <a:lnTo>
                      <a:pt x="2296" y="1038"/>
                    </a:lnTo>
                    <a:lnTo>
                      <a:pt x="2295" y="1051"/>
                    </a:lnTo>
                    <a:lnTo>
                      <a:pt x="2291" y="1066"/>
                    </a:lnTo>
                    <a:lnTo>
                      <a:pt x="2288" y="1079"/>
                    </a:lnTo>
                    <a:lnTo>
                      <a:pt x="2283" y="1092"/>
                    </a:lnTo>
                    <a:lnTo>
                      <a:pt x="2276" y="1105"/>
                    </a:lnTo>
                    <a:lnTo>
                      <a:pt x="2269" y="1118"/>
                    </a:lnTo>
                    <a:lnTo>
                      <a:pt x="2253" y="1143"/>
                    </a:lnTo>
                    <a:lnTo>
                      <a:pt x="2237" y="1167"/>
                    </a:lnTo>
                    <a:lnTo>
                      <a:pt x="2220" y="1188"/>
                    </a:lnTo>
                    <a:lnTo>
                      <a:pt x="2206" y="1207"/>
                    </a:lnTo>
                    <a:lnTo>
                      <a:pt x="2188" y="1233"/>
                    </a:lnTo>
                    <a:lnTo>
                      <a:pt x="2172" y="1260"/>
                    </a:lnTo>
                    <a:lnTo>
                      <a:pt x="2153" y="1289"/>
                    </a:lnTo>
                    <a:lnTo>
                      <a:pt x="2133" y="1317"/>
                    </a:lnTo>
                    <a:lnTo>
                      <a:pt x="2123" y="1329"/>
                    </a:lnTo>
                    <a:lnTo>
                      <a:pt x="2111" y="1342"/>
                    </a:lnTo>
                    <a:lnTo>
                      <a:pt x="2100" y="1352"/>
                    </a:lnTo>
                    <a:lnTo>
                      <a:pt x="2087" y="1362"/>
                    </a:lnTo>
                    <a:lnTo>
                      <a:pt x="2081" y="1366"/>
                    </a:lnTo>
                    <a:lnTo>
                      <a:pt x="2074" y="1369"/>
                    </a:lnTo>
                    <a:lnTo>
                      <a:pt x="2066" y="1372"/>
                    </a:lnTo>
                    <a:lnTo>
                      <a:pt x="2059" y="1375"/>
                    </a:lnTo>
                    <a:lnTo>
                      <a:pt x="2051" y="1377"/>
                    </a:lnTo>
                    <a:lnTo>
                      <a:pt x="2043" y="1378"/>
                    </a:lnTo>
                    <a:lnTo>
                      <a:pt x="2036" y="1379"/>
                    </a:lnTo>
                    <a:lnTo>
                      <a:pt x="2027" y="1380"/>
                    </a:lnTo>
                    <a:lnTo>
                      <a:pt x="2026" y="1393"/>
                    </a:lnTo>
                    <a:lnTo>
                      <a:pt x="2022" y="1404"/>
                    </a:lnTo>
                    <a:lnTo>
                      <a:pt x="2018" y="1414"/>
                    </a:lnTo>
                    <a:lnTo>
                      <a:pt x="2013" y="1423"/>
                    </a:lnTo>
                    <a:lnTo>
                      <a:pt x="2005" y="1432"/>
                    </a:lnTo>
                    <a:lnTo>
                      <a:pt x="1997" y="1440"/>
                    </a:lnTo>
                    <a:lnTo>
                      <a:pt x="1988" y="1449"/>
                    </a:lnTo>
                    <a:lnTo>
                      <a:pt x="1978" y="1456"/>
                    </a:lnTo>
                    <a:lnTo>
                      <a:pt x="1958" y="1470"/>
                    </a:lnTo>
                    <a:lnTo>
                      <a:pt x="1937" y="1483"/>
                    </a:lnTo>
                    <a:lnTo>
                      <a:pt x="1917" y="1495"/>
                    </a:lnTo>
                    <a:lnTo>
                      <a:pt x="1901" y="1510"/>
                    </a:lnTo>
                    <a:lnTo>
                      <a:pt x="1885" y="1525"/>
                    </a:lnTo>
                    <a:lnTo>
                      <a:pt x="1873" y="1539"/>
                    </a:lnTo>
                    <a:lnTo>
                      <a:pt x="1864" y="1553"/>
                    </a:lnTo>
                    <a:lnTo>
                      <a:pt x="1857" y="1565"/>
                    </a:lnTo>
                    <a:lnTo>
                      <a:pt x="1848" y="1578"/>
                    </a:lnTo>
                    <a:lnTo>
                      <a:pt x="1838" y="1591"/>
                    </a:lnTo>
                    <a:lnTo>
                      <a:pt x="1825" y="1604"/>
                    </a:lnTo>
                    <a:lnTo>
                      <a:pt x="1807" y="1621"/>
                    </a:lnTo>
                    <a:lnTo>
                      <a:pt x="1801" y="1630"/>
                    </a:lnTo>
                    <a:lnTo>
                      <a:pt x="1796" y="1639"/>
                    </a:lnTo>
                    <a:lnTo>
                      <a:pt x="1793" y="1648"/>
                    </a:lnTo>
                    <a:lnTo>
                      <a:pt x="1790" y="1657"/>
                    </a:lnTo>
                    <a:lnTo>
                      <a:pt x="1786" y="1665"/>
                    </a:lnTo>
                    <a:lnTo>
                      <a:pt x="1782" y="1671"/>
                    </a:lnTo>
                    <a:lnTo>
                      <a:pt x="1780" y="1673"/>
                    </a:lnTo>
                    <a:lnTo>
                      <a:pt x="1776" y="1675"/>
                    </a:lnTo>
                    <a:lnTo>
                      <a:pt x="1772" y="1676"/>
                    </a:lnTo>
                    <a:lnTo>
                      <a:pt x="1768" y="1676"/>
                    </a:lnTo>
                    <a:lnTo>
                      <a:pt x="1749" y="1676"/>
                    </a:lnTo>
                    <a:lnTo>
                      <a:pt x="1733" y="1676"/>
                    </a:lnTo>
                    <a:lnTo>
                      <a:pt x="1718" y="1676"/>
                    </a:lnTo>
                    <a:lnTo>
                      <a:pt x="1707" y="1676"/>
                    </a:lnTo>
                    <a:lnTo>
                      <a:pt x="1702" y="1676"/>
                    </a:lnTo>
                    <a:lnTo>
                      <a:pt x="1695" y="1678"/>
                    </a:lnTo>
                    <a:lnTo>
                      <a:pt x="1689" y="1680"/>
                    </a:lnTo>
                    <a:lnTo>
                      <a:pt x="1682" y="1683"/>
                    </a:lnTo>
                    <a:lnTo>
                      <a:pt x="1668" y="1690"/>
                    </a:lnTo>
                    <a:lnTo>
                      <a:pt x="1652" y="1699"/>
                    </a:lnTo>
                    <a:lnTo>
                      <a:pt x="1634" y="1708"/>
                    </a:lnTo>
                    <a:lnTo>
                      <a:pt x="1613" y="1717"/>
                    </a:lnTo>
                    <a:lnTo>
                      <a:pt x="1602" y="1722"/>
                    </a:lnTo>
                    <a:lnTo>
                      <a:pt x="1589" y="1726"/>
                    </a:lnTo>
                    <a:lnTo>
                      <a:pt x="1576" y="1729"/>
                    </a:lnTo>
                    <a:lnTo>
                      <a:pt x="1561" y="1731"/>
                    </a:lnTo>
                    <a:lnTo>
                      <a:pt x="1558" y="1725"/>
                    </a:lnTo>
                    <a:lnTo>
                      <a:pt x="1555" y="1718"/>
                    </a:lnTo>
                    <a:lnTo>
                      <a:pt x="1548" y="1718"/>
                    </a:lnTo>
                    <a:lnTo>
                      <a:pt x="1541" y="1717"/>
                    </a:lnTo>
                    <a:lnTo>
                      <a:pt x="1536" y="1715"/>
                    </a:lnTo>
                    <a:lnTo>
                      <a:pt x="1532" y="1713"/>
                    </a:lnTo>
                    <a:lnTo>
                      <a:pt x="1528" y="1711"/>
                    </a:lnTo>
                    <a:lnTo>
                      <a:pt x="1525" y="1708"/>
                    </a:lnTo>
                    <a:lnTo>
                      <a:pt x="1522" y="1705"/>
                    </a:lnTo>
                    <a:lnTo>
                      <a:pt x="1520" y="1701"/>
                    </a:lnTo>
                    <a:lnTo>
                      <a:pt x="1517" y="1693"/>
                    </a:lnTo>
                    <a:lnTo>
                      <a:pt x="1515" y="1685"/>
                    </a:lnTo>
                    <a:lnTo>
                      <a:pt x="1515" y="1677"/>
                    </a:lnTo>
                    <a:lnTo>
                      <a:pt x="1515" y="1670"/>
                    </a:lnTo>
                    <a:lnTo>
                      <a:pt x="1489" y="1690"/>
                    </a:lnTo>
                    <a:lnTo>
                      <a:pt x="1462" y="1709"/>
                    </a:lnTo>
                    <a:lnTo>
                      <a:pt x="1449" y="1718"/>
                    </a:lnTo>
                    <a:lnTo>
                      <a:pt x="1437" y="1725"/>
                    </a:lnTo>
                    <a:lnTo>
                      <a:pt x="1432" y="1728"/>
                    </a:lnTo>
                    <a:lnTo>
                      <a:pt x="1426" y="1730"/>
                    </a:lnTo>
                    <a:lnTo>
                      <a:pt x="1421" y="1731"/>
                    </a:lnTo>
                    <a:lnTo>
                      <a:pt x="1415" y="1731"/>
                    </a:lnTo>
                    <a:lnTo>
                      <a:pt x="1413" y="1731"/>
                    </a:lnTo>
                    <a:lnTo>
                      <a:pt x="1410" y="1729"/>
                    </a:lnTo>
                    <a:lnTo>
                      <a:pt x="1406" y="1727"/>
                    </a:lnTo>
                    <a:lnTo>
                      <a:pt x="1403" y="1725"/>
                    </a:lnTo>
                    <a:lnTo>
                      <a:pt x="1400" y="1722"/>
                    </a:lnTo>
                    <a:lnTo>
                      <a:pt x="1398" y="1718"/>
                    </a:lnTo>
                    <a:lnTo>
                      <a:pt x="1395" y="1715"/>
                    </a:lnTo>
                    <a:lnTo>
                      <a:pt x="1395" y="1712"/>
                    </a:lnTo>
                    <a:lnTo>
                      <a:pt x="1372" y="1711"/>
                    </a:lnTo>
                    <a:lnTo>
                      <a:pt x="1349" y="1709"/>
                    </a:lnTo>
                    <a:lnTo>
                      <a:pt x="1338" y="1707"/>
                    </a:lnTo>
                    <a:lnTo>
                      <a:pt x="1327" y="1704"/>
                    </a:lnTo>
                    <a:lnTo>
                      <a:pt x="1316" y="1701"/>
                    </a:lnTo>
                    <a:lnTo>
                      <a:pt x="1307" y="1697"/>
                    </a:lnTo>
                    <a:lnTo>
                      <a:pt x="1297" y="1693"/>
                    </a:lnTo>
                    <a:lnTo>
                      <a:pt x="1289" y="1688"/>
                    </a:lnTo>
                    <a:lnTo>
                      <a:pt x="1281" y="1683"/>
                    </a:lnTo>
                    <a:lnTo>
                      <a:pt x="1275" y="1677"/>
                    </a:lnTo>
                    <a:lnTo>
                      <a:pt x="1269" y="1670"/>
                    </a:lnTo>
                    <a:lnTo>
                      <a:pt x="1266" y="1662"/>
                    </a:lnTo>
                    <a:lnTo>
                      <a:pt x="1264" y="1653"/>
                    </a:lnTo>
                    <a:lnTo>
                      <a:pt x="1263" y="1645"/>
                    </a:lnTo>
                    <a:lnTo>
                      <a:pt x="1263" y="1639"/>
                    </a:lnTo>
                    <a:lnTo>
                      <a:pt x="1264" y="1635"/>
                    </a:lnTo>
                    <a:lnTo>
                      <a:pt x="1266" y="1631"/>
                    </a:lnTo>
                    <a:lnTo>
                      <a:pt x="1268" y="1627"/>
                    </a:lnTo>
                    <a:lnTo>
                      <a:pt x="1272" y="1620"/>
                    </a:lnTo>
                    <a:lnTo>
                      <a:pt x="1279" y="1614"/>
                    </a:lnTo>
                    <a:lnTo>
                      <a:pt x="1286" y="1609"/>
                    </a:lnTo>
                    <a:lnTo>
                      <a:pt x="1290" y="1601"/>
                    </a:lnTo>
                    <a:lnTo>
                      <a:pt x="1292" y="1597"/>
                    </a:lnTo>
                    <a:lnTo>
                      <a:pt x="1294" y="1593"/>
                    </a:lnTo>
                    <a:lnTo>
                      <a:pt x="1296" y="1589"/>
                    </a:lnTo>
                    <a:lnTo>
                      <a:pt x="1296" y="1583"/>
                    </a:lnTo>
                    <a:lnTo>
                      <a:pt x="1296" y="1546"/>
                    </a:lnTo>
                    <a:lnTo>
                      <a:pt x="1309" y="1528"/>
                    </a:lnTo>
                    <a:lnTo>
                      <a:pt x="1309" y="1522"/>
                    </a:lnTo>
                    <a:lnTo>
                      <a:pt x="1256" y="1522"/>
                    </a:lnTo>
                    <a:lnTo>
                      <a:pt x="1249" y="1534"/>
                    </a:lnTo>
                    <a:lnTo>
                      <a:pt x="1255" y="1525"/>
                    </a:lnTo>
                    <a:lnTo>
                      <a:pt x="1263" y="1516"/>
                    </a:lnTo>
                    <a:lnTo>
                      <a:pt x="1269" y="1509"/>
                    </a:lnTo>
                    <a:lnTo>
                      <a:pt x="1276" y="1504"/>
                    </a:lnTo>
                    <a:lnTo>
                      <a:pt x="1276" y="1460"/>
                    </a:lnTo>
                    <a:lnTo>
                      <a:pt x="1270" y="1462"/>
                    </a:lnTo>
                    <a:lnTo>
                      <a:pt x="1265" y="1464"/>
                    </a:lnTo>
                    <a:lnTo>
                      <a:pt x="1260" y="1466"/>
                    </a:lnTo>
                    <a:lnTo>
                      <a:pt x="1256" y="1469"/>
                    </a:lnTo>
                    <a:lnTo>
                      <a:pt x="1249" y="1475"/>
                    </a:lnTo>
                    <a:lnTo>
                      <a:pt x="1243" y="1481"/>
                    </a:lnTo>
                    <a:lnTo>
                      <a:pt x="1237" y="1488"/>
                    </a:lnTo>
                    <a:lnTo>
                      <a:pt x="1232" y="1494"/>
                    </a:lnTo>
                    <a:lnTo>
                      <a:pt x="1229" y="1498"/>
                    </a:lnTo>
                    <a:lnTo>
                      <a:pt x="1225" y="1500"/>
                    </a:lnTo>
                    <a:lnTo>
                      <a:pt x="1221" y="1502"/>
                    </a:lnTo>
                    <a:lnTo>
                      <a:pt x="1216" y="1504"/>
                    </a:lnTo>
                    <a:lnTo>
                      <a:pt x="1189" y="1504"/>
                    </a:lnTo>
                    <a:lnTo>
                      <a:pt x="1222" y="1472"/>
                    </a:lnTo>
                    <a:lnTo>
                      <a:pt x="1252" y="1442"/>
                    </a:lnTo>
                    <a:lnTo>
                      <a:pt x="1280" y="1411"/>
                    </a:lnTo>
                    <a:lnTo>
                      <a:pt x="1309" y="1380"/>
                    </a:lnTo>
                    <a:lnTo>
                      <a:pt x="1305" y="1378"/>
                    </a:lnTo>
                    <a:lnTo>
                      <a:pt x="1301" y="1377"/>
                    </a:lnTo>
                    <a:lnTo>
                      <a:pt x="1298" y="1376"/>
                    </a:lnTo>
                    <a:lnTo>
                      <a:pt x="1294" y="1376"/>
                    </a:lnTo>
                    <a:lnTo>
                      <a:pt x="1287" y="1378"/>
                    </a:lnTo>
                    <a:lnTo>
                      <a:pt x="1280" y="1382"/>
                    </a:lnTo>
                    <a:lnTo>
                      <a:pt x="1267" y="1392"/>
                    </a:lnTo>
                    <a:lnTo>
                      <a:pt x="1256" y="1399"/>
                    </a:lnTo>
                    <a:lnTo>
                      <a:pt x="1230" y="1418"/>
                    </a:lnTo>
                    <a:lnTo>
                      <a:pt x="1185" y="1450"/>
                    </a:lnTo>
                    <a:lnTo>
                      <a:pt x="1142" y="1478"/>
                    </a:lnTo>
                    <a:lnTo>
                      <a:pt x="1123" y="1490"/>
                    </a:lnTo>
                    <a:lnTo>
                      <a:pt x="1123" y="1380"/>
                    </a:lnTo>
                    <a:lnTo>
                      <a:pt x="1113" y="1379"/>
                    </a:lnTo>
                    <a:lnTo>
                      <a:pt x="1106" y="1377"/>
                    </a:lnTo>
                    <a:lnTo>
                      <a:pt x="1099" y="1375"/>
                    </a:lnTo>
                    <a:lnTo>
                      <a:pt x="1093" y="1371"/>
                    </a:lnTo>
                    <a:lnTo>
                      <a:pt x="1090" y="1367"/>
                    </a:lnTo>
                    <a:lnTo>
                      <a:pt x="1088" y="1362"/>
                    </a:lnTo>
                    <a:lnTo>
                      <a:pt x="1088" y="1356"/>
                    </a:lnTo>
                    <a:lnTo>
                      <a:pt x="1090" y="1349"/>
                    </a:lnTo>
                    <a:lnTo>
                      <a:pt x="1078" y="1338"/>
                    </a:lnTo>
                    <a:lnTo>
                      <a:pt x="1064" y="1325"/>
                    </a:lnTo>
                    <a:lnTo>
                      <a:pt x="1047" y="1314"/>
                    </a:lnTo>
                    <a:lnTo>
                      <a:pt x="1030" y="1304"/>
                    </a:lnTo>
                    <a:lnTo>
                      <a:pt x="1020" y="1299"/>
                    </a:lnTo>
                    <a:lnTo>
                      <a:pt x="1011" y="1295"/>
                    </a:lnTo>
                    <a:lnTo>
                      <a:pt x="1001" y="1291"/>
                    </a:lnTo>
                    <a:lnTo>
                      <a:pt x="990" y="1288"/>
                    </a:lnTo>
                    <a:lnTo>
                      <a:pt x="980" y="1285"/>
                    </a:lnTo>
                    <a:lnTo>
                      <a:pt x="971" y="1283"/>
                    </a:lnTo>
                    <a:lnTo>
                      <a:pt x="961" y="1282"/>
                    </a:lnTo>
                    <a:lnTo>
                      <a:pt x="951" y="1282"/>
                    </a:lnTo>
                    <a:lnTo>
                      <a:pt x="941" y="1283"/>
                    </a:lnTo>
                    <a:lnTo>
                      <a:pt x="931" y="1285"/>
                    </a:lnTo>
                    <a:lnTo>
                      <a:pt x="923" y="1289"/>
                    </a:lnTo>
                    <a:lnTo>
                      <a:pt x="917" y="1294"/>
                    </a:lnTo>
                    <a:lnTo>
                      <a:pt x="831" y="1294"/>
                    </a:lnTo>
                    <a:lnTo>
                      <a:pt x="819" y="1301"/>
                    </a:lnTo>
                    <a:lnTo>
                      <a:pt x="807" y="1307"/>
                    </a:lnTo>
                    <a:lnTo>
                      <a:pt x="796" y="1312"/>
                    </a:lnTo>
                    <a:lnTo>
                      <a:pt x="785" y="1316"/>
                    </a:lnTo>
                    <a:lnTo>
                      <a:pt x="775" y="1319"/>
                    </a:lnTo>
                    <a:lnTo>
                      <a:pt x="764" y="1321"/>
                    </a:lnTo>
                    <a:lnTo>
                      <a:pt x="754" y="1323"/>
                    </a:lnTo>
                    <a:lnTo>
                      <a:pt x="745" y="1324"/>
                    </a:lnTo>
                    <a:lnTo>
                      <a:pt x="726" y="1326"/>
                    </a:lnTo>
                    <a:lnTo>
                      <a:pt x="706" y="1328"/>
                    </a:lnTo>
                    <a:lnTo>
                      <a:pt x="686" y="1332"/>
                    </a:lnTo>
                    <a:lnTo>
                      <a:pt x="664" y="1337"/>
                    </a:lnTo>
                    <a:lnTo>
                      <a:pt x="636" y="1345"/>
                    </a:lnTo>
                    <a:lnTo>
                      <a:pt x="596" y="1356"/>
                    </a:lnTo>
                    <a:lnTo>
                      <a:pt x="577" y="1362"/>
                    </a:lnTo>
                    <a:lnTo>
                      <a:pt x="560" y="1369"/>
                    </a:lnTo>
                    <a:lnTo>
                      <a:pt x="547" y="1374"/>
                    </a:lnTo>
                    <a:lnTo>
                      <a:pt x="538" y="1380"/>
                    </a:lnTo>
                    <a:lnTo>
                      <a:pt x="521" y="1402"/>
                    </a:lnTo>
                    <a:lnTo>
                      <a:pt x="507" y="1419"/>
                    </a:lnTo>
                    <a:lnTo>
                      <a:pt x="501" y="1426"/>
                    </a:lnTo>
                    <a:lnTo>
                      <a:pt x="493" y="1431"/>
                    </a:lnTo>
                    <a:lnTo>
                      <a:pt x="488" y="1433"/>
                    </a:lnTo>
                    <a:lnTo>
                      <a:pt x="483" y="1434"/>
                    </a:lnTo>
                    <a:lnTo>
                      <a:pt x="478" y="1435"/>
                    </a:lnTo>
                    <a:lnTo>
                      <a:pt x="472" y="1435"/>
                    </a:lnTo>
                    <a:lnTo>
                      <a:pt x="306" y="1435"/>
                    </a:lnTo>
                    <a:lnTo>
                      <a:pt x="291" y="1439"/>
                    </a:lnTo>
                    <a:lnTo>
                      <a:pt x="277" y="1444"/>
                    </a:lnTo>
                    <a:lnTo>
                      <a:pt x="265" y="1448"/>
                    </a:lnTo>
                    <a:lnTo>
                      <a:pt x="254" y="1453"/>
                    </a:lnTo>
                    <a:lnTo>
                      <a:pt x="233" y="1463"/>
                    </a:lnTo>
                    <a:lnTo>
                      <a:pt x="214" y="1473"/>
                    </a:lnTo>
                    <a:lnTo>
                      <a:pt x="204" y="1478"/>
                    </a:lnTo>
                    <a:lnTo>
                      <a:pt x="193" y="1482"/>
                    </a:lnTo>
                    <a:lnTo>
                      <a:pt x="182" y="1486"/>
                    </a:lnTo>
                    <a:lnTo>
                      <a:pt x="170" y="1490"/>
                    </a:lnTo>
                    <a:lnTo>
                      <a:pt x="157" y="1493"/>
                    </a:lnTo>
                    <a:lnTo>
                      <a:pt x="142" y="1495"/>
                    </a:lnTo>
                    <a:lnTo>
                      <a:pt x="125" y="1496"/>
                    </a:lnTo>
                    <a:lnTo>
                      <a:pt x="106" y="1496"/>
                    </a:lnTo>
                    <a:lnTo>
                      <a:pt x="95" y="1496"/>
                    </a:lnTo>
                    <a:lnTo>
                      <a:pt x="84" y="1495"/>
                    </a:lnTo>
                    <a:lnTo>
                      <a:pt x="75" y="1494"/>
                    </a:lnTo>
                    <a:lnTo>
                      <a:pt x="65" y="1492"/>
                    </a:lnTo>
                    <a:lnTo>
                      <a:pt x="55" y="1490"/>
                    </a:lnTo>
                    <a:lnTo>
                      <a:pt x="46" y="1487"/>
                    </a:lnTo>
                    <a:lnTo>
                      <a:pt x="38" y="1483"/>
                    </a:lnTo>
                    <a:lnTo>
                      <a:pt x="31" y="1479"/>
                    </a:lnTo>
                    <a:lnTo>
                      <a:pt x="24" y="1475"/>
                    </a:lnTo>
                    <a:lnTo>
                      <a:pt x="19" y="1470"/>
                    </a:lnTo>
                    <a:lnTo>
                      <a:pt x="13" y="1464"/>
                    </a:lnTo>
                    <a:lnTo>
                      <a:pt x="9" y="1458"/>
                    </a:lnTo>
                    <a:lnTo>
                      <a:pt x="4" y="1452"/>
                    </a:lnTo>
                    <a:lnTo>
                      <a:pt x="2" y="1445"/>
                    </a:lnTo>
                    <a:lnTo>
                      <a:pt x="1" y="1437"/>
                    </a:lnTo>
                    <a:lnTo>
                      <a:pt x="0" y="1429"/>
                    </a:lnTo>
                    <a:lnTo>
                      <a:pt x="1" y="1426"/>
                    </a:lnTo>
                    <a:lnTo>
                      <a:pt x="2" y="1423"/>
                    </a:lnTo>
                    <a:lnTo>
                      <a:pt x="4" y="1421"/>
                    </a:lnTo>
                    <a:lnTo>
                      <a:pt x="6" y="1418"/>
                    </a:lnTo>
                    <a:lnTo>
                      <a:pt x="13" y="1415"/>
                    </a:lnTo>
                    <a:lnTo>
                      <a:pt x="22" y="1413"/>
                    </a:lnTo>
                    <a:lnTo>
                      <a:pt x="39" y="1411"/>
                    </a:lnTo>
                    <a:lnTo>
                      <a:pt x="54" y="1411"/>
                    </a:lnTo>
                    <a:lnTo>
                      <a:pt x="58" y="1408"/>
                    </a:lnTo>
                    <a:lnTo>
                      <a:pt x="64" y="1404"/>
                    </a:lnTo>
                    <a:lnTo>
                      <a:pt x="68" y="1399"/>
                    </a:lnTo>
                    <a:lnTo>
                      <a:pt x="72" y="1393"/>
                    </a:lnTo>
                    <a:lnTo>
                      <a:pt x="82" y="1378"/>
                    </a:lnTo>
                    <a:lnTo>
                      <a:pt x="90" y="1361"/>
                    </a:lnTo>
                    <a:lnTo>
                      <a:pt x="97" y="1344"/>
                    </a:lnTo>
                    <a:lnTo>
                      <a:pt x="102" y="1325"/>
                    </a:lnTo>
                    <a:lnTo>
                      <a:pt x="105" y="1309"/>
                    </a:lnTo>
                    <a:lnTo>
                      <a:pt x="106" y="1294"/>
                    </a:lnTo>
                    <a:lnTo>
                      <a:pt x="106" y="1288"/>
                    </a:lnTo>
                    <a:lnTo>
                      <a:pt x="105" y="1284"/>
                    </a:lnTo>
                    <a:lnTo>
                      <a:pt x="103" y="1279"/>
                    </a:lnTo>
                    <a:lnTo>
                      <a:pt x="101" y="1275"/>
                    </a:lnTo>
                    <a:lnTo>
                      <a:pt x="95" y="1267"/>
                    </a:lnTo>
                    <a:lnTo>
                      <a:pt x="90" y="1260"/>
                    </a:lnTo>
                    <a:lnTo>
                      <a:pt x="83" y="1254"/>
                    </a:lnTo>
                    <a:lnTo>
                      <a:pt x="79" y="1248"/>
                    </a:lnTo>
                    <a:lnTo>
                      <a:pt x="77" y="1244"/>
                    </a:lnTo>
                    <a:lnTo>
                      <a:pt x="75" y="1241"/>
                    </a:lnTo>
                    <a:lnTo>
                      <a:pt x="73" y="1237"/>
                    </a:lnTo>
                    <a:lnTo>
                      <a:pt x="73" y="1232"/>
                    </a:lnTo>
                    <a:lnTo>
                      <a:pt x="73" y="1225"/>
                    </a:lnTo>
                    <a:lnTo>
                      <a:pt x="75" y="1218"/>
                    </a:lnTo>
                    <a:lnTo>
                      <a:pt x="77" y="1212"/>
                    </a:lnTo>
                    <a:lnTo>
                      <a:pt x="79" y="1207"/>
                    </a:lnTo>
                    <a:lnTo>
                      <a:pt x="86" y="1200"/>
                    </a:lnTo>
                    <a:lnTo>
                      <a:pt x="93" y="1193"/>
                    </a:lnTo>
                    <a:lnTo>
                      <a:pt x="101" y="1188"/>
                    </a:lnTo>
                    <a:lnTo>
                      <a:pt x="106" y="1182"/>
                    </a:lnTo>
                    <a:lnTo>
                      <a:pt x="110" y="1179"/>
                    </a:lnTo>
                    <a:lnTo>
                      <a:pt x="112" y="1175"/>
                    </a:lnTo>
                    <a:lnTo>
                      <a:pt x="113" y="1170"/>
                    </a:lnTo>
                    <a:lnTo>
                      <a:pt x="113" y="1165"/>
                    </a:lnTo>
                    <a:lnTo>
                      <a:pt x="113" y="1150"/>
                    </a:lnTo>
                    <a:lnTo>
                      <a:pt x="111" y="1137"/>
                    </a:lnTo>
                    <a:lnTo>
                      <a:pt x="109" y="1123"/>
                    </a:lnTo>
                    <a:lnTo>
                      <a:pt x="105" y="1110"/>
                    </a:lnTo>
                    <a:lnTo>
                      <a:pt x="98" y="1082"/>
                    </a:lnTo>
                    <a:lnTo>
                      <a:pt x="88" y="1056"/>
                    </a:lnTo>
                    <a:lnTo>
                      <a:pt x="78" y="1030"/>
                    </a:lnTo>
                    <a:lnTo>
                      <a:pt x="68" y="1006"/>
                    </a:lnTo>
                    <a:lnTo>
                      <a:pt x="59" y="982"/>
                    </a:lnTo>
                    <a:lnTo>
                      <a:pt x="54" y="961"/>
                    </a:lnTo>
                    <a:lnTo>
                      <a:pt x="54" y="930"/>
                    </a:lnTo>
                    <a:lnTo>
                      <a:pt x="58" y="943"/>
                    </a:lnTo>
                    <a:lnTo>
                      <a:pt x="64" y="954"/>
                    </a:lnTo>
                    <a:lnTo>
                      <a:pt x="71" y="964"/>
                    </a:lnTo>
                    <a:lnTo>
                      <a:pt x="80" y="973"/>
                    </a:lnTo>
                    <a:lnTo>
                      <a:pt x="80" y="949"/>
                    </a:lnTo>
                    <a:lnTo>
                      <a:pt x="80" y="954"/>
                    </a:lnTo>
                    <a:lnTo>
                      <a:pt x="82" y="958"/>
                    </a:lnTo>
                    <a:lnTo>
                      <a:pt x="84" y="962"/>
                    </a:lnTo>
                    <a:lnTo>
                      <a:pt x="88" y="966"/>
                    </a:lnTo>
                    <a:lnTo>
                      <a:pt x="92" y="969"/>
                    </a:lnTo>
                    <a:lnTo>
                      <a:pt x="97" y="971"/>
                    </a:lnTo>
                    <a:lnTo>
                      <a:pt x="102" y="973"/>
                    </a:lnTo>
                    <a:lnTo>
                      <a:pt x="106" y="973"/>
                    </a:lnTo>
                    <a:lnTo>
                      <a:pt x="113" y="964"/>
                    </a:lnTo>
                    <a:lnTo>
                      <a:pt x="122" y="955"/>
                    </a:lnTo>
                    <a:lnTo>
                      <a:pt x="126" y="951"/>
                    </a:lnTo>
                    <a:lnTo>
                      <a:pt x="129" y="946"/>
                    </a:lnTo>
                    <a:lnTo>
                      <a:pt x="132" y="940"/>
                    </a:lnTo>
                    <a:lnTo>
                      <a:pt x="133" y="936"/>
                    </a:lnTo>
                    <a:lnTo>
                      <a:pt x="132" y="923"/>
                    </a:lnTo>
                    <a:lnTo>
                      <a:pt x="128" y="913"/>
                    </a:lnTo>
                    <a:lnTo>
                      <a:pt x="125" y="903"/>
                    </a:lnTo>
                    <a:lnTo>
                      <a:pt x="120" y="895"/>
                    </a:lnTo>
                    <a:lnTo>
                      <a:pt x="115" y="887"/>
                    </a:lnTo>
                    <a:lnTo>
                      <a:pt x="111" y="879"/>
                    </a:lnTo>
                    <a:lnTo>
                      <a:pt x="107" y="871"/>
                    </a:lnTo>
                    <a:lnTo>
                      <a:pt x="106" y="862"/>
                    </a:lnTo>
                    <a:lnTo>
                      <a:pt x="107" y="855"/>
                    </a:lnTo>
                    <a:lnTo>
                      <a:pt x="111" y="847"/>
                    </a:lnTo>
                    <a:lnTo>
                      <a:pt x="115" y="839"/>
                    </a:lnTo>
                    <a:lnTo>
                      <a:pt x="121" y="831"/>
                    </a:lnTo>
                    <a:lnTo>
                      <a:pt x="126" y="823"/>
                    </a:lnTo>
                    <a:lnTo>
                      <a:pt x="132" y="818"/>
                    </a:lnTo>
                    <a:lnTo>
                      <a:pt x="136" y="814"/>
                    </a:lnTo>
                    <a:lnTo>
                      <a:pt x="139" y="813"/>
                    </a:lnTo>
                    <a:lnTo>
                      <a:pt x="139" y="807"/>
                    </a:lnTo>
                    <a:lnTo>
                      <a:pt x="140" y="800"/>
                    </a:lnTo>
                    <a:lnTo>
                      <a:pt x="143" y="792"/>
                    </a:lnTo>
                    <a:lnTo>
                      <a:pt x="146" y="783"/>
                    </a:lnTo>
                    <a:lnTo>
                      <a:pt x="147" y="765"/>
                    </a:lnTo>
                    <a:lnTo>
                      <a:pt x="149" y="751"/>
                    </a:lnTo>
                    <a:lnTo>
                      <a:pt x="151" y="737"/>
                    </a:lnTo>
                    <a:lnTo>
                      <a:pt x="153" y="721"/>
                    </a:lnTo>
                  </a:path>
                </a:pathLst>
              </a:custGeom>
              <a:grpFill/>
              <a:ln w="9525" cmpd="sng">
                <a:solidFill>
                  <a:srgbClr val="FFFFFF"/>
                </a:solidFill>
                <a:prstDash val="solid"/>
                <a:round/>
                <a:headEnd/>
                <a:tailEnd/>
              </a:ln>
            </p:spPr>
            <p:txBody>
              <a:bodyPr/>
              <a:lstStyle/>
              <a:p>
                <a:endParaRPr lang="en-GB" sz="1637"/>
              </a:p>
            </p:txBody>
          </p:sp>
          <p:sp>
            <p:nvSpPr>
              <p:cNvPr id="81" name="Freeform 226"/>
              <p:cNvSpPr>
                <a:spLocks/>
              </p:cNvSpPr>
              <p:nvPr>
                <p:custDataLst>
                  <p:tags r:id="rId64"/>
                </p:custDataLst>
              </p:nvPr>
            </p:nvSpPr>
            <p:spPr bwMode="auto">
              <a:xfrm>
                <a:off x="4089361" y="1254286"/>
                <a:ext cx="258213" cy="103876"/>
              </a:xfrm>
              <a:custGeom>
                <a:avLst/>
                <a:gdLst>
                  <a:gd name="T0" fmla="*/ 32058 w 546"/>
                  <a:gd name="T1" fmla="*/ 10112 h 173"/>
                  <a:gd name="T2" fmla="*/ 40722 w 546"/>
                  <a:gd name="T3" fmla="*/ 18096 h 173"/>
                  <a:gd name="T4" fmla="*/ 47654 w 546"/>
                  <a:gd name="T5" fmla="*/ 14370 h 173"/>
                  <a:gd name="T6" fmla="*/ 57185 w 546"/>
                  <a:gd name="T7" fmla="*/ 14370 h 173"/>
                  <a:gd name="T8" fmla="*/ 69748 w 546"/>
                  <a:gd name="T9" fmla="*/ 23418 h 173"/>
                  <a:gd name="T10" fmla="*/ 90543 w 546"/>
                  <a:gd name="T11" fmla="*/ 10112 h 173"/>
                  <a:gd name="T12" fmla="*/ 105272 w 546"/>
                  <a:gd name="T13" fmla="*/ 10112 h 173"/>
                  <a:gd name="T14" fmla="*/ 112637 w 546"/>
                  <a:gd name="T15" fmla="*/ 8516 h 173"/>
                  <a:gd name="T16" fmla="*/ 116536 w 546"/>
                  <a:gd name="T17" fmla="*/ 7451 h 173"/>
                  <a:gd name="T18" fmla="*/ 120868 w 546"/>
                  <a:gd name="T19" fmla="*/ 5854 h 173"/>
                  <a:gd name="T20" fmla="*/ 123900 w 546"/>
                  <a:gd name="T21" fmla="*/ 1597 h 173"/>
                  <a:gd name="T22" fmla="*/ 139063 w 546"/>
                  <a:gd name="T23" fmla="*/ 2661 h 173"/>
                  <a:gd name="T24" fmla="*/ 144262 w 546"/>
                  <a:gd name="T25" fmla="*/ 6387 h 173"/>
                  <a:gd name="T26" fmla="*/ 150760 w 546"/>
                  <a:gd name="T27" fmla="*/ 3726 h 173"/>
                  <a:gd name="T28" fmla="*/ 152926 w 546"/>
                  <a:gd name="T29" fmla="*/ 0 h 173"/>
                  <a:gd name="T30" fmla="*/ 158991 w 546"/>
                  <a:gd name="T31" fmla="*/ 3726 h 173"/>
                  <a:gd name="T32" fmla="*/ 168522 w 546"/>
                  <a:gd name="T33" fmla="*/ 3726 h 173"/>
                  <a:gd name="T34" fmla="*/ 188883 w 546"/>
                  <a:gd name="T35" fmla="*/ 532 h 173"/>
                  <a:gd name="T36" fmla="*/ 208811 w 546"/>
                  <a:gd name="T37" fmla="*/ 3193 h 173"/>
                  <a:gd name="T38" fmla="*/ 228739 w 546"/>
                  <a:gd name="T39" fmla="*/ 6387 h 173"/>
                  <a:gd name="T40" fmla="*/ 236104 w 546"/>
                  <a:gd name="T41" fmla="*/ 26079 h 173"/>
                  <a:gd name="T42" fmla="*/ 232638 w 546"/>
                  <a:gd name="T43" fmla="*/ 31934 h 173"/>
                  <a:gd name="T44" fmla="*/ 222241 w 546"/>
                  <a:gd name="T45" fmla="*/ 32998 h 173"/>
                  <a:gd name="T46" fmla="*/ 209244 w 546"/>
                  <a:gd name="T47" fmla="*/ 28740 h 173"/>
                  <a:gd name="T48" fmla="*/ 178919 w 546"/>
                  <a:gd name="T49" fmla="*/ 23418 h 173"/>
                  <a:gd name="T50" fmla="*/ 189749 w 546"/>
                  <a:gd name="T51" fmla="*/ 43110 h 173"/>
                  <a:gd name="T52" fmla="*/ 204046 w 546"/>
                  <a:gd name="T53" fmla="*/ 54287 h 173"/>
                  <a:gd name="T54" fmla="*/ 213576 w 546"/>
                  <a:gd name="T55" fmla="*/ 63335 h 173"/>
                  <a:gd name="T56" fmla="*/ 205779 w 546"/>
                  <a:gd name="T57" fmla="*/ 72383 h 173"/>
                  <a:gd name="T58" fmla="*/ 194515 w 546"/>
                  <a:gd name="T59" fmla="*/ 75576 h 173"/>
                  <a:gd name="T60" fmla="*/ 184551 w 546"/>
                  <a:gd name="T61" fmla="*/ 75044 h 173"/>
                  <a:gd name="T62" fmla="*/ 178486 w 546"/>
                  <a:gd name="T63" fmla="*/ 71318 h 173"/>
                  <a:gd name="T64" fmla="*/ 172854 w 546"/>
                  <a:gd name="T65" fmla="*/ 69189 h 173"/>
                  <a:gd name="T66" fmla="*/ 166789 w 546"/>
                  <a:gd name="T67" fmla="*/ 64399 h 173"/>
                  <a:gd name="T68" fmla="*/ 162457 w 546"/>
                  <a:gd name="T69" fmla="*/ 55351 h 173"/>
                  <a:gd name="T70" fmla="*/ 158125 w 546"/>
                  <a:gd name="T71" fmla="*/ 48965 h 173"/>
                  <a:gd name="T72" fmla="*/ 149027 w 546"/>
                  <a:gd name="T73" fmla="*/ 44707 h 173"/>
                  <a:gd name="T74" fmla="*/ 140796 w 546"/>
                  <a:gd name="T75" fmla="*/ 40449 h 173"/>
                  <a:gd name="T76" fmla="*/ 131265 w 546"/>
                  <a:gd name="T77" fmla="*/ 46304 h 173"/>
                  <a:gd name="T78" fmla="*/ 111770 w 546"/>
                  <a:gd name="T79" fmla="*/ 71318 h 173"/>
                  <a:gd name="T80" fmla="*/ 102239 w 546"/>
                  <a:gd name="T81" fmla="*/ 86753 h 173"/>
                  <a:gd name="T82" fmla="*/ 95308 w 546"/>
                  <a:gd name="T83" fmla="*/ 91543 h 173"/>
                  <a:gd name="T84" fmla="*/ 81445 w 546"/>
                  <a:gd name="T85" fmla="*/ 88882 h 173"/>
                  <a:gd name="T86" fmla="*/ 71481 w 546"/>
                  <a:gd name="T87" fmla="*/ 82495 h 173"/>
                  <a:gd name="T88" fmla="*/ 48954 w 546"/>
                  <a:gd name="T89" fmla="*/ 55884 h 173"/>
                  <a:gd name="T90" fmla="*/ 41156 w 546"/>
                  <a:gd name="T91" fmla="*/ 48433 h 173"/>
                  <a:gd name="T92" fmla="*/ 25993 w 546"/>
                  <a:gd name="T93" fmla="*/ 40449 h 173"/>
                  <a:gd name="T94" fmla="*/ 6931 w 546"/>
                  <a:gd name="T95" fmla="*/ 30869 h 173"/>
                  <a:gd name="T96" fmla="*/ 4765 w 546"/>
                  <a:gd name="T97" fmla="*/ 18096 h 173"/>
                  <a:gd name="T98" fmla="*/ 12130 w 546"/>
                  <a:gd name="T99" fmla="*/ 10112 h 173"/>
                  <a:gd name="T100" fmla="*/ 20361 w 546"/>
                  <a:gd name="T101" fmla="*/ 6387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grpFill/>
              <a:ln w="9525" cap="flat" cmpd="sng">
                <a:solidFill>
                  <a:srgbClr val="FFFFFF"/>
                </a:solidFill>
                <a:prstDash val="solid"/>
                <a:round/>
                <a:headEnd type="none" w="med" len="med"/>
                <a:tailEnd type="none" w="med" len="med"/>
              </a:ln>
              <a:effectLst/>
            </p:spPr>
            <p:txBody>
              <a:bodyPr/>
              <a:lstStyle/>
              <a:p>
                <a:endParaRPr lang="en-GB" sz="1637"/>
              </a:p>
            </p:txBody>
          </p:sp>
          <p:sp>
            <p:nvSpPr>
              <p:cNvPr id="82" name="Freeform 227"/>
              <p:cNvSpPr>
                <a:spLocks/>
              </p:cNvSpPr>
              <p:nvPr>
                <p:custDataLst>
                  <p:tags r:id="rId65"/>
                </p:custDataLst>
              </p:nvPr>
            </p:nvSpPr>
            <p:spPr bwMode="auto">
              <a:xfrm>
                <a:off x="4009644" y="1513976"/>
                <a:ext cx="490432" cy="408340"/>
              </a:xfrm>
              <a:custGeom>
                <a:avLst/>
                <a:gdLst>
                  <a:gd name="T0" fmla="*/ 103976 w 1037"/>
                  <a:gd name="T1" fmla="*/ 326280 h 690"/>
                  <a:gd name="T2" fmla="*/ 67151 w 1037"/>
                  <a:gd name="T3" fmla="*/ 358278 h 690"/>
                  <a:gd name="T4" fmla="*/ 13863 w 1037"/>
                  <a:gd name="T5" fmla="*/ 343066 h 690"/>
                  <a:gd name="T6" fmla="*/ 29027 w 1037"/>
                  <a:gd name="T7" fmla="*/ 332574 h 690"/>
                  <a:gd name="T8" fmla="*/ 7798 w 1037"/>
                  <a:gd name="T9" fmla="*/ 312641 h 690"/>
                  <a:gd name="T10" fmla="*/ 19062 w 1037"/>
                  <a:gd name="T11" fmla="*/ 312116 h 690"/>
                  <a:gd name="T12" fmla="*/ 29027 w 1037"/>
                  <a:gd name="T13" fmla="*/ 297428 h 690"/>
                  <a:gd name="T14" fmla="*/ 3466 w 1037"/>
                  <a:gd name="T15" fmla="*/ 286413 h 690"/>
                  <a:gd name="T16" fmla="*/ 32059 w 1037"/>
                  <a:gd name="T17" fmla="*/ 274348 h 690"/>
                  <a:gd name="T18" fmla="*/ 0 w 1037"/>
                  <a:gd name="T19" fmla="*/ 261758 h 690"/>
                  <a:gd name="T20" fmla="*/ 8665 w 1037"/>
                  <a:gd name="T21" fmla="*/ 239202 h 690"/>
                  <a:gd name="T22" fmla="*/ 16030 w 1037"/>
                  <a:gd name="T23" fmla="*/ 241825 h 690"/>
                  <a:gd name="T24" fmla="*/ 33359 w 1037"/>
                  <a:gd name="T25" fmla="*/ 235530 h 690"/>
                  <a:gd name="T26" fmla="*/ 39857 w 1037"/>
                  <a:gd name="T27" fmla="*/ 222416 h 690"/>
                  <a:gd name="T28" fmla="*/ 56320 w 1037"/>
                  <a:gd name="T29" fmla="*/ 214547 h 690"/>
                  <a:gd name="T30" fmla="*/ 95311 w 1037"/>
                  <a:gd name="T31" fmla="*/ 200384 h 690"/>
                  <a:gd name="T32" fmla="*/ 98344 w 1037"/>
                  <a:gd name="T33" fmla="*/ 177828 h 690"/>
                  <a:gd name="T34" fmla="*/ 122605 w 1037"/>
                  <a:gd name="T35" fmla="*/ 170484 h 690"/>
                  <a:gd name="T36" fmla="*/ 122172 w 1037"/>
                  <a:gd name="T37" fmla="*/ 162615 h 690"/>
                  <a:gd name="T38" fmla="*/ 129103 w 1037"/>
                  <a:gd name="T39" fmla="*/ 149501 h 690"/>
                  <a:gd name="T40" fmla="*/ 145133 w 1037"/>
                  <a:gd name="T41" fmla="*/ 127469 h 690"/>
                  <a:gd name="T42" fmla="*/ 148599 w 1037"/>
                  <a:gd name="T43" fmla="*/ 118552 h 690"/>
                  <a:gd name="T44" fmla="*/ 168961 w 1037"/>
                  <a:gd name="T45" fmla="*/ 104913 h 690"/>
                  <a:gd name="T46" fmla="*/ 167661 w 1037"/>
                  <a:gd name="T47" fmla="*/ 82357 h 690"/>
                  <a:gd name="T48" fmla="*/ 161596 w 1037"/>
                  <a:gd name="T49" fmla="*/ 74488 h 690"/>
                  <a:gd name="T50" fmla="*/ 144700 w 1037"/>
                  <a:gd name="T51" fmla="*/ 80783 h 690"/>
                  <a:gd name="T52" fmla="*/ 168961 w 1037"/>
                  <a:gd name="T53" fmla="*/ 54030 h 690"/>
                  <a:gd name="T54" fmla="*/ 178059 w 1037"/>
                  <a:gd name="T55" fmla="*/ 50358 h 690"/>
                  <a:gd name="T56" fmla="*/ 200587 w 1037"/>
                  <a:gd name="T57" fmla="*/ 59800 h 690"/>
                  <a:gd name="T58" fmla="*/ 201886 w 1037"/>
                  <a:gd name="T59" fmla="*/ 47735 h 690"/>
                  <a:gd name="T60" fmla="*/ 241744 w 1037"/>
                  <a:gd name="T61" fmla="*/ 31998 h 690"/>
                  <a:gd name="T62" fmla="*/ 256040 w 1037"/>
                  <a:gd name="T63" fmla="*/ 33048 h 690"/>
                  <a:gd name="T64" fmla="*/ 279435 w 1037"/>
                  <a:gd name="T65" fmla="*/ 28851 h 690"/>
                  <a:gd name="T66" fmla="*/ 279435 w 1037"/>
                  <a:gd name="T67" fmla="*/ 17311 h 690"/>
                  <a:gd name="T68" fmla="*/ 302829 w 1037"/>
                  <a:gd name="T69" fmla="*/ 6819 h 690"/>
                  <a:gd name="T70" fmla="*/ 305429 w 1037"/>
                  <a:gd name="T71" fmla="*/ 15212 h 690"/>
                  <a:gd name="T72" fmla="*/ 308461 w 1037"/>
                  <a:gd name="T73" fmla="*/ 20983 h 690"/>
                  <a:gd name="T74" fmla="*/ 328390 w 1037"/>
                  <a:gd name="T75" fmla="*/ 6295 h 690"/>
                  <a:gd name="T76" fmla="*/ 353951 w 1037"/>
                  <a:gd name="T77" fmla="*/ 3147 h 690"/>
                  <a:gd name="T78" fmla="*/ 365648 w 1037"/>
                  <a:gd name="T79" fmla="*/ 4197 h 690"/>
                  <a:gd name="T80" fmla="*/ 373446 w 1037"/>
                  <a:gd name="T81" fmla="*/ 5770 h 690"/>
                  <a:gd name="T82" fmla="*/ 400307 w 1037"/>
                  <a:gd name="T83" fmla="*/ 3147 h 690"/>
                  <a:gd name="T84" fmla="*/ 449262 w 1037"/>
                  <a:gd name="T85" fmla="*/ 22556 h 690"/>
                  <a:gd name="T86" fmla="*/ 435399 w 1037"/>
                  <a:gd name="T87" fmla="*/ 41441 h 690"/>
                  <a:gd name="T88" fmla="*/ 402906 w 1037"/>
                  <a:gd name="T89" fmla="*/ 28851 h 690"/>
                  <a:gd name="T90" fmla="*/ 378212 w 1037"/>
                  <a:gd name="T91" fmla="*/ 38818 h 690"/>
                  <a:gd name="T92" fmla="*/ 367381 w 1037"/>
                  <a:gd name="T93" fmla="*/ 60850 h 690"/>
                  <a:gd name="T94" fmla="*/ 351351 w 1037"/>
                  <a:gd name="T95" fmla="*/ 58227 h 690"/>
                  <a:gd name="T96" fmla="*/ 322758 w 1037"/>
                  <a:gd name="T97" fmla="*/ 67144 h 690"/>
                  <a:gd name="T98" fmla="*/ 300663 w 1037"/>
                  <a:gd name="T99" fmla="*/ 48260 h 690"/>
                  <a:gd name="T100" fmla="*/ 268604 w 1037"/>
                  <a:gd name="T101" fmla="*/ 58751 h 690"/>
                  <a:gd name="T102" fmla="*/ 231346 w 1037"/>
                  <a:gd name="T103" fmla="*/ 70292 h 690"/>
                  <a:gd name="T104" fmla="*/ 210551 w 1037"/>
                  <a:gd name="T105" fmla="*/ 110159 h 690"/>
                  <a:gd name="T106" fmla="*/ 186290 w 1037"/>
                  <a:gd name="T107" fmla="*/ 146354 h 690"/>
                  <a:gd name="T108" fmla="*/ 172860 w 1037"/>
                  <a:gd name="T109" fmla="*/ 190942 h 690"/>
                  <a:gd name="T110" fmla="*/ 144266 w 1037"/>
                  <a:gd name="T111" fmla="*/ 222940 h 690"/>
                  <a:gd name="T112" fmla="*/ 153798 w 1037"/>
                  <a:gd name="T113" fmla="*/ 260709 h 690"/>
                  <a:gd name="T114" fmla="*/ 153364 w 1037"/>
                  <a:gd name="T115" fmla="*/ 292707 h 690"/>
                  <a:gd name="T116" fmla="*/ 143400 w 1037"/>
                  <a:gd name="T117" fmla="*/ 322608 h 690"/>
                  <a:gd name="T118" fmla="*/ 127804 w 1037"/>
                  <a:gd name="T119" fmla="*/ 338345 h 69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037" h="690">
                    <a:moveTo>
                      <a:pt x="286" y="647"/>
                    </a:moveTo>
                    <a:lnTo>
                      <a:pt x="273" y="631"/>
                    </a:lnTo>
                    <a:lnTo>
                      <a:pt x="262" y="621"/>
                    </a:lnTo>
                    <a:lnTo>
                      <a:pt x="253" y="612"/>
                    </a:lnTo>
                    <a:lnTo>
                      <a:pt x="246" y="604"/>
                    </a:lnTo>
                    <a:lnTo>
                      <a:pt x="243" y="613"/>
                    </a:lnTo>
                    <a:lnTo>
                      <a:pt x="240" y="622"/>
                    </a:lnTo>
                    <a:lnTo>
                      <a:pt x="239" y="627"/>
                    </a:lnTo>
                    <a:lnTo>
                      <a:pt x="235" y="632"/>
                    </a:lnTo>
                    <a:lnTo>
                      <a:pt x="231" y="638"/>
                    </a:lnTo>
                    <a:lnTo>
                      <a:pt x="224" y="644"/>
                    </a:lnTo>
                    <a:lnTo>
                      <a:pt x="208" y="655"/>
                    </a:lnTo>
                    <a:lnTo>
                      <a:pt x="190" y="665"/>
                    </a:lnTo>
                    <a:lnTo>
                      <a:pt x="155" y="683"/>
                    </a:lnTo>
                    <a:lnTo>
                      <a:pt x="140" y="690"/>
                    </a:lnTo>
                    <a:lnTo>
                      <a:pt x="107" y="690"/>
                    </a:lnTo>
                    <a:lnTo>
                      <a:pt x="86" y="683"/>
                    </a:lnTo>
                    <a:lnTo>
                      <a:pt x="60" y="672"/>
                    </a:lnTo>
                    <a:lnTo>
                      <a:pt x="48" y="666"/>
                    </a:lnTo>
                    <a:lnTo>
                      <a:pt x="37" y="658"/>
                    </a:lnTo>
                    <a:lnTo>
                      <a:pt x="32" y="654"/>
                    </a:lnTo>
                    <a:lnTo>
                      <a:pt x="30" y="650"/>
                    </a:lnTo>
                    <a:lnTo>
                      <a:pt x="28" y="646"/>
                    </a:lnTo>
                    <a:lnTo>
                      <a:pt x="27" y="641"/>
                    </a:lnTo>
                    <a:lnTo>
                      <a:pt x="40" y="641"/>
                    </a:lnTo>
                    <a:lnTo>
                      <a:pt x="50" y="640"/>
                    </a:lnTo>
                    <a:lnTo>
                      <a:pt x="58" y="639"/>
                    </a:lnTo>
                    <a:lnTo>
                      <a:pt x="67" y="634"/>
                    </a:lnTo>
                    <a:lnTo>
                      <a:pt x="59" y="627"/>
                    </a:lnTo>
                    <a:lnTo>
                      <a:pt x="49" y="620"/>
                    </a:lnTo>
                    <a:lnTo>
                      <a:pt x="38" y="613"/>
                    </a:lnTo>
                    <a:lnTo>
                      <a:pt x="27" y="606"/>
                    </a:lnTo>
                    <a:lnTo>
                      <a:pt x="8" y="596"/>
                    </a:lnTo>
                    <a:lnTo>
                      <a:pt x="0" y="592"/>
                    </a:lnTo>
                    <a:lnTo>
                      <a:pt x="18" y="596"/>
                    </a:lnTo>
                    <a:lnTo>
                      <a:pt x="32" y="599"/>
                    </a:lnTo>
                    <a:lnTo>
                      <a:pt x="38" y="600"/>
                    </a:lnTo>
                    <a:lnTo>
                      <a:pt x="43" y="600"/>
                    </a:lnTo>
                    <a:lnTo>
                      <a:pt x="49" y="600"/>
                    </a:lnTo>
                    <a:lnTo>
                      <a:pt x="54" y="598"/>
                    </a:lnTo>
                    <a:lnTo>
                      <a:pt x="49" y="597"/>
                    </a:lnTo>
                    <a:lnTo>
                      <a:pt x="44" y="595"/>
                    </a:lnTo>
                    <a:lnTo>
                      <a:pt x="40" y="591"/>
                    </a:lnTo>
                    <a:lnTo>
                      <a:pt x="36" y="587"/>
                    </a:lnTo>
                    <a:lnTo>
                      <a:pt x="32" y="583"/>
                    </a:lnTo>
                    <a:lnTo>
                      <a:pt x="29" y="576"/>
                    </a:lnTo>
                    <a:lnTo>
                      <a:pt x="28" y="571"/>
                    </a:lnTo>
                    <a:lnTo>
                      <a:pt x="27" y="567"/>
                    </a:lnTo>
                    <a:lnTo>
                      <a:pt x="67" y="567"/>
                    </a:lnTo>
                    <a:lnTo>
                      <a:pt x="56" y="566"/>
                    </a:lnTo>
                    <a:lnTo>
                      <a:pt x="45" y="564"/>
                    </a:lnTo>
                    <a:lnTo>
                      <a:pt x="35" y="562"/>
                    </a:lnTo>
                    <a:lnTo>
                      <a:pt x="25" y="558"/>
                    </a:lnTo>
                    <a:lnTo>
                      <a:pt x="16" y="554"/>
                    </a:lnTo>
                    <a:lnTo>
                      <a:pt x="10" y="549"/>
                    </a:lnTo>
                    <a:lnTo>
                      <a:pt x="8" y="546"/>
                    </a:lnTo>
                    <a:lnTo>
                      <a:pt x="7" y="543"/>
                    </a:lnTo>
                    <a:lnTo>
                      <a:pt x="7" y="540"/>
                    </a:lnTo>
                    <a:lnTo>
                      <a:pt x="7" y="536"/>
                    </a:lnTo>
                    <a:lnTo>
                      <a:pt x="0" y="523"/>
                    </a:lnTo>
                    <a:lnTo>
                      <a:pt x="29" y="523"/>
                    </a:lnTo>
                    <a:lnTo>
                      <a:pt x="54" y="523"/>
                    </a:lnTo>
                    <a:lnTo>
                      <a:pt x="74" y="523"/>
                    </a:lnTo>
                    <a:lnTo>
                      <a:pt x="87" y="523"/>
                    </a:lnTo>
                    <a:lnTo>
                      <a:pt x="72" y="519"/>
                    </a:lnTo>
                    <a:lnTo>
                      <a:pt x="39" y="511"/>
                    </a:lnTo>
                    <a:lnTo>
                      <a:pt x="22" y="507"/>
                    </a:lnTo>
                    <a:lnTo>
                      <a:pt x="8" y="503"/>
                    </a:lnTo>
                    <a:lnTo>
                      <a:pt x="0" y="500"/>
                    </a:lnTo>
                    <a:lnTo>
                      <a:pt x="0" y="499"/>
                    </a:lnTo>
                    <a:lnTo>
                      <a:pt x="2" y="485"/>
                    </a:lnTo>
                    <a:lnTo>
                      <a:pt x="3" y="476"/>
                    </a:lnTo>
                    <a:lnTo>
                      <a:pt x="4" y="472"/>
                    </a:lnTo>
                    <a:lnTo>
                      <a:pt x="4" y="467"/>
                    </a:lnTo>
                    <a:lnTo>
                      <a:pt x="3" y="462"/>
                    </a:lnTo>
                    <a:lnTo>
                      <a:pt x="0" y="456"/>
                    </a:lnTo>
                    <a:lnTo>
                      <a:pt x="20" y="456"/>
                    </a:lnTo>
                    <a:lnTo>
                      <a:pt x="21" y="460"/>
                    </a:lnTo>
                    <a:lnTo>
                      <a:pt x="24" y="463"/>
                    </a:lnTo>
                    <a:lnTo>
                      <a:pt x="25" y="464"/>
                    </a:lnTo>
                    <a:lnTo>
                      <a:pt x="26" y="464"/>
                    </a:lnTo>
                    <a:lnTo>
                      <a:pt x="27" y="463"/>
                    </a:lnTo>
                    <a:lnTo>
                      <a:pt x="27" y="462"/>
                    </a:lnTo>
                    <a:lnTo>
                      <a:pt x="37" y="461"/>
                    </a:lnTo>
                    <a:lnTo>
                      <a:pt x="51" y="459"/>
                    </a:lnTo>
                    <a:lnTo>
                      <a:pt x="67" y="457"/>
                    </a:lnTo>
                    <a:lnTo>
                      <a:pt x="81" y="456"/>
                    </a:lnTo>
                    <a:lnTo>
                      <a:pt x="78" y="455"/>
                    </a:lnTo>
                    <a:lnTo>
                      <a:pt x="77" y="454"/>
                    </a:lnTo>
                    <a:lnTo>
                      <a:pt x="77" y="452"/>
                    </a:lnTo>
                    <a:lnTo>
                      <a:pt x="77" y="449"/>
                    </a:lnTo>
                    <a:lnTo>
                      <a:pt x="80" y="443"/>
                    </a:lnTo>
                    <a:lnTo>
                      <a:pt x="81" y="437"/>
                    </a:lnTo>
                    <a:lnTo>
                      <a:pt x="91" y="437"/>
                    </a:lnTo>
                    <a:lnTo>
                      <a:pt x="100" y="437"/>
                    </a:lnTo>
                    <a:lnTo>
                      <a:pt x="99" y="433"/>
                    </a:lnTo>
                    <a:lnTo>
                      <a:pt x="96" y="428"/>
                    </a:lnTo>
                    <a:lnTo>
                      <a:pt x="92" y="424"/>
                    </a:lnTo>
                    <a:lnTo>
                      <a:pt x="87" y="419"/>
                    </a:lnTo>
                    <a:lnTo>
                      <a:pt x="97" y="416"/>
                    </a:lnTo>
                    <a:lnTo>
                      <a:pt x="107" y="413"/>
                    </a:lnTo>
                    <a:lnTo>
                      <a:pt x="117" y="412"/>
                    </a:lnTo>
                    <a:lnTo>
                      <a:pt x="127" y="412"/>
                    </a:lnTo>
                    <a:lnTo>
                      <a:pt x="129" y="412"/>
                    </a:lnTo>
                    <a:lnTo>
                      <a:pt x="130" y="409"/>
                    </a:lnTo>
                    <a:lnTo>
                      <a:pt x="130" y="406"/>
                    </a:lnTo>
                    <a:lnTo>
                      <a:pt x="129" y="402"/>
                    </a:lnTo>
                    <a:lnTo>
                      <a:pt x="128" y="394"/>
                    </a:lnTo>
                    <a:lnTo>
                      <a:pt x="127" y="388"/>
                    </a:lnTo>
                    <a:lnTo>
                      <a:pt x="147" y="388"/>
                    </a:lnTo>
                    <a:lnTo>
                      <a:pt x="133" y="382"/>
                    </a:lnTo>
                    <a:lnTo>
                      <a:pt x="220" y="382"/>
                    </a:lnTo>
                    <a:lnTo>
                      <a:pt x="207" y="376"/>
                    </a:lnTo>
                    <a:lnTo>
                      <a:pt x="213" y="373"/>
                    </a:lnTo>
                    <a:lnTo>
                      <a:pt x="218" y="370"/>
                    </a:lnTo>
                    <a:lnTo>
                      <a:pt x="221" y="367"/>
                    </a:lnTo>
                    <a:lnTo>
                      <a:pt x="224" y="362"/>
                    </a:lnTo>
                    <a:lnTo>
                      <a:pt x="227" y="351"/>
                    </a:lnTo>
                    <a:lnTo>
                      <a:pt x="227" y="339"/>
                    </a:lnTo>
                    <a:lnTo>
                      <a:pt x="243" y="339"/>
                    </a:lnTo>
                    <a:lnTo>
                      <a:pt x="255" y="339"/>
                    </a:lnTo>
                    <a:lnTo>
                      <a:pt x="266" y="339"/>
                    </a:lnTo>
                    <a:lnTo>
                      <a:pt x="279" y="339"/>
                    </a:lnTo>
                    <a:lnTo>
                      <a:pt x="279" y="333"/>
                    </a:lnTo>
                    <a:lnTo>
                      <a:pt x="282" y="327"/>
                    </a:lnTo>
                    <a:lnTo>
                      <a:pt x="283" y="325"/>
                    </a:lnTo>
                    <a:lnTo>
                      <a:pt x="285" y="323"/>
                    </a:lnTo>
                    <a:lnTo>
                      <a:pt x="288" y="321"/>
                    </a:lnTo>
                    <a:lnTo>
                      <a:pt x="293" y="321"/>
                    </a:lnTo>
                    <a:lnTo>
                      <a:pt x="286" y="318"/>
                    </a:lnTo>
                    <a:lnTo>
                      <a:pt x="279" y="314"/>
                    </a:lnTo>
                    <a:lnTo>
                      <a:pt x="280" y="312"/>
                    </a:lnTo>
                    <a:lnTo>
                      <a:pt x="282" y="310"/>
                    </a:lnTo>
                    <a:lnTo>
                      <a:pt x="284" y="308"/>
                    </a:lnTo>
                    <a:lnTo>
                      <a:pt x="287" y="305"/>
                    </a:lnTo>
                    <a:lnTo>
                      <a:pt x="294" y="300"/>
                    </a:lnTo>
                    <a:lnTo>
                      <a:pt x="299" y="295"/>
                    </a:lnTo>
                    <a:lnTo>
                      <a:pt x="298" y="292"/>
                    </a:lnTo>
                    <a:lnTo>
                      <a:pt x="297" y="288"/>
                    </a:lnTo>
                    <a:lnTo>
                      <a:pt x="298" y="285"/>
                    </a:lnTo>
                    <a:lnTo>
                      <a:pt x="299" y="281"/>
                    </a:lnTo>
                    <a:lnTo>
                      <a:pt x="305" y="274"/>
                    </a:lnTo>
                    <a:lnTo>
                      <a:pt x="311" y="267"/>
                    </a:lnTo>
                    <a:lnTo>
                      <a:pt x="325" y="254"/>
                    </a:lnTo>
                    <a:lnTo>
                      <a:pt x="333" y="246"/>
                    </a:lnTo>
                    <a:lnTo>
                      <a:pt x="333" y="244"/>
                    </a:lnTo>
                    <a:lnTo>
                      <a:pt x="335" y="243"/>
                    </a:lnTo>
                    <a:lnTo>
                      <a:pt x="338" y="243"/>
                    </a:lnTo>
                    <a:lnTo>
                      <a:pt x="340" y="244"/>
                    </a:lnTo>
                    <a:lnTo>
                      <a:pt x="344" y="245"/>
                    </a:lnTo>
                    <a:lnTo>
                      <a:pt x="346" y="246"/>
                    </a:lnTo>
                    <a:lnTo>
                      <a:pt x="344" y="239"/>
                    </a:lnTo>
                    <a:lnTo>
                      <a:pt x="343" y="233"/>
                    </a:lnTo>
                    <a:lnTo>
                      <a:pt x="343" y="226"/>
                    </a:lnTo>
                    <a:lnTo>
                      <a:pt x="344" y="220"/>
                    </a:lnTo>
                    <a:lnTo>
                      <a:pt x="345" y="210"/>
                    </a:lnTo>
                    <a:lnTo>
                      <a:pt x="346" y="204"/>
                    </a:lnTo>
                    <a:lnTo>
                      <a:pt x="370" y="204"/>
                    </a:lnTo>
                    <a:lnTo>
                      <a:pt x="385" y="203"/>
                    </a:lnTo>
                    <a:lnTo>
                      <a:pt x="388" y="202"/>
                    </a:lnTo>
                    <a:lnTo>
                      <a:pt x="390" y="200"/>
                    </a:lnTo>
                    <a:lnTo>
                      <a:pt x="392" y="198"/>
                    </a:lnTo>
                    <a:lnTo>
                      <a:pt x="394" y="196"/>
                    </a:lnTo>
                    <a:lnTo>
                      <a:pt x="397" y="188"/>
                    </a:lnTo>
                    <a:lnTo>
                      <a:pt x="399" y="178"/>
                    </a:lnTo>
                    <a:lnTo>
                      <a:pt x="395" y="173"/>
                    </a:lnTo>
                    <a:lnTo>
                      <a:pt x="390" y="166"/>
                    </a:lnTo>
                    <a:lnTo>
                      <a:pt x="387" y="157"/>
                    </a:lnTo>
                    <a:lnTo>
                      <a:pt x="386" y="148"/>
                    </a:lnTo>
                    <a:lnTo>
                      <a:pt x="384" y="148"/>
                    </a:lnTo>
                    <a:lnTo>
                      <a:pt x="379" y="147"/>
                    </a:lnTo>
                    <a:lnTo>
                      <a:pt x="377" y="147"/>
                    </a:lnTo>
                    <a:lnTo>
                      <a:pt x="375" y="146"/>
                    </a:lnTo>
                    <a:lnTo>
                      <a:pt x="373" y="144"/>
                    </a:lnTo>
                    <a:lnTo>
                      <a:pt x="373" y="142"/>
                    </a:lnTo>
                    <a:lnTo>
                      <a:pt x="363" y="150"/>
                    </a:lnTo>
                    <a:lnTo>
                      <a:pt x="353" y="156"/>
                    </a:lnTo>
                    <a:lnTo>
                      <a:pt x="347" y="158"/>
                    </a:lnTo>
                    <a:lnTo>
                      <a:pt x="343" y="159"/>
                    </a:lnTo>
                    <a:lnTo>
                      <a:pt x="338" y="160"/>
                    </a:lnTo>
                    <a:lnTo>
                      <a:pt x="333" y="160"/>
                    </a:lnTo>
                    <a:lnTo>
                      <a:pt x="334" y="154"/>
                    </a:lnTo>
                    <a:lnTo>
                      <a:pt x="338" y="148"/>
                    </a:lnTo>
                    <a:lnTo>
                      <a:pt x="341" y="143"/>
                    </a:lnTo>
                    <a:lnTo>
                      <a:pt x="345" y="138"/>
                    </a:lnTo>
                    <a:lnTo>
                      <a:pt x="355" y="128"/>
                    </a:lnTo>
                    <a:lnTo>
                      <a:pt x="367" y="120"/>
                    </a:lnTo>
                    <a:lnTo>
                      <a:pt x="378" y="112"/>
                    </a:lnTo>
                    <a:lnTo>
                      <a:pt x="390" y="103"/>
                    </a:lnTo>
                    <a:lnTo>
                      <a:pt x="395" y="98"/>
                    </a:lnTo>
                    <a:lnTo>
                      <a:pt x="399" y="93"/>
                    </a:lnTo>
                    <a:lnTo>
                      <a:pt x="403" y="87"/>
                    </a:lnTo>
                    <a:lnTo>
                      <a:pt x="406" y="80"/>
                    </a:lnTo>
                    <a:lnTo>
                      <a:pt x="407" y="83"/>
                    </a:lnTo>
                    <a:lnTo>
                      <a:pt x="409" y="88"/>
                    </a:lnTo>
                    <a:lnTo>
                      <a:pt x="411" y="96"/>
                    </a:lnTo>
                    <a:lnTo>
                      <a:pt x="412" y="105"/>
                    </a:lnTo>
                    <a:lnTo>
                      <a:pt x="414" y="107"/>
                    </a:lnTo>
                    <a:lnTo>
                      <a:pt x="420" y="111"/>
                    </a:lnTo>
                    <a:lnTo>
                      <a:pt x="426" y="115"/>
                    </a:lnTo>
                    <a:lnTo>
                      <a:pt x="432" y="117"/>
                    </a:lnTo>
                    <a:lnTo>
                      <a:pt x="450" y="116"/>
                    </a:lnTo>
                    <a:lnTo>
                      <a:pt x="463" y="114"/>
                    </a:lnTo>
                    <a:lnTo>
                      <a:pt x="473" y="112"/>
                    </a:lnTo>
                    <a:lnTo>
                      <a:pt x="479" y="111"/>
                    </a:lnTo>
                    <a:lnTo>
                      <a:pt x="474" y="106"/>
                    </a:lnTo>
                    <a:lnTo>
                      <a:pt x="469" y="101"/>
                    </a:lnTo>
                    <a:lnTo>
                      <a:pt x="468" y="98"/>
                    </a:lnTo>
                    <a:lnTo>
                      <a:pt x="467" y="95"/>
                    </a:lnTo>
                    <a:lnTo>
                      <a:pt x="466" y="91"/>
                    </a:lnTo>
                    <a:lnTo>
                      <a:pt x="466" y="87"/>
                    </a:lnTo>
                    <a:lnTo>
                      <a:pt x="485" y="83"/>
                    </a:lnTo>
                    <a:lnTo>
                      <a:pt x="510" y="78"/>
                    </a:lnTo>
                    <a:lnTo>
                      <a:pt x="523" y="75"/>
                    </a:lnTo>
                    <a:lnTo>
                      <a:pt x="536" y="72"/>
                    </a:lnTo>
                    <a:lnTo>
                      <a:pt x="548" y="67"/>
                    </a:lnTo>
                    <a:lnTo>
                      <a:pt x="558" y="61"/>
                    </a:lnTo>
                    <a:lnTo>
                      <a:pt x="565" y="57"/>
                    </a:lnTo>
                    <a:lnTo>
                      <a:pt x="573" y="53"/>
                    </a:lnTo>
                    <a:lnTo>
                      <a:pt x="579" y="50"/>
                    </a:lnTo>
                    <a:lnTo>
                      <a:pt x="586" y="49"/>
                    </a:lnTo>
                    <a:lnTo>
                      <a:pt x="587" y="55"/>
                    </a:lnTo>
                    <a:lnTo>
                      <a:pt x="589" y="61"/>
                    </a:lnTo>
                    <a:lnTo>
                      <a:pt x="591" y="63"/>
                    </a:lnTo>
                    <a:lnTo>
                      <a:pt x="593" y="65"/>
                    </a:lnTo>
                    <a:lnTo>
                      <a:pt x="596" y="67"/>
                    </a:lnTo>
                    <a:lnTo>
                      <a:pt x="599" y="67"/>
                    </a:lnTo>
                    <a:lnTo>
                      <a:pt x="609" y="66"/>
                    </a:lnTo>
                    <a:lnTo>
                      <a:pt x="624" y="61"/>
                    </a:lnTo>
                    <a:lnTo>
                      <a:pt x="638" y="57"/>
                    </a:lnTo>
                    <a:lnTo>
                      <a:pt x="645" y="55"/>
                    </a:lnTo>
                    <a:lnTo>
                      <a:pt x="643" y="53"/>
                    </a:lnTo>
                    <a:lnTo>
                      <a:pt x="641" y="51"/>
                    </a:lnTo>
                    <a:lnTo>
                      <a:pt x="638" y="48"/>
                    </a:lnTo>
                    <a:lnTo>
                      <a:pt x="638" y="46"/>
                    </a:lnTo>
                    <a:lnTo>
                      <a:pt x="638" y="42"/>
                    </a:lnTo>
                    <a:lnTo>
                      <a:pt x="641" y="37"/>
                    </a:lnTo>
                    <a:lnTo>
                      <a:pt x="645" y="33"/>
                    </a:lnTo>
                    <a:lnTo>
                      <a:pt x="650" y="28"/>
                    </a:lnTo>
                    <a:lnTo>
                      <a:pt x="657" y="24"/>
                    </a:lnTo>
                    <a:lnTo>
                      <a:pt x="665" y="20"/>
                    </a:lnTo>
                    <a:lnTo>
                      <a:pt x="674" y="17"/>
                    </a:lnTo>
                    <a:lnTo>
                      <a:pt x="682" y="15"/>
                    </a:lnTo>
                    <a:lnTo>
                      <a:pt x="691" y="14"/>
                    </a:lnTo>
                    <a:lnTo>
                      <a:pt x="699" y="13"/>
                    </a:lnTo>
                    <a:lnTo>
                      <a:pt x="708" y="13"/>
                    </a:lnTo>
                    <a:lnTo>
                      <a:pt x="714" y="13"/>
                    </a:lnTo>
                    <a:lnTo>
                      <a:pt x="721" y="15"/>
                    </a:lnTo>
                    <a:lnTo>
                      <a:pt x="725" y="18"/>
                    </a:lnTo>
                    <a:lnTo>
                      <a:pt x="717" y="20"/>
                    </a:lnTo>
                    <a:lnTo>
                      <a:pt x="709" y="26"/>
                    </a:lnTo>
                    <a:lnTo>
                      <a:pt x="705" y="29"/>
                    </a:lnTo>
                    <a:lnTo>
                      <a:pt x="701" y="32"/>
                    </a:lnTo>
                    <a:lnTo>
                      <a:pt x="699" y="35"/>
                    </a:lnTo>
                    <a:lnTo>
                      <a:pt x="699" y="37"/>
                    </a:lnTo>
                    <a:lnTo>
                      <a:pt x="702" y="39"/>
                    </a:lnTo>
                    <a:lnTo>
                      <a:pt x="705" y="40"/>
                    </a:lnTo>
                    <a:lnTo>
                      <a:pt x="709" y="41"/>
                    </a:lnTo>
                    <a:lnTo>
                      <a:pt x="712" y="40"/>
                    </a:lnTo>
                    <a:lnTo>
                      <a:pt x="719" y="39"/>
                    </a:lnTo>
                    <a:lnTo>
                      <a:pt x="725" y="36"/>
                    </a:lnTo>
                    <a:lnTo>
                      <a:pt x="733" y="32"/>
                    </a:lnTo>
                    <a:lnTo>
                      <a:pt x="741" y="29"/>
                    </a:lnTo>
                    <a:lnTo>
                      <a:pt x="748" y="26"/>
                    </a:lnTo>
                    <a:lnTo>
                      <a:pt x="758" y="24"/>
                    </a:lnTo>
                    <a:lnTo>
                      <a:pt x="758" y="12"/>
                    </a:lnTo>
                    <a:lnTo>
                      <a:pt x="758" y="0"/>
                    </a:lnTo>
                    <a:lnTo>
                      <a:pt x="777" y="0"/>
                    </a:lnTo>
                    <a:lnTo>
                      <a:pt x="793" y="1"/>
                    </a:lnTo>
                    <a:lnTo>
                      <a:pt x="800" y="1"/>
                    </a:lnTo>
                    <a:lnTo>
                      <a:pt x="806" y="2"/>
                    </a:lnTo>
                    <a:lnTo>
                      <a:pt x="813" y="4"/>
                    </a:lnTo>
                    <a:lnTo>
                      <a:pt x="817" y="6"/>
                    </a:lnTo>
                    <a:lnTo>
                      <a:pt x="812" y="11"/>
                    </a:lnTo>
                    <a:lnTo>
                      <a:pt x="805" y="18"/>
                    </a:lnTo>
                    <a:lnTo>
                      <a:pt x="800" y="26"/>
                    </a:lnTo>
                    <a:lnTo>
                      <a:pt x="798" y="31"/>
                    </a:lnTo>
                    <a:lnTo>
                      <a:pt x="815" y="22"/>
                    </a:lnTo>
                    <a:lnTo>
                      <a:pt x="828" y="15"/>
                    </a:lnTo>
                    <a:lnTo>
                      <a:pt x="844" y="8"/>
                    </a:lnTo>
                    <a:lnTo>
                      <a:pt x="865" y="0"/>
                    </a:lnTo>
                    <a:lnTo>
                      <a:pt x="865" y="4"/>
                    </a:lnTo>
                    <a:lnTo>
                      <a:pt x="864" y="9"/>
                    </a:lnTo>
                    <a:lnTo>
                      <a:pt x="861" y="14"/>
                    </a:lnTo>
                    <a:lnTo>
                      <a:pt x="858" y="18"/>
                    </a:lnTo>
                    <a:lnTo>
                      <a:pt x="860" y="14"/>
                    </a:lnTo>
                    <a:lnTo>
                      <a:pt x="862" y="11"/>
                    </a:lnTo>
                    <a:lnTo>
                      <a:pt x="866" y="9"/>
                    </a:lnTo>
                    <a:lnTo>
                      <a:pt x="869" y="7"/>
                    </a:lnTo>
                    <a:lnTo>
                      <a:pt x="876" y="6"/>
                    </a:lnTo>
                    <a:lnTo>
                      <a:pt x="884" y="6"/>
                    </a:lnTo>
                    <a:lnTo>
                      <a:pt x="892" y="6"/>
                    </a:lnTo>
                    <a:lnTo>
                      <a:pt x="907" y="6"/>
                    </a:lnTo>
                    <a:lnTo>
                      <a:pt x="924" y="6"/>
                    </a:lnTo>
                    <a:lnTo>
                      <a:pt x="930" y="6"/>
                    </a:lnTo>
                    <a:lnTo>
                      <a:pt x="947" y="12"/>
                    </a:lnTo>
                    <a:lnTo>
                      <a:pt x="979" y="22"/>
                    </a:lnTo>
                    <a:lnTo>
                      <a:pt x="996" y="28"/>
                    </a:lnTo>
                    <a:lnTo>
                      <a:pt x="1013" y="33"/>
                    </a:lnTo>
                    <a:lnTo>
                      <a:pt x="1027" y="38"/>
                    </a:lnTo>
                    <a:lnTo>
                      <a:pt x="1037" y="43"/>
                    </a:lnTo>
                    <a:lnTo>
                      <a:pt x="1031" y="52"/>
                    </a:lnTo>
                    <a:lnTo>
                      <a:pt x="1025" y="61"/>
                    </a:lnTo>
                    <a:lnTo>
                      <a:pt x="1022" y="66"/>
                    </a:lnTo>
                    <a:lnTo>
                      <a:pt x="1019" y="70"/>
                    </a:lnTo>
                    <a:lnTo>
                      <a:pt x="1017" y="75"/>
                    </a:lnTo>
                    <a:lnTo>
                      <a:pt x="1017" y="80"/>
                    </a:lnTo>
                    <a:lnTo>
                      <a:pt x="1005" y="79"/>
                    </a:lnTo>
                    <a:lnTo>
                      <a:pt x="993" y="76"/>
                    </a:lnTo>
                    <a:lnTo>
                      <a:pt x="982" y="72"/>
                    </a:lnTo>
                    <a:lnTo>
                      <a:pt x="971" y="67"/>
                    </a:lnTo>
                    <a:lnTo>
                      <a:pt x="961" y="63"/>
                    </a:lnTo>
                    <a:lnTo>
                      <a:pt x="951" y="59"/>
                    </a:lnTo>
                    <a:lnTo>
                      <a:pt x="940" y="56"/>
                    </a:lnTo>
                    <a:lnTo>
                      <a:pt x="930" y="55"/>
                    </a:lnTo>
                    <a:lnTo>
                      <a:pt x="919" y="55"/>
                    </a:lnTo>
                    <a:lnTo>
                      <a:pt x="906" y="55"/>
                    </a:lnTo>
                    <a:lnTo>
                      <a:pt x="892" y="55"/>
                    </a:lnTo>
                    <a:lnTo>
                      <a:pt x="878" y="55"/>
                    </a:lnTo>
                    <a:lnTo>
                      <a:pt x="877" y="62"/>
                    </a:lnTo>
                    <a:lnTo>
                      <a:pt x="876" y="68"/>
                    </a:lnTo>
                    <a:lnTo>
                      <a:pt x="873" y="74"/>
                    </a:lnTo>
                    <a:lnTo>
                      <a:pt x="871" y="80"/>
                    </a:lnTo>
                    <a:lnTo>
                      <a:pt x="869" y="88"/>
                    </a:lnTo>
                    <a:lnTo>
                      <a:pt x="867" y="95"/>
                    </a:lnTo>
                    <a:lnTo>
                      <a:pt x="865" y="102"/>
                    </a:lnTo>
                    <a:lnTo>
                      <a:pt x="865" y="111"/>
                    </a:lnTo>
                    <a:lnTo>
                      <a:pt x="854" y="114"/>
                    </a:lnTo>
                    <a:lnTo>
                      <a:pt x="848" y="116"/>
                    </a:lnTo>
                    <a:lnTo>
                      <a:pt x="844" y="116"/>
                    </a:lnTo>
                    <a:lnTo>
                      <a:pt x="842" y="115"/>
                    </a:lnTo>
                    <a:lnTo>
                      <a:pt x="838" y="114"/>
                    </a:lnTo>
                    <a:lnTo>
                      <a:pt x="835" y="113"/>
                    </a:lnTo>
                    <a:lnTo>
                      <a:pt x="828" y="111"/>
                    </a:lnTo>
                    <a:lnTo>
                      <a:pt x="817" y="111"/>
                    </a:lnTo>
                    <a:lnTo>
                      <a:pt x="811" y="111"/>
                    </a:lnTo>
                    <a:lnTo>
                      <a:pt x="804" y="112"/>
                    </a:lnTo>
                    <a:lnTo>
                      <a:pt x="798" y="113"/>
                    </a:lnTo>
                    <a:lnTo>
                      <a:pt x="790" y="115"/>
                    </a:lnTo>
                    <a:lnTo>
                      <a:pt x="776" y="121"/>
                    </a:lnTo>
                    <a:lnTo>
                      <a:pt x="758" y="129"/>
                    </a:lnTo>
                    <a:lnTo>
                      <a:pt x="750" y="129"/>
                    </a:lnTo>
                    <a:lnTo>
                      <a:pt x="745" y="128"/>
                    </a:lnTo>
                    <a:lnTo>
                      <a:pt x="738" y="126"/>
                    </a:lnTo>
                    <a:lnTo>
                      <a:pt x="734" y="124"/>
                    </a:lnTo>
                    <a:lnTo>
                      <a:pt x="724" y="119"/>
                    </a:lnTo>
                    <a:lnTo>
                      <a:pt x="716" y="112"/>
                    </a:lnTo>
                    <a:lnTo>
                      <a:pt x="709" y="105"/>
                    </a:lnTo>
                    <a:lnTo>
                      <a:pt x="702" y="98"/>
                    </a:lnTo>
                    <a:lnTo>
                      <a:pt x="694" y="92"/>
                    </a:lnTo>
                    <a:lnTo>
                      <a:pt x="685" y="87"/>
                    </a:lnTo>
                    <a:lnTo>
                      <a:pt x="677" y="92"/>
                    </a:lnTo>
                    <a:lnTo>
                      <a:pt x="669" y="96"/>
                    </a:lnTo>
                    <a:lnTo>
                      <a:pt x="661" y="100"/>
                    </a:lnTo>
                    <a:lnTo>
                      <a:pt x="654" y="103"/>
                    </a:lnTo>
                    <a:lnTo>
                      <a:pt x="637" y="109"/>
                    </a:lnTo>
                    <a:lnTo>
                      <a:pt x="620" y="112"/>
                    </a:lnTo>
                    <a:lnTo>
                      <a:pt x="602" y="116"/>
                    </a:lnTo>
                    <a:lnTo>
                      <a:pt x="584" y="119"/>
                    </a:lnTo>
                    <a:lnTo>
                      <a:pt x="565" y="123"/>
                    </a:lnTo>
                    <a:lnTo>
                      <a:pt x="545" y="129"/>
                    </a:lnTo>
                    <a:lnTo>
                      <a:pt x="542" y="130"/>
                    </a:lnTo>
                    <a:lnTo>
                      <a:pt x="537" y="131"/>
                    </a:lnTo>
                    <a:lnTo>
                      <a:pt x="534" y="134"/>
                    </a:lnTo>
                    <a:lnTo>
                      <a:pt x="530" y="138"/>
                    </a:lnTo>
                    <a:lnTo>
                      <a:pt x="521" y="147"/>
                    </a:lnTo>
                    <a:lnTo>
                      <a:pt x="513" y="158"/>
                    </a:lnTo>
                    <a:lnTo>
                      <a:pt x="506" y="170"/>
                    </a:lnTo>
                    <a:lnTo>
                      <a:pt x="498" y="184"/>
                    </a:lnTo>
                    <a:lnTo>
                      <a:pt x="491" y="198"/>
                    </a:lnTo>
                    <a:lnTo>
                      <a:pt x="486" y="210"/>
                    </a:lnTo>
                    <a:lnTo>
                      <a:pt x="482" y="217"/>
                    </a:lnTo>
                    <a:lnTo>
                      <a:pt x="478" y="225"/>
                    </a:lnTo>
                    <a:lnTo>
                      <a:pt x="473" y="232"/>
                    </a:lnTo>
                    <a:lnTo>
                      <a:pt x="466" y="239"/>
                    </a:lnTo>
                    <a:lnTo>
                      <a:pt x="453" y="255"/>
                    </a:lnTo>
                    <a:lnTo>
                      <a:pt x="437" y="270"/>
                    </a:lnTo>
                    <a:lnTo>
                      <a:pt x="430" y="279"/>
                    </a:lnTo>
                    <a:lnTo>
                      <a:pt x="423" y="288"/>
                    </a:lnTo>
                    <a:lnTo>
                      <a:pt x="417" y="298"/>
                    </a:lnTo>
                    <a:lnTo>
                      <a:pt x="411" y="309"/>
                    </a:lnTo>
                    <a:lnTo>
                      <a:pt x="406" y="321"/>
                    </a:lnTo>
                    <a:lnTo>
                      <a:pt x="402" y="334"/>
                    </a:lnTo>
                    <a:lnTo>
                      <a:pt x="400" y="348"/>
                    </a:lnTo>
                    <a:lnTo>
                      <a:pt x="399" y="364"/>
                    </a:lnTo>
                    <a:lnTo>
                      <a:pt x="396" y="362"/>
                    </a:lnTo>
                    <a:lnTo>
                      <a:pt x="392" y="361"/>
                    </a:lnTo>
                    <a:lnTo>
                      <a:pt x="387" y="361"/>
                    </a:lnTo>
                    <a:lnTo>
                      <a:pt x="381" y="362"/>
                    </a:lnTo>
                    <a:lnTo>
                      <a:pt x="367" y="363"/>
                    </a:lnTo>
                    <a:lnTo>
                      <a:pt x="353" y="364"/>
                    </a:lnTo>
                    <a:lnTo>
                      <a:pt x="333" y="425"/>
                    </a:lnTo>
                    <a:lnTo>
                      <a:pt x="333" y="441"/>
                    </a:lnTo>
                    <a:lnTo>
                      <a:pt x="336" y="464"/>
                    </a:lnTo>
                    <a:lnTo>
                      <a:pt x="340" y="477"/>
                    </a:lnTo>
                    <a:lnTo>
                      <a:pt x="344" y="487"/>
                    </a:lnTo>
                    <a:lnTo>
                      <a:pt x="347" y="491"/>
                    </a:lnTo>
                    <a:lnTo>
                      <a:pt x="351" y="495"/>
                    </a:lnTo>
                    <a:lnTo>
                      <a:pt x="355" y="497"/>
                    </a:lnTo>
                    <a:lnTo>
                      <a:pt x="360" y="499"/>
                    </a:lnTo>
                    <a:lnTo>
                      <a:pt x="358" y="515"/>
                    </a:lnTo>
                    <a:lnTo>
                      <a:pt x="357" y="528"/>
                    </a:lnTo>
                    <a:lnTo>
                      <a:pt x="356" y="537"/>
                    </a:lnTo>
                    <a:lnTo>
                      <a:pt x="354" y="544"/>
                    </a:lnTo>
                    <a:lnTo>
                      <a:pt x="354" y="551"/>
                    </a:lnTo>
                    <a:lnTo>
                      <a:pt x="354" y="558"/>
                    </a:lnTo>
                    <a:lnTo>
                      <a:pt x="355" y="567"/>
                    </a:lnTo>
                    <a:lnTo>
                      <a:pt x="360" y="579"/>
                    </a:lnTo>
                    <a:lnTo>
                      <a:pt x="352" y="585"/>
                    </a:lnTo>
                    <a:lnTo>
                      <a:pt x="346" y="591"/>
                    </a:lnTo>
                    <a:lnTo>
                      <a:pt x="340" y="598"/>
                    </a:lnTo>
                    <a:lnTo>
                      <a:pt x="335" y="606"/>
                    </a:lnTo>
                    <a:lnTo>
                      <a:pt x="331" y="615"/>
                    </a:lnTo>
                    <a:lnTo>
                      <a:pt x="329" y="625"/>
                    </a:lnTo>
                    <a:lnTo>
                      <a:pt x="327" y="635"/>
                    </a:lnTo>
                    <a:lnTo>
                      <a:pt x="327" y="647"/>
                    </a:lnTo>
                    <a:lnTo>
                      <a:pt x="318" y="646"/>
                    </a:lnTo>
                    <a:lnTo>
                      <a:pt x="306" y="645"/>
                    </a:lnTo>
                    <a:lnTo>
                      <a:pt x="300" y="645"/>
                    </a:lnTo>
                    <a:lnTo>
                      <a:pt x="295" y="645"/>
                    </a:lnTo>
                    <a:lnTo>
                      <a:pt x="289" y="646"/>
                    </a:lnTo>
                    <a:lnTo>
                      <a:pt x="286" y="647"/>
                    </a:lnTo>
                  </a:path>
                </a:pathLst>
              </a:custGeom>
              <a:grpFill/>
              <a:ln w="9525" cap="flat" cmpd="sng">
                <a:solidFill>
                  <a:srgbClr val="FFFFFF"/>
                </a:solidFill>
                <a:prstDash val="solid"/>
                <a:round/>
                <a:headEnd type="none" w="med" len="med"/>
                <a:tailEnd type="none" w="med" len="med"/>
              </a:ln>
              <a:effectLst/>
            </p:spPr>
            <p:txBody>
              <a:bodyPr/>
              <a:lstStyle/>
              <a:p>
                <a:endParaRPr lang="en-GB" sz="1637"/>
              </a:p>
            </p:txBody>
          </p:sp>
          <p:sp>
            <p:nvSpPr>
              <p:cNvPr id="83" name="Freeform 228"/>
              <p:cNvSpPr>
                <a:spLocks/>
              </p:cNvSpPr>
              <p:nvPr>
                <p:custDataLst>
                  <p:tags r:id="rId66"/>
                </p:custDataLst>
              </p:nvPr>
            </p:nvSpPr>
            <p:spPr bwMode="auto">
              <a:xfrm>
                <a:off x="4380501" y="2463188"/>
                <a:ext cx="53722" cy="102084"/>
              </a:xfrm>
              <a:custGeom>
                <a:avLst/>
                <a:gdLst>
                  <a:gd name="T0" fmla="*/ 49212 w 120"/>
                  <a:gd name="T1" fmla="*/ 51782 h 173"/>
                  <a:gd name="T2" fmla="*/ 37729 w 120"/>
                  <a:gd name="T3" fmla="*/ 31383 h 173"/>
                  <a:gd name="T4" fmla="*/ 28707 w 120"/>
                  <a:gd name="T5" fmla="*/ 14645 h 173"/>
                  <a:gd name="T6" fmla="*/ 24606 w 120"/>
                  <a:gd name="T7" fmla="*/ 8369 h 173"/>
                  <a:gd name="T8" fmla="*/ 21735 w 120"/>
                  <a:gd name="T9" fmla="*/ 4184 h 173"/>
                  <a:gd name="T10" fmla="*/ 19685 w 120"/>
                  <a:gd name="T11" fmla="*/ 2092 h 173"/>
                  <a:gd name="T12" fmla="*/ 18455 w 120"/>
                  <a:gd name="T13" fmla="*/ 1046 h 173"/>
                  <a:gd name="T14" fmla="*/ 17634 w 120"/>
                  <a:gd name="T15" fmla="*/ 523 h 173"/>
                  <a:gd name="T16" fmla="*/ 15994 w 120"/>
                  <a:gd name="T17" fmla="*/ 0 h 173"/>
                  <a:gd name="T18" fmla="*/ 13533 w 120"/>
                  <a:gd name="T19" fmla="*/ 0 h 173"/>
                  <a:gd name="T20" fmla="*/ 11073 w 120"/>
                  <a:gd name="T21" fmla="*/ 523 h 173"/>
                  <a:gd name="T22" fmla="*/ 9842 w 120"/>
                  <a:gd name="T23" fmla="*/ 1569 h 173"/>
                  <a:gd name="T24" fmla="*/ 8612 w 120"/>
                  <a:gd name="T25" fmla="*/ 2615 h 173"/>
                  <a:gd name="T26" fmla="*/ 7792 w 120"/>
                  <a:gd name="T27" fmla="*/ 4184 h 173"/>
                  <a:gd name="T28" fmla="*/ 6562 w 120"/>
                  <a:gd name="T29" fmla="*/ 6277 h 173"/>
                  <a:gd name="T30" fmla="*/ 6152 w 120"/>
                  <a:gd name="T31" fmla="*/ 7846 h 173"/>
                  <a:gd name="T32" fmla="*/ 6152 w 120"/>
                  <a:gd name="T33" fmla="*/ 10461 h 173"/>
                  <a:gd name="T34" fmla="*/ 5741 w 120"/>
                  <a:gd name="T35" fmla="*/ 15691 h 173"/>
                  <a:gd name="T36" fmla="*/ 4921 w 120"/>
                  <a:gd name="T37" fmla="*/ 21968 h 173"/>
                  <a:gd name="T38" fmla="*/ 4101 w 120"/>
                  <a:gd name="T39" fmla="*/ 25106 h 173"/>
                  <a:gd name="T40" fmla="*/ 3281 w 120"/>
                  <a:gd name="T41" fmla="*/ 28244 h 173"/>
                  <a:gd name="T42" fmla="*/ 1640 w 120"/>
                  <a:gd name="T43" fmla="*/ 31906 h 173"/>
                  <a:gd name="T44" fmla="*/ 0 w 120"/>
                  <a:gd name="T45" fmla="*/ 35567 h 173"/>
                  <a:gd name="T46" fmla="*/ 2051 w 120"/>
                  <a:gd name="T47" fmla="*/ 42890 h 173"/>
                  <a:gd name="T48" fmla="*/ 4101 w 120"/>
                  <a:gd name="T49" fmla="*/ 51782 h 173"/>
                  <a:gd name="T50" fmla="*/ 6152 w 120"/>
                  <a:gd name="T51" fmla="*/ 60150 h 173"/>
                  <a:gd name="T52" fmla="*/ 8202 w 120"/>
                  <a:gd name="T53" fmla="*/ 67473 h 173"/>
                  <a:gd name="T54" fmla="*/ 9842 w 120"/>
                  <a:gd name="T55" fmla="*/ 70088 h 173"/>
                  <a:gd name="T56" fmla="*/ 12303 w 120"/>
                  <a:gd name="T57" fmla="*/ 72703 h 173"/>
                  <a:gd name="T58" fmla="*/ 15174 w 120"/>
                  <a:gd name="T59" fmla="*/ 75842 h 173"/>
                  <a:gd name="T60" fmla="*/ 18865 w 120"/>
                  <a:gd name="T61" fmla="*/ 78980 h 173"/>
                  <a:gd name="T62" fmla="*/ 22145 w 120"/>
                  <a:gd name="T63" fmla="*/ 82118 h 173"/>
                  <a:gd name="T64" fmla="*/ 24606 w 120"/>
                  <a:gd name="T65" fmla="*/ 85257 h 173"/>
                  <a:gd name="T66" fmla="*/ 25426 w 120"/>
                  <a:gd name="T67" fmla="*/ 86303 h 173"/>
                  <a:gd name="T68" fmla="*/ 26657 w 120"/>
                  <a:gd name="T69" fmla="*/ 87872 h 173"/>
                  <a:gd name="T70" fmla="*/ 27067 w 120"/>
                  <a:gd name="T71" fmla="*/ 88918 h 173"/>
                  <a:gd name="T72" fmla="*/ 27477 w 120"/>
                  <a:gd name="T73" fmla="*/ 90487 h 173"/>
                  <a:gd name="T74" fmla="*/ 31168 w 120"/>
                  <a:gd name="T75" fmla="*/ 87349 h 173"/>
                  <a:gd name="T76" fmla="*/ 35269 w 120"/>
                  <a:gd name="T77" fmla="*/ 83687 h 173"/>
                  <a:gd name="T78" fmla="*/ 38139 w 120"/>
                  <a:gd name="T79" fmla="*/ 79503 h 173"/>
                  <a:gd name="T80" fmla="*/ 41420 w 120"/>
                  <a:gd name="T81" fmla="*/ 74273 h 173"/>
                  <a:gd name="T82" fmla="*/ 43471 w 120"/>
                  <a:gd name="T83" fmla="*/ 69042 h 173"/>
                  <a:gd name="T84" fmla="*/ 45931 w 120"/>
                  <a:gd name="T85" fmla="*/ 63289 h 173"/>
                  <a:gd name="T86" fmla="*/ 47572 w 120"/>
                  <a:gd name="T87" fmla="*/ 57535 h 173"/>
                  <a:gd name="T88" fmla="*/ 49212 w 120"/>
                  <a:gd name="T89" fmla="*/ 51782 h 17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120" h="173">
                    <a:moveTo>
                      <a:pt x="120" y="99"/>
                    </a:moveTo>
                    <a:lnTo>
                      <a:pt x="92" y="60"/>
                    </a:lnTo>
                    <a:lnTo>
                      <a:pt x="70" y="28"/>
                    </a:lnTo>
                    <a:lnTo>
                      <a:pt x="60" y="16"/>
                    </a:lnTo>
                    <a:lnTo>
                      <a:pt x="53" y="8"/>
                    </a:lnTo>
                    <a:lnTo>
                      <a:pt x="48" y="4"/>
                    </a:lnTo>
                    <a:lnTo>
                      <a:pt x="45" y="2"/>
                    </a:lnTo>
                    <a:lnTo>
                      <a:pt x="43" y="1"/>
                    </a:lnTo>
                    <a:lnTo>
                      <a:pt x="39" y="0"/>
                    </a:lnTo>
                    <a:lnTo>
                      <a:pt x="33" y="0"/>
                    </a:lnTo>
                    <a:lnTo>
                      <a:pt x="27" y="1"/>
                    </a:lnTo>
                    <a:lnTo>
                      <a:pt x="24" y="3"/>
                    </a:lnTo>
                    <a:lnTo>
                      <a:pt x="21" y="5"/>
                    </a:lnTo>
                    <a:lnTo>
                      <a:pt x="19" y="8"/>
                    </a:lnTo>
                    <a:lnTo>
                      <a:pt x="16" y="12"/>
                    </a:lnTo>
                    <a:lnTo>
                      <a:pt x="15" y="15"/>
                    </a:lnTo>
                    <a:lnTo>
                      <a:pt x="15" y="20"/>
                    </a:lnTo>
                    <a:lnTo>
                      <a:pt x="14" y="30"/>
                    </a:lnTo>
                    <a:lnTo>
                      <a:pt x="12" y="42"/>
                    </a:lnTo>
                    <a:lnTo>
                      <a:pt x="10" y="48"/>
                    </a:lnTo>
                    <a:lnTo>
                      <a:pt x="8" y="54"/>
                    </a:lnTo>
                    <a:lnTo>
                      <a:pt x="4" y="61"/>
                    </a:lnTo>
                    <a:lnTo>
                      <a:pt x="0" y="68"/>
                    </a:lnTo>
                    <a:lnTo>
                      <a:pt x="5" y="82"/>
                    </a:lnTo>
                    <a:lnTo>
                      <a:pt x="10" y="99"/>
                    </a:lnTo>
                    <a:lnTo>
                      <a:pt x="15" y="115"/>
                    </a:lnTo>
                    <a:lnTo>
                      <a:pt x="20" y="129"/>
                    </a:lnTo>
                    <a:lnTo>
                      <a:pt x="24" y="134"/>
                    </a:lnTo>
                    <a:lnTo>
                      <a:pt x="30" y="139"/>
                    </a:lnTo>
                    <a:lnTo>
                      <a:pt x="37" y="145"/>
                    </a:lnTo>
                    <a:lnTo>
                      <a:pt x="46" y="151"/>
                    </a:lnTo>
                    <a:lnTo>
                      <a:pt x="54" y="157"/>
                    </a:lnTo>
                    <a:lnTo>
                      <a:pt x="60" y="163"/>
                    </a:lnTo>
                    <a:lnTo>
                      <a:pt x="62" y="165"/>
                    </a:lnTo>
                    <a:lnTo>
                      <a:pt x="65" y="168"/>
                    </a:lnTo>
                    <a:lnTo>
                      <a:pt x="66" y="170"/>
                    </a:lnTo>
                    <a:lnTo>
                      <a:pt x="67" y="173"/>
                    </a:lnTo>
                    <a:lnTo>
                      <a:pt x="76" y="167"/>
                    </a:lnTo>
                    <a:lnTo>
                      <a:pt x="86" y="160"/>
                    </a:lnTo>
                    <a:lnTo>
                      <a:pt x="93" y="152"/>
                    </a:lnTo>
                    <a:lnTo>
                      <a:pt x="101" y="142"/>
                    </a:lnTo>
                    <a:lnTo>
                      <a:pt x="106" y="132"/>
                    </a:lnTo>
                    <a:lnTo>
                      <a:pt x="112" y="121"/>
                    </a:lnTo>
                    <a:lnTo>
                      <a:pt x="116" y="110"/>
                    </a:lnTo>
                    <a:lnTo>
                      <a:pt x="120" y="99"/>
                    </a:lnTo>
                  </a:path>
                </a:pathLst>
              </a:custGeom>
              <a:grpFill/>
              <a:ln w="9525" cmpd="sng">
                <a:solidFill>
                  <a:srgbClr val="FFFFFF"/>
                </a:solidFill>
                <a:prstDash val="solid"/>
                <a:round/>
                <a:headEnd/>
                <a:tailEnd/>
              </a:ln>
            </p:spPr>
            <p:txBody>
              <a:bodyPr/>
              <a:lstStyle/>
              <a:p>
                <a:endParaRPr lang="en-GB" sz="1637"/>
              </a:p>
            </p:txBody>
          </p:sp>
          <p:sp>
            <p:nvSpPr>
              <p:cNvPr id="84" name="Freeform 229"/>
              <p:cNvSpPr>
                <a:spLocks/>
              </p:cNvSpPr>
              <p:nvPr>
                <p:custDataLst>
                  <p:tags r:id="rId67"/>
                </p:custDataLst>
              </p:nvPr>
            </p:nvSpPr>
            <p:spPr bwMode="auto">
              <a:xfrm>
                <a:off x="4061633" y="2282300"/>
                <a:ext cx="91847" cy="66266"/>
              </a:xfrm>
              <a:custGeom>
                <a:avLst/>
                <a:gdLst>
                  <a:gd name="T0" fmla="*/ 84137 w 200"/>
                  <a:gd name="T1" fmla="*/ 32965 h 98"/>
                  <a:gd name="T2" fmla="*/ 82034 w 200"/>
                  <a:gd name="T3" fmla="*/ 33565 h 98"/>
                  <a:gd name="T4" fmla="*/ 78247 w 200"/>
                  <a:gd name="T5" fmla="*/ 35962 h 98"/>
                  <a:gd name="T6" fmla="*/ 74461 w 200"/>
                  <a:gd name="T7" fmla="*/ 38959 h 98"/>
                  <a:gd name="T8" fmla="*/ 69834 w 200"/>
                  <a:gd name="T9" fmla="*/ 43754 h 98"/>
                  <a:gd name="T10" fmla="*/ 65206 w 200"/>
                  <a:gd name="T11" fmla="*/ 47949 h 98"/>
                  <a:gd name="T12" fmla="*/ 60999 w 200"/>
                  <a:gd name="T13" fmla="*/ 52145 h 98"/>
                  <a:gd name="T14" fmla="*/ 57634 w 200"/>
                  <a:gd name="T15" fmla="*/ 55741 h 98"/>
                  <a:gd name="T16" fmla="*/ 55951 w 200"/>
                  <a:gd name="T17" fmla="*/ 58738 h 98"/>
                  <a:gd name="T18" fmla="*/ 53427 w 200"/>
                  <a:gd name="T19" fmla="*/ 58738 h 98"/>
                  <a:gd name="T20" fmla="*/ 51324 w 200"/>
                  <a:gd name="T21" fmla="*/ 58738 h 98"/>
                  <a:gd name="T22" fmla="*/ 48799 w 200"/>
                  <a:gd name="T23" fmla="*/ 58139 h 98"/>
                  <a:gd name="T24" fmla="*/ 46696 w 200"/>
                  <a:gd name="T25" fmla="*/ 56940 h 98"/>
                  <a:gd name="T26" fmla="*/ 44593 w 200"/>
                  <a:gd name="T27" fmla="*/ 55741 h 98"/>
                  <a:gd name="T28" fmla="*/ 43331 w 200"/>
                  <a:gd name="T29" fmla="*/ 52744 h 98"/>
                  <a:gd name="T30" fmla="*/ 42489 w 200"/>
                  <a:gd name="T31" fmla="*/ 49148 h 98"/>
                  <a:gd name="T32" fmla="*/ 42069 w 200"/>
                  <a:gd name="T33" fmla="*/ 44353 h 98"/>
                  <a:gd name="T34" fmla="*/ 38282 w 200"/>
                  <a:gd name="T35" fmla="*/ 47949 h 98"/>
                  <a:gd name="T36" fmla="*/ 34496 w 200"/>
                  <a:gd name="T37" fmla="*/ 51546 h 98"/>
                  <a:gd name="T38" fmla="*/ 32813 w 200"/>
                  <a:gd name="T39" fmla="*/ 53943 h 98"/>
                  <a:gd name="T40" fmla="*/ 30289 w 200"/>
                  <a:gd name="T41" fmla="*/ 55741 h 98"/>
                  <a:gd name="T42" fmla="*/ 28186 w 200"/>
                  <a:gd name="T43" fmla="*/ 57539 h 98"/>
                  <a:gd name="T44" fmla="*/ 25241 w 200"/>
                  <a:gd name="T45" fmla="*/ 58738 h 98"/>
                  <a:gd name="T46" fmla="*/ 16407 w 200"/>
                  <a:gd name="T47" fmla="*/ 58738 h 98"/>
                  <a:gd name="T48" fmla="*/ 14303 w 200"/>
                  <a:gd name="T49" fmla="*/ 58738 h 98"/>
                  <a:gd name="T50" fmla="*/ 11779 w 200"/>
                  <a:gd name="T51" fmla="*/ 56940 h 98"/>
                  <a:gd name="T52" fmla="*/ 9255 w 200"/>
                  <a:gd name="T53" fmla="*/ 55142 h 98"/>
                  <a:gd name="T54" fmla="*/ 6310 w 200"/>
                  <a:gd name="T55" fmla="*/ 53344 h 98"/>
                  <a:gd name="T56" fmla="*/ 3786 w 200"/>
                  <a:gd name="T57" fmla="*/ 50946 h 98"/>
                  <a:gd name="T58" fmla="*/ 1683 w 200"/>
                  <a:gd name="T59" fmla="*/ 48549 h 98"/>
                  <a:gd name="T60" fmla="*/ 421 w 200"/>
                  <a:gd name="T61" fmla="*/ 46151 h 98"/>
                  <a:gd name="T62" fmla="*/ 0 w 200"/>
                  <a:gd name="T63" fmla="*/ 44353 h 98"/>
                  <a:gd name="T64" fmla="*/ 2103 w 200"/>
                  <a:gd name="T65" fmla="*/ 42555 h 98"/>
                  <a:gd name="T66" fmla="*/ 4207 w 200"/>
                  <a:gd name="T67" fmla="*/ 40158 h 98"/>
                  <a:gd name="T68" fmla="*/ 5890 w 200"/>
                  <a:gd name="T69" fmla="*/ 35962 h 98"/>
                  <a:gd name="T70" fmla="*/ 8414 w 200"/>
                  <a:gd name="T71" fmla="*/ 31766 h 98"/>
                  <a:gd name="T72" fmla="*/ 9676 w 200"/>
                  <a:gd name="T73" fmla="*/ 26972 h 98"/>
                  <a:gd name="T74" fmla="*/ 11358 w 200"/>
                  <a:gd name="T75" fmla="*/ 22177 h 98"/>
                  <a:gd name="T76" fmla="*/ 12621 w 200"/>
                  <a:gd name="T77" fmla="*/ 16782 h 98"/>
                  <a:gd name="T78" fmla="*/ 13883 w 200"/>
                  <a:gd name="T79" fmla="*/ 11388 h 98"/>
                  <a:gd name="T80" fmla="*/ 27765 w 200"/>
                  <a:gd name="T81" fmla="*/ 8391 h 98"/>
                  <a:gd name="T82" fmla="*/ 43331 w 200"/>
                  <a:gd name="T83" fmla="*/ 5394 h 98"/>
                  <a:gd name="T84" fmla="*/ 60999 w 200"/>
                  <a:gd name="T85" fmla="*/ 2397 h 98"/>
                  <a:gd name="T86" fmla="*/ 81192 w 200"/>
                  <a:gd name="T87" fmla="*/ 0 h 98"/>
                  <a:gd name="T88" fmla="*/ 69834 w 200"/>
                  <a:gd name="T89" fmla="*/ 18580 h 98"/>
                  <a:gd name="T90" fmla="*/ 69834 w 200"/>
                  <a:gd name="T91" fmla="*/ 20378 h 98"/>
                  <a:gd name="T92" fmla="*/ 68992 w 200"/>
                  <a:gd name="T93" fmla="*/ 22177 h 98"/>
                  <a:gd name="T94" fmla="*/ 68151 w 200"/>
                  <a:gd name="T95" fmla="*/ 23375 h 98"/>
                  <a:gd name="T96" fmla="*/ 67730 w 200"/>
                  <a:gd name="T97" fmla="*/ 24574 h 98"/>
                  <a:gd name="T98" fmla="*/ 66048 w 200"/>
                  <a:gd name="T99" fmla="*/ 26972 h 98"/>
                  <a:gd name="T100" fmla="*/ 65627 w 200"/>
                  <a:gd name="T101" fmla="*/ 28170 h 98"/>
                  <a:gd name="T102" fmla="*/ 65627 w 200"/>
                  <a:gd name="T103" fmla="*/ 29369 h 98"/>
                  <a:gd name="T104" fmla="*/ 66048 w 200"/>
                  <a:gd name="T105" fmla="*/ 29968 h 98"/>
                  <a:gd name="T106" fmla="*/ 66889 w 200"/>
                  <a:gd name="T107" fmla="*/ 29968 h 98"/>
                  <a:gd name="T108" fmla="*/ 68572 w 200"/>
                  <a:gd name="T109" fmla="*/ 30568 h 98"/>
                  <a:gd name="T110" fmla="*/ 74461 w 200"/>
                  <a:gd name="T111" fmla="*/ 31766 h 98"/>
                  <a:gd name="T112" fmla="*/ 84137 w 200"/>
                  <a:gd name="T113" fmla="*/ 32965 h 9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00" h="98">
                    <a:moveTo>
                      <a:pt x="200" y="55"/>
                    </a:moveTo>
                    <a:lnTo>
                      <a:pt x="195" y="56"/>
                    </a:lnTo>
                    <a:lnTo>
                      <a:pt x="186" y="60"/>
                    </a:lnTo>
                    <a:lnTo>
                      <a:pt x="177" y="65"/>
                    </a:lnTo>
                    <a:lnTo>
                      <a:pt x="166" y="73"/>
                    </a:lnTo>
                    <a:lnTo>
                      <a:pt x="155" y="80"/>
                    </a:lnTo>
                    <a:lnTo>
                      <a:pt x="145" y="87"/>
                    </a:lnTo>
                    <a:lnTo>
                      <a:pt x="137" y="93"/>
                    </a:lnTo>
                    <a:lnTo>
                      <a:pt x="133" y="98"/>
                    </a:lnTo>
                    <a:lnTo>
                      <a:pt x="127" y="98"/>
                    </a:lnTo>
                    <a:lnTo>
                      <a:pt x="122" y="98"/>
                    </a:lnTo>
                    <a:lnTo>
                      <a:pt x="116" y="97"/>
                    </a:lnTo>
                    <a:lnTo>
                      <a:pt x="111" y="95"/>
                    </a:lnTo>
                    <a:lnTo>
                      <a:pt x="106" y="93"/>
                    </a:lnTo>
                    <a:lnTo>
                      <a:pt x="103" y="88"/>
                    </a:lnTo>
                    <a:lnTo>
                      <a:pt x="101" y="82"/>
                    </a:lnTo>
                    <a:lnTo>
                      <a:pt x="100" y="74"/>
                    </a:lnTo>
                    <a:lnTo>
                      <a:pt x="91" y="80"/>
                    </a:lnTo>
                    <a:lnTo>
                      <a:pt x="82" y="86"/>
                    </a:lnTo>
                    <a:lnTo>
                      <a:pt x="78" y="90"/>
                    </a:lnTo>
                    <a:lnTo>
                      <a:pt x="72" y="93"/>
                    </a:lnTo>
                    <a:lnTo>
                      <a:pt x="67" y="96"/>
                    </a:lnTo>
                    <a:lnTo>
                      <a:pt x="60" y="98"/>
                    </a:lnTo>
                    <a:lnTo>
                      <a:pt x="39" y="98"/>
                    </a:lnTo>
                    <a:lnTo>
                      <a:pt x="34" y="98"/>
                    </a:lnTo>
                    <a:lnTo>
                      <a:pt x="28" y="95"/>
                    </a:lnTo>
                    <a:lnTo>
                      <a:pt x="22" y="92"/>
                    </a:lnTo>
                    <a:lnTo>
                      <a:pt x="15" y="89"/>
                    </a:lnTo>
                    <a:lnTo>
                      <a:pt x="9" y="85"/>
                    </a:lnTo>
                    <a:lnTo>
                      <a:pt x="4" y="81"/>
                    </a:lnTo>
                    <a:lnTo>
                      <a:pt x="1" y="77"/>
                    </a:lnTo>
                    <a:lnTo>
                      <a:pt x="0" y="74"/>
                    </a:lnTo>
                    <a:lnTo>
                      <a:pt x="5" y="71"/>
                    </a:lnTo>
                    <a:lnTo>
                      <a:pt x="10" y="67"/>
                    </a:lnTo>
                    <a:lnTo>
                      <a:pt x="14" y="60"/>
                    </a:lnTo>
                    <a:lnTo>
                      <a:pt x="20" y="53"/>
                    </a:lnTo>
                    <a:lnTo>
                      <a:pt x="23" y="45"/>
                    </a:lnTo>
                    <a:lnTo>
                      <a:pt x="27" y="37"/>
                    </a:lnTo>
                    <a:lnTo>
                      <a:pt x="30" y="28"/>
                    </a:lnTo>
                    <a:lnTo>
                      <a:pt x="33" y="19"/>
                    </a:lnTo>
                    <a:lnTo>
                      <a:pt x="66" y="14"/>
                    </a:lnTo>
                    <a:lnTo>
                      <a:pt x="103" y="9"/>
                    </a:lnTo>
                    <a:lnTo>
                      <a:pt x="145" y="4"/>
                    </a:lnTo>
                    <a:lnTo>
                      <a:pt x="193" y="0"/>
                    </a:lnTo>
                    <a:lnTo>
                      <a:pt x="166" y="31"/>
                    </a:lnTo>
                    <a:lnTo>
                      <a:pt x="166" y="34"/>
                    </a:lnTo>
                    <a:lnTo>
                      <a:pt x="164" y="37"/>
                    </a:lnTo>
                    <a:lnTo>
                      <a:pt x="162" y="39"/>
                    </a:lnTo>
                    <a:lnTo>
                      <a:pt x="161" y="41"/>
                    </a:lnTo>
                    <a:lnTo>
                      <a:pt x="157" y="45"/>
                    </a:lnTo>
                    <a:lnTo>
                      <a:pt x="156" y="47"/>
                    </a:lnTo>
                    <a:lnTo>
                      <a:pt x="156" y="49"/>
                    </a:lnTo>
                    <a:lnTo>
                      <a:pt x="157" y="50"/>
                    </a:lnTo>
                    <a:lnTo>
                      <a:pt x="159" y="50"/>
                    </a:lnTo>
                    <a:lnTo>
                      <a:pt x="163" y="51"/>
                    </a:lnTo>
                    <a:lnTo>
                      <a:pt x="177" y="53"/>
                    </a:lnTo>
                    <a:lnTo>
                      <a:pt x="200" y="55"/>
                    </a:lnTo>
                  </a:path>
                </a:pathLst>
              </a:custGeom>
              <a:grpFill/>
              <a:ln w="9525" cap="flat" cmpd="sng">
                <a:solidFill>
                  <a:srgbClr val="FFFFFF"/>
                </a:solidFill>
                <a:prstDash val="solid"/>
                <a:round/>
                <a:headEnd type="none" w="med" len="med"/>
                <a:tailEnd type="none" w="med" len="med"/>
              </a:ln>
              <a:effectLst/>
            </p:spPr>
            <p:txBody>
              <a:bodyPr/>
              <a:lstStyle/>
              <a:p>
                <a:endParaRPr lang="en-GB" sz="1637"/>
              </a:p>
            </p:txBody>
          </p:sp>
          <p:sp>
            <p:nvSpPr>
              <p:cNvPr id="85" name="Freeform 232"/>
              <p:cNvSpPr>
                <a:spLocks/>
              </p:cNvSpPr>
              <p:nvPr>
                <p:custDataLst>
                  <p:tags r:id="rId68"/>
                </p:custDataLst>
              </p:nvPr>
            </p:nvSpPr>
            <p:spPr bwMode="auto">
              <a:xfrm>
                <a:off x="4803348" y="2774816"/>
                <a:ext cx="36392" cy="148650"/>
              </a:xfrm>
              <a:custGeom>
                <a:avLst/>
                <a:gdLst>
                  <a:gd name="T0" fmla="*/ 13752 w 80"/>
                  <a:gd name="T1" fmla="*/ 0 h 254"/>
                  <a:gd name="T2" fmla="*/ 15418 w 80"/>
                  <a:gd name="T3" fmla="*/ 1037 h 254"/>
                  <a:gd name="T4" fmla="*/ 16669 w 80"/>
                  <a:gd name="T5" fmla="*/ 2075 h 254"/>
                  <a:gd name="T6" fmla="*/ 17919 w 80"/>
                  <a:gd name="T7" fmla="*/ 3631 h 254"/>
                  <a:gd name="T8" fmla="*/ 19169 w 80"/>
                  <a:gd name="T9" fmla="*/ 5187 h 254"/>
                  <a:gd name="T10" fmla="*/ 21669 w 80"/>
                  <a:gd name="T11" fmla="*/ 9337 h 254"/>
                  <a:gd name="T12" fmla="*/ 23336 w 80"/>
                  <a:gd name="T13" fmla="*/ 12969 h 254"/>
                  <a:gd name="T14" fmla="*/ 25836 w 80"/>
                  <a:gd name="T15" fmla="*/ 16600 h 254"/>
                  <a:gd name="T16" fmla="*/ 27920 w 80"/>
                  <a:gd name="T17" fmla="*/ 19712 h 254"/>
                  <a:gd name="T18" fmla="*/ 29170 w 80"/>
                  <a:gd name="T19" fmla="*/ 20750 h 254"/>
                  <a:gd name="T20" fmla="*/ 30420 w 80"/>
                  <a:gd name="T21" fmla="*/ 21787 h 254"/>
                  <a:gd name="T22" fmla="*/ 31670 w 80"/>
                  <a:gd name="T23" fmla="*/ 22306 h 254"/>
                  <a:gd name="T24" fmla="*/ 33337 w 80"/>
                  <a:gd name="T25" fmla="*/ 22825 h 254"/>
                  <a:gd name="T26" fmla="*/ 33337 w 80"/>
                  <a:gd name="T27" fmla="*/ 27494 h 254"/>
                  <a:gd name="T28" fmla="*/ 33337 w 80"/>
                  <a:gd name="T29" fmla="*/ 32162 h 254"/>
                  <a:gd name="T30" fmla="*/ 22086 w 80"/>
                  <a:gd name="T31" fmla="*/ 131762 h 254"/>
                  <a:gd name="T32" fmla="*/ 0 w 80"/>
                  <a:gd name="T33" fmla="*/ 48244 h 254"/>
                  <a:gd name="T34" fmla="*/ 1667 w 80"/>
                  <a:gd name="T35" fmla="*/ 45650 h 254"/>
                  <a:gd name="T36" fmla="*/ 4584 w 80"/>
                  <a:gd name="T37" fmla="*/ 36831 h 254"/>
                  <a:gd name="T38" fmla="*/ 7084 w 80"/>
                  <a:gd name="T39" fmla="*/ 29569 h 254"/>
                  <a:gd name="T40" fmla="*/ 9168 w 80"/>
                  <a:gd name="T41" fmla="*/ 21269 h 254"/>
                  <a:gd name="T42" fmla="*/ 11668 w 80"/>
                  <a:gd name="T43" fmla="*/ 11931 h 254"/>
                  <a:gd name="T44" fmla="*/ 13752 w 80"/>
                  <a:gd name="T45" fmla="*/ 0 h 25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80" h="254">
                    <a:moveTo>
                      <a:pt x="33" y="0"/>
                    </a:moveTo>
                    <a:lnTo>
                      <a:pt x="37" y="2"/>
                    </a:lnTo>
                    <a:lnTo>
                      <a:pt x="40" y="4"/>
                    </a:lnTo>
                    <a:lnTo>
                      <a:pt x="43" y="7"/>
                    </a:lnTo>
                    <a:lnTo>
                      <a:pt x="46" y="10"/>
                    </a:lnTo>
                    <a:lnTo>
                      <a:pt x="52" y="18"/>
                    </a:lnTo>
                    <a:lnTo>
                      <a:pt x="56" y="25"/>
                    </a:lnTo>
                    <a:lnTo>
                      <a:pt x="62" y="32"/>
                    </a:lnTo>
                    <a:lnTo>
                      <a:pt x="67" y="38"/>
                    </a:lnTo>
                    <a:lnTo>
                      <a:pt x="70" y="40"/>
                    </a:lnTo>
                    <a:lnTo>
                      <a:pt x="73" y="42"/>
                    </a:lnTo>
                    <a:lnTo>
                      <a:pt x="76" y="43"/>
                    </a:lnTo>
                    <a:lnTo>
                      <a:pt x="80" y="44"/>
                    </a:lnTo>
                    <a:lnTo>
                      <a:pt x="80" y="53"/>
                    </a:lnTo>
                    <a:lnTo>
                      <a:pt x="80" y="62"/>
                    </a:lnTo>
                    <a:lnTo>
                      <a:pt x="53" y="254"/>
                    </a:lnTo>
                    <a:lnTo>
                      <a:pt x="0" y="93"/>
                    </a:lnTo>
                    <a:lnTo>
                      <a:pt x="4" y="88"/>
                    </a:lnTo>
                    <a:lnTo>
                      <a:pt x="11" y="71"/>
                    </a:lnTo>
                    <a:lnTo>
                      <a:pt x="17" y="57"/>
                    </a:lnTo>
                    <a:lnTo>
                      <a:pt x="22" y="41"/>
                    </a:lnTo>
                    <a:lnTo>
                      <a:pt x="28" y="23"/>
                    </a:lnTo>
                    <a:lnTo>
                      <a:pt x="33" y="0"/>
                    </a:lnTo>
                  </a:path>
                </a:pathLst>
              </a:custGeom>
              <a:grpFill/>
              <a:ln w="9525" cmpd="sng">
                <a:solidFill>
                  <a:srgbClr val="FFFFFF"/>
                </a:solidFill>
                <a:prstDash val="solid"/>
                <a:round/>
                <a:headEnd/>
                <a:tailEnd/>
              </a:ln>
            </p:spPr>
            <p:txBody>
              <a:bodyPr/>
              <a:lstStyle/>
              <a:p>
                <a:endParaRPr lang="en-GB" sz="1637"/>
              </a:p>
            </p:txBody>
          </p:sp>
          <p:sp>
            <p:nvSpPr>
              <p:cNvPr id="86" name="Freeform 233"/>
              <p:cNvSpPr>
                <a:spLocks/>
              </p:cNvSpPr>
              <p:nvPr>
                <p:custDataLst>
                  <p:tags r:id="rId69"/>
                </p:custDataLst>
              </p:nvPr>
            </p:nvSpPr>
            <p:spPr bwMode="auto">
              <a:xfrm>
                <a:off x="4747893" y="2833917"/>
                <a:ext cx="76251" cy="146859"/>
              </a:xfrm>
              <a:custGeom>
                <a:avLst/>
                <a:gdLst>
                  <a:gd name="T0" fmla="*/ 47682 w 167"/>
                  <a:gd name="T1" fmla="*/ 0 h 259"/>
                  <a:gd name="T2" fmla="*/ 69850 w 167"/>
                  <a:gd name="T3" fmla="*/ 77904 h 259"/>
                  <a:gd name="T4" fmla="*/ 50610 w 167"/>
                  <a:gd name="T5" fmla="*/ 130175 h 259"/>
                  <a:gd name="T6" fmla="*/ 47264 w 167"/>
                  <a:gd name="T7" fmla="*/ 130175 h 259"/>
                  <a:gd name="T8" fmla="*/ 44754 w 167"/>
                  <a:gd name="T9" fmla="*/ 129170 h 259"/>
                  <a:gd name="T10" fmla="*/ 41826 w 167"/>
                  <a:gd name="T11" fmla="*/ 127662 h 259"/>
                  <a:gd name="T12" fmla="*/ 39735 w 167"/>
                  <a:gd name="T13" fmla="*/ 126154 h 259"/>
                  <a:gd name="T14" fmla="*/ 37225 w 167"/>
                  <a:gd name="T15" fmla="*/ 123139 h 259"/>
                  <a:gd name="T16" fmla="*/ 35552 w 167"/>
                  <a:gd name="T17" fmla="*/ 120625 h 259"/>
                  <a:gd name="T18" fmla="*/ 33461 w 167"/>
                  <a:gd name="T19" fmla="*/ 118112 h 259"/>
                  <a:gd name="T20" fmla="*/ 31788 w 167"/>
                  <a:gd name="T21" fmla="*/ 115097 h 259"/>
                  <a:gd name="T22" fmla="*/ 28860 w 167"/>
                  <a:gd name="T23" fmla="*/ 109066 h 259"/>
                  <a:gd name="T24" fmla="*/ 27187 w 167"/>
                  <a:gd name="T25" fmla="*/ 103034 h 259"/>
                  <a:gd name="T26" fmla="*/ 25932 w 167"/>
                  <a:gd name="T27" fmla="*/ 97506 h 259"/>
                  <a:gd name="T28" fmla="*/ 25932 w 167"/>
                  <a:gd name="T29" fmla="*/ 92982 h 259"/>
                  <a:gd name="T30" fmla="*/ 23004 w 167"/>
                  <a:gd name="T31" fmla="*/ 92480 h 259"/>
                  <a:gd name="T32" fmla="*/ 21331 w 167"/>
                  <a:gd name="T33" fmla="*/ 91977 h 259"/>
                  <a:gd name="T34" fmla="*/ 18822 w 167"/>
                  <a:gd name="T35" fmla="*/ 91474 h 259"/>
                  <a:gd name="T36" fmla="*/ 17567 w 167"/>
                  <a:gd name="T37" fmla="*/ 90469 h 259"/>
                  <a:gd name="T38" fmla="*/ 16312 w 167"/>
                  <a:gd name="T39" fmla="*/ 88961 h 259"/>
                  <a:gd name="T40" fmla="*/ 15057 w 167"/>
                  <a:gd name="T41" fmla="*/ 87453 h 259"/>
                  <a:gd name="T42" fmla="*/ 14221 w 167"/>
                  <a:gd name="T43" fmla="*/ 85443 h 259"/>
                  <a:gd name="T44" fmla="*/ 13384 w 167"/>
                  <a:gd name="T45" fmla="*/ 83935 h 259"/>
                  <a:gd name="T46" fmla="*/ 12548 w 167"/>
                  <a:gd name="T47" fmla="*/ 79412 h 259"/>
                  <a:gd name="T48" fmla="*/ 12130 w 167"/>
                  <a:gd name="T49" fmla="*/ 74888 h 259"/>
                  <a:gd name="T50" fmla="*/ 11711 w 167"/>
                  <a:gd name="T51" fmla="*/ 70365 h 259"/>
                  <a:gd name="T52" fmla="*/ 11711 w 167"/>
                  <a:gd name="T53" fmla="*/ 64836 h 259"/>
                  <a:gd name="T54" fmla="*/ 8784 w 167"/>
                  <a:gd name="T55" fmla="*/ 64836 h 259"/>
                  <a:gd name="T56" fmla="*/ 6692 w 167"/>
                  <a:gd name="T57" fmla="*/ 63831 h 259"/>
                  <a:gd name="T58" fmla="*/ 4601 w 167"/>
                  <a:gd name="T59" fmla="*/ 62826 h 259"/>
                  <a:gd name="T60" fmla="*/ 2928 w 167"/>
                  <a:gd name="T61" fmla="*/ 60815 h 259"/>
                  <a:gd name="T62" fmla="*/ 2091 w 167"/>
                  <a:gd name="T63" fmla="*/ 58805 h 259"/>
                  <a:gd name="T64" fmla="*/ 837 w 167"/>
                  <a:gd name="T65" fmla="*/ 56292 h 259"/>
                  <a:gd name="T66" fmla="*/ 0 w 167"/>
                  <a:gd name="T67" fmla="*/ 53779 h 259"/>
                  <a:gd name="T68" fmla="*/ 0 w 167"/>
                  <a:gd name="T69" fmla="*/ 50763 h 259"/>
                  <a:gd name="T70" fmla="*/ 0 w 167"/>
                  <a:gd name="T71" fmla="*/ 37695 h 259"/>
                  <a:gd name="T72" fmla="*/ 418 w 167"/>
                  <a:gd name="T73" fmla="*/ 25130 h 259"/>
                  <a:gd name="T74" fmla="*/ 5019 w 167"/>
                  <a:gd name="T75" fmla="*/ 26136 h 259"/>
                  <a:gd name="T76" fmla="*/ 9202 w 167"/>
                  <a:gd name="T77" fmla="*/ 26638 h 259"/>
                  <a:gd name="T78" fmla="*/ 13384 w 167"/>
                  <a:gd name="T79" fmla="*/ 26638 h 259"/>
                  <a:gd name="T80" fmla="*/ 17567 w 167"/>
                  <a:gd name="T81" fmla="*/ 26136 h 259"/>
                  <a:gd name="T82" fmla="*/ 20913 w 167"/>
                  <a:gd name="T83" fmla="*/ 25633 h 259"/>
                  <a:gd name="T84" fmla="*/ 24259 w 167"/>
                  <a:gd name="T85" fmla="*/ 24628 h 259"/>
                  <a:gd name="T86" fmla="*/ 27605 w 167"/>
                  <a:gd name="T87" fmla="*/ 23622 h 259"/>
                  <a:gd name="T88" fmla="*/ 30533 w 167"/>
                  <a:gd name="T89" fmla="*/ 22115 h 259"/>
                  <a:gd name="T90" fmla="*/ 33043 w 167"/>
                  <a:gd name="T91" fmla="*/ 20104 h 259"/>
                  <a:gd name="T92" fmla="*/ 35971 w 167"/>
                  <a:gd name="T93" fmla="*/ 18094 h 259"/>
                  <a:gd name="T94" fmla="*/ 38062 w 167"/>
                  <a:gd name="T95" fmla="*/ 15581 h 259"/>
                  <a:gd name="T96" fmla="*/ 40572 w 167"/>
                  <a:gd name="T97" fmla="*/ 13068 h 259"/>
                  <a:gd name="T98" fmla="*/ 44754 w 167"/>
                  <a:gd name="T99" fmla="*/ 6534 h 259"/>
                  <a:gd name="T100" fmla="*/ 47682 w 167"/>
                  <a:gd name="T101" fmla="*/ 0 h 25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67" h="259">
                    <a:moveTo>
                      <a:pt x="114" y="0"/>
                    </a:moveTo>
                    <a:lnTo>
                      <a:pt x="167" y="155"/>
                    </a:lnTo>
                    <a:lnTo>
                      <a:pt x="121" y="259"/>
                    </a:lnTo>
                    <a:lnTo>
                      <a:pt x="113" y="259"/>
                    </a:lnTo>
                    <a:lnTo>
                      <a:pt x="107" y="257"/>
                    </a:lnTo>
                    <a:lnTo>
                      <a:pt x="100" y="254"/>
                    </a:lnTo>
                    <a:lnTo>
                      <a:pt x="95" y="251"/>
                    </a:lnTo>
                    <a:lnTo>
                      <a:pt x="89" y="245"/>
                    </a:lnTo>
                    <a:lnTo>
                      <a:pt x="85" y="240"/>
                    </a:lnTo>
                    <a:lnTo>
                      <a:pt x="80" y="235"/>
                    </a:lnTo>
                    <a:lnTo>
                      <a:pt x="76" y="229"/>
                    </a:lnTo>
                    <a:lnTo>
                      <a:pt x="69" y="217"/>
                    </a:lnTo>
                    <a:lnTo>
                      <a:pt x="65" y="205"/>
                    </a:lnTo>
                    <a:lnTo>
                      <a:pt x="62" y="194"/>
                    </a:lnTo>
                    <a:lnTo>
                      <a:pt x="62" y="185"/>
                    </a:lnTo>
                    <a:lnTo>
                      <a:pt x="55" y="184"/>
                    </a:lnTo>
                    <a:lnTo>
                      <a:pt x="51" y="183"/>
                    </a:lnTo>
                    <a:lnTo>
                      <a:pt x="45" y="182"/>
                    </a:lnTo>
                    <a:lnTo>
                      <a:pt x="42" y="180"/>
                    </a:lnTo>
                    <a:lnTo>
                      <a:pt x="39" y="177"/>
                    </a:lnTo>
                    <a:lnTo>
                      <a:pt x="36" y="174"/>
                    </a:lnTo>
                    <a:lnTo>
                      <a:pt x="34" y="170"/>
                    </a:lnTo>
                    <a:lnTo>
                      <a:pt x="32" y="167"/>
                    </a:lnTo>
                    <a:lnTo>
                      <a:pt x="30" y="158"/>
                    </a:lnTo>
                    <a:lnTo>
                      <a:pt x="29" y="149"/>
                    </a:lnTo>
                    <a:lnTo>
                      <a:pt x="28" y="140"/>
                    </a:lnTo>
                    <a:lnTo>
                      <a:pt x="28" y="129"/>
                    </a:lnTo>
                    <a:lnTo>
                      <a:pt x="21" y="129"/>
                    </a:lnTo>
                    <a:lnTo>
                      <a:pt x="16" y="127"/>
                    </a:lnTo>
                    <a:lnTo>
                      <a:pt x="11" y="125"/>
                    </a:lnTo>
                    <a:lnTo>
                      <a:pt x="7" y="121"/>
                    </a:lnTo>
                    <a:lnTo>
                      <a:pt x="5" y="117"/>
                    </a:lnTo>
                    <a:lnTo>
                      <a:pt x="2" y="112"/>
                    </a:lnTo>
                    <a:lnTo>
                      <a:pt x="0" y="107"/>
                    </a:lnTo>
                    <a:lnTo>
                      <a:pt x="0" y="101"/>
                    </a:lnTo>
                    <a:lnTo>
                      <a:pt x="0" y="75"/>
                    </a:lnTo>
                    <a:lnTo>
                      <a:pt x="1" y="50"/>
                    </a:lnTo>
                    <a:lnTo>
                      <a:pt x="12" y="52"/>
                    </a:lnTo>
                    <a:lnTo>
                      <a:pt x="22" y="53"/>
                    </a:lnTo>
                    <a:lnTo>
                      <a:pt x="32" y="53"/>
                    </a:lnTo>
                    <a:lnTo>
                      <a:pt x="42" y="52"/>
                    </a:lnTo>
                    <a:lnTo>
                      <a:pt x="50" y="51"/>
                    </a:lnTo>
                    <a:lnTo>
                      <a:pt x="58" y="49"/>
                    </a:lnTo>
                    <a:lnTo>
                      <a:pt x="66" y="47"/>
                    </a:lnTo>
                    <a:lnTo>
                      <a:pt x="73" y="44"/>
                    </a:lnTo>
                    <a:lnTo>
                      <a:pt x="79" y="40"/>
                    </a:lnTo>
                    <a:lnTo>
                      <a:pt x="86" y="36"/>
                    </a:lnTo>
                    <a:lnTo>
                      <a:pt x="91" y="31"/>
                    </a:lnTo>
                    <a:lnTo>
                      <a:pt x="97" y="26"/>
                    </a:lnTo>
                    <a:lnTo>
                      <a:pt x="107" y="13"/>
                    </a:lnTo>
                    <a:lnTo>
                      <a:pt x="114" y="0"/>
                    </a:lnTo>
                  </a:path>
                </a:pathLst>
              </a:custGeom>
              <a:grpFill/>
              <a:ln w="9525" cmpd="sng">
                <a:solidFill>
                  <a:srgbClr val="FFFFFF"/>
                </a:solidFill>
                <a:prstDash val="solid"/>
                <a:round/>
                <a:headEnd/>
                <a:tailEnd/>
              </a:ln>
            </p:spPr>
            <p:txBody>
              <a:bodyPr/>
              <a:lstStyle/>
              <a:p>
                <a:endParaRPr lang="en-GB" sz="1637"/>
              </a:p>
            </p:txBody>
          </p:sp>
          <p:sp>
            <p:nvSpPr>
              <p:cNvPr id="87" name="Freeform 235"/>
              <p:cNvSpPr>
                <a:spLocks/>
              </p:cNvSpPr>
              <p:nvPr>
                <p:custDataLst>
                  <p:tags r:id="rId70"/>
                </p:custDataLst>
              </p:nvPr>
            </p:nvSpPr>
            <p:spPr bwMode="auto">
              <a:xfrm>
                <a:off x="3453357" y="3020177"/>
                <a:ext cx="334465" cy="440577"/>
              </a:xfrm>
              <a:custGeom>
                <a:avLst/>
                <a:gdLst>
                  <a:gd name="T0" fmla="*/ 124140 w 232"/>
                  <a:gd name="T1" fmla="*/ 387376 h 248"/>
                  <a:gd name="T2" fmla="*/ 126781 w 232"/>
                  <a:gd name="T3" fmla="*/ 382652 h 248"/>
                  <a:gd name="T4" fmla="*/ 129423 w 232"/>
                  <a:gd name="T5" fmla="*/ 374778 h 248"/>
                  <a:gd name="T6" fmla="*/ 132064 w 232"/>
                  <a:gd name="T7" fmla="*/ 365330 h 248"/>
                  <a:gd name="T8" fmla="*/ 136026 w 232"/>
                  <a:gd name="T9" fmla="*/ 363755 h 248"/>
                  <a:gd name="T10" fmla="*/ 137346 w 232"/>
                  <a:gd name="T11" fmla="*/ 374778 h 248"/>
                  <a:gd name="T12" fmla="*/ 139988 w 232"/>
                  <a:gd name="T13" fmla="*/ 379502 h 248"/>
                  <a:gd name="T14" fmla="*/ 142629 w 232"/>
                  <a:gd name="T15" fmla="*/ 381077 h 248"/>
                  <a:gd name="T16" fmla="*/ 145270 w 232"/>
                  <a:gd name="T17" fmla="*/ 381077 h 248"/>
                  <a:gd name="T18" fmla="*/ 149232 w 232"/>
                  <a:gd name="T19" fmla="*/ 379502 h 248"/>
                  <a:gd name="T20" fmla="*/ 153194 w 232"/>
                  <a:gd name="T21" fmla="*/ 374778 h 248"/>
                  <a:gd name="T22" fmla="*/ 285258 w 232"/>
                  <a:gd name="T23" fmla="*/ 368479 h 248"/>
                  <a:gd name="T24" fmla="*/ 281296 w 232"/>
                  <a:gd name="T25" fmla="*/ 321238 h 248"/>
                  <a:gd name="T26" fmla="*/ 273372 w 232"/>
                  <a:gd name="T27" fmla="*/ 217308 h 248"/>
                  <a:gd name="T28" fmla="*/ 265448 w 232"/>
                  <a:gd name="T29" fmla="*/ 114953 h 248"/>
                  <a:gd name="T30" fmla="*/ 261486 w 232"/>
                  <a:gd name="T31" fmla="*/ 67712 h 248"/>
                  <a:gd name="T32" fmla="*/ 283937 w 232"/>
                  <a:gd name="T33" fmla="*/ 69287 h 248"/>
                  <a:gd name="T34" fmla="*/ 306388 w 232"/>
                  <a:gd name="T35" fmla="*/ 72436 h 248"/>
                  <a:gd name="T36" fmla="*/ 212623 w 232"/>
                  <a:gd name="T37" fmla="*/ 3149 h 248"/>
                  <a:gd name="T38" fmla="*/ 211302 w 232"/>
                  <a:gd name="T39" fmla="*/ 12598 h 248"/>
                  <a:gd name="T40" fmla="*/ 212623 w 232"/>
                  <a:gd name="T41" fmla="*/ 28345 h 248"/>
                  <a:gd name="T42" fmla="*/ 129423 w 232"/>
                  <a:gd name="T43" fmla="*/ 37793 h 248"/>
                  <a:gd name="T44" fmla="*/ 129423 w 232"/>
                  <a:gd name="T45" fmla="*/ 116528 h 248"/>
                  <a:gd name="T46" fmla="*/ 125461 w 232"/>
                  <a:gd name="T47" fmla="*/ 119677 h 248"/>
                  <a:gd name="T48" fmla="*/ 114896 w 232"/>
                  <a:gd name="T49" fmla="*/ 122826 h 248"/>
                  <a:gd name="T50" fmla="*/ 95086 w 232"/>
                  <a:gd name="T51" fmla="*/ 129125 h 248"/>
                  <a:gd name="T52" fmla="*/ 97727 w 232"/>
                  <a:gd name="T53" fmla="*/ 138573 h 248"/>
                  <a:gd name="T54" fmla="*/ 103010 w 232"/>
                  <a:gd name="T55" fmla="*/ 151171 h 248"/>
                  <a:gd name="T56" fmla="*/ 105651 w 232"/>
                  <a:gd name="T57" fmla="*/ 165343 h 248"/>
                  <a:gd name="T58" fmla="*/ 106972 w 232"/>
                  <a:gd name="T59" fmla="*/ 181090 h 248"/>
                  <a:gd name="T60" fmla="*/ 11886 w 232"/>
                  <a:gd name="T61" fmla="*/ 187389 h 248"/>
                  <a:gd name="T62" fmla="*/ 6603 w 232"/>
                  <a:gd name="T63" fmla="*/ 204711 h 248"/>
                  <a:gd name="T64" fmla="*/ 7924 w 232"/>
                  <a:gd name="T65" fmla="*/ 225182 h 248"/>
                  <a:gd name="T66" fmla="*/ 10565 w 232"/>
                  <a:gd name="T67" fmla="*/ 244078 h 248"/>
                  <a:gd name="T68" fmla="*/ 11886 w 232"/>
                  <a:gd name="T69" fmla="*/ 264549 h 248"/>
                  <a:gd name="T70" fmla="*/ 11886 w 232"/>
                  <a:gd name="T71" fmla="*/ 286595 h 248"/>
                  <a:gd name="T72" fmla="*/ 10565 w 232"/>
                  <a:gd name="T73" fmla="*/ 305491 h 248"/>
                  <a:gd name="T74" fmla="*/ 7924 w 232"/>
                  <a:gd name="T75" fmla="*/ 324388 h 248"/>
                  <a:gd name="T76" fmla="*/ 2641 w 232"/>
                  <a:gd name="T77" fmla="*/ 340135 h 248"/>
                  <a:gd name="T78" fmla="*/ 2641 w 232"/>
                  <a:gd name="T79" fmla="*/ 344859 h 248"/>
                  <a:gd name="T80" fmla="*/ 3962 w 232"/>
                  <a:gd name="T81" fmla="*/ 346433 h 248"/>
                  <a:gd name="T82" fmla="*/ 3962 w 232"/>
                  <a:gd name="T83" fmla="*/ 349583 h 248"/>
                  <a:gd name="T84" fmla="*/ 9244 w 232"/>
                  <a:gd name="T85" fmla="*/ 341709 h 248"/>
                  <a:gd name="T86" fmla="*/ 23771 w 232"/>
                  <a:gd name="T87" fmla="*/ 335411 h 248"/>
                  <a:gd name="T88" fmla="*/ 47543 w 232"/>
                  <a:gd name="T89" fmla="*/ 325962 h 248"/>
                  <a:gd name="T90" fmla="*/ 59429 w 232"/>
                  <a:gd name="T91" fmla="*/ 327537 h 248"/>
                  <a:gd name="T92" fmla="*/ 67353 w 232"/>
                  <a:gd name="T93" fmla="*/ 333836 h 248"/>
                  <a:gd name="T94" fmla="*/ 73956 w 232"/>
                  <a:gd name="T95" fmla="*/ 336985 h 248"/>
                  <a:gd name="T96" fmla="*/ 81880 w 232"/>
                  <a:gd name="T97" fmla="*/ 338560 h 248"/>
                  <a:gd name="T98" fmla="*/ 87162 w 232"/>
                  <a:gd name="T99" fmla="*/ 344859 h 248"/>
                  <a:gd name="T100" fmla="*/ 88483 w 232"/>
                  <a:gd name="T101" fmla="*/ 354307 h 248"/>
                  <a:gd name="T102" fmla="*/ 92445 w 232"/>
                  <a:gd name="T103" fmla="*/ 363755 h 248"/>
                  <a:gd name="T104" fmla="*/ 97727 w 232"/>
                  <a:gd name="T105" fmla="*/ 370054 h 248"/>
                  <a:gd name="T106" fmla="*/ 112254 w 232"/>
                  <a:gd name="T107" fmla="*/ 382652 h 24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32" h="248">
                    <a:moveTo>
                      <a:pt x="91" y="248"/>
                    </a:moveTo>
                    <a:lnTo>
                      <a:pt x="94" y="246"/>
                    </a:lnTo>
                    <a:lnTo>
                      <a:pt x="95" y="245"/>
                    </a:lnTo>
                    <a:lnTo>
                      <a:pt x="96" y="243"/>
                    </a:lnTo>
                    <a:lnTo>
                      <a:pt x="97" y="240"/>
                    </a:lnTo>
                    <a:lnTo>
                      <a:pt x="98" y="238"/>
                    </a:lnTo>
                    <a:lnTo>
                      <a:pt x="99" y="235"/>
                    </a:lnTo>
                    <a:lnTo>
                      <a:pt x="100" y="232"/>
                    </a:lnTo>
                    <a:lnTo>
                      <a:pt x="103" y="230"/>
                    </a:lnTo>
                    <a:lnTo>
                      <a:pt x="103" y="231"/>
                    </a:lnTo>
                    <a:lnTo>
                      <a:pt x="103" y="236"/>
                    </a:lnTo>
                    <a:lnTo>
                      <a:pt x="104" y="238"/>
                    </a:lnTo>
                    <a:lnTo>
                      <a:pt x="105" y="240"/>
                    </a:lnTo>
                    <a:lnTo>
                      <a:pt x="106" y="241"/>
                    </a:lnTo>
                    <a:lnTo>
                      <a:pt x="107" y="241"/>
                    </a:lnTo>
                    <a:lnTo>
                      <a:pt x="108" y="242"/>
                    </a:lnTo>
                    <a:lnTo>
                      <a:pt x="109" y="242"/>
                    </a:lnTo>
                    <a:lnTo>
                      <a:pt x="110" y="242"/>
                    </a:lnTo>
                    <a:lnTo>
                      <a:pt x="112" y="241"/>
                    </a:lnTo>
                    <a:lnTo>
                      <a:pt x="113" y="241"/>
                    </a:lnTo>
                    <a:lnTo>
                      <a:pt x="114" y="240"/>
                    </a:lnTo>
                    <a:lnTo>
                      <a:pt x="116" y="238"/>
                    </a:lnTo>
                    <a:lnTo>
                      <a:pt x="118" y="236"/>
                    </a:lnTo>
                    <a:lnTo>
                      <a:pt x="216" y="234"/>
                    </a:lnTo>
                    <a:lnTo>
                      <a:pt x="215" y="225"/>
                    </a:lnTo>
                    <a:lnTo>
                      <a:pt x="213" y="204"/>
                    </a:lnTo>
                    <a:lnTo>
                      <a:pt x="210" y="173"/>
                    </a:lnTo>
                    <a:lnTo>
                      <a:pt x="207" y="138"/>
                    </a:lnTo>
                    <a:lnTo>
                      <a:pt x="204" y="103"/>
                    </a:lnTo>
                    <a:lnTo>
                      <a:pt x="201" y="73"/>
                    </a:lnTo>
                    <a:lnTo>
                      <a:pt x="199" y="51"/>
                    </a:lnTo>
                    <a:lnTo>
                      <a:pt x="198" y="43"/>
                    </a:lnTo>
                    <a:lnTo>
                      <a:pt x="203" y="43"/>
                    </a:lnTo>
                    <a:lnTo>
                      <a:pt x="215" y="44"/>
                    </a:lnTo>
                    <a:lnTo>
                      <a:pt x="226" y="45"/>
                    </a:lnTo>
                    <a:lnTo>
                      <a:pt x="232" y="46"/>
                    </a:lnTo>
                    <a:lnTo>
                      <a:pt x="161" y="0"/>
                    </a:lnTo>
                    <a:lnTo>
                      <a:pt x="161" y="2"/>
                    </a:lnTo>
                    <a:lnTo>
                      <a:pt x="160" y="5"/>
                    </a:lnTo>
                    <a:lnTo>
                      <a:pt x="160" y="8"/>
                    </a:lnTo>
                    <a:lnTo>
                      <a:pt x="161" y="11"/>
                    </a:lnTo>
                    <a:lnTo>
                      <a:pt x="161" y="18"/>
                    </a:lnTo>
                    <a:lnTo>
                      <a:pt x="161" y="24"/>
                    </a:lnTo>
                    <a:lnTo>
                      <a:pt x="98" y="24"/>
                    </a:lnTo>
                    <a:lnTo>
                      <a:pt x="94" y="22"/>
                    </a:lnTo>
                    <a:lnTo>
                      <a:pt x="98" y="74"/>
                    </a:lnTo>
                    <a:lnTo>
                      <a:pt x="97" y="75"/>
                    </a:lnTo>
                    <a:lnTo>
                      <a:pt x="95" y="76"/>
                    </a:lnTo>
                    <a:lnTo>
                      <a:pt x="91" y="77"/>
                    </a:lnTo>
                    <a:lnTo>
                      <a:pt x="87" y="78"/>
                    </a:lnTo>
                    <a:lnTo>
                      <a:pt x="78" y="80"/>
                    </a:lnTo>
                    <a:lnTo>
                      <a:pt x="72" y="82"/>
                    </a:lnTo>
                    <a:lnTo>
                      <a:pt x="73" y="85"/>
                    </a:lnTo>
                    <a:lnTo>
                      <a:pt x="74" y="88"/>
                    </a:lnTo>
                    <a:lnTo>
                      <a:pt x="76" y="92"/>
                    </a:lnTo>
                    <a:lnTo>
                      <a:pt x="78" y="96"/>
                    </a:lnTo>
                    <a:lnTo>
                      <a:pt x="79" y="99"/>
                    </a:lnTo>
                    <a:lnTo>
                      <a:pt x="80" y="105"/>
                    </a:lnTo>
                    <a:lnTo>
                      <a:pt x="80" y="112"/>
                    </a:lnTo>
                    <a:lnTo>
                      <a:pt x="81" y="115"/>
                    </a:lnTo>
                    <a:lnTo>
                      <a:pt x="13" y="115"/>
                    </a:lnTo>
                    <a:lnTo>
                      <a:pt x="9" y="119"/>
                    </a:lnTo>
                    <a:lnTo>
                      <a:pt x="4" y="123"/>
                    </a:lnTo>
                    <a:lnTo>
                      <a:pt x="5" y="130"/>
                    </a:lnTo>
                    <a:lnTo>
                      <a:pt x="5" y="137"/>
                    </a:lnTo>
                    <a:lnTo>
                      <a:pt x="6" y="143"/>
                    </a:lnTo>
                    <a:lnTo>
                      <a:pt x="7" y="149"/>
                    </a:lnTo>
                    <a:lnTo>
                      <a:pt x="8" y="155"/>
                    </a:lnTo>
                    <a:lnTo>
                      <a:pt x="8" y="161"/>
                    </a:lnTo>
                    <a:lnTo>
                      <a:pt x="9" y="168"/>
                    </a:lnTo>
                    <a:lnTo>
                      <a:pt x="9" y="176"/>
                    </a:lnTo>
                    <a:lnTo>
                      <a:pt x="9" y="182"/>
                    </a:lnTo>
                    <a:lnTo>
                      <a:pt x="8" y="188"/>
                    </a:lnTo>
                    <a:lnTo>
                      <a:pt x="8" y="194"/>
                    </a:lnTo>
                    <a:lnTo>
                      <a:pt x="7" y="200"/>
                    </a:lnTo>
                    <a:lnTo>
                      <a:pt x="6" y="206"/>
                    </a:lnTo>
                    <a:lnTo>
                      <a:pt x="4" y="211"/>
                    </a:lnTo>
                    <a:lnTo>
                      <a:pt x="2" y="216"/>
                    </a:lnTo>
                    <a:lnTo>
                      <a:pt x="0" y="221"/>
                    </a:lnTo>
                    <a:lnTo>
                      <a:pt x="2" y="219"/>
                    </a:lnTo>
                    <a:lnTo>
                      <a:pt x="3" y="219"/>
                    </a:lnTo>
                    <a:lnTo>
                      <a:pt x="3" y="220"/>
                    </a:lnTo>
                    <a:lnTo>
                      <a:pt x="3" y="221"/>
                    </a:lnTo>
                    <a:lnTo>
                      <a:pt x="3" y="222"/>
                    </a:lnTo>
                    <a:lnTo>
                      <a:pt x="4" y="217"/>
                    </a:lnTo>
                    <a:lnTo>
                      <a:pt x="7" y="217"/>
                    </a:lnTo>
                    <a:lnTo>
                      <a:pt x="12" y="215"/>
                    </a:lnTo>
                    <a:lnTo>
                      <a:pt x="18" y="213"/>
                    </a:lnTo>
                    <a:lnTo>
                      <a:pt x="25" y="211"/>
                    </a:lnTo>
                    <a:lnTo>
                      <a:pt x="36" y="207"/>
                    </a:lnTo>
                    <a:lnTo>
                      <a:pt x="41" y="205"/>
                    </a:lnTo>
                    <a:lnTo>
                      <a:pt x="45" y="208"/>
                    </a:lnTo>
                    <a:lnTo>
                      <a:pt x="48" y="210"/>
                    </a:lnTo>
                    <a:lnTo>
                      <a:pt x="51" y="212"/>
                    </a:lnTo>
                    <a:lnTo>
                      <a:pt x="53" y="213"/>
                    </a:lnTo>
                    <a:lnTo>
                      <a:pt x="56" y="214"/>
                    </a:lnTo>
                    <a:lnTo>
                      <a:pt x="59" y="215"/>
                    </a:lnTo>
                    <a:lnTo>
                      <a:pt x="62" y="215"/>
                    </a:lnTo>
                    <a:lnTo>
                      <a:pt x="66" y="215"/>
                    </a:lnTo>
                    <a:lnTo>
                      <a:pt x="66" y="219"/>
                    </a:lnTo>
                    <a:lnTo>
                      <a:pt x="66" y="222"/>
                    </a:lnTo>
                    <a:lnTo>
                      <a:pt x="67" y="225"/>
                    </a:lnTo>
                    <a:lnTo>
                      <a:pt x="69" y="228"/>
                    </a:lnTo>
                    <a:lnTo>
                      <a:pt x="70" y="231"/>
                    </a:lnTo>
                    <a:lnTo>
                      <a:pt x="72" y="233"/>
                    </a:lnTo>
                    <a:lnTo>
                      <a:pt x="74" y="235"/>
                    </a:lnTo>
                    <a:lnTo>
                      <a:pt x="76" y="237"/>
                    </a:lnTo>
                    <a:lnTo>
                      <a:pt x="85" y="243"/>
                    </a:lnTo>
                    <a:lnTo>
                      <a:pt x="91" y="248"/>
                    </a:lnTo>
                  </a:path>
                </a:pathLst>
              </a:custGeom>
              <a:grpFill/>
              <a:ln w="9525" cmpd="sng">
                <a:solidFill>
                  <a:srgbClr val="FFFFFF"/>
                </a:solidFill>
                <a:prstDash val="solid"/>
                <a:round/>
                <a:headEnd/>
                <a:tailEnd/>
              </a:ln>
            </p:spPr>
            <p:txBody>
              <a:bodyPr/>
              <a:lstStyle/>
              <a:p>
                <a:endParaRPr lang="en-GB" sz="1637"/>
              </a:p>
            </p:txBody>
          </p:sp>
          <p:sp>
            <p:nvSpPr>
              <p:cNvPr id="88" name="Freeform 236"/>
              <p:cNvSpPr>
                <a:spLocks/>
              </p:cNvSpPr>
              <p:nvPr>
                <p:custDataLst>
                  <p:tags r:id="rId71"/>
                </p:custDataLst>
              </p:nvPr>
            </p:nvSpPr>
            <p:spPr bwMode="auto">
              <a:xfrm>
                <a:off x="3579865" y="3088234"/>
                <a:ext cx="452307" cy="528335"/>
              </a:xfrm>
              <a:custGeom>
                <a:avLst/>
                <a:gdLst>
                  <a:gd name="T0" fmla="*/ 39336 w 948"/>
                  <a:gd name="T1" fmla="*/ 413248 h 893"/>
                  <a:gd name="T2" fmla="*/ 52885 w 948"/>
                  <a:gd name="T3" fmla="*/ 413248 h 893"/>
                  <a:gd name="T4" fmla="*/ 63811 w 948"/>
                  <a:gd name="T5" fmla="*/ 410626 h 893"/>
                  <a:gd name="T6" fmla="*/ 81294 w 948"/>
                  <a:gd name="T7" fmla="*/ 406955 h 893"/>
                  <a:gd name="T8" fmla="*/ 86102 w 948"/>
                  <a:gd name="T9" fmla="*/ 426359 h 893"/>
                  <a:gd name="T10" fmla="*/ 92658 w 948"/>
                  <a:gd name="T11" fmla="*/ 437896 h 893"/>
                  <a:gd name="T12" fmla="*/ 98777 w 948"/>
                  <a:gd name="T13" fmla="*/ 443665 h 893"/>
                  <a:gd name="T14" fmla="*/ 107518 w 948"/>
                  <a:gd name="T15" fmla="*/ 445763 h 893"/>
                  <a:gd name="T16" fmla="*/ 107518 w 948"/>
                  <a:gd name="T17" fmla="*/ 462020 h 893"/>
                  <a:gd name="T18" fmla="*/ 142483 w 948"/>
                  <a:gd name="T19" fmla="*/ 466215 h 893"/>
                  <a:gd name="T20" fmla="*/ 145979 w 948"/>
                  <a:gd name="T21" fmla="*/ 459398 h 893"/>
                  <a:gd name="T22" fmla="*/ 151661 w 948"/>
                  <a:gd name="T23" fmla="*/ 456776 h 893"/>
                  <a:gd name="T24" fmla="*/ 152098 w 948"/>
                  <a:gd name="T25" fmla="*/ 465691 h 893"/>
                  <a:gd name="T26" fmla="*/ 156469 w 948"/>
                  <a:gd name="T27" fmla="*/ 468313 h 893"/>
                  <a:gd name="T28" fmla="*/ 168270 w 948"/>
                  <a:gd name="T29" fmla="*/ 468313 h 893"/>
                  <a:gd name="T30" fmla="*/ 175263 w 948"/>
                  <a:gd name="T31" fmla="*/ 447860 h 893"/>
                  <a:gd name="T32" fmla="*/ 180071 w 948"/>
                  <a:gd name="T33" fmla="*/ 413248 h 893"/>
                  <a:gd name="T34" fmla="*/ 185315 w 948"/>
                  <a:gd name="T35" fmla="*/ 404333 h 893"/>
                  <a:gd name="T36" fmla="*/ 197553 w 948"/>
                  <a:gd name="T37" fmla="*/ 395418 h 893"/>
                  <a:gd name="T38" fmla="*/ 211976 w 948"/>
                  <a:gd name="T39" fmla="*/ 389649 h 893"/>
                  <a:gd name="T40" fmla="*/ 218969 w 948"/>
                  <a:gd name="T41" fmla="*/ 382307 h 893"/>
                  <a:gd name="T42" fmla="*/ 225088 w 948"/>
                  <a:gd name="T43" fmla="*/ 368148 h 893"/>
                  <a:gd name="T44" fmla="*/ 233829 w 948"/>
                  <a:gd name="T45" fmla="*/ 350317 h 893"/>
                  <a:gd name="T46" fmla="*/ 239074 w 948"/>
                  <a:gd name="T47" fmla="*/ 346122 h 893"/>
                  <a:gd name="T48" fmla="*/ 250001 w 948"/>
                  <a:gd name="T49" fmla="*/ 345597 h 893"/>
                  <a:gd name="T50" fmla="*/ 264424 w 948"/>
                  <a:gd name="T51" fmla="*/ 337731 h 893"/>
                  <a:gd name="T52" fmla="*/ 279284 w 948"/>
                  <a:gd name="T53" fmla="*/ 327242 h 893"/>
                  <a:gd name="T54" fmla="*/ 294581 w 948"/>
                  <a:gd name="T55" fmla="*/ 321474 h 893"/>
                  <a:gd name="T56" fmla="*/ 316435 w 948"/>
                  <a:gd name="T57" fmla="*/ 319900 h 893"/>
                  <a:gd name="T58" fmla="*/ 344407 w 948"/>
                  <a:gd name="T59" fmla="*/ 315705 h 893"/>
                  <a:gd name="T60" fmla="*/ 356207 w 948"/>
                  <a:gd name="T61" fmla="*/ 311509 h 893"/>
                  <a:gd name="T62" fmla="*/ 377187 w 948"/>
                  <a:gd name="T63" fmla="*/ 309412 h 893"/>
                  <a:gd name="T64" fmla="*/ 393795 w 948"/>
                  <a:gd name="T65" fmla="*/ 305741 h 893"/>
                  <a:gd name="T66" fmla="*/ 399040 w 948"/>
                  <a:gd name="T67" fmla="*/ 301021 h 893"/>
                  <a:gd name="T68" fmla="*/ 406907 w 948"/>
                  <a:gd name="T69" fmla="*/ 285288 h 893"/>
                  <a:gd name="T70" fmla="*/ 412152 w 948"/>
                  <a:gd name="T71" fmla="*/ 264311 h 893"/>
                  <a:gd name="T72" fmla="*/ 414337 w 948"/>
                  <a:gd name="T73" fmla="*/ 241761 h 893"/>
                  <a:gd name="T74" fmla="*/ 413900 w 948"/>
                  <a:gd name="T75" fmla="*/ 220784 h 893"/>
                  <a:gd name="T76" fmla="*/ 412152 w 948"/>
                  <a:gd name="T77" fmla="*/ 190367 h 893"/>
                  <a:gd name="T78" fmla="*/ 402973 w 948"/>
                  <a:gd name="T79" fmla="*/ 186696 h 893"/>
                  <a:gd name="T80" fmla="*/ 376749 w 948"/>
                  <a:gd name="T81" fmla="*/ 168865 h 893"/>
                  <a:gd name="T82" fmla="*/ 347029 w 948"/>
                  <a:gd name="T83" fmla="*/ 145791 h 893"/>
                  <a:gd name="T84" fmla="*/ 322553 w 948"/>
                  <a:gd name="T85" fmla="*/ 113276 h 893"/>
                  <a:gd name="T86" fmla="*/ 180071 w 948"/>
                  <a:gd name="T87" fmla="*/ 6293 h 893"/>
                  <a:gd name="T88" fmla="*/ 152098 w 948"/>
                  <a:gd name="T89" fmla="*/ 53492 h 893"/>
                  <a:gd name="T90" fmla="*/ 165647 w 948"/>
                  <a:gd name="T91" fmla="*/ 212393 h 893"/>
                  <a:gd name="T92" fmla="*/ 171329 w 948"/>
                  <a:gd name="T93" fmla="*/ 296301 h 893"/>
                  <a:gd name="T94" fmla="*/ 40647 w 948"/>
                  <a:gd name="T95" fmla="*/ 309936 h 893"/>
                  <a:gd name="T96" fmla="*/ 34528 w 948"/>
                  <a:gd name="T97" fmla="*/ 317803 h 893"/>
                  <a:gd name="T98" fmla="*/ 29283 w 948"/>
                  <a:gd name="T99" fmla="*/ 319900 h 893"/>
                  <a:gd name="T100" fmla="*/ 24913 w 948"/>
                  <a:gd name="T101" fmla="*/ 318327 h 893"/>
                  <a:gd name="T102" fmla="*/ 21416 w 948"/>
                  <a:gd name="T103" fmla="*/ 309936 h 893"/>
                  <a:gd name="T104" fmla="*/ 17483 w 948"/>
                  <a:gd name="T105" fmla="*/ 304692 h 893"/>
                  <a:gd name="T106" fmla="*/ 12675 w 948"/>
                  <a:gd name="T107" fmla="*/ 317278 h 893"/>
                  <a:gd name="T108" fmla="*/ 6556 w 948"/>
                  <a:gd name="T109" fmla="*/ 326718 h 893"/>
                  <a:gd name="T110" fmla="*/ 29283 w 948"/>
                  <a:gd name="T111" fmla="*/ 384405 h 893"/>
                  <a:gd name="T112" fmla="*/ 26661 w 948"/>
                  <a:gd name="T113" fmla="*/ 392271 h 893"/>
                  <a:gd name="T114" fmla="*/ 27098 w 948"/>
                  <a:gd name="T115" fmla="*/ 398564 h 893"/>
                  <a:gd name="T116" fmla="*/ 23601 w 948"/>
                  <a:gd name="T117" fmla="*/ 413248 h 89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948" h="893">
                    <a:moveTo>
                      <a:pt x="54" y="788"/>
                    </a:moveTo>
                    <a:lnTo>
                      <a:pt x="74" y="788"/>
                    </a:lnTo>
                    <a:lnTo>
                      <a:pt x="90" y="788"/>
                    </a:lnTo>
                    <a:lnTo>
                      <a:pt x="100" y="788"/>
                    </a:lnTo>
                    <a:lnTo>
                      <a:pt x="106" y="788"/>
                    </a:lnTo>
                    <a:lnTo>
                      <a:pt x="121" y="788"/>
                    </a:lnTo>
                    <a:lnTo>
                      <a:pt x="135" y="787"/>
                    </a:lnTo>
                    <a:lnTo>
                      <a:pt x="140" y="785"/>
                    </a:lnTo>
                    <a:lnTo>
                      <a:pt x="146" y="783"/>
                    </a:lnTo>
                    <a:lnTo>
                      <a:pt x="150" y="780"/>
                    </a:lnTo>
                    <a:lnTo>
                      <a:pt x="152" y="776"/>
                    </a:lnTo>
                    <a:lnTo>
                      <a:pt x="186" y="776"/>
                    </a:lnTo>
                    <a:lnTo>
                      <a:pt x="189" y="788"/>
                    </a:lnTo>
                    <a:lnTo>
                      <a:pt x="193" y="800"/>
                    </a:lnTo>
                    <a:lnTo>
                      <a:pt x="197" y="813"/>
                    </a:lnTo>
                    <a:lnTo>
                      <a:pt x="204" y="825"/>
                    </a:lnTo>
                    <a:lnTo>
                      <a:pt x="207" y="830"/>
                    </a:lnTo>
                    <a:lnTo>
                      <a:pt x="212" y="835"/>
                    </a:lnTo>
                    <a:lnTo>
                      <a:pt x="216" y="839"/>
                    </a:lnTo>
                    <a:lnTo>
                      <a:pt x="221" y="843"/>
                    </a:lnTo>
                    <a:lnTo>
                      <a:pt x="226" y="846"/>
                    </a:lnTo>
                    <a:lnTo>
                      <a:pt x="233" y="848"/>
                    </a:lnTo>
                    <a:lnTo>
                      <a:pt x="239" y="849"/>
                    </a:lnTo>
                    <a:lnTo>
                      <a:pt x="246" y="850"/>
                    </a:lnTo>
                    <a:lnTo>
                      <a:pt x="246" y="862"/>
                    </a:lnTo>
                    <a:lnTo>
                      <a:pt x="246" y="871"/>
                    </a:lnTo>
                    <a:lnTo>
                      <a:pt x="246" y="881"/>
                    </a:lnTo>
                    <a:lnTo>
                      <a:pt x="246" y="893"/>
                    </a:lnTo>
                    <a:lnTo>
                      <a:pt x="326" y="893"/>
                    </a:lnTo>
                    <a:lnTo>
                      <a:pt x="326" y="889"/>
                    </a:lnTo>
                    <a:lnTo>
                      <a:pt x="328" y="884"/>
                    </a:lnTo>
                    <a:lnTo>
                      <a:pt x="330" y="880"/>
                    </a:lnTo>
                    <a:lnTo>
                      <a:pt x="334" y="876"/>
                    </a:lnTo>
                    <a:lnTo>
                      <a:pt x="339" y="868"/>
                    </a:lnTo>
                    <a:lnTo>
                      <a:pt x="346" y="862"/>
                    </a:lnTo>
                    <a:lnTo>
                      <a:pt x="347" y="871"/>
                    </a:lnTo>
                    <a:lnTo>
                      <a:pt x="348" y="880"/>
                    </a:lnTo>
                    <a:lnTo>
                      <a:pt x="349" y="884"/>
                    </a:lnTo>
                    <a:lnTo>
                      <a:pt x="348" y="888"/>
                    </a:lnTo>
                    <a:lnTo>
                      <a:pt x="348" y="891"/>
                    </a:lnTo>
                    <a:lnTo>
                      <a:pt x="346" y="893"/>
                    </a:lnTo>
                    <a:lnTo>
                      <a:pt x="358" y="893"/>
                    </a:lnTo>
                    <a:lnTo>
                      <a:pt x="371" y="893"/>
                    </a:lnTo>
                    <a:lnTo>
                      <a:pt x="381" y="893"/>
                    </a:lnTo>
                    <a:lnTo>
                      <a:pt x="385" y="893"/>
                    </a:lnTo>
                    <a:lnTo>
                      <a:pt x="392" y="881"/>
                    </a:lnTo>
                    <a:lnTo>
                      <a:pt x="397" y="868"/>
                    </a:lnTo>
                    <a:lnTo>
                      <a:pt x="401" y="854"/>
                    </a:lnTo>
                    <a:lnTo>
                      <a:pt x="404" y="841"/>
                    </a:lnTo>
                    <a:lnTo>
                      <a:pt x="408" y="813"/>
                    </a:lnTo>
                    <a:lnTo>
                      <a:pt x="412" y="788"/>
                    </a:lnTo>
                    <a:lnTo>
                      <a:pt x="415" y="782"/>
                    </a:lnTo>
                    <a:lnTo>
                      <a:pt x="418" y="776"/>
                    </a:lnTo>
                    <a:lnTo>
                      <a:pt x="424" y="771"/>
                    </a:lnTo>
                    <a:lnTo>
                      <a:pt x="428" y="767"/>
                    </a:lnTo>
                    <a:lnTo>
                      <a:pt x="440" y="759"/>
                    </a:lnTo>
                    <a:lnTo>
                      <a:pt x="452" y="754"/>
                    </a:lnTo>
                    <a:lnTo>
                      <a:pt x="464" y="750"/>
                    </a:lnTo>
                    <a:lnTo>
                      <a:pt x="475" y="746"/>
                    </a:lnTo>
                    <a:lnTo>
                      <a:pt x="485" y="743"/>
                    </a:lnTo>
                    <a:lnTo>
                      <a:pt x="492" y="739"/>
                    </a:lnTo>
                    <a:lnTo>
                      <a:pt x="496" y="734"/>
                    </a:lnTo>
                    <a:lnTo>
                      <a:pt x="501" y="729"/>
                    </a:lnTo>
                    <a:lnTo>
                      <a:pt x="505" y="723"/>
                    </a:lnTo>
                    <a:lnTo>
                      <a:pt x="508" y="716"/>
                    </a:lnTo>
                    <a:lnTo>
                      <a:pt x="515" y="702"/>
                    </a:lnTo>
                    <a:lnTo>
                      <a:pt x="521" y="690"/>
                    </a:lnTo>
                    <a:lnTo>
                      <a:pt x="528" y="678"/>
                    </a:lnTo>
                    <a:lnTo>
                      <a:pt x="535" y="668"/>
                    </a:lnTo>
                    <a:lnTo>
                      <a:pt x="539" y="664"/>
                    </a:lnTo>
                    <a:lnTo>
                      <a:pt x="542" y="662"/>
                    </a:lnTo>
                    <a:lnTo>
                      <a:pt x="547" y="660"/>
                    </a:lnTo>
                    <a:lnTo>
                      <a:pt x="551" y="659"/>
                    </a:lnTo>
                    <a:lnTo>
                      <a:pt x="562" y="660"/>
                    </a:lnTo>
                    <a:lnTo>
                      <a:pt x="572" y="659"/>
                    </a:lnTo>
                    <a:lnTo>
                      <a:pt x="581" y="657"/>
                    </a:lnTo>
                    <a:lnTo>
                      <a:pt x="588" y="653"/>
                    </a:lnTo>
                    <a:lnTo>
                      <a:pt x="605" y="644"/>
                    </a:lnTo>
                    <a:lnTo>
                      <a:pt x="620" y="634"/>
                    </a:lnTo>
                    <a:lnTo>
                      <a:pt x="629" y="629"/>
                    </a:lnTo>
                    <a:lnTo>
                      <a:pt x="639" y="624"/>
                    </a:lnTo>
                    <a:lnTo>
                      <a:pt x="649" y="620"/>
                    </a:lnTo>
                    <a:lnTo>
                      <a:pt x="661" y="616"/>
                    </a:lnTo>
                    <a:lnTo>
                      <a:pt x="674" y="613"/>
                    </a:lnTo>
                    <a:lnTo>
                      <a:pt x="688" y="610"/>
                    </a:lnTo>
                    <a:lnTo>
                      <a:pt x="706" y="609"/>
                    </a:lnTo>
                    <a:lnTo>
                      <a:pt x="724" y="610"/>
                    </a:lnTo>
                    <a:lnTo>
                      <a:pt x="777" y="610"/>
                    </a:lnTo>
                    <a:lnTo>
                      <a:pt x="783" y="606"/>
                    </a:lnTo>
                    <a:lnTo>
                      <a:pt x="788" y="602"/>
                    </a:lnTo>
                    <a:lnTo>
                      <a:pt x="795" y="600"/>
                    </a:lnTo>
                    <a:lnTo>
                      <a:pt x="800" y="598"/>
                    </a:lnTo>
                    <a:lnTo>
                      <a:pt x="815" y="594"/>
                    </a:lnTo>
                    <a:lnTo>
                      <a:pt x="830" y="592"/>
                    </a:lnTo>
                    <a:lnTo>
                      <a:pt x="845" y="591"/>
                    </a:lnTo>
                    <a:lnTo>
                      <a:pt x="863" y="590"/>
                    </a:lnTo>
                    <a:lnTo>
                      <a:pt x="879" y="588"/>
                    </a:lnTo>
                    <a:lnTo>
                      <a:pt x="897" y="585"/>
                    </a:lnTo>
                    <a:lnTo>
                      <a:pt x="901" y="583"/>
                    </a:lnTo>
                    <a:lnTo>
                      <a:pt x="906" y="580"/>
                    </a:lnTo>
                    <a:lnTo>
                      <a:pt x="909" y="577"/>
                    </a:lnTo>
                    <a:lnTo>
                      <a:pt x="913" y="574"/>
                    </a:lnTo>
                    <a:lnTo>
                      <a:pt x="920" y="565"/>
                    </a:lnTo>
                    <a:lnTo>
                      <a:pt x="925" y="555"/>
                    </a:lnTo>
                    <a:lnTo>
                      <a:pt x="931" y="544"/>
                    </a:lnTo>
                    <a:lnTo>
                      <a:pt x="935" y="531"/>
                    </a:lnTo>
                    <a:lnTo>
                      <a:pt x="940" y="518"/>
                    </a:lnTo>
                    <a:lnTo>
                      <a:pt x="943" y="504"/>
                    </a:lnTo>
                    <a:lnTo>
                      <a:pt x="945" y="490"/>
                    </a:lnTo>
                    <a:lnTo>
                      <a:pt x="947" y="475"/>
                    </a:lnTo>
                    <a:lnTo>
                      <a:pt x="948" y="461"/>
                    </a:lnTo>
                    <a:lnTo>
                      <a:pt x="948" y="447"/>
                    </a:lnTo>
                    <a:lnTo>
                      <a:pt x="948" y="434"/>
                    </a:lnTo>
                    <a:lnTo>
                      <a:pt x="947" y="421"/>
                    </a:lnTo>
                    <a:lnTo>
                      <a:pt x="945" y="410"/>
                    </a:lnTo>
                    <a:lnTo>
                      <a:pt x="943" y="400"/>
                    </a:lnTo>
                    <a:lnTo>
                      <a:pt x="943" y="363"/>
                    </a:lnTo>
                    <a:lnTo>
                      <a:pt x="939" y="362"/>
                    </a:lnTo>
                    <a:lnTo>
                      <a:pt x="931" y="359"/>
                    </a:lnTo>
                    <a:lnTo>
                      <a:pt x="922" y="356"/>
                    </a:lnTo>
                    <a:lnTo>
                      <a:pt x="912" y="350"/>
                    </a:lnTo>
                    <a:lnTo>
                      <a:pt x="888" y="337"/>
                    </a:lnTo>
                    <a:lnTo>
                      <a:pt x="862" y="322"/>
                    </a:lnTo>
                    <a:lnTo>
                      <a:pt x="835" y="305"/>
                    </a:lnTo>
                    <a:lnTo>
                      <a:pt x="811" y="290"/>
                    </a:lnTo>
                    <a:lnTo>
                      <a:pt x="794" y="278"/>
                    </a:lnTo>
                    <a:lnTo>
                      <a:pt x="784" y="271"/>
                    </a:lnTo>
                    <a:lnTo>
                      <a:pt x="764" y="240"/>
                    </a:lnTo>
                    <a:lnTo>
                      <a:pt x="738" y="216"/>
                    </a:lnTo>
                    <a:lnTo>
                      <a:pt x="405" y="0"/>
                    </a:lnTo>
                    <a:lnTo>
                      <a:pt x="408" y="6"/>
                    </a:lnTo>
                    <a:lnTo>
                      <a:pt x="412" y="12"/>
                    </a:lnTo>
                    <a:lnTo>
                      <a:pt x="339" y="12"/>
                    </a:lnTo>
                    <a:lnTo>
                      <a:pt x="341" y="36"/>
                    </a:lnTo>
                    <a:lnTo>
                      <a:pt x="348" y="102"/>
                    </a:lnTo>
                    <a:lnTo>
                      <a:pt x="358" y="193"/>
                    </a:lnTo>
                    <a:lnTo>
                      <a:pt x="368" y="299"/>
                    </a:lnTo>
                    <a:lnTo>
                      <a:pt x="379" y="405"/>
                    </a:lnTo>
                    <a:lnTo>
                      <a:pt x="386" y="498"/>
                    </a:lnTo>
                    <a:lnTo>
                      <a:pt x="390" y="535"/>
                    </a:lnTo>
                    <a:lnTo>
                      <a:pt x="392" y="565"/>
                    </a:lnTo>
                    <a:lnTo>
                      <a:pt x="393" y="583"/>
                    </a:lnTo>
                    <a:lnTo>
                      <a:pt x="392" y="591"/>
                    </a:lnTo>
                    <a:lnTo>
                      <a:pt x="93" y="591"/>
                    </a:lnTo>
                    <a:lnTo>
                      <a:pt x="88" y="597"/>
                    </a:lnTo>
                    <a:lnTo>
                      <a:pt x="82" y="603"/>
                    </a:lnTo>
                    <a:lnTo>
                      <a:pt x="79" y="606"/>
                    </a:lnTo>
                    <a:lnTo>
                      <a:pt x="76" y="608"/>
                    </a:lnTo>
                    <a:lnTo>
                      <a:pt x="71" y="609"/>
                    </a:lnTo>
                    <a:lnTo>
                      <a:pt x="67" y="610"/>
                    </a:lnTo>
                    <a:lnTo>
                      <a:pt x="64" y="609"/>
                    </a:lnTo>
                    <a:lnTo>
                      <a:pt x="60" y="608"/>
                    </a:lnTo>
                    <a:lnTo>
                      <a:pt x="57" y="607"/>
                    </a:lnTo>
                    <a:lnTo>
                      <a:pt x="55" y="604"/>
                    </a:lnTo>
                    <a:lnTo>
                      <a:pt x="51" y="598"/>
                    </a:lnTo>
                    <a:lnTo>
                      <a:pt x="49" y="591"/>
                    </a:lnTo>
                    <a:lnTo>
                      <a:pt x="47" y="578"/>
                    </a:lnTo>
                    <a:lnTo>
                      <a:pt x="47" y="573"/>
                    </a:lnTo>
                    <a:lnTo>
                      <a:pt x="40" y="581"/>
                    </a:lnTo>
                    <a:lnTo>
                      <a:pt x="36" y="590"/>
                    </a:lnTo>
                    <a:lnTo>
                      <a:pt x="33" y="598"/>
                    </a:lnTo>
                    <a:lnTo>
                      <a:pt x="29" y="605"/>
                    </a:lnTo>
                    <a:lnTo>
                      <a:pt x="26" y="612"/>
                    </a:lnTo>
                    <a:lnTo>
                      <a:pt x="22" y="618"/>
                    </a:lnTo>
                    <a:lnTo>
                      <a:pt x="15" y="623"/>
                    </a:lnTo>
                    <a:lnTo>
                      <a:pt x="6" y="628"/>
                    </a:lnTo>
                    <a:lnTo>
                      <a:pt x="0" y="709"/>
                    </a:lnTo>
                    <a:lnTo>
                      <a:pt x="67" y="733"/>
                    </a:lnTo>
                    <a:lnTo>
                      <a:pt x="65" y="738"/>
                    </a:lnTo>
                    <a:lnTo>
                      <a:pt x="62" y="743"/>
                    </a:lnTo>
                    <a:lnTo>
                      <a:pt x="61" y="748"/>
                    </a:lnTo>
                    <a:lnTo>
                      <a:pt x="61" y="753"/>
                    </a:lnTo>
                    <a:lnTo>
                      <a:pt x="61" y="757"/>
                    </a:lnTo>
                    <a:lnTo>
                      <a:pt x="62" y="760"/>
                    </a:lnTo>
                    <a:lnTo>
                      <a:pt x="65" y="763"/>
                    </a:lnTo>
                    <a:lnTo>
                      <a:pt x="67" y="764"/>
                    </a:lnTo>
                    <a:lnTo>
                      <a:pt x="54" y="788"/>
                    </a:lnTo>
                  </a:path>
                </a:pathLst>
              </a:custGeom>
              <a:grpFill/>
              <a:ln w="9525" cmpd="sng">
                <a:solidFill>
                  <a:srgbClr val="FFFFFF"/>
                </a:solidFill>
                <a:prstDash val="solid"/>
                <a:round/>
                <a:headEnd/>
                <a:tailEnd/>
              </a:ln>
            </p:spPr>
            <p:txBody>
              <a:bodyPr/>
              <a:lstStyle/>
              <a:p>
                <a:endParaRPr lang="en-GB" sz="1637"/>
              </a:p>
            </p:txBody>
          </p:sp>
          <p:sp>
            <p:nvSpPr>
              <p:cNvPr id="89" name="Freeform 237"/>
              <p:cNvSpPr>
                <a:spLocks/>
              </p:cNvSpPr>
              <p:nvPr>
                <p:custDataLst>
                  <p:tags r:id="rId72"/>
                </p:custDataLst>
              </p:nvPr>
            </p:nvSpPr>
            <p:spPr bwMode="auto">
              <a:xfrm>
                <a:off x="3687309" y="2644075"/>
                <a:ext cx="538956" cy="653703"/>
              </a:xfrm>
              <a:custGeom>
                <a:avLst/>
                <a:gdLst>
                  <a:gd name="T0" fmla="*/ 315023 w 373"/>
                  <a:gd name="T1" fmla="*/ 574740 h 370"/>
                  <a:gd name="T2" fmla="*/ 322964 w 373"/>
                  <a:gd name="T3" fmla="*/ 571608 h 370"/>
                  <a:gd name="T4" fmla="*/ 337524 w 373"/>
                  <a:gd name="T5" fmla="*/ 576306 h 370"/>
                  <a:gd name="T6" fmla="*/ 492388 w 373"/>
                  <a:gd name="T7" fmla="*/ 433795 h 370"/>
                  <a:gd name="T8" fmla="*/ 488418 w 373"/>
                  <a:gd name="T9" fmla="*/ 422833 h 370"/>
                  <a:gd name="T10" fmla="*/ 477829 w 373"/>
                  <a:gd name="T11" fmla="*/ 413437 h 370"/>
                  <a:gd name="T12" fmla="*/ 459298 w 373"/>
                  <a:gd name="T13" fmla="*/ 405607 h 370"/>
                  <a:gd name="T14" fmla="*/ 448709 w 373"/>
                  <a:gd name="T15" fmla="*/ 397776 h 370"/>
                  <a:gd name="T16" fmla="*/ 444738 w 373"/>
                  <a:gd name="T17" fmla="*/ 386814 h 370"/>
                  <a:gd name="T18" fmla="*/ 446062 w 373"/>
                  <a:gd name="T19" fmla="*/ 357059 h 370"/>
                  <a:gd name="T20" fmla="*/ 446062 w 373"/>
                  <a:gd name="T21" fmla="*/ 306946 h 370"/>
                  <a:gd name="T22" fmla="*/ 442091 w 373"/>
                  <a:gd name="T23" fmla="*/ 263096 h 370"/>
                  <a:gd name="T24" fmla="*/ 435473 w 373"/>
                  <a:gd name="T25" fmla="*/ 242738 h 370"/>
                  <a:gd name="T26" fmla="*/ 427531 w 373"/>
                  <a:gd name="T27" fmla="*/ 222379 h 370"/>
                  <a:gd name="T28" fmla="*/ 416942 w 373"/>
                  <a:gd name="T29" fmla="*/ 170699 h 370"/>
                  <a:gd name="T30" fmla="*/ 405029 w 373"/>
                  <a:gd name="T31" fmla="*/ 140944 h 370"/>
                  <a:gd name="T32" fmla="*/ 393117 w 373"/>
                  <a:gd name="T33" fmla="*/ 122152 h 370"/>
                  <a:gd name="T34" fmla="*/ 397087 w 373"/>
                  <a:gd name="T35" fmla="*/ 98661 h 370"/>
                  <a:gd name="T36" fmla="*/ 398411 w 373"/>
                  <a:gd name="T37" fmla="*/ 67340 h 370"/>
                  <a:gd name="T38" fmla="*/ 399735 w 373"/>
                  <a:gd name="T39" fmla="*/ 36019 h 370"/>
                  <a:gd name="T40" fmla="*/ 410324 w 373"/>
                  <a:gd name="T41" fmla="*/ 10962 h 370"/>
                  <a:gd name="T42" fmla="*/ 399735 w 373"/>
                  <a:gd name="T43" fmla="*/ 9396 h 370"/>
                  <a:gd name="T44" fmla="*/ 367968 w 373"/>
                  <a:gd name="T45" fmla="*/ 18793 h 370"/>
                  <a:gd name="T46" fmla="*/ 324288 w 373"/>
                  <a:gd name="T47" fmla="*/ 18793 h 370"/>
                  <a:gd name="T48" fmla="*/ 272667 w 373"/>
                  <a:gd name="T49" fmla="*/ 21925 h 370"/>
                  <a:gd name="T50" fmla="*/ 222369 w 373"/>
                  <a:gd name="T51" fmla="*/ 37585 h 370"/>
                  <a:gd name="T52" fmla="*/ 191926 w 373"/>
                  <a:gd name="T53" fmla="*/ 50114 h 370"/>
                  <a:gd name="T54" fmla="*/ 164129 w 373"/>
                  <a:gd name="T55" fmla="*/ 68906 h 370"/>
                  <a:gd name="T56" fmla="*/ 162806 w 373"/>
                  <a:gd name="T57" fmla="*/ 81435 h 370"/>
                  <a:gd name="T58" fmla="*/ 173395 w 373"/>
                  <a:gd name="T59" fmla="*/ 139378 h 370"/>
                  <a:gd name="T60" fmla="*/ 177366 w 373"/>
                  <a:gd name="T61" fmla="*/ 145643 h 370"/>
                  <a:gd name="T62" fmla="*/ 186631 w 373"/>
                  <a:gd name="T63" fmla="*/ 153473 h 370"/>
                  <a:gd name="T64" fmla="*/ 187955 w 373"/>
                  <a:gd name="T65" fmla="*/ 159737 h 370"/>
                  <a:gd name="T66" fmla="*/ 183984 w 373"/>
                  <a:gd name="T67" fmla="*/ 167567 h 370"/>
                  <a:gd name="T68" fmla="*/ 169424 w 373"/>
                  <a:gd name="T69" fmla="*/ 167567 h 370"/>
                  <a:gd name="T70" fmla="*/ 140304 w 373"/>
                  <a:gd name="T71" fmla="*/ 176963 h 370"/>
                  <a:gd name="T72" fmla="*/ 125744 w 373"/>
                  <a:gd name="T73" fmla="*/ 191058 h 370"/>
                  <a:gd name="T74" fmla="*/ 119126 w 373"/>
                  <a:gd name="T75" fmla="*/ 205152 h 370"/>
                  <a:gd name="T76" fmla="*/ 108537 w 373"/>
                  <a:gd name="T77" fmla="*/ 214549 h 370"/>
                  <a:gd name="T78" fmla="*/ 87359 w 373"/>
                  <a:gd name="T79" fmla="*/ 234907 h 370"/>
                  <a:gd name="T80" fmla="*/ 67505 w 373"/>
                  <a:gd name="T81" fmla="*/ 247436 h 370"/>
                  <a:gd name="T82" fmla="*/ 41032 w 373"/>
                  <a:gd name="T83" fmla="*/ 250568 h 370"/>
                  <a:gd name="T84" fmla="*/ 26472 w 373"/>
                  <a:gd name="T85" fmla="*/ 256832 h 370"/>
                  <a:gd name="T86" fmla="*/ 10589 w 373"/>
                  <a:gd name="T87" fmla="*/ 272492 h 370"/>
                  <a:gd name="T88" fmla="*/ 0 w 373"/>
                  <a:gd name="T89" fmla="*/ 313210 h 370"/>
                  <a:gd name="T90" fmla="*/ 236929 w 373"/>
                  <a:gd name="T91" fmla="*/ 518362 h 370"/>
                  <a:gd name="T92" fmla="*/ 266049 w 373"/>
                  <a:gd name="T93" fmla="*/ 551249 h 370"/>
                  <a:gd name="T94" fmla="*/ 303110 w 373"/>
                  <a:gd name="T95" fmla="*/ 576306 h 37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73" h="370">
                    <a:moveTo>
                      <a:pt x="235" y="370"/>
                    </a:moveTo>
                    <a:lnTo>
                      <a:pt x="237" y="369"/>
                    </a:lnTo>
                    <a:lnTo>
                      <a:pt x="238" y="367"/>
                    </a:lnTo>
                    <a:lnTo>
                      <a:pt x="240" y="366"/>
                    </a:lnTo>
                    <a:lnTo>
                      <a:pt x="241" y="366"/>
                    </a:lnTo>
                    <a:lnTo>
                      <a:pt x="242" y="365"/>
                    </a:lnTo>
                    <a:lnTo>
                      <a:pt x="244" y="365"/>
                    </a:lnTo>
                    <a:lnTo>
                      <a:pt x="245" y="365"/>
                    </a:lnTo>
                    <a:lnTo>
                      <a:pt x="249" y="366"/>
                    </a:lnTo>
                    <a:lnTo>
                      <a:pt x="252" y="367"/>
                    </a:lnTo>
                    <a:lnTo>
                      <a:pt x="255" y="368"/>
                    </a:lnTo>
                    <a:lnTo>
                      <a:pt x="257" y="370"/>
                    </a:lnTo>
                    <a:lnTo>
                      <a:pt x="373" y="282"/>
                    </a:lnTo>
                    <a:lnTo>
                      <a:pt x="373" y="279"/>
                    </a:lnTo>
                    <a:lnTo>
                      <a:pt x="372" y="277"/>
                    </a:lnTo>
                    <a:lnTo>
                      <a:pt x="372" y="275"/>
                    </a:lnTo>
                    <a:lnTo>
                      <a:pt x="371" y="273"/>
                    </a:lnTo>
                    <a:lnTo>
                      <a:pt x="370" y="271"/>
                    </a:lnTo>
                    <a:lnTo>
                      <a:pt x="369" y="270"/>
                    </a:lnTo>
                    <a:lnTo>
                      <a:pt x="368" y="268"/>
                    </a:lnTo>
                    <a:lnTo>
                      <a:pt x="367" y="267"/>
                    </a:lnTo>
                    <a:lnTo>
                      <a:pt x="364" y="265"/>
                    </a:lnTo>
                    <a:lnTo>
                      <a:pt x="361" y="264"/>
                    </a:lnTo>
                    <a:lnTo>
                      <a:pt x="358" y="262"/>
                    </a:lnTo>
                    <a:lnTo>
                      <a:pt x="354" y="261"/>
                    </a:lnTo>
                    <a:lnTo>
                      <a:pt x="351" y="260"/>
                    </a:lnTo>
                    <a:lnTo>
                      <a:pt x="347" y="259"/>
                    </a:lnTo>
                    <a:lnTo>
                      <a:pt x="344" y="258"/>
                    </a:lnTo>
                    <a:lnTo>
                      <a:pt x="342" y="256"/>
                    </a:lnTo>
                    <a:lnTo>
                      <a:pt x="340" y="255"/>
                    </a:lnTo>
                    <a:lnTo>
                      <a:pt x="339" y="254"/>
                    </a:lnTo>
                    <a:lnTo>
                      <a:pt x="338" y="252"/>
                    </a:lnTo>
                    <a:lnTo>
                      <a:pt x="337" y="251"/>
                    </a:lnTo>
                    <a:lnTo>
                      <a:pt x="337" y="249"/>
                    </a:lnTo>
                    <a:lnTo>
                      <a:pt x="336" y="247"/>
                    </a:lnTo>
                    <a:lnTo>
                      <a:pt x="336" y="245"/>
                    </a:lnTo>
                    <a:lnTo>
                      <a:pt x="336" y="243"/>
                    </a:lnTo>
                    <a:lnTo>
                      <a:pt x="336" y="235"/>
                    </a:lnTo>
                    <a:lnTo>
                      <a:pt x="337" y="228"/>
                    </a:lnTo>
                    <a:lnTo>
                      <a:pt x="338" y="220"/>
                    </a:lnTo>
                    <a:lnTo>
                      <a:pt x="338" y="214"/>
                    </a:lnTo>
                    <a:lnTo>
                      <a:pt x="338" y="205"/>
                    </a:lnTo>
                    <a:lnTo>
                      <a:pt x="337" y="196"/>
                    </a:lnTo>
                    <a:lnTo>
                      <a:pt x="337" y="186"/>
                    </a:lnTo>
                    <a:lnTo>
                      <a:pt x="336" y="177"/>
                    </a:lnTo>
                    <a:lnTo>
                      <a:pt x="335" y="172"/>
                    </a:lnTo>
                    <a:lnTo>
                      <a:pt x="334" y="168"/>
                    </a:lnTo>
                    <a:lnTo>
                      <a:pt x="333" y="164"/>
                    </a:lnTo>
                    <a:lnTo>
                      <a:pt x="332" y="160"/>
                    </a:lnTo>
                    <a:lnTo>
                      <a:pt x="330" y="157"/>
                    </a:lnTo>
                    <a:lnTo>
                      <a:pt x="329" y="155"/>
                    </a:lnTo>
                    <a:lnTo>
                      <a:pt x="327" y="153"/>
                    </a:lnTo>
                    <a:lnTo>
                      <a:pt x="325" y="152"/>
                    </a:lnTo>
                    <a:lnTo>
                      <a:pt x="324" y="147"/>
                    </a:lnTo>
                    <a:lnTo>
                      <a:pt x="323" y="142"/>
                    </a:lnTo>
                    <a:lnTo>
                      <a:pt x="322" y="136"/>
                    </a:lnTo>
                    <a:lnTo>
                      <a:pt x="321" y="130"/>
                    </a:lnTo>
                    <a:lnTo>
                      <a:pt x="319" y="120"/>
                    </a:lnTo>
                    <a:lnTo>
                      <a:pt x="315" y="109"/>
                    </a:lnTo>
                    <a:lnTo>
                      <a:pt x="313" y="104"/>
                    </a:lnTo>
                    <a:lnTo>
                      <a:pt x="311" y="99"/>
                    </a:lnTo>
                    <a:lnTo>
                      <a:pt x="308" y="94"/>
                    </a:lnTo>
                    <a:lnTo>
                      <a:pt x="306" y="90"/>
                    </a:lnTo>
                    <a:lnTo>
                      <a:pt x="304" y="86"/>
                    </a:lnTo>
                    <a:lnTo>
                      <a:pt x="301" y="83"/>
                    </a:lnTo>
                    <a:lnTo>
                      <a:pt x="299" y="80"/>
                    </a:lnTo>
                    <a:lnTo>
                      <a:pt x="297" y="78"/>
                    </a:lnTo>
                    <a:lnTo>
                      <a:pt x="298" y="74"/>
                    </a:lnTo>
                    <a:lnTo>
                      <a:pt x="299" y="69"/>
                    </a:lnTo>
                    <a:lnTo>
                      <a:pt x="300" y="66"/>
                    </a:lnTo>
                    <a:lnTo>
                      <a:pt x="300" y="63"/>
                    </a:lnTo>
                    <a:lnTo>
                      <a:pt x="301" y="60"/>
                    </a:lnTo>
                    <a:lnTo>
                      <a:pt x="303" y="57"/>
                    </a:lnTo>
                    <a:lnTo>
                      <a:pt x="302" y="50"/>
                    </a:lnTo>
                    <a:lnTo>
                      <a:pt x="301" y="43"/>
                    </a:lnTo>
                    <a:lnTo>
                      <a:pt x="301" y="37"/>
                    </a:lnTo>
                    <a:lnTo>
                      <a:pt x="301" y="32"/>
                    </a:lnTo>
                    <a:lnTo>
                      <a:pt x="301" y="27"/>
                    </a:lnTo>
                    <a:lnTo>
                      <a:pt x="302" y="23"/>
                    </a:lnTo>
                    <a:lnTo>
                      <a:pt x="303" y="19"/>
                    </a:lnTo>
                    <a:lnTo>
                      <a:pt x="304" y="16"/>
                    </a:lnTo>
                    <a:lnTo>
                      <a:pt x="307" y="11"/>
                    </a:lnTo>
                    <a:lnTo>
                      <a:pt x="310" y="7"/>
                    </a:lnTo>
                    <a:lnTo>
                      <a:pt x="312" y="3"/>
                    </a:lnTo>
                    <a:lnTo>
                      <a:pt x="314" y="0"/>
                    </a:lnTo>
                    <a:lnTo>
                      <a:pt x="308" y="3"/>
                    </a:lnTo>
                    <a:lnTo>
                      <a:pt x="302" y="6"/>
                    </a:lnTo>
                    <a:lnTo>
                      <a:pt x="297" y="8"/>
                    </a:lnTo>
                    <a:lnTo>
                      <a:pt x="290" y="9"/>
                    </a:lnTo>
                    <a:lnTo>
                      <a:pt x="284" y="11"/>
                    </a:lnTo>
                    <a:lnTo>
                      <a:pt x="278" y="12"/>
                    </a:lnTo>
                    <a:lnTo>
                      <a:pt x="271" y="12"/>
                    </a:lnTo>
                    <a:lnTo>
                      <a:pt x="264" y="12"/>
                    </a:lnTo>
                    <a:lnTo>
                      <a:pt x="256" y="12"/>
                    </a:lnTo>
                    <a:lnTo>
                      <a:pt x="245" y="12"/>
                    </a:lnTo>
                    <a:lnTo>
                      <a:pt x="233" y="12"/>
                    </a:lnTo>
                    <a:lnTo>
                      <a:pt x="222" y="12"/>
                    </a:lnTo>
                    <a:lnTo>
                      <a:pt x="215" y="13"/>
                    </a:lnTo>
                    <a:lnTo>
                      <a:pt x="206" y="14"/>
                    </a:lnTo>
                    <a:lnTo>
                      <a:pt x="197" y="16"/>
                    </a:lnTo>
                    <a:lnTo>
                      <a:pt x="187" y="18"/>
                    </a:lnTo>
                    <a:lnTo>
                      <a:pt x="177" y="21"/>
                    </a:lnTo>
                    <a:lnTo>
                      <a:pt x="168" y="24"/>
                    </a:lnTo>
                    <a:lnTo>
                      <a:pt x="159" y="26"/>
                    </a:lnTo>
                    <a:lnTo>
                      <a:pt x="153" y="29"/>
                    </a:lnTo>
                    <a:lnTo>
                      <a:pt x="150" y="30"/>
                    </a:lnTo>
                    <a:lnTo>
                      <a:pt x="145" y="32"/>
                    </a:lnTo>
                    <a:lnTo>
                      <a:pt x="140" y="34"/>
                    </a:lnTo>
                    <a:lnTo>
                      <a:pt x="135" y="37"/>
                    </a:lnTo>
                    <a:lnTo>
                      <a:pt x="130" y="40"/>
                    </a:lnTo>
                    <a:lnTo>
                      <a:pt x="124" y="44"/>
                    </a:lnTo>
                    <a:lnTo>
                      <a:pt x="119" y="48"/>
                    </a:lnTo>
                    <a:lnTo>
                      <a:pt x="116" y="51"/>
                    </a:lnTo>
                    <a:lnTo>
                      <a:pt x="118" y="52"/>
                    </a:lnTo>
                    <a:lnTo>
                      <a:pt x="123" y="52"/>
                    </a:lnTo>
                    <a:lnTo>
                      <a:pt x="128" y="53"/>
                    </a:lnTo>
                    <a:lnTo>
                      <a:pt x="131" y="53"/>
                    </a:lnTo>
                    <a:lnTo>
                      <a:pt x="131" y="88"/>
                    </a:lnTo>
                    <a:lnTo>
                      <a:pt x="131" y="89"/>
                    </a:lnTo>
                    <a:lnTo>
                      <a:pt x="131" y="90"/>
                    </a:lnTo>
                    <a:lnTo>
                      <a:pt x="132" y="91"/>
                    </a:lnTo>
                    <a:lnTo>
                      <a:pt x="133" y="92"/>
                    </a:lnTo>
                    <a:lnTo>
                      <a:pt x="134" y="93"/>
                    </a:lnTo>
                    <a:lnTo>
                      <a:pt x="136" y="94"/>
                    </a:lnTo>
                    <a:lnTo>
                      <a:pt x="138" y="95"/>
                    </a:lnTo>
                    <a:lnTo>
                      <a:pt x="140" y="97"/>
                    </a:lnTo>
                    <a:lnTo>
                      <a:pt x="141" y="98"/>
                    </a:lnTo>
                    <a:lnTo>
                      <a:pt x="141" y="99"/>
                    </a:lnTo>
                    <a:lnTo>
                      <a:pt x="142" y="100"/>
                    </a:lnTo>
                    <a:lnTo>
                      <a:pt x="142" y="101"/>
                    </a:lnTo>
                    <a:lnTo>
                      <a:pt x="142" y="102"/>
                    </a:lnTo>
                    <a:lnTo>
                      <a:pt x="141" y="104"/>
                    </a:lnTo>
                    <a:lnTo>
                      <a:pt x="141" y="105"/>
                    </a:lnTo>
                    <a:lnTo>
                      <a:pt x="140" y="106"/>
                    </a:lnTo>
                    <a:lnTo>
                      <a:pt x="139" y="107"/>
                    </a:lnTo>
                    <a:lnTo>
                      <a:pt x="138" y="107"/>
                    </a:lnTo>
                    <a:lnTo>
                      <a:pt x="136" y="107"/>
                    </a:lnTo>
                    <a:lnTo>
                      <a:pt x="135" y="108"/>
                    </a:lnTo>
                    <a:lnTo>
                      <a:pt x="128" y="107"/>
                    </a:lnTo>
                    <a:lnTo>
                      <a:pt x="120" y="107"/>
                    </a:lnTo>
                    <a:lnTo>
                      <a:pt x="116" y="108"/>
                    </a:lnTo>
                    <a:lnTo>
                      <a:pt x="112" y="111"/>
                    </a:lnTo>
                    <a:lnTo>
                      <a:pt x="106" y="113"/>
                    </a:lnTo>
                    <a:lnTo>
                      <a:pt x="101" y="116"/>
                    </a:lnTo>
                    <a:lnTo>
                      <a:pt x="99" y="118"/>
                    </a:lnTo>
                    <a:lnTo>
                      <a:pt x="97" y="120"/>
                    </a:lnTo>
                    <a:lnTo>
                      <a:pt x="95" y="122"/>
                    </a:lnTo>
                    <a:lnTo>
                      <a:pt x="93" y="124"/>
                    </a:lnTo>
                    <a:lnTo>
                      <a:pt x="92" y="126"/>
                    </a:lnTo>
                    <a:lnTo>
                      <a:pt x="91" y="128"/>
                    </a:lnTo>
                    <a:lnTo>
                      <a:pt x="90" y="131"/>
                    </a:lnTo>
                    <a:lnTo>
                      <a:pt x="90" y="133"/>
                    </a:lnTo>
                    <a:lnTo>
                      <a:pt x="87" y="134"/>
                    </a:lnTo>
                    <a:lnTo>
                      <a:pt x="84" y="135"/>
                    </a:lnTo>
                    <a:lnTo>
                      <a:pt x="82" y="137"/>
                    </a:lnTo>
                    <a:lnTo>
                      <a:pt x="79" y="139"/>
                    </a:lnTo>
                    <a:lnTo>
                      <a:pt x="74" y="143"/>
                    </a:lnTo>
                    <a:lnTo>
                      <a:pt x="69" y="148"/>
                    </a:lnTo>
                    <a:lnTo>
                      <a:pt x="66" y="150"/>
                    </a:lnTo>
                    <a:lnTo>
                      <a:pt x="62" y="152"/>
                    </a:lnTo>
                    <a:lnTo>
                      <a:pt x="59" y="155"/>
                    </a:lnTo>
                    <a:lnTo>
                      <a:pt x="55" y="156"/>
                    </a:lnTo>
                    <a:lnTo>
                      <a:pt x="51" y="158"/>
                    </a:lnTo>
                    <a:lnTo>
                      <a:pt x="46" y="159"/>
                    </a:lnTo>
                    <a:lnTo>
                      <a:pt x="41" y="160"/>
                    </a:lnTo>
                    <a:lnTo>
                      <a:pt x="35" y="160"/>
                    </a:lnTo>
                    <a:lnTo>
                      <a:pt x="31" y="160"/>
                    </a:lnTo>
                    <a:lnTo>
                      <a:pt x="29" y="161"/>
                    </a:lnTo>
                    <a:lnTo>
                      <a:pt x="26" y="161"/>
                    </a:lnTo>
                    <a:lnTo>
                      <a:pt x="24" y="162"/>
                    </a:lnTo>
                    <a:lnTo>
                      <a:pt x="20" y="164"/>
                    </a:lnTo>
                    <a:lnTo>
                      <a:pt x="17" y="167"/>
                    </a:lnTo>
                    <a:lnTo>
                      <a:pt x="13" y="169"/>
                    </a:lnTo>
                    <a:lnTo>
                      <a:pt x="10" y="172"/>
                    </a:lnTo>
                    <a:lnTo>
                      <a:pt x="8" y="174"/>
                    </a:lnTo>
                    <a:lnTo>
                      <a:pt x="6" y="175"/>
                    </a:lnTo>
                    <a:lnTo>
                      <a:pt x="3" y="176"/>
                    </a:lnTo>
                    <a:lnTo>
                      <a:pt x="0" y="177"/>
                    </a:lnTo>
                    <a:lnTo>
                      <a:pt x="0" y="200"/>
                    </a:lnTo>
                    <a:lnTo>
                      <a:pt x="0" y="208"/>
                    </a:lnTo>
                    <a:lnTo>
                      <a:pt x="69" y="253"/>
                    </a:lnTo>
                    <a:lnTo>
                      <a:pt x="170" y="323"/>
                    </a:lnTo>
                    <a:lnTo>
                      <a:pt x="179" y="331"/>
                    </a:lnTo>
                    <a:lnTo>
                      <a:pt x="185" y="341"/>
                    </a:lnTo>
                    <a:lnTo>
                      <a:pt x="189" y="344"/>
                    </a:lnTo>
                    <a:lnTo>
                      <a:pt x="194" y="347"/>
                    </a:lnTo>
                    <a:lnTo>
                      <a:pt x="201" y="352"/>
                    </a:lnTo>
                    <a:lnTo>
                      <a:pt x="210" y="357"/>
                    </a:lnTo>
                    <a:lnTo>
                      <a:pt x="218" y="362"/>
                    </a:lnTo>
                    <a:lnTo>
                      <a:pt x="226" y="366"/>
                    </a:lnTo>
                    <a:lnTo>
                      <a:pt x="229" y="368"/>
                    </a:lnTo>
                    <a:lnTo>
                      <a:pt x="232" y="369"/>
                    </a:lnTo>
                    <a:lnTo>
                      <a:pt x="234" y="370"/>
                    </a:lnTo>
                    <a:lnTo>
                      <a:pt x="235" y="370"/>
                    </a:lnTo>
                  </a:path>
                </a:pathLst>
              </a:custGeom>
              <a:grpFill/>
              <a:ln w="9525" cmpd="sng">
                <a:solidFill>
                  <a:srgbClr val="FFFFFF"/>
                </a:solidFill>
                <a:prstDash val="solid"/>
                <a:round/>
                <a:headEnd/>
                <a:tailEnd/>
              </a:ln>
            </p:spPr>
            <p:txBody>
              <a:bodyPr/>
              <a:lstStyle/>
              <a:p>
                <a:endParaRPr lang="en-GB" sz="1637"/>
              </a:p>
            </p:txBody>
          </p:sp>
          <p:sp>
            <p:nvSpPr>
              <p:cNvPr id="90" name="Freeform 238"/>
              <p:cNvSpPr>
                <a:spLocks/>
              </p:cNvSpPr>
              <p:nvPr>
                <p:custDataLst>
                  <p:tags r:id="rId73"/>
                </p:custDataLst>
              </p:nvPr>
            </p:nvSpPr>
            <p:spPr bwMode="auto">
              <a:xfrm>
                <a:off x="4163878" y="2796307"/>
                <a:ext cx="419381" cy="492515"/>
              </a:xfrm>
              <a:custGeom>
                <a:avLst/>
                <a:gdLst>
                  <a:gd name="T0" fmla="*/ 15770 w 877"/>
                  <a:gd name="T1" fmla="*/ 74522 h 826"/>
                  <a:gd name="T2" fmla="*/ 20151 w 877"/>
                  <a:gd name="T3" fmla="*/ 57609 h 826"/>
                  <a:gd name="T4" fmla="*/ 20151 w 877"/>
                  <a:gd name="T5" fmla="*/ 36997 h 826"/>
                  <a:gd name="T6" fmla="*/ 26721 w 877"/>
                  <a:gd name="T7" fmla="*/ 33826 h 826"/>
                  <a:gd name="T8" fmla="*/ 38987 w 877"/>
                  <a:gd name="T9" fmla="*/ 29069 h 826"/>
                  <a:gd name="T10" fmla="*/ 43368 w 877"/>
                  <a:gd name="T11" fmla="*/ 10571 h 826"/>
                  <a:gd name="T12" fmla="*/ 73593 w 877"/>
                  <a:gd name="T13" fmla="*/ 3171 h 826"/>
                  <a:gd name="T14" fmla="*/ 106010 w 877"/>
                  <a:gd name="T15" fmla="*/ 12685 h 826"/>
                  <a:gd name="T16" fmla="*/ 119589 w 877"/>
                  <a:gd name="T17" fmla="*/ 22727 h 826"/>
                  <a:gd name="T18" fmla="*/ 124846 w 877"/>
                  <a:gd name="T19" fmla="*/ 41225 h 826"/>
                  <a:gd name="T20" fmla="*/ 129226 w 877"/>
                  <a:gd name="T21" fmla="*/ 53381 h 826"/>
                  <a:gd name="T22" fmla="*/ 142368 w 877"/>
                  <a:gd name="T23" fmla="*/ 58138 h 826"/>
                  <a:gd name="T24" fmla="*/ 159014 w 877"/>
                  <a:gd name="T25" fmla="*/ 57609 h 826"/>
                  <a:gd name="T26" fmla="*/ 184422 w 877"/>
                  <a:gd name="T27" fmla="*/ 70294 h 826"/>
                  <a:gd name="T28" fmla="*/ 209391 w 877"/>
                  <a:gd name="T29" fmla="*/ 85621 h 826"/>
                  <a:gd name="T30" fmla="*/ 224723 w 877"/>
                  <a:gd name="T31" fmla="*/ 87735 h 826"/>
                  <a:gd name="T32" fmla="*/ 235674 w 877"/>
                  <a:gd name="T33" fmla="*/ 83507 h 826"/>
                  <a:gd name="T34" fmla="*/ 240493 w 877"/>
                  <a:gd name="T35" fmla="*/ 66594 h 826"/>
                  <a:gd name="T36" fmla="*/ 238302 w 877"/>
                  <a:gd name="T37" fmla="*/ 54438 h 826"/>
                  <a:gd name="T38" fmla="*/ 232608 w 877"/>
                  <a:gd name="T39" fmla="*/ 42811 h 826"/>
                  <a:gd name="T40" fmla="*/ 236112 w 877"/>
                  <a:gd name="T41" fmla="*/ 25898 h 826"/>
                  <a:gd name="T42" fmla="*/ 251444 w 877"/>
                  <a:gd name="T43" fmla="*/ 17970 h 826"/>
                  <a:gd name="T44" fmla="*/ 270280 w 877"/>
                  <a:gd name="T45" fmla="*/ 2114 h 826"/>
                  <a:gd name="T46" fmla="*/ 284736 w 877"/>
                  <a:gd name="T47" fmla="*/ 0 h 826"/>
                  <a:gd name="T48" fmla="*/ 298316 w 877"/>
                  <a:gd name="T49" fmla="*/ 3171 h 826"/>
                  <a:gd name="T50" fmla="*/ 304449 w 877"/>
                  <a:gd name="T51" fmla="*/ 12685 h 826"/>
                  <a:gd name="T52" fmla="*/ 309267 w 877"/>
                  <a:gd name="T53" fmla="*/ 26426 h 826"/>
                  <a:gd name="T54" fmla="*/ 318905 w 877"/>
                  <a:gd name="T55" fmla="*/ 33297 h 826"/>
                  <a:gd name="T56" fmla="*/ 349569 w 877"/>
                  <a:gd name="T57" fmla="*/ 37525 h 826"/>
                  <a:gd name="T58" fmla="*/ 363586 w 877"/>
                  <a:gd name="T59" fmla="*/ 51267 h 826"/>
                  <a:gd name="T60" fmla="*/ 365339 w 877"/>
                  <a:gd name="T61" fmla="*/ 61837 h 826"/>
                  <a:gd name="T62" fmla="*/ 369281 w 877"/>
                  <a:gd name="T63" fmla="*/ 73994 h 826"/>
                  <a:gd name="T64" fmla="*/ 366215 w 877"/>
                  <a:gd name="T65" fmla="*/ 84036 h 826"/>
                  <a:gd name="T66" fmla="*/ 360958 w 877"/>
                  <a:gd name="T67" fmla="*/ 89849 h 826"/>
                  <a:gd name="T68" fmla="*/ 363148 w 877"/>
                  <a:gd name="T69" fmla="*/ 109405 h 826"/>
                  <a:gd name="T70" fmla="*/ 375852 w 877"/>
                  <a:gd name="T71" fmla="*/ 129489 h 826"/>
                  <a:gd name="T72" fmla="*/ 383737 w 877"/>
                  <a:gd name="T73" fmla="*/ 363097 h 826"/>
                  <a:gd name="T74" fmla="*/ 384175 w 877"/>
                  <a:gd name="T75" fmla="*/ 391637 h 826"/>
                  <a:gd name="T76" fmla="*/ 381109 w 877"/>
                  <a:gd name="T77" fmla="*/ 409607 h 826"/>
                  <a:gd name="T78" fmla="*/ 371471 w 877"/>
                  <a:gd name="T79" fmla="*/ 413835 h 826"/>
                  <a:gd name="T80" fmla="*/ 363586 w 877"/>
                  <a:gd name="T81" fmla="*/ 424934 h 826"/>
                  <a:gd name="T82" fmla="*/ 160328 w 877"/>
                  <a:gd name="T83" fmla="*/ 313416 h 826"/>
                  <a:gd name="T84" fmla="*/ 144996 w 877"/>
                  <a:gd name="T85" fmla="*/ 320815 h 826"/>
                  <a:gd name="T86" fmla="*/ 127912 w 877"/>
                  <a:gd name="T87" fmla="*/ 330857 h 826"/>
                  <a:gd name="T88" fmla="*/ 115209 w 877"/>
                  <a:gd name="T89" fmla="*/ 331385 h 826"/>
                  <a:gd name="T90" fmla="*/ 100753 w 877"/>
                  <a:gd name="T91" fmla="*/ 321872 h 826"/>
                  <a:gd name="T92" fmla="*/ 84545 w 877"/>
                  <a:gd name="T93" fmla="*/ 309716 h 826"/>
                  <a:gd name="T94" fmla="*/ 66584 w 877"/>
                  <a:gd name="T95" fmla="*/ 305488 h 826"/>
                  <a:gd name="T96" fmla="*/ 60452 w 877"/>
                  <a:gd name="T97" fmla="*/ 304959 h 826"/>
                  <a:gd name="T98" fmla="*/ 56947 w 877"/>
                  <a:gd name="T99" fmla="*/ 292275 h 826"/>
                  <a:gd name="T100" fmla="*/ 47748 w 877"/>
                  <a:gd name="T101" fmla="*/ 282761 h 826"/>
                  <a:gd name="T102" fmla="*/ 27598 w 877"/>
                  <a:gd name="T103" fmla="*/ 273248 h 826"/>
                  <a:gd name="T104" fmla="*/ 12266 w 877"/>
                  <a:gd name="T105" fmla="*/ 263734 h 826"/>
                  <a:gd name="T106" fmla="*/ 7009 w 877"/>
                  <a:gd name="T107" fmla="*/ 254749 h 826"/>
                  <a:gd name="T108" fmla="*/ 6133 w 877"/>
                  <a:gd name="T109" fmla="*/ 232023 h 826"/>
                  <a:gd name="T110" fmla="*/ 8323 w 877"/>
                  <a:gd name="T111" fmla="*/ 186041 h 826"/>
                  <a:gd name="T112" fmla="*/ 7447 w 877"/>
                  <a:gd name="T113" fmla="*/ 136360 h 826"/>
                  <a:gd name="T114" fmla="*/ 1752 w 877"/>
                  <a:gd name="T115" fmla="*/ 106762 h 8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877" h="826">
                    <a:moveTo>
                      <a:pt x="0" y="190"/>
                    </a:moveTo>
                    <a:lnTo>
                      <a:pt x="16" y="167"/>
                    </a:lnTo>
                    <a:lnTo>
                      <a:pt x="33" y="147"/>
                    </a:lnTo>
                    <a:lnTo>
                      <a:pt x="36" y="141"/>
                    </a:lnTo>
                    <a:lnTo>
                      <a:pt x="39" y="133"/>
                    </a:lnTo>
                    <a:lnTo>
                      <a:pt x="41" y="126"/>
                    </a:lnTo>
                    <a:lnTo>
                      <a:pt x="43" y="118"/>
                    </a:lnTo>
                    <a:lnTo>
                      <a:pt x="46" y="109"/>
                    </a:lnTo>
                    <a:lnTo>
                      <a:pt x="47" y="99"/>
                    </a:lnTo>
                    <a:lnTo>
                      <a:pt x="47" y="87"/>
                    </a:lnTo>
                    <a:lnTo>
                      <a:pt x="46" y="73"/>
                    </a:lnTo>
                    <a:lnTo>
                      <a:pt x="46" y="70"/>
                    </a:lnTo>
                    <a:lnTo>
                      <a:pt x="47" y="67"/>
                    </a:lnTo>
                    <a:lnTo>
                      <a:pt x="49" y="66"/>
                    </a:lnTo>
                    <a:lnTo>
                      <a:pt x="52" y="65"/>
                    </a:lnTo>
                    <a:lnTo>
                      <a:pt x="61" y="64"/>
                    </a:lnTo>
                    <a:lnTo>
                      <a:pt x="72" y="63"/>
                    </a:lnTo>
                    <a:lnTo>
                      <a:pt x="78" y="61"/>
                    </a:lnTo>
                    <a:lnTo>
                      <a:pt x="83" y="59"/>
                    </a:lnTo>
                    <a:lnTo>
                      <a:pt x="89" y="55"/>
                    </a:lnTo>
                    <a:lnTo>
                      <a:pt x="93" y="50"/>
                    </a:lnTo>
                    <a:lnTo>
                      <a:pt x="96" y="42"/>
                    </a:lnTo>
                    <a:lnTo>
                      <a:pt x="98" y="33"/>
                    </a:lnTo>
                    <a:lnTo>
                      <a:pt x="99" y="20"/>
                    </a:lnTo>
                    <a:lnTo>
                      <a:pt x="98" y="6"/>
                    </a:lnTo>
                    <a:lnTo>
                      <a:pt x="124" y="4"/>
                    </a:lnTo>
                    <a:lnTo>
                      <a:pt x="147" y="5"/>
                    </a:lnTo>
                    <a:lnTo>
                      <a:pt x="168" y="6"/>
                    </a:lnTo>
                    <a:lnTo>
                      <a:pt x="188" y="9"/>
                    </a:lnTo>
                    <a:lnTo>
                      <a:pt x="208" y="13"/>
                    </a:lnTo>
                    <a:lnTo>
                      <a:pt x="226" y="18"/>
                    </a:lnTo>
                    <a:lnTo>
                      <a:pt x="242" y="24"/>
                    </a:lnTo>
                    <a:lnTo>
                      <a:pt x="259" y="31"/>
                    </a:lnTo>
                    <a:lnTo>
                      <a:pt x="264" y="35"/>
                    </a:lnTo>
                    <a:lnTo>
                      <a:pt x="269" y="39"/>
                    </a:lnTo>
                    <a:lnTo>
                      <a:pt x="273" y="43"/>
                    </a:lnTo>
                    <a:lnTo>
                      <a:pt x="276" y="47"/>
                    </a:lnTo>
                    <a:lnTo>
                      <a:pt x="281" y="57"/>
                    </a:lnTo>
                    <a:lnTo>
                      <a:pt x="283" y="67"/>
                    </a:lnTo>
                    <a:lnTo>
                      <a:pt x="285" y="78"/>
                    </a:lnTo>
                    <a:lnTo>
                      <a:pt x="288" y="88"/>
                    </a:lnTo>
                    <a:lnTo>
                      <a:pt x="289" y="93"/>
                    </a:lnTo>
                    <a:lnTo>
                      <a:pt x="292" y="97"/>
                    </a:lnTo>
                    <a:lnTo>
                      <a:pt x="295" y="101"/>
                    </a:lnTo>
                    <a:lnTo>
                      <a:pt x="298" y="105"/>
                    </a:lnTo>
                    <a:lnTo>
                      <a:pt x="306" y="108"/>
                    </a:lnTo>
                    <a:lnTo>
                      <a:pt x="315" y="110"/>
                    </a:lnTo>
                    <a:lnTo>
                      <a:pt x="325" y="110"/>
                    </a:lnTo>
                    <a:lnTo>
                      <a:pt x="334" y="110"/>
                    </a:lnTo>
                    <a:lnTo>
                      <a:pt x="344" y="109"/>
                    </a:lnTo>
                    <a:lnTo>
                      <a:pt x="354" y="109"/>
                    </a:lnTo>
                    <a:lnTo>
                      <a:pt x="363" y="109"/>
                    </a:lnTo>
                    <a:lnTo>
                      <a:pt x="372" y="111"/>
                    </a:lnTo>
                    <a:lnTo>
                      <a:pt x="388" y="117"/>
                    </a:lnTo>
                    <a:lnTo>
                      <a:pt x="405" y="124"/>
                    </a:lnTo>
                    <a:lnTo>
                      <a:pt x="421" y="133"/>
                    </a:lnTo>
                    <a:lnTo>
                      <a:pt x="438" y="143"/>
                    </a:lnTo>
                    <a:lnTo>
                      <a:pt x="454" y="152"/>
                    </a:lnTo>
                    <a:lnTo>
                      <a:pt x="471" y="159"/>
                    </a:lnTo>
                    <a:lnTo>
                      <a:pt x="478" y="162"/>
                    </a:lnTo>
                    <a:lnTo>
                      <a:pt x="487" y="164"/>
                    </a:lnTo>
                    <a:lnTo>
                      <a:pt x="496" y="166"/>
                    </a:lnTo>
                    <a:lnTo>
                      <a:pt x="505" y="166"/>
                    </a:lnTo>
                    <a:lnTo>
                      <a:pt x="513" y="166"/>
                    </a:lnTo>
                    <a:lnTo>
                      <a:pt x="521" y="166"/>
                    </a:lnTo>
                    <a:lnTo>
                      <a:pt x="529" y="166"/>
                    </a:lnTo>
                    <a:lnTo>
                      <a:pt x="538" y="166"/>
                    </a:lnTo>
                    <a:lnTo>
                      <a:pt x="538" y="158"/>
                    </a:lnTo>
                    <a:lnTo>
                      <a:pt x="540" y="150"/>
                    </a:lnTo>
                    <a:lnTo>
                      <a:pt x="542" y="143"/>
                    </a:lnTo>
                    <a:lnTo>
                      <a:pt x="544" y="137"/>
                    </a:lnTo>
                    <a:lnTo>
                      <a:pt x="549" y="126"/>
                    </a:lnTo>
                    <a:lnTo>
                      <a:pt x="551" y="117"/>
                    </a:lnTo>
                    <a:lnTo>
                      <a:pt x="550" y="112"/>
                    </a:lnTo>
                    <a:lnTo>
                      <a:pt x="547" y="108"/>
                    </a:lnTo>
                    <a:lnTo>
                      <a:pt x="544" y="103"/>
                    </a:lnTo>
                    <a:lnTo>
                      <a:pt x="541" y="98"/>
                    </a:lnTo>
                    <a:lnTo>
                      <a:pt x="537" y="93"/>
                    </a:lnTo>
                    <a:lnTo>
                      <a:pt x="534" y="87"/>
                    </a:lnTo>
                    <a:lnTo>
                      <a:pt x="531" y="81"/>
                    </a:lnTo>
                    <a:lnTo>
                      <a:pt x="531" y="73"/>
                    </a:lnTo>
                    <a:lnTo>
                      <a:pt x="531" y="61"/>
                    </a:lnTo>
                    <a:lnTo>
                      <a:pt x="531" y="49"/>
                    </a:lnTo>
                    <a:lnTo>
                      <a:pt x="539" y="49"/>
                    </a:lnTo>
                    <a:lnTo>
                      <a:pt x="547" y="47"/>
                    </a:lnTo>
                    <a:lnTo>
                      <a:pt x="554" y="45"/>
                    </a:lnTo>
                    <a:lnTo>
                      <a:pt x="562" y="42"/>
                    </a:lnTo>
                    <a:lnTo>
                      <a:pt x="574" y="34"/>
                    </a:lnTo>
                    <a:lnTo>
                      <a:pt x="586" y="24"/>
                    </a:lnTo>
                    <a:lnTo>
                      <a:pt x="598" y="15"/>
                    </a:lnTo>
                    <a:lnTo>
                      <a:pt x="610" y="7"/>
                    </a:lnTo>
                    <a:lnTo>
                      <a:pt x="617" y="4"/>
                    </a:lnTo>
                    <a:lnTo>
                      <a:pt x="623" y="2"/>
                    </a:lnTo>
                    <a:lnTo>
                      <a:pt x="630" y="0"/>
                    </a:lnTo>
                    <a:lnTo>
                      <a:pt x="638" y="0"/>
                    </a:lnTo>
                    <a:lnTo>
                      <a:pt x="650" y="0"/>
                    </a:lnTo>
                    <a:lnTo>
                      <a:pt x="659" y="1"/>
                    </a:lnTo>
                    <a:lnTo>
                      <a:pt x="668" y="2"/>
                    </a:lnTo>
                    <a:lnTo>
                      <a:pt x="676" y="4"/>
                    </a:lnTo>
                    <a:lnTo>
                      <a:pt x="681" y="6"/>
                    </a:lnTo>
                    <a:lnTo>
                      <a:pt x="685" y="9"/>
                    </a:lnTo>
                    <a:lnTo>
                      <a:pt x="688" y="12"/>
                    </a:lnTo>
                    <a:lnTo>
                      <a:pt x="691" y="16"/>
                    </a:lnTo>
                    <a:lnTo>
                      <a:pt x="695" y="24"/>
                    </a:lnTo>
                    <a:lnTo>
                      <a:pt x="698" y="34"/>
                    </a:lnTo>
                    <a:lnTo>
                      <a:pt x="700" y="39"/>
                    </a:lnTo>
                    <a:lnTo>
                      <a:pt x="702" y="44"/>
                    </a:lnTo>
                    <a:lnTo>
                      <a:pt x="706" y="50"/>
                    </a:lnTo>
                    <a:lnTo>
                      <a:pt x="710" y="55"/>
                    </a:lnTo>
                    <a:lnTo>
                      <a:pt x="715" y="58"/>
                    </a:lnTo>
                    <a:lnTo>
                      <a:pt x="721" y="61"/>
                    </a:lnTo>
                    <a:lnTo>
                      <a:pt x="728" y="63"/>
                    </a:lnTo>
                    <a:lnTo>
                      <a:pt x="734" y="65"/>
                    </a:lnTo>
                    <a:lnTo>
                      <a:pt x="750" y="67"/>
                    </a:lnTo>
                    <a:lnTo>
                      <a:pt x="765" y="69"/>
                    </a:lnTo>
                    <a:lnTo>
                      <a:pt x="798" y="71"/>
                    </a:lnTo>
                    <a:lnTo>
                      <a:pt x="830" y="73"/>
                    </a:lnTo>
                    <a:lnTo>
                      <a:pt x="830" y="83"/>
                    </a:lnTo>
                    <a:lnTo>
                      <a:pt x="830" y="90"/>
                    </a:lnTo>
                    <a:lnTo>
                      <a:pt x="830" y="97"/>
                    </a:lnTo>
                    <a:lnTo>
                      <a:pt x="830" y="105"/>
                    </a:lnTo>
                    <a:lnTo>
                      <a:pt x="830" y="109"/>
                    </a:lnTo>
                    <a:lnTo>
                      <a:pt x="832" y="113"/>
                    </a:lnTo>
                    <a:lnTo>
                      <a:pt x="834" y="117"/>
                    </a:lnTo>
                    <a:lnTo>
                      <a:pt x="836" y="121"/>
                    </a:lnTo>
                    <a:lnTo>
                      <a:pt x="838" y="126"/>
                    </a:lnTo>
                    <a:lnTo>
                      <a:pt x="841" y="132"/>
                    </a:lnTo>
                    <a:lnTo>
                      <a:pt x="843" y="140"/>
                    </a:lnTo>
                    <a:lnTo>
                      <a:pt x="843" y="148"/>
                    </a:lnTo>
                    <a:lnTo>
                      <a:pt x="842" y="152"/>
                    </a:lnTo>
                    <a:lnTo>
                      <a:pt x="840" y="156"/>
                    </a:lnTo>
                    <a:lnTo>
                      <a:pt x="836" y="159"/>
                    </a:lnTo>
                    <a:lnTo>
                      <a:pt x="833" y="162"/>
                    </a:lnTo>
                    <a:lnTo>
                      <a:pt x="830" y="165"/>
                    </a:lnTo>
                    <a:lnTo>
                      <a:pt x="826" y="168"/>
                    </a:lnTo>
                    <a:lnTo>
                      <a:pt x="824" y="170"/>
                    </a:lnTo>
                    <a:lnTo>
                      <a:pt x="823" y="172"/>
                    </a:lnTo>
                    <a:lnTo>
                      <a:pt x="824" y="184"/>
                    </a:lnTo>
                    <a:lnTo>
                      <a:pt x="825" y="196"/>
                    </a:lnTo>
                    <a:lnTo>
                      <a:pt x="829" y="207"/>
                    </a:lnTo>
                    <a:lnTo>
                      <a:pt x="834" y="217"/>
                    </a:lnTo>
                    <a:lnTo>
                      <a:pt x="841" y="227"/>
                    </a:lnTo>
                    <a:lnTo>
                      <a:pt x="848" y="236"/>
                    </a:lnTo>
                    <a:lnTo>
                      <a:pt x="858" y="245"/>
                    </a:lnTo>
                    <a:lnTo>
                      <a:pt x="869" y="253"/>
                    </a:lnTo>
                    <a:lnTo>
                      <a:pt x="876" y="671"/>
                    </a:lnTo>
                    <a:lnTo>
                      <a:pt x="876" y="680"/>
                    </a:lnTo>
                    <a:lnTo>
                      <a:pt x="876" y="687"/>
                    </a:lnTo>
                    <a:lnTo>
                      <a:pt x="876" y="697"/>
                    </a:lnTo>
                    <a:lnTo>
                      <a:pt x="876" y="709"/>
                    </a:lnTo>
                    <a:lnTo>
                      <a:pt x="877" y="726"/>
                    </a:lnTo>
                    <a:lnTo>
                      <a:pt x="877" y="741"/>
                    </a:lnTo>
                    <a:lnTo>
                      <a:pt x="877" y="756"/>
                    </a:lnTo>
                    <a:lnTo>
                      <a:pt x="876" y="766"/>
                    </a:lnTo>
                    <a:lnTo>
                      <a:pt x="874" y="771"/>
                    </a:lnTo>
                    <a:lnTo>
                      <a:pt x="870" y="775"/>
                    </a:lnTo>
                    <a:lnTo>
                      <a:pt x="867" y="778"/>
                    </a:lnTo>
                    <a:lnTo>
                      <a:pt x="863" y="780"/>
                    </a:lnTo>
                    <a:lnTo>
                      <a:pt x="856" y="782"/>
                    </a:lnTo>
                    <a:lnTo>
                      <a:pt x="848" y="783"/>
                    </a:lnTo>
                    <a:lnTo>
                      <a:pt x="840" y="783"/>
                    </a:lnTo>
                    <a:lnTo>
                      <a:pt x="830" y="782"/>
                    </a:lnTo>
                    <a:lnTo>
                      <a:pt x="830" y="792"/>
                    </a:lnTo>
                    <a:lnTo>
                      <a:pt x="830" y="804"/>
                    </a:lnTo>
                    <a:lnTo>
                      <a:pt x="830" y="816"/>
                    </a:lnTo>
                    <a:lnTo>
                      <a:pt x="830" y="826"/>
                    </a:lnTo>
                    <a:lnTo>
                      <a:pt x="378" y="592"/>
                    </a:lnTo>
                    <a:lnTo>
                      <a:pt x="366" y="593"/>
                    </a:lnTo>
                    <a:lnTo>
                      <a:pt x="359" y="595"/>
                    </a:lnTo>
                    <a:lnTo>
                      <a:pt x="353" y="597"/>
                    </a:lnTo>
                    <a:lnTo>
                      <a:pt x="344" y="598"/>
                    </a:lnTo>
                    <a:lnTo>
                      <a:pt x="331" y="607"/>
                    </a:lnTo>
                    <a:lnTo>
                      <a:pt x="318" y="616"/>
                    </a:lnTo>
                    <a:lnTo>
                      <a:pt x="308" y="620"/>
                    </a:lnTo>
                    <a:lnTo>
                      <a:pt x="297" y="624"/>
                    </a:lnTo>
                    <a:lnTo>
                      <a:pt x="292" y="626"/>
                    </a:lnTo>
                    <a:lnTo>
                      <a:pt x="285" y="627"/>
                    </a:lnTo>
                    <a:lnTo>
                      <a:pt x="278" y="628"/>
                    </a:lnTo>
                    <a:lnTo>
                      <a:pt x="272" y="628"/>
                    </a:lnTo>
                    <a:lnTo>
                      <a:pt x="263" y="627"/>
                    </a:lnTo>
                    <a:lnTo>
                      <a:pt x="254" y="624"/>
                    </a:lnTo>
                    <a:lnTo>
                      <a:pt x="246" y="620"/>
                    </a:lnTo>
                    <a:lnTo>
                      <a:pt x="238" y="614"/>
                    </a:lnTo>
                    <a:lnTo>
                      <a:pt x="230" y="609"/>
                    </a:lnTo>
                    <a:lnTo>
                      <a:pt x="224" y="602"/>
                    </a:lnTo>
                    <a:lnTo>
                      <a:pt x="220" y="597"/>
                    </a:lnTo>
                    <a:lnTo>
                      <a:pt x="218" y="592"/>
                    </a:lnTo>
                    <a:lnTo>
                      <a:pt x="193" y="586"/>
                    </a:lnTo>
                    <a:lnTo>
                      <a:pt x="173" y="579"/>
                    </a:lnTo>
                    <a:lnTo>
                      <a:pt x="165" y="577"/>
                    </a:lnTo>
                    <a:lnTo>
                      <a:pt x="157" y="577"/>
                    </a:lnTo>
                    <a:lnTo>
                      <a:pt x="152" y="578"/>
                    </a:lnTo>
                    <a:lnTo>
                      <a:pt x="148" y="579"/>
                    </a:lnTo>
                    <a:lnTo>
                      <a:pt x="143" y="583"/>
                    </a:lnTo>
                    <a:lnTo>
                      <a:pt x="139" y="586"/>
                    </a:lnTo>
                    <a:lnTo>
                      <a:pt x="138" y="577"/>
                    </a:lnTo>
                    <a:lnTo>
                      <a:pt x="137" y="570"/>
                    </a:lnTo>
                    <a:lnTo>
                      <a:pt x="136" y="564"/>
                    </a:lnTo>
                    <a:lnTo>
                      <a:pt x="134" y="558"/>
                    </a:lnTo>
                    <a:lnTo>
                      <a:pt x="130" y="553"/>
                    </a:lnTo>
                    <a:lnTo>
                      <a:pt x="127" y="549"/>
                    </a:lnTo>
                    <a:lnTo>
                      <a:pt x="124" y="545"/>
                    </a:lnTo>
                    <a:lnTo>
                      <a:pt x="119" y="541"/>
                    </a:lnTo>
                    <a:lnTo>
                      <a:pt x="109" y="535"/>
                    </a:lnTo>
                    <a:lnTo>
                      <a:pt x="98" y="530"/>
                    </a:lnTo>
                    <a:lnTo>
                      <a:pt x="87" y="526"/>
                    </a:lnTo>
                    <a:lnTo>
                      <a:pt x="75" y="521"/>
                    </a:lnTo>
                    <a:lnTo>
                      <a:pt x="63" y="517"/>
                    </a:lnTo>
                    <a:lnTo>
                      <a:pt x="52" y="513"/>
                    </a:lnTo>
                    <a:lnTo>
                      <a:pt x="41" y="509"/>
                    </a:lnTo>
                    <a:lnTo>
                      <a:pt x="33" y="503"/>
                    </a:lnTo>
                    <a:lnTo>
                      <a:pt x="28" y="499"/>
                    </a:lnTo>
                    <a:lnTo>
                      <a:pt x="24" y="496"/>
                    </a:lnTo>
                    <a:lnTo>
                      <a:pt x="20" y="492"/>
                    </a:lnTo>
                    <a:lnTo>
                      <a:pt x="18" y="487"/>
                    </a:lnTo>
                    <a:lnTo>
                      <a:pt x="16" y="482"/>
                    </a:lnTo>
                    <a:lnTo>
                      <a:pt x="14" y="476"/>
                    </a:lnTo>
                    <a:lnTo>
                      <a:pt x="13" y="469"/>
                    </a:lnTo>
                    <a:lnTo>
                      <a:pt x="13" y="462"/>
                    </a:lnTo>
                    <a:lnTo>
                      <a:pt x="14" y="439"/>
                    </a:lnTo>
                    <a:lnTo>
                      <a:pt x="16" y="417"/>
                    </a:lnTo>
                    <a:lnTo>
                      <a:pt x="18" y="395"/>
                    </a:lnTo>
                    <a:lnTo>
                      <a:pt x="19" y="376"/>
                    </a:lnTo>
                    <a:lnTo>
                      <a:pt x="19" y="352"/>
                    </a:lnTo>
                    <a:lnTo>
                      <a:pt x="19" y="329"/>
                    </a:lnTo>
                    <a:lnTo>
                      <a:pt x="19" y="305"/>
                    </a:lnTo>
                    <a:lnTo>
                      <a:pt x="19" y="281"/>
                    </a:lnTo>
                    <a:lnTo>
                      <a:pt x="17" y="258"/>
                    </a:lnTo>
                    <a:lnTo>
                      <a:pt x="14" y="234"/>
                    </a:lnTo>
                    <a:lnTo>
                      <a:pt x="11" y="223"/>
                    </a:lnTo>
                    <a:lnTo>
                      <a:pt x="7" y="212"/>
                    </a:lnTo>
                    <a:lnTo>
                      <a:pt x="4" y="202"/>
                    </a:lnTo>
                    <a:lnTo>
                      <a:pt x="0" y="190"/>
                    </a:lnTo>
                  </a:path>
                </a:pathLst>
              </a:custGeom>
              <a:grpFill/>
              <a:ln w="9525" cmpd="sng">
                <a:solidFill>
                  <a:srgbClr val="FFFFFF"/>
                </a:solidFill>
                <a:prstDash val="solid"/>
                <a:round/>
                <a:headEnd/>
                <a:tailEnd/>
              </a:ln>
            </p:spPr>
            <p:txBody>
              <a:bodyPr/>
              <a:lstStyle/>
              <a:p>
                <a:endParaRPr lang="en-GB" sz="1637"/>
              </a:p>
            </p:txBody>
          </p:sp>
          <p:sp>
            <p:nvSpPr>
              <p:cNvPr id="91" name="Freeform 239"/>
              <p:cNvSpPr>
                <a:spLocks/>
              </p:cNvSpPr>
              <p:nvPr>
                <p:custDataLst>
                  <p:tags r:id="rId74"/>
                </p:custDataLst>
              </p:nvPr>
            </p:nvSpPr>
            <p:spPr bwMode="auto">
              <a:xfrm>
                <a:off x="4111889" y="2644075"/>
                <a:ext cx="102246" cy="266854"/>
              </a:xfrm>
              <a:custGeom>
                <a:avLst/>
                <a:gdLst>
                  <a:gd name="T0" fmla="*/ 46832 w 206"/>
                  <a:gd name="T1" fmla="*/ 229260 h 455"/>
                  <a:gd name="T2" fmla="*/ 56834 w 206"/>
                  <a:gd name="T3" fmla="*/ 218343 h 455"/>
                  <a:gd name="T4" fmla="*/ 63654 w 206"/>
                  <a:gd name="T5" fmla="*/ 210025 h 455"/>
                  <a:gd name="T6" fmla="*/ 66837 w 206"/>
                  <a:gd name="T7" fmla="*/ 202747 h 455"/>
                  <a:gd name="T8" fmla="*/ 69111 w 206"/>
                  <a:gd name="T9" fmla="*/ 193909 h 455"/>
                  <a:gd name="T10" fmla="*/ 70020 w 206"/>
                  <a:gd name="T11" fmla="*/ 182992 h 455"/>
                  <a:gd name="T12" fmla="*/ 69565 w 206"/>
                  <a:gd name="T13" fmla="*/ 174154 h 455"/>
                  <a:gd name="T14" fmla="*/ 70929 w 206"/>
                  <a:gd name="T15" fmla="*/ 172075 h 455"/>
                  <a:gd name="T16" fmla="*/ 76385 w 206"/>
                  <a:gd name="T17" fmla="*/ 171035 h 455"/>
                  <a:gd name="T18" fmla="*/ 84115 w 206"/>
                  <a:gd name="T19" fmla="*/ 168956 h 455"/>
                  <a:gd name="T20" fmla="*/ 89116 w 206"/>
                  <a:gd name="T21" fmla="*/ 165317 h 455"/>
                  <a:gd name="T22" fmla="*/ 92299 w 206"/>
                  <a:gd name="T23" fmla="*/ 158039 h 455"/>
                  <a:gd name="T24" fmla="*/ 93663 w 206"/>
                  <a:gd name="T25" fmla="*/ 145562 h 455"/>
                  <a:gd name="T26" fmla="*/ 91844 w 206"/>
                  <a:gd name="T27" fmla="*/ 137764 h 455"/>
                  <a:gd name="T28" fmla="*/ 87752 w 206"/>
                  <a:gd name="T29" fmla="*/ 137244 h 455"/>
                  <a:gd name="T30" fmla="*/ 80477 w 206"/>
                  <a:gd name="T31" fmla="*/ 133085 h 455"/>
                  <a:gd name="T32" fmla="*/ 70475 w 206"/>
                  <a:gd name="T33" fmla="*/ 125807 h 455"/>
                  <a:gd name="T34" fmla="*/ 63654 w 206"/>
                  <a:gd name="T35" fmla="*/ 120089 h 455"/>
                  <a:gd name="T36" fmla="*/ 59108 w 206"/>
                  <a:gd name="T37" fmla="*/ 118529 h 455"/>
                  <a:gd name="T38" fmla="*/ 54106 w 206"/>
                  <a:gd name="T39" fmla="*/ 115410 h 455"/>
                  <a:gd name="T40" fmla="*/ 45922 w 206"/>
                  <a:gd name="T41" fmla="*/ 110211 h 455"/>
                  <a:gd name="T42" fmla="*/ 43194 w 206"/>
                  <a:gd name="T43" fmla="*/ 107092 h 455"/>
                  <a:gd name="T44" fmla="*/ 43194 w 206"/>
                  <a:gd name="T45" fmla="*/ 103453 h 455"/>
                  <a:gd name="T46" fmla="*/ 47286 w 206"/>
                  <a:gd name="T47" fmla="*/ 94095 h 455"/>
                  <a:gd name="T48" fmla="*/ 54106 w 206"/>
                  <a:gd name="T49" fmla="*/ 82138 h 455"/>
                  <a:gd name="T50" fmla="*/ 60926 w 206"/>
                  <a:gd name="T51" fmla="*/ 72781 h 455"/>
                  <a:gd name="T52" fmla="*/ 61836 w 206"/>
                  <a:gd name="T53" fmla="*/ 67062 h 455"/>
                  <a:gd name="T54" fmla="*/ 57289 w 206"/>
                  <a:gd name="T55" fmla="*/ 60304 h 455"/>
                  <a:gd name="T56" fmla="*/ 52288 w 206"/>
                  <a:gd name="T57" fmla="*/ 54586 h 455"/>
                  <a:gd name="T58" fmla="*/ 49105 w 206"/>
                  <a:gd name="T59" fmla="*/ 48347 h 455"/>
                  <a:gd name="T60" fmla="*/ 48650 w 206"/>
                  <a:gd name="T61" fmla="*/ 43669 h 455"/>
                  <a:gd name="T62" fmla="*/ 50469 w 206"/>
                  <a:gd name="T63" fmla="*/ 40549 h 455"/>
                  <a:gd name="T64" fmla="*/ 52742 w 206"/>
                  <a:gd name="T65" fmla="*/ 37430 h 455"/>
                  <a:gd name="T66" fmla="*/ 55925 w 206"/>
                  <a:gd name="T67" fmla="*/ 35871 h 455"/>
                  <a:gd name="T68" fmla="*/ 57289 w 206"/>
                  <a:gd name="T69" fmla="*/ 19235 h 455"/>
                  <a:gd name="T70" fmla="*/ 50014 w 206"/>
                  <a:gd name="T71" fmla="*/ 16636 h 455"/>
                  <a:gd name="T72" fmla="*/ 39557 w 206"/>
                  <a:gd name="T73" fmla="*/ 10917 h 455"/>
                  <a:gd name="T74" fmla="*/ 24098 w 206"/>
                  <a:gd name="T75" fmla="*/ 0 h 455"/>
                  <a:gd name="T76" fmla="*/ 21370 w 206"/>
                  <a:gd name="T77" fmla="*/ 5719 h 455"/>
                  <a:gd name="T78" fmla="*/ 15459 w 206"/>
                  <a:gd name="T79" fmla="*/ 22874 h 455"/>
                  <a:gd name="T80" fmla="*/ 12731 w 206"/>
                  <a:gd name="T81" fmla="*/ 36390 h 455"/>
                  <a:gd name="T82" fmla="*/ 10003 w 206"/>
                  <a:gd name="T83" fmla="*/ 51467 h 455"/>
                  <a:gd name="T84" fmla="*/ 9093 w 206"/>
                  <a:gd name="T85" fmla="*/ 69142 h 455"/>
                  <a:gd name="T86" fmla="*/ 9093 w 206"/>
                  <a:gd name="T87" fmla="*/ 89417 h 455"/>
                  <a:gd name="T88" fmla="*/ 5456 w 206"/>
                  <a:gd name="T89" fmla="*/ 97734 h 455"/>
                  <a:gd name="T90" fmla="*/ 3637 w 206"/>
                  <a:gd name="T91" fmla="*/ 107092 h 455"/>
                  <a:gd name="T92" fmla="*/ 0 w 206"/>
                  <a:gd name="T93" fmla="*/ 122168 h 455"/>
                  <a:gd name="T94" fmla="*/ 10003 w 206"/>
                  <a:gd name="T95" fmla="*/ 134645 h 455"/>
                  <a:gd name="T96" fmla="*/ 18642 w 206"/>
                  <a:gd name="T97" fmla="*/ 146082 h 455"/>
                  <a:gd name="T98" fmla="*/ 25007 w 206"/>
                  <a:gd name="T99" fmla="*/ 158558 h 455"/>
                  <a:gd name="T100" fmla="*/ 30009 w 206"/>
                  <a:gd name="T101" fmla="*/ 171035 h 455"/>
                  <a:gd name="T102" fmla="*/ 34101 w 206"/>
                  <a:gd name="T103" fmla="*/ 184552 h 455"/>
                  <a:gd name="T104" fmla="*/ 37283 w 206"/>
                  <a:gd name="T105" fmla="*/ 199628 h 455"/>
                  <a:gd name="T106" fmla="*/ 42285 w 206"/>
                  <a:gd name="T107" fmla="*/ 236538 h 45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06" h="455">
                    <a:moveTo>
                      <a:pt x="93" y="455"/>
                    </a:moveTo>
                    <a:lnTo>
                      <a:pt x="103" y="441"/>
                    </a:lnTo>
                    <a:lnTo>
                      <a:pt x="114" y="430"/>
                    </a:lnTo>
                    <a:lnTo>
                      <a:pt x="125" y="420"/>
                    </a:lnTo>
                    <a:lnTo>
                      <a:pt x="135" y="409"/>
                    </a:lnTo>
                    <a:lnTo>
                      <a:pt x="140" y="404"/>
                    </a:lnTo>
                    <a:lnTo>
                      <a:pt x="144" y="397"/>
                    </a:lnTo>
                    <a:lnTo>
                      <a:pt x="147" y="390"/>
                    </a:lnTo>
                    <a:lnTo>
                      <a:pt x="149" y="382"/>
                    </a:lnTo>
                    <a:lnTo>
                      <a:pt x="152" y="373"/>
                    </a:lnTo>
                    <a:lnTo>
                      <a:pt x="153" y="363"/>
                    </a:lnTo>
                    <a:lnTo>
                      <a:pt x="154" y="352"/>
                    </a:lnTo>
                    <a:lnTo>
                      <a:pt x="153" y="338"/>
                    </a:lnTo>
                    <a:lnTo>
                      <a:pt x="153" y="335"/>
                    </a:lnTo>
                    <a:lnTo>
                      <a:pt x="154" y="332"/>
                    </a:lnTo>
                    <a:lnTo>
                      <a:pt x="156" y="331"/>
                    </a:lnTo>
                    <a:lnTo>
                      <a:pt x="159" y="330"/>
                    </a:lnTo>
                    <a:lnTo>
                      <a:pt x="168" y="329"/>
                    </a:lnTo>
                    <a:lnTo>
                      <a:pt x="179" y="327"/>
                    </a:lnTo>
                    <a:lnTo>
                      <a:pt x="185" y="325"/>
                    </a:lnTo>
                    <a:lnTo>
                      <a:pt x="190" y="322"/>
                    </a:lnTo>
                    <a:lnTo>
                      <a:pt x="196" y="318"/>
                    </a:lnTo>
                    <a:lnTo>
                      <a:pt x="200" y="312"/>
                    </a:lnTo>
                    <a:lnTo>
                      <a:pt x="203" y="304"/>
                    </a:lnTo>
                    <a:lnTo>
                      <a:pt x="205" y="294"/>
                    </a:lnTo>
                    <a:lnTo>
                      <a:pt x="206" y="280"/>
                    </a:lnTo>
                    <a:lnTo>
                      <a:pt x="205" y="265"/>
                    </a:lnTo>
                    <a:lnTo>
                      <a:pt x="202" y="265"/>
                    </a:lnTo>
                    <a:lnTo>
                      <a:pt x="198" y="265"/>
                    </a:lnTo>
                    <a:lnTo>
                      <a:pt x="193" y="264"/>
                    </a:lnTo>
                    <a:lnTo>
                      <a:pt x="188" y="262"/>
                    </a:lnTo>
                    <a:lnTo>
                      <a:pt x="177" y="256"/>
                    </a:lnTo>
                    <a:lnTo>
                      <a:pt x="166" y="249"/>
                    </a:lnTo>
                    <a:lnTo>
                      <a:pt x="155" y="242"/>
                    </a:lnTo>
                    <a:lnTo>
                      <a:pt x="144" y="235"/>
                    </a:lnTo>
                    <a:lnTo>
                      <a:pt x="140" y="231"/>
                    </a:lnTo>
                    <a:lnTo>
                      <a:pt x="134" y="229"/>
                    </a:lnTo>
                    <a:lnTo>
                      <a:pt x="130" y="228"/>
                    </a:lnTo>
                    <a:lnTo>
                      <a:pt x="126" y="227"/>
                    </a:lnTo>
                    <a:lnTo>
                      <a:pt x="119" y="222"/>
                    </a:lnTo>
                    <a:lnTo>
                      <a:pt x="107" y="215"/>
                    </a:lnTo>
                    <a:lnTo>
                      <a:pt x="101" y="212"/>
                    </a:lnTo>
                    <a:lnTo>
                      <a:pt x="97" y="209"/>
                    </a:lnTo>
                    <a:lnTo>
                      <a:pt x="95" y="206"/>
                    </a:lnTo>
                    <a:lnTo>
                      <a:pt x="93" y="203"/>
                    </a:lnTo>
                    <a:lnTo>
                      <a:pt x="95" y="199"/>
                    </a:lnTo>
                    <a:lnTo>
                      <a:pt x="98" y="191"/>
                    </a:lnTo>
                    <a:lnTo>
                      <a:pt x="104" y="181"/>
                    </a:lnTo>
                    <a:lnTo>
                      <a:pt x="111" y="169"/>
                    </a:lnTo>
                    <a:lnTo>
                      <a:pt x="119" y="158"/>
                    </a:lnTo>
                    <a:lnTo>
                      <a:pt x="126" y="148"/>
                    </a:lnTo>
                    <a:lnTo>
                      <a:pt x="134" y="140"/>
                    </a:lnTo>
                    <a:lnTo>
                      <a:pt x="140" y="136"/>
                    </a:lnTo>
                    <a:lnTo>
                      <a:pt x="136" y="129"/>
                    </a:lnTo>
                    <a:lnTo>
                      <a:pt x="132" y="122"/>
                    </a:lnTo>
                    <a:lnTo>
                      <a:pt x="126" y="116"/>
                    </a:lnTo>
                    <a:lnTo>
                      <a:pt x="121" y="111"/>
                    </a:lnTo>
                    <a:lnTo>
                      <a:pt x="115" y="105"/>
                    </a:lnTo>
                    <a:lnTo>
                      <a:pt x="111" y="99"/>
                    </a:lnTo>
                    <a:lnTo>
                      <a:pt x="108" y="93"/>
                    </a:lnTo>
                    <a:lnTo>
                      <a:pt x="107" y="86"/>
                    </a:lnTo>
                    <a:lnTo>
                      <a:pt x="107" y="84"/>
                    </a:lnTo>
                    <a:lnTo>
                      <a:pt x="109" y="81"/>
                    </a:lnTo>
                    <a:lnTo>
                      <a:pt x="111" y="78"/>
                    </a:lnTo>
                    <a:lnTo>
                      <a:pt x="113" y="75"/>
                    </a:lnTo>
                    <a:lnTo>
                      <a:pt x="116" y="72"/>
                    </a:lnTo>
                    <a:lnTo>
                      <a:pt x="120" y="70"/>
                    </a:lnTo>
                    <a:lnTo>
                      <a:pt x="123" y="69"/>
                    </a:lnTo>
                    <a:lnTo>
                      <a:pt x="126" y="68"/>
                    </a:lnTo>
                    <a:lnTo>
                      <a:pt x="126" y="37"/>
                    </a:lnTo>
                    <a:lnTo>
                      <a:pt x="120" y="36"/>
                    </a:lnTo>
                    <a:lnTo>
                      <a:pt x="110" y="32"/>
                    </a:lnTo>
                    <a:lnTo>
                      <a:pt x="99" y="27"/>
                    </a:lnTo>
                    <a:lnTo>
                      <a:pt x="87" y="21"/>
                    </a:lnTo>
                    <a:lnTo>
                      <a:pt x="65" y="8"/>
                    </a:lnTo>
                    <a:lnTo>
                      <a:pt x="53" y="0"/>
                    </a:lnTo>
                    <a:lnTo>
                      <a:pt x="52" y="2"/>
                    </a:lnTo>
                    <a:lnTo>
                      <a:pt x="47" y="11"/>
                    </a:lnTo>
                    <a:lnTo>
                      <a:pt x="41" y="26"/>
                    </a:lnTo>
                    <a:lnTo>
                      <a:pt x="34" y="44"/>
                    </a:lnTo>
                    <a:lnTo>
                      <a:pt x="31" y="56"/>
                    </a:lnTo>
                    <a:lnTo>
                      <a:pt x="28" y="70"/>
                    </a:lnTo>
                    <a:lnTo>
                      <a:pt x="24" y="83"/>
                    </a:lnTo>
                    <a:lnTo>
                      <a:pt x="22" y="99"/>
                    </a:lnTo>
                    <a:lnTo>
                      <a:pt x="20" y="115"/>
                    </a:lnTo>
                    <a:lnTo>
                      <a:pt x="20" y="133"/>
                    </a:lnTo>
                    <a:lnTo>
                      <a:pt x="19" y="152"/>
                    </a:lnTo>
                    <a:lnTo>
                      <a:pt x="20" y="172"/>
                    </a:lnTo>
                    <a:lnTo>
                      <a:pt x="15" y="180"/>
                    </a:lnTo>
                    <a:lnTo>
                      <a:pt x="12" y="188"/>
                    </a:lnTo>
                    <a:lnTo>
                      <a:pt x="9" y="197"/>
                    </a:lnTo>
                    <a:lnTo>
                      <a:pt x="8" y="206"/>
                    </a:lnTo>
                    <a:lnTo>
                      <a:pt x="3" y="222"/>
                    </a:lnTo>
                    <a:lnTo>
                      <a:pt x="0" y="235"/>
                    </a:lnTo>
                    <a:lnTo>
                      <a:pt x="12" y="247"/>
                    </a:lnTo>
                    <a:lnTo>
                      <a:pt x="22" y="259"/>
                    </a:lnTo>
                    <a:lnTo>
                      <a:pt x="32" y="270"/>
                    </a:lnTo>
                    <a:lnTo>
                      <a:pt x="41" y="281"/>
                    </a:lnTo>
                    <a:lnTo>
                      <a:pt x="48" y="294"/>
                    </a:lnTo>
                    <a:lnTo>
                      <a:pt x="55" y="305"/>
                    </a:lnTo>
                    <a:lnTo>
                      <a:pt x="60" y="317"/>
                    </a:lnTo>
                    <a:lnTo>
                      <a:pt x="66" y="329"/>
                    </a:lnTo>
                    <a:lnTo>
                      <a:pt x="71" y="341"/>
                    </a:lnTo>
                    <a:lnTo>
                      <a:pt x="75" y="355"/>
                    </a:lnTo>
                    <a:lnTo>
                      <a:pt x="79" y="369"/>
                    </a:lnTo>
                    <a:lnTo>
                      <a:pt x="82" y="384"/>
                    </a:lnTo>
                    <a:lnTo>
                      <a:pt x="88" y="417"/>
                    </a:lnTo>
                    <a:lnTo>
                      <a:pt x="93" y="455"/>
                    </a:lnTo>
                  </a:path>
                </a:pathLst>
              </a:custGeom>
              <a:grpFill/>
              <a:ln w="9525" cmpd="sng">
                <a:solidFill>
                  <a:srgbClr val="FFFFFF"/>
                </a:solidFill>
                <a:prstDash val="solid"/>
                <a:round/>
                <a:headEnd/>
                <a:tailEnd/>
              </a:ln>
            </p:spPr>
            <p:txBody>
              <a:bodyPr/>
              <a:lstStyle/>
              <a:p>
                <a:endParaRPr lang="en-GB" sz="1637"/>
              </a:p>
            </p:txBody>
          </p:sp>
          <p:sp>
            <p:nvSpPr>
              <p:cNvPr id="92" name="Freeform 240"/>
              <p:cNvSpPr>
                <a:spLocks/>
              </p:cNvSpPr>
              <p:nvPr>
                <p:custDataLst>
                  <p:tags r:id="rId75"/>
                </p:custDataLst>
              </p:nvPr>
            </p:nvSpPr>
            <p:spPr bwMode="auto">
              <a:xfrm>
                <a:off x="3437761" y="2995104"/>
                <a:ext cx="253015" cy="243571"/>
              </a:xfrm>
              <a:custGeom>
                <a:avLst/>
                <a:gdLst>
                  <a:gd name="T0" fmla="*/ 145866 w 518"/>
                  <a:gd name="T1" fmla="*/ 58495 h 406"/>
                  <a:gd name="T2" fmla="*/ 145866 w 518"/>
                  <a:gd name="T3" fmla="*/ 137729 h 406"/>
                  <a:gd name="T4" fmla="*/ 140944 w 518"/>
                  <a:gd name="T5" fmla="*/ 140388 h 406"/>
                  <a:gd name="T6" fmla="*/ 130206 w 518"/>
                  <a:gd name="T7" fmla="*/ 144111 h 406"/>
                  <a:gd name="T8" fmla="*/ 110071 w 518"/>
                  <a:gd name="T9" fmla="*/ 150492 h 406"/>
                  <a:gd name="T10" fmla="*/ 113203 w 518"/>
                  <a:gd name="T11" fmla="*/ 160596 h 406"/>
                  <a:gd name="T12" fmla="*/ 118572 w 518"/>
                  <a:gd name="T13" fmla="*/ 173358 h 406"/>
                  <a:gd name="T14" fmla="*/ 120362 w 518"/>
                  <a:gd name="T15" fmla="*/ 187716 h 406"/>
                  <a:gd name="T16" fmla="*/ 121704 w 518"/>
                  <a:gd name="T17" fmla="*/ 203137 h 406"/>
                  <a:gd name="T18" fmla="*/ 23267 w 518"/>
                  <a:gd name="T19" fmla="*/ 209519 h 406"/>
                  <a:gd name="T20" fmla="*/ 9844 w 518"/>
                  <a:gd name="T21" fmla="*/ 215900 h 406"/>
                  <a:gd name="T22" fmla="*/ 2237 w 518"/>
                  <a:gd name="T23" fmla="*/ 214305 h 406"/>
                  <a:gd name="T24" fmla="*/ 447 w 518"/>
                  <a:gd name="T25" fmla="*/ 211646 h 406"/>
                  <a:gd name="T26" fmla="*/ 447 w 518"/>
                  <a:gd name="T27" fmla="*/ 204733 h 406"/>
                  <a:gd name="T28" fmla="*/ 1790 w 518"/>
                  <a:gd name="T29" fmla="*/ 197288 h 406"/>
                  <a:gd name="T30" fmla="*/ 4922 w 518"/>
                  <a:gd name="T31" fmla="*/ 188248 h 406"/>
                  <a:gd name="T32" fmla="*/ 8949 w 518"/>
                  <a:gd name="T33" fmla="*/ 181335 h 406"/>
                  <a:gd name="T34" fmla="*/ 13423 w 518"/>
                  <a:gd name="T35" fmla="*/ 177612 h 406"/>
                  <a:gd name="T36" fmla="*/ 17003 w 518"/>
                  <a:gd name="T37" fmla="*/ 173358 h 406"/>
                  <a:gd name="T38" fmla="*/ 19687 w 518"/>
                  <a:gd name="T39" fmla="*/ 168572 h 406"/>
                  <a:gd name="T40" fmla="*/ 21925 w 518"/>
                  <a:gd name="T41" fmla="*/ 155278 h 406"/>
                  <a:gd name="T42" fmla="*/ 25057 w 518"/>
                  <a:gd name="T43" fmla="*/ 140920 h 406"/>
                  <a:gd name="T44" fmla="*/ 27741 w 518"/>
                  <a:gd name="T45" fmla="*/ 136666 h 406"/>
                  <a:gd name="T46" fmla="*/ 33111 w 518"/>
                  <a:gd name="T47" fmla="*/ 130816 h 406"/>
                  <a:gd name="T48" fmla="*/ 41165 w 518"/>
                  <a:gd name="T49" fmla="*/ 126562 h 406"/>
                  <a:gd name="T50" fmla="*/ 47876 w 518"/>
                  <a:gd name="T51" fmla="*/ 122840 h 406"/>
                  <a:gd name="T52" fmla="*/ 54588 w 518"/>
                  <a:gd name="T53" fmla="*/ 115927 h 406"/>
                  <a:gd name="T54" fmla="*/ 60852 w 518"/>
                  <a:gd name="T55" fmla="*/ 103696 h 406"/>
                  <a:gd name="T56" fmla="*/ 67116 w 518"/>
                  <a:gd name="T57" fmla="*/ 82957 h 406"/>
                  <a:gd name="T58" fmla="*/ 72486 w 518"/>
                  <a:gd name="T59" fmla="*/ 62217 h 406"/>
                  <a:gd name="T60" fmla="*/ 76960 w 518"/>
                  <a:gd name="T61" fmla="*/ 49987 h 406"/>
                  <a:gd name="T62" fmla="*/ 83224 w 518"/>
                  <a:gd name="T63" fmla="*/ 38819 h 406"/>
                  <a:gd name="T64" fmla="*/ 89936 w 518"/>
                  <a:gd name="T65" fmla="*/ 32970 h 406"/>
                  <a:gd name="T66" fmla="*/ 95305 w 518"/>
                  <a:gd name="T67" fmla="*/ 30311 h 406"/>
                  <a:gd name="T68" fmla="*/ 97990 w 518"/>
                  <a:gd name="T69" fmla="*/ 23398 h 406"/>
                  <a:gd name="T70" fmla="*/ 99780 w 518"/>
                  <a:gd name="T71" fmla="*/ 14890 h 406"/>
                  <a:gd name="T72" fmla="*/ 102017 w 518"/>
                  <a:gd name="T73" fmla="*/ 8508 h 406"/>
                  <a:gd name="T74" fmla="*/ 106939 w 518"/>
                  <a:gd name="T75" fmla="*/ 4254 h 406"/>
                  <a:gd name="T76" fmla="*/ 228643 w 518"/>
                  <a:gd name="T77" fmla="*/ 0 h 406"/>
                  <a:gd name="T78" fmla="*/ 230433 w 518"/>
                  <a:gd name="T79" fmla="*/ 24462 h 406"/>
                  <a:gd name="T80" fmla="*/ 231775 w 518"/>
                  <a:gd name="T81" fmla="*/ 58495 h 40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518" h="406">
                    <a:moveTo>
                      <a:pt x="518" y="110"/>
                    </a:moveTo>
                    <a:lnTo>
                      <a:pt x="326" y="110"/>
                    </a:lnTo>
                    <a:lnTo>
                      <a:pt x="312" y="104"/>
                    </a:lnTo>
                    <a:lnTo>
                      <a:pt x="326" y="259"/>
                    </a:lnTo>
                    <a:lnTo>
                      <a:pt x="323" y="261"/>
                    </a:lnTo>
                    <a:lnTo>
                      <a:pt x="315" y="264"/>
                    </a:lnTo>
                    <a:lnTo>
                      <a:pt x="304" y="267"/>
                    </a:lnTo>
                    <a:lnTo>
                      <a:pt x="291" y="271"/>
                    </a:lnTo>
                    <a:lnTo>
                      <a:pt x="263" y="277"/>
                    </a:lnTo>
                    <a:lnTo>
                      <a:pt x="246" y="283"/>
                    </a:lnTo>
                    <a:lnTo>
                      <a:pt x="250" y="292"/>
                    </a:lnTo>
                    <a:lnTo>
                      <a:pt x="253" y="302"/>
                    </a:lnTo>
                    <a:lnTo>
                      <a:pt x="258" y="314"/>
                    </a:lnTo>
                    <a:lnTo>
                      <a:pt x="265" y="326"/>
                    </a:lnTo>
                    <a:lnTo>
                      <a:pt x="267" y="335"/>
                    </a:lnTo>
                    <a:lnTo>
                      <a:pt x="269" y="353"/>
                    </a:lnTo>
                    <a:lnTo>
                      <a:pt x="271" y="373"/>
                    </a:lnTo>
                    <a:lnTo>
                      <a:pt x="272" y="382"/>
                    </a:lnTo>
                    <a:lnTo>
                      <a:pt x="67" y="382"/>
                    </a:lnTo>
                    <a:lnTo>
                      <a:pt x="52" y="394"/>
                    </a:lnTo>
                    <a:lnTo>
                      <a:pt x="39" y="406"/>
                    </a:lnTo>
                    <a:lnTo>
                      <a:pt x="22" y="406"/>
                    </a:lnTo>
                    <a:lnTo>
                      <a:pt x="10" y="404"/>
                    </a:lnTo>
                    <a:lnTo>
                      <a:pt x="5" y="403"/>
                    </a:lnTo>
                    <a:lnTo>
                      <a:pt x="2" y="401"/>
                    </a:lnTo>
                    <a:lnTo>
                      <a:pt x="1" y="398"/>
                    </a:lnTo>
                    <a:lnTo>
                      <a:pt x="0" y="394"/>
                    </a:lnTo>
                    <a:lnTo>
                      <a:pt x="1" y="385"/>
                    </a:lnTo>
                    <a:lnTo>
                      <a:pt x="2" y="378"/>
                    </a:lnTo>
                    <a:lnTo>
                      <a:pt x="4" y="371"/>
                    </a:lnTo>
                    <a:lnTo>
                      <a:pt x="6" y="365"/>
                    </a:lnTo>
                    <a:lnTo>
                      <a:pt x="11" y="354"/>
                    </a:lnTo>
                    <a:lnTo>
                      <a:pt x="13" y="344"/>
                    </a:lnTo>
                    <a:lnTo>
                      <a:pt x="20" y="341"/>
                    </a:lnTo>
                    <a:lnTo>
                      <a:pt x="26" y="337"/>
                    </a:lnTo>
                    <a:lnTo>
                      <a:pt x="30" y="334"/>
                    </a:lnTo>
                    <a:lnTo>
                      <a:pt x="35" y="330"/>
                    </a:lnTo>
                    <a:lnTo>
                      <a:pt x="38" y="326"/>
                    </a:lnTo>
                    <a:lnTo>
                      <a:pt x="41" y="321"/>
                    </a:lnTo>
                    <a:lnTo>
                      <a:pt x="44" y="317"/>
                    </a:lnTo>
                    <a:lnTo>
                      <a:pt x="46" y="313"/>
                    </a:lnTo>
                    <a:lnTo>
                      <a:pt x="49" y="292"/>
                    </a:lnTo>
                    <a:lnTo>
                      <a:pt x="52" y="271"/>
                    </a:lnTo>
                    <a:lnTo>
                      <a:pt x="56" y="265"/>
                    </a:lnTo>
                    <a:lnTo>
                      <a:pt x="59" y="261"/>
                    </a:lnTo>
                    <a:lnTo>
                      <a:pt x="62" y="257"/>
                    </a:lnTo>
                    <a:lnTo>
                      <a:pt x="66" y="253"/>
                    </a:lnTo>
                    <a:lnTo>
                      <a:pt x="74" y="246"/>
                    </a:lnTo>
                    <a:lnTo>
                      <a:pt x="83" y="242"/>
                    </a:lnTo>
                    <a:lnTo>
                      <a:pt x="92" y="238"/>
                    </a:lnTo>
                    <a:lnTo>
                      <a:pt x="100" y="235"/>
                    </a:lnTo>
                    <a:lnTo>
                      <a:pt x="107" y="231"/>
                    </a:lnTo>
                    <a:lnTo>
                      <a:pt x="113" y="227"/>
                    </a:lnTo>
                    <a:lnTo>
                      <a:pt x="122" y="218"/>
                    </a:lnTo>
                    <a:lnTo>
                      <a:pt x="129" y="207"/>
                    </a:lnTo>
                    <a:lnTo>
                      <a:pt x="136" y="195"/>
                    </a:lnTo>
                    <a:lnTo>
                      <a:pt x="141" y="182"/>
                    </a:lnTo>
                    <a:lnTo>
                      <a:pt x="150" y="156"/>
                    </a:lnTo>
                    <a:lnTo>
                      <a:pt x="158" y="129"/>
                    </a:lnTo>
                    <a:lnTo>
                      <a:pt x="162" y="117"/>
                    </a:lnTo>
                    <a:lnTo>
                      <a:pt x="168" y="105"/>
                    </a:lnTo>
                    <a:lnTo>
                      <a:pt x="172" y="94"/>
                    </a:lnTo>
                    <a:lnTo>
                      <a:pt x="179" y="83"/>
                    </a:lnTo>
                    <a:lnTo>
                      <a:pt x="186" y="73"/>
                    </a:lnTo>
                    <a:lnTo>
                      <a:pt x="195" y="66"/>
                    </a:lnTo>
                    <a:lnTo>
                      <a:pt x="201" y="62"/>
                    </a:lnTo>
                    <a:lnTo>
                      <a:pt x="206" y="59"/>
                    </a:lnTo>
                    <a:lnTo>
                      <a:pt x="213" y="57"/>
                    </a:lnTo>
                    <a:lnTo>
                      <a:pt x="219" y="55"/>
                    </a:lnTo>
                    <a:lnTo>
                      <a:pt x="219" y="44"/>
                    </a:lnTo>
                    <a:lnTo>
                      <a:pt x="220" y="36"/>
                    </a:lnTo>
                    <a:lnTo>
                      <a:pt x="223" y="28"/>
                    </a:lnTo>
                    <a:lnTo>
                      <a:pt x="225" y="21"/>
                    </a:lnTo>
                    <a:lnTo>
                      <a:pt x="228" y="16"/>
                    </a:lnTo>
                    <a:lnTo>
                      <a:pt x="233" y="11"/>
                    </a:lnTo>
                    <a:lnTo>
                      <a:pt x="239" y="8"/>
                    </a:lnTo>
                    <a:lnTo>
                      <a:pt x="246" y="6"/>
                    </a:lnTo>
                    <a:lnTo>
                      <a:pt x="511" y="0"/>
                    </a:lnTo>
                    <a:lnTo>
                      <a:pt x="513" y="13"/>
                    </a:lnTo>
                    <a:lnTo>
                      <a:pt x="515" y="46"/>
                    </a:lnTo>
                    <a:lnTo>
                      <a:pt x="517" y="83"/>
                    </a:lnTo>
                    <a:lnTo>
                      <a:pt x="518" y="110"/>
                    </a:lnTo>
                  </a:path>
                </a:pathLst>
              </a:custGeom>
              <a:grpFill/>
              <a:ln w="9525" cmpd="sng">
                <a:solidFill>
                  <a:srgbClr val="FFFFFF"/>
                </a:solidFill>
                <a:prstDash val="solid"/>
                <a:round/>
                <a:headEnd/>
                <a:tailEnd/>
              </a:ln>
            </p:spPr>
            <p:txBody>
              <a:bodyPr/>
              <a:lstStyle/>
              <a:p>
                <a:endParaRPr lang="en-GB" sz="1637"/>
              </a:p>
            </p:txBody>
          </p:sp>
          <p:sp>
            <p:nvSpPr>
              <p:cNvPr id="93" name="Freeform 242"/>
              <p:cNvSpPr>
                <a:spLocks/>
              </p:cNvSpPr>
              <p:nvPr>
                <p:custDataLst>
                  <p:tags r:id="rId76"/>
                </p:custDataLst>
              </p:nvPr>
            </p:nvSpPr>
            <p:spPr bwMode="auto">
              <a:xfrm>
                <a:off x="4267857" y="1947390"/>
                <a:ext cx="15597" cy="64475"/>
              </a:xfrm>
              <a:custGeom>
                <a:avLst/>
                <a:gdLst>
                  <a:gd name="T0" fmla="*/ 0 w 28"/>
                  <a:gd name="T1" fmla="*/ 57150 h 73"/>
                  <a:gd name="T2" fmla="*/ 1021 w 28"/>
                  <a:gd name="T3" fmla="*/ 36795 h 73"/>
                  <a:gd name="T4" fmla="*/ 3062 w 28"/>
                  <a:gd name="T5" fmla="*/ 21921 h 73"/>
                  <a:gd name="T6" fmla="*/ 3572 w 28"/>
                  <a:gd name="T7" fmla="*/ 15658 h 73"/>
                  <a:gd name="T8" fmla="*/ 3062 w 28"/>
                  <a:gd name="T9" fmla="*/ 10177 h 73"/>
                  <a:gd name="T10" fmla="*/ 2041 w 28"/>
                  <a:gd name="T11" fmla="*/ 5480 h 73"/>
                  <a:gd name="T12" fmla="*/ 0 w 28"/>
                  <a:gd name="T13" fmla="*/ 0 h 73"/>
                  <a:gd name="T14" fmla="*/ 14288 w 28"/>
                  <a:gd name="T15" fmla="*/ 0 h 73"/>
                  <a:gd name="T16" fmla="*/ 11226 w 28"/>
                  <a:gd name="T17" fmla="*/ 12526 h 73"/>
                  <a:gd name="T18" fmla="*/ 8675 w 28"/>
                  <a:gd name="T19" fmla="*/ 23486 h 73"/>
                  <a:gd name="T20" fmla="*/ 6123 w 28"/>
                  <a:gd name="T21" fmla="*/ 33664 h 73"/>
                  <a:gd name="T22" fmla="*/ 3572 w 28"/>
                  <a:gd name="T23" fmla="*/ 43058 h 73"/>
                  <a:gd name="T24" fmla="*/ 0 w 28"/>
                  <a:gd name="T25" fmla="*/ 57150 h 7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8" h="73">
                    <a:moveTo>
                      <a:pt x="0" y="73"/>
                    </a:moveTo>
                    <a:lnTo>
                      <a:pt x="2" y="47"/>
                    </a:lnTo>
                    <a:lnTo>
                      <a:pt x="6" y="28"/>
                    </a:lnTo>
                    <a:lnTo>
                      <a:pt x="7" y="20"/>
                    </a:lnTo>
                    <a:lnTo>
                      <a:pt x="6" y="13"/>
                    </a:lnTo>
                    <a:lnTo>
                      <a:pt x="4" y="7"/>
                    </a:lnTo>
                    <a:lnTo>
                      <a:pt x="0" y="0"/>
                    </a:lnTo>
                    <a:lnTo>
                      <a:pt x="28" y="0"/>
                    </a:lnTo>
                    <a:lnTo>
                      <a:pt x="22" y="16"/>
                    </a:lnTo>
                    <a:lnTo>
                      <a:pt x="17" y="30"/>
                    </a:lnTo>
                    <a:lnTo>
                      <a:pt x="12" y="43"/>
                    </a:lnTo>
                    <a:lnTo>
                      <a:pt x="7" y="55"/>
                    </a:lnTo>
                    <a:lnTo>
                      <a:pt x="0" y="73"/>
                    </a:lnTo>
                  </a:path>
                </a:pathLst>
              </a:custGeom>
              <a:grpFill/>
              <a:ln w="9525" cap="flat" cmpd="sng">
                <a:solidFill>
                  <a:srgbClr val="FFFFFF"/>
                </a:solidFill>
                <a:prstDash val="solid"/>
                <a:round/>
                <a:headEnd type="none" w="med" len="med"/>
                <a:tailEnd type="none" w="med" len="med"/>
              </a:ln>
              <a:effectLst/>
            </p:spPr>
            <p:txBody>
              <a:bodyPr/>
              <a:lstStyle/>
              <a:p>
                <a:endParaRPr lang="en-GB" sz="1637"/>
              </a:p>
            </p:txBody>
          </p:sp>
          <p:sp>
            <p:nvSpPr>
              <p:cNvPr id="94" name="Freeform 244"/>
              <p:cNvSpPr>
                <a:spLocks/>
              </p:cNvSpPr>
              <p:nvPr>
                <p:custDataLst>
                  <p:tags r:id="rId77"/>
                </p:custDataLst>
              </p:nvPr>
            </p:nvSpPr>
            <p:spPr bwMode="auto">
              <a:xfrm>
                <a:off x="4295585" y="1922316"/>
                <a:ext cx="29461" cy="64475"/>
              </a:xfrm>
              <a:custGeom>
                <a:avLst/>
                <a:gdLst>
                  <a:gd name="T0" fmla="*/ 0 w 60"/>
                  <a:gd name="T1" fmla="*/ 41462 h 51"/>
                  <a:gd name="T2" fmla="*/ 2699 w 60"/>
                  <a:gd name="T3" fmla="*/ 33618 h 51"/>
                  <a:gd name="T4" fmla="*/ 6747 w 60"/>
                  <a:gd name="T5" fmla="*/ 21291 h 51"/>
                  <a:gd name="T6" fmla="*/ 8996 w 60"/>
                  <a:gd name="T7" fmla="*/ 14568 h 51"/>
                  <a:gd name="T8" fmla="*/ 12145 w 60"/>
                  <a:gd name="T9" fmla="*/ 8965 h 51"/>
                  <a:gd name="T10" fmla="*/ 14843 w 60"/>
                  <a:gd name="T11" fmla="*/ 4482 h 51"/>
                  <a:gd name="T12" fmla="*/ 17992 w 60"/>
                  <a:gd name="T13" fmla="*/ 0 h 51"/>
                  <a:gd name="T14" fmla="*/ 22490 w 60"/>
                  <a:gd name="T15" fmla="*/ 7844 h 51"/>
                  <a:gd name="T16" fmla="*/ 26988 w 60"/>
                  <a:gd name="T17" fmla="*/ 14568 h 51"/>
                  <a:gd name="T18" fmla="*/ 26538 w 60"/>
                  <a:gd name="T19" fmla="*/ 22412 h 51"/>
                  <a:gd name="T20" fmla="*/ 25189 w 60"/>
                  <a:gd name="T21" fmla="*/ 32497 h 51"/>
                  <a:gd name="T22" fmla="*/ 24289 w 60"/>
                  <a:gd name="T23" fmla="*/ 38100 h 51"/>
                  <a:gd name="T24" fmla="*/ 23390 w 60"/>
                  <a:gd name="T25" fmla="*/ 42582 h 51"/>
                  <a:gd name="T26" fmla="*/ 22040 w 60"/>
                  <a:gd name="T27" fmla="*/ 47065 h 51"/>
                  <a:gd name="T28" fmla="*/ 20241 w 60"/>
                  <a:gd name="T29" fmla="*/ 50426 h 51"/>
                  <a:gd name="T30" fmla="*/ 18442 w 60"/>
                  <a:gd name="T31" fmla="*/ 53788 h 51"/>
                  <a:gd name="T32" fmla="*/ 16643 w 60"/>
                  <a:gd name="T33" fmla="*/ 56029 h 51"/>
                  <a:gd name="T34" fmla="*/ 13944 w 60"/>
                  <a:gd name="T35" fmla="*/ 57150 h 51"/>
                  <a:gd name="T36" fmla="*/ 12145 w 60"/>
                  <a:gd name="T37" fmla="*/ 57150 h 51"/>
                  <a:gd name="T38" fmla="*/ 8996 w 60"/>
                  <a:gd name="T39" fmla="*/ 56029 h 51"/>
                  <a:gd name="T40" fmla="*/ 6747 w 60"/>
                  <a:gd name="T41" fmla="*/ 52668 h 51"/>
                  <a:gd name="T42" fmla="*/ 3149 w 60"/>
                  <a:gd name="T43" fmla="*/ 48185 h 51"/>
                  <a:gd name="T44" fmla="*/ 0 w 60"/>
                  <a:gd name="T45" fmla="*/ 41462 h 5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0" h="51">
                    <a:moveTo>
                      <a:pt x="0" y="37"/>
                    </a:moveTo>
                    <a:lnTo>
                      <a:pt x="6" y="30"/>
                    </a:lnTo>
                    <a:lnTo>
                      <a:pt x="15" y="19"/>
                    </a:lnTo>
                    <a:lnTo>
                      <a:pt x="20" y="13"/>
                    </a:lnTo>
                    <a:lnTo>
                      <a:pt x="27" y="8"/>
                    </a:lnTo>
                    <a:lnTo>
                      <a:pt x="33" y="4"/>
                    </a:lnTo>
                    <a:lnTo>
                      <a:pt x="40" y="0"/>
                    </a:lnTo>
                    <a:lnTo>
                      <a:pt x="50" y="7"/>
                    </a:lnTo>
                    <a:lnTo>
                      <a:pt x="60" y="13"/>
                    </a:lnTo>
                    <a:lnTo>
                      <a:pt x="59" y="20"/>
                    </a:lnTo>
                    <a:lnTo>
                      <a:pt x="56" y="29"/>
                    </a:lnTo>
                    <a:lnTo>
                      <a:pt x="54" y="34"/>
                    </a:lnTo>
                    <a:lnTo>
                      <a:pt x="52" y="38"/>
                    </a:lnTo>
                    <a:lnTo>
                      <a:pt x="49" y="42"/>
                    </a:lnTo>
                    <a:lnTo>
                      <a:pt x="45" y="45"/>
                    </a:lnTo>
                    <a:lnTo>
                      <a:pt x="41" y="48"/>
                    </a:lnTo>
                    <a:lnTo>
                      <a:pt x="37" y="50"/>
                    </a:lnTo>
                    <a:lnTo>
                      <a:pt x="31" y="51"/>
                    </a:lnTo>
                    <a:lnTo>
                      <a:pt x="27" y="51"/>
                    </a:lnTo>
                    <a:lnTo>
                      <a:pt x="20" y="50"/>
                    </a:lnTo>
                    <a:lnTo>
                      <a:pt x="15" y="47"/>
                    </a:lnTo>
                    <a:lnTo>
                      <a:pt x="7" y="43"/>
                    </a:lnTo>
                    <a:lnTo>
                      <a:pt x="0" y="37"/>
                    </a:lnTo>
                  </a:path>
                </a:pathLst>
              </a:custGeom>
              <a:grpFill/>
              <a:ln w="9525" cap="flat" cmpd="sng">
                <a:solidFill>
                  <a:srgbClr val="FFFFFF"/>
                </a:solidFill>
                <a:prstDash val="solid"/>
                <a:round/>
                <a:headEnd type="none" w="med" len="med"/>
                <a:tailEnd type="none" w="med" len="med"/>
              </a:ln>
              <a:effectLst/>
            </p:spPr>
            <p:txBody>
              <a:bodyPr/>
              <a:lstStyle/>
              <a:p>
                <a:endParaRPr lang="en-GB" sz="1637"/>
              </a:p>
            </p:txBody>
          </p:sp>
          <p:sp>
            <p:nvSpPr>
              <p:cNvPr id="95" name="Freeform 247"/>
              <p:cNvSpPr>
                <a:spLocks/>
              </p:cNvSpPr>
              <p:nvPr>
                <p:custDataLst>
                  <p:tags r:id="rId78"/>
                </p:custDataLst>
              </p:nvPr>
            </p:nvSpPr>
            <p:spPr bwMode="auto">
              <a:xfrm>
                <a:off x="4300784" y="3595078"/>
                <a:ext cx="355260" cy="275809"/>
              </a:xfrm>
              <a:custGeom>
                <a:avLst/>
                <a:gdLst>
                  <a:gd name="T0" fmla="*/ 42752 w 746"/>
                  <a:gd name="T1" fmla="*/ 235613 h 469"/>
                  <a:gd name="T2" fmla="*/ 23557 w 746"/>
                  <a:gd name="T3" fmla="*/ 229358 h 469"/>
                  <a:gd name="T4" fmla="*/ 9161 w 746"/>
                  <a:gd name="T5" fmla="*/ 223624 h 469"/>
                  <a:gd name="T6" fmla="*/ 2181 w 746"/>
                  <a:gd name="T7" fmla="*/ 215284 h 469"/>
                  <a:gd name="T8" fmla="*/ 0 w 746"/>
                  <a:gd name="T9" fmla="*/ 189221 h 469"/>
                  <a:gd name="T10" fmla="*/ 2181 w 746"/>
                  <a:gd name="T11" fmla="*/ 161072 h 469"/>
                  <a:gd name="T12" fmla="*/ 10034 w 746"/>
                  <a:gd name="T13" fmla="*/ 142306 h 469"/>
                  <a:gd name="T14" fmla="*/ 24430 w 746"/>
                  <a:gd name="T15" fmla="*/ 118849 h 469"/>
                  <a:gd name="T16" fmla="*/ 52785 w 746"/>
                  <a:gd name="T17" fmla="*/ 106339 h 469"/>
                  <a:gd name="T18" fmla="*/ 72416 w 746"/>
                  <a:gd name="T19" fmla="*/ 97999 h 469"/>
                  <a:gd name="T20" fmla="*/ 102517 w 746"/>
                  <a:gd name="T21" fmla="*/ 90179 h 469"/>
                  <a:gd name="T22" fmla="*/ 114296 w 746"/>
                  <a:gd name="T23" fmla="*/ 79754 h 469"/>
                  <a:gd name="T24" fmla="*/ 116477 w 746"/>
                  <a:gd name="T25" fmla="*/ 70893 h 469"/>
                  <a:gd name="T26" fmla="*/ 127383 w 746"/>
                  <a:gd name="T27" fmla="*/ 62552 h 469"/>
                  <a:gd name="T28" fmla="*/ 144833 w 746"/>
                  <a:gd name="T29" fmla="*/ 59946 h 469"/>
                  <a:gd name="T30" fmla="*/ 156611 w 746"/>
                  <a:gd name="T31" fmla="*/ 52648 h 469"/>
                  <a:gd name="T32" fmla="*/ 169698 w 746"/>
                  <a:gd name="T33" fmla="*/ 34925 h 469"/>
                  <a:gd name="T34" fmla="*/ 185403 w 746"/>
                  <a:gd name="T35" fmla="*/ 11468 h 469"/>
                  <a:gd name="T36" fmla="*/ 196309 w 746"/>
                  <a:gd name="T37" fmla="*/ 3128 h 469"/>
                  <a:gd name="T38" fmla="*/ 212014 w 746"/>
                  <a:gd name="T39" fmla="*/ 0 h 469"/>
                  <a:gd name="T40" fmla="*/ 221175 w 746"/>
                  <a:gd name="T41" fmla="*/ 15117 h 469"/>
                  <a:gd name="T42" fmla="*/ 232081 w 746"/>
                  <a:gd name="T43" fmla="*/ 27627 h 469"/>
                  <a:gd name="T44" fmla="*/ 241242 w 746"/>
                  <a:gd name="T45" fmla="*/ 55776 h 469"/>
                  <a:gd name="T46" fmla="*/ 252584 w 746"/>
                  <a:gd name="T47" fmla="*/ 82882 h 469"/>
                  <a:gd name="T48" fmla="*/ 267417 w 746"/>
                  <a:gd name="T49" fmla="*/ 89658 h 469"/>
                  <a:gd name="T50" fmla="*/ 273960 w 746"/>
                  <a:gd name="T51" fmla="*/ 100605 h 469"/>
                  <a:gd name="T52" fmla="*/ 283558 w 746"/>
                  <a:gd name="T53" fmla="*/ 121456 h 469"/>
                  <a:gd name="T54" fmla="*/ 306242 w 746"/>
                  <a:gd name="T55" fmla="*/ 145434 h 469"/>
                  <a:gd name="T56" fmla="*/ 323256 w 746"/>
                  <a:gd name="T57" fmla="*/ 164200 h 469"/>
                  <a:gd name="T58" fmla="*/ 310169 w 746"/>
                  <a:gd name="T59" fmla="*/ 179838 h 469"/>
                  <a:gd name="T60" fmla="*/ 301444 w 746"/>
                  <a:gd name="T61" fmla="*/ 178274 h 469"/>
                  <a:gd name="T62" fmla="*/ 296209 w 746"/>
                  <a:gd name="T63" fmla="*/ 167327 h 469"/>
                  <a:gd name="T64" fmla="*/ 283994 w 746"/>
                  <a:gd name="T65" fmla="*/ 172019 h 469"/>
                  <a:gd name="T66" fmla="*/ 278759 w 746"/>
                  <a:gd name="T67" fmla="*/ 183487 h 469"/>
                  <a:gd name="T68" fmla="*/ 263491 w 746"/>
                  <a:gd name="T69" fmla="*/ 185572 h 469"/>
                  <a:gd name="T70" fmla="*/ 241242 w 746"/>
                  <a:gd name="T71" fmla="*/ 185572 h 469"/>
                  <a:gd name="T72" fmla="*/ 227719 w 746"/>
                  <a:gd name="T73" fmla="*/ 190263 h 469"/>
                  <a:gd name="T74" fmla="*/ 216376 w 746"/>
                  <a:gd name="T75" fmla="*/ 201731 h 469"/>
                  <a:gd name="T76" fmla="*/ 212014 w 746"/>
                  <a:gd name="T77" fmla="*/ 205380 h 469"/>
                  <a:gd name="T78" fmla="*/ 185839 w 746"/>
                  <a:gd name="T79" fmla="*/ 208507 h 469"/>
                  <a:gd name="T80" fmla="*/ 172752 w 746"/>
                  <a:gd name="T81" fmla="*/ 204337 h 469"/>
                  <a:gd name="T82" fmla="*/ 152249 w 746"/>
                  <a:gd name="T83" fmla="*/ 184529 h 469"/>
                  <a:gd name="T84" fmla="*/ 139161 w 746"/>
                  <a:gd name="T85" fmla="*/ 179838 h 469"/>
                  <a:gd name="T86" fmla="*/ 126947 w 746"/>
                  <a:gd name="T87" fmla="*/ 185050 h 469"/>
                  <a:gd name="T88" fmla="*/ 116041 w 746"/>
                  <a:gd name="T89" fmla="*/ 196518 h 469"/>
                  <a:gd name="T90" fmla="*/ 99027 w 746"/>
                  <a:gd name="T91" fmla="*/ 227794 h 469"/>
                  <a:gd name="T92" fmla="*/ 65436 w 746"/>
                  <a:gd name="T93" fmla="*/ 228837 h 469"/>
                  <a:gd name="T94" fmla="*/ 58893 w 746"/>
                  <a:gd name="T95" fmla="*/ 233528 h 46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46" h="469">
                    <a:moveTo>
                      <a:pt x="114" y="469"/>
                    </a:moveTo>
                    <a:lnTo>
                      <a:pt x="109" y="463"/>
                    </a:lnTo>
                    <a:lnTo>
                      <a:pt x="103" y="456"/>
                    </a:lnTo>
                    <a:lnTo>
                      <a:pt x="98" y="452"/>
                    </a:lnTo>
                    <a:lnTo>
                      <a:pt x="92" y="449"/>
                    </a:lnTo>
                    <a:lnTo>
                      <a:pt x="79" y="445"/>
                    </a:lnTo>
                    <a:lnTo>
                      <a:pt x="67" y="442"/>
                    </a:lnTo>
                    <a:lnTo>
                      <a:pt x="54" y="440"/>
                    </a:lnTo>
                    <a:lnTo>
                      <a:pt x="39" y="437"/>
                    </a:lnTo>
                    <a:lnTo>
                      <a:pt x="33" y="435"/>
                    </a:lnTo>
                    <a:lnTo>
                      <a:pt x="26" y="433"/>
                    </a:lnTo>
                    <a:lnTo>
                      <a:pt x="21" y="429"/>
                    </a:lnTo>
                    <a:lnTo>
                      <a:pt x="14" y="425"/>
                    </a:lnTo>
                    <a:lnTo>
                      <a:pt x="11" y="422"/>
                    </a:lnTo>
                    <a:lnTo>
                      <a:pt x="8" y="418"/>
                    </a:lnTo>
                    <a:lnTo>
                      <a:pt x="5" y="413"/>
                    </a:lnTo>
                    <a:lnTo>
                      <a:pt x="3" y="408"/>
                    </a:lnTo>
                    <a:lnTo>
                      <a:pt x="1" y="396"/>
                    </a:lnTo>
                    <a:lnTo>
                      <a:pt x="0" y="385"/>
                    </a:lnTo>
                    <a:lnTo>
                      <a:pt x="0" y="363"/>
                    </a:lnTo>
                    <a:lnTo>
                      <a:pt x="1" y="345"/>
                    </a:lnTo>
                    <a:lnTo>
                      <a:pt x="1" y="332"/>
                    </a:lnTo>
                    <a:lnTo>
                      <a:pt x="3" y="320"/>
                    </a:lnTo>
                    <a:lnTo>
                      <a:pt x="5" y="309"/>
                    </a:lnTo>
                    <a:lnTo>
                      <a:pt x="10" y="299"/>
                    </a:lnTo>
                    <a:lnTo>
                      <a:pt x="13" y="289"/>
                    </a:lnTo>
                    <a:lnTo>
                      <a:pt x="19" y="281"/>
                    </a:lnTo>
                    <a:lnTo>
                      <a:pt x="23" y="273"/>
                    </a:lnTo>
                    <a:lnTo>
                      <a:pt x="30" y="265"/>
                    </a:lnTo>
                    <a:lnTo>
                      <a:pt x="41" y="251"/>
                    </a:lnTo>
                    <a:lnTo>
                      <a:pt x="52" y="236"/>
                    </a:lnTo>
                    <a:lnTo>
                      <a:pt x="56" y="228"/>
                    </a:lnTo>
                    <a:lnTo>
                      <a:pt x="60" y="220"/>
                    </a:lnTo>
                    <a:lnTo>
                      <a:pt x="65" y="212"/>
                    </a:lnTo>
                    <a:lnTo>
                      <a:pt x="67" y="204"/>
                    </a:lnTo>
                    <a:lnTo>
                      <a:pt x="121" y="204"/>
                    </a:lnTo>
                    <a:lnTo>
                      <a:pt x="131" y="198"/>
                    </a:lnTo>
                    <a:lnTo>
                      <a:pt x="142" y="194"/>
                    </a:lnTo>
                    <a:lnTo>
                      <a:pt x="154" y="191"/>
                    </a:lnTo>
                    <a:lnTo>
                      <a:pt x="166" y="188"/>
                    </a:lnTo>
                    <a:lnTo>
                      <a:pt x="190" y="184"/>
                    </a:lnTo>
                    <a:lnTo>
                      <a:pt x="213" y="178"/>
                    </a:lnTo>
                    <a:lnTo>
                      <a:pt x="224" y="176"/>
                    </a:lnTo>
                    <a:lnTo>
                      <a:pt x="235" y="173"/>
                    </a:lnTo>
                    <a:lnTo>
                      <a:pt x="244" y="170"/>
                    </a:lnTo>
                    <a:lnTo>
                      <a:pt x="251" y="165"/>
                    </a:lnTo>
                    <a:lnTo>
                      <a:pt x="258" y="160"/>
                    </a:lnTo>
                    <a:lnTo>
                      <a:pt x="262" y="153"/>
                    </a:lnTo>
                    <a:lnTo>
                      <a:pt x="265" y="150"/>
                    </a:lnTo>
                    <a:lnTo>
                      <a:pt x="266" y="145"/>
                    </a:lnTo>
                    <a:lnTo>
                      <a:pt x="267" y="141"/>
                    </a:lnTo>
                    <a:lnTo>
                      <a:pt x="267" y="136"/>
                    </a:lnTo>
                    <a:lnTo>
                      <a:pt x="267" y="126"/>
                    </a:lnTo>
                    <a:lnTo>
                      <a:pt x="267" y="117"/>
                    </a:lnTo>
                    <a:lnTo>
                      <a:pt x="280" y="119"/>
                    </a:lnTo>
                    <a:lnTo>
                      <a:pt x="292" y="120"/>
                    </a:lnTo>
                    <a:lnTo>
                      <a:pt x="303" y="120"/>
                    </a:lnTo>
                    <a:lnTo>
                      <a:pt x="313" y="119"/>
                    </a:lnTo>
                    <a:lnTo>
                      <a:pt x="323" y="117"/>
                    </a:lnTo>
                    <a:lnTo>
                      <a:pt x="332" y="115"/>
                    </a:lnTo>
                    <a:lnTo>
                      <a:pt x="339" y="112"/>
                    </a:lnTo>
                    <a:lnTo>
                      <a:pt x="347" y="109"/>
                    </a:lnTo>
                    <a:lnTo>
                      <a:pt x="354" y="105"/>
                    </a:lnTo>
                    <a:lnTo>
                      <a:pt x="359" y="101"/>
                    </a:lnTo>
                    <a:lnTo>
                      <a:pt x="366" y="96"/>
                    </a:lnTo>
                    <a:lnTo>
                      <a:pt x="370" y="91"/>
                    </a:lnTo>
                    <a:lnTo>
                      <a:pt x="380" y="80"/>
                    </a:lnTo>
                    <a:lnTo>
                      <a:pt x="389" y="67"/>
                    </a:lnTo>
                    <a:lnTo>
                      <a:pt x="397" y="56"/>
                    </a:lnTo>
                    <a:lnTo>
                      <a:pt x="405" y="44"/>
                    </a:lnTo>
                    <a:lnTo>
                      <a:pt x="414" y="32"/>
                    </a:lnTo>
                    <a:lnTo>
                      <a:pt x="425" y="22"/>
                    </a:lnTo>
                    <a:lnTo>
                      <a:pt x="430" y="18"/>
                    </a:lnTo>
                    <a:lnTo>
                      <a:pt x="436" y="13"/>
                    </a:lnTo>
                    <a:lnTo>
                      <a:pt x="442" y="9"/>
                    </a:lnTo>
                    <a:lnTo>
                      <a:pt x="450" y="6"/>
                    </a:lnTo>
                    <a:lnTo>
                      <a:pt x="458" y="3"/>
                    </a:lnTo>
                    <a:lnTo>
                      <a:pt x="467" y="1"/>
                    </a:lnTo>
                    <a:lnTo>
                      <a:pt x="475" y="0"/>
                    </a:lnTo>
                    <a:lnTo>
                      <a:pt x="486" y="0"/>
                    </a:lnTo>
                    <a:lnTo>
                      <a:pt x="486" y="6"/>
                    </a:lnTo>
                    <a:lnTo>
                      <a:pt x="492" y="14"/>
                    </a:lnTo>
                    <a:lnTo>
                      <a:pt x="498" y="22"/>
                    </a:lnTo>
                    <a:lnTo>
                      <a:pt x="507" y="29"/>
                    </a:lnTo>
                    <a:lnTo>
                      <a:pt x="515" y="35"/>
                    </a:lnTo>
                    <a:lnTo>
                      <a:pt x="523" y="41"/>
                    </a:lnTo>
                    <a:lnTo>
                      <a:pt x="530" y="49"/>
                    </a:lnTo>
                    <a:lnTo>
                      <a:pt x="532" y="53"/>
                    </a:lnTo>
                    <a:lnTo>
                      <a:pt x="536" y="57"/>
                    </a:lnTo>
                    <a:lnTo>
                      <a:pt x="538" y="62"/>
                    </a:lnTo>
                    <a:lnTo>
                      <a:pt x="539" y="67"/>
                    </a:lnTo>
                    <a:lnTo>
                      <a:pt x="553" y="107"/>
                    </a:lnTo>
                    <a:lnTo>
                      <a:pt x="564" y="141"/>
                    </a:lnTo>
                    <a:lnTo>
                      <a:pt x="569" y="148"/>
                    </a:lnTo>
                    <a:lnTo>
                      <a:pt x="573" y="154"/>
                    </a:lnTo>
                    <a:lnTo>
                      <a:pt x="579" y="159"/>
                    </a:lnTo>
                    <a:lnTo>
                      <a:pt x="585" y="164"/>
                    </a:lnTo>
                    <a:lnTo>
                      <a:pt x="593" y="168"/>
                    </a:lnTo>
                    <a:lnTo>
                      <a:pt x="602" y="170"/>
                    </a:lnTo>
                    <a:lnTo>
                      <a:pt x="613" y="172"/>
                    </a:lnTo>
                    <a:lnTo>
                      <a:pt x="626" y="172"/>
                    </a:lnTo>
                    <a:lnTo>
                      <a:pt x="626" y="179"/>
                    </a:lnTo>
                    <a:lnTo>
                      <a:pt x="627" y="187"/>
                    </a:lnTo>
                    <a:lnTo>
                      <a:pt x="628" y="193"/>
                    </a:lnTo>
                    <a:lnTo>
                      <a:pt x="630" y="199"/>
                    </a:lnTo>
                    <a:lnTo>
                      <a:pt x="636" y="211"/>
                    </a:lnTo>
                    <a:lnTo>
                      <a:pt x="642" y="222"/>
                    </a:lnTo>
                    <a:lnTo>
                      <a:pt x="650" y="233"/>
                    </a:lnTo>
                    <a:lnTo>
                      <a:pt x="660" y="244"/>
                    </a:lnTo>
                    <a:lnTo>
                      <a:pt x="670" y="254"/>
                    </a:lnTo>
                    <a:lnTo>
                      <a:pt x="681" y="263"/>
                    </a:lnTo>
                    <a:lnTo>
                      <a:pt x="702" y="279"/>
                    </a:lnTo>
                    <a:lnTo>
                      <a:pt x="720" y="294"/>
                    </a:lnTo>
                    <a:lnTo>
                      <a:pt x="729" y="302"/>
                    </a:lnTo>
                    <a:lnTo>
                      <a:pt x="736" y="309"/>
                    </a:lnTo>
                    <a:lnTo>
                      <a:pt x="741" y="315"/>
                    </a:lnTo>
                    <a:lnTo>
                      <a:pt x="746" y="321"/>
                    </a:lnTo>
                    <a:lnTo>
                      <a:pt x="738" y="345"/>
                    </a:lnTo>
                    <a:lnTo>
                      <a:pt x="728" y="345"/>
                    </a:lnTo>
                    <a:lnTo>
                      <a:pt x="711" y="345"/>
                    </a:lnTo>
                    <a:lnTo>
                      <a:pt x="706" y="345"/>
                    </a:lnTo>
                    <a:lnTo>
                      <a:pt x="700" y="344"/>
                    </a:lnTo>
                    <a:lnTo>
                      <a:pt x="695" y="343"/>
                    </a:lnTo>
                    <a:lnTo>
                      <a:pt x="691" y="342"/>
                    </a:lnTo>
                    <a:lnTo>
                      <a:pt x="685" y="339"/>
                    </a:lnTo>
                    <a:lnTo>
                      <a:pt x="682" y="335"/>
                    </a:lnTo>
                    <a:lnTo>
                      <a:pt x="680" y="329"/>
                    </a:lnTo>
                    <a:lnTo>
                      <a:pt x="679" y="321"/>
                    </a:lnTo>
                    <a:lnTo>
                      <a:pt x="666" y="321"/>
                    </a:lnTo>
                    <a:lnTo>
                      <a:pt x="659" y="321"/>
                    </a:lnTo>
                    <a:lnTo>
                      <a:pt x="654" y="325"/>
                    </a:lnTo>
                    <a:lnTo>
                      <a:pt x="651" y="330"/>
                    </a:lnTo>
                    <a:lnTo>
                      <a:pt x="648" y="334"/>
                    </a:lnTo>
                    <a:lnTo>
                      <a:pt x="647" y="338"/>
                    </a:lnTo>
                    <a:lnTo>
                      <a:pt x="642" y="345"/>
                    </a:lnTo>
                    <a:lnTo>
                      <a:pt x="639" y="352"/>
                    </a:lnTo>
                    <a:lnTo>
                      <a:pt x="630" y="354"/>
                    </a:lnTo>
                    <a:lnTo>
                      <a:pt x="621" y="355"/>
                    </a:lnTo>
                    <a:lnTo>
                      <a:pt x="613" y="355"/>
                    </a:lnTo>
                    <a:lnTo>
                      <a:pt x="604" y="356"/>
                    </a:lnTo>
                    <a:lnTo>
                      <a:pt x="586" y="355"/>
                    </a:lnTo>
                    <a:lnTo>
                      <a:pt x="570" y="355"/>
                    </a:lnTo>
                    <a:lnTo>
                      <a:pt x="561" y="355"/>
                    </a:lnTo>
                    <a:lnTo>
                      <a:pt x="553" y="356"/>
                    </a:lnTo>
                    <a:lnTo>
                      <a:pt x="545" y="357"/>
                    </a:lnTo>
                    <a:lnTo>
                      <a:pt x="537" y="359"/>
                    </a:lnTo>
                    <a:lnTo>
                      <a:pt x="529" y="361"/>
                    </a:lnTo>
                    <a:lnTo>
                      <a:pt x="522" y="365"/>
                    </a:lnTo>
                    <a:lnTo>
                      <a:pt x="514" y="370"/>
                    </a:lnTo>
                    <a:lnTo>
                      <a:pt x="506" y="376"/>
                    </a:lnTo>
                    <a:lnTo>
                      <a:pt x="501" y="381"/>
                    </a:lnTo>
                    <a:lnTo>
                      <a:pt x="496" y="387"/>
                    </a:lnTo>
                    <a:lnTo>
                      <a:pt x="493" y="390"/>
                    </a:lnTo>
                    <a:lnTo>
                      <a:pt x="491" y="392"/>
                    </a:lnTo>
                    <a:lnTo>
                      <a:pt x="489" y="394"/>
                    </a:lnTo>
                    <a:lnTo>
                      <a:pt x="486" y="394"/>
                    </a:lnTo>
                    <a:lnTo>
                      <a:pt x="466" y="395"/>
                    </a:lnTo>
                    <a:lnTo>
                      <a:pt x="451" y="397"/>
                    </a:lnTo>
                    <a:lnTo>
                      <a:pt x="439" y="399"/>
                    </a:lnTo>
                    <a:lnTo>
                      <a:pt x="426" y="400"/>
                    </a:lnTo>
                    <a:lnTo>
                      <a:pt x="417" y="400"/>
                    </a:lnTo>
                    <a:lnTo>
                      <a:pt x="410" y="398"/>
                    </a:lnTo>
                    <a:lnTo>
                      <a:pt x="403" y="395"/>
                    </a:lnTo>
                    <a:lnTo>
                      <a:pt x="396" y="392"/>
                    </a:lnTo>
                    <a:lnTo>
                      <a:pt x="384" y="383"/>
                    </a:lnTo>
                    <a:lnTo>
                      <a:pt x="373" y="373"/>
                    </a:lnTo>
                    <a:lnTo>
                      <a:pt x="361" y="363"/>
                    </a:lnTo>
                    <a:lnTo>
                      <a:pt x="349" y="354"/>
                    </a:lnTo>
                    <a:lnTo>
                      <a:pt x="343" y="351"/>
                    </a:lnTo>
                    <a:lnTo>
                      <a:pt x="336" y="347"/>
                    </a:lnTo>
                    <a:lnTo>
                      <a:pt x="328" y="345"/>
                    </a:lnTo>
                    <a:lnTo>
                      <a:pt x="319" y="345"/>
                    </a:lnTo>
                    <a:lnTo>
                      <a:pt x="313" y="345"/>
                    </a:lnTo>
                    <a:lnTo>
                      <a:pt x="305" y="347"/>
                    </a:lnTo>
                    <a:lnTo>
                      <a:pt x="299" y="351"/>
                    </a:lnTo>
                    <a:lnTo>
                      <a:pt x="291" y="355"/>
                    </a:lnTo>
                    <a:lnTo>
                      <a:pt x="284" y="360"/>
                    </a:lnTo>
                    <a:lnTo>
                      <a:pt x="278" y="365"/>
                    </a:lnTo>
                    <a:lnTo>
                      <a:pt x="272" y="371"/>
                    </a:lnTo>
                    <a:lnTo>
                      <a:pt x="266" y="377"/>
                    </a:lnTo>
                    <a:lnTo>
                      <a:pt x="255" y="392"/>
                    </a:lnTo>
                    <a:lnTo>
                      <a:pt x="244" y="408"/>
                    </a:lnTo>
                    <a:lnTo>
                      <a:pt x="235" y="423"/>
                    </a:lnTo>
                    <a:lnTo>
                      <a:pt x="227" y="437"/>
                    </a:lnTo>
                    <a:lnTo>
                      <a:pt x="197" y="437"/>
                    </a:lnTo>
                    <a:lnTo>
                      <a:pt x="176" y="437"/>
                    </a:lnTo>
                    <a:lnTo>
                      <a:pt x="160" y="437"/>
                    </a:lnTo>
                    <a:lnTo>
                      <a:pt x="150" y="439"/>
                    </a:lnTo>
                    <a:lnTo>
                      <a:pt x="146" y="440"/>
                    </a:lnTo>
                    <a:lnTo>
                      <a:pt x="143" y="442"/>
                    </a:lnTo>
                    <a:lnTo>
                      <a:pt x="139" y="445"/>
                    </a:lnTo>
                    <a:lnTo>
                      <a:pt x="135" y="448"/>
                    </a:lnTo>
                    <a:lnTo>
                      <a:pt x="126" y="456"/>
                    </a:lnTo>
                    <a:lnTo>
                      <a:pt x="114" y="469"/>
                    </a:lnTo>
                  </a:path>
                </a:pathLst>
              </a:custGeom>
              <a:grpFill/>
              <a:ln w="9525" cmpd="sng">
                <a:solidFill>
                  <a:srgbClr val="FFFFFF"/>
                </a:solidFill>
                <a:prstDash val="solid"/>
                <a:round/>
                <a:headEnd/>
                <a:tailEnd/>
              </a:ln>
            </p:spPr>
            <p:txBody>
              <a:bodyPr/>
              <a:lstStyle/>
              <a:p>
                <a:endParaRPr lang="en-GB" sz="1637"/>
              </a:p>
            </p:txBody>
          </p:sp>
          <p:sp>
            <p:nvSpPr>
              <p:cNvPr id="96" name="Freeform 248"/>
              <p:cNvSpPr>
                <a:spLocks/>
              </p:cNvSpPr>
              <p:nvPr>
                <p:custDataLst>
                  <p:tags r:id="rId79"/>
                </p:custDataLst>
              </p:nvPr>
            </p:nvSpPr>
            <p:spPr bwMode="auto">
              <a:xfrm>
                <a:off x="4231465" y="3784920"/>
                <a:ext cx="545888" cy="623256"/>
              </a:xfrm>
              <a:custGeom>
                <a:avLst/>
                <a:gdLst>
                  <a:gd name="T0" fmla="*/ 393935 w 1145"/>
                  <a:gd name="T1" fmla="*/ 29905 h 1053"/>
                  <a:gd name="T2" fmla="*/ 433678 w 1145"/>
                  <a:gd name="T3" fmla="*/ 34626 h 1053"/>
                  <a:gd name="T4" fmla="*/ 471674 w 1145"/>
                  <a:gd name="T5" fmla="*/ 42496 h 1053"/>
                  <a:gd name="T6" fmla="*/ 491764 w 1145"/>
                  <a:gd name="T7" fmla="*/ 91813 h 1053"/>
                  <a:gd name="T8" fmla="*/ 494821 w 1145"/>
                  <a:gd name="T9" fmla="*/ 110700 h 1053"/>
                  <a:gd name="T10" fmla="*/ 462066 w 1145"/>
                  <a:gd name="T11" fmla="*/ 142703 h 1053"/>
                  <a:gd name="T12" fmla="*/ 456388 w 1145"/>
                  <a:gd name="T13" fmla="*/ 188872 h 1053"/>
                  <a:gd name="T14" fmla="*/ 438046 w 1145"/>
                  <a:gd name="T15" fmla="*/ 230843 h 1053"/>
                  <a:gd name="T16" fmla="*/ 432368 w 1145"/>
                  <a:gd name="T17" fmla="*/ 249730 h 1053"/>
                  <a:gd name="T18" fmla="*/ 445033 w 1145"/>
                  <a:gd name="T19" fmla="*/ 302195 h 1053"/>
                  <a:gd name="T20" fmla="*/ 448090 w 1145"/>
                  <a:gd name="T21" fmla="*/ 348364 h 1053"/>
                  <a:gd name="T22" fmla="*/ 457262 w 1145"/>
                  <a:gd name="T23" fmla="*/ 383515 h 1053"/>
                  <a:gd name="T24" fmla="*/ 471237 w 1145"/>
                  <a:gd name="T25" fmla="*/ 401353 h 1053"/>
                  <a:gd name="T26" fmla="*/ 476915 w 1145"/>
                  <a:gd name="T27" fmla="*/ 432831 h 1053"/>
                  <a:gd name="T28" fmla="*/ 454205 w 1145"/>
                  <a:gd name="T29" fmla="*/ 442799 h 1053"/>
                  <a:gd name="T30" fmla="*/ 435425 w 1145"/>
                  <a:gd name="T31" fmla="*/ 449095 h 1053"/>
                  <a:gd name="T32" fmla="*/ 419266 w 1145"/>
                  <a:gd name="T33" fmla="*/ 520447 h 1053"/>
                  <a:gd name="T34" fmla="*/ 406164 w 1145"/>
                  <a:gd name="T35" fmla="*/ 538285 h 1053"/>
                  <a:gd name="T36" fmla="*/ 393935 w 1145"/>
                  <a:gd name="T37" fmla="*/ 540908 h 1053"/>
                  <a:gd name="T38" fmla="*/ 366858 w 1145"/>
                  <a:gd name="T39" fmla="*/ 552450 h 1053"/>
                  <a:gd name="T40" fmla="*/ 341527 w 1145"/>
                  <a:gd name="T41" fmla="*/ 544056 h 1053"/>
                  <a:gd name="T42" fmla="*/ 324494 w 1145"/>
                  <a:gd name="T43" fmla="*/ 531989 h 1053"/>
                  <a:gd name="T44" fmla="*/ 308772 w 1145"/>
                  <a:gd name="T45" fmla="*/ 523070 h 1053"/>
                  <a:gd name="T46" fmla="*/ 294360 w 1145"/>
                  <a:gd name="T47" fmla="*/ 517299 h 1053"/>
                  <a:gd name="T48" fmla="*/ 265535 w 1145"/>
                  <a:gd name="T49" fmla="*/ 517824 h 1053"/>
                  <a:gd name="T50" fmla="*/ 259421 w 1145"/>
                  <a:gd name="T51" fmla="*/ 494215 h 1053"/>
                  <a:gd name="T52" fmla="*/ 251123 w 1145"/>
                  <a:gd name="T53" fmla="*/ 463785 h 1053"/>
                  <a:gd name="T54" fmla="*/ 257674 w 1145"/>
                  <a:gd name="T55" fmla="*/ 443849 h 1053"/>
                  <a:gd name="T56" fmla="*/ 257674 w 1145"/>
                  <a:gd name="T57" fmla="*/ 408698 h 1053"/>
                  <a:gd name="T58" fmla="*/ 198278 w 1145"/>
                  <a:gd name="T59" fmla="*/ 396106 h 1053"/>
                  <a:gd name="T60" fmla="*/ 193474 w 1145"/>
                  <a:gd name="T61" fmla="*/ 411845 h 1053"/>
                  <a:gd name="T62" fmla="*/ 172947 w 1145"/>
                  <a:gd name="T63" fmla="*/ 428634 h 1053"/>
                  <a:gd name="T64" fmla="*/ 147180 w 1145"/>
                  <a:gd name="T65" fmla="*/ 418141 h 1053"/>
                  <a:gd name="T66" fmla="*/ 129710 w 1145"/>
                  <a:gd name="T67" fmla="*/ 371448 h 1053"/>
                  <a:gd name="T68" fmla="*/ 1310 w 1145"/>
                  <a:gd name="T69" fmla="*/ 352036 h 1053"/>
                  <a:gd name="T70" fmla="*/ 19653 w 1145"/>
                  <a:gd name="T71" fmla="*/ 349937 h 1053"/>
                  <a:gd name="T72" fmla="*/ 11355 w 1145"/>
                  <a:gd name="T73" fmla="*/ 331050 h 1053"/>
                  <a:gd name="T74" fmla="*/ 32755 w 1145"/>
                  <a:gd name="T75" fmla="*/ 322656 h 1053"/>
                  <a:gd name="T76" fmla="*/ 63327 w 1145"/>
                  <a:gd name="T77" fmla="*/ 322131 h 1053"/>
                  <a:gd name="T78" fmla="*/ 79923 w 1145"/>
                  <a:gd name="T79" fmla="*/ 325279 h 1053"/>
                  <a:gd name="T80" fmla="*/ 96082 w 1145"/>
                  <a:gd name="T81" fmla="*/ 301146 h 1053"/>
                  <a:gd name="T82" fmla="*/ 113551 w 1145"/>
                  <a:gd name="T83" fmla="*/ 291177 h 1053"/>
                  <a:gd name="T84" fmla="*/ 122723 w 1145"/>
                  <a:gd name="T85" fmla="*/ 230843 h 1053"/>
                  <a:gd name="T86" fmla="*/ 151110 w 1145"/>
                  <a:gd name="T87" fmla="*/ 194118 h 1053"/>
                  <a:gd name="T88" fmla="*/ 161592 w 1145"/>
                  <a:gd name="T89" fmla="*/ 144802 h 1053"/>
                  <a:gd name="T90" fmla="*/ 162466 w 1145"/>
                  <a:gd name="T91" fmla="*/ 94436 h 1053"/>
                  <a:gd name="T92" fmla="*/ 167270 w 1145"/>
                  <a:gd name="T93" fmla="*/ 64007 h 1053"/>
                  <a:gd name="T94" fmla="*/ 192164 w 1145"/>
                  <a:gd name="T95" fmla="*/ 18363 h 1053"/>
                  <a:gd name="T96" fmla="*/ 214437 w 1145"/>
                  <a:gd name="T97" fmla="*/ 15739 h 1053"/>
                  <a:gd name="T98" fmla="*/ 243698 w 1145"/>
                  <a:gd name="T99" fmla="*/ 40398 h 1053"/>
                  <a:gd name="T100" fmla="*/ 278200 w 1145"/>
                  <a:gd name="T101" fmla="*/ 38299 h 1053"/>
                  <a:gd name="T102" fmla="*/ 292613 w 1145"/>
                  <a:gd name="T103" fmla="*/ 23084 h 1053"/>
                  <a:gd name="T104" fmla="*/ 320564 w 1145"/>
                  <a:gd name="T105" fmla="*/ 17838 h 1053"/>
                  <a:gd name="T106" fmla="*/ 347205 w 1145"/>
                  <a:gd name="T107" fmla="*/ 8919 h 1053"/>
                  <a:gd name="T108" fmla="*/ 361617 w 1145"/>
                  <a:gd name="T109" fmla="*/ 4197 h 1053"/>
                  <a:gd name="T110" fmla="*/ 375156 w 1145"/>
                  <a:gd name="T111" fmla="*/ 12591 h 105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145" h="1053">
                    <a:moveTo>
                      <a:pt x="894" y="24"/>
                    </a:moveTo>
                    <a:lnTo>
                      <a:pt x="894" y="32"/>
                    </a:lnTo>
                    <a:lnTo>
                      <a:pt x="895" y="38"/>
                    </a:lnTo>
                    <a:lnTo>
                      <a:pt x="896" y="44"/>
                    </a:lnTo>
                    <a:lnTo>
                      <a:pt x="897" y="49"/>
                    </a:lnTo>
                    <a:lnTo>
                      <a:pt x="900" y="53"/>
                    </a:lnTo>
                    <a:lnTo>
                      <a:pt x="902" y="57"/>
                    </a:lnTo>
                    <a:lnTo>
                      <a:pt x="906" y="61"/>
                    </a:lnTo>
                    <a:lnTo>
                      <a:pt x="909" y="64"/>
                    </a:lnTo>
                    <a:lnTo>
                      <a:pt x="918" y="68"/>
                    </a:lnTo>
                    <a:lnTo>
                      <a:pt x="926" y="71"/>
                    </a:lnTo>
                    <a:lnTo>
                      <a:pt x="936" y="72"/>
                    </a:lnTo>
                    <a:lnTo>
                      <a:pt x="947" y="72"/>
                    </a:lnTo>
                    <a:lnTo>
                      <a:pt x="993" y="66"/>
                    </a:lnTo>
                    <a:lnTo>
                      <a:pt x="1033" y="61"/>
                    </a:lnTo>
                    <a:lnTo>
                      <a:pt x="1038" y="61"/>
                    </a:lnTo>
                    <a:lnTo>
                      <a:pt x="1045" y="63"/>
                    </a:lnTo>
                    <a:lnTo>
                      <a:pt x="1051" y="64"/>
                    </a:lnTo>
                    <a:lnTo>
                      <a:pt x="1057" y="67"/>
                    </a:lnTo>
                    <a:lnTo>
                      <a:pt x="1069" y="73"/>
                    </a:lnTo>
                    <a:lnTo>
                      <a:pt x="1080" y="81"/>
                    </a:lnTo>
                    <a:lnTo>
                      <a:pt x="1099" y="98"/>
                    </a:lnTo>
                    <a:lnTo>
                      <a:pt x="1112" y="110"/>
                    </a:lnTo>
                    <a:lnTo>
                      <a:pt x="1113" y="124"/>
                    </a:lnTo>
                    <a:lnTo>
                      <a:pt x="1114" y="138"/>
                    </a:lnTo>
                    <a:lnTo>
                      <a:pt x="1117" y="152"/>
                    </a:lnTo>
                    <a:lnTo>
                      <a:pt x="1122" y="164"/>
                    </a:lnTo>
                    <a:lnTo>
                      <a:pt x="1126" y="175"/>
                    </a:lnTo>
                    <a:lnTo>
                      <a:pt x="1132" y="183"/>
                    </a:lnTo>
                    <a:lnTo>
                      <a:pt x="1135" y="186"/>
                    </a:lnTo>
                    <a:lnTo>
                      <a:pt x="1138" y="188"/>
                    </a:lnTo>
                    <a:lnTo>
                      <a:pt x="1142" y="190"/>
                    </a:lnTo>
                    <a:lnTo>
                      <a:pt x="1145" y="190"/>
                    </a:lnTo>
                    <a:lnTo>
                      <a:pt x="1139" y="202"/>
                    </a:lnTo>
                    <a:lnTo>
                      <a:pt x="1133" y="211"/>
                    </a:lnTo>
                    <a:lnTo>
                      <a:pt x="1125" y="220"/>
                    </a:lnTo>
                    <a:lnTo>
                      <a:pt x="1117" y="227"/>
                    </a:lnTo>
                    <a:lnTo>
                      <a:pt x="1100" y="240"/>
                    </a:lnTo>
                    <a:lnTo>
                      <a:pt x="1082" y="253"/>
                    </a:lnTo>
                    <a:lnTo>
                      <a:pt x="1074" y="259"/>
                    </a:lnTo>
                    <a:lnTo>
                      <a:pt x="1066" y="266"/>
                    </a:lnTo>
                    <a:lnTo>
                      <a:pt x="1058" y="272"/>
                    </a:lnTo>
                    <a:lnTo>
                      <a:pt x="1052" y="280"/>
                    </a:lnTo>
                    <a:lnTo>
                      <a:pt x="1046" y="288"/>
                    </a:lnTo>
                    <a:lnTo>
                      <a:pt x="1043" y="297"/>
                    </a:lnTo>
                    <a:lnTo>
                      <a:pt x="1040" y="308"/>
                    </a:lnTo>
                    <a:lnTo>
                      <a:pt x="1040" y="320"/>
                    </a:lnTo>
                    <a:lnTo>
                      <a:pt x="1041" y="339"/>
                    </a:lnTo>
                    <a:lnTo>
                      <a:pt x="1045" y="360"/>
                    </a:lnTo>
                    <a:lnTo>
                      <a:pt x="1046" y="371"/>
                    </a:lnTo>
                    <a:lnTo>
                      <a:pt x="1047" y="381"/>
                    </a:lnTo>
                    <a:lnTo>
                      <a:pt x="1047" y="391"/>
                    </a:lnTo>
                    <a:lnTo>
                      <a:pt x="1046" y="400"/>
                    </a:lnTo>
                    <a:lnTo>
                      <a:pt x="1034" y="410"/>
                    </a:lnTo>
                    <a:lnTo>
                      <a:pt x="1013" y="430"/>
                    </a:lnTo>
                    <a:lnTo>
                      <a:pt x="1003" y="440"/>
                    </a:lnTo>
                    <a:lnTo>
                      <a:pt x="995" y="450"/>
                    </a:lnTo>
                    <a:lnTo>
                      <a:pt x="991" y="455"/>
                    </a:lnTo>
                    <a:lnTo>
                      <a:pt x="988" y="460"/>
                    </a:lnTo>
                    <a:lnTo>
                      <a:pt x="987" y="464"/>
                    </a:lnTo>
                    <a:lnTo>
                      <a:pt x="986" y="467"/>
                    </a:lnTo>
                    <a:lnTo>
                      <a:pt x="987" y="470"/>
                    </a:lnTo>
                    <a:lnTo>
                      <a:pt x="990" y="476"/>
                    </a:lnTo>
                    <a:lnTo>
                      <a:pt x="995" y="481"/>
                    </a:lnTo>
                    <a:lnTo>
                      <a:pt x="999" y="486"/>
                    </a:lnTo>
                    <a:lnTo>
                      <a:pt x="1009" y="495"/>
                    </a:lnTo>
                    <a:lnTo>
                      <a:pt x="1012" y="499"/>
                    </a:lnTo>
                    <a:lnTo>
                      <a:pt x="1016" y="524"/>
                    </a:lnTo>
                    <a:lnTo>
                      <a:pt x="1019" y="550"/>
                    </a:lnTo>
                    <a:lnTo>
                      <a:pt x="1019" y="576"/>
                    </a:lnTo>
                    <a:lnTo>
                      <a:pt x="1019" y="610"/>
                    </a:lnTo>
                    <a:lnTo>
                      <a:pt x="1020" y="618"/>
                    </a:lnTo>
                    <a:lnTo>
                      <a:pt x="1022" y="625"/>
                    </a:lnTo>
                    <a:lnTo>
                      <a:pt x="1025" y="632"/>
                    </a:lnTo>
                    <a:lnTo>
                      <a:pt x="1026" y="640"/>
                    </a:lnTo>
                    <a:lnTo>
                      <a:pt x="1026" y="650"/>
                    </a:lnTo>
                    <a:lnTo>
                      <a:pt x="1026" y="664"/>
                    </a:lnTo>
                    <a:lnTo>
                      <a:pt x="1027" y="679"/>
                    </a:lnTo>
                    <a:lnTo>
                      <a:pt x="1031" y="696"/>
                    </a:lnTo>
                    <a:lnTo>
                      <a:pt x="1033" y="705"/>
                    </a:lnTo>
                    <a:lnTo>
                      <a:pt x="1035" y="713"/>
                    </a:lnTo>
                    <a:lnTo>
                      <a:pt x="1038" y="720"/>
                    </a:lnTo>
                    <a:lnTo>
                      <a:pt x="1043" y="726"/>
                    </a:lnTo>
                    <a:lnTo>
                      <a:pt x="1047" y="731"/>
                    </a:lnTo>
                    <a:lnTo>
                      <a:pt x="1053" y="735"/>
                    </a:lnTo>
                    <a:lnTo>
                      <a:pt x="1058" y="738"/>
                    </a:lnTo>
                    <a:lnTo>
                      <a:pt x="1066" y="739"/>
                    </a:lnTo>
                    <a:lnTo>
                      <a:pt x="1067" y="745"/>
                    </a:lnTo>
                    <a:lnTo>
                      <a:pt x="1070" y="751"/>
                    </a:lnTo>
                    <a:lnTo>
                      <a:pt x="1074" y="759"/>
                    </a:lnTo>
                    <a:lnTo>
                      <a:pt x="1079" y="765"/>
                    </a:lnTo>
                    <a:lnTo>
                      <a:pt x="1083" y="772"/>
                    </a:lnTo>
                    <a:lnTo>
                      <a:pt x="1088" y="780"/>
                    </a:lnTo>
                    <a:lnTo>
                      <a:pt x="1091" y="790"/>
                    </a:lnTo>
                    <a:lnTo>
                      <a:pt x="1092" y="800"/>
                    </a:lnTo>
                    <a:lnTo>
                      <a:pt x="1092" y="807"/>
                    </a:lnTo>
                    <a:lnTo>
                      <a:pt x="1092" y="816"/>
                    </a:lnTo>
                    <a:lnTo>
                      <a:pt x="1092" y="825"/>
                    </a:lnTo>
                    <a:lnTo>
                      <a:pt x="1092" y="831"/>
                    </a:lnTo>
                    <a:lnTo>
                      <a:pt x="1092" y="837"/>
                    </a:lnTo>
                    <a:lnTo>
                      <a:pt x="1080" y="836"/>
                    </a:lnTo>
                    <a:lnTo>
                      <a:pt x="1069" y="837"/>
                    </a:lnTo>
                    <a:lnTo>
                      <a:pt x="1059" y="840"/>
                    </a:lnTo>
                    <a:lnTo>
                      <a:pt x="1049" y="842"/>
                    </a:lnTo>
                    <a:lnTo>
                      <a:pt x="1040" y="844"/>
                    </a:lnTo>
                    <a:lnTo>
                      <a:pt x="1029" y="844"/>
                    </a:lnTo>
                    <a:lnTo>
                      <a:pt x="1023" y="844"/>
                    </a:lnTo>
                    <a:lnTo>
                      <a:pt x="1018" y="842"/>
                    </a:lnTo>
                    <a:lnTo>
                      <a:pt x="1012" y="840"/>
                    </a:lnTo>
                    <a:lnTo>
                      <a:pt x="1005" y="837"/>
                    </a:lnTo>
                    <a:lnTo>
                      <a:pt x="1001" y="846"/>
                    </a:lnTo>
                    <a:lnTo>
                      <a:pt x="997" y="856"/>
                    </a:lnTo>
                    <a:lnTo>
                      <a:pt x="993" y="869"/>
                    </a:lnTo>
                    <a:lnTo>
                      <a:pt x="990" y="883"/>
                    </a:lnTo>
                    <a:lnTo>
                      <a:pt x="982" y="914"/>
                    </a:lnTo>
                    <a:lnTo>
                      <a:pt x="975" y="947"/>
                    </a:lnTo>
                    <a:lnTo>
                      <a:pt x="970" y="962"/>
                    </a:lnTo>
                    <a:lnTo>
                      <a:pt x="966" y="978"/>
                    </a:lnTo>
                    <a:lnTo>
                      <a:pt x="960" y="992"/>
                    </a:lnTo>
                    <a:lnTo>
                      <a:pt x="955" y="1004"/>
                    </a:lnTo>
                    <a:lnTo>
                      <a:pt x="951" y="1009"/>
                    </a:lnTo>
                    <a:lnTo>
                      <a:pt x="947" y="1014"/>
                    </a:lnTo>
                    <a:lnTo>
                      <a:pt x="944" y="1018"/>
                    </a:lnTo>
                    <a:lnTo>
                      <a:pt x="940" y="1021"/>
                    </a:lnTo>
                    <a:lnTo>
                      <a:pt x="935" y="1024"/>
                    </a:lnTo>
                    <a:lnTo>
                      <a:pt x="930" y="1026"/>
                    </a:lnTo>
                    <a:lnTo>
                      <a:pt x="925" y="1028"/>
                    </a:lnTo>
                    <a:lnTo>
                      <a:pt x="920" y="1028"/>
                    </a:lnTo>
                    <a:lnTo>
                      <a:pt x="918" y="1029"/>
                    </a:lnTo>
                    <a:lnTo>
                      <a:pt x="912" y="1031"/>
                    </a:lnTo>
                    <a:lnTo>
                      <a:pt x="909" y="1032"/>
                    </a:lnTo>
                    <a:lnTo>
                      <a:pt x="906" y="1032"/>
                    </a:lnTo>
                    <a:lnTo>
                      <a:pt x="902" y="1031"/>
                    </a:lnTo>
                    <a:lnTo>
                      <a:pt x="900" y="1028"/>
                    </a:lnTo>
                    <a:lnTo>
                      <a:pt x="888" y="1035"/>
                    </a:lnTo>
                    <a:lnTo>
                      <a:pt x="873" y="1043"/>
                    </a:lnTo>
                    <a:lnTo>
                      <a:pt x="864" y="1047"/>
                    </a:lnTo>
                    <a:lnTo>
                      <a:pt x="856" y="1050"/>
                    </a:lnTo>
                    <a:lnTo>
                      <a:pt x="847" y="1052"/>
                    </a:lnTo>
                    <a:lnTo>
                      <a:pt x="840" y="1053"/>
                    </a:lnTo>
                    <a:lnTo>
                      <a:pt x="828" y="1053"/>
                    </a:lnTo>
                    <a:lnTo>
                      <a:pt x="816" y="1052"/>
                    </a:lnTo>
                    <a:lnTo>
                      <a:pt x="805" y="1049"/>
                    </a:lnTo>
                    <a:lnTo>
                      <a:pt x="795" y="1046"/>
                    </a:lnTo>
                    <a:lnTo>
                      <a:pt x="789" y="1043"/>
                    </a:lnTo>
                    <a:lnTo>
                      <a:pt x="786" y="1040"/>
                    </a:lnTo>
                    <a:lnTo>
                      <a:pt x="782" y="1037"/>
                    </a:lnTo>
                    <a:lnTo>
                      <a:pt x="779" y="1033"/>
                    </a:lnTo>
                    <a:lnTo>
                      <a:pt x="777" y="1027"/>
                    </a:lnTo>
                    <a:lnTo>
                      <a:pt x="775" y="1022"/>
                    </a:lnTo>
                    <a:lnTo>
                      <a:pt x="774" y="1016"/>
                    </a:lnTo>
                    <a:lnTo>
                      <a:pt x="774" y="1010"/>
                    </a:lnTo>
                    <a:lnTo>
                      <a:pt x="761" y="1011"/>
                    </a:lnTo>
                    <a:lnTo>
                      <a:pt x="743" y="1014"/>
                    </a:lnTo>
                    <a:lnTo>
                      <a:pt x="734" y="1014"/>
                    </a:lnTo>
                    <a:lnTo>
                      <a:pt x="727" y="1012"/>
                    </a:lnTo>
                    <a:lnTo>
                      <a:pt x="723" y="1011"/>
                    </a:lnTo>
                    <a:lnTo>
                      <a:pt x="719" y="1009"/>
                    </a:lnTo>
                    <a:lnTo>
                      <a:pt x="717" y="1007"/>
                    </a:lnTo>
                    <a:lnTo>
                      <a:pt x="713" y="1004"/>
                    </a:lnTo>
                    <a:lnTo>
                      <a:pt x="707" y="997"/>
                    </a:lnTo>
                    <a:lnTo>
                      <a:pt x="701" y="993"/>
                    </a:lnTo>
                    <a:lnTo>
                      <a:pt x="697" y="992"/>
                    </a:lnTo>
                    <a:lnTo>
                      <a:pt x="694" y="992"/>
                    </a:lnTo>
                    <a:lnTo>
                      <a:pt x="689" y="993"/>
                    </a:lnTo>
                    <a:lnTo>
                      <a:pt x="686" y="993"/>
                    </a:lnTo>
                    <a:lnTo>
                      <a:pt x="680" y="991"/>
                    </a:lnTo>
                    <a:lnTo>
                      <a:pt x="674" y="986"/>
                    </a:lnTo>
                    <a:lnTo>
                      <a:pt x="662" y="987"/>
                    </a:lnTo>
                    <a:lnTo>
                      <a:pt x="653" y="989"/>
                    </a:lnTo>
                    <a:lnTo>
                      <a:pt x="643" y="991"/>
                    </a:lnTo>
                    <a:lnTo>
                      <a:pt x="627" y="992"/>
                    </a:lnTo>
                    <a:lnTo>
                      <a:pt x="618" y="991"/>
                    </a:lnTo>
                    <a:lnTo>
                      <a:pt x="611" y="988"/>
                    </a:lnTo>
                    <a:lnTo>
                      <a:pt x="608" y="987"/>
                    </a:lnTo>
                    <a:lnTo>
                      <a:pt x="605" y="984"/>
                    </a:lnTo>
                    <a:lnTo>
                      <a:pt x="603" y="982"/>
                    </a:lnTo>
                    <a:lnTo>
                      <a:pt x="600" y="979"/>
                    </a:lnTo>
                    <a:lnTo>
                      <a:pt x="597" y="971"/>
                    </a:lnTo>
                    <a:lnTo>
                      <a:pt x="596" y="963"/>
                    </a:lnTo>
                    <a:lnTo>
                      <a:pt x="595" y="953"/>
                    </a:lnTo>
                    <a:lnTo>
                      <a:pt x="594" y="942"/>
                    </a:lnTo>
                    <a:lnTo>
                      <a:pt x="593" y="933"/>
                    </a:lnTo>
                    <a:lnTo>
                      <a:pt x="590" y="925"/>
                    </a:lnTo>
                    <a:lnTo>
                      <a:pt x="587" y="916"/>
                    </a:lnTo>
                    <a:lnTo>
                      <a:pt x="584" y="908"/>
                    </a:lnTo>
                    <a:lnTo>
                      <a:pt x="581" y="900"/>
                    </a:lnTo>
                    <a:lnTo>
                      <a:pt x="577" y="892"/>
                    </a:lnTo>
                    <a:lnTo>
                      <a:pt x="575" y="884"/>
                    </a:lnTo>
                    <a:lnTo>
                      <a:pt x="574" y="875"/>
                    </a:lnTo>
                    <a:lnTo>
                      <a:pt x="575" y="870"/>
                    </a:lnTo>
                    <a:lnTo>
                      <a:pt x="577" y="866"/>
                    </a:lnTo>
                    <a:lnTo>
                      <a:pt x="581" y="860"/>
                    </a:lnTo>
                    <a:lnTo>
                      <a:pt x="584" y="856"/>
                    </a:lnTo>
                    <a:lnTo>
                      <a:pt x="587" y="851"/>
                    </a:lnTo>
                    <a:lnTo>
                      <a:pt x="590" y="846"/>
                    </a:lnTo>
                    <a:lnTo>
                      <a:pt x="593" y="842"/>
                    </a:lnTo>
                    <a:lnTo>
                      <a:pt x="594" y="837"/>
                    </a:lnTo>
                    <a:lnTo>
                      <a:pt x="593" y="825"/>
                    </a:lnTo>
                    <a:lnTo>
                      <a:pt x="589" y="809"/>
                    </a:lnTo>
                    <a:lnTo>
                      <a:pt x="588" y="798"/>
                    </a:lnTo>
                    <a:lnTo>
                      <a:pt x="588" y="789"/>
                    </a:lnTo>
                    <a:lnTo>
                      <a:pt x="590" y="779"/>
                    </a:lnTo>
                    <a:lnTo>
                      <a:pt x="594" y="770"/>
                    </a:lnTo>
                    <a:lnTo>
                      <a:pt x="571" y="766"/>
                    </a:lnTo>
                    <a:lnTo>
                      <a:pt x="521" y="759"/>
                    </a:lnTo>
                    <a:lnTo>
                      <a:pt x="494" y="756"/>
                    </a:lnTo>
                    <a:lnTo>
                      <a:pt x="471" y="755"/>
                    </a:lnTo>
                    <a:lnTo>
                      <a:pt x="461" y="754"/>
                    </a:lnTo>
                    <a:lnTo>
                      <a:pt x="454" y="755"/>
                    </a:lnTo>
                    <a:lnTo>
                      <a:pt x="450" y="756"/>
                    </a:lnTo>
                    <a:lnTo>
                      <a:pt x="448" y="758"/>
                    </a:lnTo>
                    <a:lnTo>
                      <a:pt x="448" y="762"/>
                    </a:lnTo>
                    <a:lnTo>
                      <a:pt x="448" y="770"/>
                    </a:lnTo>
                    <a:lnTo>
                      <a:pt x="447" y="775"/>
                    </a:lnTo>
                    <a:lnTo>
                      <a:pt x="446" y="780"/>
                    </a:lnTo>
                    <a:lnTo>
                      <a:pt x="443" y="785"/>
                    </a:lnTo>
                    <a:lnTo>
                      <a:pt x="440" y="790"/>
                    </a:lnTo>
                    <a:lnTo>
                      <a:pt x="437" y="796"/>
                    </a:lnTo>
                    <a:lnTo>
                      <a:pt x="431" y="801"/>
                    </a:lnTo>
                    <a:lnTo>
                      <a:pt x="425" y="806"/>
                    </a:lnTo>
                    <a:lnTo>
                      <a:pt x="417" y="811"/>
                    </a:lnTo>
                    <a:lnTo>
                      <a:pt x="407" y="814"/>
                    </a:lnTo>
                    <a:lnTo>
                      <a:pt x="396" y="817"/>
                    </a:lnTo>
                    <a:lnTo>
                      <a:pt x="383" y="819"/>
                    </a:lnTo>
                    <a:lnTo>
                      <a:pt x="369" y="819"/>
                    </a:lnTo>
                    <a:lnTo>
                      <a:pt x="362" y="818"/>
                    </a:lnTo>
                    <a:lnTo>
                      <a:pt x="355" y="816"/>
                    </a:lnTo>
                    <a:lnTo>
                      <a:pt x="349" y="811"/>
                    </a:lnTo>
                    <a:lnTo>
                      <a:pt x="342" y="804"/>
                    </a:lnTo>
                    <a:lnTo>
                      <a:pt x="337" y="797"/>
                    </a:lnTo>
                    <a:lnTo>
                      <a:pt x="330" y="789"/>
                    </a:lnTo>
                    <a:lnTo>
                      <a:pt x="325" y="780"/>
                    </a:lnTo>
                    <a:lnTo>
                      <a:pt x="319" y="771"/>
                    </a:lnTo>
                    <a:lnTo>
                      <a:pt x="309" y="749"/>
                    </a:lnTo>
                    <a:lnTo>
                      <a:pt x="302" y="728"/>
                    </a:lnTo>
                    <a:lnTo>
                      <a:pt x="298" y="718"/>
                    </a:lnTo>
                    <a:lnTo>
                      <a:pt x="297" y="708"/>
                    </a:lnTo>
                    <a:lnTo>
                      <a:pt x="295" y="699"/>
                    </a:lnTo>
                    <a:lnTo>
                      <a:pt x="295" y="689"/>
                    </a:lnTo>
                    <a:lnTo>
                      <a:pt x="3" y="689"/>
                    </a:lnTo>
                    <a:lnTo>
                      <a:pt x="2" y="683"/>
                    </a:lnTo>
                    <a:lnTo>
                      <a:pt x="0" y="680"/>
                    </a:lnTo>
                    <a:lnTo>
                      <a:pt x="0" y="677"/>
                    </a:lnTo>
                    <a:lnTo>
                      <a:pt x="3" y="671"/>
                    </a:lnTo>
                    <a:lnTo>
                      <a:pt x="10" y="669"/>
                    </a:lnTo>
                    <a:lnTo>
                      <a:pt x="16" y="668"/>
                    </a:lnTo>
                    <a:lnTo>
                      <a:pt x="23" y="668"/>
                    </a:lnTo>
                    <a:lnTo>
                      <a:pt x="28" y="668"/>
                    </a:lnTo>
                    <a:lnTo>
                      <a:pt x="34" y="668"/>
                    </a:lnTo>
                    <a:lnTo>
                      <a:pt x="39" y="668"/>
                    </a:lnTo>
                    <a:lnTo>
                      <a:pt x="45" y="667"/>
                    </a:lnTo>
                    <a:lnTo>
                      <a:pt x="49" y="665"/>
                    </a:lnTo>
                    <a:lnTo>
                      <a:pt x="49" y="640"/>
                    </a:lnTo>
                    <a:lnTo>
                      <a:pt x="36" y="640"/>
                    </a:lnTo>
                    <a:lnTo>
                      <a:pt x="27" y="640"/>
                    </a:lnTo>
                    <a:lnTo>
                      <a:pt x="18" y="640"/>
                    </a:lnTo>
                    <a:lnTo>
                      <a:pt x="10" y="640"/>
                    </a:lnTo>
                    <a:lnTo>
                      <a:pt x="26" y="631"/>
                    </a:lnTo>
                    <a:lnTo>
                      <a:pt x="39" y="622"/>
                    </a:lnTo>
                    <a:lnTo>
                      <a:pt x="46" y="619"/>
                    </a:lnTo>
                    <a:lnTo>
                      <a:pt x="52" y="615"/>
                    </a:lnTo>
                    <a:lnTo>
                      <a:pt x="60" y="612"/>
                    </a:lnTo>
                    <a:lnTo>
                      <a:pt x="69" y="610"/>
                    </a:lnTo>
                    <a:lnTo>
                      <a:pt x="72" y="613"/>
                    </a:lnTo>
                    <a:lnTo>
                      <a:pt x="75" y="615"/>
                    </a:lnTo>
                    <a:lnTo>
                      <a:pt x="79" y="616"/>
                    </a:lnTo>
                    <a:lnTo>
                      <a:pt x="82" y="617"/>
                    </a:lnTo>
                    <a:lnTo>
                      <a:pt x="91" y="618"/>
                    </a:lnTo>
                    <a:lnTo>
                      <a:pt x="101" y="616"/>
                    </a:lnTo>
                    <a:lnTo>
                      <a:pt x="122" y="612"/>
                    </a:lnTo>
                    <a:lnTo>
                      <a:pt x="142" y="610"/>
                    </a:lnTo>
                    <a:lnTo>
                      <a:pt x="145" y="614"/>
                    </a:lnTo>
                    <a:lnTo>
                      <a:pt x="148" y="617"/>
                    </a:lnTo>
                    <a:lnTo>
                      <a:pt x="152" y="619"/>
                    </a:lnTo>
                    <a:lnTo>
                      <a:pt x="157" y="620"/>
                    </a:lnTo>
                    <a:lnTo>
                      <a:pt x="166" y="621"/>
                    </a:lnTo>
                    <a:lnTo>
                      <a:pt x="175" y="622"/>
                    </a:lnTo>
                    <a:lnTo>
                      <a:pt x="179" y="621"/>
                    </a:lnTo>
                    <a:lnTo>
                      <a:pt x="183" y="620"/>
                    </a:lnTo>
                    <a:lnTo>
                      <a:pt x="186" y="618"/>
                    </a:lnTo>
                    <a:lnTo>
                      <a:pt x="190" y="616"/>
                    </a:lnTo>
                    <a:lnTo>
                      <a:pt x="195" y="610"/>
                    </a:lnTo>
                    <a:lnTo>
                      <a:pt x="201" y="603"/>
                    </a:lnTo>
                    <a:lnTo>
                      <a:pt x="209" y="588"/>
                    </a:lnTo>
                    <a:lnTo>
                      <a:pt x="215" y="578"/>
                    </a:lnTo>
                    <a:lnTo>
                      <a:pt x="220" y="574"/>
                    </a:lnTo>
                    <a:lnTo>
                      <a:pt x="225" y="571"/>
                    </a:lnTo>
                    <a:lnTo>
                      <a:pt x="230" y="569"/>
                    </a:lnTo>
                    <a:lnTo>
                      <a:pt x="236" y="567"/>
                    </a:lnTo>
                    <a:lnTo>
                      <a:pt x="246" y="564"/>
                    </a:lnTo>
                    <a:lnTo>
                      <a:pt x="256" y="560"/>
                    </a:lnTo>
                    <a:lnTo>
                      <a:pt x="258" y="558"/>
                    </a:lnTo>
                    <a:lnTo>
                      <a:pt x="260" y="555"/>
                    </a:lnTo>
                    <a:lnTo>
                      <a:pt x="262" y="550"/>
                    </a:lnTo>
                    <a:lnTo>
                      <a:pt x="264" y="544"/>
                    </a:lnTo>
                    <a:lnTo>
                      <a:pt x="268" y="528"/>
                    </a:lnTo>
                    <a:lnTo>
                      <a:pt x="270" y="511"/>
                    </a:lnTo>
                    <a:lnTo>
                      <a:pt x="274" y="477"/>
                    </a:lnTo>
                    <a:lnTo>
                      <a:pt x="275" y="449"/>
                    </a:lnTo>
                    <a:lnTo>
                      <a:pt x="281" y="440"/>
                    </a:lnTo>
                    <a:lnTo>
                      <a:pt x="287" y="432"/>
                    </a:lnTo>
                    <a:lnTo>
                      <a:pt x="294" y="425"/>
                    </a:lnTo>
                    <a:lnTo>
                      <a:pt x="302" y="416"/>
                    </a:lnTo>
                    <a:lnTo>
                      <a:pt x="316" y="404"/>
                    </a:lnTo>
                    <a:lnTo>
                      <a:pt x="328" y="394"/>
                    </a:lnTo>
                    <a:lnTo>
                      <a:pt x="338" y="382"/>
                    </a:lnTo>
                    <a:lnTo>
                      <a:pt x="346" y="370"/>
                    </a:lnTo>
                    <a:lnTo>
                      <a:pt x="352" y="357"/>
                    </a:lnTo>
                    <a:lnTo>
                      <a:pt x="357" y="345"/>
                    </a:lnTo>
                    <a:lnTo>
                      <a:pt x="361" y="334"/>
                    </a:lnTo>
                    <a:lnTo>
                      <a:pt x="364" y="323"/>
                    </a:lnTo>
                    <a:lnTo>
                      <a:pt x="366" y="312"/>
                    </a:lnTo>
                    <a:lnTo>
                      <a:pt x="369" y="299"/>
                    </a:lnTo>
                    <a:lnTo>
                      <a:pt x="370" y="276"/>
                    </a:lnTo>
                    <a:lnTo>
                      <a:pt x="370" y="251"/>
                    </a:lnTo>
                    <a:lnTo>
                      <a:pt x="369" y="225"/>
                    </a:lnTo>
                    <a:lnTo>
                      <a:pt x="369" y="197"/>
                    </a:lnTo>
                    <a:lnTo>
                      <a:pt x="369" y="191"/>
                    </a:lnTo>
                    <a:lnTo>
                      <a:pt x="369" y="187"/>
                    </a:lnTo>
                    <a:lnTo>
                      <a:pt x="371" y="183"/>
                    </a:lnTo>
                    <a:lnTo>
                      <a:pt x="372" y="180"/>
                    </a:lnTo>
                    <a:lnTo>
                      <a:pt x="375" y="174"/>
                    </a:lnTo>
                    <a:lnTo>
                      <a:pt x="380" y="167"/>
                    </a:lnTo>
                    <a:lnTo>
                      <a:pt x="383" y="160"/>
                    </a:lnTo>
                    <a:lnTo>
                      <a:pt x="385" y="149"/>
                    </a:lnTo>
                    <a:lnTo>
                      <a:pt x="385" y="140"/>
                    </a:lnTo>
                    <a:lnTo>
                      <a:pt x="385" y="132"/>
                    </a:lnTo>
                    <a:lnTo>
                      <a:pt x="383" y="122"/>
                    </a:lnTo>
                    <a:lnTo>
                      <a:pt x="382" y="110"/>
                    </a:lnTo>
                    <a:lnTo>
                      <a:pt x="397" y="87"/>
                    </a:lnTo>
                    <a:lnTo>
                      <a:pt x="417" y="58"/>
                    </a:lnTo>
                    <a:lnTo>
                      <a:pt x="422" y="51"/>
                    </a:lnTo>
                    <a:lnTo>
                      <a:pt x="428" y="45"/>
                    </a:lnTo>
                    <a:lnTo>
                      <a:pt x="435" y="40"/>
                    </a:lnTo>
                    <a:lnTo>
                      <a:pt x="440" y="35"/>
                    </a:lnTo>
                    <a:lnTo>
                      <a:pt x="447" y="31"/>
                    </a:lnTo>
                    <a:lnTo>
                      <a:pt x="453" y="26"/>
                    </a:lnTo>
                    <a:lnTo>
                      <a:pt x="461" y="24"/>
                    </a:lnTo>
                    <a:lnTo>
                      <a:pt x="467" y="24"/>
                    </a:lnTo>
                    <a:lnTo>
                      <a:pt x="476" y="24"/>
                    </a:lnTo>
                    <a:lnTo>
                      <a:pt x="484" y="26"/>
                    </a:lnTo>
                    <a:lnTo>
                      <a:pt x="491" y="30"/>
                    </a:lnTo>
                    <a:lnTo>
                      <a:pt x="497" y="33"/>
                    </a:lnTo>
                    <a:lnTo>
                      <a:pt x="509" y="42"/>
                    </a:lnTo>
                    <a:lnTo>
                      <a:pt x="521" y="52"/>
                    </a:lnTo>
                    <a:lnTo>
                      <a:pt x="532" y="62"/>
                    </a:lnTo>
                    <a:lnTo>
                      <a:pt x="544" y="71"/>
                    </a:lnTo>
                    <a:lnTo>
                      <a:pt x="551" y="74"/>
                    </a:lnTo>
                    <a:lnTo>
                      <a:pt x="558" y="77"/>
                    </a:lnTo>
                    <a:lnTo>
                      <a:pt x="565" y="79"/>
                    </a:lnTo>
                    <a:lnTo>
                      <a:pt x="574" y="79"/>
                    </a:lnTo>
                    <a:lnTo>
                      <a:pt x="587" y="78"/>
                    </a:lnTo>
                    <a:lnTo>
                      <a:pt x="599" y="76"/>
                    </a:lnTo>
                    <a:lnTo>
                      <a:pt x="614" y="74"/>
                    </a:lnTo>
                    <a:lnTo>
                      <a:pt x="634" y="73"/>
                    </a:lnTo>
                    <a:lnTo>
                      <a:pt x="637" y="73"/>
                    </a:lnTo>
                    <a:lnTo>
                      <a:pt x="639" y="71"/>
                    </a:lnTo>
                    <a:lnTo>
                      <a:pt x="641" y="69"/>
                    </a:lnTo>
                    <a:lnTo>
                      <a:pt x="644" y="66"/>
                    </a:lnTo>
                    <a:lnTo>
                      <a:pt x="649" y="60"/>
                    </a:lnTo>
                    <a:lnTo>
                      <a:pt x="654" y="55"/>
                    </a:lnTo>
                    <a:lnTo>
                      <a:pt x="662" y="49"/>
                    </a:lnTo>
                    <a:lnTo>
                      <a:pt x="670" y="44"/>
                    </a:lnTo>
                    <a:lnTo>
                      <a:pt x="677" y="40"/>
                    </a:lnTo>
                    <a:lnTo>
                      <a:pt x="685" y="38"/>
                    </a:lnTo>
                    <a:lnTo>
                      <a:pt x="693" y="36"/>
                    </a:lnTo>
                    <a:lnTo>
                      <a:pt x="701" y="35"/>
                    </a:lnTo>
                    <a:lnTo>
                      <a:pt x="709" y="34"/>
                    </a:lnTo>
                    <a:lnTo>
                      <a:pt x="718" y="34"/>
                    </a:lnTo>
                    <a:lnTo>
                      <a:pt x="734" y="34"/>
                    </a:lnTo>
                    <a:lnTo>
                      <a:pt x="752" y="35"/>
                    </a:lnTo>
                    <a:lnTo>
                      <a:pt x="761" y="34"/>
                    </a:lnTo>
                    <a:lnTo>
                      <a:pt x="769" y="34"/>
                    </a:lnTo>
                    <a:lnTo>
                      <a:pt x="778" y="33"/>
                    </a:lnTo>
                    <a:lnTo>
                      <a:pt x="787" y="31"/>
                    </a:lnTo>
                    <a:lnTo>
                      <a:pt x="790" y="24"/>
                    </a:lnTo>
                    <a:lnTo>
                      <a:pt x="795" y="17"/>
                    </a:lnTo>
                    <a:lnTo>
                      <a:pt x="796" y="13"/>
                    </a:lnTo>
                    <a:lnTo>
                      <a:pt x="799" y="9"/>
                    </a:lnTo>
                    <a:lnTo>
                      <a:pt x="802" y="4"/>
                    </a:lnTo>
                    <a:lnTo>
                      <a:pt x="807" y="0"/>
                    </a:lnTo>
                    <a:lnTo>
                      <a:pt x="814" y="0"/>
                    </a:lnTo>
                    <a:lnTo>
                      <a:pt x="827" y="0"/>
                    </a:lnTo>
                    <a:lnTo>
                      <a:pt x="828" y="8"/>
                    </a:lnTo>
                    <a:lnTo>
                      <a:pt x="830" y="14"/>
                    </a:lnTo>
                    <a:lnTo>
                      <a:pt x="833" y="18"/>
                    </a:lnTo>
                    <a:lnTo>
                      <a:pt x="839" y="21"/>
                    </a:lnTo>
                    <a:lnTo>
                      <a:pt x="843" y="22"/>
                    </a:lnTo>
                    <a:lnTo>
                      <a:pt x="848" y="23"/>
                    </a:lnTo>
                    <a:lnTo>
                      <a:pt x="854" y="24"/>
                    </a:lnTo>
                    <a:lnTo>
                      <a:pt x="859" y="24"/>
                    </a:lnTo>
                    <a:lnTo>
                      <a:pt x="869" y="24"/>
                    </a:lnTo>
                    <a:lnTo>
                      <a:pt x="879" y="24"/>
                    </a:lnTo>
                    <a:lnTo>
                      <a:pt x="887" y="24"/>
                    </a:lnTo>
                    <a:lnTo>
                      <a:pt x="894" y="24"/>
                    </a:lnTo>
                  </a:path>
                </a:pathLst>
              </a:custGeom>
              <a:grpFill/>
              <a:ln w="9525" cmpd="sng">
                <a:solidFill>
                  <a:srgbClr val="FFFFFF"/>
                </a:solidFill>
                <a:prstDash val="solid"/>
                <a:round/>
                <a:headEnd/>
                <a:tailEnd/>
              </a:ln>
            </p:spPr>
            <p:txBody>
              <a:bodyPr/>
              <a:lstStyle/>
              <a:p>
                <a:endParaRPr lang="en-GB" sz="1637"/>
              </a:p>
            </p:txBody>
          </p:sp>
          <p:sp>
            <p:nvSpPr>
              <p:cNvPr id="97" name="Freeform 249"/>
              <p:cNvSpPr>
                <a:spLocks/>
              </p:cNvSpPr>
              <p:nvPr>
                <p:custDataLst>
                  <p:tags r:id="rId80"/>
                </p:custDataLst>
              </p:nvPr>
            </p:nvSpPr>
            <p:spPr bwMode="auto">
              <a:xfrm>
                <a:off x="4162146" y="3897750"/>
                <a:ext cx="60654" cy="62684"/>
              </a:xfrm>
              <a:custGeom>
                <a:avLst/>
                <a:gdLst>
                  <a:gd name="T0" fmla="*/ 53340 w 125"/>
                  <a:gd name="T1" fmla="*/ 0 h 81"/>
                  <a:gd name="T2" fmla="*/ 53784 w 125"/>
                  <a:gd name="T3" fmla="*/ 18521 h 81"/>
                  <a:gd name="T4" fmla="*/ 55118 w 125"/>
                  <a:gd name="T5" fmla="*/ 31554 h 81"/>
                  <a:gd name="T6" fmla="*/ 55562 w 125"/>
                  <a:gd name="T7" fmla="*/ 36356 h 81"/>
                  <a:gd name="T8" fmla="*/ 55562 w 125"/>
                  <a:gd name="T9" fmla="*/ 40472 h 81"/>
                  <a:gd name="T10" fmla="*/ 55562 w 125"/>
                  <a:gd name="T11" fmla="*/ 44588 h 81"/>
                  <a:gd name="T12" fmla="*/ 54673 w 125"/>
                  <a:gd name="T13" fmla="*/ 47331 h 81"/>
                  <a:gd name="T14" fmla="*/ 52895 w 125"/>
                  <a:gd name="T15" fmla="*/ 49389 h 81"/>
                  <a:gd name="T16" fmla="*/ 49784 w 125"/>
                  <a:gd name="T17" fmla="*/ 50761 h 81"/>
                  <a:gd name="T18" fmla="*/ 45783 w 125"/>
                  <a:gd name="T19" fmla="*/ 52133 h 81"/>
                  <a:gd name="T20" fmla="*/ 40449 w 125"/>
                  <a:gd name="T21" fmla="*/ 52819 h 81"/>
                  <a:gd name="T22" fmla="*/ 25336 w 125"/>
                  <a:gd name="T23" fmla="*/ 54191 h 81"/>
                  <a:gd name="T24" fmla="*/ 3111 w 125"/>
                  <a:gd name="T25" fmla="*/ 55563 h 81"/>
                  <a:gd name="T26" fmla="*/ 2222 w 125"/>
                  <a:gd name="T27" fmla="*/ 54191 h 81"/>
                  <a:gd name="T28" fmla="*/ 1333 w 125"/>
                  <a:gd name="T29" fmla="*/ 49389 h 81"/>
                  <a:gd name="T30" fmla="*/ 444 w 125"/>
                  <a:gd name="T31" fmla="*/ 40472 h 81"/>
                  <a:gd name="T32" fmla="*/ 0 w 125"/>
                  <a:gd name="T33" fmla="*/ 29496 h 81"/>
                  <a:gd name="T34" fmla="*/ 0 w 125"/>
                  <a:gd name="T35" fmla="*/ 25381 h 81"/>
                  <a:gd name="T36" fmla="*/ 444 w 125"/>
                  <a:gd name="T37" fmla="*/ 21265 h 81"/>
                  <a:gd name="T38" fmla="*/ 889 w 125"/>
                  <a:gd name="T39" fmla="*/ 17149 h 81"/>
                  <a:gd name="T40" fmla="*/ 1778 w 125"/>
                  <a:gd name="T41" fmla="*/ 13719 h 81"/>
                  <a:gd name="T42" fmla="*/ 3556 w 125"/>
                  <a:gd name="T43" fmla="*/ 10289 h 81"/>
                  <a:gd name="T44" fmla="*/ 4889 w 125"/>
                  <a:gd name="T45" fmla="*/ 6860 h 81"/>
                  <a:gd name="T46" fmla="*/ 6223 w 125"/>
                  <a:gd name="T47" fmla="*/ 3430 h 81"/>
                  <a:gd name="T48" fmla="*/ 8890 w 125"/>
                  <a:gd name="T49" fmla="*/ 0 h 81"/>
                  <a:gd name="T50" fmla="*/ 53340 w 125"/>
                  <a:gd name="T51" fmla="*/ 0 h 8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25" h="81">
                    <a:moveTo>
                      <a:pt x="120" y="0"/>
                    </a:moveTo>
                    <a:lnTo>
                      <a:pt x="121" y="27"/>
                    </a:lnTo>
                    <a:lnTo>
                      <a:pt x="124" y="46"/>
                    </a:lnTo>
                    <a:lnTo>
                      <a:pt x="125" y="53"/>
                    </a:lnTo>
                    <a:lnTo>
                      <a:pt x="125" y="59"/>
                    </a:lnTo>
                    <a:lnTo>
                      <a:pt x="125" y="65"/>
                    </a:lnTo>
                    <a:lnTo>
                      <a:pt x="123" y="69"/>
                    </a:lnTo>
                    <a:lnTo>
                      <a:pt x="119" y="72"/>
                    </a:lnTo>
                    <a:lnTo>
                      <a:pt x="112" y="74"/>
                    </a:lnTo>
                    <a:lnTo>
                      <a:pt x="103" y="76"/>
                    </a:lnTo>
                    <a:lnTo>
                      <a:pt x="91" y="77"/>
                    </a:lnTo>
                    <a:lnTo>
                      <a:pt x="57" y="79"/>
                    </a:lnTo>
                    <a:lnTo>
                      <a:pt x="7" y="81"/>
                    </a:lnTo>
                    <a:lnTo>
                      <a:pt x="5" y="79"/>
                    </a:lnTo>
                    <a:lnTo>
                      <a:pt x="3" y="72"/>
                    </a:lnTo>
                    <a:lnTo>
                      <a:pt x="1" y="59"/>
                    </a:lnTo>
                    <a:lnTo>
                      <a:pt x="0" y="43"/>
                    </a:lnTo>
                    <a:lnTo>
                      <a:pt x="0" y="37"/>
                    </a:lnTo>
                    <a:lnTo>
                      <a:pt x="1" y="31"/>
                    </a:lnTo>
                    <a:lnTo>
                      <a:pt x="2" y="25"/>
                    </a:lnTo>
                    <a:lnTo>
                      <a:pt x="4" y="20"/>
                    </a:lnTo>
                    <a:lnTo>
                      <a:pt x="8" y="15"/>
                    </a:lnTo>
                    <a:lnTo>
                      <a:pt x="11" y="10"/>
                    </a:lnTo>
                    <a:lnTo>
                      <a:pt x="14" y="5"/>
                    </a:lnTo>
                    <a:lnTo>
                      <a:pt x="20" y="0"/>
                    </a:lnTo>
                    <a:lnTo>
                      <a:pt x="120" y="0"/>
                    </a:lnTo>
                  </a:path>
                </a:pathLst>
              </a:custGeom>
              <a:grpFill/>
              <a:ln w="9525" cmpd="sng">
                <a:solidFill>
                  <a:srgbClr val="FFFFFF"/>
                </a:solidFill>
                <a:prstDash val="solid"/>
                <a:round/>
                <a:headEnd/>
                <a:tailEnd/>
              </a:ln>
            </p:spPr>
            <p:txBody>
              <a:bodyPr/>
              <a:lstStyle/>
              <a:p>
                <a:endParaRPr lang="en-GB" sz="1637"/>
              </a:p>
            </p:txBody>
          </p:sp>
          <p:sp>
            <p:nvSpPr>
              <p:cNvPr id="98" name="Freeform 250"/>
              <p:cNvSpPr>
                <a:spLocks/>
              </p:cNvSpPr>
              <p:nvPr>
                <p:custDataLst>
                  <p:tags r:id="rId81"/>
                </p:custDataLst>
              </p:nvPr>
            </p:nvSpPr>
            <p:spPr bwMode="auto">
              <a:xfrm>
                <a:off x="4143082" y="3897750"/>
                <a:ext cx="166366" cy="227453"/>
              </a:xfrm>
              <a:custGeom>
                <a:avLst/>
                <a:gdLst>
                  <a:gd name="T0" fmla="*/ 112475 w 355"/>
                  <a:gd name="T1" fmla="*/ 7794 h 388"/>
                  <a:gd name="T2" fmla="*/ 110329 w 355"/>
                  <a:gd name="T3" fmla="*/ 19226 h 388"/>
                  <a:gd name="T4" fmla="*/ 113334 w 355"/>
                  <a:gd name="T5" fmla="*/ 26501 h 388"/>
                  <a:gd name="T6" fmla="*/ 121491 w 355"/>
                  <a:gd name="T7" fmla="*/ 31177 h 388"/>
                  <a:gd name="T8" fmla="*/ 136945 w 355"/>
                  <a:gd name="T9" fmla="*/ 28579 h 388"/>
                  <a:gd name="T10" fmla="*/ 142526 w 355"/>
                  <a:gd name="T11" fmla="*/ 29618 h 388"/>
                  <a:gd name="T12" fmla="*/ 145961 w 355"/>
                  <a:gd name="T13" fmla="*/ 35334 h 388"/>
                  <a:gd name="T14" fmla="*/ 148107 w 355"/>
                  <a:gd name="T15" fmla="*/ 43129 h 388"/>
                  <a:gd name="T16" fmla="*/ 150683 w 355"/>
                  <a:gd name="T17" fmla="*/ 48844 h 388"/>
                  <a:gd name="T18" fmla="*/ 148107 w 355"/>
                  <a:gd name="T19" fmla="*/ 56119 h 388"/>
                  <a:gd name="T20" fmla="*/ 137375 w 355"/>
                  <a:gd name="T21" fmla="*/ 70668 h 388"/>
                  <a:gd name="T22" fmla="*/ 149395 w 355"/>
                  <a:gd name="T23" fmla="*/ 90934 h 388"/>
                  <a:gd name="T24" fmla="*/ 152400 w 355"/>
                  <a:gd name="T25" fmla="*/ 104963 h 388"/>
                  <a:gd name="T26" fmla="*/ 151541 w 355"/>
                  <a:gd name="T27" fmla="*/ 113797 h 388"/>
                  <a:gd name="T28" fmla="*/ 148107 w 355"/>
                  <a:gd name="T29" fmla="*/ 131984 h 388"/>
                  <a:gd name="T30" fmla="*/ 142955 w 355"/>
                  <a:gd name="T31" fmla="*/ 140817 h 388"/>
                  <a:gd name="T32" fmla="*/ 133940 w 355"/>
                  <a:gd name="T33" fmla="*/ 145494 h 388"/>
                  <a:gd name="T34" fmla="*/ 122779 w 355"/>
                  <a:gd name="T35" fmla="*/ 146533 h 388"/>
                  <a:gd name="T36" fmla="*/ 115910 w 355"/>
                  <a:gd name="T37" fmla="*/ 146533 h 388"/>
                  <a:gd name="T38" fmla="*/ 108183 w 355"/>
                  <a:gd name="T39" fmla="*/ 137700 h 388"/>
                  <a:gd name="T40" fmla="*/ 103031 w 355"/>
                  <a:gd name="T41" fmla="*/ 134582 h 388"/>
                  <a:gd name="T42" fmla="*/ 94874 w 355"/>
                  <a:gd name="T43" fmla="*/ 139778 h 388"/>
                  <a:gd name="T44" fmla="*/ 88006 w 355"/>
                  <a:gd name="T45" fmla="*/ 144974 h 388"/>
                  <a:gd name="T46" fmla="*/ 83283 w 355"/>
                  <a:gd name="T47" fmla="*/ 148092 h 388"/>
                  <a:gd name="T48" fmla="*/ 79420 w 355"/>
                  <a:gd name="T49" fmla="*/ 154847 h 388"/>
                  <a:gd name="T50" fmla="*/ 80278 w 355"/>
                  <a:gd name="T51" fmla="*/ 166798 h 388"/>
                  <a:gd name="T52" fmla="*/ 88864 w 355"/>
                  <a:gd name="T53" fmla="*/ 186024 h 388"/>
                  <a:gd name="T54" fmla="*/ 83713 w 355"/>
                  <a:gd name="T55" fmla="*/ 183426 h 388"/>
                  <a:gd name="T56" fmla="*/ 75985 w 355"/>
                  <a:gd name="T57" fmla="*/ 184466 h 388"/>
                  <a:gd name="T58" fmla="*/ 69546 w 355"/>
                  <a:gd name="T59" fmla="*/ 189662 h 388"/>
                  <a:gd name="T60" fmla="*/ 62677 w 355"/>
                  <a:gd name="T61" fmla="*/ 201613 h 388"/>
                  <a:gd name="T62" fmla="*/ 52803 w 355"/>
                  <a:gd name="T63" fmla="*/ 192260 h 388"/>
                  <a:gd name="T64" fmla="*/ 48510 w 355"/>
                  <a:gd name="T65" fmla="*/ 186024 h 388"/>
                  <a:gd name="T66" fmla="*/ 41212 w 355"/>
                  <a:gd name="T67" fmla="*/ 168357 h 388"/>
                  <a:gd name="T68" fmla="*/ 21465 w 355"/>
                  <a:gd name="T69" fmla="*/ 145494 h 388"/>
                  <a:gd name="T70" fmla="*/ 9445 w 355"/>
                  <a:gd name="T71" fmla="*/ 131984 h 388"/>
                  <a:gd name="T72" fmla="*/ 2146 w 355"/>
                  <a:gd name="T73" fmla="*/ 115876 h 388"/>
                  <a:gd name="T74" fmla="*/ 429 w 355"/>
                  <a:gd name="T75" fmla="*/ 97169 h 388"/>
                  <a:gd name="T76" fmla="*/ 4722 w 355"/>
                  <a:gd name="T77" fmla="*/ 84179 h 388"/>
                  <a:gd name="T78" fmla="*/ 17601 w 355"/>
                  <a:gd name="T79" fmla="*/ 69629 h 388"/>
                  <a:gd name="T80" fmla="*/ 23182 w 355"/>
                  <a:gd name="T81" fmla="*/ 60276 h 388"/>
                  <a:gd name="T82" fmla="*/ 24041 w 355"/>
                  <a:gd name="T83" fmla="*/ 47286 h 388"/>
                  <a:gd name="T84" fmla="*/ 46364 w 355"/>
                  <a:gd name="T85" fmla="*/ 43129 h 388"/>
                  <a:gd name="T86" fmla="*/ 66970 w 355"/>
                  <a:gd name="T87" fmla="*/ 41570 h 388"/>
                  <a:gd name="T88" fmla="*/ 73839 w 355"/>
                  <a:gd name="T89" fmla="*/ 37932 h 388"/>
                  <a:gd name="T90" fmla="*/ 75985 w 355"/>
                  <a:gd name="T91" fmla="*/ 32736 h 388"/>
                  <a:gd name="T92" fmla="*/ 74697 w 355"/>
                  <a:gd name="T93" fmla="*/ 21304 h 388"/>
                  <a:gd name="T94" fmla="*/ 71692 w 355"/>
                  <a:gd name="T95" fmla="*/ 6235 h 38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55" h="388">
                    <a:moveTo>
                      <a:pt x="266" y="7"/>
                    </a:moveTo>
                    <a:lnTo>
                      <a:pt x="265" y="9"/>
                    </a:lnTo>
                    <a:lnTo>
                      <a:pt x="262" y="15"/>
                    </a:lnTo>
                    <a:lnTo>
                      <a:pt x="259" y="23"/>
                    </a:lnTo>
                    <a:lnTo>
                      <a:pt x="257" y="32"/>
                    </a:lnTo>
                    <a:lnTo>
                      <a:pt x="257" y="37"/>
                    </a:lnTo>
                    <a:lnTo>
                      <a:pt x="258" y="42"/>
                    </a:lnTo>
                    <a:lnTo>
                      <a:pt x="261" y="46"/>
                    </a:lnTo>
                    <a:lnTo>
                      <a:pt x="264" y="51"/>
                    </a:lnTo>
                    <a:lnTo>
                      <a:pt x="268" y="54"/>
                    </a:lnTo>
                    <a:lnTo>
                      <a:pt x="275" y="58"/>
                    </a:lnTo>
                    <a:lnTo>
                      <a:pt x="283" y="60"/>
                    </a:lnTo>
                    <a:lnTo>
                      <a:pt x="294" y="63"/>
                    </a:lnTo>
                    <a:lnTo>
                      <a:pt x="301" y="58"/>
                    </a:lnTo>
                    <a:lnTo>
                      <a:pt x="319" y="55"/>
                    </a:lnTo>
                    <a:lnTo>
                      <a:pt x="323" y="55"/>
                    </a:lnTo>
                    <a:lnTo>
                      <a:pt x="328" y="55"/>
                    </a:lnTo>
                    <a:lnTo>
                      <a:pt x="332" y="57"/>
                    </a:lnTo>
                    <a:lnTo>
                      <a:pt x="335" y="59"/>
                    </a:lnTo>
                    <a:lnTo>
                      <a:pt x="337" y="63"/>
                    </a:lnTo>
                    <a:lnTo>
                      <a:pt x="340" y="68"/>
                    </a:lnTo>
                    <a:lnTo>
                      <a:pt x="340" y="74"/>
                    </a:lnTo>
                    <a:lnTo>
                      <a:pt x="340" y="81"/>
                    </a:lnTo>
                    <a:lnTo>
                      <a:pt x="345" y="83"/>
                    </a:lnTo>
                    <a:lnTo>
                      <a:pt x="348" y="87"/>
                    </a:lnTo>
                    <a:lnTo>
                      <a:pt x="350" y="90"/>
                    </a:lnTo>
                    <a:lnTo>
                      <a:pt x="351" y="94"/>
                    </a:lnTo>
                    <a:lnTo>
                      <a:pt x="350" y="99"/>
                    </a:lnTo>
                    <a:lnTo>
                      <a:pt x="347" y="103"/>
                    </a:lnTo>
                    <a:lnTo>
                      <a:pt x="345" y="108"/>
                    </a:lnTo>
                    <a:lnTo>
                      <a:pt x="342" y="113"/>
                    </a:lnTo>
                    <a:lnTo>
                      <a:pt x="328" y="129"/>
                    </a:lnTo>
                    <a:lnTo>
                      <a:pt x="320" y="136"/>
                    </a:lnTo>
                    <a:lnTo>
                      <a:pt x="326" y="143"/>
                    </a:lnTo>
                    <a:lnTo>
                      <a:pt x="341" y="162"/>
                    </a:lnTo>
                    <a:lnTo>
                      <a:pt x="348" y="175"/>
                    </a:lnTo>
                    <a:lnTo>
                      <a:pt x="353" y="188"/>
                    </a:lnTo>
                    <a:lnTo>
                      <a:pt x="355" y="195"/>
                    </a:lnTo>
                    <a:lnTo>
                      <a:pt x="355" y="202"/>
                    </a:lnTo>
                    <a:lnTo>
                      <a:pt x="355" y="209"/>
                    </a:lnTo>
                    <a:lnTo>
                      <a:pt x="353" y="216"/>
                    </a:lnTo>
                    <a:lnTo>
                      <a:pt x="353" y="219"/>
                    </a:lnTo>
                    <a:lnTo>
                      <a:pt x="352" y="228"/>
                    </a:lnTo>
                    <a:lnTo>
                      <a:pt x="350" y="241"/>
                    </a:lnTo>
                    <a:lnTo>
                      <a:pt x="345" y="254"/>
                    </a:lnTo>
                    <a:lnTo>
                      <a:pt x="342" y="260"/>
                    </a:lnTo>
                    <a:lnTo>
                      <a:pt x="339" y="266"/>
                    </a:lnTo>
                    <a:lnTo>
                      <a:pt x="333" y="271"/>
                    </a:lnTo>
                    <a:lnTo>
                      <a:pt x="328" y="276"/>
                    </a:lnTo>
                    <a:lnTo>
                      <a:pt x="321" y="279"/>
                    </a:lnTo>
                    <a:lnTo>
                      <a:pt x="312" y="280"/>
                    </a:lnTo>
                    <a:lnTo>
                      <a:pt x="303" y="280"/>
                    </a:lnTo>
                    <a:lnTo>
                      <a:pt x="294" y="277"/>
                    </a:lnTo>
                    <a:lnTo>
                      <a:pt x="286" y="282"/>
                    </a:lnTo>
                    <a:lnTo>
                      <a:pt x="280" y="285"/>
                    </a:lnTo>
                    <a:lnTo>
                      <a:pt x="275" y="285"/>
                    </a:lnTo>
                    <a:lnTo>
                      <a:pt x="270" y="282"/>
                    </a:lnTo>
                    <a:lnTo>
                      <a:pt x="263" y="276"/>
                    </a:lnTo>
                    <a:lnTo>
                      <a:pt x="255" y="268"/>
                    </a:lnTo>
                    <a:lnTo>
                      <a:pt x="252" y="265"/>
                    </a:lnTo>
                    <a:lnTo>
                      <a:pt x="249" y="261"/>
                    </a:lnTo>
                    <a:lnTo>
                      <a:pt x="244" y="259"/>
                    </a:lnTo>
                    <a:lnTo>
                      <a:pt x="240" y="259"/>
                    </a:lnTo>
                    <a:lnTo>
                      <a:pt x="234" y="260"/>
                    </a:lnTo>
                    <a:lnTo>
                      <a:pt x="229" y="263"/>
                    </a:lnTo>
                    <a:lnTo>
                      <a:pt x="221" y="269"/>
                    </a:lnTo>
                    <a:lnTo>
                      <a:pt x="213" y="277"/>
                    </a:lnTo>
                    <a:lnTo>
                      <a:pt x="211" y="278"/>
                    </a:lnTo>
                    <a:lnTo>
                      <a:pt x="205" y="279"/>
                    </a:lnTo>
                    <a:lnTo>
                      <a:pt x="201" y="280"/>
                    </a:lnTo>
                    <a:lnTo>
                      <a:pt x="197" y="282"/>
                    </a:lnTo>
                    <a:lnTo>
                      <a:pt x="194" y="285"/>
                    </a:lnTo>
                    <a:lnTo>
                      <a:pt x="190" y="288"/>
                    </a:lnTo>
                    <a:lnTo>
                      <a:pt x="187" y="292"/>
                    </a:lnTo>
                    <a:lnTo>
                      <a:pt x="185" y="298"/>
                    </a:lnTo>
                    <a:lnTo>
                      <a:pt x="185" y="304"/>
                    </a:lnTo>
                    <a:lnTo>
                      <a:pt x="185" y="312"/>
                    </a:lnTo>
                    <a:lnTo>
                      <a:pt x="187" y="321"/>
                    </a:lnTo>
                    <a:lnTo>
                      <a:pt x="191" y="331"/>
                    </a:lnTo>
                    <a:lnTo>
                      <a:pt x="198" y="344"/>
                    </a:lnTo>
                    <a:lnTo>
                      <a:pt x="207" y="358"/>
                    </a:lnTo>
                    <a:lnTo>
                      <a:pt x="206" y="357"/>
                    </a:lnTo>
                    <a:lnTo>
                      <a:pt x="201" y="355"/>
                    </a:lnTo>
                    <a:lnTo>
                      <a:pt x="195" y="353"/>
                    </a:lnTo>
                    <a:lnTo>
                      <a:pt x="187" y="353"/>
                    </a:lnTo>
                    <a:lnTo>
                      <a:pt x="183" y="353"/>
                    </a:lnTo>
                    <a:lnTo>
                      <a:pt x="177" y="355"/>
                    </a:lnTo>
                    <a:lnTo>
                      <a:pt x="173" y="357"/>
                    </a:lnTo>
                    <a:lnTo>
                      <a:pt x="167" y="361"/>
                    </a:lnTo>
                    <a:lnTo>
                      <a:pt x="162" y="365"/>
                    </a:lnTo>
                    <a:lnTo>
                      <a:pt x="157" y="371"/>
                    </a:lnTo>
                    <a:lnTo>
                      <a:pt x="152" y="379"/>
                    </a:lnTo>
                    <a:lnTo>
                      <a:pt x="146" y="388"/>
                    </a:lnTo>
                    <a:lnTo>
                      <a:pt x="137" y="380"/>
                    </a:lnTo>
                    <a:lnTo>
                      <a:pt x="128" y="373"/>
                    </a:lnTo>
                    <a:lnTo>
                      <a:pt x="123" y="370"/>
                    </a:lnTo>
                    <a:lnTo>
                      <a:pt x="120" y="366"/>
                    </a:lnTo>
                    <a:lnTo>
                      <a:pt x="117" y="362"/>
                    </a:lnTo>
                    <a:lnTo>
                      <a:pt x="113" y="358"/>
                    </a:lnTo>
                    <a:lnTo>
                      <a:pt x="109" y="346"/>
                    </a:lnTo>
                    <a:lnTo>
                      <a:pt x="102" y="334"/>
                    </a:lnTo>
                    <a:lnTo>
                      <a:pt x="96" y="324"/>
                    </a:lnTo>
                    <a:lnTo>
                      <a:pt x="87" y="315"/>
                    </a:lnTo>
                    <a:lnTo>
                      <a:pt x="70" y="297"/>
                    </a:lnTo>
                    <a:lnTo>
                      <a:pt x="50" y="280"/>
                    </a:lnTo>
                    <a:lnTo>
                      <a:pt x="40" y="271"/>
                    </a:lnTo>
                    <a:lnTo>
                      <a:pt x="31" y="263"/>
                    </a:lnTo>
                    <a:lnTo>
                      <a:pt x="22" y="254"/>
                    </a:lnTo>
                    <a:lnTo>
                      <a:pt x="16" y="245"/>
                    </a:lnTo>
                    <a:lnTo>
                      <a:pt x="9" y="235"/>
                    </a:lnTo>
                    <a:lnTo>
                      <a:pt x="5" y="223"/>
                    </a:lnTo>
                    <a:lnTo>
                      <a:pt x="1" y="211"/>
                    </a:lnTo>
                    <a:lnTo>
                      <a:pt x="0" y="198"/>
                    </a:lnTo>
                    <a:lnTo>
                      <a:pt x="1" y="187"/>
                    </a:lnTo>
                    <a:lnTo>
                      <a:pt x="4" y="178"/>
                    </a:lnTo>
                    <a:lnTo>
                      <a:pt x="7" y="169"/>
                    </a:lnTo>
                    <a:lnTo>
                      <a:pt x="11" y="162"/>
                    </a:lnTo>
                    <a:lnTo>
                      <a:pt x="22" y="150"/>
                    </a:lnTo>
                    <a:lnTo>
                      <a:pt x="34" y="139"/>
                    </a:lnTo>
                    <a:lnTo>
                      <a:pt x="41" y="134"/>
                    </a:lnTo>
                    <a:lnTo>
                      <a:pt x="45" y="129"/>
                    </a:lnTo>
                    <a:lnTo>
                      <a:pt x="50" y="123"/>
                    </a:lnTo>
                    <a:lnTo>
                      <a:pt x="54" y="116"/>
                    </a:lnTo>
                    <a:lnTo>
                      <a:pt x="56" y="109"/>
                    </a:lnTo>
                    <a:lnTo>
                      <a:pt x="57" y="101"/>
                    </a:lnTo>
                    <a:lnTo>
                      <a:pt x="56" y="91"/>
                    </a:lnTo>
                    <a:lnTo>
                      <a:pt x="54" y="81"/>
                    </a:lnTo>
                    <a:lnTo>
                      <a:pt x="84" y="83"/>
                    </a:lnTo>
                    <a:lnTo>
                      <a:pt x="108" y="83"/>
                    </a:lnTo>
                    <a:lnTo>
                      <a:pt x="129" y="83"/>
                    </a:lnTo>
                    <a:lnTo>
                      <a:pt x="144" y="82"/>
                    </a:lnTo>
                    <a:lnTo>
                      <a:pt x="156" y="80"/>
                    </a:lnTo>
                    <a:lnTo>
                      <a:pt x="165" y="77"/>
                    </a:lnTo>
                    <a:lnTo>
                      <a:pt x="168" y="75"/>
                    </a:lnTo>
                    <a:lnTo>
                      <a:pt x="172" y="73"/>
                    </a:lnTo>
                    <a:lnTo>
                      <a:pt x="174" y="71"/>
                    </a:lnTo>
                    <a:lnTo>
                      <a:pt x="175" y="69"/>
                    </a:lnTo>
                    <a:lnTo>
                      <a:pt x="177" y="63"/>
                    </a:lnTo>
                    <a:lnTo>
                      <a:pt x="176" y="56"/>
                    </a:lnTo>
                    <a:lnTo>
                      <a:pt x="175" y="49"/>
                    </a:lnTo>
                    <a:lnTo>
                      <a:pt x="174" y="41"/>
                    </a:lnTo>
                    <a:lnTo>
                      <a:pt x="172" y="32"/>
                    </a:lnTo>
                    <a:lnTo>
                      <a:pt x="169" y="22"/>
                    </a:lnTo>
                    <a:lnTo>
                      <a:pt x="167" y="12"/>
                    </a:lnTo>
                    <a:lnTo>
                      <a:pt x="167" y="0"/>
                    </a:lnTo>
                    <a:lnTo>
                      <a:pt x="266" y="7"/>
                    </a:lnTo>
                  </a:path>
                </a:pathLst>
              </a:custGeom>
              <a:grpFill/>
              <a:ln w="9525" cmpd="sng">
                <a:solidFill>
                  <a:srgbClr val="FFFFFF"/>
                </a:solidFill>
                <a:prstDash val="solid"/>
                <a:round/>
                <a:headEnd/>
                <a:tailEnd/>
              </a:ln>
            </p:spPr>
            <p:txBody>
              <a:bodyPr/>
              <a:lstStyle/>
              <a:p>
                <a:endParaRPr lang="en-GB" sz="1637"/>
              </a:p>
            </p:txBody>
          </p:sp>
          <p:sp>
            <p:nvSpPr>
              <p:cNvPr id="99" name="Freeform 251"/>
              <p:cNvSpPr>
                <a:spLocks/>
              </p:cNvSpPr>
              <p:nvPr>
                <p:custDataLst>
                  <p:tags r:id="rId82"/>
                </p:custDataLst>
              </p:nvPr>
            </p:nvSpPr>
            <p:spPr bwMode="auto">
              <a:xfrm>
                <a:off x="4725363" y="4354447"/>
                <a:ext cx="284209" cy="587437"/>
              </a:xfrm>
              <a:custGeom>
                <a:avLst/>
                <a:gdLst>
                  <a:gd name="T0" fmla="*/ 0 w 599"/>
                  <a:gd name="T1" fmla="*/ 135812 h 993"/>
                  <a:gd name="T2" fmla="*/ 79105 w 599"/>
                  <a:gd name="T3" fmla="*/ 117459 h 993"/>
                  <a:gd name="T4" fmla="*/ 99967 w 599"/>
                  <a:gd name="T5" fmla="*/ 125849 h 993"/>
                  <a:gd name="T6" fmla="*/ 112137 w 599"/>
                  <a:gd name="T7" fmla="*/ 135288 h 993"/>
                  <a:gd name="T8" fmla="*/ 109530 w 599"/>
                  <a:gd name="T9" fmla="*/ 155214 h 993"/>
                  <a:gd name="T10" fmla="*/ 101706 w 599"/>
                  <a:gd name="T11" fmla="*/ 171469 h 993"/>
                  <a:gd name="T12" fmla="*/ 108660 w 599"/>
                  <a:gd name="T13" fmla="*/ 187200 h 993"/>
                  <a:gd name="T14" fmla="*/ 127784 w 599"/>
                  <a:gd name="T15" fmla="*/ 191395 h 993"/>
                  <a:gd name="T16" fmla="*/ 138651 w 599"/>
                  <a:gd name="T17" fmla="*/ 178286 h 993"/>
                  <a:gd name="T18" fmla="*/ 146909 w 599"/>
                  <a:gd name="T19" fmla="*/ 166225 h 993"/>
                  <a:gd name="T20" fmla="*/ 144301 w 599"/>
                  <a:gd name="T21" fmla="*/ 136861 h 993"/>
                  <a:gd name="T22" fmla="*/ 136477 w 599"/>
                  <a:gd name="T23" fmla="*/ 106972 h 993"/>
                  <a:gd name="T24" fmla="*/ 117788 w 599"/>
                  <a:gd name="T25" fmla="*/ 82326 h 993"/>
                  <a:gd name="T26" fmla="*/ 110399 w 599"/>
                  <a:gd name="T27" fmla="*/ 65546 h 993"/>
                  <a:gd name="T28" fmla="*/ 117353 w 599"/>
                  <a:gd name="T29" fmla="*/ 32511 h 993"/>
                  <a:gd name="T30" fmla="*/ 139085 w 599"/>
                  <a:gd name="T31" fmla="*/ 28840 h 993"/>
                  <a:gd name="T32" fmla="*/ 181680 w 599"/>
                  <a:gd name="T33" fmla="*/ 31462 h 993"/>
                  <a:gd name="T34" fmla="*/ 226448 w 599"/>
                  <a:gd name="T35" fmla="*/ 18877 h 993"/>
                  <a:gd name="T36" fmla="*/ 259481 w 599"/>
                  <a:gd name="T37" fmla="*/ 1573 h 993"/>
                  <a:gd name="T38" fmla="*/ 259481 w 599"/>
                  <a:gd name="T39" fmla="*/ 15731 h 993"/>
                  <a:gd name="T40" fmla="*/ 259481 w 599"/>
                  <a:gd name="T41" fmla="*/ 66071 h 993"/>
                  <a:gd name="T42" fmla="*/ 257308 w 599"/>
                  <a:gd name="T43" fmla="*/ 119556 h 993"/>
                  <a:gd name="T44" fmla="*/ 254265 w 599"/>
                  <a:gd name="T45" fmla="*/ 144726 h 993"/>
                  <a:gd name="T46" fmla="*/ 239053 w 599"/>
                  <a:gd name="T47" fmla="*/ 176713 h 993"/>
                  <a:gd name="T48" fmla="*/ 203412 w 599"/>
                  <a:gd name="T49" fmla="*/ 210797 h 993"/>
                  <a:gd name="T50" fmla="*/ 162556 w 599"/>
                  <a:gd name="T51" fmla="*/ 223382 h 993"/>
                  <a:gd name="T52" fmla="*/ 153428 w 599"/>
                  <a:gd name="T53" fmla="*/ 243308 h 993"/>
                  <a:gd name="T54" fmla="*/ 127350 w 599"/>
                  <a:gd name="T55" fmla="*/ 265856 h 993"/>
                  <a:gd name="T56" fmla="*/ 105618 w 599"/>
                  <a:gd name="T57" fmla="*/ 287879 h 993"/>
                  <a:gd name="T58" fmla="*/ 99533 w 599"/>
                  <a:gd name="T59" fmla="*/ 305184 h 993"/>
                  <a:gd name="T60" fmla="*/ 103010 w 599"/>
                  <a:gd name="T61" fmla="*/ 324585 h 993"/>
                  <a:gd name="T62" fmla="*/ 116049 w 599"/>
                  <a:gd name="T63" fmla="*/ 342938 h 993"/>
                  <a:gd name="T64" fmla="*/ 110399 w 599"/>
                  <a:gd name="T65" fmla="*/ 363913 h 993"/>
                  <a:gd name="T66" fmla="*/ 115180 w 599"/>
                  <a:gd name="T67" fmla="*/ 382266 h 993"/>
                  <a:gd name="T68" fmla="*/ 116049 w 599"/>
                  <a:gd name="T69" fmla="*/ 414253 h 993"/>
                  <a:gd name="T70" fmla="*/ 111268 w 599"/>
                  <a:gd name="T71" fmla="*/ 426838 h 993"/>
                  <a:gd name="T72" fmla="*/ 83886 w 599"/>
                  <a:gd name="T73" fmla="*/ 457776 h 993"/>
                  <a:gd name="T74" fmla="*/ 63892 w 599"/>
                  <a:gd name="T75" fmla="*/ 465117 h 993"/>
                  <a:gd name="T76" fmla="*/ 44333 w 599"/>
                  <a:gd name="T77" fmla="*/ 468787 h 993"/>
                  <a:gd name="T78" fmla="*/ 37814 w 599"/>
                  <a:gd name="T79" fmla="*/ 478750 h 993"/>
                  <a:gd name="T80" fmla="*/ 41291 w 599"/>
                  <a:gd name="T81" fmla="*/ 492384 h 993"/>
                  <a:gd name="T82" fmla="*/ 39552 w 599"/>
                  <a:gd name="T83" fmla="*/ 520176 h 993"/>
                  <a:gd name="T84" fmla="*/ 32163 w 599"/>
                  <a:gd name="T85" fmla="*/ 424740 h 993"/>
                  <a:gd name="T86" fmla="*/ 25209 w 599"/>
                  <a:gd name="T87" fmla="*/ 401144 h 993"/>
                  <a:gd name="T88" fmla="*/ 17820 w 599"/>
                  <a:gd name="T89" fmla="*/ 377547 h 993"/>
                  <a:gd name="T90" fmla="*/ 46941 w 599"/>
                  <a:gd name="T91" fmla="*/ 349231 h 993"/>
                  <a:gd name="T92" fmla="*/ 47376 w 599"/>
                  <a:gd name="T93" fmla="*/ 321964 h 993"/>
                  <a:gd name="T94" fmla="*/ 64762 w 599"/>
                  <a:gd name="T95" fmla="*/ 299416 h 993"/>
                  <a:gd name="T96" fmla="*/ 75628 w 599"/>
                  <a:gd name="T97" fmla="*/ 275819 h 993"/>
                  <a:gd name="T98" fmla="*/ 73020 w 599"/>
                  <a:gd name="T99" fmla="*/ 231247 h 993"/>
                  <a:gd name="T100" fmla="*/ 66065 w 599"/>
                  <a:gd name="T101" fmla="*/ 190871 h 993"/>
                  <a:gd name="T102" fmla="*/ 35206 w 599"/>
                  <a:gd name="T103" fmla="*/ 178810 h 99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599" h="993">
                    <a:moveTo>
                      <a:pt x="15" y="309"/>
                    </a:moveTo>
                    <a:lnTo>
                      <a:pt x="9" y="291"/>
                    </a:lnTo>
                    <a:lnTo>
                      <a:pt x="3" y="273"/>
                    </a:lnTo>
                    <a:lnTo>
                      <a:pt x="1" y="266"/>
                    </a:lnTo>
                    <a:lnTo>
                      <a:pt x="0" y="259"/>
                    </a:lnTo>
                    <a:lnTo>
                      <a:pt x="0" y="253"/>
                    </a:lnTo>
                    <a:lnTo>
                      <a:pt x="2" y="248"/>
                    </a:lnTo>
                    <a:lnTo>
                      <a:pt x="174" y="216"/>
                    </a:lnTo>
                    <a:lnTo>
                      <a:pt x="177" y="220"/>
                    </a:lnTo>
                    <a:lnTo>
                      <a:pt x="182" y="224"/>
                    </a:lnTo>
                    <a:lnTo>
                      <a:pt x="187" y="227"/>
                    </a:lnTo>
                    <a:lnTo>
                      <a:pt x="193" y="229"/>
                    </a:lnTo>
                    <a:lnTo>
                      <a:pt x="207" y="234"/>
                    </a:lnTo>
                    <a:lnTo>
                      <a:pt x="222" y="238"/>
                    </a:lnTo>
                    <a:lnTo>
                      <a:pt x="230" y="240"/>
                    </a:lnTo>
                    <a:lnTo>
                      <a:pt x="237" y="242"/>
                    </a:lnTo>
                    <a:lnTo>
                      <a:pt x="243" y="245"/>
                    </a:lnTo>
                    <a:lnTo>
                      <a:pt x="249" y="249"/>
                    </a:lnTo>
                    <a:lnTo>
                      <a:pt x="253" y="253"/>
                    </a:lnTo>
                    <a:lnTo>
                      <a:pt x="258" y="258"/>
                    </a:lnTo>
                    <a:lnTo>
                      <a:pt x="260" y="264"/>
                    </a:lnTo>
                    <a:lnTo>
                      <a:pt x="261" y="272"/>
                    </a:lnTo>
                    <a:lnTo>
                      <a:pt x="260" y="280"/>
                    </a:lnTo>
                    <a:lnTo>
                      <a:pt x="256" y="289"/>
                    </a:lnTo>
                    <a:lnTo>
                      <a:pt x="252" y="296"/>
                    </a:lnTo>
                    <a:lnTo>
                      <a:pt x="248" y="302"/>
                    </a:lnTo>
                    <a:lnTo>
                      <a:pt x="242" y="308"/>
                    </a:lnTo>
                    <a:lnTo>
                      <a:pt x="238" y="314"/>
                    </a:lnTo>
                    <a:lnTo>
                      <a:pt x="236" y="321"/>
                    </a:lnTo>
                    <a:lnTo>
                      <a:pt x="234" y="327"/>
                    </a:lnTo>
                    <a:lnTo>
                      <a:pt x="234" y="333"/>
                    </a:lnTo>
                    <a:lnTo>
                      <a:pt x="236" y="338"/>
                    </a:lnTo>
                    <a:lnTo>
                      <a:pt x="238" y="344"/>
                    </a:lnTo>
                    <a:lnTo>
                      <a:pt x="241" y="349"/>
                    </a:lnTo>
                    <a:lnTo>
                      <a:pt x="250" y="357"/>
                    </a:lnTo>
                    <a:lnTo>
                      <a:pt x="259" y="365"/>
                    </a:lnTo>
                    <a:lnTo>
                      <a:pt x="278" y="378"/>
                    </a:lnTo>
                    <a:lnTo>
                      <a:pt x="294" y="389"/>
                    </a:lnTo>
                    <a:lnTo>
                      <a:pt x="294" y="376"/>
                    </a:lnTo>
                    <a:lnTo>
                      <a:pt x="294" y="365"/>
                    </a:lnTo>
                    <a:lnTo>
                      <a:pt x="294" y="356"/>
                    </a:lnTo>
                    <a:lnTo>
                      <a:pt x="294" y="346"/>
                    </a:lnTo>
                    <a:lnTo>
                      <a:pt x="305" y="346"/>
                    </a:lnTo>
                    <a:lnTo>
                      <a:pt x="315" y="343"/>
                    </a:lnTo>
                    <a:lnTo>
                      <a:pt x="319" y="340"/>
                    </a:lnTo>
                    <a:lnTo>
                      <a:pt x="323" y="338"/>
                    </a:lnTo>
                    <a:lnTo>
                      <a:pt x="327" y="335"/>
                    </a:lnTo>
                    <a:lnTo>
                      <a:pt x="329" y="332"/>
                    </a:lnTo>
                    <a:lnTo>
                      <a:pt x="334" y="326"/>
                    </a:lnTo>
                    <a:lnTo>
                      <a:pt x="338" y="317"/>
                    </a:lnTo>
                    <a:lnTo>
                      <a:pt x="340" y="308"/>
                    </a:lnTo>
                    <a:lnTo>
                      <a:pt x="340" y="297"/>
                    </a:lnTo>
                    <a:lnTo>
                      <a:pt x="339" y="283"/>
                    </a:lnTo>
                    <a:lnTo>
                      <a:pt x="337" y="272"/>
                    </a:lnTo>
                    <a:lnTo>
                      <a:pt x="332" y="261"/>
                    </a:lnTo>
                    <a:lnTo>
                      <a:pt x="327" y="251"/>
                    </a:lnTo>
                    <a:lnTo>
                      <a:pt x="322" y="240"/>
                    </a:lnTo>
                    <a:lnTo>
                      <a:pt x="318" y="229"/>
                    </a:lnTo>
                    <a:lnTo>
                      <a:pt x="315" y="217"/>
                    </a:lnTo>
                    <a:lnTo>
                      <a:pt x="314" y="204"/>
                    </a:lnTo>
                    <a:lnTo>
                      <a:pt x="309" y="202"/>
                    </a:lnTo>
                    <a:lnTo>
                      <a:pt x="301" y="194"/>
                    </a:lnTo>
                    <a:lnTo>
                      <a:pt x="292" y="184"/>
                    </a:lnTo>
                    <a:lnTo>
                      <a:pt x="282" y="171"/>
                    </a:lnTo>
                    <a:lnTo>
                      <a:pt x="271" y="157"/>
                    </a:lnTo>
                    <a:lnTo>
                      <a:pt x="262" y="144"/>
                    </a:lnTo>
                    <a:lnTo>
                      <a:pt x="259" y="139"/>
                    </a:lnTo>
                    <a:lnTo>
                      <a:pt x="256" y="133"/>
                    </a:lnTo>
                    <a:lnTo>
                      <a:pt x="254" y="128"/>
                    </a:lnTo>
                    <a:lnTo>
                      <a:pt x="254" y="125"/>
                    </a:lnTo>
                    <a:lnTo>
                      <a:pt x="255" y="110"/>
                    </a:lnTo>
                    <a:lnTo>
                      <a:pt x="259" y="90"/>
                    </a:lnTo>
                    <a:lnTo>
                      <a:pt x="262" y="80"/>
                    </a:lnTo>
                    <a:lnTo>
                      <a:pt x="265" y="71"/>
                    </a:lnTo>
                    <a:lnTo>
                      <a:pt x="270" y="62"/>
                    </a:lnTo>
                    <a:lnTo>
                      <a:pt x="274" y="56"/>
                    </a:lnTo>
                    <a:lnTo>
                      <a:pt x="286" y="57"/>
                    </a:lnTo>
                    <a:lnTo>
                      <a:pt x="298" y="58"/>
                    </a:lnTo>
                    <a:lnTo>
                      <a:pt x="309" y="57"/>
                    </a:lnTo>
                    <a:lnTo>
                      <a:pt x="320" y="55"/>
                    </a:lnTo>
                    <a:lnTo>
                      <a:pt x="343" y="52"/>
                    </a:lnTo>
                    <a:lnTo>
                      <a:pt x="367" y="50"/>
                    </a:lnTo>
                    <a:lnTo>
                      <a:pt x="378" y="52"/>
                    </a:lnTo>
                    <a:lnTo>
                      <a:pt x="398" y="56"/>
                    </a:lnTo>
                    <a:lnTo>
                      <a:pt x="418" y="60"/>
                    </a:lnTo>
                    <a:lnTo>
                      <a:pt x="433" y="62"/>
                    </a:lnTo>
                    <a:lnTo>
                      <a:pt x="445" y="60"/>
                    </a:lnTo>
                    <a:lnTo>
                      <a:pt x="466" y="54"/>
                    </a:lnTo>
                    <a:lnTo>
                      <a:pt x="493" y="46"/>
                    </a:lnTo>
                    <a:lnTo>
                      <a:pt x="521" y="36"/>
                    </a:lnTo>
                    <a:lnTo>
                      <a:pt x="550" y="26"/>
                    </a:lnTo>
                    <a:lnTo>
                      <a:pt x="574" y="16"/>
                    </a:lnTo>
                    <a:lnTo>
                      <a:pt x="584" y="12"/>
                    </a:lnTo>
                    <a:lnTo>
                      <a:pt x="591" y="7"/>
                    </a:lnTo>
                    <a:lnTo>
                      <a:pt x="597" y="3"/>
                    </a:lnTo>
                    <a:lnTo>
                      <a:pt x="599" y="0"/>
                    </a:lnTo>
                    <a:lnTo>
                      <a:pt x="598" y="12"/>
                    </a:lnTo>
                    <a:lnTo>
                      <a:pt x="597" y="20"/>
                    </a:lnTo>
                    <a:lnTo>
                      <a:pt x="597" y="25"/>
                    </a:lnTo>
                    <a:lnTo>
                      <a:pt x="597" y="30"/>
                    </a:lnTo>
                    <a:lnTo>
                      <a:pt x="598" y="36"/>
                    </a:lnTo>
                    <a:lnTo>
                      <a:pt x="599" y="44"/>
                    </a:lnTo>
                    <a:lnTo>
                      <a:pt x="599" y="76"/>
                    </a:lnTo>
                    <a:lnTo>
                      <a:pt x="598" y="102"/>
                    </a:lnTo>
                    <a:lnTo>
                      <a:pt x="597" y="126"/>
                    </a:lnTo>
                    <a:lnTo>
                      <a:pt x="596" y="146"/>
                    </a:lnTo>
                    <a:lnTo>
                      <a:pt x="595" y="165"/>
                    </a:lnTo>
                    <a:lnTo>
                      <a:pt x="594" y="185"/>
                    </a:lnTo>
                    <a:lnTo>
                      <a:pt x="592" y="205"/>
                    </a:lnTo>
                    <a:lnTo>
                      <a:pt x="592" y="228"/>
                    </a:lnTo>
                    <a:lnTo>
                      <a:pt x="592" y="239"/>
                    </a:lnTo>
                    <a:lnTo>
                      <a:pt x="591" y="249"/>
                    </a:lnTo>
                    <a:lnTo>
                      <a:pt x="589" y="258"/>
                    </a:lnTo>
                    <a:lnTo>
                      <a:pt x="587" y="267"/>
                    </a:lnTo>
                    <a:lnTo>
                      <a:pt x="585" y="276"/>
                    </a:lnTo>
                    <a:lnTo>
                      <a:pt x="581" y="285"/>
                    </a:lnTo>
                    <a:lnTo>
                      <a:pt x="577" y="295"/>
                    </a:lnTo>
                    <a:lnTo>
                      <a:pt x="573" y="304"/>
                    </a:lnTo>
                    <a:lnTo>
                      <a:pt x="562" y="321"/>
                    </a:lnTo>
                    <a:lnTo>
                      <a:pt x="550" y="337"/>
                    </a:lnTo>
                    <a:lnTo>
                      <a:pt x="535" y="353"/>
                    </a:lnTo>
                    <a:lnTo>
                      <a:pt x="520" y="367"/>
                    </a:lnTo>
                    <a:lnTo>
                      <a:pt x="503" y="379"/>
                    </a:lnTo>
                    <a:lnTo>
                      <a:pt x="487" y="391"/>
                    </a:lnTo>
                    <a:lnTo>
                      <a:pt x="468" y="402"/>
                    </a:lnTo>
                    <a:lnTo>
                      <a:pt x="450" y="410"/>
                    </a:lnTo>
                    <a:lnTo>
                      <a:pt x="431" y="417"/>
                    </a:lnTo>
                    <a:lnTo>
                      <a:pt x="411" y="422"/>
                    </a:lnTo>
                    <a:lnTo>
                      <a:pt x="393" y="425"/>
                    </a:lnTo>
                    <a:lnTo>
                      <a:pt x="374" y="426"/>
                    </a:lnTo>
                    <a:lnTo>
                      <a:pt x="372" y="433"/>
                    </a:lnTo>
                    <a:lnTo>
                      <a:pt x="368" y="440"/>
                    </a:lnTo>
                    <a:lnTo>
                      <a:pt x="365" y="446"/>
                    </a:lnTo>
                    <a:lnTo>
                      <a:pt x="362" y="452"/>
                    </a:lnTo>
                    <a:lnTo>
                      <a:pt x="353" y="464"/>
                    </a:lnTo>
                    <a:lnTo>
                      <a:pt x="342" y="474"/>
                    </a:lnTo>
                    <a:lnTo>
                      <a:pt x="331" y="483"/>
                    </a:lnTo>
                    <a:lnTo>
                      <a:pt x="318" y="491"/>
                    </a:lnTo>
                    <a:lnTo>
                      <a:pt x="306" y="499"/>
                    </a:lnTo>
                    <a:lnTo>
                      <a:pt x="293" y="507"/>
                    </a:lnTo>
                    <a:lnTo>
                      <a:pt x="281" y="516"/>
                    </a:lnTo>
                    <a:lnTo>
                      <a:pt x="269" y="525"/>
                    </a:lnTo>
                    <a:lnTo>
                      <a:pt x="258" y="534"/>
                    </a:lnTo>
                    <a:lnTo>
                      <a:pt x="248" y="544"/>
                    </a:lnTo>
                    <a:lnTo>
                      <a:pt x="243" y="549"/>
                    </a:lnTo>
                    <a:lnTo>
                      <a:pt x="239" y="555"/>
                    </a:lnTo>
                    <a:lnTo>
                      <a:pt x="236" y="561"/>
                    </a:lnTo>
                    <a:lnTo>
                      <a:pt x="232" y="568"/>
                    </a:lnTo>
                    <a:lnTo>
                      <a:pt x="230" y="575"/>
                    </a:lnTo>
                    <a:lnTo>
                      <a:pt x="229" y="582"/>
                    </a:lnTo>
                    <a:lnTo>
                      <a:pt x="228" y="590"/>
                    </a:lnTo>
                    <a:lnTo>
                      <a:pt x="227" y="598"/>
                    </a:lnTo>
                    <a:lnTo>
                      <a:pt x="228" y="604"/>
                    </a:lnTo>
                    <a:lnTo>
                      <a:pt x="231" y="611"/>
                    </a:lnTo>
                    <a:lnTo>
                      <a:pt x="237" y="619"/>
                    </a:lnTo>
                    <a:lnTo>
                      <a:pt x="242" y="629"/>
                    </a:lnTo>
                    <a:lnTo>
                      <a:pt x="249" y="637"/>
                    </a:lnTo>
                    <a:lnTo>
                      <a:pt x="255" y="645"/>
                    </a:lnTo>
                    <a:lnTo>
                      <a:pt x="262" y="650"/>
                    </a:lnTo>
                    <a:lnTo>
                      <a:pt x="267" y="654"/>
                    </a:lnTo>
                    <a:lnTo>
                      <a:pt x="262" y="663"/>
                    </a:lnTo>
                    <a:lnTo>
                      <a:pt x="258" y="671"/>
                    </a:lnTo>
                    <a:lnTo>
                      <a:pt x="255" y="680"/>
                    </a:lnTo>
                    <a:lnTo>
                      <a:pt x="254" y="685"/>
                    </a:lnTo>
                    <a:lnTo>
                      <a:pt x="254" y="694"/>
                    </a:lnTo>
                    <a:lnTo>
                      <a:pt x="256" y="701"/>
                    </a:lnTo>
                    <a:lnTo>
                      <a:pt x="258" y="709"/>
                    </a:lnTo>
                    <a:lnTo>
                      <a:pt x="261" y="715"/>
                    </a:lnTo>
                    <a:lnTo>
                      <a:pt x="263" y="722"/>
                    </a:lnTo>
                    <a:lnTo>
                      <a:pt x="265" y="729"/>
                    </a:lnTo>
                    <a:lnTo>
                      <a:pt x="266" y="738"/>
                    </a:lnTo>
                    <a:lnTo>
                      <a:pt x="267" y="747"/>
                    </a:lnTo>
                    <a:lnTo>
                      <a:pt x="267" y="766"/>
                    </a:lnTo>
                    <a:lnTo>
                      <a:pt x="267" y="780"/>
                    </a:lnTo>
                    <a:lnTo>
                      <a:pt x="267" y="790"/>
                    </a:lnTo>
                    <a:lnTo>
                      <a:pt x="267" y="796"/>
                    </a:lnTo>
                    <a:lnTo>
                      <a:pt x="266" y="799"/>
                    </a:lnTo>
                    <a:lnTo>
                      <a:pt x="264" y="803"/>
                    </a:lnTo>
                    <a:lnTo>
                      <a:pt x="261" y="808"/>
                    </a:lnTo>
                    <a:lnTo>
                      <a:pt x="256" y="814"/>
                    </a:lnTo>
                    <a:lnTo>
                      <a:pt x="244" y="827"/>
                    </a:lnTo>
                    <a:lnTo>
                      <a:pt x="230" y="841"/>
                    </a:lnTo>
                    <a:lnTo>
                      <a:pt x="215" y="856"/>
                    </a:lnTo>
                    <a:lnTo>
                      <a:pt x="200" y="868"/>
                    </a:lnTo>
                    <a:lnTo>
                      <a:pt x="193" y="873"/>
                    </a:lnTo>
                    <a:lnTo>
                      <a:pt x="186" y="877"/>
                    </a:lnTo>
                    <a:lnTo>
                      <a:pt x="180" y="880"/>
                    </a:lnTo>
                    <a:lnTo>
                      <a:pt x="174" y="882"/>
                    </a:lnTo>
                    <a:lnTo>
                      <a:pt x="161" y="885"/>
                    </a:lnTo>
                    <a:lnTo>
                      <a:pt x="147" y="887"/>
                    </a:lnTo>
                    <a:lnTo>
                      <a:pt x="132" y="889"/>
                    </a:lnTo>
                    <a:lnTo>
                      <a:pt x="118" y="890"/>
                    </a:lnTo>
                    <a:lnTo>
                      <a:pt x="113" y="891"/>
                    </a:lnTo>
                    <a:lnTo>
                      <a:pt x="106" y="892"/>
                    </a:lnTo>
                    <a:lnTo>
                      <a:pt x="102" y="894"/>
                    </a:lnTo>
                    <a:lnTo>
                      <a:pt x="96" y="896"/>
                    </a:lnTo>
                    <a:lnTo>
                      <a:pt x="93" y="900"/>
                    </a:lnTo>
                    <a:lnTo>
                      <a:pt x="91" y="904"/>
                    </a:lnTo>
                    <a:lnTo>
                      <a:pt x="88" y="908"/>
                    </a:lnTo>
                    <a:lnTo>
                      <a:pt x="87" y="913"/>
                    </a:lnTo>
                    <a:lnTo>
                      <a:pt x="88" y="920"/>
                    </a:lnTo>
                    <a:lnTo>
                      <a:pt x="90" y="925"/>
                    </a:lnTo>
                    <a:lnTo>
                      <a:pt x="91" y="931"/>
                    </a:lnTo>
                    <a:lnTo>
                      <a:pt x="93" y="935"/>
                    </a:lnTo>
                    <a:lnTo>
                      <a:pt x="95" y="939"/>
                    </a:lnTo>
                    <a:lnTo>
                      <a:pt x="99" y="941"/>
                    </a:lnTo>
                    <a:lnTo>
                      <a:pt x="103" y="943"/>
                    </a:lnTo>
                    <a:lnTo>
                      <a:pt x="108" y="943"/>
                    </a:lnTo>
                    <a:lnTo>
                      <a:pt x="94" y="993"/>
                    </a:lnTo>
                    <a:lnTo>
                      <a:pt x="91" y="992"/>
                    </a:lnTo>
                    <a:lnTo>
                      <a:pt x="82" y="990"/>
                    </a:lnTo>
                    <a:lnTo>
                      <a:pt x="75" y="988"/>
                    </a:lnTo>
                    <a:lnTo>
                      <a:pt x="74" y="987"/>
                    </a:lnTo>
                    <a:lnTo>
                      <a:pt x="74" y="820"/>
                    </a:lnTo>
                    <a:lnTo>
                      <a:pt x="74" y="810"/>
                    </a:lnTo>
                    <a:lnTo>
                      <a:pt x="73" y="801"/>
                    </a:lnTo>
                    <a:lnTo>
                      <a:pt x="71" y="793"/>
                    </a:lnTo>
                    <a:lnTo>
                      <a:pt x="70" y="785"/>
                    </a:lnTo>
                    <a:lnTo>
                      <a:pt x="64" y="774"/>
                    </a:lnTo>
                    <a:lnTo>
                      <a:pt x="58" y="765"/>
                    </a:lnTo>
                    <a:lnTo>
                      <a:pt x="52" y="755"/>
                    </a:lnTo>
                    <a:lnTo>
                      <a:pt x="47" y="744"/>
                    </a:lnTo>
                    <a:lnTo>
                      <a:pt x="45" y="738"/>
                    </a:lnTo>
                    <a:lnTo>
                      <a:pt x="42" y="729"/>
                    </a:lnTo>
                    <a:lnTo>
                      <a:pt x="41" y="720"/>
                    </a:lnTo>
                    <a:lnTo>
                      <a:pt x="41" y="709"/>
                    </a:lnTo>
                    <a:lnTo>
                      <a:pt x="51" y="704"/>
                    </a:lnTo>
                    <a:lnTo>
                      <a:pt x="72" y="690"/>
                    </a:lnTo>
                    <a:lnTo>
                      <a:pt x="95" y="675"/>
                    </a:lnTo>
                    <a:lnTo>
                      <a:pt x="108" y="666"/>
                    </a:lnTo>
                    <a:lnTo>
                      <a:pt x="107" y="653"/>
                    </a:lnTo>
                    <a:lnTo>
                      <a:pt x="106" y="636"/>
                    </a:lnTo>
                    <a:lnTo>
                      <a:pt x="106" y="627"/>
                    </a:lnTo>
                    <a:lnTo>
                      <a:pt x="108" y="617"/>
                    </a:lnTo>
                    <a:lnTo>
                      <a:pt x="109" y="614"/>
                    </a:lnTo>
                    <a:lnTo>
                      <a:pt x="110" y="610"/>
                    </a:lnTo>
                    <a:lnTo>
                      <a:pt x="113" y="607"/>
                    </a:lnTo>
                    <a:lnTo>
                      <a:pt x="115" y="604"/>
                    </a:lnTo>
                    <a:lnTo>
                      <a:pt x="129" y="591"/>
                    </a:lnTo>
                    <a:lnTo>
                      <a:pt x="149" y="571"/>
                    </a:lnTo>
                    <a:lnTo>
                      <a:pt x="159" y="558"/>
                    </a:lnTo>
                    <a:lnTo>
                      <a:pt x="166" y="546"/>
                    </a:lnTo>
                    <a:lnTo>
                      <a:pt x="170" y="539"/>
                    </a:lnTo>
                    <a:lnTo>
                      <a:pt x="172" y="532"/>
                    </a:lnTo>
                    <a:lnTo>
                      <a:pt x="174" y="526"/>
                    </a:lnTo>
                    <a:lnTo>
                      <a:pt x="174" y="519"/>
                    </a:lnTo>
                    <a:lnTo>
                      <a:pt x="174" y="498"/>
                    </a:lnTo>
                    <a:lnTo>
                      <a:pt x="172" y="479"/>
                    </a:lnTo>
                    <a:lnTo>
                      <a:pt x="170" y="460"/>
                    </a:lnTo>
                    <a:lnTo>
                      <a:pt x="168" y="441"/>
                    </a:lnTo>
                    <a:lnTo>
                      <a:pt x="165" y="423"/>
                    </a:lnTo>
                    <a:lnTo>
                      <a:pt x="163" y="404"/>
                    </a:lnTo>
                    <a:lnTo>
                      <a:pt x="161" y="384"/>
                    </a:lnTo>
                    <a:lnTo>
                      <a:pt x="161" y="364"/>
                    </a:lnTo>
                    <a:lnTo>
                      <a:pt x="152" y="364"/>
                    </a:lnTo>
                    <a:lnTo>
                      <a:pt x="142" y="363"/>
                    </a:lnTo>
                    <a:lnTo>
                      <a:pt x="132" y="361"/>
                    </a:lnTo>
                    <a:lnTo>
                      <a:pt x="122" y="358"/>
                    </a:lnTo>
                    <a:lnTo>
                      <a:pt x="102" y="350"/>
                    </a:lnTo>
                    <a:lnTo>
                      <a:pt x="81" y="341"/>
                    </a:lnTo>
                    <a:lnTo>
                      <a:pt x="42" y="323"/>
                    </a:lnTo>
                    <a:lnTo>
                      <a:pt x="15" y="309"/>
                    </a:lnTo>
                  </a:path>
                </a:pathLst>
              </a:custGeom>
              <a:grpFill/>
              <a:ln w="9525" cmpd="sng">
                <a:solidFill>
                  <a:srgbClr val="FFFFFF"/>
                </a:solidFill>
                <a:prstDash val="solid"/>
                <a:round/>
                <a:headEnd/>
                <a:tailEnd/>
              </a:ln>
            </p:spPr>
            <p:txBody>
              <a:bodyPr/>
              <a:lstStyle/>
              <a:p>
                <a:endParaRPr lang="en-GB" sz="1637"/>
              </a:p>
            </p:txBody>
          </p:sp>
          <p:sp>
            <p:nvSpPr>
              <p:cNvPr id="100" name="Freeform 252"/>
              <p:cNvSpPr>
                <a:spLocks/>
              </p:cNvSpPr>
              <p:nvPr>
                <p:custDataLst>
                  <p:tags r:id="rId83"/>
                </p:custDataLst>
              </p:nvPr>
            </p:nvSpPr>
            <p:spPr bwMode="auto">
              <a:xfrm>
                <a:off x="4435956" y="4624882"/>
                <a:ext cx="259947" cy="324165"/>
              </a:xfrm>
              <a:custGeom>
                <a:avLst/>
                <a:gdLst>
                  <a:gd name="T0" fmla="*/ 13108 w 545"/>
                  <a:gd name="T1" fmla="*/ 224008 h 549"/>
                  <a:gd name="T2" fmla="*/ 20099 w 545"/>
                  <a:gd name="T3" fmla="*/ 237616 h 549"/>
                  <a:gd name="T4" fmla="*/ 20099 w 545"/>
                  <a:gd name="T5" fmla="*/ 267973 h 549"/>
                  <a:gd name="T6" fmla="*/ 20972 w 545"/>
                  <a:gd name="T7" fmla="*/ 275824 h 549"/>
                  <a:gd name="T8" fmla="*/ 24031 w 545"/>
                  <a:gd name="T9" fmla="*/ 281057 h 549"/>
                  <a:gd name="T10" fmla="*/ 29711 w 545"/>
                  <a:gd name="T11" fmla="*/ 285244 h 549"/>
                  <a:gd name="T12" fmla="*/ 43693 w 545"/>
                  <a:gd name="T13" fmla="*/ 287338 h 549"/>
                  <a:gd name="T14" fmla="*/ 49373 w 545"/>
                  <a:gd name="T15" fmla="*/ 285768 h 549"/>
                  <a:gd name="T16" fmla="*/ 56800 w 545"/>
                  <a:gd name="T17" fmla="*/ 278964 h 549"/>
                  <a:gd name="T18" fmla="*/ 62481 w 545"/>
                  <a:gd name="T19" fmla="*/ 265356 h 549"/>
                  <a:gd name="T20" fmla="*/ 67287 w 545"/>
                  <a:gd name="T21" fmla="*/ 249654 h 549"/>
                  <a:gd name="T22" fmla="*/ 73841 w 545"/>
                  <a:gd name="T23" fmla="*/ 237616 h 549"/>
                  <a:gd name="T24" fmla="*/ 79958 w 545"/>
                  <a:gd name="T25" fmla="*/ 232906 h 549"/>
                  <a:gd name="T26" fmla="*/ 87822 w 545"/>
                  <a:gd name="T27" fmla="*/ 232383 h 549"/>
                  <a:gd name="T28" fmla="*/ 96998 w 545"/>
                  <a:gd name="T29" fmla="*/ 234476 h 549"/>
                  <a:gd name="T30" fmla="*/ 110106 w 545"/>
                  <a:gd name="T31" fmla="*/ 241280 h 549"/>
                  <a:gd name="T32" fmla="*/ 118844 w 545"/>
                  <a:gd name="T33" fmla="*/ 244944 h 549"/>
                  <a:gd name="T34" fmla="*/ 129767 w 545"/>
                  <a:gd name="T35" fmla="*/ 245467 h 549"/>
                  <a:gd name="T36" fmla="*/ 139380 w 545"/>
                  <a:gd name="T37" fmla="*/ 242850 h 549"/>
                  <a:gd name="T38" fmla="*/ 145060 w 545"/>
                  <a:gd name="T39" fmla="*/ 237093 h 549"/>
                  <a:gd name="T40" fmla="*/ 156857 w 545"/>
                  <a:gd name="T41" fmla="*/ 203073 h 549"/>
                  <a:gd name="T42" fmla="*/ 166906 w 545"/>
                  <a:gd name="T43" fmla="*/ 189989 h 549"/>
                  <a:gd name="T44" fmla="*/ 195306 w 545"/>
                  <a:gd name="T45" fmla="*/ 164343 h 549"/>
                  <a:gd name="T46" fmla="*/ 230260 w 545"/>
                  <a:gd name="T47" fmla="*/ 138173 h 549"/>
                  <a:gd name="T48" fmla="*/ 230697 w 545"/>
                  <a:gd name="T49" fmla="*/ 121425 h 549"/>
                  <a:gd name="T50" fmla="*/ 219774 w 545"/>
                  <a:gd name="T51" fmla="*/ 114098 h 549"/>
                  <a:gd name="T52" fmla="*/ 211909 w 545"/>
                  <a:gd name="T53" fmla="*/ 104153 h 549"/>
                  <a:gd name="T54" fmla="*/ 200986 w 545"/>
                  <a:gd name="T55" fmla="*/ 82171 h 549"/>
                  <a:gd name="T56" fmla="*/ 192248 w 545"/>
                  <a:gd name="T57" fmla="*/ 69087 h 549"/>
                  <a:gd name="T58" fmla="*/ 164721 w 545"/>
                  <a:gd name="T59" fmla="*/ 39777 h 549"/>
                  <a:gd name="T60" fmla="*/ 156857 w 545"/>
                  <a:gd name="T61" fmla="*/ 27739 h 549"/>
                  <a:gd name="T62" fmla="*/ 152050 w 545"/>
                  <a:gd name="T63" fmla="*/ 12561 h 549"/>
                  <a:gd name="T64" fmla="*/ 139380 w 545"/>
                  <a:gd name="T65" fmla="*/ 0 h 549"/>
                  <a:gd name="T66" fmla="*/ 106610 w 545"/>
                  <a:gd name="T67" fmla="*/ 1047 h 549"/>
                  <a:gd name="T68" fmla="*/ 76899 w 545"/>
                  <a:gd name="T69" fmla="*/ 6804 h 549"/>
                  <a:gd name="T70" fmla="*/ 41508 w 545"/>
                  <a:gd name="T71" fmla="*/ 11514 h 549"/>
                  <a:gd name="T72" fmla="*/ 31022 w 545"/>
                  <a:gd name="T73" fmla="*/ 14131 h 549"/>
                  <a:gd name="T74" fmla="*/ 29274 w 545"/>
                  <a:gd name="T75" fmla="*/ 19889 h 549"/>
                  <a:gd name="T76" fmla="*/ 31896 w 545"/>
                  <a:gd name="T77" fmla="*/ 29310 h 549"/>
                  <a:gd name="T78" fmla="*/ 36702 w 545"/>
                  <a:gd name="T79" fmla="*/ 38730 h 549"/>
                  <a:gd name="T80" fmla="*/ 37576 w 545"/>
                  <a:gd name="T81" fmla="*/ 56002 h 549"/>
                  <a:gd name="T82" fmla="*/ 32333 w 545"/>
                  <a:gd name="T83" fmla="*/ 89499 h 549"/>
                  <a:gd name="T84" fmla="*/ 27089 w 545"/>
                  <a:gd name="T85" fmla="*/ 124042 h 549"/>
                  <a:gd name="T86" fmla="*/ 20536 w 545"/>
                  <a:gd name="T87" fmla="*/ 137650 h 549"/>
                  <a:gd name="T88" fmla="*/ 11360 w 545"/>
                  <a:gd name="T89" fmla="*/ 144977 h 549"/>
                  <a:gd name="T90" fmla="*/ 2185 w 545"/>
                  <a:gd name="T91" fmla="*/ 160679 h 549"/>
                  <a:gd name="T92" fmla="*/ 437 w 545"/>
                  <a:gd name="T93" fmla="*/ 177427 h 549"/>
                  <a:gd name="T94" fmla="*/ 3495 w 545"/>
                  <a:gd name="T95" fmla="*/ 192082 h 549"/>
                  <a:gd name="T96" fmla="*/ 3495 w 545"/>
                  <a:gd name="T97" fmla="*/ 204643 h 549"/>
                  <a:gd name="T98" fmla="*/ 0 w 545"/>
                  <a:gd name="T99" fmla="*/ 213541 h 54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545" h="549">
                    <a:moveTo>
                      <a:pt x="13" y="420"/>
                    </a:moveTo>
                    <a:lnTo>
                      <a:pt x="21" y="424"/>
                    </a:lnTo>
                    <a:lnTo>
                      <a:pt x="30" y="428"/>
                    </a:lnTo>
                    <a:lnTo>
                      <a:pt x="40" y="431"/>
                    </a:lnTo>
                    <a:lnTo>
                      <a:pt x="46" y="432"/>
                    </a:lnTo>
                    <a:lnTo>
                      <a:pt x="46" y="454"/>
                    </a:lnTo>
                    <a:lnTo>
                      <a:pt x="46" y="472"/>
                    </a:lnTo>
                    <a:lnTo>
                      <a:pt x="46" y="491"/>
                    </a:lnTo>
                    <a:lnTo>
                      <a:pt x="46" y="512"/>
                    </a:lnTo>
                    <a:lnTo>
                      <a:pt x="47" y="518"/>
                    </a:lnTo>
                    <a:lnTo>
                      <a:pt x="47" y="523"/>
                    </a:lnTo>
                    <a:lnTo>
                      <a:pt x="48" y="527"/>
                    </a:lnTo>
                    <a:lnTo>
                      <a:pt x="51" y="531"/>
                    </a:lnTo>
                    <a:lnTo>
                      <a:pt x="53" y="534"/>
                    </a:lnTo>
                    <a:lnTo>
                      <a:pt x="55" y="537"/>
                    </a:lnTo>
                    <a:lnTo>
                      <a:pt x="57" y="540"/>
                    </a:lnTo>
                    <a:lnTo>
                      <a:pt x="61" y="542"/>
                    </a:lnTo>
                    <a:lnTo>
                      <a:pt x="68" y="545"/>
                    </a:lnTo>
                    <a:lnTo>
                      <a:pt x="77" y="547"/>
                    </a:lnTo>
                    <a:lnTo>
                      <a:pt x="88" y="548"/>
                    </a:lnTo>
                    <a:lnTo>
                      <a:pt x="100" y="549"/>
                    </a:lnTo>
                    <a:lnTo>
                      <a:pt x="104" y="548"/>
                    </a:lnTo>
                    <a:lnTo>
                      <a:pt x="109" y="548"/>
                    </a:lnTo>
                    <a:lnTo>
                      <a:pt x="113" y="546"/>
                    </a:lnTo>
                    <a:lnTo>
                      <a:pt x="117" y="544"/>
                    </a:lnTo>
                    <a:lnTo>
                      <a:pt x="123" y="539"/>
                    </a:lnTo>
                    <a:lnTo>
                      <a:pt x="130" y="533"/>
                    </a:lnTo>
                    <a:lnTo>
                      <a:pt x="134" y="525"/>
                    </a:lnTo>
                    <a:lnTo>
                      <a:pt x="138" y="516"/>
                    </a:lnTo>
                    <a:lnTo>
                      <a:pt x="143" y="507"/>
                    </a:lnTo>
                    <a:lnTo>
                      <a:pt x="146" y="496"/>
                    </a:lnTo>
                    <a:lnTo>
                      <a:pt x="151" y="487"/>
                    </a:lnTo>
                    <a:lnTo>
                      <a:pt x="154" y="477"/>
                    </a:lnTo>
                    <a:lnTo>
                      <a:pt x="158" y="469"/>
                    </a:lnTo>
                    <a:lnTo>
                      <a:pt x="164" y="461"/>
                    </a:lnTo>
                    <a:lnTo>
                      <a:pt x="169" y="454"/>
                    </a:lnTo>
                    <a:lnTo>
                      <a:pt x="176" y="448"/>
                    </a:lnTo>
                    <a:lnTo>
                      <a:pt x="179" y="446"/>
                    </a:lnTo>
                    <a:lnTo>
                      <a:pt x="183" y="445"/>
                    </a:lnTo>
                    <a:lnTo>
                      <a:pt x="188" y="444"/>
                    </a:lnTo>
                    <a:lnTo>
                      <a:pt x="193" y="444"/>
                    </a:lnTo>
                    <a:lnTo>
                      <a:pt x="201" y="444"/>
                    </a:lnTo>
                    <a:lnTo>
                      <a:pt x="209" y="445"/>
                    </a:lnTo>
                    <a:lnTo>
                      <a:pt x="215" y="446"/>
                    </a:lnTo>
                    <a:lnTo>
                      <a:pt x="222" y="448"/>
                    </a:lnTo>
                    <a:lnTo>
                      <a:pt x="232" y="453"/>
                    </a:lnTo>
                    <a:lnTo>
                      <a:pt x="242" y="457"/>
                    </a:lnTo>
                    <a:lnTo>
                      <a:pt x="252" y="461"/>
                    </a:lnTo>
                    <a:lnTo>
                      <a:pt x="261" y="465"/>
                    </a:lnTo>
                    <a:lnTo>
                      <a:pt x="267" y="467"/>
                    </a:lnTo>
                    <a:lnTo>
                      <a:pt x="272" y="468"/>
                    </a:lnTo>
                    <a:lnTo>
                      <a:pt x="279" y="469"/>
                    </a:lnTo>
                    <a:lnTo>
                      <a:pt x="286" y="469"/>
                    </a:lnTo>
                    <a:lnTo>
                      <a:pt x="297" y="469"/>
                    </a:lnTo>
                    <a:lnTo>
                      <a:pt x="305" y="468"/>
                    </a:lnTo>
                    <a:lnTo>
                      <a:pt x="313" y="466"/>
                    </a:lnTo>
                    <a:lnTo>
                      <a:pt x="319" y="464"/>
                    </a:lnTo>
                    <a:lnTo>
                      <a:pt x="324" y="461"/>
                    </a:lnTo>
                    <a:lnTo>
                      <a:pt x="328" y="457"/>
                    </a:lnTo>
                    <a:lnTo>
                      <a:pt x="332" y="453"/>
                    </a:lnTo>
                    <a:lnTo>
                      <a:pt x="335" y="447"/>
                    </a:lnTo>
                    <a:lnTo>
                      <a:pt x="345" y="422"/>
                    </a:lnTo>
                    <a:lnTo>
                      <a:pt x="359" y="388"/>
                    </a:lnTo>
                    <a:lnTo>
                      <a:pt x="365" y="380"/>
                    </a:lnTo>
                    <a:lnTo>
                      <a:pt x="373" y="372"/>
                    </a:lnTo>
                    <a:lnTo>
                      <a:pt x="382" y="363"/>
                    </a:lnTo>
                    <a:lnTo>
                      <a:pt x="393" y="353"/>
                    </a:lnTo>
                    <a:lnTo>
                      <a:pt x="418" y="333"/>
                    </a:lnTo>
                    <a:lnTo>
                      <a:pt x="447" y="314"/>
                    </a:lnTo>
                    <a:lnTo>
                      <a:pt x="476" y="296"/>
                    </a:lnTo>
                    <a:lnTo>
                      <a:pt x="503" y="278"/>
                    </a:lnTo>
                    <a:lnTo>
                      <a:pt x="527" y="264"/>
                    </a:lnTo>
                    <a:lnTo>
                      <a:pt x="545" y="253"/>
                    </a:lnTo>
                    <a:lnTo>
                      <a:pt x="538" y="235"/>
                    </a:lnTo>
                    <a:lnTo>
                      <a:pt x="528" y="232"/>
                    </a:lnTo>
                    <a:lnTo>
                      <a:pt x="518" y="229"/>
                    </a:lnTo>
                    <a:lnTo>
                      <a:pt x="511" y="223"/>
                    </a:lnTo>
                    <a:lnTo>
                      <a:pt x="503" y="218"/>
                    </a:lnTo>
                    <a:lnTo>
                      <a:pt x="496" y="212"/>
                    </a:lnTo>
                    <a:lnTo>
                      <a:pt x="491" y="206"/>
                    </a:lnTo>
                    <a:lnTo>
                      <a:pt x="485" y="199"/>
                    </a:lnTo>
                    <a:lnTo>
                      <a:pt x="480" y="191"/>
                    </a:lnTo>
                    <a:lnTo>
                      <a:pt x="470" y="175"/>
                    </a:lnTo>
                    <a:lnTo>
                      <a:pt x="460" y="157"/>
                    </a:lnTo>
                    <a:lnTo>
                      <a:pt x="454" y="149"/>
                    </a:lnTo>
                    <a:lnTo>
                      <a:pt x="447" y="141"/>
                    </a:lnTo>
                    <a:lnTo>
                      <a:pt x="440" y="132"/>
                    </a:lnTo>
                    <a:lnTo>
                      <a:pt x="432" y="124"/>
                    </a:lnTo>
                    <a:lnTo>
                      <a:pt x="404" y="101"/>
                    </a:lnTo>
                    <a:lnTo>
                      <a:pt x="377" y="76"/>
                    </a:lnTo>
                    <a:lnTo>
                      <a:pt x="370" y="69"/>
                    </a:lnTo>
                    <a:lnTo>
                      <a:pt x="365" y="62"/>
                    </a:lnTo>
                    <a:lnTo>
                      <a:pt x="359" y="53"/>
                    </a:lnTo>
                    <a:lnTo>
                      <a:pt x="355" y="44"/>
                    </a:lnTo>
                    <a:lnTo>
                      <a:pt x="350" y="35"/>
                    </a:lnTo>
                    <a:lnTo>
                      <a:pt x="348" y="24"/>
                    </a:lnTo>
                    <a:lnTo>
                      <a:pt x="346" y="13"/>
                    </a:lnTo>
                    <a:lnTo>
                      <a:pt x="346" y="0"/>
                    </a:lnTo>
                    <a:lnTo>
                      <a:pt x="319" y="0"/>
                    </a:lnTo>
                    <a:lnTo>
                      <a:pt x="293" y="0"/>
                    </a:lnTo>
                    <a:lnTo>
                      <a:pt x="268" y="1"/>
                    </a:lnTo>
                    <a:lnTo>
                      <a:pt x="244" y="2"/>
                    </a:lnTo>
                    <a:lnTo>
                      <a:pt x="221" y="6"/>
                    </a:lnTo>
                    <a:lnTo>
                      <a:pt x="198" y="9"/>
                    </a:lnTo>
                    <a:lnTo>
                      <a:pt x="176" y="13"/>
                    </a:lnTo>
                    <a:lnTo>
                      <a:pt x="153" y="19"/>
                    </a:lnTo>
                    <a:lnTo>
                      <a:pt x="123" y="21"/>
                    </a:lnTo>
                    <a:lnTo>
                      <a:pt x="95" y="22"/>
                    </a:lnTo>
                    <a:lnTo>
                      <a:pt x="84" y="23"/>
                    </a:lnTo>
                    <a:lnTo>
                      <a:pt x="75" y="25"/>
                    </a:lnTo>
                    <a:lnTo>
                      <a:pt x="71" y="27"/>
                    </a:lnTo>
                    <a:lnTo>
                      <a:pt x="68" y="30"/>
                    </a:lnTo>
                    <a:lnTo>
                      <a:pt x="67" y="33"/>
                    </a:lnTo>
                    <a:lnTo>
                      <a:pt x="67" y="38"/>
                    </a:lnTo>
                    <a:lnTo>
                      <a:pt x="67" y="44"/>
                    </a:lnTo>
                    <a:lnTo>
                      <a:pt x="69" y="50"/>
                    </a:lnTo>
                    <a:lnTo>
                      <a:pt x="73" y="56"/>
                    </a:lnTo>
                    <a:lnTo>
                      <a:pt x="77" y="63"/>
                    </a:lnTo>
                    <a:lnTo>
                      <a:pt x="80" y="68"/>
                    </a:lnTo>
                    <a:lnTo>
                      <a:pt x="84" y="74"/>
                    </a:lnTo>
                    <a:lnTo>
                      <a:pt x="86" y="80"/>
                    </a:lnTo>
                    <a:lnTo>
                      <a:pt x="87" y="87"/>
                    </a:lnTo>
                    <a:lnTo>
                      <a:pt x="86" y="107"/>
                    </a:lnTo>
                    <a:lnTo>
                      <a:pt x="82" y="129"/>
                    </a:lnTo>
                    <a:lnTo>
                      <a:pt x="78" y="150"/>
                    </a:lnTo>
                    <a:lnTo>
                      <a:pt x="74" y="171"/>
                    </a:lnTo>
                    <a:lnTo>
                      <a:pt x="68" y="193"/>
                    </a:lnTo>
                    <a:lnTo>
                      <a:pt x="64" y="214"/>
                    </a:lnTo>
                    <a:lnTo>
                      <a:pt x="62" y="237"/>
                    </a:lnTo>
                    <a:lnTo>
                      <a:pt x="61" y="259"/>
                    </a:lnTo>
                    <a:lnTo>
                      <a:pt x="54" y="261"/>
                    </a:lnTo>
                    <a:lnTo>
                      <a:pt x="47" y="263"/>
                    </a:lnTo>
                    <a:lnTo>
                      <a:pt x="42" y="266"/>
                    </a:lnTo>
                    <a:lnTo>
                      <a:pt x="36" y="269"/>
                    </a:lnTo>
                    <a:lnTo>
                      <a:pt x="26" y="277"/>
                    </a:lnTo>
                    <a:lnTo>
                      <a:pt x="18" y="287"/>
                    </a:lnTo>
                    <a:lnTo>
                      <a:pt x="10" y="297"/>
                    </a:lnTo>
                    <a:lnTo>
                      <a:pt x="5" y="307"/>
                    </a:lnTo>
                    <a:lnTo>
                      <a:pt x="1" y="317"/>
                    </a:lnTo>
                    <a:lnTo>
                      <a:pt x="0" y="327"/>
                    </a:lnTo>
                    <a:lnTo>
                      <a:pt x="1" y="339"/>
                    </a:lnTo>
                    <a:lnTo>
                      <a:pt x="3" y="349"/>
                    </a:lnTo>
                    <a:lnTo>
                      <a:pt x="6" y="358"/>
                    </a:lnTo>
                    <a:lnTo>
                      <a:pt x="8" y="367"/>
                    </a:lnTo>
                    <a:lnTo>
                      <a:pt x="9" y="376"/>
                    </a:lnTo>
                    <a:lnTo>
                      <a:pt x="9" y="386"/>
                    </a:lnTo>
                    <a:lnTo>
                      <a:pt x="8" y="391"/>
                    </a:lnTo>
                    <a:lnTo>
                      <a:pt x="6" y="397"/>
                    </a:lnTo>
                    <a:lnTo>
                      <a:pt x="3" y="402"/>
                    </a:lnTo>
                    <a:lnTo>
                      <a:pt x="0" y="408"/>
                    </a:lnTo>
                    <a:lnTo>
                      <a:pt x="13" y="420"/>
                    </a:lnTo>
                  </a:path>
                </a:pathLst>
              </a:custGeom>
              <a:grpFill/>
              <a:ln w="9525" cmpd="sng">
                <a:solidFill>
                  <a:srgbClr val="FFFFFF"/>
                </a:solidFill>
                <a:prstDash val="solid"/>
                <a:round/>
                <a:headEnd/>
                <a:tailEnd/>
              </a:ln>
            </p:spPr>
            <p:txBody>
              <a:bodyPr/>
              <a:lstStyle/>
              <a:p>
                <a:endParaRPr lang="en-GB" sz="1637"/>
              </a:p>
            </p:txBody>
          </p:sp>
          <p:sp>
            <p:nvSpPr>
              <p:cNvPr id="101" name="Freeform 253"/>
              <p:cNvSpPr>
                <a:spLocks/>
              </p:cNvSpPr>
              <p:nvPr>
                <p:custDataLst>
                  <p:tags r:id="rId84"/>
                </p:custDataLst>
              </p:nvPr>
            </p:nvSpPr>
            <p:spPr bwMode="auto">
              <a:xfrm>
                <a:off x="5061561" y="4401012"/>
                <a:ext cx="214889" cy="490724"/>
              </a:xfrm>
              <a:custGeom>
                <a:avLst/>
                <a:gdLst>
                  <a:gd name="T0" fmla="*/ 48777 w 452"/>
                  <a:gd name="T1" fmla="*/ 136452 h 832"/>
                  <a:gd name="T2" fmla="*/ 60100 w 452"/>
                  <a:gd name="T3" fmla="*/ 129656 h 832"/>
                  <a:gd name="T4" fmla="*/ 71859 w 452"/>
                  <a:gd name="T5" fmla="*/ 125474 h 832"/>
                  <a:gd name="T6" fmla="*/ 83618 w 452"/>
                  <a:gd name="T7" fmla="*/ 121291 h 832"/>
                  <a:gd name="T8" fmla="*/ 93634 w 452"/>
                  <a:gd name="T9" fmla="*/ 113449 h 832"/>
                  <a:gd name="T10" fmla="*/ 101038 w 452"/>
                  <a:gd name="T11" fmla="*/ 104561 h 832"/>
                  <a:gd name="T12" fmla="*/ 101038 w 452"/>
                  <a:gd name="T13" fmla="*/ 93582 h 832"/>
                  <a:gd name="T14" fmla="*/ 115410 w 452"/>
                  <a:gd name="T15" fmla="*/ 93060 h 832"/>
                  <a:gd name="T16" fmla="*/ 122813 w 452"/>
                  <a:gd name="T17" fmla="*/ 90446 h 832"/>
                  <a:gd name="T18" fmla="*/ 129782 w 452"/>
                  <a:gd name="T19" fmla="*/ 84695 h 832"/>
                  <a:gd name="T20" fmla="*/ 139363 w 452"/>
                  <a:gd name="T21" fmla="*/ 69533 h 832"/>
                  <a:gd name="T22" fmla="*/ 152428 w 452"/>
                  <a:gd name="T23" fmla="*/ 39210 h 832"/>
                  <a:gd name="T24" fmla="*/ 164622 w 452"/>
                  <a:gd name="T25" fmla="*/ 0 h 832"/>
                  <a:gd name="T26" fmla="*/ 167671 w 452"/>
                  <a:gd name="T27" fmla="*/ 9933 h 832"/>
                  <a:gd name="T28" fmla="*/ 177252 w 452"/>
                  <a:gd name="T29" fmla="*/ 24572 h 832"/>
                  <a:gd name="T30" fmla="*/ 195108 w 452"/>
                  <a:gd name="T31" fmla="*/ 44439 h 832"/>
                  <a:gd name="T32" fmla="*/ 191624 w 452"/>
                  <a:gd name="T33" fmla="*/ 53849 h 832"/>
                  <a:gd name="T34" fmla="*/ 193366 w 452"/>
                  <a:gd name="T35" fmla="*/ 72147 h 832"/>
                  <a:gd name="T36" fmla="*/ 196850 w 452"/>
                  <a:gd name="T37" fmla="*/ 96719 h 832"/>
                  <a:gd name="T38" fmla="*/ 195108 w 452"/>
                  <a:gd name="T39" fmla="*/ 107698 h 832"/>
                  <a:gd name="T40" fmla="*/ 186398 w 452"/>
                  <a:gd name="T41" fmla="*/ 122337 h 832"/>
                  <a:gd name="T42" fmla="*/ 178123 w 452"/>
                  <a:gd name="T43" fmla="*/ 136452 h 832"/>
                  <a:gd name="T44" fmla="*/ 176381 w 452"/>
                  <a:gd name="T45" fmla="*/ 147954 h 832"/>
                  <a:gd name="T46" fmla="*/ 171155 w 452"/>
                  <a:gd name="T47" fmla="*/ 161024 h 832"/>
                  <a:gd name="T48" fmla="*/ 166800 w 452"/>
                  <a:gd name="T49" fmla="*/ 166252 h 832"/>
                  <a:gd name="T50" fmla="*/ 164187 w 452"/>
                  <a:gd name="T51" fmla="*/ 173572 h 832"/>
                  <a:gd name="T52" fmla="*/ 160267 w 452"/>
                  <a:gd name="T53" fmla="*/ 190302 h 832"/>
                  <a:gd name="T54" fmla="*/ 147202 w 452"/>
                  <a:gd name="T55" fmla="*/ 223238 h 832"/>
                  <a:gd name="T56" fmla="*/ 139798 w 452"/>
                  <a:gd name="T57" fmla="*/ 245719 h 832"/>
                  <a:gd name="T58" fmla="*/ 138492 w 452"/>
                  <a:gd name="T59" fmla="*/ 261403 h 832"/>
                  <a:gd name="T60" fmla="*/ 135008 w 452"/>
                  <a:gd name="T61" fmla="*/ 277610 h 832"/>
                  <a:gd name="T62" fmla="*/ 122378 w 452"/>
                  <a:gd name="T63" fmla="*/ 314730 h 832"/>
                  <a:gd name="T64" fmla="*/ 113232 w 452"/>
                  <a:gd name="T65" fmla="*/ 333028 h 832"/>
                  <a:gd name="T66" fmla="*/ 105393 w 452"/>
                  <a:gd name="T67" fmla="*/ 342438 h 832"/>
                  <a:gd name="T68" fmla="*/ 101038 w 452"/>
                  <a:gd name="T69" fmla="*/ 345052 h 832"/>
                  <a:gd name="T70" fmla="*/ 99296 w 452"/>
                  <a:gd name="T71" fmla="*/ 373284 h 832"/>
                  <a:gd name="T72" fmla="*/ 93634 w 452"/>
                  <a:gd name="T73" fmla="*/ 396810 h 832"/>
                  <a:gd name="T74" fmla="*/ 83182 w 452"/>
                  <a:gd name="T75" fmla="*/ 415631 h 832"/>
                  <a:gd name="T76" fmla="*/ 68375 w 452"/>
                  <a:gd name="T77" fmla="*/ 428179 h 832"/>
                  <a:gd name="T78" fmla="*/ 47906 w 452"/>
                  <a:gd name="T79" fmla="*/ 434452 h 832"/>
                  <a:gd name="T80" fmla="*/ 34841 w 452"/>
                  <a:gd name="T81" fmla="*/ 432361 h 832"/>
                  <a:gd name="T82" fmla="*/ 31792 w 452"/>
                  <a:gd name="T83" fmla="*/ 427133 h 832"/>
                  <a:gd name="T84" fmla="*/ 21775 w 452"/>
                  <a:gd name="T85" fmla="*/ 423473 h 832"/>
                  <a:gd name="T86" fmla="*/ 11323 w 452"/>
                  <a:gd name="T87" fmla="*/ 417200 h 832"/>
                  <a:gd name="T88" fmla="*/ 5226 w 452"/>
                  <a:gd name="T89" fmla="*/ 406221 h 832"/>
                  <a:gd name="T90" fmla="*/ 1307 w 452"/>
                  <a:gd name="T91" fmla="*/ 393150 h 832"/>
                  <a:gd name="T92" fmla="*/ 0 w 452"/>
                  <a:gd name="T93" fmla="*/ 370147 h 832"/>
                  <a:gd name="T94" fmla="*/ 1742 w 452"/>
                  <a:gd name="T95" fmla="*/ 362828 h 832"/>
                  <a:gd name="T96" fmla="*/ 8275 w 452"/>
                  <a:gd name="T97" fmla="*/ 354463 h 832"/>
                  <a:gd name="T98" fmla="*/ 4791 w 452"/>
                  <a:gd name="T99" fmla="*/ 351326 h 832"/>
                  <a:gd name="T100" fmla="*/ 0 w 452"/>
                  <a:gd name="T101" fmla="*/ 340870 h 832"/>
                  <a:gd name="T102" fmla="*/ 2178 w 452"/>
                  <a:gd name="T103" fmla="*/ 328322 h 832"/>
                  <a:gd name="T104" fmla="*/ 3484 w 452"/>
                  <a:gd name="T105" fmla="*/ 318912 h 832"/>
                  <a:gd name="T106" fmla="*/ 2178 w 452"/>
                  <a:gd name="T107" fmla="*/ 308979 h 832"/>
                  <a:gd name="T108" fmla="*/ 7839 w 452"/>
                  <a:gd name="T109" fmla="*/ 306887 h 832"/>
                  <a:gd name="T110" fmla="*/ 18727 w 452"/>
                  <a:gd name="T111" fmla="*/ 296954 h 832"/>
                  <a:gd name="T112" fmla="*/ 27437 w 452"/>
                  <a:gd name="T113" fmla="*/ 281270 h 832"/>
                  <a:gd name="T114" fmla="*/ 33099 w 452"/>
                  <a:gd name="T115" fmla="*/ 264540 h 832"/>
                  <a:gd name="T116" fmla="*/ 37454 w 452"/>
                  <a:gd name="T117" fmla="*/ 241537 h 832"/>
                  <a:gd name="T118" fmla="*/ 36147 w 452"/>
                  <a:gd name="T119" fmla="*/ 228989 h 832"/>
                  <a:gd name="T120" fmla="*/ 30486 w 452"/>
                  <a:gd name="T121" fmla="*/ 213305 h 832"/>
                  <a:gd name="T122" fmla="*/ 24388 w 452"/>
                  <a:gd name="T123" fmla="*/ 199712 h 832"/>
                  <a:gd name="T124" fmla="*/ 23082 w 452"/>
                  <a:gd name="T125" fmla="*/ 189779 h 83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52" h="832">
                    <a:moveTo>
                      <a:pt x="93" y="264"/>
                    </a:moveTo>
                    <a:lnTo>
                      <a:pt x="103" y="263"/>
                    </a:lnTo>
                    <a:lnTo>
                      <a:pt x="112" y="261"/>
                    </a:lnTo>
                    <a:lnTo>
                      <a:pt x="120" y="257"/>
                    </a:lnTo>
                    <a:lnTo>
                      <a:pt x="129" y="252"/>
                    </a:lnTo>
                    <a:lnTo>
                      <a:pt x="138" y="248"/>
                    </a:lnTo>
                    <a:lnTo>
                      <a:pt x="147" y="244"/>
                    </a:lnTo>
                    <a:lnTo>
                      <a:pt x="157" y="241"/>
                    </a:lnTo>
                    <a:lnTo>
                      <a:pt x="165" y="240"/>
                    </a:lnTo>
                    <a:lnTo>
                      <a:pt x="175" y="239"/>
                    </a:lnTo>
                    <a:lnTo>
                      <a:pt x="184" y="236"/>
                    </a:lnTo>
                    <a:lnTo>
                      <a:pt x="192" y="232"/>
                    </a:lnTo>
                    <a:lnTo>
                      <a:pt x="199" y="227"/>
                    </a:lnTo>
                    <a:lnTo>
                      <a:pt x="206" y="222"/>
                    </a:lnTo>
                    <a:lnTo>
                      <a:pt x="215" y="217"/>
                    </a:lnTo>
                    <a:lnTo>
                      <a:pt x="222" y="213"/>
                    </a:lnTo>
                    <a:lnTo>
                      <a:pt x="232" y="209"/>
                    </a:lnTo>
                    <a:lnTo>
                      <a:pt x="232" y="200"/>
                    </a:lnTo>
                    <a:lnTo>
                      <a:pt x="232" y="191"/>
                    </a:lnTo>
                    <a:lnTo>
                      <a:pt x="232" y="184"/>
                    </a:lnTo>
                    <a:lnTo>
                      <a:pt x="232" y="179"/>
                    </a:lnTo>
                    <a:lnTo>
                      <a:pt x="248" y="179"/>
                    </a:lnTo>
                    <a:lnTo>
                      <a:pt x="259" y="179"/>
                    </a:lnTo>
                    <a:lnTo>
                      <a:pt x="265" y="178"/>
                    </a:lnTo>
                    <a:lnTo>
                      <a:pt x="271" y="177"/>
                    </a:lnTo>
                    <a:lnTo>
                      <a:pt x="276" y="175"/>
                    </a:lnTo>
                    <a:lnTo>
                      <a:pt x="282" y="173"/>
                    </a:lnTo>
                    <a:lnTo>
                      <a:pt x="287" y="170"/>
                    </a:lnTo>
                    <a:lnTo>
                      <a:pt x="293" y="166"/>
                    </a:lnTo>
                    <a:lnTo>
                      <a:pt x="298" y="162"/>
                    </a:lnTo>
                    <a:lnTo>
                      <a:pt x="303" y="157"/>
                    </a:lnTo>
                    <a:lnTo>
                      <a:pt x="311" y="145"/>
                    </a:lnTo>
                    <a:lnTo>
                      <a:pt x="320" y="133"/>
                    </a:lnTo>
                    <a:lnTo>
                      <a:pt x="329" y="120"/>
                    </a:lnTo>
                    <a:lnTo>
                      <a:pt x="336" y="106"/>
                    </a:lnTo>
                    <a:lnTo>
                      <a:pt x="350" y="75"/>
                    </a:lnTo>
                    <a:lnTo>
                      <a:pt x="361" y="46"/>
                    </a:lnTo>
                    <a:lnTo>
                      <a:pt x="371" y="20"/>
                    </a:lnTo>
                    <a:lnTo>
                      <a:pt x="378" y="0"/>
                    </a:lnTo>
                    <a:lnTo>
                      <a:pt x="379" y="7"/>
                    </a:lnTo>
                    <a:lnTo>
                      <a:pt x="383" y="13"/>
                    </a:lnTo>
                    <a:lnTo>
                      <a:pt x="385" y="19"/>
                    </a:lnTo>
                    <a:lnTo>
                      <a:pt x="389" y="25"/>
                    </a:lnTo>
                    <a:lnTo>
                      <a:pt x="397" y="36"/>
                    </a:lnTo>
                    <a:lnTo>
                      <a:pt x="407" y="47"/>
                    </a:lnTo>
                    <a:lnTo>
                      <a:pt x="430" y="65"/>
                    </a:lnTo>
                    <a:lnTo>
                      <a:pt x="452" y="80"/>
                    </a:lnTo>
                    <a:lnTo>
                      <a:pt x="448" y="85"/>
                    </a:lnTo>
                    <a:lnTo>
                      <a:pt x="444" y="91"/>
                    </a:lnTo>
                    <a:lnTo>
                      <a:pt x="442" y="96"/>
                    </a:lnTo>
                    <a:lnTo>
                      <a:pt x="440" y="103"/>
                    </a:lnTo>
                    <a:lnTo>
                      <a:pt x="440" y="114"/>
                    </a:lnTo>
                    <a:lnTo>
                      <a:pt x="442" y="125"/>
                    </a:lnTo>
                    <a:lnTo>
                      <a:pt x="444" y="138"/>
                    </a:lnTo>
                    <a:lnTo>
                      <a:pt x="448" y="151"/>
                    </a:lnTo>
                    <a:lnTo>
                      <a:pt x="451" y="168"/>
                    </a:lnTo>
                    <a:lnTo>
                      <a:pt x="452" y="185"/>
                    </a:lnTo>
                    <a:lnTo>
                      <a:pt x="451" y="192"/>
                    </a:lnTo>
                    <a:lnTo>
                      <a:pt x="450" y="199"/>
                    </a:lnTo>
                    <a:lnTo>
                      <a:pt x="448" y="206"/>
                    </a:lnTo>
                    <a:lnTo>
                      <a:pt x="444" y="213"/>
                    </a:lnTo>
                    <a:lnTo>
                      <a:pt x="437" y="224"/>
                    </a:lnTo>
                    <a:lnTo>
                      <a:pt x="428" y="234"/>
                    </a:lnTo>
                    <a:lnTo>
                      <a:pt x="420" y="244"/>
                    </a:lnTo>
                    <a:lnTo>
                      <a:pt x="412" y="255"/>
                    </a:lnTo>
                    <a:lnTo>
                      <a:pt x="409" y="261"/>
                    </a:lnTo>
                    <a:lnTo>
                      <a:pt x="407" y="269"/>
                    </a:lnTo>
                    <a:lnTo>
                      <a:pt x="406" y="276"/>
                    </a:lnTo>
                    <a:lnTo>
                      <a:pt x="405" y="283"/>
                    </a:lnTo>
                    <a:lnTo>
                      <a:pt x="402" y="289"/>
                    </a:lnTo>
                    <a:lnTo>
                      <a:pt x="397" y="302"/>
                    </a:lnTo>
                    <a:lnTo>
                      <a:pt x="393" y="308"/>
                    </a:lnTo>
                    <a:lnTo>
                      <a:pt x="388" y="314"/>
                    </a:lnTo>
                    <a:lnTo>
                      <a:pt x="386" y="316"/>
                    </a:lnTo>
                    <a:lnTo>
                      <a:pt x="383" y="318"/>
                    </a:lnTo>
                    <a:lnTo>
                      <a:pt x="381" y="319"/>
                    </a:lnTo>
                    <a:lnTo>
                      <a:pt x="378" y="320"/>
                    </a:lnTo>
                    <a:lnTo>
                      <a:pt x="377" y="332"/>
                    </a:lnTo>
                    <a:lnTo>
                      <a:pt x="376" y="343"/>
                    </a:lnTo>
                    <a:lnTo>
                      <a:pt x="373" y="354"/>
                    </a:lnTo>
                    <a:lnTo>
                      <a:pt x="368" y="364"/>
                    </a:lnTo>
                    <a:lnTo>
                      <a:pt x="360" y="386"/>
                    </a:lnTo>
                    <a:lnTo>
                      <a:pt x="349" y="406"/>
                    </a:lnTo>
                    <a:lnTo>
                      <a:pt x="338" y="427"/>
                    </a:lnTo>
                    <a:lnTo>
                      <a:pt x="328" y="449"/>
                    </a:lnTo>
                    <a:lnTo>
                      <a:pt x="325" y="459"/>
                    </a:lnTo>
                    <a:lnTo>
                      <a:pt x="321" y="470"/>
                    </a:lnTo>
                    <a:lnTo>
                      <a:pt x="319" y="481"/>
                    </a:lnTo>
                    <a:lnTo>
                      <a:pt x="319" y="493"/>
                    </a:lnTo>
                    <a:lnTo>
                      <a:pt x="318" y="500"/>
                    </a:lnTo>
                    <a:lnTo>
                      <a:pt x="316" y="509"/>
                    </a:lnTo>
                    <a:lnTo>
                      <a:pt x="314" y="520"/>
                    </a:lnTo>
                    <a:lnTo>
                      <a:pt x="310" y="531"/>
                    </a:lnTo>
                    <a:lnTo>
                      <a:pt x="300" y="559"/>
                    </a:lnTo>
                    <a:lnTo>
                      <a:pt x="288" y="587"/>
                    </a:lnTo>
                    <a:lnTo>
                      <a:pt x="281" y="602"/>
                    </a:lnTo>
                    <a:lnTo>
                      <a:pt x="274" y="615"/>
                    </a:lnTo>
                    <a:lnTo>
                      <a:pt x="266" y="627"/>
                    </a:lnTo>
                    <a:lnTo>
                      <a:pt x="260" y="637"/>
                    </a:lnTo>
                    <a:lnTo>
                      <a:pt x="252" y="646"/>
                    </a:lnTo>
                    <a:lnTo>
                      <a:pt x="245" y="653"/>
                    </a:lnTo>
                    <a:lnTo>
                      <a:pt x="242" y="655"/>
                    </a:lnTo>
                    <a:lnTo>
                      <a:pt x="239" y="658"/>
                    </a:lnTo>
                    <a:lnTo>
                      <a:pt x="236" y="659"/>
                    </a:lnTo>
                    <a:lnTo>
                      <a:pt x="232" y="660"/>
                    </a:lnTo>
                    <a:lnTo>
                      <a:pt x="231" y="678"/>
                    </a:lnTo>
                    <a:lnTo>
                      <a:pt x="230" y="696"/>
                    </a:lnTo>
                    <a:lnTo>
                      <a:pt x="228" y="714"/>
                    </a:lnTo>
                    <a:lnTo>
                      <a:pt x="225" y="730"/>
                    </a:lnTo>
                    <a:lnTo>
                      <a:pt x="220" y="745"/>
                    </a:lnTo>
                    <a:lnTo>
                      <a:pt x="215" y="759"/>
                    </a:lnTo>
                    <a:lnTo>
                      <a:pt x="207" y="773"/>
                    </a:lnTo>
                    <a:lnTo>
                      <a:pt x="199" y="785"/>
                    </a:lnTo>
                    <a:lnTo>
                      <a:pt x="191" y="795"/>
                    </a:lnTo>
                    <a:lnTo>
                      <a:pt x="181" y="805"/>
                    </a:lnTo>
                    <a:lnTo>
                      <a:pt x="169" y="812"/>
                    </a:lnTo>
                    <a:lnTo>
                      <a:pt x="157" y="819"/>
                    </a:lnTo>
                    <a:lnTo>
                      <a:pt x="142" y="825"/>
                    </a:lnTo>
                    <a:lnTo>
                      <a:pt x="127" y="829"/>
                    </a:lnTo>
                    <a:lnTo>
                      <a:pt x="110" y="831"/>
                    </a:lnTo>
                    <a:lnTo>
                      <a:pt x="93" y="832"/>
                    </a:lnTo>
                    <a:lnTo>
                      <a:pt x="86" y="831"/>
                    </a:lnTo>
                    <a:lnTo>
                      <a:pt x="80" y="827"/>
                    </a:lnTo>
                    <a:lnTo>
                      <a:pt x="77" y="825"/>
                    </a:lnTo>
                    <a:lnTo>
                      <a:pt x="75" y="821"/>
                    </a:lnTo>
                    <a:lnTo>
                      <a:pt x="73" y="817"/>
                    </a:lnTo>
                    <a:lnTo>
                      <a:pt x="73" y="813"/>
                    </a:lnTo>
                    <a:lnTo>
                      <a:pt x="61" y="812"/>
                    </a:lnTo>
                    <a:lnTo>
                      <a:pt x="50" y="810"/>
                    </a:lnTo>
                    <a:lnTo>
                      <a:pt x="41" y="807"/>
                    </a:lnTo>
                    <a:lnTo>
                      <a:pt x="34" y="803"/>
                    </a:lnTo>
                    <a:lnTo>
                      <a:pt x="26" y="798"/>
                    </a:lnTo>
                    <a:lnTo>
                      <a:pt x="20" y="791"/>
                    </a:lnTo>
                    <a:lnTo>
                      <a:pt x="15" y="785"/>
                    </a:lnTo>
                    <a:lnTo>
                      <a:pt x="12" y="777"/>
                    </a:lnTo>
                    <a:lnTo>
                      <a:pt x="8" y="769"/>
                    </a:lnTo>
                    <a:lnTo>
                      <a:pt x="5" y="760"/>
                    </a:lnTo>
                    <a:lnTo>
                      <a:pt x="3" y="752"/>
                    </a:lnTo>
                    <a:lnTo>
                      <a:pt x="2" y="743"/>
                    </a:lnTo>
                    <a:lnTo>
                      <a:pt x="0" y="726"/>
                    </a:lnTo>
                    <a:lnTo>
                      <a:pt x="0" y="708"/>
                    </a:lnTo>
                    <a:lnTo>
                      <a:pt x="1" y="702"/>
                    </a:lnTo>
                    <a:lnTo>
                      <a:pt x="2" y="697"/>
                    </a:lnTo>
                    <a:lnTo>
                      <a:pt x="4" y="694"/>
                    </a:lnTo>
                    <a:lnTo>
                      <a:pt x="7" y="691"/>
                    </a:lnTo>
                    <a:lnTo>
                      <a:pt x="14" y="685"/>
                    </a:lnTo>
                    <a:lnTo>
                      <a:pt x="19" y="678"/>
                    </a:lnTo>
                    <a:lnTo>
                      <a:pt x="17" y="677"/>
                    </a:lnTo>
                    <a:lnTo>
                      <a:pt x="14" y="675"/>
                    </a:lnTo>
                    <a:lnTo>
                      <a:pt x="11" y="672"/>
                    </a:lnTo>
                    <a:lnTo>
                      <a:pt x="7" y="668"/>
                    </a:lnTo>
                    <a:lnTo>
                      <a:pt x="2" y="660"/>
                    </a:lnTo>
                    <a:lnTo>
                      <a:pt x="0" y="652"/>
                    </a:lnTo>
                    <a:lnTo>
                      <a:pt x="1" y="642"/>
                    </a:lnTo>
                    <a:lnTo>
                      <a:pt x="3" y="635"/>
                    </a:lnTo>
                    <a:lnTo>
                      <a:pt x="5" y="628"/>
                    </a:lnTo>
                    <a:lnTo>
                      <a:pt x="7" y="622"/>
                    </a:lnTo>
                    <a:lnTo>
                      <a:pt x="8" y="616"/>
                    </a:lnTo>
                    <a:lnTo>
                      <a:pt x="8" y="610"/>
                    </a:lnTo>
                    <a:lnTo>
                      <a:pt x="5" y="602"/>
                    </a:lnTo>
                    <a:lnTo>
                      <a:pt x="0" y="591"/>
                    </a:lnTo>
                    <a:lnTo>
                      <a:pt x="5" y="591"/>
                    </a:lnTo>
                    <a:lnTo>
                      <a:pt x="9" y="590"/>
                    </a:lnTo>
                    <a:lnTo>
                      <a:pt x="14" y="589"/>
                    </a:lnTo>
                    <a:lnTo>
                      <a:pt x="18" y="587"/>
                    </a:lnTo>
                    <a:lnTo>
                      <a:pt x="27" y="582"/>
                    </a:lnTo>
                    <a:lnTo>
                      <a:pt x="36" y="575"/>
                    </a:lnTo>
                    <a:lnTo>
                      <a:pt x="43" y="568"/>
                    </a:lnTo>
                    <a:lnTo>
                      <a:pt x="50" y="559"/>
                    </a:lnTo>
                    <a:lnTo>
                      <a:pt x="57" y="549"/>
                    </a:lnTo>
                    <a:lnTo>
                      <a:pt x="63" y="538"/>
                    </a:lnTo>
                    <a:lnTo>
                      <a:pt x="68" y="527"/>
                    </a:lnTo>
                    <a:lnTo>
                      <a:pt x="73" y="516"/>
                    </a:lnTo>
                    <a:lnTo>
                      <a:pt x="76" y="506"/>
                    </a:lnTo>
                    <a:lnTo>
                      <a:pt x="80" y="496"/>
                    </a:lnTo>
                    <a:lnTo>
                      <a:pt x="84" y="476"/>
                    </a:lnTo>
                    <a:lnTo>
                      <a:pt x="86" y="462"/>
                    </a:lnTo>
                    <a:lnTo>
                      <a:pt x="85" y="453"/>
                    </a:lnTo>
                    <a:lnTo>
                      <a:pt x="84" y="445"/>
                    </a:lnTo>
                    <a:lnTo>
                      <a:pt x="83" y="438"/>
                    </a:lnTo>
                    <a:lnTo>
                      <a:pt x="81" y="430"/>
                    </a:lnTo>
                    <a:lnTo>
                      <a:pt x="75" y="419"/>
                    </a:lnTo>
                    <a:lnTo>
                      <a:pt x="70" y="408"/>
                    </a:lnTo>
                    <a:lnTo>
                      <a:pt x="63" y="398"/>
                    </a:lnTo>
                    <a:lnTo>
                      <a:pt x="58" y="388"/>
                    </a:lnTo>
                    <a:lnTo>
                      <a:pt x="56" y="382"/>
                    </a:lnTo>
                    <a:lnTo>
                      <a:pt x="54" y="376"/>
                    </a:lnTo>
                    <a:lnTo>
                      <a:pt x="53" y="370"/>
                    </a:lnTo>
                    <a:lnTo>
                      <a:pt x="53" y="363"/>
                    </a:lnTo>
                    <a:lnTo>
                      <a:pt x="93" y="264"/>
                    </a:lnTo>
                  </a:path>
                </a:pathLst>
              </a:custGeom>
              <a:grpFill/>
              <a:ln w="9525" cmpd="sng">
                <a:solidFill>
                  <a:srgbClr val="FFFFFF"/>
                </a:solidFill>
                <a:prstDash val="solid"/>
                <a:round/>
                <a:headEnd/>
                <a:tailEnd/>
              </a:ln>
            </p:spPr>
            <p:txBody>
              <a:bodyPr/>
              <a:lstStyle/>
              <a:p>
                <a:endParaRPr lang="en-GB" sz="1637"/>
              </a:p>
            </p:txBody>
          </p:sp>
          <p:sp>
            <p:nvSpPr>
              <p:cNvPr id="102" name="Freeform 254"/>
              <p:cNvSpPr>
                <a:spLocks/>
              </p:cNvSpPr>
              <p:nvPr>
                <p:custDataLst>
                  <p:tags r:id="rId85"/>
                </p:custDataLst>
              </p:nvPr>
            </p:nvSpPr>
            <p:spPr bwMode="auto">
              <a:xfrm>
                <a:off x="4708034" y="4060729"/>
                <a:ext cx="39859" cy="75221"/>
              </a:xfrm>
              <a:custGeom>
                <a:avLst/>
                <a:gdLst>
                  <a:gd name="T0" fmla="*/ 36513 w 80"/>
                  <a:gd name="T1" fmla="*/ 1058 h 126"/>
                  <a:gd name="T2" fmla="*/ 36513 w 80"/>
                  <a:gd name="T3" fmla="*/ 53446 h 126"/>
                  <a:gd name="T4" fmla="*/ 35600 w 80"/>
                  <a:gd name="T5" fmla="*/ 55033 h 126"/>
                  <a:gd name="T6" fmla="*/ 34231 w 80"/>
                  <a:gd name="T7" fmla="*/ 56621 h 126"/>
                  <a:gd name="T8" fmla="*/ 31949 w 80"/>
                  <a:gd name="T9" fmla="*/ 57679 h 126"/>
                  <a:gd name="T10" fmla="*/ 30580 w 80"/>
                  <a:gd name="T11" fmla="*/ 58737 h 126"/>
                  <a:gd name="T12" fmla="*/ 26472 w 80"/>
                  <a:gd name="T13" fmla="*/ 60325 h 126"/>
                  <a:gd name="T14" fmla="*/ 21908 w 80"/>
                  <a:gd name="T15" fmla="*/ 61383 h 126"/>
                  <a:gd name="T16" fmla="*/ 16431 w 80"/>
                  <a:gd name="T17" fmla="*/ 61912 h 126"/>
                  <a:gd name="T18" fmla="*/ 11410 w 80"/>
                  <a:gd name="T19" fmla="*/ 62971 h 126"/>
                  <a:gd name="T20" fmla="*/ 5933 w 80"/>
                  <a:gd name="T21" fmla="*/ 65087 h 126"/>
                  <a:gd name="T22" fmla="*/ 0 w 80"/>
                  <a:gd name="T23" fmla="*/ 66675 h 126"/>
                  <a:gd name="T24" fmla="*/ 3195 w 80"/>
                  <a:gd name="T25" fmla="*/ 21167 h 126"/>
                  <a:gd name="T26" fmla="*/ 10497 w 80"/>
                  <a:gd name="T27" fmla="*/ 14287 h 126"/>
                  <a:gd name="T28" fmla="*/ 18713 w 80"/>
                  <a:gd name="T29" fmla="*/ 6350 h 126"/>
                  <a:gd name="T30" fmla="*/ 23277 w 80"/>
                  <a:gd name="T31" fmla="*/ 2646 h 126"/>
                  <a:gd name="T32" fmla="*/ 27385 w 80"/>
                  <a:gd name="T33" fmla="*/ 529 h 126"/>
                  <a:gd name="T34" fmla="*/ 29667 w 80"/>
                  <a:gd name="T35" fmla="*/ 0 h 126"/>
                  <a:gd name="T36" fmla="*/ 31949 w 80"/>
                  <a:gd name="T37" fmla="*/ 0 h 126"/>
                  <a:gd name="T38" fmla="*/ 34231 w 80"/>
                  <a:gd name="T39" fmla="*/ 529 h 126"/>
                  <a:gd name="T40" fmla="*/ 36513 w 80"/>
                  <a:gd name="T41" fmla="*/ 1058 h 1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80" h="126">
                    <a:moveTo>
                      <a:pt x="80" y="2"/>
                    </a:moveTo>
                    <a:lnTo>
                      <a:pt x="80" y="101"/>
                    </a:lnTo>
                    <a:lnTo>
                      <a:pt x="78" y="104"/>
                    </a:lnTo>
                    <a:lnTo>
                      <a:pt x="75" y="107"/>
                    </a:lnTo>
                    <a:lnTo>
                      <a:pt x="70" y="109"/>
                    </a:lnTo>
                    <a:lnTo>
                      <a:pt x="67" y="111"/>
                    </a:lnTo>
                    <a:lnTo>
                      <a:pt x="58" y="114"/>
                    </a:lnTo>
                    <a:lnTo>
                      <a:pt x="48" y="116"/>
                    </a:lnTo>
                    <a:lnTo>
                      <a:pt x="36" y="117"/>
                    </a:lnTo>
                    <a:lnTo>
                      <a:pt x="25" y="119"/>
                    </a:lnTo>
                    <a:lnTo>
                      <a:pt x="13" y="123"/>
                    </a:lnTo>
                    <a:lnTo>
                      <a:pt x="0" y="126"/>
                    </a:lnTo>
                    <a:lnTo>
                      <a:pt x="7" y="40"/>
                    </a:lnTo>
                    <a:lnTo>
                      <a:pt x="23" y="27"/>
                    </a:lnTo>
                    <a:lnTo>
                      <a:pt x="41" y="12"/>
                    </a:lnTo>
                    <a:lnTo>
                      <a:pt x="51" y="5"/>
                    </a:lnTo>
                    <a:lnTo>
                      <a:pt x="60" y="1"/>
                    </a:lnTo>
                    <a:lnTo>
                      <a:pt x="65" y="0"/>
                    </a:lnTo>
                    <a:lnTo>
                      <a:pt x="70" y="0"/>
                    </a:lnTo>
                    <a:lnTo>
                      <a:pt x="75" y="1"/>
                    </a:lnTo>
                    <a:lnTo>
                      <a:pt x="80" y="2"/>
                    </a:lnTo>
                  </a:path>
                </a:pathLst>
              </a:custGeom>
              <a:grpFill/>
              <a:ln w="9525" cmpd="sng">
                <a:solidFill>
                  <a:srgbClr val="FFFFFF"/>
                </a:solidFill>
                <a:prstDash val="solid"/>
                <a:round/>
                <a:headEnd/>
                <a:tailEnd/>
              </a:ln>
            </p:spPr>
            <p:txBody>
              <a:bodyPr/>
              <a:lstStyle/>
              <a:p>
                <a:endParaRPr lang="en-GB" sz="1637"/>
              </a:p>
            </p:txBody>
          </p:sp>
          <p:sp>
            <p:nvSpPr>
              <p:cNvPr id="103" name="Freeform 255"/>
              <p:cNvSpPr>
                <a:spLocks/>
              </p:cNvSpPr>
              <p:nvPr>
                <p:custDataLst>
                  <p:tags r:id="rId86"/>
                </p:custDataLst>
              </p:nvPr>
            </p:nvSpPr>
            <p:spPr bwMode="auto">
              <a:xfrm>
                <a:off x="4695903" y="4015954"/>
                <a:ext cx="60654" cy="68057"/>
              </a:xfrm>
              <a:custGeom>
                <a:avLst/>
                <a:gdLst>
                  <a:gd name="T0" fmla="*/ 50633 w 124"/>
                  <a:gd name="T1" fmla="*/ 0 h 117"/>
                  <a:gd name="T2" fmla="*/ 51977 w 124"/>
                  <a:gd name="T3" fmla="*/ 7734 h 117"/>
                  <a:gd name="T4" fmla="*/ 54666 w 124"/>
                  <a:gd name="T5" fmla="*/ 18046 h 117"/>
                  <a:gd name="T6" fmla="*/ 55562 w 124"/>
                  <a:gd name="T7" fmla="*/ 23202 h 117"/>
                  <a:gd name="T8" fmla="*/ 55562 w 124"/>
                  <a:gd name="T9" fmla="*/ 27842 h 117"/>
                  <a:gd name="T10" fmla="*/ 55562 w 124"/>
                  <a:gd name="T11" fmla="*/ 30420 h 117"/>
                  <a:gd name="T12" fmla="*/ 55114 w 124"/>
                  <a:gd name="T13" fmla="*/ 32998 h 117"/>
                  <a:gd name="T14" fmla="*/ 54666 w 124"/>
                  <a:gd name="T15" fmla="*/ 35576 h 117"/>
                  <a:gd name="T16" fmla="*/ 53322 w 124"/>
                  <a:gd name="T17" fmla="*/ 37639 h 117"/>
                  <a:gd name="T18" fmla="*/ 51081 w 124"/>
                  <a:gd name="T19" fmla="*/ 37123 h 117"/>
                  <a:gd name="T20" fmla="*/ 48393 w 124"/>
                  <a:gd name="T21" fmla="*/ 36607 h 117"/>
                  <a:gd name="T22" fmla="*/ 46152 w 124"/>
                  <a:gd name="T23" fmla="*/ 37123 h 117"/>
                  <a:gd name="T24" fmla="*/ 43016 w 124"/>
                  <a:gd name="T25" fmla="*/ 37639 h 117"/>
                  <a:gd name="T26" fmla="*/ 37191 w 124"/>
                  <a:gd name="T27" fmla="*/ 40217 h 117"/>
                  <a:gd name="T28" fmla="*/ 31814 w 124"/>
                  <a:gd name="T29" fmla="*/ 43826 h 117"/>
                  <a:gd name="T30" fmla="*/ 20612 w 124"/>
                  <a:gd name="T31" fmla="*/ 53107 h 117"/>
                  <a:gd name="T32" fmla="*/ 11650 w 124"/>
                  <a:gd name="T33" fmla="*/ 60325 h 117"/>
                  <a:gd name="T34" fmla="*/ 10306 w 124"/>
                  <a:gd name="T35" fmla="*/ 57747 h 117"/>
                  <a:gd name="T36" fmla="*/ 5825 w 124"/>
                  <a:gd name="T37" fmla="*/ 52075 h 117"/>
                  <a:gd name="T38" fmla="*/ 1792 w 124"/>
                  <a:gd name="T39" fmla="*/ 45888 h 117"/>
                  <a:gd name="T40" fmla="*/ 0 w 124"/>
                  <a:gd name="T41" fmla="*/ 40732 h 117"/>
                  <a:gd name="T42" fmla="*/ 448 w 124"/>
                  <a:gd name="T43" fmla="*/ 39185 h 117"/>
                  <a:gd name="T44" fmla="*/ 896 w 124"/>
                  <a:gd name="T45" fmla="*/ 37123 h 117"/>
                  <a:gd name="T46" fmla="*/ 2240 w 124"/>
                  <a:gd name="T47" fmla="*/ 34545 h 117"/>
                  <a:gd name="T48" fmla="*/ 4033 w 124"/>
                  <a:gd name="T49" fmla="*/ 31967 h 117"/>
                  <a:gd name="T50" fmla="*/ 7617 w 124"/>
                  <a:gd name="T51" fmla="*/ 26811 h 117"/>
                  <a:gd name="T52" fmla="*/ 12098 w 124"/>
                  <a:gd name="T53" fmla="*/ 21655 h 117"/>
                  <a:gd name="T54" fmla="*/ 21508 w 124"/>
                  <a:gd name="T55" fmla="*/ 11343 h 117"/>
                  <a:gd name="T56" fmla="*/ 26885 w 124"/>
                  <a:gd name="T57" fmla="*/ 6187 h 117"/>
                  <a:gd name="T58" fmla="*/ 32710 w 124"/>
                  <a:gd name="T59" fmla="*/ 6187 h 117"/>
                  <a:gd name="T60" fmla="*/ 38535 w 124"/>
                  <a:gd name="T61" fmla="*/ 6187 h 117"/>
                  <a:gd name="T62" fmla="*/ 44808 w 124"/>
                  <a:gd name="T63" fmla="*/ 3094 h 117"/>
                  <a:gd name="T64" fmla="*/ 50633 w 124"/>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24" h="117">
                    <a:moveTo>
                      <a:pt x="113" y="0"/>
                    </a:moveTo>
                    <a:lnTo>
                      <a:pt x="116" y="15"/>
                    </a:lnTo>
                    <a:lnTo>
                      <a:pt x="122" y="35"/>
                    </a:lnTo>
                    <a:lnTo>
                      <a:pt x="124" y="45"/>
                    </a:lnTo>
                    <a:lnTo>
                      <a:pt x="124" y="54"/>
                    </a:lnTo>
                    <a:lnTo>
                      <a:pt x="124" y="59"/>
                    </a:lnTo>
                    <a:lnTo>
                      <a:pt x="123" y="64"/>
                    </a:lnTo>
                    <a:lnTo>
                      <a:pt x="122" y="69"/>
                    </a:lnTo>
                    <a:lnTo>
                      <a:pt x="119" y="73"/>
                    </a:lnTo>
                    <a:lnTo>
                      <a:pt x="114" y="72"/>
                    </a:lnTo>
                    <a:lnTo>
                      <a:pt x="108" y="71"/>
                    </a:lnTo>
                    <a:lnTo>
                      <a:pt x="103" y="72"/>
                    </a:lnTo>
                    <a:lnTo>
                      <a:pt x="96" y="73"/>
                    </a:lnTo>
                    <a:lnTo>
                      <a:pt x="83" y="78"/>
                    </a:lnTo>
                    <a:lnTo>
                      <a:pt x="71" y="85"/>
                    </a:lnTo>
                    <a:lnTo>
                      <a:pt x="46" y="103"/>
                    </a:lnTo>
                    <a:lnTo>
                      <a:pt x="26" y="117"/>
                    </a:lnTo>
                    <a:lnTo>
                      <a:pt x="23" y="112"/>
                    </a:lnTo>
                    <a:lnTo>
                      <a:pt x="13" y="101"/>
                    </a:lnTo>
                    <a:lnTo>
                      <a:pt x="4" y="89"/>
                    </a:lnTo>
                    <a:lnTo>
                      <a:pt x="0" y="79"/>
                    </a:lnTo>
                    <a:lnTo>
                      <a:pt x="1" y="76"/>
                    </a:lnTo>
                    <a:lnTo>
                      <a:pt x="2" y="72"/>
                    </a:lnTo>
                    <a:lnTo>
                      <a:pt x="5" y="67"/>
                    </a:lnTo>
                    <a:lnTo>
                      <a:pt x="9" y="62"/>
                    </a:lnTo>
                    <a:lnTo>
                      <a:pt x="17" y="52"/>
                    </a:lnTo>
                    <a:lnTo>
                      <a:pt x="27" y="42"/>
                    </a:lnTo>
                    <a:lnTo>
                      <a:pt x="48" y="22"/>
                    </a:lnTo>
                    <a:lnTo>
                      <a:pt x="60" y="12"/>
                    </a:lnTo>
                    <a:lnTo>
                      <a:pt x="73" y="12"/>
                    </a:lnTo>
                    <a:lnTo>
                      <a:pt x="86" y="12"/>
                    </a:lnTo>
                    <a:lnTo>
                      <a:pt x="100" y="6"/>
                    </a:lnTo>
                    <a:lnTo>
                      <a:pt x="113" y="0"/>
                    </a:lnTo>
                  </a:path>
                </a:pathLst>
              </a:custGeom>
              <a:grpFill/>
              <a:ln w="9525" cmpd="sng">
                <a:solidFill>
                  <a:srgbClr val="FFFFFF"/>
                </a:solidFill>
                <a:prstDash val="solid"/>
                <a:round/>
                <a:headEnd/>
                <a:tailEnd/>
              </a:ln>
            </p:spPr>
            <p:txBody>
              <a:bodyPr/>
              <a:lstStyle/>
              <a:p>
                <a:endParaRPr lang="en-GB" sz="1637"/>
              </a:p>
            </p:txBody>
          </p:sp>
          <p:sp>
            <p:nvSpPr>
              <p:cNvPr id="104" name="Freeform 256"/>
              <p:cNvSpPr>
                <a:spLocks/>
              </p:cNvSpPr>
              <p:nvPr>
                <p:custDataLst>
                  <p:tags r:id="rId87"/>
                </p:custDataLst>
              </p:nvPr>
            </p:nvSpPr>
            <p:spPr bwMode="auto">
              <a:xfrm>
                <a:off x="5033834" y="2549154"/>
                <a:ext cx="549355" cy="533708"/>
              </a:xfrm>
              <a:custGeom>
                <a:avLst/>
                <a:gdLst>
                  <a:gd name="T0" fmla="*/ 403983 w 1156"/>
                  <a:gd name="T1" fmla="*/ 100397 h 900"/>
                  <a:gd name="T2" fmla="*/ 373946 w 1156"/>
                  <a:gd name="T3" fmla="*/ 85154 h 900"/>
                  <a:gd name="T4" fmla="*/ 336508 w 1156"/>
                  <a:gd name="T5" fmla="*/ 58346 h 900"/>
                  <a:gd name="T6" fmla="*/ 268597 w 1156"/>
                  <a:gd name="T7" fmla="*/ 54666 h 900"/>
                  <a:gd name="T8" fmla="*/ 239865 w 1156"/>
                  <a:gd name="T9" fmla="*/ 80948 h 900"/>
                  <a:gd name="T10" fmla="*/ 219405 w 1156"/>
                  <a:gd name="T11" fmla="*/ 94089 h 900"/>
                  <a:gd name="T12" fmla="*/ 185449 w 1156"/>
                  <a:gd name="T13" fmla="*/ 103551 h 900"/>
                  <a:gd name="T14" fmla="*/ 166730 w 1156"/>
                  <a:gd name="T15" fmla="*/ 104602 h 900"/>
                  <a:gd name="T16" fmla="*/ 154541 w 1156"/>
                  <a:gd name="T17" fmla="*/ 90936 h 900"/>
                  <a:gd name="T18" fmla="*/ 113185 w 1156"/>
                  <a:gd name="T19" fmla="*/ 71487 h 900"/>
                  <a:gd name="T20" fmla="*/ 99255 w 1156"/>
                  <a:gd name="T21" fmla="*/ 45205 h 900"/>
                  <a:gd name="T22" fmla="*/ 95772 w 1156"/>
                  <a:gd name="T23" fmla="*/ 12090 h 900"/>
                  <a:gd name="T24" fmla="*/ 81841 w 1156"/>
                  <a:gd name="T25" fmla="*/ 526 h 900"/>
                  <a:gd name="T26" fmla="*/ 67476 w 1156"/>
                  <a:gd name="T27" fmla="*/ 11038 h 900"/>
                  <a:gd name="T28" fmla="*/ 59204 w 1156"/>
                  <a:gd name="T29" fmla="*/ 35218 h 900"/>
                  <a:gd name="T30" fmla="*/ 34391 w 1156"/>
                  <a:gd name="T31" fmla="*/ 28385 h 900"/>
                  <a:gd name="T32" fmla="*/ 1741 w 1156"/>
                  <a:gd name="T33" fmla="*/ 8410 h 900"/>
                  <a:gd name="T34" fmla="*/ 2177 w 1156"/>
                  <a:gd name="T35" fmla="*/ 37846 h 900"/>
                  <a:gd name="T36" fmla="*/ 19590 w 1156"/>
                  <a:gd name="T37" fmla="*/ 76743 h 900"/>
                  <a:gd name="T38" fmla="*/ 31779 w 1156"/>
                  <a:gd name="T39" fmla="*/ 107756 h 900"/>
                  <a:gd name="T40" fmla="*/ 58769 w 1156"/>
                  <a:gd name="T41" fmla="*/ 149281 h 900"/>
                  <a:gd name="T42" fmla="*/ 53110 w 1156"/>
                  <a:gd name="T43" fmla="*/ 166102 h 900"/>
                  <a:gd name="T44" fmla="*/ 57898 w 1156"/>
                  <a:gd name="T45" fmla="*/ 194486 h 900"/>
                  <a:gd name="T46" fmla="*/ 81841 w 1156"/>
                  <a:gd name="T47" fmla="*/ 224973 h 900"/>
                  <a:gd name="T48" fmla="*/ 112750 w 1156"/>
                  <a:gd name="T49" fmla="*/ 239691 h 900"/>
                  <a:gd name="T50" fmla="*/ 112750 w 1156"/>
                  <a:gd name="T51" fmla="*/ 275435 h 900"/>
                  <a:gd name="T52" fmla="*/ 145835 w 1156"/>
                  <a:gd name="T53" fmla="*/ 305396 h 900"/>
                  <a:gd name="T54" fmla="*/ 184143 w 1156"/>
                  <a:gd name="T55" fmla="*/ 349024 h 900"/>
                  <a:gd name="T56" fmla="*/ 205039 w 1156"/>
                  <a:gd name="T57" fmla="*/ 378460 h 900"/>
                  <a:gd name="T58" fmla="*/ 219405 w 1156"/>
                  <a:gd name="T59" fmla="*/ 385293 h 900"/>
                  <a:gd name="T60" fmla="*/ 235947 w 1156"/>
                  <a:gd name="T61" fmla="*/ 396857 h 900"/>
                  <a:gd name="T62" fmla="*/ 260326 w 1156"/>
                  <a:gd name="T63" fmla="*/ 413678 h 900"/>
                  <a:gd name="T64" fmla="*/ 298199 w 1156"/>
                  <a:gd name="T65" fmla="*/ 417883 h 900"/>
                  <a:gd name="T66" fmla="*/ 318659 w 1156"/>
                  <a:gd name="T67" fmla="*/ 409998 h 900"/>
                  <a:gd name="T68" fmla="*/ 339120 w 1156"/>
                  <a:gd name="T69" fmla="*/ 401588 h 900"/>
                  <a:gd name="T70" fmla="*/ 348697 w 1156"/>
                  <a:gd name="T71" fmla="*/ 418409 h 900"/>
                  <a:gd name="T72" fmla="*/ 353921 w 1156"/>
                  <a:gd name="T73" fmla="*/ 450473 h 900"/>
                  <a:gd name="T74" fmla="*/ 380476 w 1156"/>
                  <a:gd name="T75" fmla="*/ 459408 h 900"/>
                  <a:gd name="T76" fmla="*/ 440116 w 1156"/>
                  <a:gd name="T77" fmla="*/ 468870 h 900"/>
                  <a:gd name="T78" fmla="*/ 474942 w 1156"/>
                  <a:gd name="T79" fmla="*/ 462037 h 900"/>
                  <a:gd name="T80" fmla="*/ 478424 w 1156"/>
                  <a:gd name="T81" fmla="*/ 436806 h 900"/>
                  <a:gd name="T82" fmla="*/ 503238 w 1156"/>
                  <a:gd name="T83" fmla="*/ 404742 h 900"/>
                  <a:gd name="T84" fmla="*/ 492790 w 1156"/>
                  <a:gd name="T85" fmla="*/ 394229 h 900"/>
                  <a:gd name="T86" fmla="*/ 477118 w 1156"/>
                  <a:gd name="T87" fmla="*/ 372152 h 900"/>
                  <a:gd name="T88" fmla="*/ 448822 w 1156"/>
                  <a:gd name="T89" fmla="*/ 337986 h 900"/>
                  <a:gd name="T90" fmla="*/ 443163 w 1156"/>
                  <a:gd name="T91" fmla="*/ 316960 h 900"/>
                  <a:gd name="T92" fmla="*/ 454481 w 1156"/>
                  <a:gd name="T93" fmla="*/ 293832 h 900"/>
                  <a:gd name="T94" fmla="*/ 456223 w 1156"/>
                  <a:gd name="T95" fmla="*/ 276486 h 900"/>
                  <a:gd name="T96" fmla="*/ 448387 w 1156"/>
                  <a:gd name="T97" fmla="*/ 269127 h 900"/>
                  <a:gd name="T98" fmla="*/ 427926 w 1156"/>
                  <a:gd name="T99" fmla="*/ 266499 h 900"/>
                  <a:gd name="T100" fmla="*/ 415302 w 1156"/>
                  <a:gd name="T101" fmla="*/ 238114 h 900"/>
                  <a:gd name="T102" fmla="*/ 407901 w 1156"/>
                  <a:gd name="T103" fmla="*/ 196063 h 900"/>
                  <a:gd name="T104" fmla="*/ 402242 w 1156"/>
                  <a:gd name="T105" fmla="*/ 187653 h 900"/>
                  <a:gd name="T106" fmla="*/ 409207 w 1156"/>
                  <a:gd name="T107" fmla="*/ 175563 h 900"/>
                  <a:gd name="T108" fmla="*/ 417914 w 1156"/>
                  <a:gd name="T109" fmla="*/ 154012 h 9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156" h="900">
                    <a:moveTo>
                      <a:pt x="963" y="271"/>
                    </a:moveTo>
                    <a:lnTo>
                      <a:pt x="954" y="252"/>
                    </a:lnTo>
                    <a:lnTo>
                      <a:pt x="948" y="234"/>
                    </a:lnTo>
                    <a:lnTo>
                      <a:pt x="941" y="213"/>
                    </a:lnTo>
                    <a:lnTo>
                      <a:pt x="937" y="191"/>
                    </a:lnTo>
                    <a:lnTo>
                      <a:pt x="928" y="191"/>
                    </a:lnTo>
                    <a:lnTo>
                      <a:pt x="920" y="190"/>
                    </a:lnTo>
                    <a:lnTo>
                      <a:pt x="913" y="189"/>
                    </a:lnTo>
                    <a:lnTo>
                      <a:pt x="906" y="187"/>
                    </a:lnTo>
                    <a:lnTo>
                      <a:pt x="893" y="183"/>
                    </a:lnTo>
                    <a:lnTo>
                      <a:pt x="881" y="177"/>
                    </a:lnTo>
                    <a:lnTo>
                      <a:pt x="859" y="162"/>
                    </a:lnTo>
                    <a:lnTo>
                      <a:pt x="839" y="145"/>
                    </a:lnTo>
                    <a:lnTo>
                      <a:pt x="828" y="137"/>
                    </a:lnTo>
                    <a:lnTo>
                      <a:pt x="816" y="129"/>
                    </a:lnTo>
                    <a:lnTo>
                      <a:pt x="803" y="122"/>
                    </a:lnTo>
                    <a:lnTo>
                      <a:pt x="789" y="116"/>
                    </a:lnTo>
                    <a:lnTo>
                      <a:pt x="773" y="111"/>
                    </a:lnTo>
                    <a:lnTo>
                      <a:pt x="755" y="106"/>
                    </a:lnTo>
                    <a:lnTo>
                      <a:pt x="745" y="105"/>
                    </a:lnTo>
                    <a:lnTo>
                      <a:pt x="734" y="104"/>
                    </a:lnTo>
                    <a:lnTo>
                      <a:pt x="723" y="104"/>
                    </a:lnTo>
                    <a:lnTo>
                      <a:pt x="711" y="104"/>
                    </a:lnTo>
                    <a:lnTo>
                      <a:pt x="617" y="104"/>
                    </a:lnTo>
                    <a:lnTo>
                      <a:pt x="609" y="113"/>
                    </a:lnTo>
                    <a:lnTo>
                      <a:pt x="587" y="129"/>
                    </a:lnTo>
                    <a:lnTo>
                      <a:pt x="576" y="138"/>
                    </a:lnTo>
                    <a:lnTo>
                      <a:pt x="565" y="146"/>
                    </a:lnTo>
                    <a:lnTo>
                      <a:pt x="556" y="152"/>
                    </a:lnTo>
                    <a:lnTo>
                      <a:pt x="551" y="154"/>
                    </a:lnTo>
                    <a:lnTo>
                      <a:pt x="542" y="155"/>
                    </a:lnTo>
                    <a:lnTo>
                      <a:pt x="532" y="157"/>
                    </a:lnTo>
                    <a:lnTo>
                      <a:pt x="522" y="159"/>
                    </a:lnTo>
                    <a:lnTo>
                      <a:pt x="512" y="160"/>
                    </a:lnTo>
                    <a:lnTo>
                      <a:pt x="518" y="173"/>
                    </a:lnTo>
                    <a:lnTo>
                      <a:pt x="504" y="179"/>
                    </a:lnTo>
                    <a:lnTo>
                      <a:pt x="490" y="184"/>
                    </a:lnTo>
                    <a:lnTo>
                      <a:pt x="478" y="188"/>
                    </a:lnTo>
                    <a:lnTo>
                      <a:pt x="465" y="192"/>
                    </a:lnTo>
                    <a:lnTo>
                      <a:pt x="453" y="194"/>
                    </a:lnTo>
                    <a:lnTo>
                      <a:pt x="439" y="196"/>
                    </a:lnTo>
                    <a:lnTo>
                      <a:pt x="426" y="197"/>
                    </a:lnTo>
                    <a:lnTo>
                      <a:pt x="412" y="197"/>
                    </a:lnTo>
                    <a:lnTo>
                      <a:pt x="405" y="198"/>
                    </a:lnTo>
                    <a:lnTo>
                      <a:pt x="398" y="199"/>
                    </a:lnTo>
                    <a:lnTo>
                      <a:pt x="393" y="200"/>
                    </a:lnTo>
                    <a:lnTo>
                      <a:pt x="389" y="200"/>
                    </a:lnTo>
                    <a:lnTo>
                      <a:pt x="383" y="199"/>
                    </a:lnTo>
                    <a:lnTo>
                      <a:pt x="379" y="197"/>
                    </a:lnTo>
                    <a:lnTo>
                      <a:pt x="371" y="194"/>
                    </a:lnTo>
                    <a:lnTo>
                      <a:pt x="367" y="190"/>
                    </a:lnTo>
                    <a:lnTo>
                      <a:pt x="363" y="184"/>
                    </a:lnTo>
                    <a:lnTo>
                      <a:pt x="358" y="179"/>
                    </a:lnTo>
                    <a:lnTo>
                      <a:pt x="355" y="173"/>
                    </a:lnTo>
                    <a:lnTo>
                      <a:pt x="351" y="168"/>
                    </a:lnTo>
                    <a:lnTo>
                      <a:pt x="345" y="163"/>
                    </a:lnTo>
                    <a:lnTo>
                      <a:pt x="338" y="160"/>
                    </a:lnTo>
                    <a:lnTo>
                      <a:pt x="316" y="153"/>
                    </a:lnTo>
                    <a:lnTo>
                      <a:pt x="280" y="142"/>
                    </a:lnTo>
                    <a:lnTo>
                      <a:pt x="260" y="136"/>
                    </a:lnTo>
                    <a:lnTo>
                      <a:pt x="244" y="128"/>
                    </a:lnTo>
                    <a:lnTo>
                      <a:pt x="237" y="124"/>
                    </a:lnTo>
                    <a:lnTo>
                      <a:pt x="232" y="120"/>
                    </a:lnTo>
                    <a:lnTo>
                      <a:pt x="228" y="116"/>
                    </a:lnTo>
                    <a:lnTo>
                      <a:pt x="225" y="111"/>
                    </a:lnTo>
                    <a:lnTo>
                      <a:pt x="228" y="86"/>
                    </a:lnTo>
                    <a:lnTo>
                      <a:pt x="228" y="65"/>
                    </a:lnTo>
                    <a:lnTo>
                      <a:pt x="228" y="56"/>
                    </a:lnTo>
                    <a:lnTo>
                      <a:pt x="226" y="46"/>
                    </a:lnTo>
                    <a:lnTo>
                      <a:pt x="224" y="37"/>
                    </a:lnTo>
                    <a:lnTo>
                      <a:pt x="222" y="30"/>
                    </a:lnTo>
                    <a:lnTo>
                      <a:pt x="220" y="23"/>
                    </a:lnTo>
                    <a:lnTo>
                      <a:pt x="217" y="17"/>
                    </a:lnTo>
                    <a:lnTo>
                      <a:pt x="212" y="12"/>
                    </a:lnTo>
                    <a:lnTo>
                      <a:pt x="207" y="8"/>
                    </a:lnTo>
                    <a:lnTo>
                      <a:pt x="201" y="5"/>
                    </a:lnTo>
                    <a:lnTo>
                      <a:pt x="195" y="2"/>
                    </a:lnTo>
                    <a:lnTo>
                      <a:pt x="188" y="1"/>
                    </a:lnTo>
                    <a:lnTo>
                      <a:pt x="179" y="0"/>
                    </a:lnTo>
                    <a:lnTo>
                      <a:pt x="174" y="1"/>
                    </a:lnTo>
                    <a:lnTo>
                      <a:pt x="168" y="3"/>
                    </a:lnTo>
                    <a:lnTo>
                      <a:pt x="164" y="7"/>
                    </a:lnTo>
                    <a:lnTo>
                      <a:pt x="161" y="11"/>
                    </a:lnTo>
                    <a:lnTo>
                      <a:pt x="155" y="21"/>
                    </a:lnTo>
                    <a:lnTo>
                      <a:pt x="151" y="34"/>
                    </a:lnTo>
                    <a:lnTo>
                      <a:pt x="147" y="46"/>
                    </a:lnTo>
                    <a:lnTo>
                      <a:pt x="144" y="57"/>
                    </a:lnTo>
                    <a:lnTo>
                      <a:pt x="142" y="62"/>
                    </a:lnTo>
                    <a:lnTo>
                      <a:pt x="139" y="65"/>
                    </a:lnTo>
                    <a:lnTo>
                      <a:pt x="136" y="67"/>
                    </a:lnTo>
                    <a:lnTo>
                      <a:pt x="133" y="68"/>
                    </a:lnTo>
                    <a:lnTo>
                      <a:pt x="125" y="68"/>
                    </a:lnTo>
                    <a:lnTo>
                      <a:pt x="118" y="66"/>
                    </a:lnTo>
                    <a:lnTo>
                      <a:pt x="109" y="64"/>
                    </a:lnTo>
                    <a:lnTo>
                      <a:pt x="100" y="62"/>
                    </a:lnTo>
                    <a:lnTo>
                      <a:pt x="79" y="54"/>
                    </a:lnTo>
                    <a:lnTo>
                      <a:pt x="58" y="46"/>
                    </a:lnTo>
                    <a:lnTo>
                      <a:pt x="39" y="38"/>
                    </a:lnTo>
                    <a:lnTo>
                      <a:pt x="21" y="29"/>
                    </a:lnTo>
                    <a:lnTo>
                      <a:pt x="15" y="24"/>
                    </a:lnTo>
                    <a:lnTo>
                      <a:pt x="8" y="20"/>
                    </a:lnTo>
                    <a:lnTo>
                      <a:pt x="4" y="16"/>
                    </a:lnTo>
                    <a:lnTo>
                      <a:pt x="0" y="12"/>
                    </a:lnTo>
                    <a:lnTo>
                      <a:pt x="0" y="25"/>
                    </a:lnTo>
                    <a:lnTo>
                      <a:pt x="0" y="37"/>
                    </a:lnTo>
                    <a:lnTo>
                      <a:pt x="0" y="49"/>
                    </a:lnTo>
                    <a:lnTo>
                      <a:pt x="1" y="62"/>
                    </a:lnTo>
                    <a:lnTo>
                      <a:pt x="5" y="72"/>
                    </a:lnTo>
                    <a:lnTo>
                      <a:pt x="7" y="81"/>
                    </a:lnTo>
                    <a:lnTo>
                      <a:pt x="15" y="96"/>
                    </a:lnTo>
                    <a:lnTo>
                      <a:pt x="24" y="111"/>
                    </a:lnTo>
                    <a:lnTo>
                      <a:pt x="33" y="124"/>
                    </a:lnTo>
                    <a:lnTo>
                      <a:pt x="42" y="138"/>
                    </a:lnTo>
                    <a:lnTo>
                      <a:pt x="45" y="146"/>
                    </a:lnTo>
                    <a:lnTo>
                      <a:pt x="49" y="156"/>
                    </a:lnTo>
                    <a:lnTo>
                      <a:pt x="52" y="167"/>
                    </a:lnTo>
                    <a:lnTo>
                      <a:pt x="53" y="179"/>
                    </a:lnTo>
                    <a:lnTo>
                      <a:pt x="60" y="179"/>
                    </a:lnTo>
                    <a:lnTo>
                      <a:pt x="64" y="190"/>
                    </a:lnTo>
                    <a:lnTo>
                      <a:pt x="73" y="205"/>
                    </a:lnTo>
                    <a:lnTo>
                      <a:pt x="83" y="223"/>
                    </a:lnTo>
                    <a:lnTo>
                      <a:pt x="96" y="241"/>
                    </a:lnTo>
                    <a:lnTo>
                      <a:pt x="109" y="258"/>
                    </a:lnTo>
                    <a:lnTo>
                      <a:pt x="122" y="273"/>
                    </a:lnTo>
                    <a:lnTo>
                      <a:pt x="129" y="280"/>
                    </a:lnTo>
                    <a:lnTo>
                      <a:pt x="135" y="284"/>
                    </a:lnTo>
                    <a:lnTo>
                      <a:pt x="141" y="288"/>
                    </a:lnTo>
                    <a:lnTo>
                      <a:pt x="146" y="290"/>
                    </a:lnTo>
                    <a:lnTo>
                      <a:pt x="139" y="296"/>
                    </a:lnTo>
                    <a:lnTo>
                      <a:pt x="130" y="304"/>
                    </a:lnTo>
                    <a:lnTo>
                      <a:pt x="127" y="310"/>
                    </a:lnTo>
                    <a:lnTo>
                      <a:pt x="122" y="316"/>
                    </a:lnTo>
                    <a:lnTo>
                      <a:pt x="120" y="324"/>
                    </a:lnTo>
                    <a:lnTo>
                      <a:pt x="120" y="332"/>
                    </a:lnTo>
                    <a:lnTo>
                      <a:pt x="120" y="341"/>
                    </a:lnTo>
                    <a:lnTo>
                      <a:pt x="123" y="350"/>
                    </a:lnTo>
                    <a:lnTo>
                      <a:pt x="128" y="360"/>
                    </a:lnTo>
                    <a:lnTo>
                      <a:pt x="133" y="370"/>
                    </a:lnTo>
                    <a:lnTo>
                      <a:pt x="140" y="380"/>
                    </a:lnTo>
                    <a:lnTo>
                      <a:pt x="147" y="391"/>
                    </a:lnTo>
                    <a:lnTo>
                      <a:pt x="157" y="401"/>
                    </a:lnTo>
                    <a:lnTo>
                      <a:pt x="167" y="410"/>
                    </a:lnTo>
                    <a:lnTo>
                      <a:pt x="177" y="420"/>
                    </a:lnTo>
                    <a:lnTo>
                      <a:pt x="188" y="428"/>
                    </a:lnTo>
                    <a:lnTo>
                      <a:pt x="200" y="436"/>
                    </a:lnTo>
                    <a:lnTo>
                      <a:pt x="212" y="442"/>
                    </a:lnTo>
                    <a:lnTo>
                      <a:pt x="224" y="449"/>
                    </a:lnTo>
                    <a:lnTo>
                      <a:pt x="236" y="453"/>
                    </a:lnTo>
                    <a:lnTo>
                      <a:pt x="247" y="455"/>
                    </a:lnTo>
                    <a:lnTo>
                      <a:pt x="259" y="456"/>
                    </a:lnTo>
                    <a:lnTo>
                      <a:pt x="260" y="469"/>
                    </a:lnTo>
                    <a:lnTo>
                      <a:pt x="264" y="483"/>
                    </a:lnTo>
                    <a:lnTo>
                      <a:pt x="265" y="490"/>
                    </a:lnTo>
                    <a:lnTo>
                      <a:pt x="265" y="500"/>
                    </a:lnTo>
                    <a:lnTo>
                      <a:pt x="263" y="511"/>
                    </a:lnTo>
                    <a:lnTo>
                      <a:pt x="259" y="524"/>
                    </a:lnTo>
                    <a:lnTo>
                      <a:pt x="305" y="573"/>
                    </a:lnTo>
                    <a:lnTo>
                      <a:pt x="312" y="574"/>
                    </a:lnTo>
                    <a:lnTo>
                      <a:pt x="319" y="576"/>
                    </a:lnTo>
                    <a:lnTo>
                      <a:pt x="324" y="578"/>
                    </a:lnTo>
                    <a:lnTo>
                      <a:pt x="330" y="580"/>
                    </a:lnTo>
                    <a:lnTo>
                      <a:pt x="335" y="581"/>
                    </a:lnTo>
                    <a:lnTo>
                      <a:pt x="342" y="581"/>
                    </a:lnTo>
                    <a:lnTo>
                      <a:pt x="349" y="578"/>
                    </a:lnTo>
                    <a:lnTo>
                      <a:pt x="358" y="573"/>
                    </a:lnTo>
                    <a:lnTo>
                      <a:pt x="372" y="593"/>
                    </a:lnTo>
                    <a:lnTo>
                      <a:pt x="404" y="639"/>
                    </a:lnTo>
                    <a:lnTo>
                      <a:pt x="423" y="664"/>
                    </a:lnTo>
                    <a:lnTo>
                      <a:pt x="439" y="687"/>
                    </a:lnTo>
                    <a:lnTo>
                      <a:pt x="447" y="697"/>
                    </a:lnTo>
                    <a:lnTo>
                      <a:pt x="455" y="705"/>
                    </a:lnTo>
                    <a:lnTo>
                      <a:pt x="460" y="711"/>
                    </a:lnTo>
                    <a:lnTo>
                      <a:pt x="465" y="714"/>
                    </a:lnTo>
                    <a:lnTo>
                      <a:pt x="471" y="720"/>
                    </a:lnTo>
                    <a:lnTo>
                      <a:pt x="479" y="727"/>
                    </a:lnTo>
                    <a:lnTo>
                      <a:pt x="483" y="729"/>
                    </a:lnTo>
                    <a:lnTo>
                      <a:pt x="488" y="731"/>
                    </a:lnTo>
                    <a:lnTo>
                      <a:pt x="493" y="733"/>
                    </a:lnTo>
                    <a:lnTo>
                      <a:pt x="498" y="733"/>
                    </a:lnTo>
                    <a:lnTo>
                      <a:pt x="504" y="733"/>
                    </a:lnTo>
                    <a:lnTo>
                      <a:pt x="512" y="733"/>
                    </a:lnTo>
                    <a:lnTo>
                      <a:pt x="522" y="733"/>
                    </a:lnTo>
                    <a:lnTo>
                      <a:pt x="532" y="733"/>
                    </a:lnTo>
                    <a:lnTo>
                      <a:pt x="533" y="741"/>
                    </a:lnTo>
                    <a:lnTo>
                      <a:pt x="537" y="748"/>
                    </a:lnTo>
                    <a:lnTo>
                      <a:pt x="542" y="755"/>
                    </a:lnTo>
                    <a:lnTo>
                      <a:pt x="547" y="761"/>
                    </a:lnTo>
                    <a:lnTo>
                      <a:pt x="554" y="766"/>
                    </a:lnTo>
                    <a:lnTo>
                      <a:pt x="561" y="771"/>
                    </a:lnTo>
                    <a:lnTo>
                      <a:pt x="570" y="776"/>
                    </a:lnTo>
                    <a:lnTo>
                      <a:pt x="579" y="781"/>
                    </a:lnTo>
                    <a:lnTo>
                      <a:pt x="598" y="787"/>
                    </a:lnTo>
                    <a:lnTo>
                      <a:pt x="616" y="791"/>
                    </a:lnTo>
                    <a:lnTo>
                      <a:pt x="635" y="794"/>
                    </a:lnTo>
                    <a:lnTo>
                      <a:pt x="651" y="795"/>
                    </a:lnTo>
                    <a:lnTo>
                      <a:pt x="663" y="795"/>
                    </a:lnTo>
                    <a:lnTo>
                      <a:pt x="671" y="795"/>
                    </a:lnTo>
                    <a:lnTo>
                      <a:pt x="685" y="795"/>
                    </a:lnTo>
                    <a:lnTo>
                      <a:pt x="700" y="793"/>
                    </a:lnTo>
                    <a:lnTo>
                      <a:pt x="706" y="792"/>
                    </a:lnTo>
                    <a:lnTo>
                      <a:pt x="713" y="790"/>
                    </a:lnTo>
                    <a:lnTo>
                      <a:pt x="718" y="787"/>
                    </a:lnTo>
                    <a:lnTo>
                      <a:pt x="724" y="783"/>
                    </a:lnTo>
                    <a:lnTo>
                      <a:pt x="732" y="780"/>
                    </a:lnTo>
                    <a:lnTo>
                      <a:pt x="742" y="773"/>
                    </a:lnTo>
                    <a:lnTo>
                      <a:pt x="749" y="769"/>
                    </a:lnTo>
                    <a:lnTo>
                      <a:pt x="756" y="766"/>
                    </a:lnTo>
                    <a:lnTo>
                      <a:pt x="763" y="764"/>
                    </a:lnTo>
                    <a:lnTo>
                      <a:pt x="771" y="764"/>
                    </a:lnTo>
                    <a:lnTo>
                      <a:pt x="779" y="764"/>
                    </a:lnTo>
                    <a:lnTo>
                      <a:pt x="785" y="767"/>
                    </a:lnTo>
                    <a:lnTo>
                      <a:pt x="790" y="771"/>
                    </a:lnTo>
                    <a:lnTo>
                      <a:pt x="794" y="775"/>
                    </a:lnTo>
                    <a:lnTo>
                      <a:pt x="796" y="782"/>
                    </a:lnTo>
                    <a:lnTo>
                      <a:pt x="798" y="789"/>
                    </a:lnTo>
                    <a:lnTo>
                      <a:pt x="801" y="796"/>
                    </a:lnTo>
                    <a:lnTo>
                      <a:pt x="802" y="804"/>
                    </a:lnTo>
                    <a:lnTo>
                      <a:pt x="803" y="820"/>
                    </a:lnTo>
                    <a:lnTo>
                      <a:pt x="805" y="837"/>
                    </a:lnTo>
                    <a:lnTo>
                      <a:pt x="807" y="845"/>
                    </a:lnTo>
                    <a:lnTo>
                      <a:pt x="809" y="851"/>
                    </a:lnTo>
                    <a:lnTo>
                      <a:pt x="813" y="857"/>
                    </a:lnTo>
                    <a:lnTo>
                      <a:pt x="817" y="862"/>
                    </a:lnTo>
                    <a:lnTo>
                      <a:pt x="822" y="865"/>
                    </a:lnTo>
                    <a:lnTo>
                      <a:pt x="828" y="867"/>
                    </a:lnTo>
                    <a:lnTo>
                      <a:pt x="838" y="869"/>
                    </a:lnTo>
                    <a:lnTo>
                      <a:pt x="849" y="871"/>
                    </a:lnTo>
                    <a:lnTo>
                      <a:pt x="874" y="874"/>
                    </a:lnTo>
                    <a:lnTo>
                      <a:pt x="897" y="875"/>
                    </a:lnTo>
                    <a:lnTo>
                      <a:pt x="925" y="876"/>
                    </a:lnTo>
                    <a:lnTo>
                      <a:pt x="948" y="878"/>
                    </a:lnTo>
                    <a:lnTo>
                      <a:pt x="970" y="882"/>
                    </a:lnTo>
                    <a:lnTo>
                      <a:pt x="991" y="887"/>
                    </a:lnTo>
                    <a:lnTo>
                      <a:pt x="1011" y="892"/>
                    </a:lnTo>
                    <a:lnTo>
                      <a:pt x="1035" y="896"/>
                    </a:lnTo>
                    <a:lnTo>
                      <a:pt x="1047" y="898"/>
                    </a:lnTo>
                    <a:lnTo>
                      <a:pt x="1060" y="899"/>
                    </a:lnTo>
                    <a:lnTo>
                      <a:pt x="1074" y="900"/>
                    </a:lnTo>
                    <a:lnTo>
                      <a:pt x="1089" y="900"/>
                    </a:lnTo>
                    <a:lnTo>
                      <a:pt x="1091" y="879"/>
                    </a:lnTo>
                    <a:lnTo>
                      <a:pt x="1093" y="865"/>
                    </a:lnTo>
                    <a:lnTo>
                      <a:pt x="1095" y="854"/>
                    </a:lnTo>
                    <a:lnTo>
                      <a:pt x="1096" y="844"/>
                    </a:lnTo>
                    <a:lnTo>
                      <a:pt x="1096" y="840"/>
                    </a:lnTo>
                    <a:lnTo>
                      <a:pt x="1097" y="836"/>
                    </a:lnTo>
                    <a:lnTo>
                      <a:pt x="1099" y="831"/>
                    </a:lnTo>
                    <a:lnTo>
                      <a:pt x="1102" y="827"/>
                    </a:lnTo>
                    <a:lnTo>
                      <a:pt x="1108" y="820"/>
                    </a:lnTo>
                    <a:lnTo>
                      <a:pt x="1116" y="814"/>
                    </a:lnTo>
                    <a:lnTo>
                      <a:pt x="1136" y="802"/>
                    </a:lnTo>
                    <a:lnTo>
                      <a:pt x="1156" y="789"/>
                    </a:lnTo>
                    <a:lnTo>
                      <a:pt x="1156" y="770"/>
                    </a:lnTo>
                    <a:lnTo>
                      <a:pt x="1151" y="769"/>
                    </a:lnTo>
                    <a:lnTo>
                      <a:pt x="1147" y="768"/>
                    </a:lnTo>
                    <a:lnTo>
                      <a:pt x="1143" y="766"/>
                    </a:lnTo>
                    <a:lnTo>
                      <a:pt x="1140" y="764"/>
                    </a:lnTo>
                    <a:lnTo>
                      <a:pt x="1136" y="758"/>
                    </a:lnTo>
                    <a:lnTo>
                      <a:pt x="1132" y="750"/>
                    </a:lnTo>
                    <a:lnTo>
                      <a:pt x="1130" y="734"/>
                    </a:lnTo>
                    <a:lnTo>
                      <a:pt x="1129" y="720"/>
                    </a:lnTo>
                    <a:lnTo>
                      <a:pt x="1121" y="719"/>
                    </a:lnTo>
                    <a:lnTo>
                      <a:pt x="1114" y="717"/>
                    </a:lnTo>
                    <a:lnTo>
                      <a:pt x="1105" y="713"/>
                    </a:lnTo>
                    <a:lnTo>
                      <a:pt x="1096" y="708"/>
                    </a:lnTo>
                    <a:lnTo>
                      <a:pt x="1087" y="701"/>
                    </a:lnTo>
                    <a:lnTo>
                      <a:pt x="1077" y="694"/>
                    </a:lnTo>
                    <a:lnTo>
                      <a:pt x="1069" y="686"/>
                    </a:lnTo>
                    <a:lnTo>
                      <a:pt x="1061" y="678"/>
                    </a:lnTo>
                    <a:lnTo>
                      <a:pt x="1044" y="660"/>
                    </a:lnTo>
                    <a:lnTo>
                      <a:pt x="1031" y="643"/>
                    </a:lnTo>
                    <a:lnTo>
                      <a:pt x="1026" y="635"/>
                    </a:lnTo>
                    <a:lnTo>
                      <a:pt x="1021" y="628"/>
                    </a:lnTo>
                    <a:lnTo>
                      <a:pt x="1018" y="622"/>
                    </a:lnTo>
                    <a:lnTo>
                      <a:pt x="1016" y="616"/>
                    </a:lnTo>
                    <a:lnTo>
                      <a:pt x="1017" y="609"/>
                    </a:lnTo>
                    <a:lnTo>
                      <a:pt x="1018" y="603"/>
                    </a:lnTo>
                    <a:lnTo>
                      <a:pt x="1019" y="598"/>
                    </a:lnTo>
                    <a:lnTo>
                      <a:pt x="1021" y="593"/>
                    </a:lnTo>
                    <a:lnTo>
                      <a:pt x="1027" y="584"/>
                    </a:lnTo>
                    <a:lnTo>
                      <a:pt x="1033" y="576"/>
                    </a:lnTo>
                    <a:lnTo>
                      <a:pt x="1039" y="568"/>
                    </a:lnTo>
                    <a:lnTo>
                      <a:pt x="1044" y="559"/>
                    </a:lnTo>
                    <a:lnTo>
                      <a:pt x="1047" y="553"/>
                    </a:lnTo>
                    <a:lnTo>
                      <a:pt x="1048" y="548"/>
                    </a:lnTo>
                    <a:lnTo>
                      <a:pt x="1049" y="542"/>
                    </a:lnTo>
                    <a:lnTo>
                      <a:pt x="1050" y="536"/>
                    </a:lnTo>
                    <a:lnTo>
                      <a:pt x="1049" y="531"/>
                    </a:lnTo>
                    <a:lnTo>
                      <a:pt x="1048" y="526"/>
                    </a:lnTo>
                    <a:lnTo>
                      <a:pt x="1047" y="522"/>
                    </a:lnTo>
                    <a:lnTo>
                      <a:pt x="1044" y="519"/>
                    </a:lnTo>
                    <a:lnTo>
                      <a:pt x="1041" y="517"/>
                    </a:lnTo>
                    <a:lnTo>
                      <a:pt x="1038" y="515"/>
                    </a:lnTo>
                    <a:lnTo>
                      <a:pt x="1035" y="513"/>
                    </a:lnTo>
                    <a:lnTo>
                      <a:pt x="1030" y="512"/>
                    </a:lnTo>
                    <a:lnTo>
                      <a:pt x="1013" y="511"/>
                    </a:lnTo>
                    <a:lnTo>
                      <a:pt x="996" y="512"/>
                    </a:lnTo>
                    <a:lnTo>
                      <a:pt x="993" y="511"/>
                    </a:lnTo>
                    <a:lnTo>
                      <a:pt x="990" y="510"/>
                    </a:lnTo>
                    <a:lnTo>
                      <a:pt x="986" y="509"/>
                    </a:lnTo>
                    <a:lnTo>
                      <a:pt x="983" y="507"/>
                    </a:lnTo>
                    <a:lnTo>
                      <a:pt x="976" y="501"/>
                    </a:lnTo>
                    <a:lnTo>
                      <a:pt x="971" y="493"/>
                    </a:lnTo>
                    <a:lnTo>
                      <a:pt x="966" y="485"/>
                    </a:lnTo>
                    <a:lnTo>
                      <a:pt x="962" y="475"/>
                    </a:lnTo>
                    <a:lnTo>
                      <a:pt x="958" y="464"/>
                    </a:lnTo>
                    <a:lnTo>
                      <a:pt x="954" y="453"/>
                    </a:lnTo>
                    <a:lnTo>
                      <a:pt x="950" y="429"/>
                    </a:lnTo>
                    <a:lnTo>
                      <a:pt x="946" y="407"/>
                    </a:lnTo>
                    <a:lnTo>
                      <a:pt x="943" y="389"/>
                    </a:lnTo>
                    <a:lnTo>
                      <a:pt x="943" y="375"/>
                    </a:lnTo>
                    <a:lnTo>
                      <a:pt x="940" y="375"/>
                    </a:lnTo>
                    <a:lnTo>
                      <a:pt x="937" y="373"/>
                    </a:lnTo>
                    <a:lnTo>
                      <a:pt x="934" y="371"/>
                    </a:lnTo>
                    <a:lnTo>
                      <a:pt x="931" y="369"/>
                    </a:lnTo>
                    <a:lnTo>
                      <a:pt x="928" y="366"/>
                    </a:lnTo>
                    <a:lnTo>
                      <a:pt x="926" y="363"/>
                    </a:lnTo>
                    <a:lnTo>
                      <a:pt x="924" y="360"/>
                    </a:lnTo>
                    <a:lnTo>
                      <a:pt x="924" y="357"/>
                    </a:lnTo>
                    <a:lnTo>
                      <a:pt x="924" y="354"/>
                    </a:lnTo>
                    <a:lnTo>
                      <a:pt x="925" y="351"/>
                    </a:lnTo>
                    <a:lnTo>
                      <a:pt x="926" y="348"/>
                    </a:lnTo>
                    <a:lnTo>
                      <a:pt x="928" y="345"/>
                    </a:lnTo>
                    <a:lnTo>
                      <a:pt x="934" y="339"/>
                    </a:lnTo>
                    <a:lnTo>
                      <a:pt x="940" y="334"/>
                    </a:lnTo>
                    <a:lnTo>
                      <a:pt x="946" y="328"/>
                    </a:lnTo>
                    <a:lnTo>
                      <a:pt x="951" y="323"/>
                    </a:lnTo>
                    <a:lnTo>
                      <a:pt x="955" y="318"/>
                    </a:lnTo>
                    <a:lnTo>
                      <a:pt x="957" y="314"/>
                    </a:lnTo>
                    <a:lnTo>
                      <a:pt x="958" y="301"/>
                    </a:lnTo>
                    <a:lnTo>
                      <a:pt x="960" y="293"/>
                    </a:lnTo>
                    <a:lnTo>
                      <a:pt x="962" y="285"/>
                    </a:lnTo>
                    <a:lnTo>
                      <a:pt x="963" y="271"/>
                    </a:lnTo>
                  </a:path>
                </a:pathLst>
              </a:custGeom>
              <a:grpFill/>
              <a:ln w="9525" cmpd="sng">
                <a:solidFill>
                  <a:srgbClr val="FFFFFF"/>
                </a:solidFill>
                <a:prstDash val="solid"/>
                <a:round/>
                <a:headEnd/>
                <a:tailEnd/>
              </a:ln>
            </p:spPr>
            <p:txBody>
              <a:bodyPr/>
              <a:lstStyle/>
              <a:p>
                <a:endParaRPr lang="en-GB" sz="1637"/>
              </a:p>
            </p:txBody>
          </p:sp>
          <p:sp>
            <p:nvSpPr>
              <p:cNvPr id="105" name="Freeform 257"/>
              <p:cNvSpPr>
                <a:spLocks/>
              </p:cNvSpPr>
              <p:nvPr>
                <p:custDataLst>
                  <p:tags r:id="rId88"/>
                </p:custDataLst>
              </p:nvPr>
            </p:nvSpPr>
            <p:spPr bwMode="auto">
              <a:xfrm>
                <a:off x="5059829" y="3290614"/>
                <a:ext cx="270345" cy="257899"/>
              </a:xfrm>
              <a:custGeom>
                <a:avLst/>
                <a:gdLst>
                  <a:gd name="T0" fmla="*/ 11277 w 571"/>
                  <a:gd name="T1" fmla="*/ 98045 h 443"/>
                  <a:gd name="T2" fmla="*/ 16047 w 571"/>
                  <a:gd name="T3" fmla="*/ 91337 h 443"/>
                  <a:gd name="T4" fmla="*/ 17782 w 571"/>
                  <a:gd name="T5" fmla="*/ 84628 h 443"/>
                  <a:gd name="T6" fmla="*/ 16915 w 571"/>
                  <a:gd name="T7" fmla="*/ 66567 h 443"/>
                  <a:gd name="T8" fmla="*/ 19083 w 571"/>
                  <a:gd name="T9" fmla="*/ 61923 h 443"/>
                  <a:gd name="T10" fmla="*/ 23854 w 571"/>
                  <a:gd name="T11" fmla="*/ 57795 h 443"/>
                  <a:gd name="T12" fmla="*/ 29492 w 571"/>
                  <a:gd name="T13" fmla="*/ 55215 h 443"/>
                  <a:gd name="T14" fmla="*/ 34697 w 571"/>
                  <a:gd name="T15" fmla="*/ 53667 h 443"/>
                  <a:gd name="T16" fmla="*/ 44672 w 571"/>
                  <a:gd name="T17" fmla="*/ 54699 h 443"/>
                  <a:gd name="T18" fmla="*/ 53780 w 571"/>
                  <a:gd name="T19" fmla="*/ 56247 h 443"/>
                  <a:gd name="T20" fmla="*/ 68527 w 571"/>
                  <a:gd name="T21" fmla="*/ 61923 h 443"/>
                  <a:gd name="T22" fmla="*/ 79803 w 571"/>
                  <a:gd name="T23" fmla="*/ 69664 h 443"/>
                  <a:gd name="T24" fmla="*/ 89345 w 571"/>
                  <a:gd name="T25" fmla="*/ 79468 h 443"/>
                  <a:gd name="T26" fmla="*/ 110163 w 571"/>
                  <a:gd name="T27" fmla="*/ 47474 h 443"/>
                  <a:gd name="T28" fmla="*/ 123608 w 571"/>
                  <a:gd name="T29" fmla="*/ 25285 h 443"/>
                  <a:gd name="T30" fmla="*/ 233337 w 571"/>
                  <a:gd name="T31" fmla="*/ 22189 h 443"/>
                  <a:gd name="T32" fmla="*/ 241578 w 571"/>
                  <a:gd name="T33" fmla="*/ 40250 h 443"/>
                  <a:gd name="T34" fmla="*/ 243747 w 571"/>
                  <a:gd name="T35" fmla="*/ 50571 h 443"/>
                  <a:gd name="T36" fmla="*/ 244614 w 571"/>
                  <a:gd name="T37" fmla="*/ 63471 h 443"/>
                  <a:gd name="T38" fmla="*/ 246349 w 571"/>
                  <a:gd name="T39" fmla="*/ 77920 h 443"/>
                  <a:gd name="T40" fmla="*/ 247650 w 571"/>
                  <a:gd name="T41" fmla="*/ 91853 h 443"/>
                  <a:gd name="T42" fmla="*/ 244614 w 571"/>
                  <a:gd name="T43" fmla="*/ 92885 h 443"/>
                  <a:gd name="T44" fmla="*/ 243747 w 571"/>
                  <a:gd name="T45" fmla="*/ 92369 h 443"/>
                  <a:gd name="T46" fmla="*/ 242012 w 571"/>
                  <a:gd name="T47" fmla="*/ 94949 h 443"/>
                  <a:gd name="T48" fmla="*/ 237675 w 571"/>
                  <a:gd name="T49" fmla="*/ 106818 h 443"/>
                  <a:gd name="T50" fmla="*/ 231603 w 571"/>
                  <a:gd name="T51" fmla="*/ 116106 h 443"/>
                  <a:gd name="T52" fmla="*/ 223362 w 571"/>
                  <a:gd name="T53" fmla="*/ 123330 h 443"/>
                  <a:gd name="T54" fmla="*/ 214254 w 571"/>
                  <a:gd name="T55" fmla="*/ 128491 h 443"/>
                  <a:gd name="T56" fmla="*/ 175654 w 571"/>
                  <a:gd name="T57" fmla="*/ 146036 h 443"/>
                  <a:gd name="T58" fmla="*/ 150498 w 571"/>
                  <a:gd name="T59" fmla="*/ 158420 h 443"/>
                  <a:gd name="T60" fmla="*/ 127945 w 571"/>
                  <a:gd name="T61" fmla="*/ 169257 h 443"/>
                  <a:gd name="T62" fmla="*/ 106260 w 571"/>
                  <a:gd name="T63" fmla="*/ 178029 h 443"/>
                  <a:gd name="T64" fmla="*/ 80671 w 571"/>
                  <a:gd name="T65" fmla="*/ 187318 h 443"/>
                  <a:gd name="T66" fmla="*/ 72430 w 571"/>
                  <a:gd name="T67" fmla="*/ 191446 h 443"/>
                  <a:gd name="T68" fmla="*/ 64623 w 571"/>
                  <a:gd name="T69" fmla="*/ 196606 h 443"/>
                  <a:gd name="T70" fmla="*/ 51612 w 571"/>
                  <a:gd name="T71" fmla="*/ 207959 h 443"/>
                  <a:gd name="T72" fmla="*/ 39902 w 571"/>
                  <a:gd name="T73" fmla="*/ 219828 h 443"/>
                  <a:gd name="T74" fmla="*/ 29059 w 571"/>
                  <a:gd name="T75" fmla="*/ 228600 h 443"/>
                  <a:gd name="T76" fmla="*/ 21686 w 571"/>
                  <a:gd name="T77" fmla="*/ 195058 h 443"/>
                  <a:gd name="T78" fmla="*/ 14313 w 571"/>
                  <a:gd name="T79" fmla="*/ 161516 h 443"/>
                  <a:gd name="T80" fmla="*/ 6939 w 571"/>
                  <a:gd name="T81" fmla="*/ 129523 h 443"/>
                  <a:gd name="T82" fmla="*/ 0 w 571"/>
                  <a:gd name="T83" fmla="*/ 101141 h 44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571" h="443">
                    <a:moveTo>
                      <a:pt x="0" y="196"/>
                    </a:moveTo>
                    <a:lnTo>
                      <a:pt x="26" y="190"/>
                    </a:lnTo>
                    <a:lnTo>
                      <a:pt x="33" y="184"/>
                    </a:lnTo>
                    <a:lnTo>
                      <a:pt x="37" y="177"/>
                    </a:lnTo>
                    <a:lnTo>
                      <a:pt x="39" y="171"/>
                    </a:lnTo>
                    <a:lnTo>
                      <a:pt x="41" y="164"/>
                    </a:lnTo>
                    <a:lnTo>
                      <a:pt x="41" y="149"/>
                    </a:lnTo>
                    <a:lnTo>
                      <a:pt x="39" y="129"/>
                    </a:lnTo>
                    <a:lnTo>
                      <a:pt x="41" y="124"/>
                    </a:lnTo>
                    <a:lnTo>
                      <a:pt x="44" y="120"/>
                    </a:lnTo>
                    <a:lnTo>
                      <a:pt x="49" y="116"/>
                    </a:lnTo>
                    <a:lnTo>
                      <a:pt x="55" y="112"/>
                    </a:lnTo>
                    <a:lnTo>
                      <a:pt x="61" y="109"/>
                    </a:lnTo>
                    <a:lnTo>
                      <a:pt x="68" y="107"/>
                    </a:lnTo>
                    <a:lnTo>
                      <a:pt x="75" y="105"/>
                    </a:lnTo>
                    <a:lnTo>
                      <a:pt x="80" y="104"/>
                    </a:lnTo>
                    <a:lnTo>
                      <a:pt x="92" y="105"/>
                    </a:lnTo>
                    <a:lnTo>
                      <a:pt x="103" y="106"/>
                    </a:lnTo>
                    <a:lnTo>
                      <a:pt x="114" y="107"/>
                    </a:lnTo>
                    <a:lnTo>
                      <a:pt x="124" y="109"/>
                    </a:lnTo>
                    <a:lnTo>
                      <a:pt x="142" y="113"/>
                    </a:lnTo>
                    <a:lnTo>
                      <a:pt x="158" y="120"/>
                    </a:lnTo>
                    <a:lnTo>
                      <a:pt x="172" y="127"/>
                    </a:lnTo>
                    <a:lnTo>
                      <a:pt x="184" y="135"/>
                    </a:lnTo>
                    <a:lnTo>
                      <a:pt x="195" y="145"/>
                    </a:lnTo>
                    <a:lnTo>
                      <a:pt x="206" y="154"/>
                    </a:lnTo>
                    <a:lnTo>
                      <a:pt x="227" y="127"/>
                    </a:lnTo>
                    <a:lnTo>
                      <a:pt x="254" y="92"/>
                    </a:lnTo>
                    <a:lnTo>
                      <a:pt x="276" y="62"/>
                    </a:lnTo>
                    <a:lnTo>
                      <a:pt x="285" y="49"/>
                    </a:lnTo>
                    <a:lnTo>
                      <a:pt x="538" y="0"/>
                    </a:lnTo>
                    <a:lnTo>
                      <a:pt x="538" y="43"/>
                    </a:lnTo>
                    <a:lnTo>
                      <a:pt x="548" y="60"/>
                    </a:lnTo>
                    <a:lnTo>
                      <a:pt x="557" y="78"/>
                    </a:lnTo>
                    <a:lnTo>
                      <a:pt x="560" y="87"/>
                    </a:lnTo>
                    <a:lnTo>
                      <a:pt x="562" y="98"/>
                    </a:lnTo>
                    <a:lnTo>
                      <a:pt x="564" y="110"/>
                    </a:lnTo>
                    <a:lnTo>
                      <a:pt x="564" y="123"/>
                    </a:lnTo>
                    <a:lnTo>
                      <a:pt x="565" y="136"/>
                    </a:lnTo>
                    <a:lnTo>
                      <a:pt x="568" y="151"/>
                    </a:lnTo>
                    <a:lnTo>
                      <a:pt x="570" y="164"/>
                    </a:lnTo>
                    <a:lnTo>
                      <a:pt x="571" y="178"/>
                    </a:lnTo>
                    <a:lnTo>
                      <a:pt x="568" y="180"/>
                    </a:lnTo>
                    <a:lnTo>
                      <a:pt x="564" y="180"/>
                    </a:lnTo>
                    <a:lnTo>
                      <a:pt x="563" y="179"/>
                    </a:lnTo>
                    <a:lnTo>
                      <a:pt x="562" y="179"/>
                    </a:lnTo>
                    <a:lnTo>
                      <a:pt x="561" y="179"/>
                    </a:lnTo>
                    <a:lnTo>
                      <a:pt x="558" y="184"/>
                    </a:lnTo>
                    <a:lnTo>
                      <a:pt x="553" y="196"/>
                    </a:lnTo>
                    <a:lnTo>
                      <a:pt x="548" y="207"/>
                    </a:lnTo>
                    <a:lnTo>
                      <a:pt x="541" y="217"/>
                    </a:lnTo>
                    <a:lnTo>
                      <a:pt x="534" y="225"/>
                    </a:lnTo>
                    <a:lnTo>
                      <a:pt x="525" y="232"/>
                    </a:lnTo>
                    <a:lnTo>
                      <a:pt x="515" y="239"/>
                    </a:lnTo>
                    <a:lnTo>
                      <a:pt x="505" y="244"/>
                    </a:lnTo>
                    <a:lnTo>
                      <a:pt x="494" y="249"/>
                    </a:lnTo>
                    <a:lnTo>
                      <a:pt x="449" y="267"/>
                    </a:lnTo>
                    <a:lnTo>
                      <a:pt x="405" y="283"/>
                    </a:lnTo>
                    <a:lnTo>
                      <a:pt x="374" y="296"/>
                    </a:lnTo>
                    <a:lnTo>
                      <a:pt x="347" y="307"/>
                    </a:lnTo>
                    <a:lnTo>
                      <a:pt x="321" y="318"/>
                    </a:lnTo>
                    <a:lnTo>
                      <a:pt x="295" y="328"/>
                    </a:lnTo>
                    <a:lnTo>
                      <a:pt x="270" y="337"/>
                    </a:lnTo>
                    <a:lnTo>
                      <a:pt x="245" y="345"/>
                    </a:lnTo>
                    <a:lnTo>
                      <a:pt x="216" y="354"/>
                    </a:lnTo>
                    <a:lnTo>
                      <a:pt x="186" y="363"/>
                    </a:lnTo>
                    <a:lnTo>
                      <a:pt x="177" y="366"/>
                    </a:lnTo>
                    <a:lnTo>
                      <a:pt x="167" y="371"/>
                    </a:lnTo>
                    <a:lnTo>
                      <a:pt x="158" y="376"/>
                    </a:lnTo>
                    <a:lnTo>
                      <a:pt x="149" y="381"/>
                    </a:lnTo>
                    <a:lnTo>
                      <a:pt x="134" y="392"/>
                    </a:lnTo>
                    <a:lnTo>
                      <a:pt x="119" y="403"/>
                    </a:lnTo>
                    <a:lnTo>
                      <a:pt x="105" y="414"/>
                    </a:lnTo>
                    <a:lnTo>
                      <a:pt x="92" y="426"/>
                    </a:lnTo>
                    <a:lnTo>
                      <a:pt x="79" y="435"/>
                    </a:lnTo>
                    <a:lnTo>
                      <a:pt x="67" y="443"/>
                    </a:lnTo>
                    <a:lnTo>
                      <a:pt x="58" y="410"/>
                    </a:lnTo>
                    <a:lnTo>
                      <a:pt x="50" y="378"/>
                    </a:lnTo>
                    <a:lnTo>
                      <a:pt x="42" y="345"/>
                    </a:lnTo>
                    <a:lnTo>
                      <a:pt x="33" y="313"/>
                    </a:lnTo>
                    <a:lnTo>
                      <a:pt x="24" y="282"/>
                    </a:lnTo>
                    <a:lnTo>
                      <a:pt x="16" y="251"/>
                    </a:lnTo>
                    <a:lnTo>
                      <a:pt x="8" y="223"/>
                    </a:lnTo>
                    <a:lnTo>
                      <a:pt x="0" y="196"/>
                    </a:lnTo>
                  </a:path>
                </a:pathLst>
              </a:custGeom>
              <a:grpFill/>
              <a:ln w="9525" cmpd="sng">
                <a:solidFill>
                  <a:srgbClr val="FFFFFF"/>
                </a:solidFill>
                <a:prstDash val="solid"/>
                <a:round/>
                <a:headEnd/>
                <a:tailEnd/>
              </a:ln>
            </p:spPr>
            <p:txBody>
              <a:bodyPr/>
              <a:lstStyle/>
              <a:p>
                <a:endParaRPr lang="en-GB" sz="1637"/>
              </a:p>
            </p:txBody>
          </p:sp>
          <p:sp>
            <p:nvSpPr>
              <p:cNvPr id="106" name="Freeform 258"/>
              <p:cNvSpPr>
                <a:spLocks/>
              </p:cNvSpPr>
              <p:nvPr>
                <p:custDataLst>
                  <p:tags r:id="rId89"/>
                </p:custDataLst>
              </p:nvPr>
            </p:nvSpPr>
            <p:spPr bwMode="auto">
              <a:xfrm>
                <a:off x="5272985" y="3036297"/>
                <a:ext cx="131706" cy="136113"/>
              </a:xfrm>
              <a:custGeom>
                <a:avLst/>
                <a:gdLst>
                  <a:gd name="T0" fmla="*/ 0 w 286"/>
                  <a:gd name="T1" fmla="*/ 58737 h 228"/>
                  <a:gd name="T2" fmla="*/ 1687 w 286"/>
                  <a:gd name="T3" fmla="*/ 57679 h 228"/>
                  <a:gd name="T4" fmla="*/ 2953 w 286"/>
                  <a:gd name="T5" fmla="*/ 57679 h 228"/>
                  <a:gd name="T6" fmla="*/ 4219 w 286"/>
                  <a:gd name="T7" fmla="*/ 58208 h 228"/>
                  <a:gd name="T8" fmla="*/ 4640 w 286"/>
                  <a:gd name="T9" fmla="*/ 58737 h 228"/>
                  <a:gd name="T10" fmla="*/ 5062 w 286"/>
                  <a:gd name="T11" fmla="*/ 61912 h 228"/>
                  <a:gd name="T12" fmla="*/ 5484 w 286"/>
                  <a:gd name="T13" fmla="*/ 65087 h 228"/>
                  <a:gd name="T14" fmla="*/ 5906 w 286"/>
                  <a:gd name="T15" fmla="*/ 67733 h 228"/>
                  <a:gd name="T16" fmla="*/ 6750 w 286"/>
                  <a:gd name="T17" fmla="*/ 69321 h 228"/>
                  <a:gd name="T18" fmla="*/ 8015 w 286"/>
                  <a:gd name="T19" fmla="*/ 70908 h 228"/>
                  <a:gd name="T20" fmla="*/ 10124 w 286"/>
                  <a:gd name="T21" fmla="*/ 71967 h 228"/>
                  <a:gd name="T22" fmla="*/ 12234 w 286"/>
                  <a:gd name="T23" fmla="*/ 72496 h 228"/>
                  <a:gd name="T24" fmla="*/ 15609 w 286"/>
                  <a:gd name="T25" fmla="*/ 73025 h 228"/>
                  <a:gd name="T26" fmla="*/ 20249 w 286"/>
                  <a:gd name="T27" fmla="*/ 73025 h 228"/>
                  <a:gd name="T28" fmla="*/ 25311 w 286"/>
                  <a:gd name="T29" fmla="*/ 71967 h 228"/>
                  <a:gd name="T30" fmla="*/ 41342 w 286"/>
                  <a:gd name="T31" fmla="*/ 68792 h 228"/>
                  <a:gd name="T32" fmla="*/ 54419 w 286"/>
                  <a:gd name="T33" fmla="*/ 64558 h 228"/>
                  <a:gd name="T34" fmla="*/ 60325 w 286"/>
                  <a:gd name="T35" fmla="*/ 62442 h 228"/>
                  <a:gd name="T36" fmla="*/ 65809 w 286"/>
                  <a:gd name="T37" fmla="*/ 60325 h 228"/>
                  <a:gd name="T38" fmla="*/ 70449 w 286"/>
                  <a:gd name="T39" fmla="*/ 57679 h 228"/>
                  <a:gd name="T40" fmla="*/ 75090 w 286"/>
                  <a:gd name="T41" fmla="*/ 54504 h 228"/>
                  <a:gd name="T42" fmla="*/ 79308 w 286"/>
                  <a:gd name="T43" fmla="*/ 50800 h 228"/>
                  <a:gd name="T44" fmla="*/ 83527 w 286"/>
                  <a:gd name="T45" fmla="*/ 46038 h 228"/>
                  <a:gd name="T46" fmla="*/ 87745 w 286"/>
                  <a:gd name="T47" fmla="*/ 41275 h 228"/>
                  <a:gd name="T48" fmla="*/ 92386 w 286"/>
                  <a:gd name="T49" fmla="*/ 34396 h 228"/>
                  <a:gd name="T50" fmla="*/ 96604 w 286"/>
                  <a:gd name="T51" fmla="*/ 27517 h 228"/>
                  <a:gd name="T52" fmla="*/ 101667 w 286"/>
                  <a:gd name="T53" fmla="*/ 19579 h 228"/>
                  <a:gd name="T54" fmla="*/ 106729 w 286"/>
                  <a:gd name="T55" fmla="*/ 10583 h 228"/>
                  <a:gd name="T56" fmla="*/ 112213 w 286"/>
                  <a:gd name="T57" fmla="*/ 0 h 228"/>
                  <a:gd name="T58" fmla="*/ 113900 w 286"/>
                  <a:gd name="T59" fmla="*/ 3704 h 228"/>
                  <a:gd name="T60" fmla="*/ 115588 w 286"/>
                  <a:gd name="T61" fmla="*/ 6879 h 228"/>
                  <a:gd name="T62" fmla="*/ 116431 w 286"/>
                  <a:gd name="T63" fmla="*/ 10583 h 228"/>
                  <a:gd name="T64" fmla="*/ 117697 w 286"/>
                  <a:gd name="T65" fmla="*/ 14287 h 228"/>
                  <a:gd name="T66" fmla="*/ 118963 w 286"/>
                  <a:gd name="T67" fmla="*/ 22225 h 228"/>
                  <a:gd name="T68" fmla="*/ 120650 w 286"/>
                  <a:gd name="T69" fmla="*/ 32808 h 228"/>
                  <a:gd name="T70" fmla="*/ 103776 w 286"/>
                  <a:gd name="T71" fmla="*/ 104775 h 228"/>
                  <a:gd name="T72" fmla="*/ 95339 w 286"/>
                  <a:gd name="T73" fmla="*/ 120650 h 228"/>
                  <a:gd name="T74" fmla="*/ 22358 w 286"/>
                  <a:gd name="T75" fmla="*/ 111125 h 228"/>
                  <a:gd name="T76" fmla="*/ 0 w 286"/>
                  <a:gd name="T77" fmla="*/ 58737 h 22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86" h="228">
                    <a:moveTo>
                      <a:pt x="0" y="111"/>
                    </a:moveTo>
                    <a:lnTo>
                      <a:pt x="4" y="109"/>
                    </a:lnTo>
                    <a:lnTo>
                      <a:pt x="7" y="109"/>
                    </a:lnTo>
                    <a:lnTo>
                      <a:pt x="10" y="110"/>
                    </a:lnTo>
                    <a:lnTo>
                      <a:pt x="11" y="111"/>
                    </a:lnTo>
                    <a:lnTo>
                      <a:pt x="12" y="117"/>
                    </a:lnTo>
                    <a:lnTo>
                      <a:pt x="13" y="123"/>
                    </a:lnTo>
                    <a:lnTo>
                      <a:pt x="14" y="128"/>
                    </a:lnTo>
                    <a:lnTo>
                      <a:pt x="16" y="131"/>
                    </a:lnTo>
                    <a:lnTo>
                      <a:pt x="19" y="134"/>
                    </a:lnTo>
                    <a:lnTo>
                      <a:pt x="24" y="136"/>
                    </a:lnTo>
                    <a:lnTo>
                      <a:pt x="29" y="137"/>
                    </a:lnTo>
                    <a:lnTo>
                      <a:pt x="37" y="138"/>
                    </a:lnTo>
                    <a:lnTo>
                      <a:pt x="48" y="138"/>
                    </a:lnTo>
                    <a:lnTo>
                      <a:pt x="60" y="136"/>
                    </a:lnTo>
                    <a:lnTo>
                      <a:pt x="98" y="130"/>
                    </a:lnTo>
                    <a:lnTo>
                      <a:pt x="129" y="122"/>
                    </a:lnTo>
                    <a:lnTo>
                      <a:pt x="143" y="118"/>
                    </a:lnTo>
                    <a:lnTo>
                      <a:pt x="156" y="114"/>
                    </a:lnTo>
                    <a:lnTo>
                      <a:pt x="167" y="109"/>
                    </a:lnTo>
                    <a:lnTo>
                      <a:pt x="178" y="103"/>
                    </a:lnTo>
                    <a:lnTo>
                      <a:pt x="188" y="96"/>
                    </a:lnTo>
                    <a:lnTo>
                      <a:pt x="198" y="87"/>
                    </a:lnTo>
                    <a:lnTo>
                      <a:pt x="208" y="78"/>
                    </a:lnTo>
                    <a:lnTo>
                      <a:pt x="219" y="65"/>
                    </a:lnTo>
                    <a:lnTo>
                      <a:pt x="229" y="52"/>
                    </a:lnTo>
                    <a:lnTo>
                      <a:pt x="241" y="37"/>
                    </a:lnTo>
                    <a:lnTo>
                      <a:pt x="253" y="20"/>
                    </a:lnTo>
                    <a:lnTo>
                      <a:pt x="266" y="0"/>
                    </a:lnTo>
                    <a:lnTo>
                      <a:pt x="270" y="7"/>
                    </a:lnTo>
                    <a:lnTo>
                      <a:pt x="274" y="13"/>
                    </a:lnTo>
                    <a:lnTo>
                      <a:pt x="276" y="20"/>
                    </a:lnTo>
                    <a:lnTo>
                      <a:pt x="279" y="27"/>
                    </a:lnTo>
                    <a:lnTo>
                      <a:pt x="282" y="42"/>
                    </a:lnTo>
                    <a:lnTo>
                      <a:pt x="286" y="62"/>
                    </a:lnTo>
                    <a:lnTo>
                      <a:pt x="246" y="198"/>
                    </a:lnTo>
                    <a:lnTo>
                      <a:pt x="226" y="228"/>
                    </a:lnTo>
                    <a:lnTo>
                      <a:pt x="53" y="210"/>
                    </a:lnTo>
                    <a:lnTo>
                      <a:pt x="0" y="111"/>
                    </a:lnTo>
                  </a:path>
                </a:pathLst>
              </a:custGeom>
              <a:grpFill/>
              <a:ln w="9525" cap="flat" cmpd="sng">
                <a:solidFill>
                  <a:srgbClr val="FFFFFF"/>
                </a:solidFill>
                <a:prstDash val="solid"/>
                <a:round/>
                <a:headEnd type="none" w="med" len="med"/>
                <a:tailEnd type="none" w="med" len="med"/>
              </a:ln>
              <a:effectLst/>
            </p:spPr>
            <p:txBody>
              <a:bodyPr/>
              <a:lstStyle/>
              <a:p>
                <a:endParaRPr lang="en-GB" sz="1637"/>
              </a:p>
            </p:txBody>
          </p:sp>
          <p:sp>
            <p:nvSpPr>
              <p:cNvPr id="107" name="Freeform 259"/>
              <p:cNvSpPr>
                <a:spLocks/>
              </p:cNvSpPr>
              <p:nvPr>
                <p:custDataLst>
                  <p:tags r:id="rId90"/>
                </p:custDataLst>
              </p:nvPr>
            </p:nvSpPr>
            <p:spPr bwMode="auto">
              <a:xfrm>
                <a:off x="4931588" y="2644075"/>
                <a:ext cx="242617" cy="297300"/>
              </a:xfrm>
              <a:custGeom>
                <a:avLst/>
                <a:gdLst>
                  <a:gd name="T0" fmla="*/ 202740 w 524"/>
                  <a:gd name="T1" fmla="*/ 193078 h 505"/>
                  <a:gd name="T2" fmla="*/ 205284 w 524"/>
                  <a:gd name="T3" fmla="*/ 180554 h 505"/>
                  <a:gd name="T4" fmla="*/ 204860 w 524"/>
                  <a:gd name="T5" fmla="*/ 171683 h 505"/>
                  <a:gd name="T6" fmla="*/ 202740 w 524"/>
                  <a:gd name="T7" fmla="*/ 157593 h 505"/>
                  <a:gd name="T8" fmla="*/ 192984 w 524"/>
                  <a:gd name="T9" fmla="*/ 156028 h 505"/>
                  <a:gd name="T10" fmla="*/ 182805 w 524"/>
                  <a:gd name="T11" fmla="*/ 150288 h 505"/>
                  <a:gd name="T12" fmla="*/ 172625 w 524"/>
                  <a:gd name="T13" fmla="*/ 142982 h 505"/>
                  <a:gd name="T14" fmla="*/ 163719 w 524"/>
                  <a:gd name="T15" fmla="*/ 133589 h 505"/>
                  <a:gd name="T16" fmla="*/ 155236 w 524"/>
                  <a:gd name="T17" fmla="*/ 123674 h 505"/>
                  <a:gd name="T18" fmla="*/ 149298 w 524"/>
                  <a:gd name="T19" fmla="*/ 112716 h 505"/>
                  <a:gd name="T20" fmla="*/ 145056 w 524"/>
                  <a:gd name="T21" fmla="*/ 102279 h 505"/>
                  <a:gd name="T22" fmla="*/ 143784 w 524"/>
                  <a:gd name="T23" fmla="*/ 92886 h 505"/>
                  <a:gd name="T24" fmla="*/ 144632 w 524"/>
                  <a:gd name="T25" fmla="*/ 84537 h 505"/>
                  <a:gd name="T26" fmla="*/ 148025 w 524"/>
                  <a:gd name="T27" fmla="*/ 78275 h 505"/>
                  <a:gd name="T28" fmla="*/ 154812 w 524"/>
                  <a:gd name="T29" fmla="*/ 70969 h 505"/>
                  <a:gd name="T30" fmla="*/ 150146 w 524"/>
                  <a:gd name="T31" fmla="*/ 67838 h 505"/>
                  <a:gd name="T32" fmla="*/ 144632 w 524"/>
                  <a:gd name="T33" fmla="*/ 62098 h 505"/>
                  <a:gd name="T34" fmla="*/ 133604 w 524"/>
                  <a:gd name="T35" fmla="*/ 45399 h 505"/>
                  <a:gd name="T36" fmla="*/ 123849 w 524"/>
                  <a:gd name="T37" fmla="*/ 26613 h 505"/>
                  <a:gd name="T38" fmla="*/ 118335 w 524"/>
                  <a:gd name="T39" fmla="*/ 13046 h 505"/>
                  <a:gd name="T40" fmla="*/ 110277 w 524"/>
                  <a:gd name="T41" fmla="*/ 12524 h 505"/>
                  <a:gd name="T42" fmla="*/ 101370 w 524"/>
                  <a:gd name="T43" fmla="*/ 9915 h 505"/>
                  <a:gd name="T44" fmla="*/ 92887 w 524"/>
                  <a:gd name="T45" fmla="*/ 5740 h 505"/>
                  <a:gd name="T46" fmla="*/ 83556 w 524"/>
                  <a:gd name="T47" fmla="*/ 3131 h 505"/>
                  <a:gd name="T48" fmla="*/ 72104 w 524"/>
                  <a:gd name="T49" fmla="*/ 1565 h 505"/>
                  <a:gd name="T50" fmla="*/ 63197 w 524"/>
                  <a:gd name="T51" fmla="*/ 4175 h 505"/>
                  <a:gd name="T52" fmla="*/ 48352 w 524"/>
                  <a:gd name="T53" fmla="*/ 21395 h 505"/>
                  <a:gd name="T54" fmla="*/ 41566 w 524"/>
                  <a:gd name="T55" fmla="*/ 29744 h 505"/>
                  <a:gd name="T56" fmla="*/ 39445 w 524"/>
                  <a:gd name="T57" fmla="*/ 33397 h 505"/>
                  <a:gd name="T58" fmla="*/ 39869 w 524"/>
                  <a:gd name="T59" fmla="*/ 49052 h 505"/>
                  <a:gd name="T60" fmla="*/ 40293 w 524"/>
                  <a:gd name="T61" fmla="*/ 73056 h 505"/>
                  <a:gd name="T62" fmla="*/ 39869 w 524"/>
                  <a:gd name="T63" fmla="*/ 85580 h 505"/>
                  <a:gd name="T64" fmla="*/ 36476 w 524"/>
                  <a:gd name="T65" fmla="*/ 93930 h 505"/>
                  <a:gd name="T66" fmla="*/ 28417 w 524"/>
                  <a:gd name="T67" fmla="*/ 102801 h 505"/>
                  <a:gd name="T68" fmla="*/ 16966 w 524"/>
                  <a:gd name="T69" fmla="*/ 111672 h 505"/>
                  <a:gd name="T70" fmla="*/ 5514 w 524"/>
                  <a:gd name="T71" fmla="*/ 118978 h 505"/>
                  <a:gd name="T72" fmla="*/ 848 w 524"/>
                  <a:gd name="T73" fmla="*/ 128371 h 505"/>
                  <a:gd name="T74" fmla="*/ 848 w 524"/>
                  <a:gd name="T75" fmla="*/ 137764 h 505"/>
                  <a:gd name="T76" fmla="*/ 0 w 524"/>
                  <a:gd name="T77" fmla="*/ 145069 h 505"/>
                  <a:gd name="T78" fmla="*/ 0 w 524"/>
                  <a:gd name="T79" fmla="*/ 150809 h 505"/>
                  <a:gd name="T80" fmla="*/ 2969 w 524"/>
                  <a:gd name="T81" fmla="*/ 157071 h 505"/>
                  <a:gd name="T82" fmla="*/ 11028 w 524"/>
                  <a:gd name="T83" fmla="*/ 163855 h 505"/>
                  <a:gd name="T84" fmla="*/ 26297 w 524"/>
                  <a:gd name="T85" fmla="*/ 172726 h 505"/>
                  <a:gd name="T86" fmla="*/ 50897 w 524"/>
                  <a:gd name="T87" fmla="*/ 185250 h 505"/>
                  <a:gd name="T88" fmla="*/ 76345 w 524"/>
                  <a:gd name="T89" fmla="*/ 195165 h 505"/>
                  <a:gd name="T90" fmla="*/ 90766 w 524"/>
                  <a:gd name="T91" fmla="*/ 200905 h 505"/>
                  <a:gd name="T92" fmla="*/ 100521 w 524"/>
                  <a:gd name="T93" fmla="*/ 208733 h 505"/>
                  <a:gd name="T94" fmla="*/ 106884 w 524"/>
                  <a:gd name="T95" fmla="*/ 218126 h 505"/>
                  <a:gd name="T96" fmla="*/ 111125 w 524"/>
                  <a:gd name="T97" fmla="*/ 226997 h 505"/>
                  <a:gd name="T98" fmla="*/ 112822 w 524"/>
                  <a:gd name="T99" fmla="*/ 235346 h 505"/>
                  <a:gd name="T100" fmla="*/ 114518 w 524"/>
                  <a:gd name="T101" fmla="*/ 244739 h 505"/>
                  <a:gd name="T102" fmla="*/ 117487 w 524"/>
                  <a:gd name="T103" fmla="*/ 251001 h 505"/>
                  <a:gd name="T104" fmla="*/ 121729 w 524"/>
                  <a:gd name="T105" fmla="*/ 255176 h 505"/>
                  <a:gd name="T106" fmla="*/ 130211 w 524"/>
                  <a:gd name="T107" fmla="*/ 259350 h 505"/>
                  <a:gd name="T108" fmla="*/ 139118 w 524"/>
                  <a:gd name="T109" fmla="*/ 262481 h 505"/>
                  <a:gd name="T110" fmla="*/ 142087 w 524"/>
                  <a:gd name="T111" fmla="*/ 260916 h 505"/>
                  <a:gd name="T112" fmla="*/ 146753 w 524"/>
                  <a:gd name="T113" fmla="*/ 260394 h 505"/>
                  <a:gd name="T114" fmla="*/ 155236 w 524"/>
                  <a:gd name="T115" fmla="*/ 262481 h 505"/>
                  <a:gd name="T116" fmla="*/ 162446 w 524"/>
                  <a:gd name="T117" fmla="*/ 263525 h 505"/>
                  <a:gd name="T118" fmla="*/ 185350 w 524"/>
                  <a:gd name="T119" fmla="*/ 263525 h 505"/>
                  <a:gd name="T120" fmla="*/ 197226 w 524"/>
                  <a:gd name="T121" fmla="*/ 234302 h 505"/>
                  <a:gd name="T122" fmla="*/ 208677 w 524"/>
                  <a:gd name="T123" fmla="*/ 228040 h 50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524" h="505">
                    <a:moveTo>
                      <a:pt x="524" y="419"/>
                    </a:moveTo>
                    <a:lnTo>
                      <a:pt x="478" y="370"/>
                    </a:lnTo>
                    <a:lnTo>
                      <a:pt x="482" y="357"/>
                    </a:lnTo>
                    <a:lnTo>
                      <a:pt x="484" y="346"/>
                    </a:lnTo>
                    <a:lnTo>
                      <a:pt x="484" y="336"/>
                    </a:lnTo>
                    <a:lnTo>
                      <a:pt x="483" y="329"/>
                    </a:lnTo>
                    <a:lnTo>
                      <a:pt x="479" y="315"/>
                    </a:lnTo>
                    <a:lnTo>
                      <a:pt x="478" y="302"/>
                    </a:lnTo>
                    <a:lnTo>
                      <a:pt x="466" y="301"/>
                    </a:lnTo>
                    <a:lnTo>
                      <a:pt x="455" y="299"/>
                    </a:lnTo>
                    <a:lnTo>
                      <a:pt x="443" y="295"/>
                    </a:lnTo>
                    <a:lnTo>
                      <a:pt x="431" y="288"/>
                    </a:lnTo>
                    <a:lnTo>
                      <a:pt x="419" y="282"/>
                    </a:lnTo>
                    <a:lnTo>
                      <a:pt x="407" y="274"/>
                    </a:lnTo>
                    <a:lnTo>
                      <a:pt x="396" y="266"/>
                    </a:lnTo>
                    <a:lnTo>
                      <a:pt x="386" y="256"/>
                    </a:lnTo>
                    <a:lnTo>
                      <a:pt x="376" y="247"/>
                    </a:lnTo>
                    <a:lnTo>
                      <a:pt x="366" y="237"/>
                    </a:lnTo>
                    <a:lnTo>
                      <a:pt x="359" y="226"/>
                    </a:lnTo>
                    <a:lnTo>
                      <a:pt x="352" y="216"/>
                    </a:lnTo>
                    <a:lnTo>
                      <a:pt x="347" y="206"/>
                    </a:lnTo>
                    <a:lnTo>
                      <a:pt x="342" y="196"/>
                    </a:lnTo>
                    <a:lnTo>
                      <a:pt x="339" y="187"/>
                    </a:lnTo>
                    <a:lnTo>
                      <a:pt x="339" y="178"/>
                    </a:lnTo>
                    <a:lnTo>
                      <a:pt x="339" y="170"/>
                    </a:lnTo>
                    <a:lnTo>
                      <a:pt x="341" y="162"/>
                    </a:lnTo>
                    <a:lnTo>
                      <a:pt x="346" y="156"/>
                    </a:lnTo>
                    <a:lnTo>
                      <a:pt x="349" y="150"/>
                    </a:lnTo>
                    <a:lnTo>
                      <a:pt x="358" y="142"/>
                    </a:lnTo>
                    <a:lnTo>
                      <a:pt x="365" y="136"/>
                    </a:lnTo>
                    <a:lnTo>
                      <a:pt x="360" y="134"/>
                    </a:lnTo>
                    <a:lnTo>
                      <a:pt x="354" y="130"/>
                    </a:lnTo>
                    <a:lnTo>
                      <a:pt x="348" y="126"/>
                    </a:lnTo>
                    <a:lnTo>
                      <a:pt x="341" y="119"/>
                    </a:lnTo>
                    <a:lnTo>
                      <a:pt x="328" y="104"/>
                    </a:lnTo>
                    <a:lnTo>
                      <a:pt x="315" y="87"/>
                    </a:lnTo>
                    <a:lnTo>
                      <a:pt x="302" y="69"/>
                    </a:lnTo>
                    <a:lnTo>
                      <a:pt x="292" y="51"/>
                    </a:lnTo>
                    <a:lnTo>
                      <a:pt x="283" y="36"/>
                    </a:lnTo>
                    <a:lnTo>
                      <a:pt x="279" y="25"/>
                    </a:lnTo>
                    <a:lnTo>
                      <a:pt x="272" y="25"/>
                    </a:lnTo>
                    <a:lnTo>
                      <a:pt x="260" y="24"/>
                    </a:lnTo>
                    <a:lnTo>
                      <a:pt x="249" y="22"/>
                    </a:lnTo>
                    <a:lnTo>
                      <a:pt x="239" y="19"/>
                    </a:lnTo>
                    <a:lnTo>
                      <a:pt x="229" y="16"/>
                    </a:lnTo>
                    <a:lnTo>
                      <a:pt x="219" y="11"/>
                    </a:lnTo>
                    <a:lnTo>
                      <a:pt x="208" y="9"/>
                    </a:lnTo>
                    <a:lnTo>
                      <a:pt x="197" y="6"/>
                    </a:lnTo>
                    <a:lnTo>
                      <a:pt x="185" y="6"/>
                    </a:lnTo>
                    <a:lnTo>
                      <a:pt x="170" y="3"/>
                    </a:lnTo>
                    <a:lnTo>
                      <a:pt x="159" y="0"/>
                    </a:lnTo>
                    <a:lnTo>
                      <a:pt x="149" y="8"/>
                    </a:lnTo>
                    <a:lnTo>
                      <a:pt x="126" y="29"/>
                    </a:lnTo>
                    <a:lnTo>
                      <a:pt x="114" y="41"/>
                    </a:lnTo>
                    <a:lnTo>
                      <a:pt x="103" y="52"/>
                    </a:lnTo>
                    <a:lnTo>
                      <a:pt x="98" y="57"/>
                    </a:lnTo>
                    <a:lnTo>
                      <a:pt x="95" y="61"/>
                    </a:lnTo>
                    <a:lnTo>
                      <a:pt x="93" y="64"/>
                    </a:lnTo>
                    <a:lnTo>
                      <a:pt x="93" y="68"/>
                    </a:lnTo>
                    <a:lnTo>
                      <a:pt x="94" y="94"/>
                    </a:lnTo>
                    <a:lnTo>
                      <a:pt x="95" y="125"/>
                    </a:lnTo>
                    <a:lnTo>
                      <a:pt x="95" y="140"/>
                    </a:lnTo>
                    <a:lnTo>
                      <a:pt x="95" y="153"/>
                    </a:lnTo>
                    <a:lnTo>
                      <a:pt x="94" y="164"/>
                    </a:lnTo>
                    <a:lnTo>
                      <a:pt x="93" y="172"/>
                    </a:lnTo>
                    <a:lnTo>
                      <a:pt x="86" y="180"/>
                    </a:lnTo>
                    <a:lnTo>
                      <a:pt x="78" y="188"/>
                    </a:lnTo>
                    <a:lnTo>
                      <a:pt x="67" y="197"/>
                    </a:lnTo>
                    <a:lnTo>
                      <a:pt x="53" y="206"/>
                    </a:lnTo>
                    <a:lnTo>
                      <a:pt x="40" y="214"/>
                    </a:lnTo>
                    <a:lnTo>
                      <a:pt x="26" y="222"/>
                    </a:lnTo>
                    <a:lnTo>
                      <a:pt x="13" y="228"/>
                    </a:lnTo>
                    <a:lnTo>
                      <a:pt x="0" y="235"/>
                    </a:lnTo>
                    <a:lnTo>
                      <a:pt x="2" y="246"/>
                    </a:lnTo>
                    <a:lnTo>
                      <a:pt x="3" y="256"/>
                    </a:lnTo>
                    <a:lnTo>
                      <a:pt x="2" y="264"/>
                    </a:lnTo>
                    <a:lnTo>
                      <a:pt x="1" y="272"/>
                    </a:lnTo>
                    <a:lnTo>
                      <a:pt x="0" y="278"/>
                    </a:lnTo>
                    <a:lnTo>
                      <a:pt x="0" y="284"/>
                    </a:lnTo>
                    <a:lnTo>
                      <a:pt x="0" y="289"/>
                    </a:lnTo>
                    <a:lnTo>
                      <a:pt x="2" y="295"/>
                    </a:lnTo>
                    <a:lnTo>
                      <a:pt x="7" y="301"/>
                    </a:lnTo>
                    <a:lnTo>
                      <a:pt x="15" y="307"/>
                    </a:lnTo>
                    <a:lnTo>
                      <a:pt x="26" y="314"/>
                    </a:lnTo>
                    <a:lnTo>
                      <a:pt x="41" y="321"/>
                    </a:lnTo>
                    <a:lnTo>
                      <a:pt x="62" y="331"/>
                    </a:lnTo>
                    <a:lnTo>
                      <a:pt x="89" y="341"/>
                    </a:lnTo>
                    <a:lnTo>
                      <a:pt x="120" y="355"/>
                    </a:lnTo>
                    <a:lnTo>
                      <a:pt x="159" y="370"/>
                    </a:lnTo>
                    <a:lnTo>
                      <a:pt x="180" y="374"/>
                    </a:lnTo>
                    <a:lnTo>
                      <a:pt x="198" y="379"/>
                    </a:lnTo>
                    <a:lnTo>
                      <a:pt x="214" y="385"/>
                    </a:lnTo>
                    <a:lnTo>
                      <a:pt x="226" y="393"/>
                    </a:lnTo>
                    <a:lnTo>
                      <a:pt x="237" y="400"/>
                    </a:lnTo>
                    <a:lnTo>
                      <a:pt x="246" y="410"/>
                    </a:lnTo>
                    <a:lnTo>
                      <a:pt x="252" y="418"/>
                    </a:lnTo>
                    <a:lnTo>
                      <a:pt x="258" y="427"/>
                    </a:lnTo>
                    <a:lnTo>
                      <a:pt x="262" y="435"/>
                    </a:lnTo>
                    <a:lnTo>
                      <a:pt x="265" y="443"/>
                    </a:lnTo>
                    <a:lnTo>
                      <a:pt x="266" y="451"/>
                    </a:lnTo>
                    <a:lnTo>
                      <a:pt x="269" y="458"/>
                    </a:lnTo>
                    <a:lnTo>
                      <a:pt x="270" y="469"/>
                    </a:lnTo>
                    <a:lnTo>
                      <a:pt x="272" y="475"/>
                    </a:lnTo>
                    <a:lnTo>
                      <a:pt x="277" y="481"/>
                    </a:lnTo>
                    <a:lnTo>
                      <a:pt x="282" y="485"/>
                    </a:lnTo>
                    <a:lnTo>
                      <a:pt x="287" y="489"/>
                    </a:lnTo>
                    <a:lnTo>
                      <a:pt x="294" y="492"/>
                    </a:lnTo>
                    <a:lnTo>
                      <a:pt x="307" y="497"/>
                    </a:lnTo>
                    <a:lnTo>
                      <a:pt x="325" y="505"/>
                    </a:lnTo>
                    <a:lnTo>
                      <a:pt x="328" y="503"/>
                    </a:lnTo>
                    <a:lnTo>
                      <a:pt x="331" y="501"/>
                    </a:lnTo>
                    <a:lnTo>
                      <a:pt x="335" y="500"/>
                    </a:lnTo>
                    <a:lnTo>
                      <a:pt x="338" y="500"/>
                    </a:lnTo>
                    <a:lnTo>
                      <a:pt x="346" y="499"/>
                    </a:lnTo>
                    <a:lnTo>
                      <a:pt x="353" y="500"/>
                    </a:lnTo>
                    <a:lnTo>
                      <a:pt x="366" y="503"/>
                    </a:lnTo>
                    <a:lnTo>
                      <a:pt x="372" y="505"/>
                    </a:lnTo>
                    <a:lnTo>
                      <a:pt x="383" y="505"/>
                    </a:lnTo>
                    <a:lnTo>
                      <a:pt x="407" y="505"/>
                    </a:lnTo>
                    <a:lnTo>
                      <a:pt x="437" y="505"/>
                    </a:lnTo>
                    <a:lnTo>
                      <a:pt x="458" y="505"/>
                    </a:lnTo>
                    <a:lnTo>
                      <a:pt x="465" y="449"/>
                    </a:lnTo>
                    <a:lnTo>
                      <a:pt x="478" y="443"/>
                    </a:lnTo>
                    <a:lnTo>
                      <a:pt x="492" y="437"/>
                    </a:lnTo>
                    <a:lnTo>
                      <a:pt x="524" y="419"/>
                    </a:lnTo>
                  </a:path>
                </a:pathLst>
              </a:custGeom>
              <a:grpFill/>
              <a:ln w="9525" cmpd="sng">
                <a:solidFill>
                  <a:srgbClr val="FFFFFF"/>
                </a:solidFill>
                <a:prstDash val="solid"/>
                <a:round/>
                <a:headEnd/>
                <a:tailEnd/>
              </a:ln>
            </p:spPr>
            <p:txBody>
              <a:bodyPr/>
              <a:lstStyle/>
              <a:p>
                <a:endParaRPr lang="en-GB" sz="1637"/>
              </a:p>
            </p:txBody>
          </p:sp>
          <p:sp>
            <p:nvSpPr>
              <p:cNvPr id="108" name="Freeform 263"/>
              <p:cNvSpPr>
                <a:spLocks/>
              </p:cNvSpPr>
              <p:nvPr>
                <p:custDataLst>
                  <p:tags r:id="rId91"/>
                </p:custDataLst>
              </p:nvPr>
            </p:nvSpPr>
            <p:spPr bwMode="auto">
              <a:xfrm>
                <a:off x="3453357" y="3532393"/>
                <a:ext cx="88382" cy="66266"/>
              </a:xfrm>
              <a:custGeom>
                <a:avLst/>
                <a:gdLst>
                  <a:gd name="T0" fmla="*/ 80963 w 180"/>
                  <a:gd name="T1" fmla="*/ 3671 h 112"/>
                  <a:gd name="T2" fmla="*/ 76915 w 180"/>
                  <a:gd name="T3" fmla="*/ 12587 h 112"/>
                  <a:gd name="T4" fmla="*/ 73316 w 180"/>
                  <a:gd name="T5" fmla="*/ 20453 h 112"/>
                  <a:gd name="T6" fmla="*/ 68369 w 180"/>
                  <a:gd name="T7" fmla="*/ 27796 h 112"/>
                  <a:gd name="T8" fmla="*/ 63421 w 180"/>
                  <a:gd name="T9" fmla="*/ 34613 h 112"/>
                  <a:gd name="T10" fmla="*/ 58023 w 180"/>
                  <a:gd name="T11" fmla="*/ 41956 h 112"/>
                  <a:gd name="T12" fmla="*/ 51726 w 180"/>
                  <a:gd name="T13" fmla="*/ 48249 h 112"/>
                  <a:gd name="T14" fmla="*/ 45429 w 180"/>
                  <a:gd name="T15" fmla="*/ 53494 h 112"/>
                  <a:gd name="T16" fmla="*/ 39132 w 180"/>
                  <a:gd name="T17" fmla="*/ 58738 h 112"/>
                  <a:gd name="T18" fmla="*/ 36883 w 180"/>
                  <a:gd name="T19" fmla="*/ 56116 h 112"/>
                  <a:gd name="T20" fmla="*/ 35534 w 180"/>
                  <a:gd name="T21" fmla="*/ 52969 h 112"/>
                  <a:gd name="T22" fmla="*/ 34184 w 180"/>
                  <a:gd name="T23" fmla="*/ 49822 h 112"/>
                  <a:gd name="T24" fmla="*/ 33285 w 180"/>
                  <a:gd name="T25" fmla="*/ 46151 h 112"/>
                  <a:gd name="T26" fmla="*/ 31486 w 180"/>
                  <a:gd name="T27" fmla="*/ 42480 h 112"/>
                  <a:gd name="T28" fmla="*/ 30586 w 180"/>
                  <a:gd name="T29" fmla="*/ 38809 h 112"/>
                  <a:gd name="T30" fmla="*/ 29237 w 180"/>
                  <a:gd name="T31" fmla="*/ 36187 h 112"/>
                  <a:gd name="T32" fmla="*/ 26988 w 180"/>
                  <a:gd name="T33" fmla="*/ 33040 h 112"/>
                  <a:gd name="T34" fmla="*/ 20241 w 180"/>
                  <a:gd name="T35" fmla="*/ 25173 h 112"/>
                  <a:gd name="T36" fmla="*/ 16193 w 180"/>
                  <a:gd name="T37" fmla="*/ 19929 h 112"/>
                  <a:gd name="T38" fmla="*/ 13494 w 180"/>
                  <a:gd name="T39" fmla="*/ 17307 h 112"/>
                  <a:gd name="T40" fmla="*/ 11245 w 180"/>
                  <a:gd name="T41" fmla="*/ 16258 h 112"/>
                  <a:gd name="T42" fmla="*/ 8096 w 180"/>
                  <a:gd name="T43" fmla="*/ 15733 h 112"/>
                  <a:gd name="T44" fmla="*/ 0 w 180"/>
                  <a:gd name="T45" fmla="*/ 13636 h 112"/>
                  <a:gd name="T46" fmla="*/ 11695 w 180"/>
                  <a:gd name="T47" fmla="*/ 7342 h 112"/>
                  <a:gd name="T48" fmla="*/ 18442 w 180"/>
                  <a:gd name="T49" fmla="*/ 4720 h 112"/>
                  <a:gd name="T50" fmla="*/ 25188 w 180"/>
                  <a:gd name="T51" fmla="*/ 2622 h 112"/>
                  <a:gd name="T52" fmla="*/ 33285 w 180"/>
                  <a:gd name="T53" fmla="*/ 1573 h 112"/>
                  <a:gd name="T54" fmla="*/ 41831 w 180"/>
                  <a:gd name="T55" fmla="*/ 524 h 112"/>
                  <a:gd name="T56" fmla="*/ 51277 w 180"/>
                  <a:gd name="T57" fmla="*/ 0 h 112"/>
                  <a:gd name="T58" fmla="*/ 60722 w 180"/>
                  <a:gd name="T59" fmla="*/ 524 h 112"/>
                  <a:gd name="T60" fmla="*/ 70618 w 180"/>
                  <a:gd name="T61" fmla="*/ 1573 h 112"/>
                  <a:gd name="T62" fmla="*/ 80963 w 180"/>
                  <a:gd name="T63" fmla="*/ 3671 h 11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80" h="112">
                    <a:moveTo>
                      <a:pt x="180" y="7"/>
                    </a:moveTo>
                    <a:lnTo>
                      <a:pt x="171" y="24"/>
                    </a:lnTo>
                    <a:lnTo>
                      <a:pt x="163" y="39"/>
                    </a:lnTo>
                    <a:lnTo>
                      <a:pt x="152" y="53"/>
                    </a:lnTo>
                    <a:lnTo>
                      <a:pt x="141" y="66"/>
                    </a:lnTo>
                    <a:lnTo>
                      <a:pt x="129" y="80"/>
                    </a:lnTo>
                    <a:lnTo>
                      <a:pt x="115" y="92"/>
                    </a:lnTo>
                    <a:lnTo>
                      <a:pt x="101" y="102"/>
                    </a:lnTo>
                    <a:lnTo>
                      <a:pt x="87" y="112"/>
                    </a:lnTo>
                    <a:lnTo>
                      <a:pt x="82" y="107"/>
                    </a:lnTo>
                    <a:lnTo>
                      <a:pt x="79" y="101"/>
                    </a:lnTo>
                    <a:lnTo>
                      <a:pt x="76" y="95"/>
                    </a:lnTo>
                    <a:lnTo>
                      <a:pt x="74" y="88"/>
                    </a:lnTo>
                    <a:lnTo>
                      <a:pt x="70" y="81"/>
                    </a:lnTo>
                    <a:lnTo>
                      <a:pt x="68" y="74"/>
                    </a:lnTo>
                    <a:lnTo>
                      <a:pt x="65" y="69"/>
                    </a:lnTo>
                    <a:lnTo>
                      <a:pt x="60" y="63"/>
                    </a:lnTo>
                    <a:lnTo>
                      <a:pt x="45" y="48"/>
                    </a:lnTo>
                    <a:lnTo>
                      <a:pt x="36" y="38"/>
                    </a:lnTo>
                    <a:lnTo>
                      <a:pt x="30" y="33"/>
                    </a:lnTo>
                    <a:lnTo>
                      <a:pt x="25" y="31"/>
                    </a:lnTo>
                    <a:lnTo>
                      <a:pt x="18" y="30"/>
                    </a:lnTo>
                    <a:lnTo>
                      <a:pt x="0" y="26"/>
                    </a:lnTo>
                    <a:lnTo>
                      <a:pt x="26" y="14"/>
                    </a:lnTo>
                    <a:lnTo>
                      <a:pt x="41" y="9"/>
                    </a:lnTo>
                    <a:lnTo>
                      <a:pt x="56" y="5"/>
                    </a:lnTo>
                    <a:lnTo>
                      <a:pt x="74" y="3"/>
                    </a:lnTo>
                    <a:lnTo>
                      <a:pt x="93" y="1"/>
                    </a:lnTo>
                    <a:lnTo>
                      <a:pt x="114" y="0"/>
                    </a:lnTo>
                    <a:lnTo>
                      <a:pt x="135" y="1"/>
                    </a:lnTo>
                    <a:lnTo>
                      <a:pt x="157" y="3"/>
                    </a:lnTo>
                    <a:lnTo>
                      <a:pt x="180" y="7"/>
                    </a:lnTo>
                  </a:path>
                </a:pathLst>
              </a:custGeom>
              <a:grpFill/>
              <a:ln w="9525" cmpd="sng">
                <a:solidFill>
                  <a:srgbClr val="FFFFFF"/>
                </a:solidFill>
                <a:prstDash val="solid"/>
                <a:round/>
                <a:headEnd/>
                <a:tailEnd/>
              </a:ln>
            </p:spPr>
            <p:txBody>
              <a:bodyPr/>
              <a:lstStyle/>
              <a:p>
                <a:endParaRPr lang="en-GB" sz="1637"/>
              </a:p>
            </p:txBody>
          </p:sp>
          <p:sp>
            <p:nvSpPr>
              <p:cNvPr id="109" name="Freeform 264"/>
              <p:cNvSpPr>
                <a:spLocks/>
              </p:cNvSpPr>
              <p:nvPr>
                <p:custDataLst>
                  <p:tags r:id="rId92"/>
                </p:custDataLst>
              </p:nvPr>
            </p:nvSpPr>
            <p:spPr bwMode="auto">
              <a:xfrm>
                <a:off x="3545205" y="3625524"/>
                <a:ext cx="81449" cy="112831"/>
              </a:xfrm>
              <a:custGeom>
                <a:avLst/>
                <a:gdLst>
                  <a:gd name="T0" fmla="*/ 0 w 173"/>
                  <a:gd name="T1" fmla="*/ 35421 h 192"/>
                  <a:gd name="T2" fmla="*/ 11645 w 173"/>
                  <a:gd name="T3" fmla="*/ 21878 h 192"/>
                  <a:gd name="T4" fmla="*/ 21995 w 173"/>
                  <a:gd name="T5" fmla="*/ 10939 h 192"/>
                  <a:gd name="T6" fmla="*/ 24152 w 173"/>
                  <a:gd name="T7" fmla="*/ 8334 h 192"/>
                  <a:gd name="T8" fmla="*/ 27171 w 173"/>
                  <a:gd name="T9" fmla="*/ 6251 h 192"/>
                  <a:gd name="T10" fmla="*/ 30190 w 173"/>
                  <a:gd name="T11" fmla="*/ 4167 h 192"/>
                  <a:gd name="T12" fmla="*/ 32778 w 173"/>
                  <a:gd name="T13" fmla="*/ 3125 h 192"/>
                  <a:gd name="T14" fmla="*/ 35797 w 173"/>
                  <a:gd name="T15" fmla="*/ 1563 h 192"/>
                  <a:gd name="T16" fmla="*/ 38815 w 173"/>
                  <a:gd name="T17" fmla="*/ 1042 h 192"/>
                  <a:gd name="T18" fmla="*/ 42266 w 173"/>
                  <a:gd name="T19" fmla="*/ 521 h 192"/>
                  <a:gd name="T20" fmla="*/ 46147 w 173"/>
                  <a:gd name="T21" fmla="*/ 0 h 192"/>
                  <a:gd name="T22" fmla="*/ 50029 w 173"/>
                  <a:gd name="T23" fmla="*/ 521 h 192"/>
                  <a:gd name="T24" fmla="*/ 53479 w 173"/>
                  <a:gd name="T25" fmla="*/ 1042 h 192"/>
                  <a:gd name="T26" fmla="*/ 56929 w 173"/>
                  <a:gd name="T27" fmla="*/ 2605 h 192"/>
                  <a:gd name="T28" fmla="*/ 59948 w 173"/>
                  <a:gd name="T29" fmla="*/ 4167 h 192"/>
                  <a:gd name="T30" fmla="*/ 62536 w 173"/>
                  <a:gd name="T31" fmla="*/ 6772 h 192"/>
                  <a:gd name="T32" fmla="*/ 65124 w 173"/>
                  <a:gd name="T33" fmla="*/ 9897 h 192"/>
                  <a:gd name="T34" fmla="*/ 66849 w 173"/>
                  <a:gd name="T35" fmla="*/ 12502 h 192"/>
                  <a:gd name="T36" fmla="*/ 69005 w 173"/>
                  <a:gd name="T37" fmla="*/ 15627 h 192"/>
                  <a:gd name="T38" fmla="*/ 70299 w 173"/>
                  <a:gd name="T39" fmla="*/ 19273 h 192"/>
                  <a:gd name="T40" fmla="*/ 71593 w 173"/>
                  <a:gd name="T41" fmla="*/ 22399 h 192"/>
                  <a:gd name="T42" fmla="*/ 72456 w 173"/>
                  <a:gd name="T43" fmla="*/ 26045 h 192"/>
                  <a:gd name="T44" fmla="*/ 72887 w 173"/>
                  <a:gd name="T45" fmla="*/ 29691 h 192"/>
                  <a:gd name="T46" fmla="*/ 74181 w 173"/>
                  <a:gd name="T47" fmla="*/ 37505 h 192"/>
                  <a:gd name="T48" fmla="*/ 74612 w 173"/>
                  <a:gd name="T49" fmla="*/ 45318 h 192"/>
                  <a:gd name="T50" fmla="*/ 67711 w 173"/>
                  <a:gd name="T51" fmla="*/ 59383 h 192"/>
                  <a:gd name="T52" fmla="*/ 62967 w 173"/>
                  <a:gd name="T53" fmla="*/ 71363 h 192"/>
                  <a:gd name="T54" fmla="*/ 59948 w 173"/>
                  <a:gd name="T55" fmla="*/ 77093 h 192"/>
                  <a:gd name="T56" fmla="*/ 56067 w 173"/>
                  <a:gd name="T57" fmla="*/ 83344 h 192"/>
                  <a:gd name="T58" fmla="*/ 50460 w 173"/>
                  <a:gd name="T59" fmla="*/ 90637 h 192"/>
                  <a:gd name="T60" fmla="*/ 42697 w 173"/>
                  <a:gd name="T61" fmla="*/ 100013 h 192"/>
                  <a:gd name="T62" fmla="*/ 37090 w 173"/>
                  <a:gd name="T63" fmla="*/ 95325 h 192"/>
                  <a:gd name="T64" fmla="*/ 31915 w 173"/>
                  <a:gd name="T65" fmla="*/ 91679 h 192"/>
                  <a:gd name="T66" fmla="*/ 27171 w 173"/>
                  <a:gd name="T67" fmla="*/ 88032 h 192"/>
                  <a:gd name="T68" fmla="*/ 23289 w 173"/>
                  <a:gd name="T69" fmla="*/ 84907 h 192"/>
                  <a:gd name="T70" fmla="*/ 19839 w 173"/>
                  <a:gd name="T71" fmla="*/ 81261 h 192"/>
                  <a:gd name="T72" fmla="*/ 17251 w 173"/>
                  <a:gd name="T73" fmla="*/ 78135 h 192"/>
                  <a:gd name="T74" fmla="*/ 14664 w 173"/>
                  <a:gd name="T75" fmla="*/ 75010 h 192"/>
                  <a:gd name="T76" fmla="*/ 12938 w 173"/>
                  <a:gd name="T77" fmla="*/ 71363 h 192"/>
                  <a:gd name="T78" fmla="*/ 9488 w 173"/>
                  <a:gd name="T79" fmla="*/ 64071 h 192"/>
                  <a:gd name="T80" fmla="*/ 6901 w 173"/>
                  <a:gd name="T81" fmla="*/ 55736 h 192"/>
                  <a:gd name="T82" fmla="*/ 3882 w 173"/>
                  <a:gd name="T83" fmla="*/ 46881 h 192"/>
                  <a:gd name="T84" fmla="*/ 0 w 173"/>
                  <a:gd name="T85" fmla="*/ 35421 h 19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73" h="192">
                    <a:moveTo>
                      <a:pt x="0" y="68"/>
                    </a:moveTo>
                    <a:lnTo>
                      <a:pt x="27" y="42"/>
                    </a:lnTo>
                    <a:lnTo>
                      <a:pt x="51" y="21"/>
                    </a:lnTo>
                    <a:lnTo>
                      <a:pt x="56" y="16"/>
                    </a:lnTo>
                    <a:lnTo>
                      <a:pt x="63" y="12"/>
                    </a:lnTo>
                    <a:lnTo>
                      <a:pt x="70" y="8"/>
                    </a:lnTo>
                    <a:lnTo>
                      <a:pt x="76" y="6"/>
                    </a:lnTo>
                    <a:lnTo>
                      <a:pt x="83" y="3"/>
                    </a:lnTo>
                    <a:lnTo>
                      <a:pt x="90" y="2"/>
                    </a:lnTo>
                    <a:lnTo>
                      <a:pt x="98" y="1"/>
                    </a:lnTo>
                    <a:lnTo>
                      <a:pt x="107" y="0"/>
                    </a:lnTo>
                    <a:lnTo>
                      <a:pt x="116" y="1"/>
                    </a:lnTo>
                    <a:lnTo>
                      <a:pt x="124" y="2"/>
                    </a:lnTo>
                    <a:lnTo>
                      <a:pt x="132" y="5"/>
                    </a:lnTo>
                    <a:lnTo>
                      <a:pt x="139" y="8"/>
                    </a:lnTo>
                    <a:lnTo>
                      <a:pt x="145" y="13"/>
                    </a:lnTo>
                    <a:lnTo>
                      <a:pt x="151" y="19"/>
                    </a:lnTo>
                    <a:lnTo>
                      <a:pt x="155" y="24"/>
                    </a:lnTo>
                    <a:lnTo>
                      <a:pt x="160" y="30"/>
                    </a:lnTo>
                    <a:lnTo>
                      <a:pt x="163" y="37"/>
                    </a:lnTo>
                    <a:lnTo>
                      <a:pt x="166" y="43"/>
                    </a:lnTo>
                    <a:lnTo>
                      <a:pt x="168" y="50"/>
                    </a:lnTo>
                    <a:lnTo>
                      <a:pt x="169" y="57"/>
                    </a:lnTo>
                    <a:lnTo>
                      <a:pt x="172" y="72"/>
                    </a:lnTo>
                    <a:lnTo>
                      <a:pt x="173" y="87"/>
                    </a:lnTo>
                    <a:lnTo>
                      <a:pt x="157" y="114"/>
                    </a:lnTo>
                    <a:lnTo>
                      <a:pt x="146" y="137"/>
                    </a:lnTo>
                    <a:lnTo>
                      <a:pt x="139" y="148"/>
                    </a:lnTo>
                    <a:lnTo>
                      <a:pt x="130" y="160"/>
                    </a:lnTo>
                    <a:lnTo>
                      <a:pt x="117" y="174"/>
                    </a:lnTo>
                    <a:lnTo>
                      <a:pt x="99" y="192"/>
                    </a:lnTo>
                    <a:lnTo>
                      <a:pt x="86" y="183"/>
                    </a:lnTo>
                    <a:lnTo>
                      <a:pt x="74" y="176"/>
                    </a:lnTo>
                    <a:lnTo>
                      <a:pt x="63" y="169"/>
                    </a:lnTo>
                    <a:lnTo>
                      <a:pt x="54" y="163"/>
                    </a:lnTo>
                    <a:lnTo>
                      <a:pt x="46" y="156"/>
                    </a:lnTo>
                    <a:lnTo>
                      <a:pt x="40" y="150"/>
                    </a:lnTo>
                    <a:lnTo>
                      <a:pt x="34" y="144"/>
                    </a:lnTo>
                    <a:lnTo>
                      <a:pt x="30" y="137"/>
                    </a:lnTo>
                    <a:lnTo>
                      <a:pt x="22" y="123"/>
                    </a:lnTo>
                    <a:lnTo>
                      <a:pt x="16" y="107"/>
                    </a:lnTo>
                    <a:lnTo>
                      <a:pt x="9" y="90"/>
                    </a:lnTo>
                    <a:lnTo>
                      <a:pt x="0" y="68"/>
                    </a:lnTo>
                  </a:path>
                </a:pathLst>
              </a:custGeom>
              <a:grpFill/>
              <a:ln w="9525" cmpd="sng">
                <a:solidFill>
                  <a:srgbClr val="FFFFFF"/>
                </a:solidFill>
                <a:prstDash val="solid"/>
                <a:round/>
                <a:headEnd/>
                <a:tailEnd/>
              </a:ln>
            </p:spPr>
            <p:txBody>
              <a:bodyPr/>
              <a:lstStyle/>
              <a:p>
                <a:endParaRPr lang="en-GB" sz="1637"/>
              </a:p>
            </p:txBody>
          </p:sp>
          <p:sp>
            <p:nvSpPr>
              <p:cNvPr id="110" name="Freeform 265"/>
              <p:cNvSpPr>
                <a:spLocks/>
              </p:cNvSpPr>
              <p:nvPr>
                <p:custDataLst>
                  <p:tags r:id="rId93"/>
                </p:custDataLst>
              </p:nvPr>
            </p:nvSpPr>
            <p:spPr bwMode="auto">
              <a:xfrm>
                <a:off x="3591995" y="3682834"/>
                <a:ext cx="114377" cy="148651"/>
              </a:xfrm>
              <a:custGeom>
                <a:avLst/>
                <a:gdLst>
                  <a:gd name="T0" fmla="*/ 33276 w 233"/>
                  <a:gd name="T1" fmla="*/ 0 h 252"/>
                  <a:gd name="T2" fmla="*/ 37323 w 233"/>
                  <a:gd name="T3" fmla="*/ 1046 h 252"/>
                  <a:gd name="T4" fmla="*/ 40021 w 233"/>
                  <a:gd name="T5" fmla="*/ 1569 h 252"/>
                  <a:gd name="T6" fmla="*/ 42719 w 233"/>
                  <a:gd name="T7" fmla="*/ 1569 h 252"/>
                  <a:gd name="T8" fmla="*/ 44518 w 233"/>
                  <a:gd name="T9" fmla="*/ 1046 h 252"/>
                  <a:gd name="T10" fmla="*/ 47666 w 233"/>
                  <a:gd name="T11" fmla="*/ 523 h 252"/>
                  <a:gd name="T12" fmla="*/ 50814 w 233"/>
                  <a:gd name="T13" fmla="*/ 0 h 252"/>
                  <a:gd name="T14" fmla="*/ 56210 w 233"/>
                  <a:gd name="T15" fmla="*/ 8889 h 252"/>
                  <a:gd name="T16" fmla="*/ 62955 w 233"/>
                  <a:gd name="T17" fmla="*/ 19346 h 252"/>
                  <a:gd name="T18" fmla="*/ 64754 w 233"/>
                  <a:gd name="T19" fmla="*/ 21961 h 252"/>
                  <a:gd name="T20" fmla="*/ 66552 w 233"/>
                  <a:gd name="T21" fmla="*/ 24052 h 252"/>
                  <a:gd name="T22" fmla="*/ 68801 w 233"/>
                  <a:gd name="T23" fmla="*/ 25621 h 252"/>
                  <a:gd name="T24" fmla="*/ 70599 w 233"/>
                  <a:gd name="T25" fmla="*/ 27189 h 252"/>
                  <a:gd name="T26" fmla="*/ 73298 w 233"/>
                  <a:gd name="T27" fmla="*/ 28235 h 252"/>
                  <a:gd name="T28" fmla="*/ 75546 w 233"/>
                  <a:gd name="T29" fmla="*/ 29281 h 252"/>
                  <a:gd name="T30" fmla="*/ 78244 w 233"/>
                  <a:gd name="T31" fmla="*/ 29281 h 252"/>
                  <a:gd name="T32" fmla="*/ 80942 w 233"/>
                  <a:gd name="T33" fmla="*/ 29281 h 252"/>
                  <a:gd name="T34" fmla="*/ 80942 w 233"/>
                  <a:gd name="T35" fmla="*/ 41830 h 252"/>
                  <a:gd name="T36" fmla="*/ 86788 w 233"/>
                  <a:gd name="T37" fmla="*/ 53856 h 252"/>
                  <a:gd name="T38" fmla="*/ 95332 w 233"/>
                  <a:gd name="T39" fmla="*/ 66927 h 252"/>
                  <a:gd name="T40" fmla="*/ 96681 w 233"/>
                  <a:gd name="T41" fmla="*/ 70587 h 252"/>
                  <a:gd name="T42" fmla="*/ 98929 w 233"/>
                  <a:gd name="T43" fmla="*/ 74247 h 252"/>
                  <a:gd name="T44" fmla="*/ 100278 w 233"/>
                  <a:gd name="T45" fmla="*/ 78953 h 252"/>
                  <a:gd name="T46" fmla="*/ 101627 w 233"/>
                  <a:gd name="T47" fmla="*/ 83659 h 252"/>
                  <a:gd name="T48" fmla="*/ 103426 w 233"/>
                  <a:gd name="T49" fmla="*/ 88888 h 252"/>
                  <a:gd name="T50" fmla="*/ 104325 w 233"/>
                  <a:gd name="T51" fmla="*/ 94116 h 252"/>
                  <a:gd name="T52" fmla="*/ 104775 w 233"/>
                  <a:gd name="T53" fmla="*/ 99868 h 252"/>
                  <a:gd name="T54" fmla="*/ 104775 w 233"/>
                  <a:gd name="T55" fmla="*/ 106665 h 252"/>
                  <a:gd name="T56" fmla="*/ 104325 w 233"/>
                  <a:gd name="T57" fmla="*/ 112940 h 252"/>
                  <a:gd name="T58" fmla="*/ 103426 w 233"/>
                  <a:gd name="T59" fmla="*/ 119214 h 252"/>
                  <a:gd name="T60" fmla="*/ 102077 w 233"/>
                  <a:gd name="T61" fmla="*/ 125489 h 252"/>
                  <a:gd name="T62" fmla="*/ 101627 w 233"/>
                  <a:gd name="T63" fmla="*/ 131763 h 252"/>
                  <a:gd name="T64" fmla="*/ 99829 w 233"/>
                  <a:gd name="T65" fmla="*/ 131763 h 252"/>
                  <a:gd name="T66" fmla="*/ 96681 w 233"/>
                  <a:gd name="T67" fmla="*/ 130717 h 252"/>
                  <a:gd name="T68" fmla="*/ 93533 w 233"/>
                  <a:gd name="T69" fmla="*/ 128626 h 252"/>
                  <a:gd name="T70" fmla="*/ 89036 w 233"/>
                  <a:gd name="T71" fmla="*/ 126011 h 252"/>
                  <a:gd name="T72" fmla="*/ 79143 w 233"/>
                  <a:gd name="T73" fmla="*/ 118168 h 252"/>
                  <a:gd name="T74" fmla="*/ 67901 w 233"/>
                  <a:gd name="T75" fmla="*/ 108757 h 252"/>
                  <a:gd name="T76" fmla="*/ 56210 w 233"/>
                  <a:gd name="T77" fmla="*/ 97254 h 252"/>
                  <a:gd name="T78" fmla="*/ 44968 w 233"/>
                  <a:gd name="T79" fmla="*/ 86273 h 252"/>
                  <a:gd name="T80" fmla="*/ 35075 w 233"/>
                  <a:gd name="T81" fmla="*/ 75816 h 252"/>
                  <a:gd name="T82" fmla="*/ 27430 w 233"/>
                  <a:gd name="T83" fmla="*/ 67450 h 252"/>
                  <a:gd name="T84" fmla="*/ 24732 w 233"/>
                  <a:gd name="T85" fmla="*/ 65359 h 252"/>
                  <a:gd name="T86" fmla="*/ 21585 w 233"/>
                  <a:gd name="T87" fmla="*/ 62744 h 252"/>
                  <a:gd name="T88" fmla="*/ 18437 w 233"/>
                  <a:gd name="T89" fmla="*/ 60653 h 252"/>
                  <a:gd name="T90" fmla="*/ 14839 w 233"/>
                  <a:gd name="T91" fmla="*/ 58561 h 252"/>
                  <a:gd name="T92" fmla="*/ 7645 w 233"/>
                  <a:gd name="T93" fmla="*/ 54378 h 252"/>
                  <a:gd name="T94" fmla="*/ 0 w 233"/>
                  <a:gd name="T95" fmla="*/ 51764 h 252"/>
                  <a:gd name="T96" fmla="*/ 17987 w 233"/>
                  <a:gd name="T97" fmla="*/ 32941 h 252"/>
                  <a:gd name="T98" fmla="*/ 26531 w 233"/>
                  <a:gd name="T99" fmla="*/ 22483 h 252"/>
                  <a:gd name="T100" fmla="*/ 29229 w 233"/>
                  <a:gd name="T101" fmla="*/ 17255 h 252"/>
                  <a:gd name="T102" fmla="*/ 31028 w 233"/>
                  <a:gd name="T103" fmla="*/ 13072 h 252"/>
                  <a:gd name="T104" fmla="*/ 32377 w 233"/>
                  <a:gd name="T105" fmla="*/ 7320 h 252"/>
                  <a:gd name="T106" fmla="*/ 33276 w 233"/>
                  <a:gd name="T107" fmla="*/ 0 h 25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33" h="252">
                    <a:moveTo>
                      <a:pt x="74" y="0"/>
                    </a:moveTo>
                    <a:lnTo>
                      <a:pt x="83" y="2"/>
                    </a:lnTo>
                    <a:lnTo>
                      <a:pt x="89" y="3"/>
                    </a:lnTo>
                    <a:lnTo>
                      <a:pt x="95" y="3"/>
                    </a:lnTo>
                    <a:lnTo>
                      <a:pt x="99" y="2"/>
                    </a:lnTo>
                    <a:lnTo>
                      <a:pt x="106" y="1"/>
                    </a:lnTo>
                    <a:lnTo>
                      <a:pt x="113" y="0"/>
                    </a:lnTo>
                    <a:lnTo>
                      <a:pt x="125" y="17"/>
                    </a:lnTo>
                    <a:lnTo>
                      <a:pt x="140" y="37"/>
                    </a:lnTo>
                    <a:lnTo>
                      <a:pt x="144" y="42"/>
                    </a:lnTo>
                    <a:lnTo>
                      <a:pt x="148" y="46"/>
                    </a:lnTo>
                    <a:lnTo>
                      <a:pt x="153" y="49"/>
                    </a:lnTo>
                    <a:lnTo>
                      <a:pt x="157" y="52"/>
                    </a:lnTo>
                    <a:lnTo>
                      <a:pt x="163" y="54"/>
                    </a:lnTo>
                    <a:lnTo>
                      <a:pt x="168" y="56"/>
                    </a:lnTo>
                    <a:lnTo>
                      <a:pt x="174" y="56"/>
                    </a:lnTo>
                    <a:lnTo>
                      <a:pt x="180" y="56"/>
                    </a:lnTo>
                    <a:lnTo>
                      <a:pt x="180" y="80"/>
                    </a:lnTo>
                    <a:lnTo>
                      <a:pt x="193" y="103"/>
                    </a:lnTo>
                    <a:lnTo>
                      <a:pt x="212" y="128"/>
                    </a:lnTo>
                    <a:lnTo>
                      <a:pt x="215" y="135"/>
                    </a:lnTo>
                    <a:lnTo>
                      <a:pt x="220" y="142"/>
                    </a:lnTo>
                    <a:lnTo>
                      <a:pt x="223" y="151"/>
                    </a:lnTo>
                    <a:lnTo>
                      <a:pt x="226" y="160"/>
                    </a:lnTo>
                    <a:lnTo>
                      <a:pt x="230" y="170"/>
                    </a:lnTo>
                    <a:lnTo>
                      <a:pt x="232" y="180"/>
                    </a:lnTo>
                    <a:lnTo>
                      <a:pt x="233" y="191"/>
                    </a:lnTo>
                    <a:lnTo>
                      <a:pt x="233" y="204"/>
                    </a:lnTo>
                    <a:lnTo>
                      <a:pt x="232" y="216"/>
                    </a:lnTo>
                    <a:lnTo>
                      <a:pt x="230" y="228"/>
                    </a:lnTo>
                    <a:lnTo>
                      <a:pt x="227" y="240"/>
                    </a:lnTo>
                    <a:lnTo>
                      <a:pt x="226" y="252"/>
                    </a:lnTo>
                    <a:lnTo>
                      <a:pt x="222" y="252"/>
                    </a:lnTo>
                    <a:lnTo>
                      <a:pt x="215" y="250"/>
                    </a:lnTo>
                    <a:lnTo>
                      <a:pt x="208" y="246"/>
                    </a:lnTo>
                    <a:lnTo>
                      <a:pt x="198" y="241"/>
                    </a:lnTo>
                    <a:lnTo>
                      <a:pt x="176" y="226"/>
                    </a:lnTo>
                    <a:lnTo>
                      <a:pt x="151" y="208"/>
                    </a:lnTo>
                    <a:lnTo>
                      <a:pt x="125" y="186"/>
                    </a:lnTo>
                    <a:lnTo>
                      <a:pt x="100" y="165"/>
                    </a:lnTo>
                    <a:lnTo>
                      <a:pt x="78" y="145"/>
                    </a:lnTo>
                    <a:lnTo>
                      <a:pt x="61" y="129"/>
                    </a:lnTo>
                    <a:lnTo>
                      <a:pt x="55" y="125"/>
                    </a:lnTo>
                    <a:lnTo>
                      <a:pt x="48" y="120"/>
                    </a:lnTo>
                    <a:lnTo>
                      <a:pt x="41" y="116"/>
                    </a:lnTo>
                    <a:lnTo>
                      <a:pt x="33" y="112"/>
                    </a:lnTo>
                    <a:lnTo>
                      <a:pt x="17" y="104"/>
                    </a:lnTo>
                    <a:lnTo>
                      <a:pt x="0" y="99"/>
                    </a:lnTo>
                    <a:lnTo>
                      <a:pt x="40" y="63"/>
                    </a:lnTo>
                    <a:lnTo>
                      <a:pt x="59" y="43"/>
                    </a:lnTo>
                    <a:lnTo>
                      <a:pt x="65" y="33"/>
                    </a:lnTo>
                    <a:lnTo>
                      <a:pt x="69" y="25"/>
                    </a:lnTo>
                    <a:lnTo>
                      <a:pt x="72" y="14"/>
                    </a:lnTo>
                    <a:lnTo>
                      <a:pt x="74" y="0"/>
                    </a:lnTo>
                  </a:path>
                </a:pathLst>
              </a:custGeom>
              <a:grpFill/>
              <a:ln w="9525" cmpd="sng">
                <a:solidFill>
                  <a:srgbClr val="FFFFFF"/>
                </a:solidFill>
                <a:prstDash val="solid"/>
                <a:round/>
                <a:headEnd/>
                <a:tailEnd/>
              </a:ln>
            </p:spPr>
            <p:txBody>
              <a:bodyPr/>
              <a:lstStyle/>
              <a:p>
                <a:endParaRPr lang="en-GB" sz="1637"/>
              </a:p>
            </p:txBody>
          </p:sp>
          <p:sp>
            <p:nvSpPr>
              <p:cNvPr id="111" name="Freeform 266"/>
              <p:cNvSpPr>
                <a:spLocks/>
              </p:cNvSpPr>
              <p:nvPr>
                <p:custDataLst>
                  <p:tags r:id="rId94"/>
                </p:custDataLst>
              </p:nvPr>
            </p:nvSpPr>
            <p:spPr bwMode="auto">
              <a:xfrm>
                <a:off x="3825948" y="3591496"/>
                <a:ext cx="114377" cy="227452"/>
              </a:xfrm>
              <a:custGeom>
                <a:avLst/>
                <a:gdLst>
                  <a:gd name="T0" fmla="*/ 5537 w 246"/>
                  <a:gd name="T1" fmla="*/ 199490 h 380"/>
                  <a:gd name="T2" fmla="*/ 5963 w 246"/>
                  <a:gd name="T3" fmla="*/ 194715 h 380"/>
                  <a:gd name="T4" fmla="*/ 6389 w 246"/>
                  <a:gd name="T5" fmla="*/ 190470 h 380"/>
                  <a:gd name="T6" fmla="*/ 7666 w 246"/>
                  <a:gd name="T7" fmla="*/ 186226 h 380"/>
                  <a:gd name="T8" fmla="*/ 8518 w 246"/>
                  <a:gd name="T9" fmla="*/ 182512 h 380"/>
                  <a:gd name="T10" fmla="*/ 10648 w 246"/>
                  <a:gd name="T11" fmla="*/ 176676 h 380"/>
                  <a:gd name="T12" fmla="*/ 11074 w 246"/>
                  <a:gd name="T13" fmla="*/ 173492 h 380"/>
                  <a:gd name="T14" fmla="*/ 10648 w 246"/>
                  <a:gd name="T15" fmla="*/ 170309 h 380"/>
                  <a:gd name="T16" fmla="*/ 9796 w 246"/>
                  <a:gd name="T17" fmla="*/ 166595 h 380"/>
                  <a:gd name="T18" fmla="*/ 8092 w 246"/>
                  <a:gd name="T19" fmla="*/ 161820 h 380"/>
                  <a:gd name="T20" fmla="*/ 5537 w 246"/>
                  <a:gd name="T21" fmla="*/ 156515 h 380"/>
                  <a:gd name="T22" fmla="*/ 3833 w 246"/>
                  <a:gd name="T23" fmla="*/ 151209 h 380"/>
                  <a:gd name="T24" fmla="*/ 1704 w 246"/>
                  <a:gd name="T25" fmla="*/ 145903 h 380"/>
                  <a:gd name="T26" fmla="*/ 426 w 246"/>
                  <a:gd name="T27" fmla="*/ 141659 h 380"/>
                  <a:gd name="T28" fmla="*/ 0 w 246"/>
                  <a:gd name="T29" fmla="*/ 137414 h 380"/>
                  <a:gd name="T30" fmla="*/ 426 w 246"/>
                  <a:gd name="T31" fmla="*/ 133170 h 380"/>
                  <a:gd name="T32" fmla="*/ 852 w 246"/>
                  <a:gd name="T33" fmla="*/ 128926 h 380"/>
                  <a:gd name="T34" fmla="*/ 1278 w 246"/>
                  <a:gd name="T35" fmla="*/ 125212 h 380"/>
                  <a:gd name="T36" fmla="*/ 2555 w 246"/>
                  <a:gd name="T37" fmla="*/ 122028 h 380"/>
                  <a:gd name="T38" fmla="*/ 4685 w 246"/>
                  <a:gd name="T39" fmla="*/ 115662 h 380"/>
                  <a:gd name="T40" fmla="*/ 8092 w 246"/>
                  <a:gd name="T41" fmla="*/ 109825 h 380"/>
                  <a:gd name="T42" fmla="*/ 11074 w 246"/>
                  <a:gd name="T43" fmla="*/ 104520 h 380"/>
                  <a:gd name="T44" fmla="*/ 14481 w 246"/>
                  <a:gd name="T45" fmla="*/ 98153 h 380"/>
                  <a:gd name="T46" fmla="*/ 17463 w 246"/>
                  <a:gd name="T47" fmla="*/ 91787 h 380"/>
                  <a:gd name="T48" fmla="*/ 20018 w 246"/>
                  <a:gd name="T49" fmla="*/ 84889 h 380"/>
                  <a:gd name="T50" fmla="*/ 11074 w 246"/>
                  <a:gd name="T51" fmla="*/ 38731 h 380"/>
                  <a:gd name="T52" fmla="*/ 11074 w 246"/>
                  <a:gd name="T53" fmla="*/ 26528 h 380"/>
                  <a:gd name="T54" fmla="*/ 10222 w 246"/>
                  <a:gd name="T55" fmla="*/ 17508 h 380"/>
                  <a:gd name="T56" fmla="*/ 10222 w 246"/>
                  <a:gd name="T57" fmla="*/ 13264 h 380"/>
                  <a:gd name="T58" fmla="*/ 10222 w 246"/>
                  <a:gd name="T59" fmla="*/ 8489 h 380"/>
                  <a:gd name="T60" fmla="*/ 10648 w 246"/>
                  <a:gd name="T61" fmla="*/ 4244 h 380"/>
                  <a:gd name="T62" fmla="*/ 11074 w 246"/>
                  <a:gd name="T63" fmla="*/ 0 h 380"/>
                  <a:gd name="T64" fmla="*/ 76665 w 246"/>
                  <a:gd name="T65" fmla="*/ 0 h 380"/>
                  <a:gd name="T66" fmla="*/ 93701 w 246"/>
                  <a:gd name="T67" fmla="*/ 68442 h 380"/>
                  <a:gd name="T68" fmla="*/ 93701 w 246"/>
                  <a:gd name="T69" fmla="*/ 111417 h 380"/>
                  <a:gd name="T70" fmla="*/ 93701 w 246"/>
                  <a:gd name="T71" fmla="*/ 116723 h 380"/>
                  <a:gd name="T72" fmla="*/ 94127 w 246"/>
                  <a:gd name="T73" fmla="*/ 122028 h 380"/>
                  <a:gd name="T74" fmla="*/ 94979 w 246"/>
                  <a:gd name="T75" fmla="*/ 127334 h 380"/>
                  <a:gd name="T76" fmla="*/ 95831 w 246"/>
                  <a:gd name="T77" fmla="*/ 132639 h 380"/>
                  <a:gd name="T78" fmla="*/ 97109 w 246"/>
                  <a:gd name="T79" fmla="*/ 137414 h 380"/>
                  <a:gd name="T80" fmla="*/ 99664 w 246"/>
                  <a:gd name="T81" fmla="*/ 142190 h 380"/>
                  <a:gd name="T82" fmla="*/ 101794 w 246"/>
                  <a:gd name="T83" fmla="*/ 147495 h 380"/>
                  <a:gd name="T84" fmla="*/ 104775 w 246"/>
                  <a:gd name="T85" fmla="*/ 153331 h 380"/>
                  <a:gd name="T86" fmla="*/ 95405 w 246"/>
                  <a:gd name="T87" fmla="*/ 156515 h 380"/>
                  <a:gd name="T88" fmla="*/ 86035 w 246"/>
                  <a:gd name="T89" fmla="*/ 160228 h 380"/>
                  <a:gd name="T90" fmla="*/ 77091 w 246"/>
                  <a:gd name="T91" fmla="*/ 164473 h 380"/>
                  <a:gd name="T92" fmla="*/ 68146 w 246"/>
                  <a:gd name="T93" fmla="*/ 169248 h 380"/>
                  <a:gd name="T94" fmla="*/ 60054 w 246"/>
                  <a:gd name="T95" fmla="*/ 174023 h 380"/>
                  <a:gd name="T96" fmla="*/ 51110 w 246"/>
                  <a:gd name="T97" fmla="*/ 179329 h 380"/>
                  <a:gd name="T98" fmla="*/ 42591 w 246"/>
                  <a:gd name="T99" fmla="*/ 184104 h 380"/>
                  <a:gd name="T100" fmla="*/ 34073 w 246"/>
                  <a:gd name="T101" fmla="*/ 189940 h 380"/>
                  <a:gd name="T102" fmla="*/ 31944 w 246"/>
                  <a:gd name="T103" fmla="*/ 192593 h 380"/>
                  <a:gd name="T104" fmla="*/ 29388 w 246"/>
                  <a:gd name="T105" fmla="*/ 194715 h 380"/>
                  <a:gd name="T106" fmla="*/ 26407 w 246"/>
                  <a:gd name="T107" fmla="*/ 197368 h 380"/>
                  <a:gd name="T108" fmla="*/ 22999 w 246"/>
                  <a:gd name="T109" fmla="*/ 199490 h 380"/>
                  <a:gd name="T110" fmla="*/ 19592 w 246"/>
                  <a:gd name="T111" fmla="*/ 201081 h 380"/>
                  <a:gd name="T112" fmla="*/ 15333 w 246"/>
                  <a:gd name="T113" fmla="*/ 201612 h 380"/>
                  <a:gd name="T114" fmla="*/ 13203 w 246"/>
                  <a:gd name="T115" fmla="*/ 201612 h 380"/>
                  <a:gd name="T116" fmla="*/ 10648 w 246"/>
                  <a:gd name="T117" fmla="*/ 201081 h 380"/>
                  <a:gd name="T118" fmla="*/ 8518 w 246"/>
                  <a:gd name="T119" fmla="*/ 200551 h 380"/>
                  <a:gd name="T120" fmla="*/ 5537 w 246"/>
                  <a:gd name="T121" fmla="*/ 199490 h 38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246" h="380">
                    <a:moveTo>
                      <a:pt x="13" y="376"/>
                    </a:moveTo>
                    <a:lnTo>
                      <a:pt x="14" y="367"/>
                    </a:lnTo>
                    <a:lnTo>
                      <a:pt x="15" y="359"/>
                    </a:lnTo>
                    <a:lnTo>
                      <a:pt x="18" y="351"/>
                    </a:lnTo>
                    <a:lnTo>
                      <a:pt x="20" y="344"/>
                    </a:lnTo>
                    <a:lnTo>
                      <a:pt x="25" y="333"/>
                    </a:lnTo>
                    <a:lnTo>
                      <a:pt x="26" y="327"/>
                    </a:lnTo>
                    <a:lnTo>
                      <a:pt x="25" y="321"/>
                    </a:lnTo>
                    <a:lnTo>
                      <a:pt x="23" y="314"/>
                    </a:lnTo>
                    <a:lnTo>
                      <a:pt x="19" y="305"/>
                    </a:lnTo>
                    <a:lnTo>
                      <a:pt x="13" y="295"/>
                    </a:lnTo>
                    <a:lnTo>
                      <a:pt x="9" y="285"/>
                    </a:lnTo>
                    <a:lnTo>
                      <a:pt x="4" y="275"/>
                    </a:lnTo>
                    <a:lnTo>
                      <a:pt x="1" y="267"/>
                    </a:lnTo>
                    <a:lnTo>
                      <a:pt x="0" y="259"/>
                    </a:lnTo>
                    <a:lnTo>
                      <a:pt x="1" y="251"/>
                    </a:lnTo>
                    <a:lnTo>
                      <a:pt x="2" y="243"/>
                    </a:lnTo>
                    <a:lnTo>
                      <a:pt x="3" y="236"/>
                    </a:lnTo>
                    <a:lnTo>
                      <a:pt x="6" y="230"/>
                    </a:lnTo>
                    <a:lnTo>
                      <a:pt x="11" y="218"/>
                    </a:lnTo>
                    <a:lnTo>
                      <a:pt x="19" y="207"/>
                    </a:lnTo>
                    <a:lnTo>
                      <a:pt x="26" y="197"/>
                    </a:lnTo>
                    <a:lnTo>
                      <a:pt x="34" y="185"/>
                    </a:lnTo>
                    <a:lnTo>
                      <a:pt x="41" y="173"/>
                    </a:lnTo>
                    <a:lnTo>
                      <a:pt x="47" y="160"/>
                    </a:lnTo>
                    <a:lnTo>
                      <a:pt x="26" y="73"/>
                    </a:lnTo>
                    <a:lnTo>
                      <a:pt x="26" y="50"/>
                    </a:lnTo>
                    <a:lnTo>
                      <a:pt x="24" y="33"/>
                    </a:lnTo>
                    <a:lnTo>
                      <a:pt x="24" y="25"/>
                    </a:lnTo>
                    <a:lnTo>
                      <a:pt x="24" y="16"/>
                    </a:lnTo>
                    <a:lnTo>
                      <a:pt x="25" y="8"/>
                    </a:lnTo>
                    <a:lnTo>
                      <a:pt x="26" y="0"/>
                    </a:lnTo>
                    <a:lnTo>
                      <a:pt x="180" y="0"/>
                    </a:lnTo>
                    <a:lnTo>
                      <a:pt x="220" y="129"/>
                    </a:lnTo>
                    <a:lnTo>
                      <a:pt x="220" y="210"/>
                    </a:lnTo>
                    <a:lnTo>
                      <a:pt x="220" y="220"/>
                    </a:lnTo>
                    <a:lnTo>
                      <a:pt x="221" y="230"/>
                    </a:lnTo>
                    <a:lnTo>
                      <a:pt x="223" y="240"/>
                    </a:lnTo>
                    <a:lnTo>
                      <a:pt x="225" y="250"/>
                    </a:lnTo>
                    <a:lnTo>
                      <a:pt x="228" y="259"/>
                    </a:lnTo>
                    <a:lnTo>
                      <a:pt x="234" y="268"/>
                    </a:lnTo>
                    <a:lnTo>
                      <a:pt x="239" y="278"/>
                    </a:lnTo>
                    <a:lnTo>
                      <a:pt x="246" y="289"/>
                    </a:lnTo>
                    <a:lnTo>
                      <a:pt x="224" y="295"/>
                    </a:lnTo>
                    <a:lnTo>
                      <a:pt x="202" y="302"/>
                    </a:lnTo>
                    <a:lnTo>
                      <a:pt x="181" y="310"/>
                    </a:lnTo>
                    <a:lnTo>
                      <a:pt x="160" y="319"/>
                    </a:lnTo>
                    <a:lnTo>
                      <a:pt x="141" y="328"/>
                    </a:lnTo>
                    <a:lnTo>
                      <a:pt x="120" y="338"/>
                    </a:lnTo>
                    <a:lnTo>
                      <a:pt x="100" y="347"/>
                    </a:lnTo>
                    <a:lnTo>
                      <a:pt x="80" y="358"/>
                    </a:lnTo>
                    <a:lnTo>
                      <a:pt x="75" y="363"/>
                    </a:lnTo>
                    <a:lnTo>
                      <a:pt x="69" y="367"/>
                    </a:lnTo>
                    <a:lnTo>
                      <a:pt x="62" y="372"/>
                    </a:lnTo>
                    <a:lnTo>
                      <a:pt x="54" y="376"/>
                    </a:lnTo>
                    <a:lnTo>
                      <a:pt x="46" y="379"/>
                    </a:lnTo>
                    <a:lnTo>
                      <a:pt x="36" y="380"/>
                    </a:lnTo>
                    <a:lnTo>
                      <a:pt x="31" y="380"/>
                    </a:lnTo>
                    <a:lnTo>
                      <a:pt x="25" y="379"/>
                    </a:lnTo>
                    <a:lnTo>
                      <a:pt x="20" y="378"/>
                    </a:lnTo>
                    <a:lnTo>
                      <a:pt x="13" y="376"/>
                    </a:lnTo>
                  </a:path>
                </a:pathLst>
              </a:custGeom>
              <a:grpFill/>
              <a:ln w="9525" cmpd="sng">
                <a:solidFill>
                  <a:srgbClr val="FFFFFF"/>
                </a:solidFill>
                <a:prstDash val="solid"/>
                <a:round/>
                <a:headEnd/>
                <a:tailEnd/>
              </a:ln>
            </p:spPr>
            <p:txBody>
              <a:bodyPr/>
              <a:lstStyle/>
              <a:p>
                <a:endParaRPr lang="en-GB" sz="1637"/>
              </a:p>
            </p:txBody>
          </p:sp>
          <p:sp>
            <p:nvSpPr>
              <p:cNvPr id="112" name="Freeform 267"/>
              <p:cNvSpPr>
                <a:spLocks/>
              </p:cNvSpPr>
              <p:nvPr>
                <p:custDataLst>
                  <p:tags r:id="rId95"/>
                </p:custDataLst>
              </p:nvPr>
            </p:nvSpPr>
            <p:spPr bwMode="auto">
              <a:xfrm>
                <a:off x="3446425" y="3496574"/>
                <a:ext cx="95314" cy="66266"/>
              </a:xfrm>
              <a:custGeom>
                <a:avLst/>
                <a:gdLst>
                  <a:gd name="T0" fmla="*/ 3167 w 193"/>
                  <a:gd name="T1" fmla="*/ 30915 h 38"/>
                  <a:gd name="T2" fmla="*/ 17191 w 193"/>
                  <a:gd name="T3" fmla="*/ 17003 h 38"/>
                  <a:gd name="T4" fmla="*/ 30311 w 193"/>
                  <a:gd name="T5" fmla="*/ 7729 h 38"/>
                  <a:gd name="T6" fmla="*/ 36192 w 193"/>
                  <a:gd name="T7" fmla="*/ 4637 h 38"/>
                  <a:gd name="T8" fmla="*/ 42526 w 193"/>
                  <a:gd name="T9" fmla="*/ 3091 h 38"/>
                  <a:gd name="T10" fmla="*/ 49764 w 193"/>
                  <a:gd name="T11" fmla="*/ 1546 h 38"/>
                  <a:gd name="T12" fmla="*/ 57002 w 193"/>
                  <a:gd name="T13" fmla="*/ 0 h 38"/>
                  <a:gd name="T14" fmla="*/ 62431 w 193"/>
                  <a:gd name="T15" fmla="*/ 1546 h 38"/>
                  <a:gd name="T16" fmla="*/ 67407 w 193"/>
                  <a:gd name="T17" fmla="*/ 1546 h 38"/>
                  <a:gd name="T18" fmla="*/ 72384 w 193"/>
                  <a:gd name="T19" fmla="*/ 3091 h 38"/>
                  <a:gd name="T20" fmla="*/ 76455 w 193"/>
                  <a:gd name="T21" fmla="*/ 6183 h 38"/>
                  <a:gd name="T22" fmla="*/ 80527 w 193"/>
                  <a:gd name="T23" fmla="*/ 9274 h 38"/>
                  <a:gd name="T24" fmla="*/ 83241 w 193"/>
                  <a:gd name="T25" fmla="*/ 17003 h 38"/>
                  <a:gd name="T26" fmla="*/ 84599 w 193"/>
                  <a:gd name="T27" fmla="*/ 20095 h 38"/>
                  <a:gd name="T28" fmla="*/ 85503 w 193"/>
                  <a:gd name="T29" fmla="*/ 27823 h 38"/>
                  <a:gd name="T30" fmla="*/ 86408 w 193"/>
                  <a:gd name="T31" fmla="*/ 32460 h 38"/>
                  <a:gd name="T32" fmla="*/ 87313 w 193"/>
                  <a:gd name="T33" fmla="*/ 40189 h 38"/>
                  <a:gd name="T34" fmla="*/ 82789 w 193"/>
                  <a:gd name="T35" fmla="*/ 41735 h 38"/>
                  <a:gd name="T36" fmla="*/ 78265 w 193"/>
                  <a:gd name="T37" fmla="*/ 43281 h 38"/>
                  <a:gd name="T38" fmla="*/ 74646 w 193"/>
                  <a:gd name="T39" fmla="*/ 43281 h 38"/>
                  <a:gd name="T40" fmla="*/ 70574 w 193"/>
                  <a:gd name="T41" fmla="*/ 43281 h 38"/>
                  <a:gd name="T42" fmla="*/ 62431 w 193"/>
                  <a:gd name="T43" fmla="*/ 41735 h 38"/>
                  <a:gd name="T44" fmla="*/ 54288 w 193"/>
                  <a:gd name="T45" fmla="*/ 40189 h 38"/>
                  <a:gd name="T46" fmla="*/ 46597 w 193"/>
                  <a:gd name="T47" fmla="*/ 40189 h 38"/>
                  <a:gd name="T48" fmla="*/ 40264 w 193"/>
                  <a:gd name="T49" fmla="*/ 43281 h 38"/>
                  <a:gd name="T50" fmla="*/ 34382 w 193"/>
                  <a:gd name="T51" fmla="*/ 46372 h 38"/>
                  <a:gd name="T52" fmla="*/ 28501 w 193"/>
                  <a:gd name="T53" fmla="*/ 49464 h 38"/>
                  <a:gd name="T54" fmla="*/ 22168 w 193"/>
                  <a:gd name="T55" fmla="*/ 52555 h 38"/>
                  <a:gd name="T56" fmla="*/ 15834 w 193"/>
                  <a:gd name="T57" fmla="*/ 55647 h 38"/>
                  <a:gd name="T58" fmla="*/ 8596 w 193"/>
                  <a:gd name="T59" fmla="*/ 57192 h 38"/>
                  <a:gd name="T60" fmla="*/ 0 w 193"/>
                  <a:gd name="T61" fmla="*/ 58738 h 38"/>
                  <a:gd name="T62" fmla="*/ 0 w 193"/>
                  <a:gd name="T63" fmla="*/ 51009 h 38"/>
                  <a:gd name="T64" fmla="*/ 452 w 193"/>
                  <a:gd name="T65" fmla="*/ 44826 h 38"/>
                  <a:gd name="T66" fmla="*/ 1357 w 193"/>
                  <a:gd name="T67" fmla="*/ 37098 h 38"/>
                  <a:gd name="T68" fmla="*/ 3167 w 193"/>
                  <a:gd name="T69" fmla="*/ 30915 h 3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93" h="38">
                    <a:moveTo>
                      <a:pt x="7" y="20"/>
                    </a:moveTo>
                    <a:lnTo>
                      <a:pt x="38" y="11"/>
                    </a:lnTo>
                    <a:lnTo>
                      <a:pt x="67" y="5"/>
                    </a:lnTo>
                    <a:lnTo>
                      <a:pt x="80" y="3"/>
                    </a:lnTo>
                    <a:lnTo>
                      <a:pt x="94" y="2"/>
                    </a:lnTo>
                    <a:lnTo>
                      <a:pt x="110" y="1"/>
                    </a:lnTo>
                    <a:lnTo>
                      <a:pt x="126" y="0"/>
                    </a:lnTo>
                    <a:lnTo>
                      <a:pt x="138" y="1"/>
                    </a:lnTo>
                    <a:lnTo>
                      <a:pt x="149" y="1"/>
                    </a:lnTo>
                    <a:lnTo>
                      <a:pt x="160" y="2"/>
                    </a:lnTo>
                    <a:lnTo>
                      <a:pt x="169" y="4"/>
                    </a:lnTo>
                    <a:lnTo>
                      <a:pt x="178" y="6"/>
                    </a:lnTo>
                    <a:lnTo>
                      <a:pt x="184" y="11"/>
                    </a:lnTo>
                    <a:lnTo>
                      <a:pt x="187" y="13"/>
                    </a:lnTo>
                    <a:lnTo>
                      <a:pt x="189" y="18"/>
                    </a:lnTo>
                    <a:lnTo>
                      <a:pt x="191" y="21"/>
                    </a:lnTo>
                    <a:lnTo>
                      <a:pt x="193" y="26"/>
                    </a:lnTo>
                    <a:lnTo>
                      <a:pt x="183" y="27"/>
                    </a:lnTo>
                    <a:lnTo>
                      <a:pt x="173" y="28"/>
                    </a:lnTo>
                    <a:lnTo>
                      <a:pt x="165" y="28"/>
                    </a:lnTo>
                    <a:lnTo>
                      <a:pt x="156" y="28"/>
                    </a:lnTo>
                    <a:lnTo>
                      <a:pt x="138" y="27"/>
                    </a:lnTo>
                    <a:lnTo>
                      <a:pt x="120" y="26"/>
                    </a:lnTo>
                    <a:lnTo>
                      <a:pt x="103" y="26"/>
                    </a:lnTo>
                    <a:lnTo>
                      <a:pt x="89" y="28"/>
                    </a:lnTo>
                    <a:lnTo>
                      <a:pt x="76" y="30"/>
                    </a:lnTo>
                    <a:lnTo>
                      <a:pt x="63" y="32"/>
                    </a:lnTo>
                    <a:lnTo>
                      <a:pt x="49" y="34"/>
                    </a:lnTo>
                    <a:lnTo>
                      <a:pt x="35" y="36"/>
                    </a:lnTo>
                    <a:lnTo>
                      <a:pt x="19" y="37"/>
                    </a:lnTo>
                    <a:lnTo>
                      <a:pt x="0" y="38"/>
                    </a:lnTo>
                    <a:lnTo>
                      <a:pt x="0" y="33"/>
                    </a:lnTo>
                    <a:lnTo>
                      <a:pt x="1" y="29"/>
                    </a:lnTo>
                    <a:lnTo>
                      <a:pt x="3" y="24"/>
                    </a:lnTo>
                    <a:lnTo>
                      <a:pt x="7" y="20"/>
                    </a:lnTo>
                  </a:path>
                </a:pathLst>
              </a:custGeom>
              <a:grpFill/>
              <a:ln w="9525" cmpd="sng">
                <a:solidFill>
                  <a:srgbClr val="FFFFFF"/>
                </a:solidFill>
                <a:prstDash val="solid"/>
                <a:round/>
                <a:headEnd/>
                <a:tailEnd/>
              </a:ln>
            </p:spPr>
            <p:txBody>
              <a:bodyPr/>
              <a:lstStyle/>
              <a:p>
                <a:endParaRPr lang="en-GB" sz="1637"/>
              </a:p>
            </p:txBody>
          </p:sp>
          <p:sp>
            <p:nvSpPr>
              <p:cNvPr id="113" name="Freeform 268"/>
              <p:cNvSpPr>
                <a:spLocks/>
              </p:cNvSpPr>
              <p:nvPr>
                <p:custDataLst>
                  <p:tags r:id="rId96"/>
                </p:custDataLst>
              </p:nvPr>
            </p:nvSpPr>
            <p:spPr bwMode="auto">
              <a:xfrm>
                <a:off x="3910863" y="3584332"/>
                <a:ext cx="46791" cy="175515"/>
              </a:xfrm>
              <a:custGeom>
                <a:avLst/>
                <a:gdLst>
                  <a:gd name="T0" fmla="*/ 22947 w 99"/>
                  <a:gd name="T1" fmla="*/ 6202 h 301"/>
                  <a:gd name="T2" fmla="*/ 25545 w 99"/>
                  <a:gd name="T3" fmla="*/ 6202 h 301"/>
                  <a:gd name="T4" fmla="*/ 25545 w 99"/>
                  <a:gd name="T5" fmla="*/ 9820 h 301"/>
                  <a:gd name="T6" fmla="*/ 26843 w 99"/>
                  <a:gd name="T7" fmla="*/ 13438 h 301"/>
                  <a:gd name="T8" fmla="*/ 27276 w 99"/>
                  <a:gd name="T9" fmla="*/ 17056 h 301"/>
                  <a:gd name="T10" fmla="*/ 28575 w 99"/>
                  <a:gd name="T11" fmla="*/ 21708 h 301"/>
                  <a:gd name="T12" fmla="*/ 31173 w 99"/>
                  <a:gd name="T13" fmla="*/ 29978 h 301"/>
                  <a:gd name="T14" fmla="*/ 34204 w 99"/>
                  <a:gd name="T15" fmla="*/ 38765 h 301"/>
                  <a:gd name="T16" fmla="*/ 37667 w 99"/>
                  <a:gd name="T17" fmla="*/ 48068 h 301"/>
                  <a:gd name="T18" fmla="*/ 40265 w 99"/>
                  <a:gd name="T19" fmla="*/ 57372 h 301"/>
                  <a:gd name="T20" fmla="*/ 41564 w 99"/>
                  <a:gd name="T21" fmla="*/ 62023 h 301"/>
                  <a:gd name="T22" fmla="*/ 42430 w 99"/>
                  <a:gd name="T23" fmla="*/ 66675 h 301"/>
                  <a:gd name="T24" fmla="*/ 42863 w 99"/>
                  <a:gd name="T25" fmla="*/ 71327 h 301"/>
                  <a:gd name="T26" fmla="*/ 42863 w 99"/>
                  <a:gd name="T27" fmla="*/ 76495 h 301"/>
                  <a:gd name="T28" fmla="*/ 42863 w 99"/>
                  <a:gd name="T29" fmla="*/ 149373 h 301"/>
                  <a:gd name="T30" fmla="*/ 38533 w 99"/>
                  <a:gd name="T31" fmla="*/ 149890 h 301"/>
                  <a:gd name="T32" fmla="*/ 34637 w 99"/>
                  <a:gd name="T33" fmla="*/ 151440 h 301"/>
                  <a:gd name="T34" fmla="*/ 31606 w 99"/>
                  <a:gd name="T35" fmla="*/ 153508 h 301"/>
                  <a:gd name="T36" fmla="*/ 28575 w 99"/>
                  <a:gd name="T37" fmla="*/ 155575 h 301"/>
                  <a:gd name="T38" fmla="*/ 25545 w 99"/>
                  <a:gd name="T39" fmla="*/ 149890 h 301"/>
                  <a:gd name="T40" fmla="*/ 23380 w 99"/>
                  <a:gd name="T41" fmla="*/ 144721 h 301"/>
                  <a:gd name="T42" fmla="*/ 20782 w 99"/>
                  <a:gd name="T43" fmla="*/ 140069 h 301"/>
                  <a:gd name="T44" fmla="*/ 19483 w 99"/>
                  <a:gd name="T45" fmla="*/ 135417 h 301"/>
                  <a:gd name="T46" fmla="*/ 18617 w 99"/>
                  <a:gd name="T47" fmla="*/ 130249 h 301"/>
                  <a:gd name="T48" fmla="*/ 17751 w 99"/>
                  <a:gd name="T49" fmla="*/ 125080 h 301"/>
                  <a:gd name="T50" fmla="*/ 17318 w 99"/>
                  <a:gd name="T51" fmla="*/ 119912 h 301"/>
                  <a:gd name="T52" fmla="*/ 17318 w 99"/>
                  <a:gd name="T53" fmla="*/ 114743 h 301"/>
                  <a:gd name="T54" fmla="*/ 17318 w 99"/>
                  <a:gd name="T55" fmla="*/ 72877 h 301"/>
                  <a:gd name="T56" fmla="*/ 0 w 99"/>
                  <a:gd name="T57" fmla="*/ 3101 h 301"/>
                  <a:gd name="T58" fmla="*/ 2165 w 99"/>
                  <a:gd name="T59" fmla="*/ 1034 h 301"/>
                  <a:gd name="T60" fmla="*/ 4330 w 99"/>
                  <a:gd name="T61" fmla="*/ 0 h 301"/>
                  <a:gd name="T62" fmla="*/ 6061 w 99"/>
                  <a:gd name="T63" fmla="*/ 0 h 301"/>
                  <a:gd name="T64" fmla="*/ 8659 w 99"/>
                  <a:gd name="T65" fmla="*/ 0 h 301"/>
                  <a:gd name="T66" fmla="*/ 11257 w 99"/>
                  <a:gd name="T67" fmla="*/ 0 h 301"/>
                  <a:gd name="T68" fmla="*/ 13855 w 99"/>
                  <a:gd name="T69" fmla="*/ 1034 h 301"/>
                  <a:gd name="T70" fmla="*/ 16020 w 99"/>
                  <a:gd name="T71" fmla="*/ 2067 h 301"/>
                  <a:gd name="T72" fmla="*/ 17751 w 99"/>
                  <a:gd name="T73" fmla="*/ 3101 h 301"/>
                  <a:gd name="T74" fmla="*/ 20349 w 99"/>
                  <a:gd name="T75" fmla="*/ 5169 h 301"/>
                  <a:gd name="T76" fmla="*/ 22947 w 99"/>
                  <a:gd name="T77" fmla="*/ 6202 h 30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99" h="301">
                    <a:moveTo>
                      <a:pt x="53" y="12"/>
                    </a:moveTo>
                    <a:lnTo>
                      <a:pt x="59" y="12"/>
                    </a:lnTo>
                    <a:lnTo>
                      <a:pt x="59" y="19"/>
                    </a:lnTo>
                    <a:lnTo>
                      <a:pt x="62" y="26"/>
                    </a:lnTo>
                    <a:lnTo>
                      <a:pt x="63" y="33"/>
                    </a:lnTo>
                    <a:lnTo>
                      <a:pt x="66" y="42"/>
                    </a:lnTo>
                    <a:lnTo>
                      <a:pt x="72" y="58"/>
                    </a:lnTo>
                    <a:lnTo>
                      <a:pt x="79" y="75"/>
                    </a:lnTo>
                    <a:lnTo>
                      <a:pt x="87" y="93"/>
                    </a:lnTo>
                    <a:lnTo>
                      <a:pt x="93" y="111"/>
                    </a:lnTo>
                    <a:lnTo>
                      <a:pt x="96" y="120"/>
                    </a:lnTo>
                    <a:lnTo>
                      <a:pt x="98" y="129"/>
                    </a:lnTo>
                    <a:lnTo>
                      <a:pt x="99" y="138"/>
                    </a:lnTo>
                    <a:lnTo>
                      <a:pt x="99" y="148"/>
                    </a:lnTo>
                    <a:lnTo>
                      <a:pt x="99" y="289"/>
                    </a:lnTo>
                    <a:lnTo>
                      <a:pt x="89" y="290"/>
                    </a:lnTo>
                    <a:lnTo>
                      <a:pt x="80" y="293"/>
                    </a:lnTo>
                    <a:lnTo>
                      <a:pt x="73" y="297"/>
                    </a:lnTo>
                    <a:lnTo>
                      <a:pt x="66" y="301"/>
                    </a:lnTo>
                    <a:lnTo>
                      <a:pt x="59" y="290"/>
                    </a:lnTo>
                    <a:lnTo>
                      <a:pt x="54" y="280"/>
                    </a:lnTo>
                    <a:lnTo>
                      <a:pt x="48" y="271"/>
                    </a:lnTo>
                    <a:lnTo>
                      <a:pt x="45" y="262"/>
                    </a:lnTo>
                    <a:lnTo>
                      <a:pt x="43" y="252"/>
                    </a:lnTo>
                    <a:lnTo>
                      <a:pt x="41" y="242"/>
                    </a:lnTo>
                    <a:lnTo>
                      <a:pt x="40" y="232"/>
                    </a:lnTo>
                    <a:lnTo>
                      <a:pt x="40" y="222"/>
                    </a:lnTo>
                    <a:lnTo>
                      <a:pt x="40" y="141"/>
                    </a:lnTo>
                    <a:lnTo>
                      <a:pt x="0" y="6"/>
                    </a:lnTo>
                    <a:lnTo>
                      <a:pt x="5" y="2"/>
                    </a:lnTo>
                    <a:lnTo>
                      <a:pt x="10" y="0"/>
                    </a:lnTo>
                    <a:lnTo>
                      <a:pt x="14" y="0"/>
                    </a:lnTo>
                    <a:lnTo>
                      <a:pt x="20" y="0"/>
                    </a:lnTo>
                    <a:lnTo>
                      <a:pt x="26" y="0"/>
                    </a:lnTo>
                    <a:lnTo>
                      <a:pt x="32" y="2"/>
                    </a:lnTo>
                    <a:lnTo>
                      <a:pt x="37" y="4"/>
                    </a:lnTo>
                    <a:lnTo>
                      <a:pt x="41" y="6"/>
                    </a:lnTo>
                    <a:lnTo>
                      <a:pt x="47" y="10"/>
                    </a:lnTo>
                    <a:lnTo>
                      <a:pt x="53" y="12"/>
                    </a:lnTo>
                  </a:path>
                </a:pathLst>
              </a:custGeom>
              <a:grpFill/>
              <a:ln w="9525" cmpd="sng">
                <a:solidFill>
                  <a:srgbClr val="FFFFFF"/>
                </a:solidFill>
                <a:prstDash val="solid"/>
                <a:round/>
                <a:headEnd/>
                <a:tailEnd/>
              </a:ln>
            </p:spPr>
            <p:txBody>
              <a:bodyPr/>
              <a:lstStyle/>
              <a:p>
                <a:endParaRPr lang="en-GB" sz="1637"/>
              </a:p>
            </p:txBody>
          </p:sp>
          <p:sp>
            <p:nvSpPr>
              <p:cNvPr id="114" name="Freeform 269"/>
              <p:cNvSpPr>
                <a:spLocks/>
              </p:cNvSpPr>
              <p:nvPr>
                <p:custDataLst>
                  <p:tags r:id="rId97"/>
                </p:custDataLst>
              </p:nvPr>
            </p:nvSpPr>
            <p:spPr bwMode="auto">
              <a:xfrm>
                <a:off x="3938591" y="3541349"/>
                <a:ext cx="83183" cy="213124"/>
              </a:xfrm>
              <a:custGeom>
                <a:avLst/>
                <a:gdLst>
                  <a:gd name="T0" fmla="*/ 0 w 173"/>
                  <a:gd name="T1" fmla="*/ 42333 h 357"/>
                  <a:gd name="T2" fmla="*/ 3964 w 173"/>
                  <a:gd name="T3" fmla="*/ 38100 h 357"/>
                  <a:gd name="T4" fmla="*/ 7488 w 173"/>
                  <a:gd name="T5" fmla="*/ 34396 h 357"/>
                  <a:gd name="T6" fmla="*/ 11012 w 173"/>
                  <a:gd name="T7" fmla="*/ 31750 h 357"/>
                  <a:gd name="T8" fmla="*/ 14535 w 173"/>
                  <a:gd name="T9" fmla="*/ 29633 h 357"/>
                  <a:gd name="T10" fmla="*/ 17618 w 173"/>
                  <a:gd name="T11" fmla="*/ 26458 h 357"/>
                  <a:gd name="T12" fmla="*/ 29511 w 173"/>
                  <a:gd name="T13" fmla="*/ 26458 h 357"/>
                  <a:gd name="T14" fmla="*/ 41403 w 173"/>
                  <a:gd name="T15" fmla="*/ 0 h 357"/>
                  <a:gd name="T16" fmla="*/ 44487 w 173"/>
                  <a:gd name="T17" fmla="*/ 1587 h 357"/>
                  <a:gd name="T18" fmla="*/ 47570 w 173"/>
                  <a:gd name="T19" fmla="*/ 3704 h 357"/>
                  <a:gd name="T20" fmla="*/ 51094 w 173"/>
                  <a:gd name="T21" fmla="*/ 6350 h 357"/>
                  <a:gd name="T22" fmla="*/ 54177 w 173"/>
                  <a:gd name="T23" fmla="*/ 9525 h 357"/>
                  <a:gd name="T24" fmla="*/ 57701 w 173"/>
                  <a:gd name="T25" fmla="*/ 11642 h 357"/>
                  <a:gd name="T26" fmla="*/ 61224 w 173"/>
                  <a:gd name="T27" fmla="*/ 14287 h 357"/>
                  <a:gd name="T28" fmla="*/ 63867 w 173"/>
                  <a:gd name="T29" fmla="*/ 15346 h 357"/>
                  <a:gd name="T30" fmla="*/ 67391 w 173"/>
                  <a:gd name="T31" fmla="*/ 15875 h 357"/>
                  <a:gd name="T32" fmla="*/ 71795 w 173"/>
                  <a:gd name="T33" fmla="*/ 20637 h 357"/>
                  <a:gd name="T34" fmla="*/ 76200 w 173"/>
                  <a:gd name="T35" fmla="*/ 26458 h 357"/>
                  <a:gd name="T36" fmla="*/ 76200 w 173"/>
                  <a:gd name="T37" fmla="*/ 32279 h 357"/>
                  <a:gd name="T38" fmla="*/ 76200 w 173"/>
                  <a:gd name="T39" fmla="*/ 36512 h 357"/>
                  <a:gd name="T40" fmla="*/ 76200 w 173"/>
                  <a:gd name="T41" fmla="*/ 42333 h 357"/>
                  <a:gd name="T42" fmla="*/ 76200 w 173"/>
                  <a:gd name="T43" fmla="*/ 51858 h 357"/>
                  <a:gd name="T44" fmla="*/ 76200 w 173"/>
                  <a:gd name="T45" fmla="*/ 57679 h 357"/>
                  <a:gd name="T46" fmla="*/ 75319 w 173"/>
                  <a:gd name="T47" fmla="*/ 62442 h 357"/>
                  <a:gd name="T48" fmla="*/ 73557 w 173"/>
                  <a:gd name="T49" fmla="*/ 67204 h 357"/>
                  <a:gd name="T50" fmla="*/ 71795 w 173"/>
                  <a:gd name="T51" fmla="*/ 71437 h 357"/>
                  <a:gd name="T52" fmla="*/ 66950 w 173"/>
                  <a:gd name="T53" fmla="*/ 79904 h 357"/>
                  <a:gd name="T54" fmla="*/ 61665 w 173"/>
                  <a:gd name="T55" fmla="*/ 88371 h 357"/>
                  <a:gd name="T56" fmla="*/ 56379 w 173"/>
                  <a:gd name="T57" fmla="*/ 96837 h 357"/>
                  <a:gd name="T58" fmla="*/ 51534 w 173"/>
                  <a:gd name="T59" fmla="*/ 105833 h 357"/>
                  <a:gd name="T60" fmla="*/ 49332 w 173"/>
                  <a:gd name="T61" fmla="*/ 110596 h 357"/>
                  <a:gd name="T62" fmla="*/ 48010 w 173"/>
                  <a:gd name="T63" fmla="*/ 115887 h 357"/>
                  <a:gd name="T64" fmla="*/ 47570 w 173"/>
                  <a:gd name="T65" fmla="*/ 121179 h 357"/>
                  <a:gd name="T66" fmla="*/ 47129 w 173"/>
                  <a:gd name="T67" fmla="*/ 127000 h 357"/>
                  <a:gd name="T68" fmla="*/ 47570 w 173"/>
                  <a:gd name="T69" fmla="*/ 144462 h 357"/>
                  <a:gd name="T70" fmla="*/ 48010 w 173"/>
                  <a:gd name="T71" fmla="*/ 155045 h 357"/>
                  <a:gd name="T72" fmla="*/ 48451 w 173"/>
                  <a:gd name="T73" fmla="*/ 159808 h 357"/>
                  <a:gd name="T74" fmla="*/ 48010 w 173"/>
                  <a:gd name="T75" fmla="*/ 165629 h 357"/>
                  <a:gd name="T76" fmla="*/ 48010 w 173"/>
                  <a:gd name="T77" fmla="*/ 173037 h 357"/>
                  <a:gd name="T78" fmla="*/ 47129 w 173"/>
                  <a:gd name="T79" fmla="*/ 182562 h 357"/>
                  <a:gd name="T80" fmla="*/ 42725 w 173"/>
                  <a:gd name="T81" fmla="*/ 183091 h 357"/>
                  <a:gd name="T82" fmla="*/ 38761 w 173"/>
                  <a:gd name="T83" fmla="*/ 183620 h 357"/>
                  <a:gd name="T84" fmla="*/ 34797 w 173"/>
                  <a:gd name="T85" fmla="*/ 184679 h 357"/>
                  <a:gd name="T86" fmla="*/ 31273 w 173"/>
                  <a:gd name="T87" fmla="*/ 185737 h 357"/>
                  <a:gd name="T88" fmla="*/ 27749 w 173"/>
                  <a:gd name="T89" fmla="*/ 186795 h 357"/>
                  <a:gd name="T90" fmla="*/ 24225 w 173"/>
                  <a:gd name="T91" fmla="*/ 187854 h 357"/>
                  <a:gd name="T92" fmla="*/ 21142 w 173"/>
                  <a:gd name="T93" fmla="*/ 188912 h 357"/>
                  <a:gd name="T94" fmla="*/ 17618 w 173"/>
                  <a:gd name="T95" fmla="*/ 188912 h 357"/>
                  <a:gd name="T96" fmla="*/ 17618 w 173"/>
                  <a:gd name="T97" fmla="*/ 114300 h 357"/>
                  <a:gd name="T98" fmla="*/ 17618 w 173"/>
                  <a:gd name="T99" fmla="*/ 109008 h 357"/>
                  <a:gd name="T100" fmla="*/ 17178 w 173"/>
                  <a:gd name="T101" fmla="*/ 104246 h 357"/>
                  <a:gd name="T102" fmla="*/ 16297 w 173"/>
                  <a:gd name="T103" fmla="*/ 99483 h 357"/>
                  <a:gd name="T104" fmla="*/ 14976 w 173"/>
                  <a:gd name="T105" fmla="*/ 94721 h 357"/>
                  <a:gd name="T106" fmla="*/ 12333 w 173"/>
                  <a:gd name="T107" fmla="*/ 85196 h 357"/>
                  <a:gd name="T108" fmla="*/ 8809 w 173"/>
                  <a:gd name="T109" fmla="*/ 75671 h 357"/>
                  <a:gd name="T110" fmla="*/ 5726 w 173"/>
                  <a:gd name="T111" fmla="*/ 66675 h 357"/>
                  <a:gd name="T112" fmla="*/ 3083 w 173"/>
                  <a:gd name="T113" fmla="*/ 58208 h 357"/>
                  <a:gd name="T114" fmla="*/ 1762 w 173"/>
                  <a:gd name="T115" fmla="*/ 53446 h 357"/>
                  <a:gd name="T116" fmla="*/ 1321 w 173"/>
                  <a:gd name="T117" fmla="*/ 49742 h 357"/>
                  <a:gd name="T118" fmla="*/ 0 w 173"/>
                  <a:gd name="T119" fmla="*/ 46037 h 357"/>
                  <a:gd name="T120" fmla="*/ 0 w 173"/>
                  <a:gd name="T121" fmla="*/ 42333 h 35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73" h="357">
                    <a:moveTo>
                      <a:pt x="0" y="80"/>
                    </a:moveTo>
                    <a:lnTo>
                      <a:pt x="9" y="72"/>
                    </a:lnTo>
                    <a:lnTo>
                      <a:pt x="17" y="65"/>
                    </a:lnTo>
                    <a:lnTo>
                      <a:pt x="25" y="60"/>
                    </a:lnTo>
                    <a:lnTo>
                      <a:pt x="33" y="56"/>
                    </a:lnTo>
                    <a:lnTo>
                      <a:pt x="40" y="50"/>
                    </a:lnTo>
                    <a:lnTo>
                      <a:pt x="67" y="50"/>
                    </a:lnTo>
                    <a:lnTo>
                      <a:pt x="94" y="0"/>
                    </a:lnTo>
                    <a:lnTo>
                      <a:pt x="101" y="3"/>
                    </a:lnTo>
                    <a:lnTo>
                      <a:pt x="108" y="7"/>
                    </a:lnTo>
                    <a:lnTo>
                      <a:pt x="116" y="12"/>
                    </a:lnTo>
                    <a:lnTo>
                      <a:pt x="123" y="18"/>
                    </a:lnTo>
                    <a:lnTo>
                      <a:pt x="131" y="22"/>
                    </a:lnTo>
                    <a:lnTo>
                      <a:pt x="139" y="27"/>
                    </a:lnTo>
                    <a:lnTo>
                      <a:pt x="145" y="29"/>
                    </a:lnTo>
                    <a:lnTo>
                      <a:pt x="153" y="30"/>
                    </a:lnTo>
                    <a:lnTo>
                      <a:pt x="163" y="39"/>
                    </a:lnTo>
                    <a:lnTo>
                      <a:pt x="173" y="50"/>
                    </a:lnTo>
                    <a:lnTo>
                      <a:pt x="173" y="61"/>
                    </a:lnTo>
                    <a:lnTo>
                      <a:pt x="173" y="69"/>
                    </a:lnTo>
                    <a:lnTo>
                      <a:pt x="173" y="80"/>
                    </a:lnTo>
                    <a:lnTo>
                      <a:pt x="173" y="98"/>
                    </a:lnTo>
                    <a:lnTo>
                      <a:pt x="173" y="109"/>
                    </a:lnTo>
                    <a:lnTo>
                      <a:pt x="171" y="118"/>
                    </a:lnTo>
                    <a:lnTo>
                      <a:pt x="167" y="127"/>
                    </a:lnTo>
                    <a:lnTo>
                      <a:pt x="163" y="135"/>
                    </a:lnTo>
                    <a:lnTo>
                      <a:pt x="152" y="151"/>
                    </a:lnTo>
                    <a:lnTo>
                      <a:pt x="140" y="167"/>
                    </a:lnTo>
                    <a:lnTo>
                      <a:pt x="128" y="183"/>
                    </a:lnTo>
                    <a:lnTo>
                      <a:pt x="117" y="200"/>
                    </a:lnTo>
                    <a:lnTo>
                      <a:pt x="112" y="209"/>
                    </a:lnTo>
                    <a:lnTo>
                      <a:pt x="109" y="219"/>
                    </a:lnTo>
                    <a:lnTo>
                      <a:pt x="108" y="229"/>
                    </a:lnTo>
                    <a:lnTo>
                      <a:pt x="107" y="240"/>
                    </a:lnTo>
                    <a:lnTo>
                      <a:pt x="108" y="273"/>
                    </a:lnTo>
                    <a:lnTo>
                      <a:pt x="109" y="293"/>
                    </a:lnTo>
                    <a:lnTo>
                      <a:pt x="110" y="302"/>
                    </a:lnTo>
                    <a:lnTo>
                      <a:pt x="109" y="313"/>
                    </a:lnTo>
                    <a:lnTo>
                      <a:pt x="109" y="327"/>
                    </a:lnTo>
                    <a:lnTo>
                      <a:pt x="107" y="345"/>
                    </a:lnTo>
                    <a:lnTo>
                      <a:pt x="97" y="346"/>
                    </a:lnTo>
                    <a:lnTo>
                      <a:pt x="88" y="347"/>
                    </a:lnTo>
                    <a:lnTo>
                      <a:pt x="79" y="349"/>
                    </a:lnTo>
                    <a:lnTo>
                      <a:pt x="71" y="351"/>
                    </a:lnTo>
                    <a:lnTo>
                      <a:pt x="63" y="353"/>
                    </a:lnTo>
                    <a:lnTo>
                      <a:pt x="55" y="355"/>
                    </a:lnTo>
                    <a:lnTo>
                      <a:pt x="48" y="357"/>
                    </a:lnTo>
                    <a:lnTo>
                      <a:pt x="40" y="357"/>
                    </a:lnTo>
                    <a:lnTo>
                      <a:pt x="40" y="216"/>
                    </a:lnTo>
                    <a:lnTo>
                      <a:pt x="40" y="206"/>
                    </a:lnTo>
                    <a:lnTo>
                      <a:pt x="39" y="197"/>
                    </a:lnTo>
                    <a:lnTo>
                      <a:pt x="37" y="188"/>
                    </a:lnTo>
                    <a:lnTo>
                      <a:pt x="34" y="179"/>
                    </a:lnTo>
                    <a:lnTo>
                      <a:pt x="28" y="161"/>
                    </a:lnTo>
                    <a:lnTo>
                      <a:pt x="20" y="143"/>
                    </a:lnTo>
                    <a:lnTo>
                      <a:pt x="13" y="126"/>
                    </a:lnTo>
                    <a:lnTo>
                      <a:pt x="7" y="110"/>
                    </a:lnTo>
                    <a:lnTo>
                      <a:pt x="4" y="101"/>
                    </a:lnTo>
                    <a:lnTo>
                      <a:pt x="3" y="94"/>
                    </a:lnTo>
                    <a:lnTo>
                      <a:pt x="0" y="87"/>
                    </a:lnTo>
                    <a:lnTo>
                      <a:pt x="0" y="80"/>
                    </a:lnTo>
                  </a:path>
                </a:pathLst>
              </a:custGeom>
              <a:grpFill/>
              <a:ln w="9525" cmpd="sng">
                <a:solidFill>
                  <a:srgbClr val="FFFFFF"/>
                </a:solidFill>
                <a:prstDash val="solid"/>
                <a:round/>
                <a:headEnd/>
                <a:tailEnd/>
              </a:ln>
            </p:spPr>
            <p:txBody>
              <a:bodyPr/>
              <a:lstStyle/>
              <a:p>
                <a:endParaRPr lang="en-GB" sz="1637"/>
              </a:p>
            </p:txBody>
          </p:sp>
          <p:sp>
            <p:nvSpPr>
              <p:cNvPr id="115" name="Freeform 270"/>
              <p:cNvSpPr>
                <a:spLocks/>
              </p:cNvSpPr>
              <p:nvPr>
                <p:custDataLst>
                  <p:tags r:id="rId98"/>
                </p:custDataLst>
              </p:nvPr>
            </p:nvSpPr>
            <p:spPr bwMode="auto">
              <a:xfrm>
                <a:off x="4734029" y="4900691"/>
                <a:ext cx="27728" cy="68057"/>
              </a:xfrm>
              <a:custGeom>
                <a:avLst/>
                <a:gdLst>
                  <a:gd name="T0" fmla="*/ 5080 w 50"/>
                  <a:gd name="T1" fmla="*/ 0 h 74"/>
                  <a:gd name="T2" fmla="*/ 3048 w 50"/>
                  <a:gd name="T3" fmla="*/ 11413 h 74"/>
                  <a:gd name="T4" fmla="*/ 1016 w 50"/>
                  <a:gd name="T5" fmla="*/ 21195 h 74"/>
                  <a:gd name="T6" fmla="*/ 0 w 50"/>
                  <a:gd name="T7" fmla="*/ 29347 h 74"/>
                  <a:gd name="T8" fmla="*/ 0 w 50"/>
                  <a:gd name="T9" fmla="*/ 35054 h 74"/>
                  <a:gd name="T10" fmla="*/ 0 w 50"/>
                  <a:gd name="T11" fmla="*/ 40760 h 74"/>
                  <a:gd name="T12" fmla="*/ 1016 w 50"/>
                  <a:gd name="T13" fmla="*/ 45651 h 74"/>
                  <a:gd name="T14" fmla="*/ 3048 w 50"/>
                  <a:gd name="T15" fmla="*/ 49727 h 74"/>
                  <a:gd name="T16" fmla="*/ 5080 w 50"/>
                  <a:gd name="T17" fmla="*/ 55434 h 74"/>
                  <a:gd name="T18" fmla="*/ 25400 w 50"/>
                  <a:gd name="T19" fmla="*/ 60325 h 74"/>
                  <a:gd name="T20" fmla="*/ 25400 w 50"/>
                  <a:gd name="T21" fmla="*/ 41575 h 74"/>
                  <a:gd name="T22" fmla="*/ 25400 w 50"/>
                  <a:gd name="T23" fmla="*/ 27717 h 74"/>
                  <a:gd name="T24" fmla="*/ 25400 w 50"/>
                  <a:gd name="T25" fmla="*/ 15489 h 74"/>
                  <a:gd name="T26" fmla="*/ 25400 w 50"/>
                  <a:gd name="T27" fmla="*/ 0 h 74"/>
                  <a:gd name="T28" fmla="*/ 19304 w 50"/>
                  <a:gd name="T29" fmla="*/ 0 h 74"/>
                  <a:gd name="T30" fmla="*/ 12700 w 50"/>
                  <a:gd name="T31" fmla="*/ 0 h 74"/>
                  <a:gd name="T32" fmla="*/ 7112 w 50"/>
                  <a:gd name="T33" fmla="*/ 0 h 74"/>
                  <a:gd name="T34" fmla="*/ 5080 w 50"/>
                  <a:gd name="T35" fmla="*/ 0 h 7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0" h="74">
                    <a:moveTo>
                      <a:pt x="10" y="0"/>
                    </a:moveTo>
                    <a:lnTo>
                      <a:pt x="6" y="14"/>
                    </a:lnTo>
                    <a:lnTo>
                      <a:pt x="2" y="26"/>
                    </a:lnTo>
                    <a:lnTo>
                      <a:pt x="0" y="36"/>
                    </a:lnTo>
                    <a:lnTo>
                      <a:pt x="0" y="43"/>
                    </a:lnTo>
                    <a:lnTo>
                      <a:pt x="0" y="50"/>
                    </a:lnTo>
                    <a:lnTo>
                      <a:pt x="2" y="56"/>
                    </a:lnTo>
                    <a:lnTo>
                      <a:pt x="6" y="61"/>
                    </a:lnTo>
                    <a:lnTo>
                      <a:pt x="10" y="68"/>
                    </a:lnTo>
                    <a:lnTo>
                      <a:pt x="50" y="74"/>
                    </a:lnTo>
                    <a:lnTo>
                      <a:pt x="50" y="51"/>
                    </a:lnTo>
                    <a:lnTo>
                      <a:pt x="50" y="34"/>
                    </a:lnTo>
                    <a:lnTo>
                      <a:pt x="50" y="19"/>
                    </a:lnTo>
                    <a:lnTo>
                      <a:pt x="50" y="0"/>
                    </a:lnTo>
                    <a:lnTo>
                      <a:pt x="38" y="0"/>
                    </a:lnTo>
                    <a:lnTo>
                      <a:pt x="25" y="0"/>
                    </a:lnTo>
                    <a:lnTo>
                      <a:pt x="14" y="0"/>
                    </a:lnTo>
                    <a:lnTo>
                      <a:pt x="10" y="0"/>
                    </a:lnTo>
                  </a:path>
                </a:pathLst>
              </a:custGeom>
              <a:grpFill/>
              <a:ln w="9525" cmpd="sng">
                <a:solidFill>
                  <a:srgbClr val="FFFFFF"/>
                </a:solidFill>
                <a:prstDash val="solid"/>
                <a:round/>
                <a:headEnd/>
                <a:tailEnd/>
              </a:ln>
            </p:spPr>
            <p:txBody>
              <a:bodyPr/>
              <a:lstStyle/>
              <a:p>
                <a:endParaRPr lang="en-GB" sz="1637"/>
              </a:p>
            </p:txBody>
          </p:sp>
          <p:sp>
            <p:nvSpPr>
              <p:cNvPr id="116" name="Freeform 271"/>
              <p:cNvSpPr>
                <a:spLocks/>
              </p:cNvSpPr>
              <p:nvPr>
                <p:custDataLst>
                  <p:tags r:id="rId99"/>
                </p:custDataLst>
              </p:nvPr>
            </p:nvSpPr>
            <p:spPr bwMode="auto">
              <a:xfrm>
                <a:off x="4619652" y="5009940"/>
                <a:ext cx="67586" cy="64475"/>
              </a:xfrm>
              <a:custGeom>
                <a:avLst/>
                <a:gdLst>
                  <a:gd name="T0" fmla="*/ 1376 w 135"/>
                  <a:gd name="T1" fmla="*/ 32074 h 98"/>
                  <a:gd name="T2" fmla="*/ 5045 w 135"/>
                  <a:gd name="T3" fmla="*/ 31491 h 98"/>
                  <a:gd name="T4" fmla="*/ 8255 w 135"/>
                  <a:gd name="T5" fmla="*/ 30908 h 98"/>
                  <a:gd name="T6" fmla="*/ 11007 w 135"/>
                  <a:gd name="T7" fmla="*/ 29158 h 98"/>
                  <a:gd name="T8" fmla="*/ 14217 w 135"/>
                  <a:gd name="T9" fmla="*/ 27409 h 98"/>
                  <a:gd name="T10" fmla="*/ 19262 w 135"/>
                  <a:gd name="T11" fmla="*/ 22160 h 98"/>
                  <a:gd name="T12" fmla="*/ 23848 w 135"/>
                  <a:gd name="T13" fmla="*/ 16329 h 98"/>
                  <a:gd name="T14" fmla="*/ 27975 w 135"/>
                  <a:gd name="T15" fmla="*/ 10497 h 98"/>
                  <a:gd name="T16" fmla="*/ 32561 w 135"/>
                  <a:gd name="T17" fmla="*/ 4665 h 98"/>
                  <a:gd name="T18" fmla="*/ 34854 w 135"/>
                  <a:gd name="T19" fmla="*/ 2916 h 98"/>
                  <a:gd name="T20" fmla="*/ 37606 w 135"/>
                  <a:gd name="T21" fmla="*/ 1166 h 98"/>
                  <a:gd name="T22" fmla="*/ 40357 w 135"/>
                  <a:gd name="T23" fmla="*/ 0 h 98"/>
                  <a:gd name="T24" fmla="*/ 44026 w 135"/>
                  <a:gd name="T25" fmla="*/ 0 h 98"/>
                  <a:gd name="T26" fmla="*/ 46778 w 135"/>
                  <a:gd name="T27" fmla="*/ 0 h 98"/>
                  <a:gd name="T28" fmla="*/ 50447 w 135"/>
                  <a:gd name="T29" fmla="*/ 1749 h 98"/>
                  <a:gd name="T30" fmla="*/ 53657 w 135"/>
                  <a:gd name="T31" fmla="*/ 3499 h 98"/>
                  <a:gd name="T32" fmla="*/ 56409 w 135"/>
                  <a:gd name="T33" fmla="*/ 6415 h 98"/>
                  <a:gd name="T34" fmla="*/ 58702 w 135"/>
                  <a:gd name="T35" fmla="*/ 9331 h 98"/>
                  <a:gd name="T36" fmla="*/ 60536 w 135"/>
                  <a:gd name="T37" fmla="*/ 13996 h 98"/>
                  <a:gd name="T38" fmla="*/ 61453 w 135"/>
                  <a:gd name="T39" fmla="*/ 17495 h 98"/>
                  <a:gd name="T40" fmla="*/ 61912 w 135"/>
                  <a:gd name="T41" fmla="*/ 21577 h 98"/>
                  <a:gd name="T42" fmla="*/ 61453 w 135"/>
                  <a:gd name="T43" fmla="*/ 23327 h 98"/>
                  <a:gd name="T44" fmla="*/ 60536 w 135"/>
                  <a:gd name="T45" fmla="*/ 25076 h 98"/>
                  <a:gd name="T46" fmla="*/ 59160 w 135"/>
                  <a:gd name="T47" fmla="*/ 27409 h 98"/>
                  <a:gd name="T48" fmla="*/ 56867 w 135"/>
                  <a:gd name="T49" fmla="*/ 29741 h 98"/>
                  <a:gd name="T50" fmla="*/ 51823 w 135"/>
                  <a:gd name="T51" fmla="*/ 35573 h 98"/>
                  <a:gd name="T52" fmla="*/ 45861 w 135"/>
                  <a:gd name="T53" fmla="*/ 41988 h 98"/>
                  <a:gd name="T54" fmla="*/ 39899 w 135"/>
                  <a:gd name="T55" fmla="*/ 47819 h 98"/>
                  <a:gd name="T56" fmla="*/ 33937 w 135"/>
                  <a:gd name="T57" fmla="*/ 53068 h 98"/>
                  <a:gd name="T58" fmla="*/ 28892 w 135"/>
                  <a:gd name="T59" fmla="*/ 55984 h 98"/>
                  <a:gd name="T60" fmla="*/ 25223 w 135"/>
                  <a:gd name="T61" fmla="*/ 57150 h 98"/>
                  <a:gd name="T62" fmla="*/ 23389 w 135"/>
                  <a:gd name="T63" fmla="*/ 56567 h 98"/>
                  <a:gd name="T64" fmla="*/ 19720 w 135"/>
                  <a:gd name="T65" fmla="*/ 53651 h 98"/>
                  <a:gd name="T66" fmla="*/ 14675 w 135"/>
                  <a:gd name="T67" fmla="*/ 49569 h 98"/>
                  <a:gd name="T68" fmla="*/ 9631 w 135"/>
                  <a:gd name="T69" fmla="*/ 44904 h 98"/>
                  <a:gd name="T70" fmla="*/ 5045 w 135"/>
                  <a:gd name="T71" fmla="*/ 39655 h 98"/>
                  <a:gd name="T72" fmla="*/ 2293 w 135"/>
                  <a:gd name="T73" fmla="*/ 36156 h 98"/>
                  <a:gd name="T74" fmla="*/ 459 w 135"/>
                  <a:gd name="T75" fmla="*/ 34407 h 98"/>
                  <a:gd name="T76" fmla="*/ 0 w 135"/>
                  <a:gd name="T77" fmla="*/ 33240 h 98"/>
                  <a:gd name="T78" fmla="*/ 0 w 135"/>
                  <a:gd name="T79" fmla="*/ 32657 h 98"/>
                  <a:gd name="T80" fmla="*/ 1376 w 135"/>
                  <a:gd name="T81" fmla="*/ 32074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grpFill/>
              <a:ln w="9525" cmpd="sng">
                <a:solidFill>
                  <a:srgbClr val="FFFFFF"/>
                </a:solidFill>
                <a:prstDash val="solid"/>
                <a:round/>
                <a:headEnd/>
                <a:tailEnd/>
              </a:ln>
            </p:spPr>
            <p:txBody>
              <a:bodyPr/>
              <a:lstStyle/>
              <a:p>
                <a:endParaRPr lang="en-GB" sz="1637"/>
              </a:p>
            </p:txBody>
          </p:sp>
          <p:sp>
            <p:nvSpPr>
              <p:cNvPr id="117" name="Freeform 279"/>
              <p:cNvSpPr>
                <a:spLocks/>
              </p:cNvSpPr>
              <p:nvPr>
                <p:custDataLst>
                  <p:tags r:id="rId100"/>
                </p:custDataLst>
              </p:nvPr>
            </p:nvSpPr>
            <p:spPr bwMode="auto">
              <a:xfrm>
                <a:off x="7747679" y="4057147"/>
                <a:ext cx="253015" cy="286554"/>
              </a:xfrm>
              <a:custGeom>
                <a:avLst/>
                <a:gdLst>
                  <a:gd name="T0" fmla="*/ 39204 w 538"/>
                  <a:gd name="T1" fmla="*/ 10953 h 487"/>
                  <a:gd name="T2" fmla="*/ 68929 w 538"/>
                  <a:gd name="T3" fmla="*/ 24513 h 487"/>
                  <a:gd name="T4" fmla="*/ 87023 w 538"/>
                  <a:gd name="T5" fmla="*/ 36509 h 487"/>
                  <a:gd name="T6" fmla="*/ 108995 w 538"/>
                  <a:gd name="T7" fmla="*/ 57372 h 487"/>
                  <a:gd name="T8" fmla="*/ 129243 w 538"/>
                  <a:gd name="T9" fmla="*/ 70932 h 487"/>
                  <a:gd name="T10" fmla="*/ 128812 w 538"/>
                  <a:gd name="T11" fmla="*/ 83971 h 487"/>
                  <a:gd name="T12" fmla="*/ 149491 w 538"/>
                  <a:gd name="T13" fmla="*/ 106920 h 487"/>
                  <a:gd name="T14" fmla="*/ 169308 w 538"/>
                  <a:gd name="T15" fmla="*/ 129347 h 487"/>
                  <a:gd name="T16" fmla="*/ 163276 w 538"/>
                  <a:gd name="T17" fmla="*/ 130390 h 487"/>
                  <a:gd name="T18" fmla="*/ 160261 w 538"/>
                  <a:gd name="T19" fmla="*/ 133520 h 487"/>
                  <a:gd name="T20" fmla="*/ 160261 w 538"/>
                  <a:gd name="T21" fmla="*/ 144994 h 487"/>
                  <a:gd name="T22" fmla="*/ 162415 w 538"/>
                  <a:gd name="T23" fmla="*/ 156990 h 487"/>
                  <a:gd name="T24" fmla="*/ 167585 w 538"/>
                  <a:gd name="T25" fmla="*/ 169507 h 487"/>
                  <a:gd name="T26" fmla="*/ 175339 w 538"/>
                  <a:gd name="T27" fmla="*/ 181503 h 487"/>
                  <a:gd name="T28" fmla="*/ 184386 w 538"/>
                  <a:gd name="T29" fmla="*/ 190891 h 487"/>
                  <a:gd name="T30" fmla="*/ 194295 w 538"/>
                  <a:gd name="T31" fmla="*/ 196107 h 487"/>
                  <a:gd name="T32" fmla="*/ 198603 w 538"/>
                  <a:gd name="T33" fmla="*/ 203409 h 487"/>
                  <a:gd name="T34" fmla="*/ 203342 w 538"/>
                  <a:gd name="T35" fmla="*/ 211754 h 487"/>
                  <a:gd name="T36" fmla="*/ 210665 w 538"/>
                  <a:gd name="T37" fmla="*/ 217491 h 487"/>
                  <a:gd name="T38" fmla="*/ 221005 w 538"/>
                  <a:gd name="T39" fmla="*/ 225314 h 487"/>
                  <a:gd name="T40" fmla="*/ 223159 w 538"/>
                  <a:gd name="T41" fmla="*/ 231573 h 487"/>
                  <a:gd name="T42" fmla="*/ 226174 w 538"/>
                  <a:gd name="T43" fmla="*/ 234702 h 487"/>
                  <a:gd name="T44" fmla="*/ 231775 w 538"/>
                  <a:gd name="T45" fmla="*/ 237832 h 487"/>
                  <a:gd name="T46" fmla="*/ 230052 w 538"/>
                  <a:gd name="T47" fmla="*/ 246177 h 487"/>
                  <a:gd name="T48" fmla="*/ 223590 w 538"/>
                  <a:gd name="T49" fmla="*/ 252435 h 487"/>
                  <a:gd name="T50" fmla="*/ 211096 w 538"/>
                  <a:gd name="T51" fmla="*/ 254000 h 487"/>
                  <a:gd name="T52" fmla="*/ 193002 w 538"/>
                  <a:gd name="T53" fmla="*/ 250349 h 487"/>
                  <a:gd name="T54" fmla="*/ 178355 w 538"/>
                  <a:gd name="T55" fmla="*/ 243047 h 487"/>
                  <a:gd name="T56" fmla="*/ 166292 w 538"/>
                  <a:gd name="T57" fmla="*/ 232616 h 487"/>
                  <a:gd name="T58" fmla="*/ 152937 w 538"/>
                  <a:gd name="T59" fmla="*/ 216448 h 487"/>
                  <a:gd name="T60" fmla="*/ 134412 w 538"/>
                  <a:gd name="T61" fmla="*/ 190370 h 487"/>
                  <a:gd name="T62" fmla="*/ 118042 w 538"/>
                  <a:gd name="T63" fmla="*/ 172115 h 487"/>
                  <a:gd name="T64" fmla="*/ 105979 w 538"/>
                  <a:gd name="T65" fmla="*/ 164813 h 487"/>
                  <a:gd name="T66" fmla="*/ 91331 w 538"/>
                  <a:gd name="T67" fmla="*/ 161162 h 487"/>
                  <a:gd name="T68" fmla="*/ 77546 w 538"/>
                  <a:gd name="T69" fmla="*/ 161684 h 487"/>
                  <a:gd name="T70" fmla="*/ 65914 w 538"/>
                  <a:gd name="T71" fmla="*/ 165335 h 487"/>
                  <a:gd name="T72" fmla="*/ 48681 w 538"/>
                  <a:gd name="T73" fmla="*/ 179938 h 487"/>
                  <a:gd name="T74" fmla="*/ 58590 w 538"/>
                  <a:gd name="T75" fmla="*/ 188283 h 487"/>
                  <a:gd name="T76" fmla="*/ 60313 w 538"/>
                  <a:gd name="T77" fmla="*/ 192977 h 487"/>
                  <a:gd name="T78" fmla="*/ 53420 w 538"/>
                  <a:gd name="T79" fmla="*/ 209146 h 487"/>
                  <a:gd name="T80" fmla="*/ 48681 w 538"/>
                  <a:gd name="T81" fmla="*/ 215926 h 487"/>
                  <a:gd name="T82" fmla="*/ 20248 w 538"/>
                  <a:gd name="T83" fmla="*/ 210189 h 487"/>
                  <a:gd name="T84" fmla="*/ 8616 w 538"/>
                  <a:gd name="T85" fmla="*/ 135084 h 487"/>
                  <a:gd name="T86" fmla="*/ 8616 w 538"/>
                  <a:gd name="T87" fmla="*/ 0 h 4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538" h="487">
                    <a:moveTo>
                      <a:pt x="20" y="0"/>
                    </a:moveTo>
                    <a:lnTo>
                      <a:pt x="58" y="10"/>
                    </a:lnTo>
                    <a:lnTo>
                      <a:pt x="91" y="21"/>
                    </a:lnTo>
                    <a:lnTo>
                      <a:pt x="119" y="30"/>
                    </a:lnTo>
                    <a:lnTo>
                      <a:pt x="142" y="38"/>
                    </a:lnTo>
                    <a:lnTo>
                      <a:pt x="160" y="47"/>
                    </a:lnTo>
                    <a:lnTo>
                      <a:pt x="177" y="55"/>
                    </a:lnTo>
                    <a:lnTo>
                      <a:pt x="190" y="62"/>
                    </a:lnTo>
                    <a:lnTo>
                      <a:pt x="202" y="70"/>
                    </a:lnTo>
                    <a:lnTo>
                      <a:pt x="222" y="86"/>
                    </a:lnTo>
                    <a:lnTo>
                      <a:pt x="242" y="102"/>
                    </a:lnTo>
                    <a:lnTo>
                      <a:pt x="253" y="110"/>
                    </a:lnTo>
                    <a:lnTo>
                      <a:pt x="266" y="118"/>
                    </a:lnTo>
                    <a:lnTo>
                      <a:pt x="281" y="127"/>
                    </a:lnTo>
                    <a:lnTo>
                      <a:pt x="300" y="136"/>
                    </a:lnTo>
                    <a:lnTo>
                      <a:pt x="297" y="152"/>
                    </a:lnTo>
                    <a:lnTo>
                      <a:pt x="297" y="158"/>
                    </a:lnTo>
                    <a:lnTo>
                      <a:pt x="299" y="161"/>
                    </a:lnTo>
                    <a:lnTo>
                      <a:pt x="300" y="167"/>
                    </a:lnTo>
                    <a:lnTo>
                      <a:pt x="314" y="178"/>
                    </a:lnTo>
                    <a:lnTo>
                      <a:pt x="347" y="205"/>
                    </a:lnTo>
                    <a:lnTo>
                      <a:pt x="381" y="231"/>
                    </a:lnTo>
                    <a:lnTo>
                      <a:pt x="399" y="247"/>
                    </a:lnTo>
                    <a:lnTo>
                      <a:pt x="393" y="248"/>
                    </a:lnTo>
                    <a:lnTo>
                      <a:pt x="386" y="250"/>
                    </a:lnTo>
                    <a:lnTo>
                      <a:pt x="382" y="250"/>
                    </a:lnTo>
                    <a:lnTo>
                      <a:pt x="379" y="250"/>
                    </a:lnTo>
                    <a:lnTo>
                      <a:pt x="376" y="249"/>
                    </a:lnTo>
                    <a:lnTo>
                      <a:pt x="372" y="247"/>
                    </a:lnTo>
                    <a:lnTo>
                      <a:pt x="372" y="256"/>
                    </a:lnTo>
                    <a:lnTo>
                      <a:pt x="372" y="265"/>
                    </a:lnTo>
                    <a:lnTo>
                      <a:pt x="372" y="272"/>
                    </a:lnTo>
                    <a:lnTo>
                      <a:pt x="372" y="278"/>
                    </a:lnTo>
                    <a:lnTo>
                      <a:pt x="373" y="285"/>
                    </a:lnTo>
                    <a:lnTo>
                      <a:pt x="375" y="292"/>
                    </a:lnTo>
                    <a:lnTo>
                      <a:pt x="377" y="301"/>
                    </a:lnTo>
                    <a:lnTo>
                      <a:pt x="380" y="309"/>
                    </a:lnTo>
                    <a:lnTo>
                      <a:pt x="384" y="317"/>
                    </a:lnTo>
                    <a:lnTo>
                      <a:pt x="389" y="325"/>
                    </a:lnTo>
                    <a:lnTo>
                      <a:pt x="394" y="333"/>
                    </a:lnTo>
                    <a:lnTo>
                      <a:pt x="401" y="341"/>
                    </a:lnTo>
                    <a:lnTo>
                      <a:pt x="407" y="348"/>
                    </a:lnTo>
                    <a:lnTo>
                      <a:pt x="414" y="355"/>
                    </a:lnTo>
                    <a:lnTo>
                      <a:pt x="421" y="361"/>
                    </a:lnTo>
                    <a:lnTo>
                      <a:pt x="428" y="366"/>
                    </a:lnTo>
                    <a:lnTo>
                      <a:pt x="436" y="371"/>
                    </a:lnTo>
                    <a:lnTo>
                      <a:pt x="444" y="374"/>
                    </a:lnTo>
                    <a:lnTo>
                      <a:pt x="451" y="376"/>
                    </a:lnTo>
                    <a:lnTo>
                      <a:pt x="459" y="376"/>
                    </a:lnTo>
                    <a:lnTo>
                      <a:pt x="459" y="384"/>
                    </a:lnTo>
                    <a:lnTo>
                      <a:pt x="461" y="390"/>
                    </a:lnTo>
                    <a:lnTo>
                      <a:pt x="465" y="396"/>
                    </a:lnTo>
                    <a:lnTo>
                      <a:pt x="468" y="401"/>
                    </a:lnTo>
                    <a:lnTo>
                      <a:pt x="472" y="406"/>
                    </a:lnTo>
                    <a:lnTo>
                      <a:pt x="478" y="411"/>
                    </a:lnTo>
                    <a:lnTo>
                      <a:pt x="483" y="414"/>
                    </a:lnTo>
                    <a:lnTo>
                      <a:pt x="489" y="417"/>
                    </a:lnTo>
                    <a:lnTo>
                      <a:pt x="500" y="423"/>
                    </a:lnTo>
                    <a:lnTo>
                      <a:pt x="510" y="429"/>
                    </a:lnTo>
                    <a:lnTo>
                      <a:pt x="513" y="432"/>
                    </a:lnTo>
                    <a:lnTo>
                      <a:pt x="516" y="436"/>
                    </a:lnTo>
                    <a:lnTo>
                      <a:pt x="518" y="440"/>
                    </a:lnTo>
                    <a:lnTo>
                      <a:pt x="518" y="444"/>
                    </a:lnTo>
                    <a:lnTo>
                      <a:pt x="519" y="446"/>
                    </a:lnTo>
                    <a:lnTo>
                      <a:pt x="522" y="448"/>
                    </a:lnTo>
                    <a:lnTo>
                      <a:pt x="525" y="450"/>
                    </a:lnTo>
                    <a:lnTo>
                      <a:pt x="528" y="452"/>
                    </a:lnTo>
                    <a:lnTo>
                      <a:pt x="536" y="455"/>
                    </a:lnTo>
                    <a:lnTo>
                      <a:pt x="538" y="456"/>
                    </a:lnTo>
                    <a:lnTo>
                      <a:pt x="538" y="461"/>
                    </a:lnTo>
                    <a:lnTo>
                      <a:pt x="536" y="467"/>
                    </a:lnTo>
                    <a:lnTo>
                      <a:pt x="534" y="472"/>
                    </a:lnTo>
                    <a:lnTo>
                      <a:pt x="529" y="477"/>
                    </a:lnTo>
                    <a:lnTo>
                      <a:pt x="525" y="481"/>
                    </a:lnTo>
                    <a:lnTo>
                      <a:pt x="519" y="484"/>
                    </a:lnTo>
                    <a:lnTo>
                      <a:pt x="513" y="487"/>
                    </a:lnTo>
                    <a:lnTo>
                      <a:pt x="505" y="487"/>
                    </a:lnTo>
                    <a:lnTo>
                      <a:pt x="490" y="487"/>
                    </a:lnTo>
                    <a:lnTo>
                      <a:pt x="474" y="485"/>
                    </a:lnTo>
                    <a:lnTo>
                      <a:pt x="461" y="483"/>
                    </a:lnTo>
                    <a:lnTo>
                      <a:pt x="448" y="480"/>
                    </a:lnTo>
                    <a:lnTo>
                      <a:pt x="436" y="476"/>
                    </a:lnTo>
                    <a:lnTo>
                      <a:pt x="425" y="471"/>
                    </a:lnTo>
                    <a:lnTo>
                      <a:pt x="414" y="466"/>
                    </a:lnTo>
                    <a:lnTo>
                      <a:pt x="404" y="459"/>
                    </a:lnTo>
                    <a:lnTo>
                      <a:pt x="395" y="453"/>
                    </a:lnTo>
                    <a:lnTo>
                      <a:pt x="386" y="446"/>
                    </a:lnTo>
                    <a:lnTo>
                      <a:pt x="378" y="438"/>
                    </a:lnTo>
                    <a:lnTo>
                      <a:pt x="369" y="431"/>
                    </a:lnTo>
                    <a:lnTo>
                      <a:pt x="355" y="415"/>
                    </a:lnTo>
                    <a:lnTo>
                      <a:pt x="341" y="398"/>
                    </a:lnTo>
                    <a:lnTo>
                      <a:pt x="326" y="381"/>
                    </a:lnTo>
                    <a:lnTo>
                      <a:pt x="312" y="365"/>
                    </a:lnTo>
                    <a:lnTo>
                      <a:pt x="298" y="350"/>
                    </a:lnTo>
                    <a:lnTo>
                      <a:pt x="282" y="336"/>
                    </a:lnTo>
                    <a:lnTo>
                      <a:pt x="274" y="330"/>
                    </a:lnTo>
                    <a:lnTo>
                      <a:pt x="265" y="325"/>
                    </a:lnTo>
                    <a:lnTo>
                      <a:pt x="256" y="320"/>
                    </a:lnTo>
                    <a:lnTo>
                      <a:pt x="246" y="316"/>
                    </a:lnTo>
                    <a:lnTo>
                      <a:pt x="235" y="313"/>
                    </a:lnTo>
                    <a:lnTo>
                      <a:pt x="224" y="311"/>
                    </a:lnTo>
                    <a:lnTo>
                      <a:pt x="212" y="309"/>
                    </a:lnTo>
                    <a:lnTo>
                      <a:pt x="200" y="309"/>
                    </a:lnTo>
                    <a:lnTo>
                      <a:pt x="189" y="309"/>
                    </a:lnTo>
                    <a:lnTo>
                      <a:pt x="180" y="310"/>
                    </a:lnTo>
                    <a:lnTo>
                      <a:pt x="171" y="311"/>
                    </a:lnTo>
                    <a:lnTo>
                      <a:pt x="165" y="313"/>
                    </a:lnTo>
                    <a:lnTo>
                      <a:pt x="153" y="317"/>
                    </a:lnTo>
                    <a:lnTo>
                      <a:pt x="144" y="322"/>
                    </a:lnTo>
                    <a:lnTo>
                      <a:pt x="130" y="334"/>
                    </a:lnTo>
                    <a:lnTo>
                      <a:pt x="113" y="345"/>
                    </a:lnTo>
                    <a:lnTo>
                      <a:pt x="126" y="352"/>
                    </a:lnTo>
                    <a:lnTo>
                      <a:pt x="134" y="358"/>
                    </a:lnTo>
                    <a:lnTo>
                      <a:pt x="136" y="361"/>
                    </a:lnTo>
                    <a:lnTo>
                      <a:pt x="138" y="363"/>
                    </a:lnTo>
                    <a:lnTo>
                      <a:pt x="140" y="366"/>
                    </a:lnTo>
                    <a:lnTo>
                      <a:pt x="140" y="370"/>
                    </a:lnTo>
                    <a:lnTo>
                      <a:pt x="136" y="380"/>
                    </a:lnTo>
                    <a:lnTo>
                      <a:pt x="130" y="394"/>
                    </a:lnTo>
                    <a:lnTo>
                      <a:pt x="124" y="401"/>
                    </a:lnTo>
                    <a:lnTo>
                      <a:pt x="120" y="407"/>
                    </a:lnTo>
                    <a:lnTo>
                      <a:pt x="117" y="412"/>
                    </a:lnTo>
                    <a:lnTo>
                      <a:pt x="113" y="414"/>
                    </a:lnTo>
                    <a:lnTo>
                      <a:pt x="93" y="395"/>
                    </a:lnTo>
                    <a:lnTo>
                      <a:pt x="70" y="399"/>
                    </a:lnTo>
                    <a:lnTo>
                      <a:pt x="47" y="403"/>
                    </a:lnTo>
                    <a:lnTo>
                      <a:pt x="28" y="406"/>
                    </a:lnTo>
                    <a:lnTo>
                      <a:pt x="20" y="407"/>
                    </a:lnTo>
                    <a:lnTo>
                      <a:pt x="20" y="259"/>
                    </a:lnTo>
                    <a:lnTo>
                      <a:pt x="0" y="234"/>
                    </a:lnTo>
                    <a:lnTo>
                      <a:pt x="20" y="222"/>
                    </a:lnTo>
                    <a:lnTo>
                      <a:pt x="20" y="0"/>
                    </a:lnTo>
                  </a:path>
                </a:pathLst>
              </a:custGeom>
              <a:grpFill/>
              <a:ln w="9525" cmpd="sng">
                <a:solidFill>
                  <a:srgbClr val="FFFFFF"/>
                </a:solidFill>
                <a:prstDash val="solid"/>
                <a:round/>
                <a:headEnd/>
                <a:tailEnd/>
              </a:ln>
            </p:spPr>
            <p:txBody>
              <a:bodyPr/>
              <a:lstStyle/>
              <a:p>
                <a:endParaRPr lang="en-GB" sz="1637"/>
              </a:p>
            </p:txBody>
          </p:sp>
          <p:sp>
            <p:nvSpPr>
              <p:cNvPr id="118" name="Freeform 280"/>
              <p:cNvSpPr>
                <a:spLocks/>
              </p:cNvSpPr>
              <p:nvPr>
                <p:custDataLst>
                  <p:tags r:id="rId101"/>
                </p:custDataLst>
              </p:nvPr>
            </p:nvSpPr>
            <p:spPr bwMode="auto">
              <a:xfrm>
                <a:off x="7957370" y="4039237"/>
                <a:ext cx="116109" cy="145068"/>
              </a:xfrm>
              <a:custGeom>
                <a:avLst/>
                <a:gdLst>
                  <a:gd name="T0" fmla="*/ 57175 w 253"/>
                  <a:gd name="T1" fmla="*/ 523 h 246"/>
                  <a:gd name="T2" fmla="*/ 66003 w 253"/>
                  <a:gd name="T3" fmla="*/ 4182 h 246"/>
                  <a:gd name="T4" fmla="*/ 75252 w 253"/>
                  <a:gd name="T5" fmla="*/ 10977 h 246"/>
                  <a:gd name="T6" fmla="*/ 83660 w 253"/>
                  <a:gd name="T7" fmla="*/ 19340 h 246"/>
                  <a:gd name="T8" fmla="*/ 91648 w 253"/>
                  <a:gd name="T9" fmla="*/ 29795 h 246"/>
                  <a:gd name="T10" fmla="*/ 98374 w 253"/>
                  <a:gd name="T11" fmla="*/ 39726 h 246"/>
                  <a:gd name="T12" fmla="*/ 102999 w 253"/>
                  <a:gd name="T13" fmla="*/ 49135 h 246"/>
                  <a:gd name="T14" fmla="*/ 105942 w 253"/>
                  <a:gd name="T15" fmla="*/ 58021 h 246"/>
                  <a:gd name="T16" fmla="*/ 105942 w 253"/>
                  <a:gd name="T17" fmla="*/ 66907 h 246"/>
                  <a:gd name="T18" fmla="*/ 102158 w 253"/>
                  <a:gd name="T19" fmla="*/ 78929 h 246"/>
                  <a:gd name="T20" fmla="*/ 96272 w 253"/>
                  <a:gd name="T21" fmla="*/ 90952 h 246"/>
                  <a:gd name="T22" fmla="*/ 87864 w 253"/>
                  <a:gd name="T23" fmla="*/ 101929 h 246"/>
                  <a:gd name="T24" fmla="*/ 77354 w 253"/>
                  <a:gd name="T25" fmla="*/ 111860 h 246"/>
                  <a:gd name="T26" fmla="*/ 66003 w 253"/>
                  <a:gd name="T27" fmla="*/ 119701 h 246"/>
                  <a:gd name="T28" fmla="*/ 54232 w 253"/>
                  <a:gd name="T29" fmla="*/ 125451 h 246"/>
                  <a:gd name="T30" fmla="*/ 42040 w 253"/>
                  <a:gd name="T31" fmla="*/ 128064 h 246"/>
                  <a:gd name="T32" fmla="*/ 31110 w 253"/>
                  <a:gd name="T33" fmla="*/ 128064 h 246"/>
                  <a:gd name="T34" fmla="*/ 22281 w 253"/>
                  <a:gd name="T35" fmla="*/ 125451 h 246"/>
                  <a:gd name="T36" fmla="*/ 13873 w 253"/>
                  <a:gd name="T37" fmla="*/ 122314 h 246"/>
                  <a:gd name="T38" fmla="*/ 4624 w 253"/>
                  <a:gd name="T39" fmla="*/ 119701 h 246"/>
                  <a:gd name="T40" fmla="*/ 1261 w 253"/>
                  <a:gd name="T41" fmla="*/ 114474 h 246"/>
                  <a:gd name="T42" fmla="*/ 4204 w 253"/>
                  <a:gd name="T43" fmla="*/ 107156 h 246"/>
                  <a:gd name="T44" fmla="*/ 9249 w 253"/>
                  <a:gd name="T45" fmla="*/ 102451 h 246"/>
                  <a:gd name="T46" fmla="*/ 15555 w 253"/>
                  <a:gd name="T47" fmla="*/ 99838 h 246"/>
                  <a:gd name="T48" fmla="*/ 21020 w 253"/>
                  <a:gd name="T49" fmla="*/ 102974 h 246"/>
                  <a:gd name="T50" fmla="*/ 25224 w 253"/>
                  <a:gd name="T51" fmla="*/ 108201 h 246"/>
                  <a:gd name="T52" fmla="*/ 28587 w 253"/>
                  <a:gd name="T53" fmla="*/ 105065 h 246"/>
                  <a:gd name="T54" fmla="*/ 31530 w 253"/>
                  <a:gd name="T55" fmla="*/ 99315 h 246"/>
                  <a:gd name="T56" fmla="*/ 35314 w 253"/>
                  <a:gd name="T57" fmla="*/ 94088 h 246"/>
                  <a:gd name="T58" fmla="*/ 38257 w 253"/>
                  <a:gd name="T59" fmla="*/ 94611 h 246"/>
                  <a:gd name="T60" fmla="*/ 41200 w 253"/>
                  <a:gd name="T61" fmla="*/ 93565 h 246"/>
                  <a:gd name="T62" fmla="*/ 44563 w 253"/>
                  <a:gd name="T63" fmla="*/ 93043 h 246"/>
                  <a:gd name="T64" fmla="*/ 50448 w 253"/>
                  <a:gd name="T65" fmla="*/ 90952 h 246"/>
                  <a:gd name="T66" fmla="*/ 62640 w 253"/>
                  <a:gd name="T67" fmla="*/ 85725 h 246"/>
                  <a:gd name="T68" fmla="*/ 75252 w 253"/>
                  <a:gd name="T69" fmla="*/ 76839 h 246"/>
                  <a:gd name="T70" fmla="*/ 82819 w 253"/>
                  <a:gd name="T71" fmla="*/ 70566 h 246"/>
                  <a:gd name="T72" fmla="*/ 88285 w 253"/>
                  <a:gd name="T73" fmla="*/ 64294 h 246"/>
                  <a:gd name="T74" fmla="*/ 91648 w 253"/>
                  <a:gd name="T75" fmla="*/ 58021 h 246"/>
                  <a:gd name="T76" fmla="*/ 92068 w 253"/>
                  <a:gd name="T77" fmla="*/ 51226 h 246"/>
                  <a:gd name="T78" fmla="*/ 89966 w 253"/>
                  <a:gd name="T79" fmla="*/ 45999 h 246"/>
                  <a:gd name="T80" fmla="*/ 88285 w 253"/>
                  <a:gd name="T81" fmla="*/ 41817 h 246"/>
                  <a:gd name="T82" fmla="*/ 87023 w 253"/>
                  <a:gd name="T83" fmla="*/ 37635 h 246"/>
                  <a:gd name="T84" fmla="*/ 84501 w 253"/>
                  <a:gd name="T85" fmla="*/ 35022 h 246"/>
                  <a:gd name="T86" fmla="*/ 80297 w 253"/>
                  <a:gd name="T87" fmla="*/ 33976 h 246"/>
                  <a:gd name="T88" fmla="*/ 77354 w 253"/>
                  <a:gd name="T89" fmla="*/ 31885 h 246"/>
                  <a:gd name="T90" fmla="*/ 75673 w 253"/>
                  <a:gd name="T91" fmla="*/ 28226 h 246"/>
                  <a:gd name="T92" fmla="*/ 58856 w 253"/>
                  <a:gd name="T93" fmla="*/ 25613 h 246"/>
                  <a:gd name="T94" fmla="*/ 57175 w 253"/>
                  <a:gd name="T95" fmla="*/ 22999 h 246"/>
                  <a:gd name="T96" fmla="*/ 57175 w 253"/>
                  <a:gd name="T97" fmla="*/ 18818 h 246"/>
                  <a:gd name="T98" fmla="*/ 58856 w 253"/>
                  <a:gd name="T99" fmla="*/ 9409 h 246"/>
                  <a:gd name="T100" fmla="*/ 46244 w 253"/>
                  <a:gd name="T101" fmla="*/ 5750 h 246"/>
                  <a:gd name="T102" fmla="*/ 40779 w 253"/>
                  <a:gd name="T103" fmla="*/ 6273 h 246"/>
                  <a:gd name="T104" fmla="*/ 36155 w 253"/>
                  <a:gd name="T105" fmla="*/ 9409 h 246"/>
                  <a:gd name="T106" fmla="*/ 43722 w 253"/>
                  <a:gd name="T107" fmla="*/ 2614 h 246"/>
                  <a:gd name="T108" fmla="*/ 47506 w 253"/>
                  <a:gd name="T109" fmla="*/ 523 h 246"/>
                  <a:gd name="T110" fmla="*/ 53391 w 253"/>
                  <a:gd name="T111" fmla="*/ 0 h 24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53" h="246">
                    <a:moveTo>
                      <a:pt x="127" y="0"/>
                    </a:moveTo>
                    <a:lnTo>
                      <a:pt x="136" y="1"/>
                    </a:lnTo>
                    <a:lnTo>
                      <a:pt x="146" y="4"/>
                    </a:lnTo>
                    <a:lnTo>
                      <a:pt x="157" y="8"/>
                    </a:lnTo>
                    <a:lnTo>
                      <a:pt x="168" y="14"/>
                    </a:lnTo>
                    <a:lnTo>
                      <a:pt x="179" y="21"/>
                    </a:lnTo>
                    <a:lnTo>
                      <a:pt x="189" y="28"/>
                    </a:lnTo>
                    <a:lnTo>
                      <a:pt x="199" y="37"/>
                    </a:lnTo>
                    <a:lnTo>
                      <a:pt x="209" y="47"/>
                    </a:lnTo>
                    <a:lnTo>
                      <a:pt x="218" y="57"/>
                    </a:lnTo>
                    <a:lnTo>
                      <a:pt x="227" y="66"/>
                    </a:lnTo>
                    <a:lnTo>
                      <a:pt x="234" y="76"/>
                    </a:lnTo>
                    <a:lnTo>
                      <a:pt x="240" y="85"/>
                    </a:lnTo>
                    <a:lnTo>
                      <a:pt x="245" y="94"/>
                    </a:lnTo>
                    <a:lnTo>
                      <a:pt x="250" y="103"/>
                    </a:lnTo>
                    <a:lnTo>
                      <a:pt x="252" y="111"/>
                    </a:lnTo>
                    <a:lnTo>
                      <a:pt x="253" y="117"/>
                    </a:lnTo>
                    <a:lnTo>
                      <a:pt x="252" y="128"/>
                    </a:lnTo>
                    <a:lnTo>
                      <a:pt x="248" y="140"/>
                    </a:lnTo>
                    <a:lnTo>
                      <a:pt x="243" y="151"/>
                    </a:lnTo>
                    <a:lnTo>
                      <a:pt x="236" y="163"/>
                    </a:lnTo>
                    <a:lnTo>
                      <a:pt x="229" y="174"/>
                    </a:lnTo>
                    <a:lnTo>
                      <a:pt x="219" y="185"/>
                    </a:lnTo>
                    <a:lnTo>
                      <a:pt x="209" y="195"/>
                    </a:lnTo>
                    <a:lnTo>
                      <a:pt x="197" y="204"/>
                    </a:lnTo>
                    <a:lnTo>
                      <a:pt x="184" y="214"/>
                    </a:lnTo>
                    <a:lnTo>
                      <a:pt x="171" y="222"/>
                    </a:lnTo>
                    <a:lnTo>
                      <a:pt x="157" y="229"/>
                    </a:lnTo>
                    <a:lnTo>
                      <a:pt x="143" y="235"/>
                    </a:lnTo>
                    <a:lnTo>
                      <a:pt x="129" y="240"/>
                    </a:lnTo>
                    <a:lnTo>
                      <a:pt x="115" y="243"/>
                    </a:lnTo>
                    <a:lnTo>
                      <a:pt x="100" y="245"/>
                    </a:lnTo>
                    <a:lnTo>
                      <a:pt x="86" y="246"/>
                    </a:lnTo>
                    <a:lnTo>
                      <a:pt x="74" y="245"/>
                    </a:lnTo>
                    <a:lnTo>
                      <a:pt x="64" y="243"/>
                    </a:lnTo>
                    <a:lnTo>
                      <a:pt x="53" y="240"/>
                    </a:lnTo>
                    <a:lnTo>
                      <a:pt x="43" y="237"/>
                    </a:lnTo>
                    <a:lnTo>
                      <a:pt x="33" y="234"/>
                    </a:lnTo>
                    <a:lnTo>
                      <a:pt x="22" y="231"/>
                    </a:lnTo>
                    <a:lnTo>
                      <a:pt x="11" y="229"/>
                    </a:lnTo>
                    <a:lnTo>
                      <a:pt x="0" y="228"/>
                    </a:lnTo>
                    <a:lnTo>
                      <a:pt x="3" y="219"/>
                    </a:lnTo>
                    <a:lnTo>
                      <a:pt x="6" y="212"/>
                    </a:lnTo>
                    <a:lnTo>
                      <a:pt x="10" y="205"/>
                    </a:lnTo>
                    <a:lnTo>
                      <a:pt x="16" y="200"/>
                    </a:lnTo>
                    <a:lnTo>
                      <a:pt x="22" y="196"/>
                    </a:lnTo>
                    <a:lnTo>
                      <a:pt x="29" y="193"/>
                    </a:lnTo>
                    <a:lnTo>
                      <a:pt x="37" y="191"/>
                    </a:lnTo>
                    <a:lnTo>
                      <a:pt x="46" y="191"/>
                    </a:lnTo>
                    <a:lnTo>
                      <a:pt x="50" y="197"/>
                    </a:lnTo>
                    <a:lnTo>
                      <a:pt x="53" y="209"/>
                    </a:lnTo>
                    <a:lnTo>
                      <a:pt x="60" y="207"/>
                    </a:lnTo>
                    <a:lnTo>
                      <a:pt x="65" y="204"/>
                    </a:lnTo>
                    <a:lnTo>
                      <a:pt x="68" y="201"/>
                    </a:lnTo>
                    <a:lnTo>
                      <a:pt x="72" y="198"/>
                    </a:lnTo>
                    <a:lnTo>
                      <a:pt x="75" y="190"/>
                    </a:lnTo>
                    <a:lnTo>
                      <a:pt x="79" y="179"/>
                    </a:lnTo>
                    <a:lnTo>
                      <a:pt x="84" y="180"/>
                    </a:lnTo>
                    <a:lnTo>
                      <a:pt x="88" y="181"/>
                    </a:lnTo>
                    <a:lnTo>
                      <a:pt x="91" y="181"/>
                    </a:lnTo>
                    <a:lnTo>
                      <a:pt x="95" y="181"/>
                    </a:lnTo>
                    <a:lnTo>
                      <a:pt x="98" y="179"/>
                    </a:lnTo>
                    <a:lnTo>
                      <a:pt x="99" y="179"/>
                    </a:lnTo>
                    <a:lnTo>
                      <a:pt x="106" y="178"/>
                    </a:lnTo>
                    <a:lnTo>
                      <a:pt x="112" y="177"/>
                    </a:lnTo>
                    <a:lnTo>
                      <a:pt x="120" y="174"/>
                    </a:lnTo>
                    <a:lnTo>
                      <a:pt x="130" y="171"/>
                    </a:lnTo>
                    <a:lnTo>
                      <a:pt x="149" y="164"/>
                    </a:lnTo>
                    <a:lnTo>
                      <a:pt x="169" y="153"/>
                    </a:lnTo>
                    <a:lnTo>
                      <a:pt x="179" y="147"/>
                    </a:lnTo>
                    <a:lnTo>
                      <a:pt x="188" y="141"/>
                    </a:lnTo>
                    <a:lnTo>
                      <a:pt x="197" y="135"/>
                    </a:lnTo>
                    <a:lnTo>
                      <a:pt x="205" y="129"/>
                    </a:lnTo>
                    <a:lnTo>
                      <a:pt x="210" y="123"/>
                    </a:lnTo>
                    <a:lnTo>
                      <a:pt x="216" y="117"/>
                    </a:lnTo>
                    <a:lnTo>
                      <a:pt x="218" y="111"/>
                    </a:lnTo>
                    <a:lnTo>
                      <a:pt x="219" y="105"/>
                    </a:lnTo>
                    <a:lnTo>
                      <a:pt x="219" y="98"/>
                    </a:lnTo>
                    <a:lnTo>
                      <a:pt x="217" y="92"/>
                    </a:lnTo>
                    <a:lnTo>
                      <a:pt x="214" y="88"/>
                    </a:lnTo>
                    <a:lnTo>
                      <a:pt x="212" y="84"/>
                    </a:lnTo>
                    <a:lnTo>
                      <a:pt x="210" y="80"/>
                    </a:lnTo>
                    <a:lnTo>
                      <a:pt x="208" y="76"/>
                    </a:lnTo>
                    <a:lnTo>
                      <a:pt x="207" y="72"/>
                    </a:lnTo>
                    <a:lnTo>
                      <a:pt x="206" y="68"/>
                    </a:lnTo>
                    <a:lnTo>
                      <a:pt x="201" y="67"/>
                    </a:lnTo>
                    <a:lnTo>
                      <a:pt x="196" y="67"/>
                    </a:lnTo>
                    <a:lnTo>
                      <a:pt x="191" y="65"/>
                    </a:lnTo>
                    <a:lnTo>
                      <a:pt x="188" y="63"/>
                    </a:lnTo>
                    <a:lnTo>
                      <a:pt x="184" y="61"/>
                    </a:lnTo>
                    <a:lnTo>
                      <a:pt x="182" y="57"/>
                    </a:lnTo>
                    <a:lnTo>
                      <a:pt x="180" y="54"/>
                    </a:lnTo>
                    <a:lnTo>
                      <a:pt x="179" y="49"/>
                    </a:lnTo>
                    <a:lnTo>
                      <a:pt x="140" y="49"/>
                    </a:lnTo>
                    <a:lnTo>
                      <a:pt x="138" y="47"/>
                    </a:lnTo>
                    <a:lnTo>
                      <a:pt x="136" y="44"/>
                    </a:lnTo>
                    <a:lnTo>
                      <a:pt x="136" y="39"/>
                    </a:lnTo>
                    <a:lnTo>
                      <a:pt x="136" y="36"/>
                    </a:lnTo>
                    <a:lnTo>
                      <a:pt x="139" y="27"/>
                    </a:lnTo>
                    <a:lnTo>
                      <a:pt x="140" y="18"/>
                    </a:lnTo>
                    <a:lnTo>
                      <a:pt x="124" y="14"/>
                    </a:lnTo>
                    <a:lnTo>
                      <a:pt x="110" y="11"/>
                    </a:lnTo>
                    <a:lnTo>
                      <a:pt x="104" y="11"/>
                    </a:lnTo>
                    <a:lnTo>
                      <a:pt x="97" y="12"/>
                    </a:lnTo>
                    <a:lnTo>
                      <a:pt x="91" y="15"/>
                    </a:lnTo>
                    <a:lnTo>
                      <a:pt x="86" y="18"/>
                    </a:lnTo>
                    <a:lnTo>
                      <a:pt x="96" y="10"/>
                    </a:lnTo>
                    <a:lnTo>
                      <a:pt x="104" y="5"/>
                    </a:lnTo>
                    <a:lnTo>
                      <a:pt x="108" y="3"/>
                    </a:lnTo>
                    <a:lnTo>
                      <a:pt x="113" y="1"/>
                    </a:lnTo>
                    <a:lnTo>
                      <a:pt x="119" y="0"/>
                    </a:lnTo>
                    <a:lnTo>
                      <a:pt x="127" y="0"/>
                    </a:lnTo>
                  </a:path>
                </a:pathLst>
              </a:custGeom>
              <a:grpFill/>
              <a:ln w="9525" cmpd="sng">
                <a:solidFill>
                  <a:srgbClr val="FFFFFF"/>
                </a:solidFill>
                <a:prstDash val="solid"/>
                <a:round/>
                <a:headEnd/>
                <a:tailEnd/>
              </a:ln>
            </p:spPr>
            <p:txBody>
              <a:bodyPr/>
              <a:lstStyle/>
              <a:p>
                <a:endParaRPr lang="en-GB" sz="1637"/>
              </a:p>
            </p:txBody>
          </p:sp>
          <p:sp>
            <p:nvSpPr>
              <p:cNvPr id="119" name="Freeform 318"/>
              <p:cNvSpPr>
                <a:spLocks/>
              </p:cNvSpPr>
              <p:nvPr>
                <p:custDataLst>
                  <p:tags r:id="rId102"/>
                </p:custDataLst>
              </p:nvPr>
            </p:nvSpPr>
            <p:spPr bwMode="auto">
              <a:xfrm>
                <a:off x="7243382" y="4347283"/>
                <a:ext cx="15596" cy="66265"/>
              </a:xfrm>
              <a:custGeom>
                <a:avLst/>
                <a:gdLst>
                  <a:gd name="T0" fmla="*/ 0 w 41"/>
                  <a:gd name="T1" fmla="*/ 0 h 25"/>
                  <a:gd name="T2" fmla="*/ 14287 w 41"/>
                  <a:gd name="T3" fmla="*/ 0 h 25"/>
                  <a:gd name="T4" fmla="*/ 9757 w 41"/>
                  <a:gd name="T5" fmla="*/ 18796 h 25"/>
                  <a:gd name="T6" fmla="*/ 6272 w 41"/>
                  <a:gd name="T7" fmla="*/ 35242 h 25"/>
                  <a:gd name="T8" fmla="*/ 3136 w 41"/>
                  <a:gd name="T9" fmla="*/ 46990 h 25"/>
                  <a:gd name="T10" fmla="*/ 0 w 41"/>
                  <a:gd name="T11" fmla="*/ 58737 h 25"/>
                  <a:gd name="T12" fmla="*/ 0 w 41"/>
                  <a:gd name="T13" fmla="*/ 0 h 2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1" h="25">
                    <a:moveTo>
                      <a:pt x="0" y="0"/>
                    </a:moveTo>
                    <a:lnTo>
                      <a:pt x="41" y="0"/>
                    </a:lnTo>
                    <a:lnTo>
                      <a:pt x="28" y="8"/>
                    </a:lnTo>
                    <a:lnTo>
                      <a:pt x="18" y="15"/>
                    </a:lnTo>
                    <a:lnTo>
                      <a:pt x="9" y="20"/>
                    </a:lnTo>
                    <a:lnTo>
                      <a:pt x="0" y="25"/>
                    </a:lnTo>
                    <a:lnTo>
                      <a:pt x="0" y="0"/>
                    </a:lnTo>
                  </a:path>
                </a:pathLst>
              </a:custGeom>
              <a:grpFill/>
              <a:ln w="9525" cap="flat" cmpd="sng">
                <a:solidFill>
                  <a:srgbClr val="FFFFFF"/>
                </a:solidFill>
                <a:prstDash val="solid"/>
                <a:round/>
                <a:headEnd type="none" w="med" len="med"/>
                <a:tailEnd type="none" w="med" len="med"/>
              </a:ln>
              <a:effectLst/>
            </p:spPr>
            <p:txBody>
              <a:bodyPr/>
              <a:lstStyle/>
              <a:p>
                <a:endParaRPr lang="en-GB" sz="1637"/>
              </a:p>
            </p:txBody>
          </p:sp>
          <p:sp>
            <p:nvSpPr>
              <p:cNvPr id="120" name="Freeform 331"/>
              <p:cNvSpPr>
                <a:spLocks/>
              </p:cNvSpPr>
              <p:nvPr>
                <p:custDataLst>
                  <p:tags r:id="rId103"/>
                </p:custDataLst>
              </p:nvPr>
            </p:nvSpPr>
            <p:spPr bwMode="auto">
              <a:xfrm>
                <a:off x="7657564" y="4230870"/>
                <a:ext cx="31194" cy="62684"/>
              </a:xfrm>
              <a:custGeom>
                <a:avLst/>
                <a:gdLst>
                  <a:gd name="T0" fmla="*/ 8353 w 65"/>
                  <a:gd name="T1" fmla="*/ 55563 h 68"/>
                  <a:gd name="T2" fmla="*/ 7034 w 65"/>
                  <a:gd name="T3" fmla="*/ 55563 h 68"/>
                  <a:gd name="T4" fmla="*/ 6155 w 65"/>
                  <a:gd name="T5" fmla="*/ 53929 h 68"/>
                  <a:gd name="T6" fmla="*/ 4836 w 65"/>
                  <a:gd name="T7" fmla="*/ 52295 h 68"/>
                  <a:gd name="T8" fmla="*/ 3077 w 65"/>
                  <a:gd name="T9" fmla="*/ 49843 h 68"/>
                  <a:gd name="T10" fmla="*/ 1758 w 65"/>
                  <a:gd name="T11" fmla="*/ 48209 h 68"/>
                  <a:gd name="T12" fmla="*/ 879 w 65"/>
                  <a:gd name="T13" fmla="*/ 44941 h 68"/>
                  <a:gd name="T14" fmla="*/ 0 w 65"/>
                  <a:gd name="T15" fmla="*/ 42489 h 68"/>
                  <a:gd name="T16" fmla="*/ 0 w 65"/>
                  <a:gd name="T17" fmla="*/ 40038 h 68"/>
                  <a:gd name="T18" fmla="*/ 0 w 65"/>
                  <a:gd name="T19" fmla="*/ 31050 h 68"/>
                  <a:gd name="T20" fmla="*/ 879 w 65"/>
                  <a:gd name="T21" fmla="*/ 23696 h 68"/>
                  <a:gd name="T22" fmla="*/ 2198 w 65"/>
                  <a:gd name="T23" fmla="*/ 17159 h 68"/>
                  <a:gd name="T24" fmla="*/ 3957 w 65"/>
                  <a:gd name="T25" fmla="*/ 11439 h 68"/>
                  <a:gd name="T26" fmla="*/ 6594 w 65"/>
                  <a:gd name="T27" fmla="*/ 6537 h 68"/>
                  <a:gd name="T28" fmla="*/ 9672 w 65"/>
                  <a:gd name="T29" fmla="*/ 3268 h 68"/>
                  <a:gd name="T30" fmla="*/ 13188 w 65"/>
                  <a:gd name="T31" fmla="*/ 1634 h 68"/>
                  <a:gd name="T32" fmla="*/ 17145 w 65"/>
                  <a:gd name="T33" fmla="*/ 0 h 68"/>
                  <a:gd name="T34" fmla="*/ 22860 w 65"/>
                  <a:gd name="T35" fmla="*/ 0 h 68"/>
                  <a:gd name="T36" fmla="*/ 28575 w 65"/>
                  <a:gd name="T37" fmla="*/ 0 h 68"/>
                  <a:gd name="T38" fmla="*/ 28575 w 65"/>
                  <a:gd name="T39" fmla="*/ 35135 h 68"/>
                  <a:gd name="T40" fmla="*/ 24618 w 65"/>
                  <a:gd name="T41" fmla="*/ 42489 h 68"/>
                  <a:gd name="T42" fmla="*/ 19783 w 65"/>
                  <a:gd name="T43" fmla="*/ 49843 h 68"/>
                  <a:gd name="T44" fmla="*/ 17145 w 65"/>
                  <a:gd name="T45" fmla="*/ 52295 h 68"/>
                  <a:gd name="T46" fmla="*/ 14947 w 65"/>
                  <a:gd name="T47" fmla="*/ 53929 h 68"/>
                  <a:gd name="T48" fmla="*/ 11870 w 65"/>
                  <a:gd name="T49" fmla="*/ 55563 h 68"/>
                  <a:gd name="T50" fmla="*/ 8353 w 65"/>
                  <a:gd name="T51" fmla="*/ 55563 h 6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65" h="68">
                    <a:moveTo>
                      <a:pt x="19" y="68"/>
                    </a:moveTo>
                    <a:lnTo>
                      <a:pt x="16" y="68"/>
                    </a:lnTo>
                    <a:lnTo>
                      <a:pt x="14" y="66"/>
                    </a:lnTo>
                    <a:lnTo>
                      <a:pt x="11" y="64"/>
                    </a:lnTo>
                    <a:lnTo>
                      <a:pt x="7" y="61"/>
                    </a:lnTo>
                    <a:lnTo>
                      <a:pt x="4" y="59"/>
                    </a:lnTo>
                    <a:lnTo>
                      <a:pt x="2" y="55"/>
                    </a:lnTo>
                    <a:lnTo>
                      <a:pt x="0" y="52"/>
                    </a:lnTo>
                    <a:lnTo>
                      <a:pt x="0" y="49"/>
                    </a:lnTo>
                    <a:lnTo>
                      <a:pt x="0" y="38"/>
                    </a:lnTo>
                    <a:lnTo>
                      <a:pt x="2" y="29"/>
                    </a:lnTo>
                    <a:lnTo>
                      <a:pt x="5" y="21"/>
                    </a:lnTo>
                    <a:lnTo>
                      <a:pt x="9" y="14"/>
                    </a:lnTo>
                    <a:lnTo>
                      <a:pt x="15" y="8"/>
                    </a:lnTo>
                    <a:lnTo>
                      <a:pt x="22" y="4"/>
                    </a:lnTo>
                    <a:lnTo>
                      <a:pt x="30" y="2"/>
                    </a:lnTo>
                    <a:lnTo>
                      <a:pt x="39" y="0"/>
                    </a:lnTo>
                    <a:lnTo>
                      <a:pt x="52" y="0"/>
                    </a:lnTo>
                    <a:lnTo>
                      <a:pt x="65" y="0"/>
                    </a:lnTo>
                    <a:lnTo>
                      <a:pt x="65" y="43"/>
                    </a:lnTo>
                    <a:lnTo>
                      <a:pt x="56" y="52"/>
                    </a:lnTo>
                    <a:lnTo>
                      <a:pt x="45" y="61"/>
                    </a:lnTo>
                    <a:lnTo>
                      <a:pt x="39" y="64"/>
                    </a:lnTo>
                    <a:lnTo>
                      <a:pt x="34" y="66"/>
                    </a:lnTo>
                    <a:lnTo>
                      <a:pt x="27" y="68"/>
                    </a:lnTo>
                    <a:lnTo>
                      <a:pt x="19" y="68"/>
                    </a:lnTo>
                  </a:path>
                </a:pathLst>
              </a:custGeom>
              <a:grpFill/>
              <a:ln w="9525" cap="flat" cmpd="sng">
                <a:solidFill>
                  <a:srgbClr val="FFFFFF"/>
                </a:solidFill>
                <a:prstDash val="solid"/>
                <a:round/>
                <a:headEnd type="none" w="med" len="med"/>
                <a:tailEnd type="none" w="med" len="med"/>
              </a:ln>
              <a:effectLst/>
            </p:spPr>
            <p:txBody>
              <a:bodyPr/>
              <a:lstStyle/>
              <a:p>
                <a:endParaRPr lang="en-GB" sz="1637"/>
              </a:p>
            </p:txBody>
          </p:sp>
          <p:sp>
            <p:nvSpPr>
              <p:cNvPr id="121" name="Freeform 347"/>
              <p:cNvSpPr>
                <a:spLocks/>
              </p:cNvSpPr>
              <p:nvPr>
                <p:custDataLst>
                  <p:tags r:id="rId104"/>
                </p:custDataLst>
              </p:nvPr>
            </p:nvSpPr>
            <p:spPr bwMode="auto">
              <a:xfrm>
                <a:off x="4539935" y="2251854"/>
                <a:ext cx="93581" cy="89548"/>
              </a:xfrm>
              <a:custGeom>
                <a:avLst/>
                <a:gdLst>
                  <a:gd name="T0" fmla="*/ 2679 w 192"/>
                  <a:gd name="T1" fmla="*/ 9793 h 154"/>
                  <a:gd name="T2" fmla="*/ 23217 w 192"/>
                  <a:gd name="T3" fmla="*/ 0 h 154"/>
                  <a:gd name="T4" fmla="*/ 41077 w 192"/>
                  <a:gd name="T5" fmla="*/ 9793 h 154"/>
                  <a:gd name="T6" fmla="*/ 53132 w 192"/>
                  <a:gd name="T7" fmla="*/ 15978 h 154"/>
                  <a:gd name="T8" fmla="*/ 65187 w 192"/>
                  <a:gd name="T9" fmla="*/ 32472 h 154"/>
                  <a:gd name="T10" fmla="*/ 74116 w 192"/>
                  <a:gd name="T11" fmla="*/ 47934 h 154"/>
                  <a:gd name="T12" fmla="*/ 85725 w 192"/>
                  <a:gd name="T13" fmla="*/ 60820 h 154"/>
                  <a:gd name="T14" fmla="*/ 67866 w 192"/>
                  <a:gd name="T15" fmla="*/ 63912 h 154"/>
                  <a:gd name="T16" fmla="*/ 56257 w 192"/>
                  <a:gd name="T17" fmla="*/ 67005 h 154"/>
                  <a:gd name="T18" fmla="*/ 56257 w 192"/>
                  <a:gd name="T19" fmla="*/ 79375 h 154"/>
                  <a:gd name="T20" fmla="*/ 47327 w 192"/>
                  <a:gd name="T21" fmla="*/ 79375 h 154"/>
                  <a:gd name="T22" fmla="*/ 44202 w 192"/>
                  <a:gd name="T23" fmla="*/ 75252 h 154"/>
                  <a:gd name="T24" fmla="*/ 41523 w 192"/>
                  <a:gd name="T25" fmla="*/ 70613 h 154"/>
                  <a:gd name="T26" fmla="*/ 39291 w 192"/>
                  <a:gd name="T27" fmla="*/ 64943 h 154"/>
                  <a:gd name="T28" fmla="*/ 36612 w 192"/>
                  <a:gd name="T29" fmla="*/ 59274 h 154"/>
                  <a:gd name="T30" fmla="*/ 33040 w 192"/>
                  <a:gd name="T31" fmla="*/ 47934 h 154"/>
                  <a:gd name="T32" fmla="*/ 29021 w 192"/>
                  <a:gd name="T33" fmla="*/ 36595 h 154"/>
                  <a:gd name="T34" fmla="*/ 26789 w 192"/>
                  <a:gd name="T35" fmla="*/ 31441 h 154"/>
                  <a:gd name="T36" fmla="*/ 24557 w 192"/>
                  <a:gd name="T37" fmla="*/ 25771 h 154"/>
                  <a:gd name="T38" fmla="*/ 21431 w 192"/>
                  <a:gd name="T39" fmla="*/ 21648 h 154"/>
                  <a:gd name="T40" fmla="*/ 18306 w 192"/>
                  <a:gd name="T41" fmla="*/ 17524 h 154"/>
                  <a:gd name="T42" fmla="*/ 14734 w 192"/>
                  <a:gd name="T43" fmla="*/ 14432 h 154"/>
                  <a:gd name="T44" fmla="*/ 10716 w 192"/>
                  <a:gd name="T45" fmla="*/ 11855 h 154"/>
                  <a:gd name="T46" fmla="*/ 8037 w 192"/>
                  <a:gd name="T47" fmla="*/ 11339 h 154"/>
                  <a:gd name="T48" fmla="*/ 5358 w 192"/>
                  <a:gd name="T49" fmla="*/ 10308 h 154"/>
                  <a:gd name="T50" fmla="*/ 2679 w 192"/>
                  <a:gd name="T51" fmla="*/ 10308 h 154"/>
                  <a:gd name="T52" fmla="*/ 0 w 192"/>
                  <a:gd name="T53" fmla="*/ 9793 h 154"/>
                  <a:gd name="T54" fmla="*/ 2679 w 192"/>
                  <a:gd name="T55" fmla="*/ 9793 h 15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92" h="154">
                    <a:moveTo>
                      <a:pt x="6" y="19"/>
                    </a:moveTo>
                    <a:lnTo>
                      <a:pt x="52" y="0"/>
                    </a:lnTo>
                    <a:lnTo>
                      <a:pt x="92" y="19"/>
                    </a:lnTo>
                    <a:lnTo>
                      <a:pt x="119" y="31"/>
                    </a:lnTo>
                    <a:lnTo>
                      <a:pt x="146" y="63"/>
                    </a:lnTo>
                    <a:lnTo>
                      <a:pt x="166" y="93"/>
                    </a:lnTo>
                    <a:lnTo>
                      <a:pt x="192" y="118"/>
                    </a:lnTo>
                    <a:lnTo>
                      <a:pt x="152" y="124"/>
                    </a:lnTo>
                    <a:lnTo>
                      <a:pt x="126" y="130"/>
                    </a:lnTo>
                    <a:lnTo>
                      <a:pt x="126" y="154"/>
                    </a:lnTo>
                    <a:lnTo>
                      <a:pt x="106" y="154"/>
                    </a:lnTo>
                    <a:lnTo>
                      <a:pt x="99" y="146"/>
                    </a:lnTo>
                    <a:lnTo>
                      <a:pt x="93" y="137"/>
                    </a:lnTo>
                    <a:lnTo>
                      <a:pt x="88" y="126"/>
                    </a:lnTo>
                    <a:lnTo>
                      <a:pt x="82" y="115"/>
                    </a:lnTo>
                    <a:lnTo>
                      <a:pt x="74" y="93"/>
                    </a:lnTo>
                    <a:lnTo>
                      <a:pt x="65" y="71"/>
                    </a:lnTo>
                    <a:lnTo>
                      <a:pt x="60" y="61"/>
                    </a:lnTo>
                    <a:lnTo>
                      <a:pt x="55" y="50"/>
                    </a:lnTo>
                    <a:lnTo>
                      <a:pt x="48" y="42"/>
                    </a:lnTo>
                    <a:lnTo>
                      <a:pt x="41" y="34"/>
                    </a:lnTo>
                    <a:lnTo>
                      <a:pt x="33" y="28"/>
                    </a:lnTo>
                    <a:lnTo>
                      <a:pt x="24" y="23"/>
                    </a:lnTo>
                    <a:lnTo>
                      <a:pt x="18" y="22"/>
                    </a:lnTo>
                    <a:lnTo>
                      <a:pt x="12" y="20"/>
                    </a:lnTo>
                    <a:lnTo>
                      <a:pt x="6" y="20"/>
                    </a:lnTo>
                    <a:lnTo>
                      <a:pt x="0" y="19"/>
                    </a:lnTo>
                    <a:lnTo>
                      <a:pt x="6" y="19"/>
                    </a:lnTo>
                  </a:path>
                </a:pathLst>
              </a:custGeom>
              <a:grpFill/>
              <a:ln w="9525" cmpd="sng">
                <a:solidFill>
                  <a:srgbClr val="FFFFFF"/>
                </a:solidFill>
                <a:prstDash val="solid"/>
                <a:round/>
                <a:headEnd/>
                <a:tailEnd/>
              </a:ln>
            </p:spPr>
            <p:txBody>
              <a:bodyPr/>
              <a:lstStyle/>
              <a:p>
                <a:endParaRPr lang="en-GB" sz="1637"/>
              </a:p>
            </p:txBody>
          </p:sp>
          <p:sp>
            <p:nvSpPr>
              <p:cNvPr id="122" name="Freeform 349"/>
              <p:cNvSpPr>
                <a:spLocks/>
              </p:cNvSpPr>
              <p:nvPr>
                <p:custDataLst>
                  <p:tags r:id="rId105"/>
                </p:custDataLst>
              </p:nvPr>
            </p:nvSpPr>
            <p:spPr bwMode="auto">
              <a:xfrm>
                <a:off x="5007839" y="2506171"/>
                <a:ext cx="51989" cy="71639"/>
              </a:xfrm>
              <a:custGeom>
                <a:avLst/>
                <a:gdLst>
                  <a:gd name="T0" fmla="*/ 21364 w 107"/>
                  <a:gd name="T1" fmla="*/ 0 h 123"/>
                  <a:gd name="T2" fmla="*/ 36053 w 107"/>
                  <a:gd name="T3" fmla="*/ 16004 h 123"/>
                  <a:gd name="T4" fmla="*/ 41839 w 107"/>
                  <a:gd name="T5" fmla="*/ 34589 h 123"/>
                  <a:gd name="T6" fmla="*/ 47625 w 107"/>
                  <a:gd name="T7" fmla="*/ 44398 h 123"/>
                  <a:gd name="T8" fmla="*/ 47625 w 107"/>
                  <a:gd name="T9" fmla="*/ 60402 h 123"/>
                  <a:gd name="T10" fmla="*/ 47625 w 107"/>
                  <a:gd name="T11" fmla="*/ 63500 h 123"/>
                  <a:gd name="T12" fmla="*/ 39168 w 107"/>
                  <a:gd name="T13" fmla="*/ 58854 h 123"/>
                  <a:gd name="T14" fmla="*/ 32492 w 107"/>
                  <a:gd name="T15" fmla="*/ 54207 h 123"/>
                  <a:gd name="T16" fmla="*/ 27151 w 107"/>
                  <a:gd name="T17" fmla="*/ 50593 h 123"/>
                  <a:gd name="T18" fmla="*/ 24035 w 107"/>
                  <a:gd name="T19" fmla="*/ 47496 h 123"/>
                  <a:gd name="T20" fmla="*/ 22700 w 107"/>
                  <a:gd name="T21" fmla="*/ 42850 h 123"/>
                  <a:gd name="T22" fmla="*/ 21364 w 107"/>
                  <a:gd name="T23" fmla="*/ 37687 h 123"/>
                  <a:gd name="T24" fmla="*/ 17359 w 107"/>
                  <a:gd name="T25" fmla="*/ 38203 h 123"/>
                  <a:gd name="T26" fmla="*/ 14243 w 107"/>
                  <a:gd name="T27" fmla="*/ 37687 h 123"/>
                  <a:gd name="T28" fmla="*/ 11572 w 107"/>
                  <a:gd name="T29" fmla="*/ 37171 h 123"/>
                  <a:gd name="T30" fmla="*/ 9347 w 107"/>
                  <a:gd name="T31" fmla="*/ 36138 h 123"/>
                  <a:gd name="T32" fmla="*/ 7567 w 107"/>
                  <a:gd name="T33" fmla="*/ 34589 h 123"/>
                  <a:gd name="T34" fmla="*/ 6231 w 107"/>
                  <a:gd name="T35" fmla="*/ 32524 h 123"/>
                  <a:gd name="T36" fmla="*/ 4896 w 107"/>
                  <a:gd name="T37" fmla="*/ 30459 h 123"/>
                  <a:gd name="T38" fmla="*/ 4006 w 107"/>
                  <a:gd name="T39" fmla="*/ 27878 h 123"/>
                  <a:gd name="T40" fmla="*/ 1780 w 107"/>
                  <a:gd name="T41" fmla="*/ 16004 h 123"/>
                  <a:gd name="T42" fmla="*/ 0 w 107"/>
                  <a:gd name="T43" fmla="*/ 3098 h 123"/>
                  <a:gd name="T44" fmla="*/ 15133 w 107"/>
                  <a:gd name="T45" fmla="*/ 0 h 123"/>
                  <a:gd name="T46" fmla="*/ 21364 w 107"/>
                  <a:gd name="T47" fmla="*/ 0 h 12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7" h="123">
                    <a:moveTo>
                      <a:pt x="48" y="0"/>
                    </a:moveTo>
                    <a:lnTo>
                      <a:pt x="81" y="31"/>
                    </a:lnTo>
                    <a:lnTo>
                      <a:pt x="94" y="67"/>
                    </a:lnTo>
                    <a:lnTo>
                      <a:pt x="107" y="86"/>
                    </a:lnTo>
                    <a:lnTo>
                      <a:pt x="107" y="117"/>
                    </a:lnTo>
                    <a:lnTo>
                      <a:pt x="107" y="123"/>
                    </a:lnTo>
                    <a:lnTo>
                      <a:pt x="88" y="114"/>
                    </a:lnTo>
                    <a:lnTo>
                      <a:pt x="73" y="105"/>
                    </a:lnTo>
                    <a:lnTo>
                      <a:pt x="61" y="98"/>
                    </a:lnTo>
                    <a:lnTo>
                      <a:pt x="54" y="92"/>
                    </a:lnTo>
                    <a:lnTo>
                      <a:pt x="51" y="83"/>
                    </a:lnTo>
                    <a:lnTo>
                      <a:pt x="48" y="73"/>
                    </a:lnTo>
                    <a:lnTo>
                      <a:pt x="39" y="74"/>
                    </a:lnTo>
                    <a:lnTo>
                      <a:pt x="32" y="73"/>
                    </a:lnTo>
                    <a:lnTo>
                      <a:pt x="26" y="72"/>
                    </a:lnTo>
                    <a:lnTo>
                      <a:pt x="21" y="70"/>
                    </a:lnTo>
                    <a:lnTo>
                      <a:pt x="17" y="67"/>
                    </a:lnTo>
                    <a:lnTo>
                      <a:pt x="14" y="63"/>
                    </a:lnTo>
                    <a:lnTo>
                      <a:pt x="11" y="59"/>
                    </a:lnTo>
                    <a:lnTo>
                      <a:pt x="9" y="54"/>
                    </a:lnTo>
                    <a:lnTo>
                      <a:pt x="4" y="31"/>
                    </a:lnTo>
                    <a:lnTo>
                      <a:pt x="0" y="6"/>
                    </a:lnTo>
                    <a:lnTo>
                      <a:pt x="34" y="0"/>
                    </a:lnTo>
                    <a:lnTo>
                      <a:pt x="48" y="0"/>
                    </a:lnTo>
                  </a:path>
                </a:pathLst>
              </a:custGeom>
              <a:grpFill/>
              <a:ln w="9525" cmpd="sng">
                <a:solidFill>
                  <a:srgbClr val="FFFFFF"/>
                </a:solidFill>
                <a:prstDash val="solid"/>
                <a:round/>
                <a:headEnd/>
                <a:tailEnd/>
              </a:ln>
            </p:spPr>
            <p:txBody>
              <a:bodyPr/>
              <a:lstStyle/>
              <a:p>
                <a:endParaRPr lang="en-GB" sz="1637"/>
              </a:p>
            </p:txBody>
          </p:sp>
          <p:sp>
            <p:nvSpPr>
              <p:cNvPr id="123" name="Freeform 353"/>
              <p:cNvSpPr>
                <a:spLocks/>
              </p:cNvSpPr>
              <p:nvPr>
                <p:custDataLst>
                  <p:tags r:id="rId106"/>
                </p:custDataLst>
              </p:nvPr>
            </p:nvSpPr>
            <p:spPr bwMode="auto">
              <a:xfrm>
                <a:off x="4361438" y="2332447"/>
                <a:ext cx="117843" cy="168351"/>
              </a:xfrm>
              <a:custGeom>
                <a:avLst/>
                <a:gdLst>
                  <a:gd name="T0" fmla="*/ 13165 w 246"/>
                  <a:gd name="T1" fmla="*/ 14187 h 284"/>
                  <a:gd name="T2" fmla="*/ 12287 w 246"/>
                  <a:gd name="T3" fmla="*/ 12611 h 284"/>
                  <a:gd name="T4" fmla="*/ 10532 w 246"/>
                  <a:gd name="T5" fmla="*/ 8932 h 284"/>
                  <a:gd name="T6" fmla="*/ 15359 w 246"/>
                  <a:gd name="T7" fmla="*/ 2627 h 284"/>
                  <a:gd name="T8" fmla="*/ 29401 w 246"/>
                  <a:gd name="T9" fmla="*/ 525 h 284"/>
                  <a:gd name="T10" fmla="*/ 55291 w 246"/>
                  <a:gd name="T11" fmla="*/ 6305 h 284"/>
                  <a:gd name="T12" fmla="*/ 57486 w 246"/>
                  <a:gd name="T13" fmla="*/ 15763 h 284"/>
                  <a:gd name="T14" fmla="*/ 60996 w 246"/>
                  <a:gd name="T15" fmla="*/ 24170 h 284"/>
                  <a:gd name="T16" fmla="*/ 66262 w 246"/>
                  <a:gd name="T17" fmla="*/ 29950 h 284"/>
                  <a:gd name="T18" fmla="*/ 72405 w 246"/>
                  <a:gd name="T19" fmla="*/ 35204 h 284"/>
                  <a:gd name="T20" fmla="*/ 83815 w 246"/>
                  <a:gd name="T21" fmla="*/ 45713 h 284"/>
                  <a:gd name="T22" fmla="*/ 89081 w 246"/>
                  <a:gd name="T23" fmla="*/ 53069 h 284"/>
                  <a:gd name="T24" fmla="*/ 93030 w 246"/>
                  <a:gd name="T25" fmla="*/ 61476 h 284"/>
                  <a:gd name="T26" fmla="*/ 99174 w 246"/>
                  <a:gd name="T27" fmla="*/ 61476 h 284"/>
                  <a:gd name="T28" fmla="*/ 96979 w 246"/>
                  <a:gd name="T29" fmla="*/ 65155 h 284"/>
                  <a:gd name="T30" fmla="*/ 96979 w 246"/>
                  <a:gd name="T31" fmla="*/ 67782 h 284"/>
                  <a:gd name="T32" fmla="*/ 100051 w 246"/>
                  <a:gd name="T33" fmla="*/ 73562 h 284"/>
                  <a:gd name="T34" fmla="*/ 104878 w 246"/>
                  <a:gd name="T35" fmla="*/ 80918 h 284"/>
                  <a:gd name="T36" fmla="*/ 107072 w 246"/>
                  <a:gd name="T37" fmla="*/ 85121 h 284"/>
                  <a:gd name="T38" fmla="*/ 107950 w 246"/>
                  <a:gd name="T39" fmla="*/ 90901 h 284"/>
                  <a:gd name="T40" fmla="*/ 105756 w 246"/>
                  <a:gd name="T41" fmla="*/ 96681 h 284"/>
                  <a:gd name="T42" fmla="*/ 102245 w 246"/>
                  <a:gd name="T43" fmla="*/ 100885 h 284"/>
                  <a:gd name="T44" fmla="*/ 97857 w 246"/>
                  <a:gd name="T45" fmla="*/ 104037 h 284"/>
                  <a:gd name="T46" fmla="*/ 96541 w 246"/>
                  <a:gd name="T47" fmla="*/ 107190 h 284"/>
                  <a:gd name="T48" fmla="*/ 82937 w 246"/>
                  <a:gd name="T49" fmla="*/ 112970 h 284"/>
                  <a:gd name="T50" fmla="*/ 71967 w 246"/>
                  <a:gd name="T51" fmla="*/ 120851 h 284"/>
                  <a:gd name="T52" fmla="*/ 49587 w 246"/>
                  <a:gd name="T53" fmla="*/ 139242 h 284"/>
                  <a:gd name="T54" fmla="*/ 38616 w 246"/>
                  <a:gd name="T55" fmla="*/ 121377 h 284"/>
                  <a:gd name="T56" fmla="*/ 34667 w 246"/>
                  <a:gd name="T57" fmla="*/ 115597 h 284"/>
                  <a:gd name="T58" fmla="*/ 31595 w 246"/>
                  <a:gd name="T59" fmla="*/ 113495 h 284"/>
                  <a:gd name="T60" fmla="*/ 26329 w 246"/>
                  <a:gd name="T61" fmla="*/ 114021 h 284"/>
                  <a:gd name="T62" fmla="*/ 23696 w 246"/>
                  <a:gd name="T63" fmla="*/ 116122 h 284"/>
                  <a:gd name="T64" fmla="*/ 21502 w 246"/>
                  <a:gd name="T65" fmla="*/ 119800 h 284"/>
                  <a:gd name="T66" fmla="*/ 21063 w 246"/>
                  <a:gd name="T67" fmla="*/ 124004 h 284"/>
                  <a:gd name="T68" fmla="*/ 19747 w 246"/>
                  <a:gd name="T69" fmla="*/ 135038 h 284"/>
                  <a:gd name="T70" fmla="*/ 17992 w 246"/>
                  <a:gd name="T71" fmla="*/ 141869 h 284"/>
                  <a:gd name="T72" fmla="*/ 14481 w 246"/>
                  <a:gd name="T73" fmla="*/ 149225 h 284"/>
                  <a:gd name="T74" fmla="*/ 11409 w 246"/>
                  <a:gd name="T75" fmla="*/ 127682 h 284"/>
                  <a:gd name="T76" fmla="*/ 7460 w 246"/>
                  <a:gd name="T77" fmla="*/ 119275 h 284"/>
                  <a:gd name="T78" fmla="*/ 4827 w 246"/>
                  <a:gd name="T79" fmla="*/ 116122 h 284"/>
                  <a:gd name="T80" fmla="*/ 0 w 246"/>
                  <a:gd name="T81" fmla="*/ 113495 h 284"/>
                  <a:gd name="T82" fmla="*/ 439 w 246"/>
                  <a:gd name="T83" fmla="*/ 107190 h 284"/>
                  <a:gd name="T84" fmla="*/ 1755 w 246"/>
                  <a:gd name="T85" fmla="*/ 101410 h 284"/>
                  <a:gd name="T86" fmla="*/ 6582 w 246"/>
                  <a:gd name="T87" fmla="*/ 92477 h 284"/>
                  <a:gd name="T88" fmla="*/ 13603 w 246"/>
                  <a:gd name="T89" fmla="*/ 84596 h 284"/>
                  <a:gd name="T90" fmla="*/ 20186 w 246"/>
                  <a:gd name="T91" fmla="*/ 74087 h 284"/>
                  <a:gd name="T92" fmla="*/ 14481 w 246"/>
                  <a:gd name="T93" fmla="*/ 23119 h 28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246" h="284">
                    <a:moveTo>
                      <a:pt x="33" y="44"/>
                    </a:moveTo>
                    <a:lnTo>
                      <a:pt x="30" y="27"/>
                    </a:lnTo>
                    <a:lnTo>
                      <a:pt x="28" y="24"/>
                    </a:lnTo>
                    <a:lnTo>
                      <a:pt x="26" y="22"/>
                    </a:lnTo>
                    <a:lnTo>
                      <a:pt x="24" y="17"/>
                    </a:lnTo>
                    <a:lnTo>
                      <a:pt x="20" y="6"/>
                    </a:lnTo>
                    <a:lnTo>
                      <a:pt x="35" y="5"/>
                    </a:lnTo>
                    <a:lnTo>
                      <a:pt x="50" y="3"/>
                    </a:lnTo>
                    <a:lnTo>
                      <a:pt x="67" y="1"/>
                    </a:lnTo>
                    <a:lnTo>
                      <a:pt x="87" y="0"/>
                    </a:lnTo>
                    <a:lnTo>
                      <a:pt x="126" y="12"/>
                    </a:lnTo>
                    <a:lnTo>
                      <a:pt x="127" y="22"/>
                    </a:lnTo>
                    <a:lnTo>
                      <a:pt x="131" y="30"/>
                    </a:lnTo>
                    <a:lnTo>
                      <a:pt x="135" y="39"/>
                    </a:lnTo>
                    <a:lnTo>
                      <a:pt x="139" y="46"/>
                    </a:lnTo>
                    <a:lnTo>
                      <a:pt x="145" y="52"/>
                    </a:lnTo>
                    <a:lnTo>
                      <a:pt x="151" y="57"/>
                    </a:lnTo>
                    <a:lnTo>
                      <a:pt x="157" y="62"/>
                    </a:lnTo>
                    <a:lnTo>
                      <a:pt x="165" y="67"/>
                    </a:lnTo>
                    <a:lnTo>
                      <a:pt x="178" y="77"/>
                    </a:lnTo>
                    <a:lnTo>
                      <a:pt x="191" y="87"/>
                    </a:lnTo>
                    <a:lnTo>
                      <a:pt x="198" y="94"/>
                    </a:lnTo>
                    <a:lnTo>
                      <a:pt x="203" y="101"/>
                    </a:lnTo>
                    <a:lnTo>
                      <a:pt x="209" y="109"/>
                    </a:lnTo>
                    <a:lnTo>
                      <a:pt x="212" y="117"/>
                    </a:lnTo>
                    <a:lnTo>
                      <a:pt x="220" y="117"/>
                    </a:lnTo>
                    <a:lnTo>
                      <a:pt x="226" y="117"/>
                    </a:lnTo>
                    <a:lnTo>
                      <a:pt x="223" y="121"/>
                    </a:lnTo>
                    <a:lnTo>
                      <a:pt x="221" y="124"/>
                    </a:lnTo>
                    <a:lnTo>
                      <a:pt x="220" y="126"/>
                    </a:lnTo>
                    <a:lnTo>
                      <a:pt x="221" y="129"/>
                    </a:lnTo>
                    <a:lnTo>
                      <a:pt x="223" y="135"/>
                    </a:lnTo>
                    <a:lnTo>
                      <a:pt x="228" y="140"/>
                    </a:lnTo>
                    <a:lnTo>
                      <a:pt x="234" y="146"/>
                    </a:lnTo>
                    <a:lnTo>
                      <a:pt x="239" y="154"/>
                    </a:lnTo>
                    <a:lnTo>
                      <a:pt x="241" y="158"/>
                    </a:lnTo>
                    <a:lnTo>
                      <a:pt x="244" y="162"/>
                    </a:lnTo>
                    <a:lnTo>
                      <a:pt x="245" y="167"/>
                    </a:lnTo>
                    <a:lnTo>
                      <a:pt x="246" y="173"/>
                    </a:lnTo>
                    <a:lnTo>
                      <a:pt x="245" y="179"/>
                    </a:lnTo>
                    <a:lnTo>
                      <a:pt x="241" y="184"/>
                    </a:lnTo>
                    <a:lnTo>
                      <a:pt x="237" y="189"/>
                    </a:lnTo>
                    <a:lnTo>
                      <a:pt x="233" y="192"/>
                    </a:lnTo>
                    <a:lnTo>
                      <a:pt x="227" y="196"/>
                    </a:lnTo>
                    <a:lnTo>
                      <a:pt x="223" y="198"/>
                    </a:lnTo>
                    <a:lnTo>
                      <a:pt x="221" y="201"/>
                    </a:lnTo>
                    <a:lnTo>
                      <a:pt x="220" y="204"/>
                    </a:lnTo>
                    <a:lnTo>
                      <a:pt x="203" y="209"/>
                    </a:lnTo>
                    <a:lnTo>
                      <a:pt x="189" y="215"/>
                    </a:lnTo>
                    <a:lnTo>
                      <a:pt x="176" y="222"/>
                    </a:lnTo>
                    <a:lnTo>
                      <a:pt x="164" y="230"/>
                    </a:lnTo>
                    <a:lnTo>
                      <a:pt x="139" y="246"/>
                    </a:lnTo>
                    <a:lnTo>
                      <a:pt x="113" y="265"/>
                    </a:lnTo>
                    <a:lnTo>
                      <a:pt x="99" y="247"/>
                    </a:lnTo>
                    <a:lnTo>
                      <a:pt x="88" y="231"/>
                    </a:lnTo>
                    <a:lnTo>
                      <a:pt x="83" y="225"/>
                    </a:lnTo>
                    <a:lnTo>
                      <a:pt x="79" y="220"/>
                    </a:lnTo>
                    <a:lnTo>
                      <a:pt x="76" y="217"/>
                    </a:lnTo>
                    <a:lnTo>
                      <a:pt x="72" y="216"/>
                    </a:lnTo>
                    <a:lnTo>
                      <a:pt x="66" y="216"/>
                    </a:lnTo>
                    <a:lnTo>
                      <a:pt x="60" y="217"/>
                    </a:lnTo>
                    <a:lnTo>
                      <a:pt x="57" y="219"/>
                    </a:lnTo>
                    <a:lnTo>
                      <a:pt x="54" y="221"/>
                    </a:lnTo>
                    <a:lnTo>
                      <a:pt x="52" y="224"/>
                    </a:lnTo>
                    <a:lnTo>
                      <a:pt x="49" y="228"/>
                    </a:lnTo>
                    <a:lnTo>
                      <a:pt x="48" y="231"/>
                    </a:lnTo>
                    <a:lnTo>
                      <a:pt x="48" y="236"/>
                    </a:lnTo>
                    <a:lnTo>
                      <a:pt x="47" y="246"/>
                    </a:lnTo>
                    <a:lnTo>
                      <a:pt x="45" y="257"/>
                    </a:lnTo>
                    <a:lnTo>
                      <a:pt x="43" y="264"/>
                    </a:lnTo>
                    <a:lnTo>
                      <a:pt x="41" y="270"/>
                    </a:lnTo>
                    <a:lnTo>
                      <a:pt x="37" y="277"/>
                    </a:lnTo>
                    <a:lnTo>
                      <a:pt x="33" y="284"/>
                    </a:lnTo>
                    <a:lnTo>
                      <a:pt x="30" y="262"/>
                    </a:lnTo>
                    <a:lnTo>
                      <a:pt x="26" y="243"/>
                    </a:lnTo>
                    <a:lnTo>
                      <a:pt x="23" y="234"/>
                    </a:lnTo>
                    <a:lnTo>
                      <a:pt x="17" y="227"/>
                    </a:lnTo>
                    <a:lnTo>
                      <a:pt x="14" y="224"/>
                    </a:lnTo>
                    <a:lnTo>
                      <a:pt x="11" y="221"/>
                    </a:lnTo>
                    <a:lnTo>
                      <a:pt x="5" y="218"/>
                    </a:lnTo>
                    <a:lnTo>
                      <a:pt x="0" y="216"/>
                    </a:lnTo>
                    <a:lnTo>
                      <a:pt x="0" y="210"/>
                    </a:lnTo>
                    <a:lnTo>
                      <a:pt x="1" y="204"/>
                    </a:lnTo>
                    <a:lnTo>
                      <a:pt x="2" y="197"/>
                    </a:lnTo>
                    <a:lnTo>
                      <a:pt x="4" y="193"/>
                    </a:lnTo>
                    <a:lnTo>
                      <a:pt x="9" y="184"/>
                    </a:lnTo>
                    <a:lnTo>
                      <a:pt x="15" y="176"/>
                    </a:lnTo>
                    <a:lnTo>
                      <a:pt x="23" y="169"/>
                    </a:lnTo>
                    <a:lnTo>
                      <a:pt x="31" y="161"/>
                    </a:lnTo>
                    <a:lnTo>
                      <a:pt x="38" y="153"/>
                    </a:lnTo>
                    <a:lnTo>
                      <a:pt x="46" y="141"/>
                    </a:lnTo>
                    <a:lnTo>
                      <a:pt x="0" y="62"/>
                    </a:lnTo>
                    <a:lnTo>
                      <a:pt x="33" y="44"/>
                    </a:lnTo>
                  </a:path>
                </a:pathLst>
              </a:custGeom>
              <a:grpFill/>
              <a:ln w="9525" cap="flat" cmpd="sng">
                <a:solidFill>
                  <a:srgbClr val="FFFFFF"/>
                </a:solidFill>
                <a:prstDash val="solid"/>
                <a:round/>
                <a:headEnd type="none" w="med" len="med"/>
                <a:tailEnd type="none" w="med" len="med"/>
              </a:ln>
              <a:effectLst/>
            </p:spPr>
            <p:txBody>
              <a:bodyPr/>
              <a:lstStyle/>
              <a:p>
                <a:endParaRPr lang="en-GB" sz="1637"/>
              </a:p>
            </p:txBody>
          </p:sp>
          <p:sp>
            <p:nvSpPr>
              <p:cNvPr id="124" name="Freeform 354"/>
              <p:cNvSpPr>
                <a:spLocks/>
              </p:cNvSpPr>
              <p:nvPr>
                <p:custDataLst>
                  <p:tags r:id="rId107"/>
                </p:custDataLst>
              </p:nvPr>
            </p:nvSpPr>
            <p:spPr bwMode="auto">
              <a:xfrm>
                <a:off x="4413427" y="2454232"/>
                <a:ext cx="74519" cy="68057"/>
              </a:xfrm>
              <a:custGeom>
                <a:avLst/>
                <a:gdLst>
                  <a:gd name="T0" fmla="*/ 48637 w 160"/>
                  <a:gd name="T1" fmla="*/ 0 h 117"/>
                  <a:gd name="T2" fmla="*/ 48637 w 160"/>
                  <a:gd name="T3" fmla="*/ 4640 h 117"/>
                  <a:gd name="T4" fmla="*/ 48637 w 160"/>
                  <a:gd name="T5" fmla="*/ 9281 h 117"/>
                  <a:gd name="T6" fmla="*/ 49064 w 160"/>
                  <a:gd name="T7" fmla="*/ 12890 h 117"/>
                  <a:gd name="T8" fmla="*/ 49917 w 160"/>
                  <a:gd name="T9" fmla="*/ 16499 h 117"/>
                  <a:gd name="T10" fmla="*/ 50771 w 160"/>
                  <a:gd name="T11" fmla="*/ 17530 h 117"/>
                  <a:gd name="T12" fmla="*/ 51624 w 160"/>
                  <a:gd name="T13" fmla="*/ 19077 h 117"/>
                  <a:gd name="T14" fmla="*/ 52477 w 160"/>
                  <a:gd name="T15" fmla="*/ 19593 h 117"/>
                  <a:gd name="T16" fmla="*/ 54184 w 160"/>
                  <a:gd name="T17" fmla="*/ 20108 h 117"/>
                  <a:gd name="T18" fmla="*/ 55890 w 160"/>
                  <a:gd name="T19" fmla="*/ 20624 h 117"/>
                  <a:gd name="T20" fmla="*/ 57597 w 160"/>
                  <a:gd name="T21" fmla="*/ 20108 h 117"/>
                  <a:gd name="T22" fmla="*/ 59730 w 160"/>
                  <a:gd name="T23" fmla="*/ 19593 h 117"/>
                  <a:gd name="T24" fmla="*/ 62290 w 160"/>
                  <a:gd name="T25" fmla="*/ 18562 h 117"/>
                  <a:gd name="T26" fmla="*/ 63570 w 160"/>
                  <a:gd name="T27" fmla="*/ 22171 h 117"/>
                  <a:gd name="T28" fmla="*/ 65276 w 160"/>
                  <a:gd name="T29" fmla="*/ 26811 h 117"/>
                  <a:gd name="T30" fmla="*/ 66983 w 160"/>
                  <a:gd name="T31" fmla="*/ 32998 h 117"/>
                  <a:gd name="T32" fmla="*/ 68263 w 160"/>
                  <a:gd name="T33" fmla="*/ 38154 h 117"/>
                  <a:gd name="T34" fmla="*/ 56744 w 160"/>
                  <a:gd name="T35" fmla="*/ 45373 h 117"/>
                  <a:gd name="T36" fmla="*/ 45224 w 160"/>
                  <a:gd name="T37" fmla="*/ 52591 h 117"/>
                  <a:gd name="T38" fmla="*/ 39251 w 160"/>
                  <a:gd name="T39" fmla="*/ 55169 h 117"/>
                  <a:gd name="T40" fmla="*/ 32425 w 160"/>
                  <a:gd name="T41" fmla="*/ 58263 h 117"/>
                  <a:gd name="T42" fmla="*/ 26452 w 160"/>
                  <a:gd name="T43" fmla="*/ 59809 h 117"/>
                  <a:gd name="T44" fmla="*/ 20052 w 160"/>
                  <a:gd name="T45" fmla="*/ 60325 h 117"/>
                  <a:gd name="T46" fmla="*/ 13653 w 160"/>
                  <a:gd name="T47" fmla="*/ 51044 h 117"/>
                  <a:gd name="T48" fmla="*/ 8960 w 160"/>
                  <a:gd name="T49" fmla="*/ 42795 h 117"/>
                  <a:gd name="T50" fmla="*/ 4266 w 160"/>
                  <a:gd name="T51" fmla="*/ 35576 h 117"/>
                  <a:gd name="T52" fmla="*/ 0 w 160"/>
                  <a:gd name="T53" fmla="*/ 28358 h 117"/>
                  <a:gd name="T54" fmla="*/ 5546 w 160"/>
                  <a:gd name="T55" fmla="*/ 24749 h 117"/>
                  <a:gd name="T56" fmla="*/ 17492 w 160"/>
                  <a:gd name="T57" fmla="*/ 16499 h 117"/>
                  <a:gd name="T58" fmla="*/ 25599 w 160"/>
                  <a:gd name="T59" fmla="*/ 11859 h 117"/>
                  <a:gd name="T60" fmla="*/ 33278 w 160"/>
                  <a:gd name="T61" fmla="*/ 7218 h 117"/>
                  <a:gd name="T62" fmla="*/ 41384 w 160"/>
                  <a:gd name="T63" fmla="*/ 3094 h 117"/>
                  <a:gd name="T64" fmla="*/ 48637 w 160"/>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60" h="117">
                    <a:moveTo>
                      <a:pt x="114" y="0"/>
                    </a:moveTo>
                    <a:lnTo>
                      <a:pt x="114" y="9"/>
                    </a:lnTo>
                    <a:lnTo>
                      <a:pt x="114" y="18"/>
                    </a:lnTo>
                    <a:lnTo>
                      <a:pt x="115" y="25"/>
                    </a:lnTo>
                    <a:lnTo>
                      <a:pt x="117" y="32"/>
                    </a:lnTo>
                    <a:lnTo>
                      <a:pt x="119" y="34"/>
                    </a:lnTo>
                    <a:lnTo>
                      <a:pt x="121" y="37"/>
                    </a:lnTo>
                    <a:lnTo>
                      <a:pt x="123" y="38"/>
                    </a:lnTo>
                    <a:lnTo>
                      <a:pt x="127" y="39"/>
                    </a:lnTo>
                    <a:lnTo>
                      <a:pt x="131" y="40"/>
                    </a:lnTo>
                    <a:lnTo>
                      <a:pt x="135" y="39"/>
                    </a:lnTo>
                    <a:lnTo>
                      <a:pt x="140" y="38"/>
                    </a:lnTo>
                    <a:lnTo>
                      <a:pt x="146" y="36"/>
                    </a:lnTo>
                    <a:lnTo>
                      <a:pt x="149" y="43"/>
                    </a:lnTo>
                    <a:lnTo>
                      <a:pt x="153" y="52"/>
                    </a:lnTo>
                    <a:lnTo>
                      <a:pt x="157" y="64"/>
                    </a:lnTo>
                    <a:lnTo>
                      <a:pt x="160" y="74"/>
                    </a:lnTo>
                    <a:lnTo>
                      <a:pt x="133" y="88"/>
                    </a:lnTo>
                    <a:lnTo>
                      <a:pt x="106" y="102"/>
                    </a:lnTo>
                    <a:lnTo>
                      <a:pt x="92" y="107"/>
                    </a:lnTo>
                    <a:lnTo>
                      <a:pt x="76" y="113"/>
                    </a:lnTo>
                    <a:lnTo>
                      <a:pt x="62" y="116"/>
                    </a:lnTo>
                    <a:lnTo>
                      <a:pt x="47" y="117"/>
                    </a:lnTo>
                    <a:lnTo>
                      <a:pt x="32" y="99"/>
                    </a:lnTo>
                    <a:lnTo>
                      <a:pt x="21" y="83"/>
                    </a:lnTo>
                    <a:lnTo>
                      <a:pt x="10" y="69"/>
                    </a:lnTo>
                    <a:lnTo>
                      <a:pt x="0" y="55"/>
                    </a:lnTo>
                    <a:lnTo>
                      <a:pt x="13" y="48"/>
                    </a:lnTo>
                    <a:lnTo>
                      <a:pt x="41" y="32"/>
                    </a:lnTo>
                    <a:lnTo>
                      <a:pt x="60" y="23"/>
                    </a:lnTo>
                    <a:lnTo>
                      <a:pt x="78" y="14"/>
                    </a:lnTo>
                    <a:lnTo>
                      <a:pt x="97" y="6"/>
                    </a:lnTo>
                    <a:lnTo>
                      <a:pt x="114" y="0"/>
                    </a:lnTo>
                  </a:path>
                </a:pathLst>
              </a:custGeom>
              <a:grpFill/>
              <a:ln w="9525" cap="flat" cmpd="sng">
                <a:solidFill>
                  <a:srgbClr val="FFFFFF"/>
                </a:solidFill>
                <a:prstDash val="solid"/>
                <a:round/>
                <a:headEnd type="none" w="med" len="med"/>
                <a:tailEnd type="none" w="med" len="med"/>
              </a:ln>
              <a:effectLst/>
            </p:spPr>
            <p:txBody>
              <a:bodyPr/>
              <a:lstStyle/>
              <a:p>
                <a:endParaRPr lang="en-GB" sz="1637"/>
              </a:p>
            </p:txBody>
          </p:sp>
          <p:sp>
            <p:nvSpPr>
              <p:cNvPr id="125" name="Freeform 355"/>
              <p:cNvSpPr>
                <a:spLocks/>
              </p:cNvSpPr>
              <p:nvPr>
                <p:custDataLst>
                  <p:tags r:id="rId108"/>
                </p:custDataLst>
              </p:nvPr>
            </p:nvSpPr>
            <p:spPr bwMode="auto">
              <a:xfrm>
                <a:off x="4505276" y="3158082"/>
                <a:ext cx="448841" cy="689521"/>
              </a:xfrm>
              <a:custGeom>
                <a:avLst/>
                <a:gdLst>
                  <a:gd name="T0" fmla="*/ 323523 w 943"/>
                  <a:gd name="T1" fmla="*/ 2607 h 1172"/>
                  <a:gd name="T2" fmla="*/ 333551 w 943"/>
                  <a:gd name="T3" fmla="*/ 11994 h 1172"/>
                  <a:gd name="T4" fmla="*/ 350120 w 943"/>
                  <a:gd name="T5" fmla="*/ 15645 h 1172"/>
                  <a:gd name="T6" fmla="*/ 354916 w 943"/>
                  <a:gd name="T7" fmla="*/ 28682 h 1172"/>
                  <a:gd name="T8" fmla="*/ 364072 w 943"/>
                  <a:gd name="T9" fmla="*/ 56842 h 1172"/>
                  <a:gd name="T10" fmla="*/ 364944 w 943"/>
                  <a:gd name="T11" fmla="*/ 97519 h 1172"/>
                  <a:gd name="T12" fmla="*/ 373665 w 943"/>
                  <a:gd name="T13" fmla="*/ 126722 h 1172"/>
                  <a:gd name="T14" fmla="*/ 402006 w 943"/>
                  <a:gd name="T15" fmla="*/ 152275 h 1172"/>
                  <a:gd name="T16" fmla="*/ 383257 w 943"/>
                  <a:gd name="T17" fmla="*/ 188258 h 1172"/>
                  <a:gd name="T18" fmla="*/ 371049 w 943"/>
                  <a:gd name="T19" fmla="*/ 213811 h 1172"/>
                  <a:gd name="T20" fmla="*/ 352736 w 943"/>
                  <a:gd name="T21" fmla="*/ 331147 h 1172"/>
                  <a:gd name="T22" fmla="*/ 335731 w 943"/>
                  <a:gd name="T23" fmla="*/ 353049 h 1172"/>
                  <a:gd name="T24" fmla="*/ 332679 w 943"/>
                  <a:gd name="T25" fmla="*/ 375995 h 1172"/>
                  <a:gd name="T26" fmla="*/ 324831 w 943"/>
                  <a:gd name="T27" fmla="*/ 383296 h 1172"/>
                  <a:gd name="T28" fmla="*/ 315239 w 943"/>
                  <a:gd name="T29" fmla="*/ 416150 h 1172"/>
                  <a:gd name="T30" fmla="*/ 301722 w 943"/>
                  <a:gd name="T31" fmla="*/ 457347 h 1172"/>
                  <a:gd name="T32" fmla="*/ 288642 w 943"/>
                  <a:gd name="T33" fmla="*/ 470906 h 1172"/>
                  <a:gd name="T34" fmla="*/ 289514 w 943"/>
                  <a:gd name="T35" fmla="*/ 487072 h 1172"/>
                  <a:gd name="T36" fmla="*/ 299106 w 943"/>
                  <a:gd name="T37" fmla="*/ 489680 h 1172"/>
                  <a:gd name="T38" fmla="*/ 309135 w 943"/>
                  <a:gd name="T39" fmla="*/ 495416 h 1172"/>
                  <a:gd name="T40" fmla="*/ 323523 w 943"/>
                  <a:gd name="T41" fmla="*/ 506367 h 1172"/>
                  <a:gd name="T42" fmla="*/ 329627 w 943"/>
                  <a:gd name="T43" fmla="*/ 525141 h 1172"/>
                  <a:gd name="T44" fmla="*/ 337912 w 943"/>
                  <a:gd name="T45" fmla="*/ 543915 h 1172"/>
                  <a:gd name="T46" fmla="*/ 350120 w 943"/>
                  <a:gd name="T47" fmla="*/ 549130 h 1172"/>
                  <a:gd name="T48" fmla="*/ 352736 w 943"/>
                  <a:gd name="T49" fmla="*/ 570511 h 1172"/>
                  <a:gd name="T50" fmla="*/ 313059 w 943"/>
                  <a:gd name="T51" fmla="*/ 581462 h 1172"/>
                  <a:gd name="T52" fmla="*/ 299542 w 943"/>
                  <a:gd name="T53" fmla="*/ 603365 h 1172"/>
                  <a:gd name="T54" fmla="*/ 260737 w 943"/>
                  <a:gd name="T55" fmla="*/ 610144 h 1172"/>
                  <a:gd name="T56" fmla="*/ 224548 w 943"/>
                  <a:gd name="T57" fmla="*/ 603886 h 1172"/>
                  <a:gd name="T58" fmla="*/ 202311 w 943"/>
                  <a:gd name="T59" fmla="*/ 585634 h 1172"/>
                  <a:gd name="T60" fmla="*/ 170046 w 943"/>
                  <a:gd name="T61" fmla="*/ 586677 h 1172"/>
                  <a:gd name="T62" fmla="*/ 139089 w 943"/>
                  <a:gd name="T63" fmla="*/ 584069 h 1172"/>
                  <a:gd name="T64" fmla="*/ 129496 w 943"/>
                  <a:gd name="T65" fmla="*/ 575726 h 1172"/>
                  <a:gd name="T66" fmla="*/ 128188 w 943"/>
                  <a:gd name="T67" fmla="*/ 560602 h 1172"/>
                  <a:gd name="T68" fmla="*/ 119468 w 943"/>
                  <a:gd name="T69" fmla="*/ 536614 h 1172"/>
                  <a:gd name="T70" fmla="*/ 94179 w 943"/>
                  <a:gd name="T71" fmla="*/ 507932 h 1172"/>
                  <a:gd name="T72" fmla="*/ 84151 w 943"/>
                  <a:gd name="T73" fmla="*/ 482379 h 1172"/>
                  <a:gd name="T74" fmla="*/ 66274 w 943"/>
                  <a:gd name="T75" fmla="*/ 470906 h 1172"/>
                  <a:gd name="T76" fmla="*/ 52322 w 943"/>
                  <a:gd name="T77" fmla="*/ 441181 h 1172"/>
                  <a:gd name="T78" fmla="*/ 42293 w 943"/>
                  <a:gd name="T79" fmla="*/ 410935 h 1172"/>
                  <a:gd name="T80" fmla="*/ 28341 w 943"/>
                  <a:gd name="T81" fmla="*/ 395290 h 1172"/>
                  <a:gd name="T82" fmla="*/ 14388 w 943"/>
                  <a:gd name="T83" fmla="*/ 352528 h 1172"/>
                  <a:gd name="T84" fmla="*/ 1744 w 943"/>
                  <a:gd name="T85" fmla="*/ 318631 h 1172"/>
                  <a:gd name="T86" fmla="*/ 7848 w 943"/>
                  <a:gd name="T87" fmla="*/ 300900 h 1172"/>
                  <a:gd name="T88" fmla="*/ 12644 w 943"/>
                  <a:gd name="T89" fmla="*/ 271697 h 1172"/>
                  <a:gd name="T90" fmla="*/ 27905 w 943"/>
                  <a:gd name="T91" fmla="*/ 247187 h 1172"/>
                  <a:gd name="T92" fmla="*/ 49270 w 943"/>
                  <a:gd name="T93" fmla="*/ 115771 h 1172"/>
                  <a:gd name="T94" fmla="*/ 53630 w 943"/>
                  <a:gd name="T95" fmla="*/ 93347 h 1172"/>
                  <a:gd name="T96" fmla="*/ 66710 w 943"/>
                  <a:gd name="T97" fmla="*/ 89175 h 1172"/>
                  <a:gd name="T98" fmla="*/ 69762 w 943"/>
                  <a:gd name="T99" fmla="*/ 63622 h 1172"/>
                  <a:gd name="T100" fmla="*/ 69326 w 943"/>
                  <a:gd name="T101" fmla="*/ 34940 h 1172"/>
                  <a:gd name="T102" fmla="*/ 296054 w 943"/>
                  <a:gd name="T103" fmla="*/ 35983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grpFill/>
              <a:ln w="9525" cmpd="sng">
                <a:solidFill>
                  <a:srgbClr val="FFFFFF"/>
                </a:solidFill>
                <a:prstDash val="solid"/>
                <a:round/>
                <a:headEnd/>
                <a:tailEnd/>
              </a:ln>
            </p:spPr>
            <p:txBody>
              <a:bodyPr/>
              <a:lstStyle/>
              <a:p>
                <a:endParaRPr lang="en-GB" sz="1637"/>
              </a:p>
            </p:txBody>
          </p:sp>
          <p:sp>
            <p:nvSpPr>
              <p:cNvPr id="126" name="Freeform 356"/>
              <p:cNvSpPr>
                <a:spLocks/>
              </p:cNvSpPr>
              <p:nvPr>
                <p:custDataLst>
                  <p:tags r:id="rId109"/>
                </p:custDataLst>
              </p:nvPr>
            </p:nvSpPr>
            <p:spPr bwMode="auto">
              <a:xfrm>
                <a:off x="5033834" y="3541349"/>
                <a:ext cx="266879" cy="487142"/>
              </a:xfrm>
              <a:custGeom>
                <a:avLst/>
                <a:gdLst>
                  <a:gd name="T0" fmla="*/ 43091 w 556"/>
                  <a:gd name="T1" fmla="*/ 32688 h 819"/>
                  <a:gd name="T2" fmla="*/ 49247 w 556"/>
                  <a:gd name="T3" fmla="*/ 29525 h 819"/>
                  <a:gd name="T4" fmla="*/ 56722 w 556"/>
                  <a:gd name="T5" fmla="*/ 36379 h 819"/>
                  <a:gd name="T6" fmla="*/ 65516 w 556"/>
                  <a:gd name="T7" fmla="*/ 44814 h 819"/>
                  <a:gd name="T8" fmla="*/ 75189 w 556"/>
                  <a:gd name="T9" fmla="*/ 48505 h 819"/>
                  <a:gd name="T10" fmla="*/ 94536 w 556"/>
                  <a:gd name="T11" fmla="*/ 46396 h 819"/>
                  <a:gd name="T12" fmla="*/ 113004 w 556"/>
                  <a:gd name="T13" fmla="*/ 43233 h 819"/>
                  <a:gd name="T14" fmla="*/ 127954 w 556"/>
                  <a:gd name="T15" fmla="*/ 41651 h 819"/>
                  <a:gd name="T16" fmla="*/ 132351 w 556"/>
                  <a:gd name="T17" fmla="*/ 39015 h 819"/>
                  <a:gd name="T18" fmla="*/ 132351 w 556"/>
                  <a:gd name="T19" fmla="*/ 35852 h 819"/>
                  <a:gd name="T20" fmla="*/ 156095 w 556"/>
                  <a:gd name="T21" fmla="*/ 33215 h 819"/>
                  <a:gd name="T22" fmla="*/ 190831 w 556"/>
                  <a:gd name="T23" fmla="*/ 23725 h 819"/>
                  <a:gd name="T24" fmla="*/ 210618 w 556"/>
                  <a:gd name="T25" fmla="*/ 14762 h 819"/>
                  <a:gd name="T26" fmla="*/ 226007 w 556"/>
                  <a:gd name="T27" fmla="*/ 4218 h 819"/>
                  <a:gd name="T28" fmla="*/ 240518 w 556"/>
                  <a:gd name="T29" fmla="*/ 16344 h 819"/>
                  <a:gd name="T30" fmla="*/ 244035 w 556"/>
                  <a:gd name="T31" fmla="*/ 30052 h 819"/>
                  <a:gd name="T32" fmla="*/ 242716 w 556"/>
                  <a:gd name="T33" fmla="*/ 59577 h 819"/>
                  <a:gd name="T34" fmla="*/ 233922 w 556"/>
                  <a:gd name="T35" fmla="*/ 91738 h 819"/>
                  <a:gd name="T36" fmla="*/ 220731 w 556"/>
                  <a:gd name="T37" fmla="*/ 121790 h 819"/>
                  <a:gd name="T38" fmla="*/ 196547 w 556"/>
                  <a:gd name="T39" fmla="*/ 169240 h 819"/>
                  <a:gd name="T40" fmla="*/ 185994 w 556"/>
                  <a:gd name="T41" fmla="*/ 197711 h 819"/>
                  <a:gd name="T42" fmla="*/ 180278 w 556"/>
                  <a:gd name="T43" fmla="*/ 218800 h 819"/>
                  <a:gd name="T44" fmla="*/ 166648 w 556"/>
                  <a:gd name="T45" fmla="*/ 249379 h 819"/>
                  <a:gd name="T46" fmla="*/ 145102 w 556"/>
                  <a:gd name="T47" fmla="*/ 279958 h 819"/>
                  <a:gd name="T48" fmla="*/ 126635 w 556"/>
                  <a:gd name="T49" fmla="*/ 298411 h 819"/>
                  <a:gd name="T50" fmla="*/ 105089 w 556"/>
                  <a:gd name="T51" fmla="*/ 316337 h 819"/>
                  <a:gd name="T52" fmla="*/ 73870 w 556"/>
                  <a:gd name="T53" fmla="*/ 343226 h 819"/>
                  <a:gd name="T54" fmla="*/ 62878 w 556"/>
                  <a:gd name="T55" fmla="*/ 358515 h 819"/>
                  <a:gd name="T56" fmla="*/ 57601 w 556"/>
                  <a:gd name="T57" fmla="*/ 369060 h 819"/>
                  <a:gd name="T58" fmla="*/ 51006 w 556"/>
                  <a:gd name="T59" fmla="*/ 378023 h 819"/>
                  <a:gd name="T60" fmla="*/ 31219 w 556"/>
                  <a:gd name="T61" fmla="*/ 392785 h 819"/>
                  <a:gd name="T62" fmla="*/ 8354 w 556"/>
                  <a:gd name="T63" fmla="*/ 422310 h 819"/>
                  <a:gd name="T64" fmla="*/ 879 w 556"/>
                  <a:gd name="T65" fmla="*/ 297357 h 819"/>
                  <a:gd name="T66" fmla="*/ 1319 w 556"/>
                  <a:gd name="T67" fmla="*/ 292084 h 819"/>
                  <a:gd name="T68" fmla="*/ 11872 w 556"/>
                  <a:gd name="T69" fmla="*/ 281013 h 819"/>
                  <a:gd name="T70" fmla="*/ 18468 w 556"/>
                  <a:gd name="T71" fmla="*/ 272050 h 819"/>
                  <a:gd name="T72" fmla="*/ 26382 w 556"/>
                  <a:gd name="T73" fmla="*/ 262032 h 819"/>
                  <a:gd name="T74" fmla="*/ 48807 w 556"/>
                  <a:gd name="T75" fmla="*/ 253070 h 819"/>
                  <a:gd name="T76" fmla="*/ 52325 w 556"/>
                  <a:gd name="T77" fmla="*/ 247797 h 819"/>
                  <a:gd name="T78" fmla="*/ 56722 w 556"/>
                  <a:gd name="T79" fmla="*/ 238307 h 819"/>
                  <a:gd name="T80" fmla="*/ 66835 w 556"/>
                  <a:gd name="T81" fmla="*/ 231980 h 819"/>
                  <a:gd name="T82" fmla="*/ 76508 w 556"/>
                  <a:gd name="T83" fmla="*/ 231453 h 819"/>
                  <a:gd name="T84" fmla="*/ 86182 w 556"/>
                  <a:gd name="T85" fmla="*/ 231453 h 819"/>
                  <a:gd name="T86" fmla="*/ 100252 w 556"/>
                  <a:gd name="T87" fmla="*/ 226181 h 819"/>
                  <a:gd name="T88" fmla="*/ 110366 w 556"/>
                  <a:gd name="T89" fmla="*/ 213527 h 819"/>
                  <a:gd name="T90" fmla="*/ 116521 w 556"/>
                  <a:gd name="T91" fmla="*/ 199820 h 819"/>
                  <a:gd name="T92" fmla="*/ 130152 w 556"/>
                  <a:gd name="T93" fmla="*/ 182948 h 819"/>
                  <a:gd name="T94" fmla="*/ 155655 w 556"/>
                  <a:gd name="T95" fmla="*/ 154478 h 819"/>
                  <a:gd name="T96" fmla="*/ 165768 w 556"/>
                  <a:gd name="T97" fmla="*/ 140243 h 819"/>
                  <a:gd name="T98" fmla="*/ 142464 w 556"/>
                  <a:gd name="T99" fmla="*/ 129698 h 819"/>
                  <a:gd name="T100" fmla="*/ 113004 w 556"/>
                  <a:gd name="T101" fmla="*/ 120208 h 819"/>
                  <a:gd name="T102" fmla="*/ 80905 w 556"/>
                  <a:gd name="T103" fmla="*/ 110191 h 819"/>
                  <a:gd name="T104" fmla="*/ 65516 w 556"/>
                  <a:gd name="T105" fmla="*/ 98592 h 819"/>
                  <a:gd name="T106" fmla="*/ 49247 w 556"/>
                  <a:gd name="T107" fmla="*/ 81193 h 819"/>
                  <a:gd name="T108" fmla="*/ 39134 w 556"/>
                  <a:gd name="T109" fmla="*/ 63795 h 819"/>
                  <a:gd name="T110" fmla="*/ 33857 w 556"/>
                  <a:gd name="T111" fmla="*/ 42178 h 819"/>
                  <a:gd name="T112" fmla="*/ 28581 w 556"/>
                  <a:gd name="T113" fmla="*/ 45869 h 819"/>
                  <a:gd name="T114" fmla="*/ 36935 w 556"/>
                  <a:gd name="T115" fmla="*/ 35852 h 81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556" h="819">
                    <a:moveTo>
                      <a:pt x="84" y="68"/>
                    </a:moveTo>
                    <a:lnTo>
                      <a:pt x="90" y="66"/>
                    </a:lnTo>
                    <a:lnTo>
                      <a:pt x="98" y="62"/>
                    </a:lnTo>
                    <a:lnTo>
                      <a:pt x="103" y="59"/>
                    </a:lnTo>
                    <a:lnTo>
                      <a:pt x="108" y="58"/>
                    </a:lnTo>
                    <a:lnTo>
                      <a:pt x="112" y="56"/>
                    </a:lnTo>
                    <a:lnTo>
                      <a:pt x="118" y="56"/>
                    </a:lnTo>
                    <a:lnTo>
                      <a:pt x="122" y="62"/>
                    </a:lnTo>
                    <a:lnTo>
                      <a:pt x="129" y="69"/>
                    </a:lnTo>
                    <a:lnTo>
                      <a:pt x="134" y="75"/>
                    </a:lnTo>
                    <a:lnTo>
                      <a:pt x="141" y="81"/>
                    </a:lnTo>
                    <a:lnTo>
                      <a:pt x="149" y="85"/>
                    </a:lnTo>
                    <a:lnTo>
                      <a:pt x="155" y="89"/>
                    </a:lnTo>
                    <a:lnTo>
                      <a:pt x="163" y="91"/>
                    </a:lnTo>
                    <a:lnTo>
                      <a:pt x="171" y="92"/>
                    </a:lnTo>
                    <a:lnTo>
                      <a:pt x="186" y="91"/>
                    </a:lnTo>
                    <a:lnTo>
                      <a:pt x="200" y="90"/>
                    </a:lnTo>
                    <a:lnTo>
                      <a:pt x="215" y="88"/>
                    </a:lnTo>
                    <a:lnTo>
                      <a:pt x="230" y="86"/>
                    </a:lnTo>
                    <a:lnTo>
                      <a:pt x="244" y="84"/>
                    </a:lnTo>
                    <a:lnTo>
                      <a:pt x="257" y="82"/>
                    </a:lnTo>
                    <a:lnTo>
                      <a:pt x="271" y="80"/>
                    </a:lnTo>
                    <a:lnTo>
                      <a:pt x="284" y="80"/>
                    </a:lnTo>
                    <a:lnTo>
                      <a:pt x="291" y="79"/>
                    </a:lnTo>
                    <a:lnTo>
                      <a:pt x="297" y="78"/>
                    </a:lnTo>
                    <a:lnTo>
                      <a:pt x="300" y="76"/>
                    </a:lnTo>
                    <a:lnTo>
                      <a:pt x="301" y="74"/>
                    </a:lnTo>
                    <a:lnTo>
                      <a:pt x="301" y="72"/>
                    </a:lnTo>
                    <a:lnTo>
                      <a:pt x="301" y="70"/>
                    </a:lnTo>
                    <a:lnTo>
                      <a:pt x="301" y="68"/>
                    </a:lnTo>
                    <a:lnTo>
                      <a:pt x="303" y="68"/>
                    </a:lnTo>
                    <a:lnTo>
                      <a:pt x="327" y="67"/>
                    </a:lnTo>
                    <a:lnTo>
                      <a:pt x="355" y="63"/>
                    </a:lnTo>
                    <a:lnTo>
                      <a:pt x="386" y="58"/>
                    </a:lnTo>
                    <a:lnTo>
                      <a:pt x="418" y="50"/>
                    </a:lnTo>
                    <a:lnTo>
                      <a:pt x="434" y="45"/>
                    </a:lnTo>
                    <a:lnTo>
                      <a:pt x="450" y="40"/>
                    </a:lnTo>
                    <a:lnTo>
                      <a:pt x="465" y="34"/>
                    </a:lnTo>
                    <a:lnTo>
                      <a:pt x="479" y="28"/>
                    </a:lnTo>
                    <a:lnTo>
                      <a:pt x="492" y="22"/>
                    </a:lnTo>
                    <a:lnTo>
                      <a:pt x="504" y="15"/>
                    </a:lnTo>
                    <a:lnTo>
                      <a:pt x="514" y="8"/>
                    </a:lnTo>
                    <a:lnTo>
                      <a:pt x="523" y="0"/>
                    </a:lnTo>
                    <a:lnTo>
                      <a:pt x="536" y="17"/>
                    </a:lnTo>
                    <a:lnTo>
                      <a:pt x="547" y="31"/>
                    </a:lnTo>
                    <a:lnTo>
                      <a:pt x="551" y="39"/>
                    </a:lnTo>
                    <a:lnTo>
                      <a:pt x="554" y="48"/>
                    </a:lnTo>
                    <a:lnTo>
                      <a:pt x="555" y="57"/>
                    </a:lnTo>
                    <a:lnTo>
                      <a:pt x="556" y="68"/>
                    </a:lnTo>
                    <a:lnTo>
                      <a:pt x="555" y="90"/>
                    </a:lnTo>
                    <a:lnTo>
                      <a:pt x="552" y="113"/>
                    </a:lnTo>
                    <a:lnTo>
                      <a:pt x="546" y="133"/>
                    </a:lnTo>
                    <a:lnTo>
                      <a:pt x="540" y="153"/>
                    </a:lnTo>
                    <a:lnTo>
                      <a:pt x="532" y="174"/>
                    </a:lnTo>
                    <a:lnTo>
                      <a:pt x="523" y="193"/>
                    </a:lnTo>
                    <a:lnTo>
                      <a:pt x="512" y="212"/>
                    </a:lnTo>
                    <a:lnTo>
                      <a:pt x="502" y="231"/>
                    </a:lnTo>
                    <a:lnTo>
                      <a:pt x="479" y="267"/>
                    </a:lnTo>
                    <a:lnTo>
                      <a:pt x="458" y="303"/>
                    </a:lnTo>
                    <a:lnTo>
                      <a:pt x="447" y="321"/>
                    </a:lnTo>
                    <a:lnTo>
                      <a:pt x="439" y="339"/>
                    </a:lnTo>
                    <a:lnTo>
                      <a:pt x="430" y="357"/>
                    </a:lnTo>
                    <a:lnTo>
                      <a:pt x="423" y="375"/>
                    </a:lnTo>
                    <a:lnTo>
                      <a:pt x="419" y="390"/>
                    </a:lnTo>
                    <a:lnTo>
                      <a:pt x="414" y="403"/>
                    </a:lnTo>
                    <a:lnTo>
                      <a:pt x="410" y="415"/>
                    </a:lnTo>
                    <a:lnTo>
                      <a:pt x="404" y="427"/>
                    </a:lnTo>
                    <a:lnTo>
                      <a:pt x="392" y="452"/>
                    </a:lnTo>
                    <a:lnTo>
                      <a:pt x="379" y="473"/>
                    </a:lnTo>
                    <a:lnTo>
                      <a:pt x="364" y="495"/>
                    </a:lnTo>
                    <a:lnTo>
                      <a:pt x="347" y="514"/>
                    </a:lnTo>
                    <a:lnTo>
                      <a:pt x="330" y="531"/>
                    </a:lnTo>
                    <a:lnTo>
                      <a:pt x="310" y="549"/>
                    </a:lnTo>
                    <a:lnTo>
                      <a:pt x="300" y="558"/>
                    </a:lnTo>
                    <a:lnTo>
                      <a:pt x="288" y="566"/>
                    </a:lnTo>
                    <a:lnTo>
                      <a:pt x="277" y="575"/>
                    </a:lnTo>
                    <a:lnTo>
                      <a:pt x="264" y="583"/>
                    </a:lnTo>
                    <a:lnTo>
                      <a:pt x="239" y="600"/>
                    </a:lnTo>
                    <a:lnTo>
                      <a:pt x="213" y="617"/>
                    </a:lnTo>
                    <a:lnTo>
                      <a:pt x="189" y="634"/>
                    </a:lnTo>
                    <a:lnTo>
                      <a:pt x="168" y="651"/>
                    </a:lnTo>
                    <a:lnTo>
                      <a:pt x="159" y="661"/>
                    </a:lnTo>
                    <a:lnTo>
                      <a:pt x="150" y="670"/>
                    </a:lnTo>
                    <a:lnTo>
                      <a:pt x="143" y="680"/>
                    </a:lnTo>
                    <a:lnTo>
                      <a:pt x="138" y="690"/>
                    </a:lnTo>
                    <a:lnTo>
                      <a:pt x="134" y="695"/>
                    </a:lnTo>
                    <a:lnTo>
                      <a:pt x="131" y="700"/>
                    </a:lnTo>
                    <a:lnTo>
                      <a:pt x="128" y="705"/>
                    </a:lnTo>
                    <a:lnTo>
                      <a:pt x="125" y="709"/>
                    </a:lnTo>
                    <a:lnTo>
                      <a:pt x="116" y="717"/>
                    </a:lnTo>
                    <a:lnTo>
                      <a:pt x="107" y="723"/>
                    </a:lnTo>
                    <a:lnTo>
                      <a:pt x="88" y="733"/>
                    </a:lnTo>
                    <a:lnTo>
                      <a:pt x="71" y="745"/>
                    </a:lnTo>
                    <a:lnTo>
                      <a:pt x="52" y="763"/>
                    </a:lnTo>
                    <a:lnTo>
                      <a:pt x="36" y="783"/>
                    </a:lnTo>
                    <a:lnTo>
                      <a:pt x="19" y="801"/>
                    </a:lnTo>
                    <a:lnTo>
                      <a:pt x="5" y="819"/>
                    </a:lnTo>
                    <a:lnTo>
                      <a:pt x="5" y="567"/>
                    </a:lnTo>
                    <a:lnTo>
                      <a:pt x="2" y="564"/>
                    </a:lnTo>
                    <a:lnTo>
                      <a:pt x="0" y="560"/>
                    </a:lnTo>
                    <a:lnTo>
                      <a:pt x="0" y="557"/>
                    </a:lnTo>
                    <a:lnTo>
                      <a:pt x="3" y="554"/>
                    </a:lnTo>
                    <a:lnTo>
                      <a:pt x="8" y="547"/>
                    </a:lnTo>
                    <a:lnTo>
                      <a:pt x="17" y="540"/>
                    </a:lnTo>
                    <a:lnTo>
                      <a:pt x="27" y="533"/>
                    </a:lnTo>
                    <a:lnTo>
                      <a:pt x="36" y="525"/>
                    </a:lnTo>
                    <a:lnTo>
                      <a:pt x="39" y="521"/>
                    </a:lnTo>
                    <a:lnTo>
                      <a:pt x="42" y="516"/>
                    </a:lnTo>
                    <a:lnTo>
                      <a:pt x="43" y="511"/>
                    </a:lnTo>
                    <a:lnTo>
                      <a:pt x="44" y="505"/>
                    </a:lnTo>
                    <a:lnTo>
                      <a:pt x="60" y="497"/>
                    </a:lnTo>
                    <a:lnTo>
                      <a:pt x="75" y="490"/>
                    </a:lnTo>
                    <a:lnTo>
                      <a:pt x="92" y="485"/>
                    </a:lnTo>
                    <a:lnTo>
                      <a:pt x="111" y="480"/>
                    </a:lnTo>
                    <a:lnTo>
                      <a:pt x="114" y="479"/>
                    </a:lnTo>
                    <a:lnTo>
                      <a:pt x="116" y="475"/>
                    </a:lnTo>
                    <a:lnTo>
                      <a:pt x="119" y="470"/>
                    </a:lnTo>
                    <a:lnTo>
                      <a:pt x="121" y="464"/>
                    </a:lnTo>
                    <a:lnTo>
                      <a:pt x="125" y="458"/>
                    </a:lnTo>
                    <a:lnTo>
                      <a:pt x="129" y="452"/>
                    </a:lnTo>
                    <a:lnTo>
                      <a:pt x="132" y="447"/>
                    </a:lnTo>
                    <a:lnTo>
                      <a:pt x="138" y="444"/>
                    </a:lnTo>
                    <a:lnTo>
                      <a:pt x="152" y="440"/>
                    </a:lnTo>
                    <a:lnTo>
                      <a:pt x="162" y="439"/>
                    </a:lnTo>
                    <a:lnTo>
                      <a:pt x="168" y="438"/>
                    </a:lnTo>
                    <a:lnTo>
                      <a:pt x="174" y="439"/>
                    </a:lnTo>
                    <a:lnTo>
                      <a:pt x="179" y="439"/>
                    </a:lnTo>
                    <a:lnTo>
                      <a:pt x="186" y="440"/>
                    </a:lnTo>
                    <a:lnTo>
                      <a:pt x="196" y="439"/>
                    </a:lnTo>
                    <a:lnTo>
                      <a:pt x="210" y="438"/>
                    </a:lnTo>
                    <a:lnTo>
                      <a:pt x="220" y="434"/>
                    </a:lnTo>
                    <a:lnTo>
                      <a:pt x="228" y="429"/>
                    </a:lnTo>
                    <a:lnTo>
                      <a:pt x="235" y="424"/>
                    </a:lnTo>
                    <a:lnTo>
                      <a:pt x="241" y="418"/>
                    </a:lnTo>
                    <a:lnTo>
                      <a:pt x="251" y="405"/>
                    </a:lnTo>
                    <a:lnTo>
                      <a:pt x="257" y="394"/>
                    </a:lnTo>
                    <a:lnTo>
                      <a:pt x="261" y="387"/>
                    </a:lnTo>
                    <a:lnTo>
                      <a:pt x="265" y="379"/>
                    </a:lnTo>
                    <a:lnTo>
                      <a:pt x="272" y="371"/>
                    </a:lnTo>
                    <a:lnTo>
                      <a:pt x="278" y="363"/>
                    </a:lnTo>
                    <a:lnTo>
                      <a:pt x="296" y="347"/>
                    </a:lnTo>
                    <a:lnTo>
                      <a:pt x="316" y="329"/>
                    </a:lnTo>
                    <a:lnTo>
                      <a:pt x="335" y="310"/>
                    </a:lnTo>
                    <a:lnTo>
                      <a:pt x="354" y="293"/>
                    </a:lnTo>
                    <a:lnTo>
                      <a:pt x="363" y="284"/>
                    </a:lnTo>
                    <a:lnTo>
                      <a:pt x="370" y="276"/>
                    </a:lnTo>
                    <a:lnTo>
                      <a:pt x="377" y="266"/>
                    </a:lnTo>
                    <a:lnTo>
                      <a:pt x="384" y="258"/>
                    </a:lnTo>
                    <a:lnTo>
                      <a:pt x="351" y="252"/>
                    </a:lnTo>
                    <a:lnTo>
                      <a:pt x="324" y="246"/>
                    </a:lnTo>
                    <a:lnTo>
                      <a:pt x="300" y="240"/>
                    </a:lnTo>
                    <a:lnTo>
                      <a:pt x="278" y="234"/>
                    </a:lnTo>
                    <a:lnTo>
                      <a:pt x="257" y="228"/>
                    </a:lnTo>
                    <a:lnTo>
                      <a:pt x="235" y="223"/>
                    </a:lnTo>
                    <a:lnTo>
                      <a:pt x="211" y="216"/>
                    </a:lnTo>
                    <a:lnTo>
                      <a:pt x="184" y="209"/>
                    </a:lnTo>
                    <a:lnTo>
                      <a:pt x="177" y="205"/>
                    </a:lnTo>
                    <a:lnTo>
                      <a:pt x="165" y="198"/>
                    </a:lnTo>
                    <a:lnTo>
                      <a:pt x="149" y="187"/>
                    </a:lnTo>
                    <a:lnTo>
                      <a:pt x="131" y="173"/>
                    </a:lnTo>
                    <a:lnTo>
                      <a:pt x="121" y="164"/>
                    </a:lnTo>
                    <a:lnTo>
                      <a:pt x="112" y="154"/>
                    </a:lnTo>
                    <a:lnTo>
                      <a:pt x="104" y="144"/>
                    </a:lnTo>
                    <a:lnTo>
                      <a:pt x="96" y="133"/>
                    </a:lnTo>
                    <a:lnTo>
                      <a:pt x="89" y="121"/>
                    </a:lnTo>
                    <a:lnTo>
                      <a:pt x="84" y="109"/>
                    </a:lnTo>
                    <a:lnTo>
                      <a:pt x="79" y="94"/>
                    </a:lnTo>
                    <a:lnTo>
                      <a:pt x="77" y="80"/>
                    </a:lnTo>
                    <a:lnTo>
                      <a:pt x="69" y="86"/>
                    </a:lnTo>
                    <a:lnTo>
                      <a:pt x="64" y="88"/>
                    </a:lnTo>
                    <a:lnTo>
                      <a:pt x="65" y="87"/>
                    </a:lnTo>
                    <a:lnTo>
                      <a:pt x="69" y="83"/>
                    </a:lnTo>
                    <a:lnTo>
                      <a:pt x="78" y="73"/>
                    </a:lnTo>
                    <a:lnTo>
                      <a:pt x="84" y="68"/>
                    </a:lnTo>
                  </a:path>
                </a:pathLst>
              </a:custGeom>
              <a:grpFill/>
              <a:ln w="9525" cmpd="sng">
                <a:solidFill>
                  <a:srgbClr val="FFFFFF"/>
                </a:solidFill>
                <a:prstDash val="solid"/>
                <a:round/>
                <a:headEnd/>
                <a:tailEnd/>
              </a:ln>
            </p:spPr>
            <p:txBody>
              <a:bodyPr/>
              <a:lstStyle/>
              <a:p>
                <a:endParaRPr lang="en-GB" sz="1637"/>
              </a:p>
            </p:txBody>
          </p:sp>
          <p:sp>
            <p:nvSpPr>
              <p:cNvPr id="127" name="Freeform 357"/>
              <p:cNvSpPr>
                <a:spLocks/>
              </p:cNvSpPr>
              <p:nvPr>
                <p:custDataLst>
                  <p:tags r:id="rId110"/>
                </p:custDataLst>
              </p:nvPr>
            </p:nvSpPr>
            <p:spPr bwMode="auto">
              <a:xfrm>
                <a:off x="5042499" y="3527021"/>
                <a:ext cx="41591" cy="66265"/>
              </a:xfrm>
              <a:custGeom>
                <a:avLst/>
                <a:gdLst>
                  <a:gd name="T0" fmla="*/ 26138 w 86"/>
                  <a:gd name="T1" fmla="*/ 0 h 97"/>
                  <a:gd name="T2" fmla="*/ 24809 w 86"/>
                  <a:gd name="T3" fmla="*/ 1211 h 97"/>
                  <a:gd name="T4" fmla="*/ 23037 w 86"/>
                  <a:gd name="T5" fmla="*/ 1817 h 97"/>
                  <a:gd name="T6" fmla="*/ 20379 w 86"/>
                  <a:gd name="T7" fmla="*/ 1817 h 97"/>
                  <a:gd name="T8" fmla="*/ 17721 w 86"/>
                  <a:gd name="T9" fmla="*/ 1817 h 97"/>
                  <a:gd name="T10" fmla="*/ 14620 w 86"/>
                  <a:gd name="T11" fmla="*/ 1817 h 97"/>
                  <a:gd name="T12" fmla="*/ 11962 w 86"/>
                  <a:gd name="T13" fmla="*/ 1817 h 97"/>
                  <a:gd name="T14" fmla="*/ 10190 w 86"/>
                  <a:gd name="T15" fmla="*/ 2422 h 97"/>
                  <a:gd name="T16" fmla="*/ 8860 w 86"/>
                  <a:gd name="T17" fmla="*/ 3633 h 97"/>
                  <a:gd name="T18" fmla="*/ 7088 w 86"/>
                  <a:gd name="T19" fmla="*/ 5450 h 97"/>
                  <a:gd name="T20" fmla="*/ 5759 w 86"/>
                  <a:gd name="T21" fmla="*/ 7266 h 97"/>
                  <a:gd name="T22" fmla="*/ 4873 w 86"/>
                  <a:gd name="T23" fmla="*/ 9083 h 97"/>
                  <a:gd name="T24" fmla="*/ 3544 w 86"/>
                  <a:gd name="T25" fmla="*/ 12111 h 97"/>
                  <a:gd name="T26" fmla="*/ 1772 w 86"/>
                  <a:gd name="T27" fmla="*/ 17561 h 97"/>
                  <a:gd name="T28" fmla="*/ 886 w 86"/>
                  <a:gd name="T29" fmla="*/ 23010 h 97"/>
                  <a:gd name="T30" fmla="*/ 0 w 86"/>
                  <a:gd name="T31" fmla="*/ 34516 h 97"/>
                  <a:gd name="T32" fmla="*/ 0 w 86"/>
                  <a:gd name="T33" fmla="*/ 45415 h 97"/>
                  <a:gd name="T34" fmla="*/ 0 w 86"/>
                  <a:gd name="T35" fmla="*/ 49048 h 97"/>
                  <a:gd name="T36" fmla="*/ 443 w 86"/>
                  <a:gd name="T37" fmla="*/ 52076 h 97"/>
                  <a:gd name="T38" fmla="*/ 1329 w 86"/>
                  <a:gd name="T39" fmla="*/ 54498 h 97"/>
                  <a:gd name="T40" fmla="*/ 3101 w 86"/>
                  <a:gd name="T41" fmla="*/ 56315 h 97"/>
                  <a:gd name="T42" fmla="*/ 4430 w 86"/>
                  <a:gd name="T43" fmla="*/ 57526 h 97"/>
                  <a:gd name="T44" fmla="*/ 5759 w 86"/>
                  <a:gd name="T45" fmla="*/ 58131 h 97"/>
                  <a:gd name="T46" fmla="*/ 7974 w 86"/>
                  <a:gd name="T47" fmla="*/ 58737 h 97"/>
                  <a:gd name="T48" fmla="*/ 9303 w 86"/>
                  <a:gd name="T49" fmla="*/ 58737 h 97"/>
                  <a:gd name="T50" fmla="*/ 17721 w 86"/>
                  <a:gd name="T51" fmla="*/ 57526 h 97"/>
                  <a:gd name="T52" fmla="*/ 23480 w 86"/>
                  <a:gd name="T53" fmla="*/ 56315 h 97"/>
                  <a:gd name="T54" fmla="*/ 38100 w 86"/>
                  <a:gd name="T55" fmla="*/ 41176 h 97"/>
                  <a:gd name="T56" fmla="*/ 26138 w 86"/>
                  <a:gd name="T57" fmla="*/ 0 h 9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6" h="97">
                    <a:moveTo>
                      <a:pt x="59" y="0"/>
                    </a:moveTo>
                    <a:lnTo>
                      <a:pt x="56" y="2"/>
                    </a:lnTo>
                    <a:lnTo>
                      <a:pt x="52" y="3"/>
                    </a:lnTo>
                    <a:lnTo>
                      <a:pt x="46" y="3"/>
                    </a:lnTo>
                    <a:lnTo>
                      <a:pt x="40" y="3"/>
                    </a:lnTo>
                    <a:lnTo>
                      <a:pt x="33" y="3"/>
                    </a:lnTo>
                    <a:lnTo>
                      <a:pt x="27" y="3"/>
                    </a:lnTo>
                    <a:lnTo>
                      <a:pt x="23" y="4"/>
                    </a:lnTo>
                    <a:lnTo>
                      <a:pt x="20" y="6"/>
                    </a:lnTo>
                    <a:lnTo>
                      <a:pt x="16" y="9"/>
                    </a:lnTo>
                    <a:lnTo>
                      <a:pt x="13" y="12"/>
                    </a:lnTo>
                    <a:lnTo>
                      <a:pt x="11" y="15"/>
                    </a:lnTo>
                    <a:lnTo>
                      <a:pt x="8" y="20"/>
                    </a:lnTo>
                    <a:lnTo>
                      <a:pt x="4" y="29"/>
                    </a:lnTo>
                    <a:lnTo>
                      <a:pt x="2" y="38"/>
                    </a:lnTo>
                    <a:lnTo>
                      <a:pt x="0" y="57"/>
                    </a:lnTo>
                    <a:lnTo>
                      <a:pt x="0" y="75"/>
                    </a:lnTo>
                    <a:lnTo>
                      <a:pt x="0" y="81"/>
                    </a:lnTo>
                    <a:lnTo>
                      <a:pt x="1" y="86"/>
                    </a:lnTo>
                    <a:lnTo>
                      <a:pt x="3" y="90"/>
                    </a:lnTo>
                    <a:lnTo>
                      <a:pt x="7" y="93"/>
                    </a:lnTo>
                    <a:lnTo>
                      <a:pt x="10" y="95"/>
                    </a:lnTo>
                    <a:lnTo>
                      <a:pt x="13" y="96"/>
                    </a:lnTo>
                    <a:lnTo>
                      <a:pt x="18" y="97"/>
                    </a:lnTo>
                    <a:lnTo>
                      <a:pt x="21" y="97"/>
                    </a:lnTo>
                    <a:lnTo>
                      <a:pt x="40" y="95"/>
                    </a:lnTo>
                    <a:lnTo>
                      <a:pt x="53" y="93"/>
                    </a:lnTo>
                    <a:lnTo>
                      <a:pt x="86" y="68"/>
                    </a:lnTo>
                    <a:lnTo>
                      <a:pt x="59" y="0"/>
                    </a:lnTo>
                  </a:path>
                </a:pathLst>
              </a:custGeom>
              <a:grpFill/>
              <a:ln w="9525" cmpd="sng">
                <a:solidFill>
                  <a:srgbClr val="FFFFFF"/>
                </a:solidFill>
                <a:prstDash val="solid"/>
                <a:round/>
                <a:headEnd/>
                <a:tailEnd/>
              </a:ln>
            </p:spPr>
            <p:txBody>
              <a:bodyPr/>
              <a:lstStyle/>
              <a:p>
                <a:endParaRPr lang="en-GB" sz="1637"/>
              </a:p>
            </p:txBody>
          </p:sp>
          <p:sp>
            <p:nvSpPr>
              <p:cNvPr id="128" name="Freeform 358"/>
              <p:cNvSpPr>
                <a:spLocks/>
              </p:cNvSpPr>
              <p:nvPr>
                <p:custDataLst>
                  <p:tags r:id="rId111"/>
                </p:custDataLst>
              </p:nvPr>
            </p:nvSpPr>
            <p:spPr bwMode="auto">
              <a:xfrm>
                <a:off x="4822410" y="3426727"/>
                <a:ext cx="396853" cy="424458"/>
              </a:xfrm>
              <a:custGeom>
                <a:avLst/>
                <a:gdLst>
                  <a:gd name="T0" fmla="*/ 78300 w 845"/>
                  <a:gd name="T1" fmla="*/ 18812 h 720"/>
                  <a:gd name="T2" fmla="*/ 88196 w 845"/>
                  <a:gd name="T3" fmla="*/ 14631 h 720"/>
                  <a:gd name="T4" fmla="*/ 106265 w 845"/>
                  <a:gd name="T5" fmla="*/ 0 h 720"/>
                  <a:gd name="T6" fmla="*/ 117451 w 845"/>
                  <a:gd name="T7" fmla="*/ 6271 h 720"/>
                  <a:gd name="T8" fmla="*/ 140683 w 845"/>
                  <a:gd name="T9" fmla="*/ 19334 h 720"/>
                  <a:gd name="T10" fmla="*/ 163485 w 845"/>
                  <a:gd name="T11" fmla="*/ 35011 h 720"/>
                  <a:gd name="T12" fmla="*/ 183275 w 845"/>
                  <a:gd name="T13" fmla="*/ 51210 h 720"/>
                  <a:gd name="T14" fmla="*/ 190158 w 845"/>
                  <a:gd name="T15" fmla="*/ 65319 h 720"/>
                  <a:gd name="T16" fmla="*/ 190589 w 845"/>
                  <a:gd name="T17" fmla="*/ 73157 h 720"/>
                  <a:gd name="T18" fmla="*/ 197042 w 845"/>
                  <a:gd name="T19" fmla="*/ 76815 h 720"/>
                  <a:gd name="T20" fmla="*/ 214681 w 845"/>
                  <a:gd name="T21" fmla="*/ 93014 h 720"/>
                  <a:gd name="T22" fmla="*/ 217693 w 845"/>
                  <a:gd name="T23" fmla="*/ 89879 h 720"/>
                  <a:gd name="T24" fmla="*/ 209949 w 845"/>
                  <a:gd name="T25" fmla="*/ 96149 h 720"/>
                  <a:gd name="T26" fmla="*/ 206937 w 845"/>
                  <a:gd name="T27" fmla="*/ 105555 h 720"/>
                  <a:gd name="T28" fmla="*/ 206937 w 845"/>
                  <a:gd name="T29" fmla="*/ 131683 h 720"/>
                  <a:gd name="T30" fmla="*/ 212100 w 845"/>
                  <a:gd name="T31" fmla="*/ 137954 h 720"/>
                  <a:gd name="T32" fmla="*/ 226297 w 845"/>
                  <a:gd name="T33" fmla="*/ 138476 h 720"/>
                  <a:gd name="T34" fmla="*/ 234471 w 845"/>
                  <a:gd name="T35" fmla="*/ 166694 h 720"/>
                  <a:gd name="T36" fmla="*/ 250820 w 845"/>
                  <a:gd name="T37" fmla="*/ 188641 h 720"/>
                  <a:gd name="T38" fmla="*/ 277494 w 845"/>
                  <a:gd name="T39" fmla="*/ 209021 h 720"/>
                  <a:gd name="T40" fmla="*/ 317504 w 845"/>
                  <a:gd name="T41" fmla="*/ 224697 h 720"/>
                  <a:gd name="T42" fmla="*/ 363538 w 845"/>
                  <a:gd name="T43" fmla="*/ 234626 h 720"/>
                  <a:gd name="T44" fmla="*/ 348910 w 845"/>
                  <a:gd name="T45" fmla="*/ 251870 h 720"/>
                  <a:gd name="T46" fmla="*/ 314493 w 845"/>
                  <a:gd name="T47" fmla="*/ 285836 h 720"/>
                  <a:gd name="T48" fmla="*/ 306318 w 845"/>
                  <a:gd name="T49" fmla="*/ 302557 h 720"/>
                  <a:gd name="T50" fmla="*/ 299865 w 845"/>
                  <a:gd name="T51" fmla="*/ 322414 h 720"/>
                  <a:gd name="T52" fmla="*/ 289970 w 845"/>
                  <a:gd name="T53" fmla="*/ 328685 h 720"/>
                  <a:gd name="T54" fmla="*/ 249529 w 845"/>
                  <a:gd name="T55" fmla="*/ 342271 h 720"/>
                  <a:gd name="T56" fmla="*/ 240494 w 845"/>
                  <a:gd name="T57" fmla="*/ 350632 h 720"/>
                  <a:gd name="T58" fmla="*/ 225867 w 845"/>
                  <a:gd name="T59" fmla="*/ 355857 h 720"/>
                  <a:gd name="T60" fmla="*/ 207367 w 845"/>
                  <a:gd name="T61" fmla="*/ 362128 h 720"/>
                  <a:gd name="T62" fmla="*/ 198333 w 845"/>
                  <a:gd name="T63" fmla="*/ 355335 h 720"/>
                  <a:gd name="T64" fmla="*/ 183705 w 845"/>
                  <a:gd name="T65" fmla="*/ 354812 h 720"/>
                  <a:gd name="T66" fmla="*/ 174240 w 845"/>
                  <a:gd name="T67" fmla="*/ 365263 h 720"/>
                  <a:gd name="T68" fmla="*/ 167787 w 845"/>
                  <a:gd name="T69" fmla="*/ 373102 h 720"/>
                  <a:gd name="T70" fmla="*/ 154880 w 845"/>
                  <a:gd name="T71" fmla="*/ 376237 h 720"/>
                  <a:gd name="T72" fmla="*/ 136811 w 845"/>
                  <a:gd name="T73" fmla="*/ 373102 h 720"/>
                  <a:gd name="T74" fmla="*/ 124334 w 845"/>
                  <a:gd name="T75" fmla="*/ 364741 h 720"/>
                  <a:gd name="T76" fmla="*/ 105835 w 845"/>
                  <a:gd name="T77" fmla="*/ 350632 h 720"/>
                  <a:gd name="T78" fmla="*/ 77870 w 845"/>
                  <a:gd name="T79" fmla="*/ 345406 h 720"/>
                  <a:gd name="T80" fmla="*/ 60231 w 845"/>
                  <a:gd name="T81" fmla="*/ 341226 h 720"/>
                  <a:gd name="T82" fmla="*/ 64964 w 845"/>
                  <a:gd name="T83" fmla="*/ 320847 h 720"/>
                  <a:gd name="T84" fmla="*/ 54638 w 845"/>
                  <a:gd name="T85" fmla="*/ 311441 h 720"/>
                  <a:gd name="T86" fmla="*/ 46464 w 845"/>
                  <a:gd name="T87" fmla="*/ 304647 h 720"/>
                  <a:gd name="T88" fmla="*/ 40011 w 845"/>
                  <a:gd name="T89" fmla="*/ 287926 h 720"/>
                  <a:gd name="T90" fmla="*/ 33127 w 845"/>
                  <a:gd name="T91" fmla="*/ 267024 h 720"/>
                  <a:gd name="T92" fmla="*/ 21081 w 845"/>
                  <a:gd name="T93" fmla="*/ 255528 h 720"/>
                  <a:gd name="T94" fmla="*/ 6884 w 845"/>
                  <a:gd name="T95" fmla="*/ 249257 h 720"/>
                  <a:gd name="T96" fmla="*/ 2151 w 845"/>
                  <a:gd name="T97" fmla="*/ 246644 h 720"/>
                  <a:gd name="T98" fmla="*/ 860 w 845"/>
                  <a:gd name="T99" fmla="*/ 234103 h 720"/>
                  <a:gd name="T100" fmla="*/ 9035 w 845"/>
                  <a:gd name="T101" fmla="*/ 220517 h 720"/>
                  <a:gd name="T102" fmla="*/ 23662 w 845"/>
                  <a:gd name="T103" fmla="*/ 215814 h 720"/>
                  <a:gd name="T104" fmla="*/ 28825 w 845"/>
                  <a:gd name="T105" fmla="*/ 167739 h 720"/>
                  <a:gd name="T106" fmla="*/ 35278 w 845"/>
                  <a:gd name="T107" fmla="*/ 143702 h 720"/>
                  <a:gd name="T108" fmla="*/ 40871 w 845"/>
                  <a:gd name="T109" fmla="*/ 135863 h 720"/>
                  <a:gd name="T110" fmla="*/ 44313 w 845"/>
                  <a:gd name="T111" fmla="*/ 123322 h 720"/>
                  <a:gd name="T112" fmla="*/ 49906 w 845"/>
                  <a:gd name="T113" fmla="*/ 107646 h 720"/>
                  <a:gd name="T114" fmla="*/ 63673 w 845"/>
                  <a:gd name="T115" fmla="*/ 93014 h 720"/>
                  <a:gd name="T116" fmla="*/ 71847 w 845"/>
                  <a:gd name="T117" fmla="*/ 83608 h 72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845" h="720">
                    <a:moveTo>
                      <a:pt x="174" y="25"/>
                    </a:moveTo>
                    <a:lnTo>
                      <a:pt x="175" y="27"/>
                    </a:lnTo>
                    <a:lnTo>
                      <a:pt x="179" y="33"/>
                    </a:lnTo>
                    <a:lnTo>
                      <a:pt x="182" y="36"/>
                    </a:lnTo>
                    <a:lnTo>
                      <a:pt x="185" y="38"/>
                    </a:lnTo>
                    <a:lnTo>
                      <a:pt x="189" y="38"/>
                    </a:lnTo>
                    <a:lnTo>
                      <a:pt x="194" y="37"/>
                    </a:lnTo>
                    <a:lnTo>
                      <a:pt x="205" y="28"/>
                    </a:lnTo>
                    <a:lnTo>
                      <a:pt x="218" y="19"/>
                    </a:lnTo>
                    <a:lnTo>
                      <a:pt x="229" y="14"/>
                    </a:lnTo>
                    <a:lnTo>
                      <a:pt x="234" y="12"/>
                    </a:lnTo>
                    <a:lnTo>
                      <a:pt x="247" y="0"/>
                    </a:lnTo>
                    <a:lnTo>
                      <a:pt x="250" y="1"/>
                    </a:lnTo>
                    <a:lnTo>
                      <a:pt x="258" y="6"/>
                    </a:lnTo>
                    <a:lnTo>
                      <a:pt x="267" y="10"/>
                    </a:lnTo>
                    <a:lnTo>
                      <a:pt x="273" y="12"/>
                    </a:lnTo>
                    <a:lnTo>
                      <a:pt x="284" y="15"/>
                    </a:lnTo>
                    <a:lnTo>
                      <a:pt x="300" y="21"/>
                    </a:lnTo>
                    <a:lnTo>
                      <a:pt x="316" y="31"/>
                    </a:lnTo>
                    <a:lnTo>
                      <a:pt x="327" y="37"/>
                    </a:lnTo>
                    <a:lnTo>
                      <a:pt x="337" y="41"/>
                    </a:lnTo>
                    <a:lnTo>
                      <a:pt x="353" y="50"/>
                    </a:lnTo>
                    <a:lnTo>
                      <a:pt x="370" y="60"/>
                    </a:lnTo>
                    <a:lnTo>
                      <a:pt x="380" y="67"/>
                    </a:lnTo>
                    <a:lnTo>
                      <a:pt x="393" y="76"/>
                    </a:lnTo>
                    <a:lnTo>
                      <a:pt x="406" y="86"/>
                    </a:lnTo>
                    <a:lnTo>
                      <a:pt x="419" y="95"/>
                    </a:lnTo>
                    <a:lnTo>
                      <a:pt x="426" y="98"/>
                    </a:lnTo>
                    <a:lnTo>
                      <a:pt x="430" y="105"/>
                    </a:lnTo>
                    <a:lnTo>
                      <a:pt x="440" y="116"/>
                    </a:lnTo>
                    <a:lnTo>
                      <a:pt x="441" y="121"/>
                    </a:lnTo>
                    <a:lnTo>
                      <a:pt x="442" y="125"/>
                    </a:lnTo>
                    <a:lnTo>
                      <a:pt x="443" y="130"/>
                    </a:lnTo>
                    <a:lnTo>
                      <a:pt x="443" y="134"/>
                    </a:lnTo>
                    <a:lnTo>
                      <a:pt x="443" y="137"/>
                    </a:lnTo>
                    <a:lnTo>
                      <a:pt x="443" y="140"/>
                    </a:lnTo>
                    <a:lnTo>
                      <a:pt x="444" y="141"/>
                    </a:lnTo>
                    <a:lnTo>
                      <a:pt x="447" y="142"/>
                    </a:lnTo>
                    <a:lnTo>
                      <a:pt x="450" y="143"/>
                    </a:lnTo>
                    <a:lnTo>
                      <a:pt x="458" y="147"/>
                    </a:lnTo>
                    <a:lnTo>
                      <a:pt x="466" y="153"/>
                    </a:lnTo>
                    <a:lnTo>
                      <a:pt x="475" y="160"/>
                    </a:lnTo>
                    <a:lnTo>
                      <a:pt x="492" y="172"/>
                    </a:lnTo>
                    <a:lnTo>
                      <a:pt x="499" y="178"/>
                    </a:lnTo>
                    <a:lnTo>
                      <a:pt x="500" y="175"/>
                    </a:lnTo>
                    <a:lnTo>
                      <a:pt x="503" y="173"/>
                    </a:lnTo>
                    <a:lnTo>
                      <a:pt x="505" y="172"/>
                    </a:lnTo>
                    <a:lnTo>
                      <a:pt x="506" y="172"/>
                    </a:lnTo>
                    <a:lnTo>
                      <a:pt x="500" y="174"/>
                    </a:lnTo>
                    <a:lnTo>
                      <a:pt x="495" y="177"/>
                    </a:lnTo>
                    <a:lnTo>
                      <a:pt x="492" y="181"/>
                    </a:lnTo>
                    <a:lnTo>
                      <a:pt x="488" y="184"/>
                    </a:lnTo>
                    <a:lnTo>
                      <a:pt x="485" y="189"/>
                    </a:lnTo>
                    <a:lnTo>
                      <a:pt x="483" y="193"/>
                    </a:lnTo>
                    <a:lnTo>
                      <a:pt x="482" y="197"/>
                    </a:lnTo>
                    <a:lnTo>
                      <a:pt x="481" y="202"/>
                    </a:lnTo>
                    <a:lnTo>
                      <a:pt x="478" y="221"/>
                    </a:lnTo>
                    <a:lnTo>
                      <a:pt x="480" y="240"/>
                    </a:lnTo>
                    <a:lnTo>
                      <a:pt x="480" y="247"/>
                    </a:lnTo>
                    <a:lnTo>
                      <a:pt x="481" y="252"/>
                    </a:lnTo>
                    <a:lnTo>
                      <a:pt x="483" y="256"/>
                    </a:lnTo>
                    <a:lnTo>
                      <a:pt x="486" y="260"/>
                    </a:lnTo>
                    <a:lnTo>
                      <a:pt x="488" y="262"/>
                    </a:lnTo>
                    <a:lnTo>
                      <a:pt x="493" y="264"/>
                    </a:lnTo>
                    <a:lnTo>
                      <a:pt x="496" y="265"/>
                    </a:lnTo>
                    <a:lnTo>
                      <a:pt x="500" y="266"/>
                    </a:lnTo>
                    <a:lnTo>
                      <a:pt x="516" y="266"/>
                    </a:lnTo>
                    <a:lnTo>
                      <a:pt x="526" y="265"/>
                    </a:lnTo>
                    <a:lnTo>
                      <a:pt x="528" y="279"/>
                    </a:lnTo>
                    <a:lnTo>
                      <a:pt x="532" y="293"/>
                    </a:lnTo>
                    <a:lnTo>
                      <a:pt x="538" y="307"/>
                    </a:lnTo>
                    <a:lnTo>
                      <a:pt x="545" y="319"/>
                    </a:lnTo>
                    <a:lnTo>
                      <a:pt x="554" y="330"/>
                    </a:lnTo>
                    <a:lnTo>
                      <a:pt x="563" y="341"/>
                    </a:lnTo>
                    <a:lnTo>
                      <a:pt x="573" y="351"/>
                    </a:lnTo>
                    <a:lnTo>
                      <a:pt x="583" y="361"/>
                    </a:lnTo>
                    <a:lnTo>
                      <a:pt x="604" y="376"/>
                    </a:lnTo>
                    <a:lnTo>
                      <a:pt x="622" y="388"/>
                    </a:lnTo>
                    <a:lnTo>
                      <a:pt x="637" y="396"/>
                    </a:lnTo>
                    <a:lnTo>
                      <a:pt x="645" y="400"/>
                    </a:lnTo>
                    <a:lnTo>
                      <a:pt x="673" y="408"/>
                    </a:lnTo>
                    <a:lnTo>
                      <a:pt x="696" y="417"/>
                    </a:lnTo>
                    <a:lnTo>
                      <a:pt x="718" y="424"/>
                    </a:lnTo>
                    <a:lnTo>
                      <a:pt x="738" y="430"/>
                    </a:lnTo>
                    <a:lnTo>
                      <a:pt x="758" y="435"/>
                    </a:lnTo>
                    <a:lnTo>
                      <a:pt x="783" y="440"/>
                    </a:lnTo>
                    <a:lnTo>
                      <a:pt x="811" y="445"/>
                    </a:lnTo>
                    <a:lnTo>
                      <a:pt x="845" y="449"/>
                    </a:lnTo>
                    <a:lnTo>
                      <a:pt x="838" y="457"/>
                    </a:lnTo>
                    <a:lnTo>
                      <a:pt x="830" y="465"/>
                    </a:lnTo>
                    <a:lnTo>
                      <a:pt x="821" y="474"/>
                    </a:lnTo>
                    <a:lnTo>
                      <a:pt x="811" y="482"/>
                    </a:lnTo>
                    <a:lnTo>
                      <a:pt x="790" y="498"/>
                    </a:lnTo>
                    <a:lnTo>
                      <a:pt x="768" y="514"/>
                    </a:lnTo>
                    <a:lnTo>
                      <a:pt x="749" y="531"/>
                    </a:lnTo>
                    <a:lnTo>
                      <a:pt x="731" y="547"/>
                    </a:lnTo>
                    <a:lnTo>
                      <a:pt x="723" y="555"/>
                    </a:lnTo>
                    <a:lnTo>
                      <a:pt x="718" y="562"/>
                    </a:lnTo>
                    <a:lnTo>
                      <a:pt x="715" y="570"/>
                    </a:lnTo>
                    <a:lnTo>
                      <a:pt x="712" y="579"/>
                    </a:lnTo>
                    <a:lnTo>
                      <a:pt x="709" y="592"/>
                    </a:lnTo>
                    <a:lnTo>
                      <a:pt x="706" y="602"/>
                    </a:lnTo>
                    <a:lnTo>
                      <a:pt x="701" y="610"/>
                    </a:lnTo>
                    <a:lnTo>
                      <a:pt x="697" y="617"/>
                    </a:lnTo>
                    <a:lnTo>
                      <a:pt x="693" y="622"/>
                    </a:lnTo>
                    <a:lnTo>
                      <a:pt x="686" y="625"/>
                    </a:lnTo>
                    <a:lnTo>
                      <a:pt x="681" y="628"/>
                    </a:lnTo>
                    <a:lnTo>
                      <a:pt x="674" y="629"/>
                    </a:lnTo>
                    <a:lnTo>
                      <a:pt x="643" y="630"/>
                    </a:lnTo>
                    <a:lnTo>
                      <a:pt x="606" y="635"/>
                    </a:lnTo>
                    <a:lnTo>
                      <a:pt x="594" y="643"/>
                    </a:lnTo>
                    <a:lnTo>
                      <a:pt x="580" y="655"/>
                    </a:lnTo>
                    <a:lnTo>
                      <a:pt x="573" y="661"/>
                    </a:lnTo>
                    <a:lnTo>
                      <a:pt x="567" y="666"/>
                    </a:lnTo>
                    <a:lnTo>
                      <a:pt x="563" y="670"/>
                    </a:lnTo>
                    <a:lnTo>
                      <a:pt x="559" y="671"/>
                    </a:lnTo>
                    <a:lnTo>
                      <a:pt x="548" y="673"/>
                    </a:lnTo>
                    <a:lnTo>
                      <a:pt x="539" y="676"/>
                    </a:lnTo>
                    <a:lnTo>
                      <a:pt x="531" y="678"/>
                    </a:lnTo>
                    <a:lnTo>
                      <a:pt x="525" y="681"/>
                    </a:lnTo>
                    <a:lnTo>
                      <a:pt x="513" y="687"/>
                    </a:lnTo>
                    <a:lnTo>
                      <a:pt x="499" y="696"/>
                    </a:lnTo>
                    <a:lnTo>
                      <a:pt x="488" y="696"/>
                    </a:lnTo>
                    <a:lnTo>
                      <a:pt x="482" y="693"/>
                    </a:lnTo>
                    <a:lnTo>
                      <a:pt x="476" y="691"/>
                    </a:lnTo>
                    <a:lnTo>
                      <a:pt x="472" y="686"/>
                    </a:lnTo>
                    <a:lnTo>
                      <a:pt x="468" y="683"/>
                    </a:lnTo>
                    <a:lnTo>
                      <a:pt x="461" y="680"/>
                    </a:lnTo>
                    <a:lnTo>
                      <a:pt x="452" y="678"/>
                    </a:lnTo>
                    <a:lnTo>
                      <a:pt x="440" y="677"/>
                    </a:lnTo>
                    <a:lnTo>
                      <a:pt x="432" y="678"/>
                    </a:lnTo>
                    <a:lnTo>
                      <a:pt x="427" y="679"/>
                    </a:lnTo>
                    <a:lnTo>
                      <a:pt x="421" y="681"/>
                    </a:lnTo>
                    <a:lnTo>
                      <a:pt x="418" y="684"/>
                    </a:lnTo>
                    <a:lnTo>
                      <a:pt x="410" y="692"/>
                    </a:lnTo>
                    <a:lnTo>
                      <a:pt x="405" y="699"/>
                    </a:lnTo>
                    <a:lnTo>
                      <a:pt x="402" y="703"/>
                    </a:lnTo>
                    <a:lnTo>
                      <a:pt x="398" y="707"/>
                    </a:lnTo>
                    <a:lnTo>
                      <a:pt x="394" y="711"/>
                    </a:lnTo>
                    <a:lnTo>
                      <a:pt x="390" y="714"/>
                    </a:lnTo>
                    <a:lnTo>
                      <a:pt x="383" y="717"/>
                    </a:lnTo>
                    <a:lnTo>
                      <a:pt x="376" y="719"/>
                    </a:lnTo>
                    <a:lnTo>
                      <a:pt x="369" y="720"/>
                    </a:lnTo>
                    <a:lnTo>
                      <a:pt x="360" y="720"/>
                    </a:lnTo>
                    <a:lnTo>
                      <a:pt x="348" y="720"/>
                    </a:lnTo>
                    <a:lnTo>
                      <a:pt x="337" y="719"/>
                    </a:lnTo>
                    <a:lnTo>
                      <a:pt x="327" y="717"/>
                    </a:lnTo>
                    <a:lnTo>
                      <a:pt x="318" y="714"/>
                    </a:lnTo>
                    <a:lnTo>
                      <a:pt x="310" y="710"/>
                    </a:lnTo>
                    <a:lnTo>
                      <a:pt x="303" y="706"/>
                    </a:lnTo>
                    <a:lnTo>
                      <a:pt x="295" y="702"/>
                    </a:lnTo>
                    <a:lnTo>
                      <a:pt x="289" y="698"/>
                    </a:lnTo>
                    <a:lnTo>
                      <a:pt x="275" y="688"/>
                    </a:lnTo>
                    <a:lnTo>
                      <a:pt x="261" y="679"/>
                    </a:lnTo>
                    <a:lnTo>
                      <a:pt x="253" y="675"/>
                    </a:lnTo>
                    <a:lnTo>
                      <a:pt x="246" y="671"/>
                    </a:lnTo>
                    <a:lnTo>
                      <a:pt x="237" y="668"/>
                    </a:lnTo>
                    <a:lnTo>
                      <a:pt x="227" y="665"/>
                    </a:lnTo>
                    <a:lnTo>
                      <a:pt x="205" y="662"/>
                    </a:lnTo>
                    <a:lnTo>
                      <a:pt x="181" y="661"/>
                    </a:lnTo>
                    <a:lnTo>
                      <a:pt x="170" y="660"/>
                    </a:lnTo>
                    <a:lnTo>
                      <a:pt x="159" y="659"/>
                    </a:lnTo>
                    <a:lnTo>
                      <a:pt x="149" y="657"/>
                    </a:lnTo>
                    <a:lnTo>
                      <a:pt x="140" y="653"/>
                    </a:lnTo>
                    <a:lnTo>
                      <a:pt x="149" y="632"/>
                    </a:lnTo>
                    <a:lnTo>
                      <a:pt x="153" y="622"/>
                    </a:lnTo>
                    <a:lnTo>
                      <a:pt x="152" y="618"/>
                    </a:lnTo>
                    <a:lnTo>
                      <a:pt x="151" y="614"/>
                    </a:lnTo>
                    <a:lnTo>
                      <a:pt x="147" y="607"/>
                    </a:lnTo>
                    <a:lnTo>
                      <a:pt x="140" y="597"/>
                    </a:lnTo>
                    <a:lnTo>
                      <a:pt x="134" y="597"/>
                    </a:lnTo>
                    <a:lnTo>
                      <a:pt x="127" y="596"/>
                    </a:lnTo>
                    <a:lnTo>
                      <a:pt x="122" y="593"/>
                    </a:lnTo>
                    <a:lnTo>
                      <a:pt x="116" y="590"/>
                    </a:lnTo>
                    <a:lnTo>
                      <a:pt x="112" y="587"/>
                    </a:lnTo>
                    <a:lnTo>
                      <a:pt x="108" y="583"/>
                    </a:lnTo>
                    <a:lnTo>
                      <a:pt x="104" y="577"/>
                    </a:lnTo>
                    <a:lnTo>
                      <a:pt x="102" y="572"/>
                    </a:lnTo>
                    <a:lnTo>
                      <a:pt x="96" y="562"/>
                    </a:lnTo>
                    <a:lnTo>
                      <a:pt x="93" y="551"/>
                    </a:lnTo>
                    <a:lnTo>
                      <a:pt x="90" y="540"/>
                    </a:lnTo>
                    <a:lnTo>
                      <a:pt x="88" y="530"/>
                    </a:lnTo>
                    <a:lnTo>
                      <a:pt x="82" y="519"/>
                    </a:lnTo>
                    <a:lnTo>
                      <a:pt x="77" y="511"/>
                    </a:lnTo>
                    <a:lnTo>
                      <a:pt x="70" y="505"/>
                    </a:lnTo>
                    <a:lnTo>
                      <a:pt x="63" y="499"/>
                    </a:lnTo>
                    <a:lnTo>
                      <a:pt x="57" y="494"/>
                    </a:lnTo>
                    <a:lnTo>
                      <a:pt x="49" y="489"/>
                    </a:lnTo>
                    <a:lnTo>
                      <a:pt x="41" y="483"/>
                    </a:lnTo>
                    <a:lnTo>
                      <a:pt x="34" y="474"/>
                    </a:lnTo>
                    <a:lnTo>
                      <a:pt x="24" y="477"/>
                    </a:lnTo>
                    <a:lnTo>
                      <a:pt x="16" y="477"/>
                    </a:lnTo>
                    <a:lnTo>
                      <a:pt x="12" y="476"/>
                    </a:lnTo>
                    <a:lnTo>
                      <a:pt x="10" y="475"/>
                    </a:lnTo>
                    <a:lnTo>
                      <a:pt x="6" y="474"/>
                    </a:lnTo>
                    <a:lnTo>
                      <a:pt x="5" y="472"/>
                    </a:lnTo>
                    <a:lnTo>
                      <a:pt x="2" y="467"/>
                    </a:lnTo>
                    <a:lnTo>
                      <a:pt x="0" y="461"/>
                    </a:lnTo>
                    <a:lnTo>
                      <a:pt x="1" y="454"/>
                    </a:lnTo>
                    <a:lnTo>
                      <a:pt x="2" y="448"/>
                    </a:lnTo>
                    <a:lnTo>
                      <a:pt x="5" y="441"/>
                    </a:lnTo>
                    <a:lnTo>
                      <a:pt x="9" y="434"/>
                    </a:lnTo>
                    <a:lnTo>
                      <a:pt x="14" y="428"/>
                    </a:lnTo>
                    <a:lnTo>
                      <a:pt x="21" y="422"/>
                    </a:lnTo>
                    <a:lnTo>
                      <a:pt x="27" y="418"/>
                    </a:lnTo>
                    <a:lnTo>
                      <a:pt x="36" y="415"/>
                    </a:lnTo>
                    <a:lnTo>
                      <a:pt x="45" y="413"/>
                    </a:lnTo>
                    <a:lnTo>
                      <a:pt x="55" y="413"/>
                    </a:lnTo>
                    <a:lnTo>
                      <a:pt x="57" y="384"/>
                    </a:lnTo>
                    <a:lnTo>
                      <a:pt x="60" y="360"/>
                    </a:lnTo>
                    <a:lnTo>
                      <a:pt x="63" y="339"/>
                    </a:lnTo>
                    <a:lnTo>
                      <a:pt x="67" y="321"/>
                    </a:lnTo>
                    <a:lnTo>
                      <a:pt x="71" y="306"/>
                    </a:lnTo>
                    <a:lnTo>
                      <a:pt x="74" y="293"/>
                    </a:lnTo>
                    <a:lnTo>
                      <a:pt x="79" y="283"/>
                    </a:lnTo>
                    <a:lnTo>
                      <a:pt x="82" y="275"/>
                    </a:lnTo>
                    <a:lnTo>
                      <a:pt x="87" y="269"/>
                    </a:lnTo>
                    <a:lnTo>
                      <a:pt x="90" y="265"/>
                    </a:lnTo>
                    <a:lnTo>
                      <a:pt x="93" y="262"/>
                    </a:lnTo>
                    <a:lnTo>
                      <a:pt x="95" y="260"/>
                    </a:lnTo>
                    <a:lnTo>
                      <a:pt x="100" y="259"/>
                    </a:lnTo>
                    <a:lnTo>
                      <a:pt x="101" y="259"/>
                    </a:lnTo>
                    <a:lnTo>
                      <a:pt x="101" y="247"/>
                    </a:lnTo>
                    <a:lnTo>
                      <a:pt x="103" y="236"/>
                    </a:lnTo>
                    <a:lnTo>
                      <a:pt x="105" y="227"/>
                    </a:lnTo>
                    <a:lnTo>
                      <a:pt x="108" y="219"/>
                    </a:lnTo>
                    <a:lnTo>
                      <a:pt x="112" y="212"/>
                    </a:lnTo>
                    <a:lnTo>
                      <a:pt x="116" y="206"/>
                    </a:lnTo>
                    <a:lnTo>
                      <a:pt x="122" y="200"/>
                    </a:lnTo>
                    <a:lnTo>
                      <a:pt x="126" y="196"/>
                    </a:lnTo>
                    <a:lnTo>
                      <a:pt x="137" y="186"/>
                    </a:lnTo>
                    <a:lnTo>
                      <a:pt x="148" y="178"/>
                    </a:lnTo>
                    <a:lnTo>
                      <a:pt x="153" y="174"/>
                    </a:lnTo>
                    <a:lnTo>
                      <a:pt x="159" y="170"/>
                    </a:lnTo>
                    <a:lnTo>
                      <a:pt x="163" y="165"/>
                    </a:lnTo>
                    <a:lnTo>
                      <a:pt x="167" y="160"/>
                    </a:lnTo>
                    <a:lnTo>
                      <a:pt x="174" y="25"/>
                    </a:lnTo>
                  </a:path>
                </a:pathLst>
              </a:custGeom>
              <a:grpFill/>
              <a:ln w="9525" cmpd="sng">
                <a:solidFill>
                  <a:srgbClr val="FFFFFF"/>
                </a:solidFill>
                <a:prstDash val="solid"/>
                <a:round/>
                <a:headEnd/>
                <a:tailEnd/>
              </a:ln>
            </p:spPr>
            <p:txBody>
              <a:bodyPr/>
              <a:lstStyle/>
              <a:p>
                <a:endParaRPr lang="en-GB" sz="1637"/>
              </a:p>
            </p:txBody>
          </p:sp>
          <p:grpSp>
            <p:nvGrpSpPr>
              <p:cNvPr id="129" name="Group 368"/>
              <p:cNvGrpSpPr>
                <a:grpSpLocks/>
              </p:cNvGrpSpPr>
              <p:nvPr>
                <p:custDataLst>
                  <p:tags r:id="rId112"/>
                </p:custDataLst>
              </p:nvPr>
            </p:nvGrpSpPr>
            <p:grpSpPr bwMode="auto">
              <a:xfrm>
                <a:off x="5172472" y="4200424"/>
                <a:ext cx="183696" cy="116412"/>
                <a:chOff x="3481" y="2773"/>
                <a:chExt cx="125" cy="65"/>
              </a:xfrm>
              <a:grpFill/>
            </p:grpSpPr>
            <p:sp>
              <p:nvSpPr>
                <p:cNvPr id="211" name="Freeform 369"/>
                <p:cNvSpPr>
                  <a:spLocks/>
                </p:cNvSpPr>
                <p:nvPr/>
              </p:nvSpPr>
              <p:spPr bwMode="auto">
                <a:xfrm>
                  <a:off x="3583" y="2798"/>
                  <a:ext cx="5" cy="6"/>
                </a:xfrm>
                <a:custGeom>
                  <a:avLst/>
                  <a:gdLst>
                    <a:gd name="T0" fmla="*/ 5 w 13"/>
                    <a:gd name="T1" fmla="*/ 0 h 18"/>
                    <a:gd name="T2" fmla="*/ 4 w 13"/>
                    <a:gd name="T3" fmla="*/ 3 h 18"/>
                    <a:gd name="T4" fmla="*/ 2 w 13"/>
                    <a:gd name="T5" fmla="*/ 6 h 18"/>
                    <a:gd name="T6" fmla="*/ 2 w 13"/>
                    <a:gd name="T7" fmla="*/ 6 h 18"/>
                    <a:gd name="T8" fmla="*/ 1 w 13"/>
                    <a:gd name="T9" fmla="*/ 5 h 18"/>
                    <a:gd name="T10" fmla="*/ 0 w 13"/>
                    <a:gd name="T11" fmla="*/ 3 h 18"/>
                    <a:gd name="T12" fmla="*/ 0 w 13"/>
                    <a:gd name="T13" fmla="*/ 2 h 1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 h="18">
                      <a:moveTo>
                        <a:pt x="13" y="0"/>
                      </a:moveTo>
                      <a:lnTo>
                        <a:pt x="10" y="9"/>
                      </a:lnTo>
                      <a:lnTo>
                        <a:pt x="6" y="18"/>
                      </a:lnTo>
                      <a:lnTo>
                        <a:pt x="5" y="17"/>
                      </a:lnTo>
                      <a:lnTo>
                        <a:pt x="3" y="14"/>
                      </a:lnTo>
                      <a:lnTo>
                        <a:pt x="1" y="10"/>
                      </a:lnTo>
                      <a:lnTo>
                        <a:pt x="0" y="6"/>
                      </a:lnTo>
                    </a:path>
                  </a:pathLst>
                </a:custGeom>
                <a:grpFill/>
                <a:ln w="9525" cmpd="sng">
                  <a:solidFill>
                    <a:srgbClr val="FFFFFF"/>
                  </a:solidFill>
                  <a:prstDash val="solid"/>
                  <a:round/>
                  <a:headEnd/>
                  <a:tailEnd/>
                </a:ln>
              </p:spPr>
              <p:txBody>
                <a:bodyPr/>
                <a:lstStyle/>
                <a:p>
                  <a:endParaRPr lang="en-GB" sz="1637"/>
                </a:p>
              </p:txBody>
            </p:sp>
            <p:sp>
              <p:nvSpPr>
                <p:cNvPr id="212" name="Line 370"/>
                <p:cNvSpPr>
                  <a:spLocks noChangeShapeType="1"/>
                </p:cNvSpPr>
                <p:nvPr/>
              </p:nvSpPr>
              <p:spPr bwMode="auto">
                <a:xfrm>
                  <a:off x="3583" y="2800"/>
                  <a:ext cx="2" cy="1"/>
                </a:xfrm>
                <a:prstGeom prst="line">
                  <a:avLst/>
                </a:prstGeom>
                <a:grpFill/>
                <a:ln w="9525">
                  <a:solidFill>
                    <a:srgbClr val="FFFFFF"/>
                  </a:solidFill>
                  <a:round/>
                  <a:headEnd/>
                  <a:tailEnd/>
                </a:ln>
              </p:spPr>
              <p:txBody>
                <a:bodyPr/>
                <a:lstStyle/>
                <a:p>
                  <a:endParaRPr lang="en-GB" sz="1637"/>
                </a:p>
              </p:txBody>
            </p:sp>
            <p:sp>
              <p:nvSpPr>
                <p:cNvPr id="213" name="Freeform 371"/>
                <p:cNvSpPr>
                  <a:spLocks/>
                </p:cNvSpPr>
                <p:nvPr/>
              </p:nvSpPr>
              <p:spPr bwMode="auto">
                <a:xfrm>
                  <a:off x="3554" y="2819"/>
                  <a:ext cx="5" cy="6"/>
                </a:xfrm>
                <a:custGeom>
                  <a:avLst/>
                  <a:gdLst>
                    <a:gd name="T0" fmla="*/ 5 w 14"/>
                    <a:gd name="T1" fmla="*/ 6 h 19"/>
                    <a:gd name="T2" fmla="*/ 0 w 14"/>
                    <a:gd name="T3" fmla="*/ 0 h 19"/>
                    <a:gd name="T4" fmla="*/ 5 w 14"/>
                    <a:gd name="T5" fmla="*/ 6 h 19"/>
                    <a:gd name="T6" fmla="*/ 0 60000 65536"/>
                    <a:gd name="T7" fmla="*/ 0 60000 65536"/>
                    <a:gd name="T8" fmla="*/ 0 60000 65536"/>
                  </a:gdLst>
                  <a:ahLst/>
                  <a:cxnLst>
                    <a:cxn ang="T6">
                      <a:pos x="T0" y="T1"/>
                    </a:cxn>
                    <a:cxn ang="T7">
                      <a:pos x="T2" y="T3"/>
                    </a:cxn>
                    <a:cxn ang="T8">
                      <a:pos x="T4" y="T5"/>
                    </a:cxn>
                  </a:cxnLst>
                  <a:rect l="0" t="0" r="r" b="b"/>
                  <a:pathLst>
                    <a:path w="14" h="19">
                      <a:moveTo>
                        <a:pt x="14" y="19"/>
                      </a:moveTo>
                      <a:lnTo>
                        <a:pt x="0" y="0"/>
                      </a:lnTo>
                      <a:lnTo>
                        <a:pt x="14" y="19"/>
                      </a:lnTo>
                    </a:path>
                  </a:pathLst>
                </a:custGeom>
                <a:grpFill/>
                <a:ln w="9525" cmpd="sng">
                  <a:solidFill>
                    <a:srgbClr val="FFFFFF"/>
                  </a:solidFill>
                  <a:prstDash val="solid"/>
                  <a:round/>
                  <a:headEnd/>
                  <a:tailEnd/>
                </a:ln>
              </p:spPr>
              <p:txBody>
                <a:bodyPr/>
                <a:lstStyle/>
                <a:p>
                  <a:endParaRPr lang="en-GB" sz="1637"/>
                </a:p>
              </p:txBody>
            </p:sp>
            <p:sp>
              <p:nvSpPr>
                <p:cNvPr id="214" name="Freeform 372"/>
                <p:cNvSpPr>
                  <a:spLocks/>
                </p:cNvSpPr>
                <p:nvPr/>
              </p:nvSpPr>
              <p:spPr bwMode="auto">
                <a:xfrm>
                  <a:off x="3528" y="2832"/>
                  <a:ext cx="2" cy="6"/>
                </a:xfrm>
                <a:custGeom>
                  <a:avLst/>
                  <a:gdLst>
                    <a:gd name="T0" fmla="*/ 0 w 7"/>
                    <a:gd name="T1" fmla="*/ 2 h 18"/>
                    <a:gd name="T2" fmla="*/ 2 w 7"/>
                    <a:gd name="T3" fmla="*/ 6 h 18"/>
                    <a:gd name="T4" fmla="*/ 0 w 7"/>
                    <a:gd name="T5" fmla="*/ 6 h 18"/>
                    <a:gd name="T6" fmla="*/ 0 w 7"/>
                    <a:gd name="T7" fmla="*/ 0 h 18"/>
                    <a:gd name="T8" fmla="*/ 2 w 7"/>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 h="18">
                      <a:moveTo>
                        <a:pt x="0" y="6"/>
                      </a:moveTo>
                      <a:lnTo>
                        <a:pt x="7" y="18"/>
                      </a:lnTo>
                      <a:lnTo>
                        <a:pt x="0" y="18"/>
                      </a:lnTo>
                      <a:lnTo>
                        <a:pt x="0" y="0"/>
                      </a:lnTo>
                      <a:lnTo>
                        <a:pt x="7" y="0"/>
                      </a:lnTo>
                    </a:path>
                  </a:pathLst>
                </a:custGeom>
                <a:grpFill/>
                <a:ln w="9525" cmpd="sng">
                  <a:solidFill>
                    <a:srgbClr val="FFFFFF"/>
                  </a:solidFill>
                  <a:prstDash val="solid"/>
                  <a:round/>
                  <a:headEnd/>
                  <a:tailEnd/>
                </a:ln>
              </p:spPr>
              <p:txBody>
                <a:bodyPr/>
                <a:lstStyle/>
                <a:p>
                  <a:endParaRPr lang="en-GB" sz="1637"/>
                </a:p>
              </p:txBody>
            </p:sp>
            <p:sp>
              <p:nvSpPr>
                <p:cNvPr id="215" name="Freeform 373"/>
                <p:cNvSpPr>
                  <a:spLocks/>
                </p:cNvSpPr>
                <p:nvPr/>
              </p:nvSpPr>
              <p:spPr bwMode="auto">
                <a:xfrm>
                  <a:off x="3599" y="2773"/>
                  <a:ext cx="7" cy="4"/>
                </a:xfrm>
                <a:custGeom>
                  <a:avLst/>
                  <a:gdLst>
                    <a:gd name="T0" fmla="*/ 7 w 20"/>
                    <a:gd name="T1" fmla="*/ 4 h 12"/>
                    <a:gd name="T2" fmla="*/ 4 w 20"/>
                    <a:gd name="T3" fmla="*/ 3 h 12"/>
                    <a:gd name="T4" fmla="*/ 0 w 20"/>
                    <a:gd name="T5" fmla="*/ 2 h 12"/>
                    <a:gd name="T6" fmla="*/ 0 w 20"/>
                    <a:gd name="T7" fmla="*/ 2 h 12"/>
                    <a:gd name="T8" fmla="*/ 1 w 20"/>
                    <a:gd name="T9" fmla="*/ 1 h 12"/>
                    <a:gd name="T10" fmla="*/ 3 w 20"/>
                    <a:gd name="T11" fmla="*/ 0 h 12"/>
                    <a:gd name="T12" fmla="*/ 5 w 20"/>
                    <a:gd name="T13" fmla="*/ 0 h 1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12">
                      <a:moveTo>
                        <a:pt x="20" y="12"/>
                      </a:moveTo>
                      <a:lnTo>
                        <a:pt x="10" y="9"/>
                      </a:lnTo>
                      <a:lnTo>
                        <a:pt x="0" y="6"/>
                      </a:lnTo>
                      <a:lnTo>
                        <a:pt x="1" y="5"/>
                      </a:lnTo>
                      <a:lnTo>
                        <a:pt x="3" y="3"/>
                      </a:lnTo>
                      <a:lnTo>
                        <a:pt x="8" y="1"/>
                      </a:lnTo>
                      <a:lnTo>
                        <a:pt x="13" y="0"/>
                      </a:lnTo>
                    </a:path>
                  </a:pathLst>
                </a:custGeom>
                <a:grpFill/>
                <a:ln w="9525" cmpd="sng">
                  <a:solidFill>
                    <a:srgbClr val="FFFFFF"/>
                  </a:solidFill>
                  <a:prstDash val="solid"/>
                  <a:round/>
                  <a:headEnd/>
                  <a:tailEnd/>
                </a:ln>
              </p:spPr>
              <p:txBody>
                <a:bodyPr/>
                <a:lstStyle/>
                <a:p>
                  <a:endParaRPr lang="en-GB" sz="1637"/>
                </a:p>
              </p:txBody>
            </p:sp>
            <p:sp>
              <p:nvSpPr>
                <p:cNvPr id="216" name="Line 374"/>
                <p:cNvSpPr>
                  <a:spLocks noChangeShapeType="1"/>
                </p:cNvSpPr>
                <p:nvPr/>
              </p:nvSpPr>
              <p:spPr bwMode="auto">
                <a:xfrm>
                  <a:off x="3603" y="2773"/>
                  <a:ext cx="1" cy="2"/>
                </a:xfrm>
                <a:prstGeom prst="line">
                  <a:avLst/>
                </a:prstGeom>
                <a:grpFill/>
                <a:ln w="9525">
                  <a:solidFill>
                    <a:srgbClr val="FFFFFF"/>
                  </a:solidFill>
                  <a:round/>
                  <a:headEnd/>
                  <a:tailEnd/>
                </a:ln>
              </p:spPr>
              <p:txBody>
                <a:bodyPr/>
                <a:lstStyle/>
                <a:p>
                  <a:endParaRPr lang="en-GB" sz="1637"/>
                </a:p>
              </p:txBody>
            </p:sp>
            <p:sp>
              <p:nvSpPr>
                <p:cNvPr id="217" name="Freeform 375"/>
                <p:cNvSpPr>
                  <a:spLocks/>
                </p:cNvSpPr>
                <p:nvPr/>
              </p:nvSpPr>
              <p:spPr bwMode="auto">
                <a:xfrm>
                  <a:off x="3481" y="2828"/>
                  <a:ext cx="7" cy="6"/>
                </a:xfrm>
                <a:custGeom>
                  <a:avLst/>
                  <a:gdLst>
                    <a:gd name="T0" fmla="*/ 0 w 20"/>
                    <a:gd name="T1" fmla="*/ 0 h 18"/>
                    <a:gd name="T2" fmla="*/ 0 w 20"/>
                    <a:gd name="T3" fmla="*/ 6 h 18"/>
                    <a:gd name="T4" fmla="*/ 7 w 20"/>
                    <a:gd name="T5" fmla="*/ 6 h 18"/>
                    <a:gd name="T6" fmla="*/ 0 60000 65536"/>
                    <a:gd name="T7" fmla="*/ 0 60000 65536"/>
                    <a:gd name="T8" fmla="*/ 0 60000 65536"/>
                  </a:gdLst>
                  <a:ahLst/>
                  <a:cxnLst>
                    <a:cxn ang="T6">
                      <a:pos x="T0" y="T1"/>
                    </a:cxn>
                    <a:cxn ang="T7">
                      <a:pos x="T2" y="T3"/>
                    </a:cxn>
                    <a:cxn ang="T8">
                      <a:pos x="T4" y="T5"/>
                    </a:cxn>
                  </a:cxnLst>
                  <a:rect l="0" t="0" r="r" b="b"/>
                  <a:pathLst>
                    <a:path w="20" h="18">
                      <a:moveTo>
                        <a:pt x="0" y="0"/>
                      </a:moveTo>
                      <a:lnTo>
                        <a:pt x="0" y="18"/>
                      </a:lnTo>
                      <a:lnTo>
                        <a:pt x="20" y="18"/>
                      </a:lnTo>
                    </a:path>
                  </a:pathLst>
                </a:custGeom>
                <a:grpFill/>
                <a:ln w="9525" cmpd="sng">
                  <a:solidFill>
                    <a:srgbClr val="FFFFFF"/>
                  </a:solidFill>
                  <a:prstDash val="solid"/>
                  <a:round/>
                  <a:headEnd/>
                  <a:tailEnd/>
                </a:ln>
              </p:spPr>
              <p:txBody>
                <a:bodyPr/>
                <a:lstStyle/>
                <a:p>
                  <a:endParaRPr lang="en-GB" sz="1637"/>
                </a:p>
              </p:txBody>
            </p:sp>
            <p:sp>
              <p:nvSpPr>
                <p:cNvPr id="218" name="Freeform 376"/>
                <p:cNvSpPr>
                  <a:spLocks/>
                </p:cNvSpPr>
                <p:nvPr/>
              </p:nvSpPr>
              <p:spPr bwMode="auto">
                <a:xfrm>
                  <a:off x="3485" y="2830"/>
                  <a:ext cx="3" cy="4"/>
                </a:xfrm>
                <a:custGeom>
                  <a:avLst/>
                  <a:gdLst>
                    <a:gd name="T0" fmla="*/ 3 w 7"/>
                    <a:gd name="T1" fmla="*/ 4 h 12"/>
                    <a:gd name="T2" fmla="*/ 2 w 7"/>
                    <a:gd name="T3" fmla="*/ 2 h 12"/>
                    <a:gd name="T4" fmla="*/ 0 w 7"/>
                    <a:gd name="T5" fmla="*/ 0 h 12"/>
                    <a:gd name="T6" fmla="*/ 0 60000 65536"/>
                    <a:gd name="T7" fmla="*/ 0 60000 65536"/>
                    <a:gd name="T8" fmla="*/ 0 60000 65536"/>
                  </a:gdLst>
                  <a:ahLst/>
                  <a:cxnLst>
                    <a:cxn ang="T6">
                      <a:pos x="T0" y="T1"/>
                    </a:cxn>
                    <a:cxn ang="T7">
                      <a:pos x="T2" y="T3"/>
                    </a:cxn>
                    <a:cxn ang="T8">
                      <a:pos x="T4" y="T5"/>
                    </a:cxn>
                  </a:cxnLst>
                  <a:rect l="0" t="0" r="r" b="b"/>
                  <a:pathLst>
                    <a:path w="7" h="12">
                      <a:moveTo>
                        <a:pt x="7" y="12"/>
                      </a:moveTo>
                      <a:lnTo>
                        <a:pt x="4" y="6"/>
                      </a:lnTo>
                      <a:lnTo>
                        <a:pt x="0" y="0"/>
                      </a:lnTo>
                    </a:path>
                  </a:pathLst>
                </a:custGeom>
                <a:grpFill/>
                <a:ln w="9525" cmpd="sng">
                  <a:solidFill>
                    <a:srgbClr val="FFFFFF"/>
                  </a:solidFill>
                  <a:prstDash val="solid"/>
                  <a:round/>
                  <a:headEnd/>
                  <a:tailEnd/>
                </a:ln>
              </p:spPr>
              <p:txBody>
                <a:bodyPr/>
                <a:lstStyle/>
                <a:p>
                  <a:endParaRPr lang="en-GB" sz="1637"/>
                </a:p>
              </p:txBody>
            </p:sp>
            <p:sp>
              <p:nvSpPr>
                <p:cNvPr id="219" name="Freeform 377"/>
                <p:cNvSpPr>
                  <a:spLocks/>
                </p:cNvSpPr>
                <p:nvPr/>
              </p:nvSpPr>
              <p:spPr bwMode="auto">
                <a:xfrm>
                  <a:off x="3481" y="2828"/>
                  <a:ext cx="7" cy="6"/>
                </a:xfrm>
                <a:custGeom>
                  <a:avLst/>
                  <a:gdLst>
                    <a:gd name="T0" fmla="*/ 0 w 20"/>
                    <a:gd name="T1" fmla="*/ 0 h 18"/>
                    <a:gd name="T2" fmla="*/ 0 w 20"/>
                    <a:gd name="T3" fmla="*/ 6 h 18"/>
                    <a:gd name="T4" fmla="*/ 7 w 20"/>
                    <a:gd name="T5" fmla="*/ 6 h 18"/>
                    <a:gd name="T6" fmla="*/ 6 w 20"/>
                    <a:gd name="T7" fmla="*/ 4 h 18"/>
                    <a:gd name="T8" fmla="*/ 5 w 20"/>
                    <a:gd name="T9" fmla="*/ 2 h 18"/>
                    <a:gd name="T10" fmla="*/ 0 w 20"/>
                    <a:gd name="T11" fmla="*/ 0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 h="18">
                      <a:moveTo>
                        <a:pt x="0" y="0"/>
                      </a:moveTo>
                      <a:lnTo>
                        <a:pt x="0" y="18"/>
                      </a:lnTo>
                      <a:lnTo>
                        <a:pt x="20" y="18"/>
                      </a:lnTo>
                      <a:lnTo>
                        <a:pt x="17" y="12"/>
                      </a:lnTo>
                      <a:lnTo>
                        <a:pt x="13" y="6"/>
                      </a:lnTo>
                      <a:lnTo>
                        <a:pt x="0" y="0"/>
                      </a:lnTo>
                    </a:path>
                  </a:pathLst>
                </a:custGeom>
                <a:grpFill/>
                <a:ln w="9525" cmpd="sng">
                  <a:solidFill>
                    <a:srgbClr val="FFFFFF"/>
                  </a:solidFill>
                  <a:prstDash val="solid"/>
                  <a:round/>
                  <a:headEnd/>
                  <a:tailEnd/>
                </a:ln>
              </p:spPr>
              <p:txBody>
                <a:bodyPr/>
                <a:lstStyle/>
                <a:p>
                  <a:endParaRPr lang="en-GB" sz="1637"/>
                </a:p>
              </p:txBody>
            </p:sp>
            <p:sp>
              <p:nvSpPr>
                <p:cNvPr id="220" name="Freeform 378"/>
                <p:cNvSpPr>
                  <a:spLocks/>
                </p:cNvSpPr>
                <p:nvPr/>
              </p:nvSpPr>
              <p:spPr bwMode="auto">
                <a:xfrm>
                  <a:off x="3528" y="2832"/>
                  <a:ext cx="2" cy="6"/>
                </a:xfrm>
                <a:custGeom>
                  <a:avLst/>
                  <a:gdLst>
                    <a:gd name="T0" fmla="*/ 0 w 7"/>
                    <a:gd name="T1" fmla="*/ 2 h 18"/>
                    <a:gd name="T2" fmla="*/ 2 w 7"/>
                    <a:gd name="T3" fmla="*/ 6 h 18"/>
                    <a:gd name="T4" fmla="*/ 0 w 7"/>
                    <a:gd name="T5" fmla="*/ 6 h 18"/>
                    <a:gd name="T6" fmla="*/ 0 w 7"/>
                    <a:gd name="T7" fmla="*/ 0 h 18"/>
                    <a:gd name="T8" fmla="*/ 2 w 7"/>
                    <a:gd name="T9" fmla="*/ 0 h 18"/>
                    <a:gd name="T10" fmla="*/ 0 w 7"/>
                    <a:gd name="T11" fmla="*/ 2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 h="18">
                      <a:moveTo>
                        <a:pt x="0" y="6"/>
                      </a:moveTo>
                      <a:lnTo>
                        <a:pt x="7" y="18"/>
                      </a:lnTo>
                      <a:lnTo>
                        <a:pt x="0" y="18"/>
                      </a:lnTo>
                      <a:lnTo>
                        <a:pt x="0" y="0"/>
                      </a:lnTo>
                      <a:lnTo>
                        <a:pt x="7" y="0"/>
                      </a:lnTo>
                      <a:lnTo>
                        <a:pt x="0" y="6"/>
                      </a:lnTo>
                    </a:path>
                  </a:pathLst>
                </a:custGeom>
                <a:grpFill/>
                <a:ln w="9525" cmpd="sng">
                  <a:solidFill>
                    <a:srgbClr val="FFFFFF"/>
                  </a:solidFill>
                  <a:prstDash val="solid"/>
                  <a:round/>
                  <a:headEnd/>
                  <a:tailEnd/>
                </a:ln>
              </p:spPr>
              <p:txBody>
                <a:bodyPr/>
                <a:lstStyle/>
                <a:p>
                  <a:endParaRPr lang="en-GB" sz="1637"/>
                </a:p>
              </p:txBody>
            </p:sp>
            <p:sp>
              <p:nvSpPr>
                <p:cNvPr id="221" name="Freeform 379"/>
                <p:cNvSpPr>
                  <a:spLocks/>
                </p:cNvSpPr>
                <p:nvPr/>
              </p:nvSpPr>
              <p:spPr bwMode="auto">
                <a:xfrm>
                  <a:off x="3583" y="2798"/>
                  <a:ext cx="5" cy="6"/>
                </a:xfrm>
                <a:custGeom>
                  <a:avLst/>
                  <a:gdLst>
                    <a:gd name="T0" fmla="*/ 5 w 13"/>
                    <a:gd name="T1" fmla="*/ 0 h 18"/>
                    <a:gd name="T2" fmla="*/ 4 w 13"/>
                    <a:gd name="T3" fmla="*/ 3 h 18"/>
                    <a:gd name="T4" fmla="*/ 2 w 13"/>
                    <a:gd name="T5" fmla="*/ 6 h 18"/>
                    <a:gd name="T6" fmla="*/ 2 w 13"/>
                    <a:gd name="T7" fmla="*/ 6 h 18"/>
                    <a:gd name="T8" fmla="*/ 1 w 13"/>
                    <a:gd name="T9" fmla="*/ 5 h 18"/>
                    <a:gd name="T10" fmla="*/ 0 w 13"/>
                    <a:gd name="T11" fmla="*/ 3 h 18"/>
                    <a:gd name="T12" fmla="*/ 0 w 13"/>
                    <a:gd name="T13" fmla="*/ 2 h 18"/>
                    <a:gd name="T14" fmla="*/ 2 w 13"/>
                    <a:gd name="T15" fmla="*/ 2 h 18"/>
                    <a:gd name="T16" fmla="*/ 5 w 13"/>
                    <a:gd name="T17" fmla="*/ 0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3" h="18">
                      <a:moveTo>
                        <a:pt x="13" y="0"/>
                      </a:moveTo>
                      <a:lnTo>
                        <a:pt x="10" y="9"/>
                      </a:lnTo>
                      <a:lnTo>
                        <a:pt x="6" y="18"/>
                      </a:lnTo>
                      <a:lnTo>
                        <a:pt x="5" y="17"/>
                      </a:lnTo>
                      <a:lnTo>
                        <a:pt x="3" y="14"/>
                      </a:lnTo>
                      <a:lnTo>
                        <a:pt x="1" y="10"/>
                      </a:lnTo>
                      <a:lnTo>
                        <a:pt x="0" y="6"/>
                      </a:lnTo>
                      <a:lnTo>
                        <a:pt x="6" y="6"/>
                      </a:lnTo>
                      <a:lnTo>
                        <a:pt x="13" y="0"/>
                      </a:lnTo>
                    </a:path>
                  </a:pathLst>
                </a:custGeom>
                <a:grpFill/>
                <a:ln w="9525" cmpd="sng">
                  <a:solidFill>
                    <a:srgbClr val="FFFFFF"/>
                  </a:solidFill>
                  <a:prstDash val="solid"/>
                  <a:round/>
                  <a:headEnd/>
                  <a:tailEnd/>
                </a:ln>
              </p:spPr>
              <p:txBody>
                <a:bodyPr/>
                <a:lstStyle/>
                <a:p>
                  <a:endParaRPr lang="en-GB" sz="1637"/>
                </a:p>
              </p:txBody>
            </p:sp>
          </p:grpSp>
          <p:sp>
            <p:nvSpPr>
              <p:cNvPr id="130" name="Freeform 380"/>
              <p:cNvSpPr>
                <a:spLocks/>
              </p:cNvSpPr>
              <p:nvPr>
                <p:custDataLst>
                  <p:tags r:id="rId113"/>
                </p:custDataLst>
              </p:nvPr>
            </p:nvSpPr>
            <p:spPr bwMode="auto">
              <a:xfrm>
                <a:off x="4221067" y="4191468"/>
                <a:ext cx="348328" cy="428041"/>
              </a:xfrm>
              <a:custGeom>
                <a:avLst/>
                <a:gdLst>
                  <a:gd name="T0" fmla="*/ 26013 w 736"/>
                  <a:gd name="T1" fmla="*/ 360469 h 721"/>
                  <a:gd name="T2" fmla="*/ 39452 w 736"/>
                  <a:gd name="T3" fmla="*/ 351523 h 721"/>
                  <a:gd name="T4" fmla="*/ 54626 w 736"/>
                  <a:gd name="T5" fmla="*/ 351523 h 721"/>
                  <a:gd name="T6" fmla="*/ 84974 w 736"/>
                  <a:gd name="T7" fmla="*/ 364152 h 721"/>
                  <a:gd name="T8" fmla="*/ 106218 w 736"/>
                  <a:gd name="T9" fmla="*/ 370993 h 721"/>
                  <a:gd name="T10" fmla="*/ 126594 w 736"/>
                  <a:gd name="T11" fmla="*/ 369941 h 721"/>
                  <a:gd name="T12" fmla="*/ 264894 w 736"/>
                  <a:gd name="T13" fmla="*/ 377308 h 721"/>
                  <a:gd name="T14" fmla="*/ 282236 w 736"/>
                  <a:gd name="T15" fmla="*/ 372046 h 721"/>
                  <a:gd name="T16" fmla="*/ 271831 w 736"/>
                  <a:gd name="T17" fmla="*/ 345734 h 721"/>
                  <a:gd name="T18" fmla="*/ 287872 w 736"/>
                  <a:gd name="T19" fmla="*/ 227858 h 721"/>
                  <a:gd name="T20" fmla="*/ 307381 w 736"/>
                  <a:gd name="T21" fmla="*/ 225753 h 721"/>
                  <a:gd name="T22" fmla="*/ 313451 w 736"/>
                  <a:gd name="T23" fmla="*/ 218912 h 721"/>
                  <a:gd name="T24" fmla="*/ 318220 w 736"/>
                  <a:gd name="T25" fmla="*/ 189443 h 721"/>
                  <a:gd name="T26" fmla="*/ 313017 w 736"/>
                  <a:gd name="T27" fmla="*/ 158922 h 721"/>
                  <a:gd name="T28" fmla="*/ 306948 w 736"/>
                  <a:gd name="T29" fmla="*/ 159974 h 721"/>
                  <a:gd name="T30" fmla="*/ 293074 w 736"/>
                  <a:gd name="T31" fmla="*/ 157869 h 721"/>
                  <a:gd name="T32" fmla="*/ 274866 w 736"/>
                  <a:gd name="T33" fmla="*/ 157343 h 721"/>
                  <a:gd name="T34" fmla="*/ 270097 w 736"/>
                  <a:gd name="T35" fmla="*/ 152607 h 721"/>
                  <a:gd name="T36" fmla="*/ 267495 w 736"/>
                  <a:gd name="T37" fmla="*/ 133137 h 721"/>
                  <a:gd name="T38" fmla="*/ 263160 w 736"/>
                  <a:gd name="T39" fmla="*/ 115245 h 721"/>
                  <a:gd name="T40" fmla="*/ 258825 w 736"/>
                  <a:gd name="T41" fmla="*/ 97879 h 721"/>
                  <a:gd name="T42" fmla="*/ 263160 w 736"/>
                  <a:gd name="T43" fmla="*/ 87881 h 721"/>
                  <a:gd name="T44" fmla="*/ 267495 w 736"/>
                  <a:gd name="T45" fmla="*/ 77882 h 721"/>
                  <a:gd name="T46" fmla="*/ 264894 w 736"/>
                  <a:gd name="T47" fmla="*/ 52623 h 721"/>
                  <a:gd name="T48" fmla="*/ 235847 w 736"/>
                  <a:gd name="T49" fmla="*/ 36836 h 721"/>
                  <a:gd name="T50" fmla="*/ 206800 w 736"/>
                  <a:gd name="T51" fmla="*/ 34731 h 721"/>
                  <a:gd name="T52" fmla="*/ 204198 w 736"/>
                  <a:gd name="T53" fmla="*/ 42625 h 721"/>
                  <a:gd name="T54" fmla="*/ 200730 w 736"/>
                  <a:gd name="T55" fmla="*/ 53149 h 721"/>
                  <a:gd name="T56" fmla="*/ 190759 w 736"/>
                  <a:gd name="T57" fmla="*/ 64200 h 721"/>
                  <a:gd name="T58" fmla="*/ 169949 w 736"/>
                  <a:gd name="T59" fmla="*/ 68410 h 721"/>
                  <a:gd name="T60" fmla="*/ 157809 w 736"/>
                  <a:gd name="T61" fmla="*/ 60517 h 721"/>
                  <a:gd name="T62" fmla="*/ 146971 w 736"/>
                  <a:gd name="T63" fmla="*/ 43151 h 721"/>
                  <a:gd name="T64" fmla="*/ 138300 w 736"/>
                  <a:gd name="T65" fmla="*/ 20523 h 721"/>
                  <a:gd name="T66" fmla="*/ 135265 w 736"/>
                  <a:gd name="T67" fmla="*/ 0 h 721"/>
                  <a:gd name="T68" fmla="*/ 13006 w 736"/>
                  <a:gd name="T69" fmla="*/ 7893 h 721"/>
                  <a:gd name="T70" fmla="*/ 20376 w 736"/>
                  <a:gd name="T71" fmla="*/ 15261 h 721"/>
                  <a:gd name="T72" fmla="*/ 32516 w 736"/>
                  <a:gd name="T73" fmla="*/ 39467 h 721"/>
                  <a:gd name="T74" fmla="*/ 44221 w 736"/>
                  <a:gd name="T75" fmla="*/ 68410 h 721"/>
                  <a:gd name="T76" fmla="*/ 44655 w 736"/>
                  <a:gd name="T77" fmla="*/ 89986 h 721"/>
                  <a:gd name="T78" fmla="*/ 40319 w 736"/>
                  <a:gd name="T79" fmla="*/ 106825 h 721"/>
                  <a:gd name="T80" fmla="*/ 41620 w 736"/>
                  <a:gd name="T81" fmla="*/ 120507 h 721"/>
                  <a:gd name="T82" fmla="*/ 51592 w 736"/>
                  <a:gd name="T83" fmla="*/ 143135 h 721"/>
                  <a:gd name="T84" fmla="*/ 56794 w 736"/>
                  <a:gd name="T85" fmla="*/ 161553 h 721"/>
                  <a:gd name="T86" fmla="*/ 55060 w 736"/>
                  <a:gd name="T87" fmla="*/ 185234 h 721"/>
                  <a:gd name="T88" fmla="*/ 45955 w 736"/>
                  <a:gd name="T89" fmla="*/ 212071 h 721"/>
                  <a:gd name="T90" fmla="*/ 33383 w 736"/>
                  <a:gd name="T91" fmla="*/ 234699 h 721"/>
                  <a:gd name="T92" fmla="*/ 17775 w 736"/>
                  <a:gd name="T93" fmla="*/ 251012 h 721"/>
                  <a:gd name="T94" fmla="*/ 10839 w 736"/>
                  <a:gd name="T95" fmla="*/ 311003 h 721"/>
                  <a:gd name="T96" fmla="*/ 4769 w 736"/>
                  <a:gd name="T97" fmla="*/ 329947 h 72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736" h="721">
                    <a:moveTo>
                      <a:pt x="0" y="691"/>
                    </a:moveTo>
                    <a:lnTo>
                      <a:pt x="46" y="697"/>
                    </a:lnTo>
                    <a:lnTo>
                      <a:pt x="53" y="690"/>
                    </a:lnTo>
                    <a:lnTo>
                      <a:pt x="60" y="685"/>
                    </a:lnTo>
                    <a:lnTo>
                      <a:pt x="68" y="679"/>
                    </a:lnTo>
                    <a:lnTo>
                      <a:pt x="75" y="674"/>
                    </a:lnTo>
                    <a:lnTo>
                      <a:pt x="83" y="671"/>
                    </a:lnTo>
                    <a:lnTo>
                      <a:pt x="91" y="668"/>
                    </a:lnTo>
                    <a:lnTo>
                      <a:pt x="97" y="666"/>
                    </a:lnTo>
                    <a:lnTo>
                      <a:pt x="105" y="666"/>
                    </a:lnTo>
                    <a:lnTo>
                      <a:pt x="116" y="666"/>
                    </a:lnTo>
                    <a:lnTo>
                      <a:pt x="126" y="668"/>
                    </a:lnTo>
                    <a:lnTo>
                      <a:pt x="137" y="671"/>
                    </a:lnTo>
                    <a:lnTo>
                      <a:pt x="149" y="674"/>
                    </a:lnTo>
                    <a:lnTo>
                      <a:pt x="172" y="683"/>
                    </a:lnTo>
                    <a:lnTo>
                      <a:pt x="196" y="692"/>
                    </a:lnTo>
                    <a:lnTo>
                      <a:pt x="208" y="696"/>
                    </a:lnTo>
                    <a:lnTo>
                      <a:pt x="220" y="700"/>
                    </a:lnTo>
                    <a:lnTo>
                      <a:pt x="232" y="703"/>
                    </a:lnTo>
                    <a:lnTo>
                      <a:pt x="245" y="705"/>
                    </a:lnTo>
                    <a:lnTo>
                      <a:pt x="257" y="706"/>
                    </a:lnTo>
                    <a:lnTo>
                      <a:pt x="269" y="707"/>
                    </a:lnTo>
                    <a:lnTo>
                      <a:pt x="280" y="706"/>
                    </a:lnTo>
                    <a:lnTo>
                      <a:pt x="292" y="703"/>
                    </a:lnTo>
                    <a:lnTo>
                      <a:pt x="411" y="703"/>
                    </a:lnTo>
                    <a:lnTo>
                      <a:pt x="411" y="721"/>
                    </a:lnTo>
                    <a:lnTo>
                      <a:pt x="604" y="721"/>
                    </a:lnTo>
                    <a:lnTo>
                      <a:pt x="611" y="717"/>
                    </a:lnTo>
                    <a:lnTo>
                      <a:pt x="619" y="714"/>
                    </a:lnTo>
                    <a:lnTo>
                      <a:pt x="627" y="712"/>
                    </a:lnTo>
                    <a:lnTo>
                      <a:pt x="634" y="710"/>
                    </a:lnTo>
                    <a:lnTo>
                      <a:pt x="651" y="707"/>
                    </a:lnTo>
                    <a:lnTo>
                      <a:pt x="671" y="703"/>
                    </a:lnTo>
                    <a:lnTo>
                      <a:pt x="658" y="691"/>
                    </a:lnTo>
                    <a:lnTo>
                      <a:pt x="643" y="674"/>
                    </a:lnTo>
                    <a:lnTo>
                      <a:pt x="627" y="657"/>
                    </a:lnTo>
                    <a:lnTo>
                      <a:pt x="610" y="641"/>
                    </a:lnTo>
                    <a:lnTo>
                      <a:pt x="610" y="432"/>
                    </a:lnTo>
                    <a:lnTo>
                      <a:pt x="631" y="433"/>
                    </a:lnTo>
                    <a:lnTo>
                      <a:pt x="664" y="433"/>
                    </a:lnTo>
                    <a:lnTo>
                      <a:pt x="680" y="433"/>
                    </a:lnTo>
                    <a:lnTo>
                      <a:pt x="696" y="432"/>
                    </a:lnTo>
                    <a:lnTo>
                      <a:pt x="703" y="431"/>
                    </a:lnTo>
                    <a:lnTo>
                      <a:pt x="709" y="429"/>
                    </a:lnTo>
                    <a:lnTo>
                      <a:pt x="713" y="428"/>
                    </a:lnTo>
                    <a:lnTo>
                      <a:pt x="717" y="426"/>
                    </a:lnTo>
                    <a:lnTo>
                      <a:pt x="720" y="421"/>
                    </a:lnTo>
                    <a:lnTo>
                      <a:pt x="723" y="416"/>
                    </a:lnTo>
                    <a:lnTo>
                      <a:pt x="725" y="408"/>
                    </a:lnTo>
                    <a:lnTo>
                      <a:pt x="728" y="400"/>
                    </a:lnTo>
                    <a:lnTo>
                      <a:pt x="732" y="380"/>
                    </a:lnTo>
                    <a:lnTo>
                      <a:pt x="734" y="360"/>
                    </a:lnTo>
                    <a:lnTo>
                      <a:pt x="736" y="324"/>
                    </a:lnTo>
                    <a:lnTo>
                      <a:pt x="736" y="309"/>
                    </a:lnTo>
                    <a:lnTo>
                      <a:pt x="728" y="304"/>
                    </a:lnTo>
                    <a:lnTo>
                      <a:pt x="722" y="302"/>
                    </a:lnTo>
                    <a:lnTo>
                      <a:pt x="718" y="302"/>
                    </a:lnTo>
                    <a:lnTo>
                      <a:pt x="714" y="303"/>
                    </a:lnTo>
                    <a:lnTo>
                      <a:pt x="711" y="304"/>
                    </a:lnTo>
                    <a:lnTo>
                      <a:pt x="708" y="304"/>
                    </a:lnTo>
                    <a:lnTo>
                      <a:pt x="703" y="302"/>
                    </a:lnTo>
                    <a:lnTo>
                      <a:pt x="697" y="297"/>
                    </a:lnTo>
                    <a:lnTo>
                      <a:pt x="685" y="298"/>
                    </a:lnTo>
                    <a:lnTo>
                      <a:pt x="676" y="300"/>
                    </a:lnTo>
                    <a:lnTo>
                      <a:pt x="666" y="302"/>
                    </a:lnTo>
                    <a:lnTo>
                      <a:pt x="650" y="303"/>
                    </a:lnTo>
                    <a:lnTo>
                      <a:pt x="641" y="302"/>
                    </a:lnTo>
                    <a:lnTo>
                      <a:pt x="634" y="299"/>
                    </a:lnTo>
                    <a:lnTo>
                      <a:pt x="631" y="298"/>
                    </a:lnTo>
                    <a:lnTo>
                      <a:pt x="628" y="295"/>
                    </a:lnTo>
                    <a:lnTo>
                      <a:pt x="626" y="293"/>
                    </a:lnTo>
                    <a:lnTo>
                      <a:pt x="623" y="290"/>
                    </a:lnTo>
                    <a:lnTo>
                      <a:pt x="620" y="282"/>
                    </a:lnTo>
                    <a:lnTo>
                      <a:pt x="619" y="274"/>
                    </a:lnTo>
                    <a:lnTo>
                      <a:pt x="618" y="264"/>
                    </a:lnTo>
                    <a:lnTo>
                      <a:pt x="617" y="253"/>
                    </a:lnTo>
                    <a:lnTo>
                      <a:pt x="616" y="244"/>
                    </a:lnTo>
                    <a:lnTo>
                      <a:pt x="613" y="236"/>
                    </a:lnTo>
                    <a:lnTo>
                      <a:pt x="610" y="227"/>
                    </a:lnTo>
                    <a:lnTo>
                      <a:pt x="607" y="219"/>
                    </a:lnTo>
                    <a:lnTo>
                      <a:pt x="604" y="211"/>
                    </a:lnTo>
                    <a:lnTo>
                      <a:pt x="600" y="203"/>
                    </a:lnTo>
                    <a:lnTo>
                      <a:pt x="598" y="195"/>
                    </a:lnTo>
                    <a:lnTo>
                      <a:pt x="597" y="186"/>
                    </a:lnTo>
                    <a:lnTo>
                      <a:pt x="598" y="181"/>
                    </a:lnTo>
                    <a:lnTo>
                      <a:pt x="600" y="177"/>
                    </a:lnTo>
                    <a:lnTo>
                      <a:pt x="604" y="171"/>
                    </a:lnTo>
                    <a:lnTo>
                      <a:pt x="607" y="167"/>
                    </a:lnTo>
                    <a:lnTo>
                      <a:pt x="610" y="162"/>
                    </a:lnTo>
                    <a:lnTo>
                      <a:pt x="613" y="157"/>
                    </a:lnTo>
                    <a:lnTo>
                      <a:pt x="616" y="153"/>
                    </a:lnTo>
                    <a:lnTo>
                      <a:pt x="617" y="148"/>
                    </a:lnTo>
                    <a:lnTo>
                      <a:pt x="616" y="136"/>
                    </a:lnTo>
                    <a:lnTo>
                      <a:pt x="612" y="120"/>
                    </a:lnTo>
                    <a:lnTo>
                      <a:pt x="611" y="109"/>
                    </a:lnTo>
                    <a:lnTo>
                      <a:pt x="611" y="100"/>
                    </a:lnTo>
                    <a:lnTo>
                      <a:pt x="613" y="90"/>
                    </a:lnTo>
                    <a:lnTo>
                      <a:pt x="617" y="81"/>
                    </a:lnTo>
                    <a:lnTo>
                      <a:pt x="594" y="77"/>
                    </a:lnTo>
                    <a:lnTo>
                      <a:pt x="544" y="70"/>
                    </a:lnTo>
                    <a:lnTo>
                      <a:pt x="517" y="67"/>
                    </a:lnTo>
                    <a:lnTo>
                      <a:pt x="494" y="66"/>
                    </a:lnTo>
                    <a:lnTo>
                      <a:pt x="484" y="65"/>
                    </a:lnTo>
                    <a:lnTo>
                      <a:pt x="477" y="66"/>
                    </a:lnTo>
                    <a:lnTo>
                      <a:pt x="473" y="67"/>
                    </a:lnTo>
                    <a:lnTo>
                      <a:pt x="471" y="69"/>
                    </a:lnTo>
                    <a:lnTo>
                      <a:pt x="471" y="73"/>
                    </a:lnTo>
                    <a:lnTo>
                      <a:pt x="471" y="81"/>
                    </a:lnTo>
                    <a:lnTo>
                      <a:pt x="470" y="86"/>
                    </a:lnTo>
                    <a:lnTo>
                      <a:pt x="469" y="91"/>
                    </a:lnTo>
                    <a:lnTo>
                      <a:pt x="466" y="96"/>
                    </a:lnTo>
                    <a:lnTo>
                      <a:pt x="463" y="101"/>
                    </a:lnTo>
                    <a:lnTo>
                      <a:pt x="460" y="107"/>
                    </a:lnTo>
                    <a:lnTo>
                      <a:pt x="454" y="112"/>
                    </a:lnTo>
                    <a:lnTo>
                      <a:pt x="448" y="117"/>
                    </a:lnTo>
                    <a:lnTo>
                      <a:pt x="440" y="122"/>
                    </a:lnTo>
                    <a:lnTo>
                      <a:pt x="430" y="125"/>
                    </a:lnTo>
                    <a:lnTo>
                      <a:pt x="419" y="128"/>
                    </a:lnTo>
                    <a:lnTo>
                      <a:pt x="406" y="130"/>
                    </a:lnTo>
                    <a:lnTo>
                      <a:pt x="392" y="130"/>
                    </a:lnTo>
                    <a:lnTo>
                      <a:pt x="385" y="129"/>
                    </a:lnTo>
                    <a:lnTo>
                      <a:pt x="378" y="127"/>
                    </a:lnTo>
                    <a:lnTo>
                      <a:pt x="372" y="122"/>
                    </a:lnTo>
                    <a:lnTo>
                      <a:pt x="364" y="115"/>
                    </a:lnTo>
                    <a:lnTo>
                      <a:pt x="358" y="108"/>
                    </a:lnTo>
                    <a:lnTo>
                      <a:pt x="351" y="100"/>
                    </a:lnTo>
                    <a:lnTo>
                      <a:pt x="344" y="91"/>
                    </a:lnTo>
                    <a:lnTo>
                      <a:pt x="339" y="82"/>
                    </a:lnTo>
                    <a:lnTo>
                      <a:pt x="333" y="72"/>
                    </a:lnTo>
                    <a:lnTo>
                      <a:pt x="328" y="60"/>
                    </a:lnTo>
                    <a:lnTo>
                      <a:pt x="324" y="50"/>
                    </a:lnTo>
                    <a:lnTo>
                      <a:pt x="319" y="39"/>
                    </a:lnTo>
                    <a:lnTo>
                      <a:pt x="316" y="29"/>
                    </a:lnTo>
                    <a:lnTo>
                      <a:pt x="314" y="19"/>
                    </a:lnTo>
                    <a:lnTo>
                      <a:pt x="312" y="10"/>
                    </a:lnTo>
                    <a:lnTo>
                      <a:pt x="312" y="0"/>
                    </a:lnTo>
                    <a:lnTo>
                      <a:pt x="26" y="0"/>
                    </a:lnTo>
                    <a:lnTo>
                      <a:pt x="26" y="5"/>
                    </a:lnTo>
                    <a:lnTo>
                      <a:pt x="28" y="10"/>
                    </a:lnTo>
                    <a:lnTo>
                      <a:pt x="30" y="15"/>
                    </a:lnTo>
                    <a:lnTo>
                      <a:pt x="34" y="19"/>
                    </a:lnTo>
                    <a:lnTo>
                      <a:pt x="38" y="22"/>
                    </a:lnTo>
                    <a:lnTo>
                      <a:pt x="42" y="26"/>
                    </a:lnTo>
                    <a:lnTo>
                      <a:pt x="47" y="29"/>
                    </a:lnTo>
                    <a:lnTo>
                      <a:pt x="52" y="31"/>
                    </a:lnTo>
                    <a:lnTo>
                      <a:pt x="58" y="47"/>
                    </a:lnTo>
                    <a:lnTo>
                      <a:pt x="67" y="61"/>
                    </a:lnTo>
                    <a:lnTo>
                      <a:pt x="75" y="75"/>
                    </a:lnTo>
                    <a:lnTo>
                      <a:pt x="84" y="89"/>
                    </a:lnTo>
                    <a:lnTo>
                      <a:pt x="92" y="104"/>
                    </a:lnTo>
                    <a:lnTo>
                      <a:pt x="98" y="121"/>
                    </a:lnTo>
                    <a:lnTo>
                      <a:pt x="102" y="130"/>
                    </a:lnTo>
                    <a:lnTo>
                      <a:pt x="104" y="139"/>
                    </a:lnTo>
                    <a:lnTo>
                      <a:pt x="105" y="150"/>
                    </a:lnTo>
                    <a:lnTo>
                      <a:pt x="105" y="161"/>
                    </a:lnTo>
                    <a:lnTo>
                      <a:pt x="103" y="171"/>
                    </a:lnTo>
                    <a:lnTo>
                      <a:pt x="98" y="183"/>
                    </a:lnTo>
                    <a:lnTo>
                      <a:pt x="96" y="190"/>
                    </a:lnTo>
                    <a:lnTo>
                      <a:pt x="94" y="196"/>
                    </a:lnTo>
                    <a:lnTo>
                      <a:pt x="93" y="203"/>
                    </a:lnTo>
                    <a:lnTo>
                      <a:pt x="92" y="210"/>
                    </a:lnTo>
                    <a:lnTo>
                      <a:pt x="93" y="217"/>
                    </a:lnTo>
                    <a:lnTo>
                      <a:pt x="94" y="223"/>
                    </a:lnTo>
                    <a:lnTo>
                      <a:pt x="96" y="229"/>
                    </a:lnTo>
                    <a:lnTo>
                      <a:pt x="98" y="236"/>
                    </a:lnTo>
                    <a:lnTo>
                      <a:pt x="105" y="248"/>
                    </a:lnTo>
                    <a:lnTo>
                      <a:pt x="112" y="260"/>
                    </a:lnTo>
                    <a:lnTo>
                      <a:pt x="119" y="272"/>
                    </a:lnTo>
                    <a:lnTo>
                      <a:pt x="126" y="285"/>
                    </a:lnTo>
                    <a:lnTo>
                      <a:pt x="128" y="293"/>
                    </a:lnTo>
                    <a:lnTo>
                      <a:pt x="130" y="300"/>
                    </a:lnTo>
                    <a:lnTo>
                      <a:pt x="131" y="307"/>
                    </a:lnTo>
                    <a:lnTo>
                      <a:pt x="133" y="315"/>
                    </a:lnTo>
                    <a:lnTo>
                      <a:pt x="131" y="326"/>
                    </a:lnTo>
                    <a:lnTo>
                      <a:pt x="129" y="338"/>
                    </a:lnTo>
                    <a:lnTo>
                      <a:pt x="127" y="352"/>
                    </a:lnTo>
                    <a:lnTo>
                      <a:pt x="123" y="364"/>
                    </a:lnTo>
                    <a:lnTo>
                      <a:pt x="118" y="377"/>
                    </a:lnTo>
                    <a:lnTo>
                      <a:pt x="113" y="389"/>
                    </a:lnTo>
                    <a:lnTo>
                      <a:pt x="106" y="403"/>
                    </a:lnTo>
                    <a:lnTo>
                      <a:pt x="100" y="414"/>
                    </a:lnTo>
                    <a:lnTo>
                      <a:pt x="92" y="426"/>
                    </a:lnTo>
                    <a:lnTo>
                      <a:pt x="84" y="436"/>
                    </a:lnTo>
                    <a:lnTo>
                      <a:pt x="77" y="446"/>
                    </a:lnTo>
                    <a:lnTo>
                      <a:pt x="68" y="457"/>
                    </a:lnTo>
                    <a:lnTo>
                      <a:pt x="59" y="465"/>
                    </a:lnTo>
                    <a:lnTo>
                      <a:pt x="50" y="471"/>
                    </a:lnTo>
                    <a:lnTo>
                      <a:pt x="41" y="477"/>
                    </a:lnTo>
                    <a:lnTo>
                      <a:pt x="33" y="481"/>
                    </a:lnTo>
                    <a:lnTo>
                      <a:pt x="33" y="586"/>
                    </a:lnTo>
                    <a:lnTo>
                      <a:pt x="28" y="588"/>
                    </a:lnTo>
                    <a:lnTo>
                      <a:pt x="25" y="591"/>
                    </a:lnTo>
                    <a:lnTo>
                      <a:pt x="23" y="595"/>
                    </a:lnTo>
                    <a:lnTo>
                      <a:pt x="19" y="600"/>
                    </a:lnTo>
                    <a:lnTo>
                      <a:pt x="15" y="612"/>
                    </a:lnTo>
                    <a:lnTo>
                      <a:pt x="11" y="627"/>
                    </a:lnTo>
                    <a:lnTo>
                      <a:pt x="4" y="659"/>
                    </a:lnTo>
                    <a:lnTo>
                      <a:pt x="0" y="691"/>
                    </a:lnTo>
                  </a:path>
                </a:pathLst>
              </a:custGeom>
              <a:grpFill/>
              <a:ln w="9525" cmpd="sng">
                <a:solidFill>
                  <a:srgbClr val="FFFFFF"/>
                </a:solidFill>
                <a:prstDash val="solid"/>
                <a:round/>
                <a:headEnd/>
                <a:tailEnd/>
              </a:ln>
            </p:spPr>
            <p:txBody>
              <a:bodyPr/>
              <a:lstStyle/>
              <a:p>
                <a:endParaRPr lang="en-GB" sz="1637"/>
              </a:p>
            </p:txBody>
          </p:sp>
          <p:sp>
            <p:nvSpPr>
              <p:cNvPr id="131" name="Freeform 381"/>
              <p:cNvSpPr>
                <a:spLocks/>
              </p:cNvSpPr>
              <p:nvPr>
                <p:custDataLst>
                  <p:tags r:id="rId114"/>
                </p:custDataLst>
              </p:nvPr>
            </p:nvSpPr>
            <p:spPr bwMode="auto">
              <a:xfrm>
                <a:off x="4233197" y="4161023"/>
                <a:ext cx="17330" cy="68057"/>
              </a:xfrm>
              <a:custGeom>
                <a:avLst/>
                <a:gdLst>
                  <a:gd name="T0" fmla="*/ 0 w 39"/>
                  <a:gd name="T1" fmla="*/ 60325 h 31"/>
                  <a:gd name="T2" fmla="*/ 4885 w 39"/>
                  <a:gd name="T3" fmla="*/ 54487 h 31"/>
                  <a:gd name="T4" fmla="*/ 8955 w 39"/>
                  <a:gd name="T5" fmla="*/ 54487 h 31"/>
                  <a:gd name="T6" fmla="*/ 10583 w 39"/>
                  <a:gd name="T7" fmla="*/ 54487 h 31"/>
                  <a:gd name="T8" fmla="*/ 12212 w 39"/>
                  <a:gd name="T9" fmla="*/ 54487 h 31"/>
                  <a:gd name="T10" fmla="*/ 14247 w 39"/>
                  <a:gd name="T11" fmla="*/ 52541 h 31"/>
                  <a:gd name="T12" fmla="*/ 15875 w 39"/>
                  <a:gd name="T13" fmla="*/ 48649 h 31"/>
                  <a:gd name="T14" fmla="*/ 15875 w 39"/>
                  <a:gd name="T15" fmla="*/ 0 h 31"/>
                  <a:gd name="T16" fmla="*/ 10583 w 39"/>
                  <a:gd name="T17" fmla="*/ 0 h 31"/>
                  <a:gd name="T18" fmla="*/ 6920 w 39"/>
                  <a:gd name="T19" fmla="*/ 0 h 31"/>
                  <a:gd name="T20" fmla="*/ 3256 w 39"/>
                  <a:gd name="T21" fmla="*/ 0 h 31"/>
                  <a:gd name="T22" fmla="*/ 0 w 39"/>
                  <a:gd name="T23" fmla="*/ 0 h 31"/>
                  <a:gd name="T24" fmla="*/ 0 w 39"/>
                  <a:gd name="T25" fmla="*/ 60325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31">
                    <a:moveTo>
                      <a:pt x="0" y="31"/>
                    </a:moveTo>
                    <a:lnTo>
                      <a:pt x="12" y="28"/>
                    </a:lnTo>
                    <a:lnTo>
                      <a:pt x="22" y="28"/>
                    </a:lnTo>
                    <a:lnTo>
                      <a:pt x="26" y="28"/>
                    </a:lnTo>
                    <a:lnTo>
                      <a:pt x="30" y="28"/>
                    </a:lnTo>
                    <a:lnTo>
                      <a:pt x="35" y="27"/>
                    </a:lnTo>
                    <a:lnTo>
                      <a:pt x="39" y="25"/>
                    </a:lnTo>
                    <a:lnTo>
                      <a:pt x="39" y="0"/>
                    </a:lnTo>
                    <a:lnTo>
                      <a:pt x="26" y="0"/>
                    </a:lnTo>
                    <a:lnTo>
                      <a:pt x="17" y="0"/>
                    </a:lnTo>
                    <a:lnTo>
                      <a:pt x="8" y="0"/>
                    </a:lnTo>
                    <a:lnTo>
                      <a:pt x="0" y="0"/>
                    </a:lnTo>
                    <a:lnTo>
                      <a:pt x="0" y="31"/>
                    </a:lnTo>
                  </a:path>
                </a:pathLst>
              </a:custGeom>
              <a:grpFill/>
              <a:ln w="9525" cmpd="sng">
                <a:solidFill>
                  <a:srgbClr val="FFFFFF"/>
                </a:solidFill>
                <a:prstDash val="solid"/>
                <a:round/>
                <a:headEnd/>
                <a:tailEnd/>
              </a:ln>
            </p:spPr>
            <p:txBody>
              <a:bodyPr/>
              <a:lstStyle/>
              <a:p>
                <a:endParaRPr lang="en-GB" sz="1637"/>
              </a:p>
            </p:txBody>
          </p:sp>
          <p:sp>
            <p:nvSpPr>
              <p:cNvPr id="132" name="Freeform 382"/>
              <p:cNvSpPr>
                <a:spLocks/>
              </p:cNvSpPr>
              <p:nvPr>
                <p:custDataLst>
                  <p:tags r:id="rId115"/>
                </p:custDataLst>
              </p:nvPr>
            </p:nvSpPr>
            <p:spPr bwMode="auto">
              <a:xfrm>
                <a:off x="4344108" y="4773533"/>
                <a:ext cx="433245" cy="449532"/>
              </a:xfrm>
              <a:custGeom>
                <a:avLst/>
                <a:gdLst>
                  <a:gd name="T0" fmla="*/ 395117 w 903"/>
                  <a:gd name="T1" fmla="*/ 152770 h 759"/>
                  <a:gd name="T2" fmla="*/ 379295 w 903"/>
                  <a:gd name="T3" fmla="*/ 203693 h 759"/>
                  <a:gd name="T4" fmla="*/ 365670 w 903"/>
                  <a:gd name="T5" fmla="*/ 217343 h 759"/>
                  <a:gd name="T6" fmla="*/ 334465 w 903"/>
                  <a:gd name="T7" fmla="*/ 266166 h 759"/>
                  <a:gd name="T8" fmla="*/ 316445 w 903"/>
                  <a:gd name="T9" fmla="*/ 294515 h 759"/>
                  <a:gd name="T10" fmla="*/ 284361 w 903"/>
                  <a:gd name="T11" fmla="*/ 321815 h 759"/>
                  <a:gd name="T12" fmla="*/ 256233 w 903"/>
                  <a:gd name="T13" fmla="*/ 349639 h 759"/>
                  <a:gd name="T14" fmla="*/ 244806 w 903"/>
                  <a:gd name="T15" fmla="*/ 366438 h 759"/>
                  <a:gd name="T16" fmla="*/ 228544 w 903"/>
                  <a:gd name="T17" fmla="*/ 370113 h 759"/>
                  <a:gd name="T18" fmla="*/ 217996 w 903"/>
                  <a:gd name="T19" fmla="*/ 372738 h 759"/>
                  <a:gd name="T20" fmla="*/ 213161 w 903"/>
                  <a:gd name="T21" fmla="*/ 381663 h 759"/>
                  <a:gd name="T22" fmla="*/ 163497 w 903"/>
                  <a:gd name="T23" fmla="*/ 381663 h 759"/>
                  <a:gd name="T24" fmla="*/ 148993 w 903"/>
                  <a:gd name="T25" fmla="*/ 384287 h 759"/>
                  <a:gd name="T26" fmla="*/ 138884 w 903"/>
                  <a:gd name="T27" fmla="*/ 384287 h 759"/>
                  <a:gd name="T28" fmla="*/ 125699 w 903"/>
                  <a:gd name="T29" fmla="*/ 381663 h 759"/>
                  <a:gd name="T30" fmla="*/ 115590 w 903"/>
                  <a:gd name="T31" fmla="*/ 386912 h 759"/>
                  <a:gd name="T32" fmla="*/ 64168 w 903"/>
                  <a:gd name="T33" fmla="*/ 398462 h 759"/>
                  <a:gd name="T34" fmla="*/ 50983 w 903"/>
                  <a:gd name="T35" fmla="*/ 395312 h 759"/>
                  <a:gd name="T36" fmla="*/ 39556 w 903"/>
                  <a:gd name="T37" fmla="*/ 387962 h 759"/>
                  <a:gd name="T38" fmla="*/ 33403 w 903"/>
                  <a:gd name="T39" fmla="*/ 377463 h 759"/>
                  <a:gd name="T40" fmla="*/ 34721 w 903"/>
                  <a:gd name="T41" fmla="*/ 365913 h 759"/>
                  <a:gd name="T42" fmla="*/ 32963 w 903"/>
                  <a:gd name="T43" fmla="*/ 329689 h 759"/>
                  <a:gd name="T44" fmla="*/ 34721 w 903"/>
                  <a:gd name="T45" fmla="*/ 319190 h 759"/>
                  <a:gd name="T46" fmla="*/ 29886 w 903"/>
                  <a:gd name="T47" fmla="*/ 300290 h 759"/>
                  <a:gd name="T48" fmla="*/ 9669 w 903"/>
                  <a:gd name="T49" fmla="*/ 270891 h 759"/>
                  <a:gd name="T50" fmla="*/ 5274 w 903"/>
                  <a:gd name="T51" fmla="*/ 254092 h 759"/>
                  <a:gd name="T52" fmla="*/ 4395 w 903"/>
                  <a:gd name="T53" fmla="*/ 230467 h 759"/>
                  <a:gd name="T54" fmla="*/ 0 w 903"/>
                  <a:gd name="T55" fmla="*/ 197919 h 759"/>
                  <a:gd name="T56" fmla="*/ 17141 w 903"/>
                  <a:gd name="T57" fmla="*/ 197919 h 759"/>
                  <a:gd name="T58" fmla="*/ 25052 w 903"/>
                  <a:gd name="T59" fmla="*/ 207893 h 759"/>
                  <a:gd name="T60" fmla="*/ 41314 w 903"/>
                  <a:gd name="T61" fmla="*/ 215243 h 759"/>
                  <a:gd name="T62" fmla="*/ 59333 w 903"/>
                  <a:gd name="T63" fmla="*/ 215768 h 759"/>
                  <a:gd name="T64" fmla="*/ 70321 w 903"/>
                  <a:gd name="T65" fmla="*/ 209993 h 759"/>
                  <a:gd name="T66" fmla="*/ 79990 w 903"/>
                  <a:gd name="T67" fmla="*/ 195294 h 759"/>
                  <a:gd name="T68" fmla="*/ 86583 w 903"/>
                  <a:gd name="T69" fmla="*/ 120221 h 759"/>
                  <a:gd name="T70" fmla="*/ 89659 w 903"/>
                  <a:gd name="T71" fmla="*/ 96597 h 759"/>
                  <a:gd name="T72" fmla="*/ 92297 w 903"/>
                  <a:gd name="T73" fmla="*/ 88197 h 759"/>
                  <a:gd name="T74" fmla="*/ 105042 w 903"/>
                  <a:gd name="T75" fmla="*/ 93447 h 759"/>
                  <a:gd name="T76" fmla="*/ 107679 w 903"/>
                  <a:gd name="T77" fmla="*/ 124946 h 759"/>
                  <a:gd name="T78" fmla="*/ 108558 w 903"/>
                  <a:gd name="T79" fmla="*/ 143845 h 759"/>
                  <a:gd name="T80" fmla="*/ 112514 w 903"/>
                  <a:gd name="T81" fmla="*/ 150670 h 759"/>
                  <a:gd name="T82" fmla="*/ 126139 w 903"/>
                  <a:gd name="T83" fmla="*/ 154870 h 759"/>
                  <a:gd name="T84" fmla="*/ 137126 w 903"/>
                  <a:gd name="T85" fmla="*/ 153820 h 759"/>
                  <a:gd name="T86" fmla="*/ 146356 w 903"/>
                  <a:gd name="T87" fmla="*/ 142795 h 759"/>
                  <a:gd name="T88" fmla="*/ 153828 w 903"/>
                  <a:gd name="T89" fmla="*/ 122846 h 759"/>
                  <a:gd name="T90" fmla="*/ 161739 w 903"/>
                  <a:gd name="T91" fmla="*/ 105522 h 759"/>
                  <a:gd name="T92" fmla="*/ 170089 w 903"/>
                  <a:gd name="T93" fmla="*/ 100272 h 759"/>
                  <a:gd name="T94" fmla="*/ 181956 w 903"/>
                  <a:gd name="T95" fmla="*/ 101322 h 759"/>
                  <a:gd name="T96" fmla="*/ 198218 w 903"/>
                  <a:gd name="T97" fmla="*/ 109196 h 759"/>
                  <a:gd name="T98" fmla="*/ 210084 w 903"/>
                  <a:gd name="T99" fmla="*/ 113396 h 759"/>
                  <a:gd name="T100" fmla="*/ 225028 w 903"/>
                  <a:gd name="T101" fmla="*/ 111821 h 759"/>
                  <a:gd name="T102" fmla="*/ 233378 w 903"/>
                  <a:gd name="T103" fmla="*/ 104997 h 759"/>
                  <a:gd name="T104" fmla="*/ 247882 w 903"/>
                  <a:gd name="T105" fmla="*/ 66673 h 759"/>
                  <a:gd name="T106" fmla="*/ 272494 w 903"/>
                  <a:gd name="T107" fmla="*/ 41999 h 759"/>
                  <a:gd name="T108" fmla="*/ 321719 w 903"/>
                  <a:gd name="T109" fmla="*/ 5775 h 759"/>
                  <a:gd name="T110" fmla="*/ 354243 w 903"/>
                  <a:gd name="T111" fmla="*/ 1575 h 759"/>
                  <a:gd name="T112" fmla="*/ 364791 w 903"/>
                  <a:gd name="T113" fmla="*/ 3150 h 759"/>
                  <a:gd name="T114" fmla="*/ 375339 w 903"/>
                  <a:gd name="T115" fmla="*/ 18374 h 759"/>
                  <a:gd name="T116" fmla="*/ 383690 w 903"/>
                  <a:gd name="T117" fmla="*/ 37274 h 759"/>
                  <a:gd name="T118" fmla="*/ 388085 w 903"/>
                  <a:gd name="T119" fmla="*/ 56173 h 759"/>
                  <a:gd name="T120" fmla="*/ 381492 w 903"/>
                  <a:gd name="T121" fmla="*/ 108671 h 759"/>
                  <a:gd name="T122" fmla="*/ 364791 w 903"/>
                  <a:gd name="T123" fmla="*/ 107097 h 759"/>
                  <a:gd name="T124" fmla="*/ 363033 w 903"/>
                  <a:gd name="T125" fmla="*/ 147520 h 75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903" h="759">
                    <a:moveTo>
                      <a:pt x="870" y="296"/>
                    </a:moveTo>
                    <a:lnTo>
                      <a:pt x="875" y="295"/>
                    </a:lnTo>
                    <a:lnTo>
                      <a:pt x="886" y="293"/>
                    </a:lnTo>
                    <a:lnTo>
                      <a:pt x="899" y="291"/>
                    </a:lnTo>
                    <a:lnTo>
                      <a:pt x="903" y="290"/>
                    </a:lnTo>
                    <a:lnTo>
                      <a:pt x="863" y="364"/>
                    </a:lnTo>
                    <a:lnTo>
                      <a:pt x="863" y="376"/>
                    </a:lnTo>
                    <a:lnTo>
                      <a:pt x="863" y="388"/>
                    </a:lnTo>
                    <a:lnTo>
                      <a:pt x="857" y="392"/>
                    </a:lnTo>
                    <a:lnTo>
                      <a:pt x="849" y="397"/>
                    </a:lnTo>
                    <a:lnTo>
                      <a:pt x="840" y="405"/>
                    </a:lnTo>
                    <a:lnTo>
                      <a:pt x="832" y="414"/>
                    </a:lnTo>
                    <a:lnTo>
                      <a:pt x="813" y="436"/>
                    </a:lnTo>
                    <a:lnTo>
                      <a:pt x="794" y="460"/>
                    </a:lnTo>
                    <a:lnTo>
                      <a:pt x="776" y="485"/>
                    </a:lnTo>
                    <a:lnTo>
                      <a:pt x="761" y="507"/>
                    </a:lnTo>
                    <a:lnTo>
                      <a:pt x="749" y="525"/>
                    </a:lnTo>
                    <a:lnTo>
                      <a:pt x="744" y="537"/>
                    </a:lnTo>
                    <a:lnTo>
                      <a:pt x="732" y="550"/>
                    </a:lnTo>
                    <a:lnTo>
                      <a:pt x="720" y="561"/>
                    </a:lnTo>
                    <a:lnTo>
                      <a:pt x="706" y="571"/>
                    </a:lnTo>
                    <a:lnTo>
                      <a:pt x="694" y="581"/>
                    </a:lnTo>
                    <a:lnTo>
                      <a:pt x="670" y="598"/>
                    </a:lnTo>
                    <a:lnTo>
                      <a:pt x="647" y="613"/>
                    </a:lnTo>
                    <a:lnTo>
                      <a:pt x="624" y="628"/>
                    </a:lnTo>
                    <a:lnTo>
                      <a:pt x="603" y="646"/>
                    </a:lnTo>
                    <a:lnTo>
                      <a:pt x="592" y="655"/>
                    </a:lnTo>
                    <a:lnTo>
                      <a:pt x="583" y="666"/>
                    </a:lnTo>
                    <a:lnTo>
                      <a:pt x="574" y="677"/>
                    </a:lnTo>
                    <a:lnTo>
                      <a:pt x="565" y="690"/>
                    </a:lnTo>
                    <a:lnTo>
                      <a:pt x="561" y="694"/>
                    </a:lnTo>
                    <a:lnTo>
                      <a:pt x="557" y="698"/>
                    </a:lnTo>
                    <a:lnTo>
                      <a:pt x="553" y="700"/>
                    </a:lnTo>
                    <a:lnTo>
                      <a:pt x="546" y="702"/>
                    </a:lnTo>
                    <a:lnTo>
                      <a:pt x="534" y="704"/>
                    </a:lnTo>
                    <a:lnTo>
                      <a:pt x="520" y="705"/>
                    </a:lnTo>
                    <a:lnTo>
                      <a:pt x="513" y="705"/>
                    </a:lnTo>
                    <a:lnTo>
                      <a:pt x="507" y="706"/>
                    </a:lnTo>
                    <a:lnTo>
                      <a:pt x="501" y="708"/>
                    </a:lnTo>
                    <a:lnTo>
                      <a:pt x="496" y="710"/>
                    </a:lnTo>
                    <a:lnTo>
                      <a:pt x="491" y="713"/>
                    </a:lnTo>
                    <a:lnTo>
                      <a:pt x="488" y="716"/>
                    </a:lnTo>
                    <a:lnTo>
                      <a:pt x="486" y="721"/>
                    </a:lnTo>
                    <a:lnTo>
                      <a:pt x="485" y="727"/>
                    </a:lnTo>
                    <a:lnTo>
                      <a:pt x="444" y="727"/>
                    </a:lnTo>
                    <a:lnTo>
                      <a:pt x="415" y="727"/>
                    </a:lnTo>
                    <a:lnTo>
                      <a:pt x="395" y="727"/>
                    </a:lnTo>
                    <a:lnTo>
                      <a:pt x="372" y="727"/>
                    </a:lnTo>
                    <a:lnTo>
                      <a:pt x="359" y="727"/>
                    </a:lnTo>
                    <a:lnTo>
                      <a:pt x="348" y="729"/>
                    </a:lnTo>
                    <a:lnTo>
                      <a:pt x="344" y="730"/>
                    </a:lnTo>
                    <a:lnTo>
                      <a:pt x="339" y="732"/>
                    </a:lnTo>
                    <a:lnTo>
                      <a:pt x="332" y="735"/>
                    </a:lnTo>
                    <a:lnTo>
                      <a:pt x="325" y="739"/>
                    </a:lnTo>
                    <a:lnTo>
                      <a:pt x="320" y="735"/>
                    </a:lnTo>
                    <a:lnTo>
                      <a:pt x="316" y="732"/>
                    </a:lnTo>
                    <a:lnTo>
                      <a:pt x="310" y="730"/>
                    </a:lnTo>
                    <a:lnTo>
                      <a:pt x="306" y="729"/>
                    </a:lnTo>
                    <a:lnTo>
                      <a:pt x="296" y="727"/>
                    </a:lnTo>
                    <a:lnTo>
                      <a:pt x="286" y="727"/>
                    </a:lnTo>
                    <a:lnTo>
                      <a:pt x="283" y="730"/>
                    </a:lnTo>
                    <a:lnTo>
                      <a:pt x="278" y="732"/>
                    </a:lnTo>
                    <a:lnTo>
                      <a:pt x="272" y="735"/>
                    </a:lnTo>
                    <a:lnTo>
                      <a:pt x="263" y="737"/>
                    </a:lnTo>
                    <a:lnTo>
                      <a:pt x="242" y="742"/>
                    </a:lnTo>
                    <a:lnTo>
                      <a:pt x="218" y="747"/>
                    </a:lnTo>
                    <a:lnTo>
                      <a:pt x="173" y="756"/>
                    </a:lnTo>
                    <a:lnTo>
                      <a:pt x="146" y="759"/>
                    </a:lnTo>
                    <a:lnTo>
                      <a:pt x="139" y="758"/>
                    </a:lnTo>
                    <a:lnTo>
                      <a:pt x="131" y="757"/>
                    </a:lnTo>
                    <a:lnTo>
                      <a:pt x="123" y="756"/>
                    </a:lnTo>
                    <a:lnTo>
                      <a:pt x="116" y="753"/>
                    </a:lnTo>
                    <a:lnTo>
                      <a:pt x="109" y="750"/>
                    </a:lnTo>
                    <a:lnTo>
                      <a:pt x="103" y="746"/>
                    </a:lnTo>
                    <a:lnTo>
                      <a:pt x="96" y="743"/>
                    </a:lnTo>
                    <a:lnTo>
                      <a:pt x="90" y="739"/>
                    </a:lnTo>
                    <a:lnTo>
                      <a:pt x="85" y="734"/>
                    </a:lnTo>
                    <a:lnTo>
                      <a:pt x="82" y="730"/>
                    </a:lnTo>
                    <a:lnTo>
                      <a:pt x="78" y="725"/>
                    </a:lnTo>
                    <a:lnTo>
                      <a:pt x="76" y="719"/>
                    </a:lnTo>
                    <a:lnTo>
                      <a:pt x="75" y="714"/>
                    </a:lnTo>
                    <a:lnTo>
                      <a:pt x="75" y="708"/>
                    </a:lnTo>
                    <a:lnTo>
                      <a:pt x="76" y="703"/>
                    </a:lnTo>
                    <a:lnTo>
                      <a:pt x="79" y="697"/>
                    </a:lnTo>
                    <a:lnTo>
                      <a:pt x="60" y="648"/>
                    </a:lnTo>
                    <a:lnTo>
                      <a:pt x="65" y="639"/>
                    </a:lnTo>
                    <a:lnTo>
                      <a:pt x="72" y="632"/>
                    </a:lnTo>
                    <a:lnTo>
                      <a:pt x="75" y="628"/>
                    </a:lnTo>
                    <a:lnTo>
                      <a:pt x="77" y="625"/>
                    </a:lnTo>
                    <a:lnTo>
                      <a:pt x="79" y="621"/>
                    </a:lnTo>
                    <a:lnTo>
                      <a:pt x="79" y="616"/>
                    </a:lnTo>
                    <a:lnTo>
                      <a:pt x="79" y="608"/>
                    </a:lnTo>
                    <a:lnTo>
                      <a:pt x="78" y="600"/>
                    </a:lnTo>
                    <a:lnTo>
                      <a:pt x="76" y="592"/>
                    </a:lnTo>
                    <a:lnTo>
                      <a:pt x="74" y="584"/>
                    </a:lnTo>
                    <a:lnTo>
                      <a:pt x="68" y="572"/>
                    </a:lnTo>
                    <a:lnTo>
                      <a:pt x="61" y="561"/>
                    </a:lnTo>
                    <a:lnTo>
                      <a:pt x="43" y="542"/>
                    </a:lnTo>
                    <a:lnTo>
                      <a:pt x="27" y="524"/>
                    </a:lnTo>
                    <a:lnTo>
                      <a:pt x="22" y="516"/>
                    </a:lnTo>
                    <a:lnTo>
                      <a:pt x="18" y="509"/>
                    </a:lnTo>
                    <a:lnTo>
                      <a:pt x="16" y="502"/>
                    </a:lnTo>
                    <a:lnTo>
                      <a:pt x="14" y="496"/>
                    </a:lnTo>
                    <a:lnTo>
                      <a:pt x="12" y="484"/>
                    </a:lnTo>
                    <a:lnTo>
                      <a:pt x="11" y="472"/>
                    </a:lnTo>
                    <a:lnTo>
                      <a:pt x="11" y="461"/>
                    </a:lnTo>
                    <a:lnTo>
                      <a:pt x="11" y="450"/>
                    </a:lnTo>
                    <a:lnTo>
                      <a:pt x="10" y="439"/>
                    </a:lnTo>
                    <a:lnTo>
                      <a:pt x="7" y="426"/>
                    </a:lnTo>
                    <a:lnTo>
                      <a:pt x="6" y="412"/>
                    </a:lnTo>
                    <a:lnTo>
                      <a:pt x="4" y="395"/>
                    </a:lnTo>
                    <a:lnTo>
                      <a:pt x="0" y="377"/>
                    </a:lnTo>
                    <a:lnTo>
                      <a:pt x="0" y="364"/>
                    </a:lnTo>
                    <a:lnTo>
                      <a:pt x="33" y="364"/>
                    </a:lnTo>
                    <a:lnTo>
                      <a:pt x="36" y="371"/>
                    </a:lnTo>
                    <a:lnTo>
                      <a:pt x="39" y="377"/>
                    </a:lnTo>
                    <a:lnTo>
                      <a:pt x="43" y="382"/>
                    </a:lnTo>
                    <a:lnTo>
                      <a:pt x="48" y="387"/>
                    </a:lnTo>
                    <a:lnTo>
                      <a:pt x="52" y="392"/>
                    </a:lnTo>
                    <a:lnTo>
                      <a:pt x="57" y="396"/>
                    </a:lnTo>
                    <a:lnTo>
                      <a:pt x="63" y="399"/>
                    </a:lnTo>
                    <a:lnTo>
                      <a:pt x="68" y="402"/>
                    </a:lnTo>
                    <a:lnTo>
                      <a:pt x="81" y="407"/>
                    </a:lnTo>
                    <a:lnTo>
                      <a:pt x="94" y="410"/>
                    </a:lnTo>
                    <a:lnTo>
                      <a:pt x="107" y="412"/>
                    </a:lnTo>
                    <a:lnTo>
                      <a:pt x="119" y="413"/>
                    </a:lnTo>
                    <a:lnTo>
                      <a:pt x="128" y="412"/>
                    </a:lnTo>
                    <a:lnTo>
                      <a:pt x="135" y="411"/>
                    </a:lnTo>
                    <a:lnTo>
                      <a:pt x="142" y="409"/>
                    </a:lnTo>
                    <a:lnTo>
                      <a:pt x="149" y="407"/>
                    </a:lnTo>
                    <a:lnTo>
                      <a:pt x="154" y="404"/>
                    </a:lnTo>
                    <a:lnTo>
                      <a:pt x="160" y="400"/>
                    </a:lnTo>
                    <a:lnTo>
                      <a:pt x="164" y="396"/>
                    </a:lnTo>
                    <a:lnTo>
                      <a:pt x="168" y="392"/>
                    </a:lnTo>
                    <a:lnTo>
                      <a:pt x="176" y="382"/>
                    </a:lnTo>
                    <a:lnTo>
                      <a:pt x="182" y="372"/>
                    </a:lnTo>
                    <a:lnTo>
                      <a:pt x="187" y="361"/>
                    </a:lnTo>
                    <a:lnTo>
                      <a:pt x="193" y="351"/>
                    </a:lnTo>
                    <a:lnTo>
                      <a:pt x="193" y="240"/>
                    </a:lnTo>
                    <a:lnTo>
                      <a:pt x="197" y="229"/>
                    </a:lnTo>
                    <a:lnTo>
                      <a:pt x="199" y="217"/>
                    </a:lnTo>
                    <a:lnTo>
                      <a:pt x="201" y="206"/>
                    </a:lnTo>
                    <a:lnTo>
                      <a:pt x="202" y="194"/>
                    </a:lnTo>
                    <a:lnTo>
                      <a:pt x="204" y="184"/>
                    </a:lnTo>
                    <a:lnTo>
                      <a:pt x="206" y="176"/>
                    </a:lnTo>
                    <a:lnTo>
                      <a:pt x="207" y="173"/>
                    </a:lnTo>
                    <a:lnTo>
                      <a:pt x="208" y="170"/>
                    </a:lnTo>
                    <a:lnTo>
                      <a:pt x="210" y="168"/>
                    </a:lnTo>
                    <a:lnTo>
                      <a:pt x="212" y="167"/>
                    </a:lnTo>
                    <a:lnTo>
                      <a:pt x="220" y="171"/>
                    </a:lnTo>
                    <a:lnTo>
                      <a:pt x="229" y="175"/>
                    </a:lnTo>
                    <a:lnTo>
                      <a:pt x="239" y="178"/>
                    </a:lnTo>
                    <a:lnTo>
                      <a:pt x="245" y="179"/>
                    </a:lnTo>
                    <a:lnTo>
                      <a:pt x="245" y="201"/>
                    </a:lnTo>
                    <a:lnTo>
                      <a:pt x="245" y="219"/>
                    </a:lnTo>
                    <a:lnTo>
                      <a:pt x="245" y="238"/>
                    </a:lnTo>
                    <a:lnTo>
                      <a:pt x="245" y="259"/>
                    </a:lnTo>
                    <a:lnTo>
                      <a:pt x="246" y="265"/>
                    </a:lnTo>
                    <a:lnTo>
                      <a:pt x="246" y="270"/>
                    </a:lnTo>
                    <a:lnTo>
                      <a:pt x="247" y="274"/>
                    </a:lnTo>
                    <a:lnTo>
                      <a:pt x="250" y="278"/>
                    </a:lnTo>
                    <a:lnTo>
                      <a:pt x="252" y="281"/>
                    </a:lnTo>
                    <a:lnTo>
                      <a:pt x="254" y="284"/>
                    </a:lnTo>
                    <a:lnTo>
                      <a:pt x="256" y="287"/>
                    </a:lnTo>
                    <a:lnTo>
                      <a:pt x="260" y="289"/>
                    </a:lnTo>
                    <a:lnTo>
                      <a:pt x="267" y="292"/>
                    </a:lnTo>
                    <a:lnTo>
                      <a:pt x="276" y="294"/>
                    </a:lnTo>
                    <a:lnTo>
                      <a:pt x="287" y="295"/>
                    </a:lnTo>
                    <a:lnTo>
                      <a:pt x="299" y="296"/>
                    </a:lnTo>
                    <a:lnTo>
                      <a:pt x="303" y="295"/>
                    </a:lnTo>
                    <a:lnTo>
                      <a:pt x="308" y="295"/>
                    </a:lnTo>
                    <a:lnTo>
                      <a:pt x="312" y="293"/>
                    </a:lnTo>
                    <a:lnTo>
                      <a:pt x="316" y="291"/>
                    </a:lnTo>
                    <a:lnTo>
                      <a:pt x="322" y="286"/>
                    </a:lnTo>
                    <a:lnTo>
                      <a:pt x="329" y="280"/>
                    </a:lnTo>
                    <a:lnTo>
                      <a:pt x="333" y="272"/>
                    </a:lnTo>
                    <a:lnTo>
                      <a:pt x="337" y="263"/>
                    </a:lnTo>
                    <a:lnTo>
                      <a:pt x="342" y="254"/>
                    </a:lnTo>
                    <a:lnTo>
                      <a:pt x="345" y="243"/>
                    </a:lnTo>
                    <a:lnTo>
                      <a:pt x="350" y="234"/>
                    </a:lnTo>
                    <a:lnTo>
                      <a:pt x="353" y="224"/>
                    </a:lnTo>
                    <a:lnTo>
                      <a:pt x="357" y="216"/>
                    </a:lnTo>
                    <a:lnTo>
                      <a:pt x="363" y="208"/>
                    </a:lnTo>
                    <a:lnTo>
                      <a:pt x="368" y="201"/>
                    </a:lnTo>
                    <a:lnTo>
                      <a:pt x="375" y="195"/>
                    </a:lnTo>
                    <a:lnTo>
                      <a:pt x="378" y="193"/>
                    </a:lnTo>
                    <a:lnTo>
                      <a:pt x="382" y="192"/>
                    </a:lnTo>
                    <a:lnTo>
                      <a:pt x="387" y="191"/>
                    </a:lnTo>
                    <a:lnTo>
                      <a:pt x="392" y="191"/>
                    </a:lnTo>
                    <a:lnTo>
                      <a:pt x="400" y="191"/>
                    </a:lnTo>
                    <a:lnTo>
                      <a:pt x="408" y="192"/>
                    </a:lnTo>
                    <a:lnTo>
                      <a:pt x="414" y="193"/>
                    </a:lnTo>
                    <a:lnTo>
                      <a:pt x="421" y="195"/>
                    </a:lnTo>
                    <a:lnTo>
                      <a:pt x="431" y="200"/>
                    </a:lnTo>
                    <a:lnTo>
                      <a:pt x="441" y="204"/>
                    </a:lnTo>
                    <a:lnTo>
                      <a:pt x="451" y="208"/>
                    </a:lnTo>
                    <a:lnTo>
                      <a:pt x="460" y="212"/>
                    </a:lnTo>
                    <a:lnTo>
                      <a:pt x="466" y="214"/>
                    </a:lnTo>
                    <a:lnTo>
                      <a:pt x="471" y="215"/>
                    </a:lnTo>
                    <a:lnTo>
                      <a:pt x="478" y="216"/>
                    </a:lnTo>
                    <a:lnTo>
                      <a:pt x="485" y="216"/>
                    </a:lnTo>
                    <a:lnTo>
                      <a:pt x="496" y="216"/>
                    </a:lnTo>
                    <a:lnTo>
                      <a:pt x="504" y="215"/>
                    </a:lnTo>
                    <a:lnTo>
                      <a:pt x="512" y="213"/>
                    </a:lnTo>
                    <a:lnTo>
                      <a:pt x="518" y="211"/>
                    </a:lnTo>
                    <a:lnTo>
                      <a:pt x="523" y="208"/>
                    </a:lnTo>
                    <a:lnTo>
                      <a:pt x="527" y="204"/>
                    </a:lnTo>
                    <a:lnTo>
                      <a:pt x="531" y="200"/>
                    </a:lnTo>
                    <a:lnTo>
                      <a:pt x="534" y="194"/>
                    </a:lnTo>
                    <a:lnTo>
                      <a:pt x="544" y="169"/>
                    </a:lnTo>
                    <a:lnTo>
                      <a:pt x="558" y="135"/>
                    </a:lnTo>
                    <a:lnTo>
                      <a:pt x="564" y="127"/>
                    </a:lnTo>
                    <a:lnTo>
                      <a:pt x="572" y="119"/>
                    </a:lnTo>
                    <a:lnTo>
                      <a:pt x="582" y="110"/>
                    </a:lnTo>
                    <a:lnTo>
                      <a:pt x="593" y="100"/>
                    </a:lnTo>
                    <a:lnTo>
                      <a:pt x="620" y="80"/>
                    </a:lnTo>
                    <a:lnTo>
                      <a:pt x="649" y="61"/>
                    </a:lnTo>
                    <a:lnTo>
                      <a:pt x="679" y="43"/>
                    </a:lnTo>
                    <a:lnTo>
                      <a:pt x="708" y="25"/>
                    </a:lnTo>
                    <a:lnTo>
                      <a:pt x="732" y="11"/>
                    </a:lnTo>
                    <a:lnTo>
                      <a:pt x="750" y="0"/>
                    </a:lnTo>
                    <a:lnTo>
                      <a:pt x="777" y="1"/>
                    </a:lnTo>
                    <a:lnTo>
                      <a:pt x="798" y="3"/>
                    </a:lnTo>
                    <a:lnTo>
                      <a:pt x="806" y="3"/>
                    </a:lnTo>
                    <a:lnTo>
                      <a:pt x="815" y="3"/>
                    </a:lnTo>
                    <a:lnTo>
                      <a:pt x="823" y="2"/>
                    </a:lnTo>
                    <a:lnTo>
                      <a:pt x="830" y="0"/>
                    </a:lnTo>
                    <a:lnTo>
                      <a:pt x="830" y="6"/>
                    </a:lnTo>
                    <a:lnTo>
                      <a:pt x="850" y="6"/>
                    </a:lnTo>
                    <a:lnTo>
                      <a:pt x="850" y="17"/>
                    </a:lnTo>
                    <a:lnTo>
                      <a:pt x="851" y="26"/>
                    </a:lnTo>
                    <a:lnTo>
                      <a:pt x="854" y="35"/>
                    </a:lnTo>
                    <a:lnTo>
                      <a:pt x="856" y="41"/>
                    </a:lnTo>
                    <a:lnTo>
                      <a:pt x="861" y="52"/>
                    </a:lnTo>
                    <a:lnTo>
                      <a:pt x="867" y="62"/>
                    </a:lnTo>
                    <a:lnTo>
                      <a:pt x="873" y="71"/>
                    </a:lnTo>
                    <a:lnTo>
                      <a:pt x="879" y="82"/>
                    </a:lnTo>
                    <a:lnTo>
                      <a:pt x="880" y="90"/>
                    </a:lnTo>
                    <a:lnTo>
                      <a:pt x="882" y="98"/>
                    </a:lnTo>
                    <a:lnTo>
                      <a:pt x="883" y="107"/>
                    </a:lnTo>
                    <a:lnTo>
                      <a:pt x="883" y="117"/>
                    </a:lnTo>
                    <a:lnTo>
                      <a:pt x="883" y="204"/>
                    </a:lnTo>
                    <a:lnTo>
                      <a:pt x="875" y="206"/>
                    </a:lnTo>
                    <a:lnTo>
                      <a:pt x="868" y="207"/>
                    </a:lnTo>
                    <a:lnTo>
                      <a:pt x="860" y="207"/>
                    </a:lnTo>
                    <a:lnTo>
                      <a:pt x="852" y="206"/>
                    </a:lnTo>
                    <a:lnTo>
                      <a:pt x="838" y="205"/>
                    </a:lnTo>
                    <a:lnTo>
                      <a:pt x="830" y="204"/>
                    </a:lnTo>
                    <a:lnTo>
                      <a:pt x="826" y="236"/>
                    </a:lnTo>
                    <a:lnTo>
                      <a:pt x="825" y="262"/>
                    </a:lnTo>
                    <a:lnTo>
                      <a:pt x="826" y="272"/>
                    </a:lnTo>
                    <a:lnTo>
                      <a:pt x="826" y="281"/>
                    </a:lnTo>
                    <a:lnTo>
                      <a:pt x="828" y="289"/>
                    </a:lnTo>
                    <a:lnTo>
                      <a:pt x="830" y="296"/>
                    </a:lnTo>
                    <a:lnTo>
                      <a:pt x="870" y="296"/>
                    </a:lnTo>
                  </a:path>
                </a:pathLst>
              </a:custGeom>
              <a:grpFill/>
              <a:ln w="9525" cap="flat" cmpd="sng">
                <a:solidFill>
                  <a:srgbClr val="FFFFFF"/>
                </a:solidFill>
                <a:prstDash val="solid"/>
                <a:round/>
                <a:headEnd type="none" w="med" len="med"/>
                <a:tailEnd type="none" w="med" len="med"/>
              </a:ln>
              <a:effectLst/>
            </p:spPr>
            <p:txBody>
              <a:bodyPr/>
              <a:lstStyle/>
              <a:p>
                <a:endParaRPr lang="en-GB" sz="1637"/>
              </a:p>
            </p:txBody>
          </p:sp>
          <p:sp>
            <p:nvSpPr>
              <p:cNvPr id="133" name="Freeform 383"/>
              <p:cNvSpPr>
                <a:spLocks/>
              </p:cNvSpPr>
              <p:nvPr>
                <p:custDataLst>
                  <p:tags r:id="rId116"/>
                </p:custDataLst>
              </p:nvPr>
            </p:nvSpPr>
            <p:spPr bwMode="auto">
              <a:xfrm>
                <a:off x="4505276" y="3158082"/>
                <a:ext cx="448841" cy="689521"/>
              </a:xfrm>
              <a:custGeom>
                <a:avLst/>
                <a:gdLst>
                  <a:gd name="T0" fmla="*/ 323523 w 943"/>
                  <a:gd name="T1" fmla="*/ 2607 h 1172"/>
                  <a:gd name="T2" fmla="*/ 333551 w 943"/>
                  <a:gd name="T3" fmla="*/ 11994 h 1172"/>
                  <a:gd name="T4" fmla="*/ 350120 w 943"/>
                  <a:gd name="T5" fmla="*/ 15645 h 1172"/>
                  <a:gd name="T6" fmla="*/ 354916 w 943"/>
                  <a:gd name="T7" fmla="*/ 28682 h 1172"/>
                  <a:gd name="T8" fmla="*/ 364072 w 943"/>
                  <a:gd name="T9" fmla="*/ 56842 h 1172"/>
                  <a:gd name="T10" fmla="*/ 364944 w 943"/>
                  <a:gd name="T11" fmla="*/ 97519 h 1172"/>
                  <a:gd name="T12" fmla="*/ 373665 w 943"/>
                  <a:gd name="T13" fmla="*/ 126722 h 1172"/>
                  <a:gd name="T14" fmla="*/ 402006 w 943"/>
                  <a:gd name="T15" fmla="*/ 152275 h 1172"/>
                  <a:gd name="T16" fmla="*/ 383257 w 943"/>
                  <a:gd name="T17" fmla="*/ 188258 h 1172"/>
                  <a:gd name="T18" fmla="*/ 371049 w 943"/>
                  <a:gd name="T19" fmla="*/ 213811 h 1172"/>
                  <a:gd name="T20" fmla="*/ 352736 w 943"/>
                  <a:gd name="T21" fmla="*/ 331147 h 1172"/>
                  <a:gd name="T22" fmla="*/ 335731 w 943"/>
                  <a:gd name="T23" fmla="*/ 353049 h 1172"/>
                  <a:gd name="T24" fmla="*/ 332679 w 943"/>
                  <a:gd name="T25" fmla="*/ 375995 h 1172"/>
                  <a:gd name="T26" fmla="*/ 324831 w 943"/>
                  <a:gd name="T27" fmla="*/ 383296 h 1172"/>
                  <a:gd name="T28" fmla="*/ 315239 w 943"/>
                  <a:gd name="T29" fmla="*/ 416150 h 1172"/>
                  <a:gd name="T30" fmla="*/ 301722 w 943"/>
                  <a:gd name="T31" fmla="*/ 457347 h 1172"/>
                  <a:gd name="T32" fmla="*/ 288642 w 943"/>
                  <a:gd name="T33" fmla="*/ 470906 h 1172"/>
                  <a:gd name="T34" fmla="*/ 289514 w 943"/>
                  <a:gd name="T35" fmla="*/ 487072 h 1172"/>
                  <a:gd name="T36" fmla="*/ 299106 w 943"/>
                  <a:gd name="T37" fmla="*/ 489680 h 1172"/>
                  <a:gd name="T38" fmla="*/ 309135 w 943"/>
                  <a:gd name="T39" fmla="*/ 495416 h 1172"/>
                  <a:gd name="T40" fmla="*/ 323523 w 943"/>
                  <a:gd name="T41" fmla="*/ 506367 h 1172"/>
                  <a:gd name="T42" fmla="*/ 329627 w 943"/>
                  <a:gd name="T43" fmla="*/ 525141 h 1172"/>
                  <a:gd name="T44" fmla="*/ 337912 w 943"/>
                  <a:gd name="T45" fmla="*/ 543915 h 1172"/>
                  <a:gd name="T46" fmla="*/ 350120 w 943"/>
                  <a:gd name="T47" fmla="*/ 549130 h 1172"/>
                  <a:gd name="T48" fmla="*/ 352736 w 943"/>
                  <a:gd name="T49" fmla="*/ 570511 h 1172"/>
                  <a:gd name="T50" fmla="*/ 313059 w 943"/>
                  <a:gd name="T51" fmla="*/ 581462 h 1172"/>
                  <a:gd name="T52" fmla="*/ 299542 w 943"/>
                  <a:gd name="T53" fmla="*/ 603365 h 1172"/>
                  <a:gd name="T54" fmla="*/ 260737 w 943"/>
                  <a:gd name="T55" fmla="*/ 610144 h 1172"/>
                  <a:gd name="T56" fmla="*/ 224548 w 943"/>
                  <a:gd name="T57" fmla="*/ 603886 h 1172"/>
                  <a:gd name="T58" fmla="*/ 202311 w 943"/>
                  <a:gd name="T59" fmla="*/ 585634 h 1172"/>
                  <a:gd name="T60" fmla="*/ 170046 w 943"/>
                  <a:gd name="T61" fmla="*/ 586677 h 1172"/>
                  <a:gd name="T62" fmla="*/ 139089 w 943"/>
                  <a:gd name="T63" fmla="*/ 584069 h 1172"/>
                  <a:gd name="T64" fmla="*/ 129496 w 943"/>
                  <a:gd name="T65" fmla="*/ 575726 h 1172"/>
                  <a:gd name="T66" fmla="*/ 128188 w 943"/>
                  <a:gd name="T67" fmla="*/ 560602 h 1172"/>
                  <a:gd name="T68" fmla="*/ 119468 w 943"/>
                  <a:gd name="T69" fmla="*/ 536614 h 1172"/>
                  <a:gd name="T70" fmla="*/ 94179 w 943"/>
                  <a:gd name="T71" fmla="*/ 507932 h 1172"/>
                  <a:gd name="T72" fmla="*/ 84151 w 943"/>
                  <a:gd name="T73" fmla="*/ 482379 h 1172"/>
                  <a:gd name="T74" fmla="*/ 66274 w 943"/>
                  <a:gd name="T75" fmla="*/ 470906 h 1172"/>
                  <a:gd name="T76" fmla="*/ 52322 w 943"/>
                  <a:gd name="T77" fmla="*/ 441181 h 1172"/>
                  <a:gd name="T78" fmla="*/ 42293 w 943"/>
                  <a:gd name="T79" fmla="*/ 410935 h 1172"/>
                  <a:gd name="T80" fmla="*/ 28341 w 943"/>
                  <a:gd name="T81" fmla="*/ 395290 h 1172"/>
                  <a:gd name="T82" fmla="*/ 14388 w 943"/>
                  <a:gd name="T83" fmla="*/ 352528 h 1172"/>
                  <a:gd name="T84" fmla="*/ 1744 w 943"/>
                  <a:gd name="T85" fmla="*/ 318631 h 1172"/>
                  <a:gd name="T86" fmla="*/ 7848 w 943"/>
                  <a:gd name="T87" fmla="*/ 300900 h 1172"/>
                  <a:gd name="T88" fmla="*/ 12644 w 943"/>
                  <a:gd name="T89" fmla="*/ 271697 h 1172"/>
                  <a:gd name="T90" fmla="*/ 27905 w 943"/>
                  <a:gd name="T91" fmla="*/ 247187 h 1172"/>
                  <a:gd name="T92" fmla="*/ 49270 w 943"/>
                  <a:gd name="T93" fmla="*/ 115771 h 1172"/>
                  <a:gd name="T94" fmla="*/ 53630 w 943"/>
                  <a:gd name="T95" fmla="*/ 93347 h 1172"/>
                  <a:gd name="T96" fmla="*/ 66710 w 943"/>
                  <a:gd name="T97" fmla="*/ 89175 h 1172"/>
                  <a:gd name="T98" fmla="*/ 69762 w 943"/>
                  <a:gd name="T99" fmla="*/ 63622 h 1172"/>
                  <a:gd name="T100" fmla="*/ 69326 w 943"/>
                  <a:gd name="T101" fmla="*/ 34940 h 1172"/>
                  <a:gd name="T102" fmla="*/ 296054 w 943"/>
                  <a:gd name="T103" fmla="*/ 35983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grpFill/>
              <a:ln w="9525" cmpd="sng">
                <a:solidFill>
                  <a:srgbClr val="FFFFFF"/>
                </a:solidFill>
                <a:prstDash val="solid"/>
                <a:round/>
                <a:headEnd/>
                <a:tailEnd/>
              </a:ln>
            </p:spPr>
            <p:txBody>
              <a:bodyPr/>
              <a:lstStyle/>
              <a:p>
                <a:endParaRPr lang="en-GB" sz="1637"/>
              </a:p>
            </p:txBody>
          </p:sp>
          <p:sp>
            <p:nvSpPr>
              <p:cNvPr id="134" name="Freeform 434"/>
              <p:cNvSpPr>
                <a:spLocks/>
              </p:cNvSpPr>
              <p:nvPr>
                <p:custDataLst>
                  <p:tags r:id="rId117"/>
                </p:custDataLst>
              </p:nvPr>
            </p:nvSpPr>
            <p:spPr bwMode="auto">
              <a:xfrm>
                <a:off x="4723631" y="3842231"/>
                <a:ext cx="138638" cy="179096"/>
              </a:xfrm>
              <a:custGeom>
                <a:avLst/>
                <a:gdLst>
                  <a:gd name="T0" fmla="*/ 115257 w 292"/>
                  <a:gd name="T1" fmla="*/ 5154 h 308"/>
                  <a:gd name="T2" fmla="*/ 120041 w 292"/>
                  <a:gd name="T3" fmla="*/ 19071 h 308"/>
                  <a:gd name="T4" fmla="*/ 124390 w 292"/>
                  <a:gd name="T5" fmla="*/ 46903 h 308"/>
                  <a:gd name="T6" fmla="*/ 127000 w 292"/>
                  <a:gd name="T7" fmla="*/ 74221 h 308"/>
                  <a:gd name="T8" fmla="*/ 126565 w 292"/>
                  <a:gd name="T9" fmla="*/ 82983 h 308"/>
                  <a:gd name="T10" fmla="*/ 124390 w 292"/>
                  <a:gd name="T11" fmla="*/ 92261 h 308"/>
                  <a:gd name="T12" fmla="*/ 116997 w 292"/>
                  <a:gd name="T13" fmla="*/ 106177 h 308"/>
                  <a:gd name="T14" fmla="*/ 100469 w 292"/>
                  <a:gd name="T15" fmla="*/ 95353 h 308"/>
                  <a:gd name="T16" fmla="*/ 71764 w 292"/>
                  <a:gd name="T17" fmla="*/ 132979 h 308"/>
                  <a:gd name="T18" fmla="*/ 57411 w 292"/>
                  <a:gd name="T19" fmla="*/ 143287 h 308"/>
                  <a:gd name="T20" fmla="*/ 25661 w 292"/>
                  <a:gd name="T21" fmla="*/ 152565 h 308"/>
                  <a:gd name="T22" fmla="*/ 13918 w 292"/>
                  <a:gd name="T23" fmla="*/ 158750 h 308"/>
                  <a:gd name="T24" fmla="*/ 2610 w 292"/>
                  <a:gd name="T25" fmla="*/ 158750 h 308"/>
                  <a:gd name="T26" fmla="*/ 3914 w 292"/>
                  <a:gd name="T27" fmla="*/ 153080 h 308"/>
                  <a:gd name="T28" fmla="*/ 4784 w 292"/>
                  <a:gd name="T29" fmla="*/ 147411 h 308"/>
                  <a:gd name="T30" fmla="*/ 3045 w 292"/>
                  <a:gd name="T31" fmla="*/ 136587 h 308"/>
                  <a:gd name="T32" fmla="*/ 870 w 292"/>
                  <a:gd name="T33" fmla="*/ 126794 h 308"/>
                  <a:gd name="T34" fmla="*/ 0 w 292"/>
                  <a:gd name="T35" fmla="*/ 117516 h 308"/>
                  <a:gd name="T36" fmla="*/ 1305 w 292"/>
                  <a:gd name="T37" fmla="*/ 105662 h 308"/>
                  <a:gd name="T38" fmla="*/ 5219 w 292"/>
                  <a:gd name="T39" fmla="*/ 96899 h 308"/>
                  <a:gd name="T40" fmla="*/ 11308 w 292"/>
                  <a:gd name="T41" fmla="*/ 89683 h 308"/>
                  <a:gd name="T42" fmla="*/ 18267 w 292"/>
                  <a:gd name="T43" fmla="*/ 82983 h 308"/>
                  <a:gd name="T44" fmla="*/ 33490 w 292"/>
                  <a:gd name="T45" fmla="*/ 69582 h 308"/>
                  <a:gd name="T46" fmla="*/ 40449 w 292"/>
                  <a:gd name="T47" fmla="*/ 61335 h 308"/>
                  <a:gd name="T48" fmla="*/ 45668 w 292"/>
                  <a:gd name="T49" fmla="*/ 50511 h 308"/>
                  <a:gd name="T50" fmla="*/ 42623 w 292"/>
                  <a:gd name="T51" fmla="*/ 49481 h 308"/>
                  <a:gd name="T52" fmla="*/ 40014 w 292"/>
                  <a:gd name="T53" fmla="*/ 46903 h 308"/>
                  <a:gd name="T54" fmla="*/ 35664 w 292"/>
                  <a:gd name="T55" fmla="*/ 37626 h 308"/>
                  <a:gd name="T56" fmla="*/ 32185 w 292"/>
                  <a:gd name="T57" fmla="*/ 25771 h 308"/>
                  <a:gd name="T58" fmla="*/ 31315 w 292"/>
                  <a:gd name="T59" fmla="*/ 12370 h 308"/>
                  <a:gd name="T60" fmla="*/ 39144 w 292"/>
                  <a:gd name="T61" fmla="*/ 9793 h 308"/>
                  <a:gd name="T62" fmla="*/ 45668 w 292"/>
                  <a:gd name="T63" fmla="*/ 10308 h 308"/>
                  <a:gd name="T64" fmla="*/ 57411 w 292"/>
                  <a:gd name="T65" fmla="*/ 12370 h 308"/>
                  <a:gd name="T66" fmla="*/ 73503 w 292"/>
                  <a:gd name="T67" fmla="*/ 10824 h 308"/>
                  <a:gd name="T68" fmla="*/ 91336 w 292"/>
                  <a:gd name="T69" fmla="*/ 6185 h 308"/>
                  <a:gd name="T70" fmla="*/ 112647 w 292"/>
                  <a:gd name="T71" fmla="*/ 0 h 30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92" h="308">
                    <a:moveTo>
                      <a:pt x="259" y="0"/>
                    </a:moveTo>
                    <a:lnTo>
                      <a:pt x="265" y="10"/>
                    </a:lnTo>
                    <a:lnTo>
                      <a:pt x="271" y="23"/>
                    </a:lnTo>
                    <a:lnTo>
                      <a:pt x="276" y="37"/>
                    </a:lnTo>
                    <a:lnTo>
                      <a:pt x="280" y="54"/>
                    </a:lnTo>
                    <a:lnTo>
                      <a:pt x="286" y="91"/>
                    </a:lnTo>
                    <a:lnTo>
                      <a:pt x="292" y="135"/>
                    </a:lnTo>
                    <a:lnTo>
                      <a:pt x="292" y="144"/>
                    </a:lnTo>
                    <a:lnTo>
                      <a:pt x="292" y="153"/>
                    </a:lnTo>
                    <a:lnTo>
                      <a:pt x="291" y="161"/>
                    </a:lnTo>
                    <a:lnTo>
                      <a:pt x="289" y="168"/>
                    </a:lnTo>
                    <a:lnTo>
                      <a:pt x="286" y="179"/>
                    </a:lnTo>
                    <a:lnTo>
                      <a:pt x="281" y="189"/>
                    </a:lnTo>
                    <a:lnTo>
                      <a:pt x="269" y="206"/>
                    </a:lnTo>
                    <a:lnTo>
                      <a:pt x="258" y="225"/>
                    </a:lnTo>
                    <a:lnTo>
                      <a:pt x="231" y="185"/>
                    </a:lnTo>
                    <a:lnTo>
                      <a:pt x="192" y="222"/>
                    </a:lnTo>
                    <a:lnTo>
                      <a:pt x="165" y="258"/>
                    </a:lnTo>
                    <a:lnTo>
                      <a:pt x="152" y="246"/>
                    </a:lnTo>
                    <a:lnTo>
                      <a:pt x="132" y="278"/>
                    </a:lnTo>
                    <a:lnTo>
                      <a:pt x="132" y="296"/>
                    </a:lnTo>
                    <a:lnTo>
                      <a:pt x="59" y="296"/>
                    </a:lnTo>
                    <a:lnTo>
                      <a:pt x="46" y="302"/>
                    </a:lnTo>
                    <a:lnTo>
                      <a:pt x="32" y="308"/>
                    </a:lnTo>
                    <a:lnTo>
                      <a:pt x="19" y="308"/>
                    </a:lnTo>
                    <a:lnTo>
                      <a:pt x="6" y="308"/>
                    </a:lnTo>
                    <a:lnTo>
                      <a:pt x="8" y="302"/>
                    </a:lnTo>
                    <a:lnTo>
                      <a:pt x="9" y="297"/>
                    </a:lnTo>
                    <a:lnTo>
                      <a:pt x="11" y="291"/>
                    </a:lnTo>
                    <a:lnTo>
                      <a:pt x="11" y="286"/>
                    </a:lnTo>
                    <a:lnTo>
                      <a:pt x="9" y="276"/>
                    </a:lnTo>
                    <a:lnTo>
                      <a:pt x="7" y="265"/>
                    </a:lnTo>
                    <a:lnTo>
                      <a:pt x="5" y="256"/>
                    </a:lnTo>
                    <a:lnTo>
                      <a:pt x="2" y="246"/>
                    </a:lnTo>
                    <a:lnTo>
                      <a:pt x="0" y="237"/>
                    </a:lnTo>
                    <a:lnTo>
                      <a:pt x="0" y="228"/>
                    </a:lnTo>
                    <a:lnTo>
                      <a:pt x="0" y="216"/>
                    </a:lnTo>
                    <a:lnTo>
                      <a:pt x="3" y="205"/>
                    </a:lnTo>
                    <a:lnTo>
                      <a:pt x="6" y="196"/>
                    </a:lnTo>
                    <a:lnTo>
                      <a:pt x="12" y="188"/>
                    </a:lnTo>
                    <a:lnTo>
                      <a:pt x="18" y="180"/>
                    </a:lnTo>
                    <a:lnTo>
                      <a:pt x="26" y="174"/>
                    </a:lnTo>
                    <a:lnTo>
                      <a:pt x="34" y="167"/>
                    </a:lnTo>
                    <a:lnTo>
                      <a:pt x="42" y="161"/>
                    </a:lnTo>
                    <a:lnTo>
                      <a:pt x="60" y="148"/>
                    </a:lnTo>
                    <a:lnTo>
                      <a:pt x="77" y="135"/>
                    </a:lnTo>
                    <a:lnTo>
                      <a:pt x="85" y="128"/>
                    </a:lnTo>
                    <a:lnTo>
                      <a:pt x="93" y="119"/>
                    </a:lnTo>
                    <a:lnTo>
                      <a:pt x="99" y="110"/>
                    </a:lnTo>
                    <a:lnTo>
                      <a:pt x="105" y="98"/>
                    </a:lnTo>
                    <a:lnTo>
                      <a:pt x="102" y="98"/>
                    </a:lnTo>
                    <a:lnTo>
                      <a:pt x="98" y="96"/>
                    </a:lnTo>
                    <a:lnTo>
                      <a:pt x="95" y="94"/>
                    </a:lnTo>
                    <a:lnTo>
                      <a:pt x="92" y="91"/>
                    </a:lnTo>
                    <a:lnTo>
                      <a:pt x="86" y="83"/>
                    </a:lnTo>
                    <a:lnTo>
                      <a:pt x="82" y="73"/>
                    </a:lnTo>
                    <a:lnTo>
                      <a:pt x="77" y="62"/>
                    </a:lnTo>
                    <a:lnTo>
                      <a:pt x="74" y="50"/>
                    </a:lnTo>
                    <a:lnTo>
                      <a:pt x="73" y="36"/>
                    </a:lnTo>
                    <a:lnTo>
                      <a:pt x="72" y="24"/>
                    </a:lnTo>
                    <a:lnTo>
                      <a:pt x="82" y="21"/>
                    </a:lnTo>
                    <a:lnTo>
                      <a:pt x="90" y="19"/>
                    </a:lnTo>
                    <a:lnTo>
                      <a:pt x="97" y="19"/>
                    </a:lnTo>
                    <a:lnTo>
                      <a:pt x="105" y="20"/>
                    </a:lnTo>
                    <a:lnTo>
                      <a:pt x="118" y="23"/>
                    </a:lnTo>
                    <a:lnTo>
                      <a:pt x="132" y="24"/>
                    </a:lnTo>
                    <a:lnTo>
                      <a:pt x="149" y="23"/>
                    </a:lnTo>
                    <a:lnTo>
                      <a:pt x="169" y="21"/>
                    </a:lnTo>
                    <a:lnTo>
                      <a:pt x="189" y="17"/>
                    </a:lnTo>
                    <a:lnTo>
                      <a:pt x="210" y="12"/>
                    </a:lnTo>
                    <a:lnTo>
                      <a:pt x="244" y="4"/>
                    </a:lnTo>
                    <a:lnTo>
                      <a:pt x="259" y="0"/>
                    </a:lnTo>
                  </a:path>
                </a:pathLst>
              </a:custGeom>
              <a:grpFill/>
              <a:ln w="9525" cmpd="sng">
                <a:solidFill>
                  <a:srgbClr val="FFFFFF"/>
                </a:solidFill>
                <a:prstDash val="solid"/>
                <a:round/>
                <a:headEnd/>
                <a:tailEnd/>
              </a:ln>
            </p:spPr>
            <p:txBody>
              <a:bodyPr/>
              <a:lstStyle/>
              <a:p>
                <a:endParaRPr lang="en-GB" sz="1637"/>
              </a:p>
            </p:txBody>
          </p:sp>
          <p:sp>
            <p:nvSpPr>
              <p:cNvPr id="135" name="Freeform 435"/>
              <p:cNvSpPr>
                <a:spLocks/>
              </p:cNvSpPr>
              <p:nvPr>
                <p:custDataLst>
                  <p:tags r:id="rId118"/>
                </p:custDataLst>
              </p:nvPr>
            </p:nvSpPr>
            <p:spPr bwMode="auto">
              <a:xfrm>
                <a:off x="4839740" y="4012372"/>
                <a:ext cx="6932" cy="64475"/>
              </a:xfrm>
              <a:custGeom>
                <a:avLst/>
                <a:gdLst>
                  <a:gd name="T0" fmla="*/ 4989 w 14"/>
                  <a:gd name="T1" fmla="*/ 0 h 7"/>
                  <a:gd name="T2" fmla="*/ 5896 w 14"/>
                  <a:gd name="T3" fmla="*/ 24493 h 7"/>
                  <a:gd name="T4" fmla="*/ 6350 w 14"/>
                  <a:gd name="T5" fmla="*/ 57150 h 7"/>
                  <a:gd name="T6" fmla="*/ 0 w 14"/>
                  <a:gd name="T7" fmla="*/ 57150 h 7"/>
                  <a:gd name="T8" fmla="*/ 4989 w 14"/>
                  <a:gd name="T9" fmla="*/ 0 h 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 h="7">
                    <a:moveTo>
                      <a:pt x="11" y="0"/>
                    </a:moveTo>
                    <a:lnTo>
                      <a:pt x="13" y="3"/>
                    </a:lnTo>
                    <a:lnTo>
                      <a:pt x="14" y="7"/>
                    </a:lnTo>
                    <a:lnTo>
                      <a:pt x="0" y="7"/>
                    </a:lnTo>
                    <a:lnTo>
                      <a:pt x="11" y="0"/>
                    </a:lnTo>
                  </a:path>
                </a:pathLst>
              </a:custGeom>
              <a:grpFill/>
              <a:ln w="9525" cmpd="sng">
                <a:solidFill>
                  <a:srgbClr val="FFFFFF"/>
                </a:solidFill>
                <a:prstDash val="solid"/>
                <a:round/>
                <a:headEnd/>
                <a:tailEnd/>
              </a:ln>
            </p:spPr>
            <p:txBody>
              <a:bodyPr/>
              <a:lstStyle/>
              <a:p>
                <a:endParaRPr lang="en-GB" sz="1637"/>
              </a:p>
            </p:txBody>
          </p:sp>
          <p:sp>
            <p:nvSpPr>
              <p:cNvPr id="136" name="Freeform 436"/>
              <p:cNvSpPr>
                <a:spLocks/>
              </p:cNvSpPr>
              <p:nvPr>
                <p:custDataLst>
                  <p:tags r:id="rId119"/>
                </p:custDataLst>
              </p:nvPr>
            </p:nvSpPr>
            <p:spPr bwMode="auto">
              <a:xfrm>
                <a:off x="4283454" y="3150918"/>
                <a:ext cx="272077" cy="564153"/>
              </a:xfrm>
              <a:custGeom>
                <a:avLst/>
                <a:gdLst>
                  <a:gd name="T0" fmla="*/ 34747 w 581"/>
                  <a:gd name="T1" fmla="*/ 60217 h 955"/>
                  <a:gd name="T2" fmla="*/ 44614 w 581"/>
                  <a:gd name="T3" fmla="*/ 79591 h 955"/>
                  <a:gd name="T4" fmla="*/ 47617 w 581"/>
                  <a:gd name="T5" fmla="*/ 94253 h 955"/>
                  <a:gd name="T6" fmla="*/ 40753 w 581"/>
                  <a:gd name="T7" fmla="*/ 122528 h 955"/>
                  <a:gd name="T8" fmla="*/ 41182 w 581"/>
                  <a:gd name="T9" fmla="*/ 170178 h 955"/>
                  <a:gd name="T10" fmla="*/ 39895 w 581"/>
                  <a:gd name="T11" fmla="*/ 190076 h 955"/>
                  <a:gd name="T12" fmla="*/ 35176 w 581"/>
                  <a:gd name="T13" fmla="*/ 207356 h 955"/>
                  <a:gd name="T14" fmla="*/ 25310 w 581"/>
                  <a:gd name="T15" fmla="*/ 224635 h 955"/>
                  <a:gd name="T16" fmla="*/ 13298 w 581"/>
                  <a:gd name="T17" fmla="*/ 241391 h 955"/>
                  <a:gd name="T18" fmla="*/ 7293 w 581"/>
                  <a:gd name="T19" fmla="*/ 251864 h 955"/>
                  <a:gd name="T20" fmla="*/ 858 w 581"/>
                  <a:gd name="T21" fmla="*/ 283805 h 955"/>
                  <a:gd name="T22" fmla="*/ 29600 w 581"/>
                  <a:gd name="T23" fmla="*/ 322553 h 955"/>
                  <a:gd name="T24" fmla="*/ 29600 w 581"/>
                  <a:gd name="T25" fmla="*/ 331978 h 955"/>
                  <a:gd name="T26" fmla="*/ 31744 w 581"/>
                  <a:gd name="T27" fmla="*/ 348211 h 955"/>
                  <a:gd name="T28" fmla="*/ 31744 w 581"/>
                  <a:gd name="T29" fmla="*/ 364443 h 955"/>
                  <a:gd name="T30" fmla="*/ 33460 w 581"/>
                  <a:gd name="T31" fmla="*/ 383817 h 955"/>
                  <a:gd name="T32" fmla="*/ 40324 w 581"/>
                  <a:gd name="T33" fmla="*/ 407380 h 955"/>
                  <a:gd name="T34" fmla="*/ 45043 w 581"/>
                  <a:gd name="T35" fmla="*/ 414711 h 955"/>
                  <a:gd name="T36" fmla="*/ 29171 w 581"/>
                  <a:gd name="T37" fmla="*/ 415758 h 955"/>
                  <a:gd name="T38" fmla="*/ 18017 w 581"/>
                  <a:gd name="T39" fmla="*/ 419947 h 955"/>
                  <a:gd name="T40" fmla="*/ 15443 w 581"/>
                  <a:gd name="T41" fmla="*/ 425184 h 955"/>
                  <a:gd name="T42" fmla="*/ 18017 w 581"/>
                  <a:gd name="T43" fmla="*/ 440892 h 955"/>
                  <a:gd name="T44" fmla="*/ 29600 w 581"/>
                  <a:gd name="T45" fmla="*/ 458696 h 955"/>
                  <a:gd name="T46" fmla="*/ 37321 w 581"/>
                  <a:gd name="T47" fmla="*/ 470739 h 955"/>
                  <a:gd name="T48" fmla="*/ 42898 w 581"/>
                  <a:gd name="T49" fmla="*/ 485400 h 955"/>
                  <a:gd name="T50" fmla="*/ 66921 w 581"/>
                  <a:gd name="T51" fmla="*/ 500062 h 955"/>
                  <a:gd name="T52" fmla="*/ 81077 w 581"/>
                  <a:gd name="T53" fmla="*/ 493255 h 955"/>
                  <a:gd name="T54" fmla="*/ 106387 w 581"/>
                  <a:gd name="T55" fmla="*/ 486448 h 955"/>
                  <a:gd name="T56" fmla="*/ 119685 w 581"/>
                  <a:gd name="T57" fmla="*/ 482259 h 955"/>
                  <a:gd name="T58" fmla="*/ 127407 w 581"/>
                  <a:gd name="T59" fmla="*/ 473357 h 955"/>
                  <a:gd name="T60" fmla="*/ 129552 w 581"/>
                  <a:gd name="T61" fmla="*/ 467074 h 955"/>
                  <a:gd name="T62" fmla="*/ 129552 w 581"/>
                  <a:gd name="T63" fmla="*/ 454507 h 955"/>
                  <a:gd name="T64" fmla="*/ 144995 w 581"/>
                  <a:gd name="T65" fmla="*/ 456077 h 955"/>
                  <a:gd name="T66" fmla="*/ 157435 w 581"/>
                  <a:gd name="T67" fmla="*/ 453459 h 955"/>
                  <a:gd name="T68" fmla="*/ 166873 w 581"/>
                  <a:gd name="T69" fmla="*/ 448223 h 955"/>
                  <a:gd name="T70" fmla="*/ 173737 w 581"/>
                  <a:gd name="T71" fmla="*/ 440892 h 955"/>
                  <a:gd name="T72" fmla="*/ 185319 w 581"/>
                  <a:gd name="T73" fmla="*/ 422565 h 955"/>
                  <a:gd name="T74" fmla="*/ 197330 w 581"/>
                  <a:gd name="T75" fmla="*/ 404762 h 955"/>
                  <a:gd name="T76" fmla="*/ 204623 w 581"/>
                  <a:gd name="T77" fmla="*/ 397955 h 955"/>
                  <a:gd name="T78" fmla="*/ 215348 w 581"/>
                  <a:gd name="T79" fmla="*/ 393766 h 955"/>
                  <a:gd name="T80" fmla="*/ 223498 w 581"/>
                  <a:gd name="T81" fmla="*/ 390101 h 955"/>
                  <a:gd name="T82" fmla="*/ 214061 w 581"/>
                  <a:gd name="T83" fmla="*/ 364967 h 955"/>
                  <a:gd name="T84" fmla="*/ 207626 w 581"/>
                  <a:gd name="T85" fmla="*/ 341927 h 955"/>
                  <a:gd name="T86" fmla="*/ 202478 w 581"/>
                  <a:gd name="T87" fmla="*/ 326218 h 955"/>
                  <a:gd name="T88" fmla="*/ 206339 w 581"/>
                  <a:gd name="T89" fmla="*/ 319411 h 955"/>
                  <a:gd name="T90" fmla="*/ 208913 w 581"/>
                  <a:gd name="T91" fmla="*/ 303179 h 955"/>
                  <a:gd name="T92" fmla="*/ 211916 w 581"/>
                  <a:gd name="T93" fmla="*/ 283281 h 955"/>
                  <a:gd name="T94" fmla="*/ 216635 w 581"/>
                  <a:gd name="T95" fmla="*/ 271761 h 955"/>
                  <a:gd name="T96" fmla="*/ 228217 w 581"/>
                  <a:gd name="T97" fmla="*/ 254482 h 955"/>
                  <a:gd name="T98" fmla="*/ 244518 w 581"/>
                  <a:gd name="T99" fmla="*/ 241391 h 955"/>
                  <a:gd name="T100" fmla="*/ 55338 w 581"/>
                  <a:gd name="T101" fmla="*/ 0 h 955"/>
                  <a:gd name="T102" fmla="*/ 42040 w 581"/>
                  <a:gd name="T103" fmla="*/ 2618 h 955"/>
                  <a:gd name="T104" fmla="*/ 29600 w 581"/>
                  <a:gd name="T105" fmla="*/ 12567 h 95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81" h="955">
                    <a:moveTo>
                      <a:pt x="69" y="24"/>
                    </a:moveTo>
                    <a:lnTo>
                      <a:pt x="69" y="97"/>
                    </a:lnTo>
                    <a:lnTo>
                      <a:pt x="81" y="115"/>
                    </a:lnTo>
                    <a:lnTo>
                      <a:pt x="91" y="129"/>
                    </a:lnTo>
                    <a:lnTo>
                      <a:pt x="99" y="141"/>
                    </a:lnTo>
                    <a:lnTo>
                      <a:pt x="104" y="152"/>
                    </a:lnTo>
                    <a:lnTo>
                      <a:pt x="107" y="163"/>
                    </a:lnTo>
                    <a:lnTo>
                      <a:pt x="110" y="172"/>
                    </a:lnTo>
                    <a:lnTo>
                      <a:pt x="111" y="180"/>
                    </a:lnTo>
                    <a:lnTo>
                      <a:pt x="110" y="186"/>
                    </a:lnTo>
                    <a:lnTo>
                      <a:pt x="102" y="209"/>
                    </a:lnTo>
                    <a:lnTo>
                      <a:pt x="95" y="234"/>
                    </a:lnTo>
                    <a:lnTo>
                      <a:pt x="96" y="276"/>
                    </a:lnTo>
                    <a:lnTo>
                      <a:pt x="96" y="309"/>
                    </a:lnTo>
                    <a:lnTo>
                      <a:pt x="96" y="325"/>
                    </a:lnTo>
                    <a:lnTo>
                      <a:pt x="96" y="339"/>
                    </a:lnTo>
                    <a:lnTo>
                      <a:pt x="95" y="351"/>
                    </a:lnTo>
                    <a:lnTo>
                      <a:pt x="93" y="363"/>
                    </a:lnTo>
                    <a:lnTo>
                      <a:pt x="91" y="374"/>
                    </a:lnTo>
                    <a:lnTo>
                      <a:pt x="87" y="386"/>
                    </a:lnTo>
                    <a:lnTo>
                      <a:pt x="82" y="396"/>
                    </a:lnTo>
                    <a:lnTo>
                      <a:pt x="76" y="407"/>
                    </a:lnTo>
                    <a:lnTo>
                      <a:pt x="69" y="418"/>
                    </a:lnTo>
                    <a:lnTo>
                      <a:pt x="59" y="429"/>
                    </a:lnTo>
                    <a:lnTo>
                      <a:pt x="48" y="442"/>
                    </a:lnTo>
                    <a:lnTo>
                      <a:pt x="36" y="455"/>
                    </a:lnTo>
                    <a:lnTo>
                      <a:pt x="31" y="461"/>
                    </a:lnTo>
                    <a:lnTo>
                      <a:pt x="26" y="467"/>
                    </a:lnTo>
                    <a:lnTo>
                      <a:pt x="22" y="474"/>
                    </a:lnTo>
                    <a:lnTo>
                      <a:pt x="17" y="481"/>
                    </a:lnTo>
                    <a:lnTo>
                      <a:pt x="12" y="496"/>
                    </a:lnTo>
                    <a:lnTo>
                      <a:pt x="8" y="512"/>
                    </a:lnTo>
                    <a:lnTo>
                      <a:pt x="2" y="542"/>
                    </a:lnTo>
                    <a:lnTo>
                      <a:pt x="0" y="568"/>
                    </a:lnTo>
                    <a:lnTo>
                      <a:pt x="29" y="578"/>
                    </a:lnTo>
                    <a:lnTo>
                      <a:pt x="69" y="616"/>
                    </a:lnTo>
                    <a:lnTo>
                      <a:pt x="51" y="632"/>
                    </a:lnTo>
                    <a:lnTo>
                      <a:pt x="60" y="633"/>
                    </a:lnTo>
                    <a:lnTo>
                      <a:pt x="69" y="634"/>
                    </a:lnTo>
                    <a:lnTo>
                      <a:pt x="70" y="643"/>
                    </a:lnTo>
                    <a:lnTo>
                      <a:pt x="72" y="653"/>
                    </a:lnTo>
                    <a:lnTo>
                      <a:pt x="74" y="665"/>
                    </a:lnTo>
                    <a:lnTo>
                      <a:pt x="76" y="677"/>
                    </a:lnTo>
                    <a:lnTo>
                      <a:pt x="74" y="686"/>
                    </a:lnTo>
                    <a:lnTo>
                      <a:pt x="74" y="696"/>
                    </a:lnTo>
                    <a:lnTo>
                      <a:pt x="74" y="705"/>
                    </a:lnTo>
                    <a:lnTo>
                      <a:pt x="76" y="715"/>
                    </a:lnTo>
                    <a:lnTo>
                      <a:pt x="78" y="733"/>
                    </a:lnTo>
                    <a:lnTo>
                      <a:pt x="82" y="749"/>
                    </a:lnTo>
                    <a:lnTo>
                      <a:pt x="88" y="764"/>
                    </a:lnTo>
                    <a:lnTo>
                      <a:pt x="94" y="778"/>
                    </a:lnTo>
                    <a:lnTo>
                      <a:pt x="98" y="783"/>
                    </a:lnTo>
                    <a:lnTo>
                      <a:pt x="102" y="788"/>
                    </a:lnTo>
                    <a:lnTo>
                      <a:pt x="105" y="792"/>
                    </a:lnTo>
                    <a:lnTo>
                      <a:pt x="109" y="794"/>
                    </a:lnTo>
                    <a:lnTo>
                      <a:pt x="92" y="794"/>
                    </a:lnTo>
                    <a:lnTo>
                      <a:pt x="68" y="794"/>
                    </a:lnTo>
                    <a:lnTo>
                      <a:pt x="56" y="796"/>
                    </a:lnTo>
                    <a:lnTo>
                      <a:pt x="46" y="799"/>
                    </a:lnTo>
                    <a:lnTo>
                      <a:pt x="42" y="802"/>
                    </a:lnTo>
                    <a:lnTo>
                      <a:pt x="38" y="805"/>
                    </a:lnTo>
                    <a:lnTo>
                      <a:pt x="36" y="808"/>
                    </a:lnTo>
                    <a:lnTo>
                      <a:pt x="36" y="812"/>
                    </a:lnTo>
                    <a:lnTo>
                      <a:pt x="36" y="824"/>
                    </a:lnTo>
                    <a:lnTo>
                      <a:pt x="38" y="834"/>
                    </a:lnTo>
                    <a:lnTo>
                      <a:pt x="42" y="842"/>
                    </a:lnTo>
                    <a:lnTo>
                      <a:pt x="46" y="850"/>
                    </a:lnTo>
                    <a:lnTo>
                      <a:pt x="57" y="863"/>
                    </a:lnTo>
                    <a:lnTo>
                      <a:pt x="69" y="876"/>
                    </a:lnTo>
                    <a:lnTo>
                      <a:pt x="76" y="884"/>
                    </a:lnTo>
                    <a:lnTo>
                      <a:pt x="81" y="891"/>
                    </a:lnTo>
                    <a:lnTo>
                      <a:pt x="87" y="899"/>
                    </a:lnTo>
                    <a:lnTo>
                      <a:pt x="92" y="907"/>
                    </a:lnTo>
                    <a:lnTo>
                      <a:pt x="96" y="917"/>
                    </a:lnTo>
                    <a:lnTo>
                      <a:pt x="100" y="927"/>
                    </a:lnTo>
                    <a:lnTo>
                      <a:pt x="102" y="941"/>
                    </a:lnTo>
                    <a:lnTo>
                      <a:pt x="102" y="955"/>
                    </a:lnTo>
                    <a:lnTo>
                      <a:pt x="156" y="955"/>
                    </a:lnTo>
                    <a:lnTo>
                      <a:pt x="166" y="949"/>
                    </a:lnTo>
                    <a:lnTo>
                      <a:pt x="177" y="945"/>
                    </a:lnTo>
                    <a:lnTo>
                      <a:pt x="189" y="942"/>
                    </a:lnTo>
                    <a:lnTo>
                      <a:pt x="201" y="939"/>
                    </a:lnTo>
                    <a:lnTo>
                      <a:pt x="225" y="935"/>
                    </a:lnTo>
                    <a:lnTo>
                      <a:pt x="248" y="929"/>
                    </a:lnTo>
                    <a:lnTo>
                      <a:pt x="259" y="927"/>
                    </a:lnTo>
                    <a:lnTo>
                      <a:pt x="270" y="924"/>
                    </a:lnTo>
                    <a:lnTo>
                      <a:pt x="279" y="921"/>
                    </a:lnTo>
                    <a:lnTo>
                      <a:pt x="286" y="916"/>
                    </a:lnTo>
                    <a:lnTo>
                      <a:pt x="293" y="911"/>
                    </a:lnTo>
                    <a:lnTo>
                      <a:pt x="297" y="904"/>
                    </a:lnTo>
                    <a:lnTo>
                      <a:pt x="300" y="901"/>
                    </a:lnTo>
                    <a:lnTo>
                      <a:pt x="301" y="896"/>
                    </a:lnTo>
                    <a:lnTo>
                      <a:pt x="302" y="892"/>
                    </a:lnTo>
                    <a:lnTo>
                      <a:pt x="302" y="887"/>
                    </a:lnTo>
                    <a:lnTo>
                      <a:pt x="302" y="877"/>
                    </a:lnTo>
                    <a:lnTo>
                      <a:pt x="302" y="868"/>
                    </a:lnTo>
                    <a:lnTo>
                      <a:pt x="315" y="870"/>
                    </a:lnTo>
                    <a:lnTo>
                      <a:pt x="327" y="871"/>
                    </a:lnTo>
                    <a:lnTo>
                      <a:pt x="338" y="871"/>
                    </a:lnTo>
                    <a:lnTo>
                      <a:pt x="348" y="870"/>
                    </a:lnTo>
                    <a:lnTo>
                      <a:pt x="358" y="868"/>
                    </a:lnTo>
                    <a:lnTo>
                      <a:pt x="367" y="866"/>
                    </a:lnTo>
                    <a:lnTo>
                      <a:pt x="374" y="863"/>
                    </a:lnTo>
                    <a:lnTo>
                      <a:pt x="382" y="860"/>
                    </a:lnTo>
                    <a:lnTo>
                      <a:pt x="389" y="856"/>
                    </a:lnTo>
                    <a:lnTo>
                      <a:pt x="394" y="852"/>
                    </a:lnTo>
                    <a:lnTo>
                      <a:pt x="401" y="847"/>
                    </a:lnTo>
                    <a:lnTo>
                      <a:pt x="405" y="842"/>
                    </a:lnTo>
                    <a:lnTo>
                      <a:pt x="415" y="831"/>
                    </a:lnTo>
                    <a:lnTo>
                      <a:pt x="424" y="818"/>
                    </a:lnTo>
                    <a:lnTo>
                      <a:pt x="432" y="807"/>
                    </a:lnTo>
                    <a:lnTo>
                      <a:pt x="440" y="795"/>
                    </a:lnTo>
                    <a:lnTo>
                      <a:pt x="449" y="783"/>
                    </a:lnTo>
                    <a:lnTo>
                      <a:pt x="460" y="773"/>
                    </a:lnTo>
                    <a:lnTo>
                      <a:pt x="465" y="769"/>
                    </a:lnTo>
                    <a:lnTo>
                      <a:pt x="471" y="764"/>
                    </a:lnTo>
                    <a:lnTo>
                      <a:pt x="477" y="760"/>
                    </a:lnTo>
                    <a:lnTo>
                      <a:pt x="485" y="757"/>
                    </a:lnTo>
                    <a:lnTo>
                      <a:pt x="493" y="754"/>
                    </a:lnTo>
                    <a:lnTo>
                      <a:pt x="502" y="752"/>
                    </a:lnTo>
                    <a:lnTo>
                      <a:pt x="510" y="751"/>
                    </a:lnTo>
                    <a:lnTo>
                      <a:pt x="521" y="751"/>
                    </a:lnTo>
                    <a:lnTo>
                      <a:pt x="521" y="745"/>
                    </a:lnTo>
                    <a:lnTo>
                      <a:pt x="511" y="729"/>
                    </a:lnTo>
                    <a:lnTo>
                      <a:pt x="505" y="713"/>
                    </a:lnTo>
                    <a:lnTo>
                      <a:pt x="499" y="697"/>
                    </a:lnTo>
                    <a:lnTo>
                      <a:pt x="494" y="682"/>
                    </a:lnTo>
                    <a:lnTo>
                      <a:pt x="490" y="667"/>
                    </a:lnTo>
                    <a:lnTo>
                      <a:pt x="484" y="653"/>
                    </a:lnTo>
                    <a:lnTo>
                      <a:pt x="476" y="640"/>
                    </a:lnTo>
                    <a:lnTo>
                      <a:pt x="468" y="628"/>
                    </a:lnTo>
                    <a:lnTo>
                      <a:pt x="472" y="623"/>
                    </a:lnTo>
                    <a:lnTo>
                      <a:pt x="476" y="619"/>
                    </a:lnTo>
                    <a:lnTo>
                      <a:pt x="479" y="614"/>
                    </a:lnTo>
                    <a:lnTo>
                      <a:pt x="481" y="610"/>
                    </a:lnTo>
                    <a:lnTo>
                      <a:pt x="484" y="599"/>
                    </a:lnTo>
                    <a:lnTo>
                      <a:pt x="486" y="589"/>
                    </a:lnTo>
                    <a:lnTo>
                      <a:pt x="487" y="579"/>
                    </a:lnTo>
                    <a:lnTo>
                      <a:pt x="488" y="567"/>
                    </a:lnTo>
                    <a:lnTo>
                      <a:pt x="491" y="555"/>
                    </a:lnTo>
                    <a:lnTo>
                      <a:pt x="494" y="541"/>
                    </a:lnTo>
                    <a:lnTo>
                      <a:pt x="497" y="533"/>
                    </a:lnTo>
                    <a:lnTo>
                      <a:pt x="501" y="526"/>
                    </a:lnTo>
                    <a:lnTo>
                      <a:pt x="505" y="519"/>
                    </a:lnTo>
                    <a:lnTo>
                      <a:pt x="509" y="512"/>
                    </a:lnTo>
                    <a:lnTo>
                      <a:pt x="520" y="499"/>
                    </a:lnTo>
                    <a:lnTo>
                      <a:pt x="532" y="486"/>
                    </a:lnTo>
                    <a:lnTo>
                      <a:pt x="546" y="476"/>
                    </a:lnTo>
                    <a:lnTo>
                      <a:pt x="558" y="468"/>
                    </a:lnTo>
                    <a:lnTo>
                      <a:pt x="570" y="461"/>
                    </a:lnTo>
                    <a:lnTo>
                      <a:pt x="581" y="455"/>
                    </a:lnTo>
                    <a:lnTo>
                      <a:pt x="581" y="234"/>
                    </a:lnTo>
                    <a:lnTo>
                      <a:pt x="129" y="0"/>
                    </a:lnTo>
                    <a:lnTo>
                      <a:pt x="116" y="1"/>
                    </a:lnTo>
                    <a:lnTo>
                      <a:pt x="106" y="3"/>
                    </a:lnTo>
                    <a:lnTo>
                      <a:pt x="98" y="5"/>
                    </a:lnTo>
                    <a:lnTo>
                      <a:pt x="89" y="6"/>
                    </a:lnTo>
                    <a:lnTo>
                      <a:pt x="79" y="15"/>
                    </a:lnTo>
                    <a:lnTo>
                      <a:pt x="69" y="24"/>
                    </a:lnTo>
                  </a:path>
                </a:pathLst>
              </a:custGeom>
              <a:grpFill/>
              <a:ln w="9525" cmpd="sng">
                <a:solidFill>
                  <a:srgbClr val="FFFFFF"/>
                </a:solidFill>
                <a:prstDash val="solid"/>
                <a:round/>
                <a:headEnd/>
                <a:tailEnd/>
              </a:ln>
            </p:spPr>
            <p:txBody>
              <a:bodyPr/>
              <a:lstStyle/>
              <a:p>
                <a:endParaRPr lang="en-GB" sz="1637"/>
              </a:p>
            </p:txBody>
          </p:sp>
          <p:sp>
            <p:nvSpPr>
              <p:cNvPr id="137" name="Freeform 437"/>
              <p:cNvSpPr>
                <a:spLocks/>
              </p:cNvSpPr>
              <p:nvPr>
                <p:custDataLst>
                  <p:tags r:id="rId120"/>
                </p:custDataLst>
              </p:nvPr>
            </p:nvSpPr>
            <p:spPr bwMode="auto">
              <a:xfrm>
                <a:off x="3929927" y="2454232"/>
                <a:ext cx="17330" cy="64475"/>
              </a:xfrm>
              <a:custGeom>
                <a:avLst/>
                <a:gdLst>
                  <a:gd name="T0" fmla="*/ 9172 w 45"/>
                  <a:gd name="T1" fmla="*/ 0 h 36"/>
                  <a:gd name="T2" fmla="*/ 0 w 45"/>
                  <a:gd name="T3" fmla="*/ 28575 h 36"/>
                  <a:gd name="T4" fmla="*/ 8114 w 45"/>
                  <a:gd name="T5" fmla="*/ 57150 h 36"/>
                  <a:gd name="T6" fmla="*/ 15875 w 45"/>
                  <a:gd name="T7" fmla="*/ 23813 h 36"/>
                  <a:gd name="T8" fmla="*/ 9172 w 45"/>
                  <a:gd name="T9" fmla="*/ 0 h 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5" h="36">
                    <a:moveTo>
                      <a:pt x="26" y="0"/>
                    </a:moveTo>
                    <a:lnTo>
                      <a:pt x="0" y="18"/>
                    </a:lnTo>
                    <a:lnTo>
                      <a:pt x="23" y="36"/>
                    </a:lnTo>
                    <a:lnTo>
                      <a:pt x="45" y="15"/>
                    </a:lnTo>
                    <a:lnTo>
                      <a:pt x="26" y="0"/>
                    </a:lnTo>
                    <a:close/>
                  </a:path>
                </a:pathLst>
              </a:custGeom>
              <a:grpFill/>
              <a:ln w="9525" cap="flat" cmpd="sng">
                <a:solidFill>
                  <a:srgbClr val="FFFFFF"/>
                </a:solidFill>
                <a:prstDash val="solid"/>
                <a:round/>
                <a:headEnd type="none" w="med" len="med"/>
                <a:tailEnd type="none" w="med" len="med"/>
              </a:ln>
              <a:effectLst/>
            </p:spPr>
            <p:txBody>
              <a:bodyPr/>
              <a:lstStyle/>
              <a:p>
                <a:endParaRPr lang="en-GB" sz="1637"/>
              </a:p>
            </p:txBody>
          </p:sp>
          <p:sp>
            <p:nvSpPr>
              <p:cNvPr id="138" name="Freeform 442"/>
              <p:cNvSpPr>
                <a:spLocks/>
              </p:cNvSpPr>
              <p:nvPr>
                <p:custDataLst>
                  <p:tags r:id="rId121"/>
                </p:custDataLst>
              </p:nvPr>
            </p:nvSpPr>
            <p:spPr bwMode="auto">
              <a:xfrm>
                <a:off x="5032101" y="2468560"/>
                <a:ext cx="135172" cy="123577"/>
              </a:xfrm>
              <a:custGeom>
                <a:avLst/>
                <a:gdLst>
                  <a:gd name="T0" fmla="*/ 14646 w 279"/>
                  <a:gd name="T1" fmla="*/ 46715 h 204"/>
                  <a:gd name="T2" fmla="*/ 26185 w 279"/>
                  <a:gd name="T3" fmla="*/ 76247 h 204"/>
                  <a:gd name="T4" fmla="*/ 26185 w 279"/>
                  <a:gd name="T5" fmla="*/ 96114 h 204"/>
                  <a:gd name="T6" fmla="*/ 45269 w 279"/>
                  <a:gd name="T7" fmla="*/ 105242 h 204"/>
                  <a:gd name="T8" fmla="*/ 54146 w 279"/>
                  <a:gd name="T9" fmla="*/ 108464 h 204"/>
                  <a:gd name="T10" fmla="*/ 61691 w 279"/>
                  <a:gd name="T11" fmla="*/ 109538 h 204"/>
                  <a:gd name="T12" fmla="*/ 64797 w 279"/>
                  <a:gd name="T13" fmla="*/ 107927 h 204"/>
                  <a:gd name="T14" fmla="*/ 67016 w 279"/>
                  <a:gd name="T15" fmla="*/ 104168 h 204"/>
                  <a:gd name="T16" fmla="*/ 71011 w 279"/>
                  <a:gd name="T17" fmla="*/ 92356 h 204"/>
                  <a:gd name="T18" fmla="*/ 76337 w 279"/>
                  <a:gd name="T19" fmla="*/ 80006 h 204"/>
                  <a:gd name="T20" fmla="*/ 80331 w 279"/>
                  <a:gd name="T21" fmla="*/ 75710 h 204"/>
                  <a:gd name="T22" fmla="*/ 85213 w 279"/>
                  <a:gd name="T23" fmla="*/ 73025 h 204"/>
                  <a:gd name="T24" fmla="*/ 92758 w 279"/>
                  <a:gd name="T25" fmla="*/ 74099 h 204"/>
                  <a:gd name="T26" fmla="*/ 97640 w 279"/>
                  <a:gd name="T27" fmla="*/ 76247 h 204"/>
                  <a:gd name="T28" fmla="*/ 101190 w 279"/>
                  <a:gd name="T29" fmla="*/ 79469 h 204"/>
                  <a:gd name="T30" fmla="*/ 102522 w 279"/>
                  <a:gd name="T31" fmla="*/ 82690 h 204"/>
                  <a:gd name="T32" fmla="*/ 103853 w 279"/>
                  <a:gd name="T33" fmla="*/ 88060 h 204"/>
                  <a:gd name="T34" fmla="*/ 102522 w 279"/>
                  <a:gd name="T35" fmla="*/ 89671 h 204"/>
                  <a:gd name="T36" fmla="*/ 103853 w 279"/>
                  <a:gd name="T37" fmla="*/ 82154 h 204"/>
                  <a:gd name="T38" fmla="*/ 105628 w 279"/>
                  <a:gd name="T39" fmla="*/ 75173 h 204"/>
                  <a:gd name="T40" fmla="*/ 108735 w 279"/>
                  <a:gd name="T41" fmla="*/ 62823 h 204"/>
                  <a:gd name="T42" fmla="*/ 112730 w 279"/>
                  <a:gd name="T43" fmla="*/ 61749 h 204"/>
                  <a:gd name="T44" fmla="*/ 117168 w 279"/>
                  <a:gd name="T45" fmla="*/ 59065 h 204"/>
                  <a:gd name="T46" fmla="*/ 123825 w 279"/>
                  <a:gd name="T47" fmla="*/ 53158 h 204"/>
                  <a:gd name="T48" fmla="*/ 111842 w 279"/>
                  <a:gd name="T49" fmla="*/ 40271 h 204"/>
                  <a:gd name="T50" fmla="*/ 100747 w 279"/>
                  <a:gd name="T51" fmla="*/ 31143 h 204"/>
                  <a:gd name="T52" fmla="*/ 90539 w 279"/>
                  <a:gd name="T53" fmla="*/ 23626 h 204"/>
                  <a:gd name="T54" fmla="*/ 82106 w 279"/>
                  <a:gd name="T55" fmla="*/ 16645 h 204"/>
                  <a:gd name="T56" fmla="*/ 64797 w 279"/>
                  <a:gd name="T57" fmla="*/ 36513 h 204"/>
                  <a:gd name="T58" fmla="*/ 35062 w 279"/>
                  <a:gd name="T59" fmla="*/ 13424 h 204"/>
                  <a:gd name="T60" fmla="*/ 23078 w 279"/>
                  <a:gd name="T61" fmla="*/ 6443 h 204"/>
                  <a:gd name="T62" fmla="*/ 20416 w 279"/>
                  <a:gd name="T63" fmla="*/ 33291 h 204"/>
                  <a:gd name="T64" fmla="*/ 0 w 279"/>
                  <a:gd name="T65" fmla="*/ 30069 h 20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79" h="204">
                    <a:moveTo>
                      <a:pt x="0" y="56"/>
                    </a:moveTo>
                    <a:lnTo>
                      <a:pt x="33" y="87"/>
                    </a:lnTo>
                    <a:lnTo>
                      <a:pt x="46" y="123"/>
                    </a:lnTo>
                    <a:lnTo>
                      <a:pt x="59" y="142"/>
                    </a:lnTo>
                    <a:lnTo>
                      <a:pt x="59" y="173"/>
                    </a:lnTo>
                    <a:lnTo>
                      <a:pt x="59" y="179"/>
                    </a:lnTo>
                    <a:lnTo>
                      <a:pt x="80" y="188"/>
                    </a:lnTo>
                    <a:lnTo>
                      <a:pt x="102" y="196"/>
                    </a:lnTo>
                    <a:lnTo>
                      <a:pt x="112" y="199"/>
                    </a:lnTo>
                    <a:lnTo>
                      <a:pt x="122" y="202"/>
                    </a:lnTo>
                    <a:lnTo>
                      <a:pt x="130" y="203"/>
                    </a:lnTo>
                    <a:lnTo>
                      <a:pt x="139" y="204"/>
                    </a:lnTo>
                    <a:lnTo>
                      <a:pt x="142" y="203"/>
                    </a:lnTo>
                    <a:lnTo>
                      <a:pt x="146" y="201"/>
                    </a:lnTo>
                    <a:lnTo>
                      <a:pt x="148" y="198"/>
                    </a:lnTo>
                    <a:lnTo>
                      <a:pt x="151" y="194"/>
                    </a:lnTo>
                    <a:lnTo>
                      <a:pt x="156" y="183"/>
                    </a:lnTo>
                    <a:lnTo>
                      <a:pt x="160" y="172"/>
                    </a:lnTo>
                    <a:lnTo>
                      <a:pt x="165" y="160"/>
                    </a:lnTo>
                    <a:lnTo>
                      <a:pt x="172" y="149"/>
                    </a:lnTo>
                    <a:lnTo>
                      <a:pt x="176" y="145"/>
                    </a:lnTo>
                    <a:lnTo>
                      <a:pt x="181" y="141"/>
                    </a:lnTo>
                    <a:lnTo>
                      <a:pt x="186" y="138"/>
                    </a:lnTo>
                    <a:lnTo>
                      <a:pt x="192" y="136"/>
                    </a:lnTo>
                    <a:lnTo>
                      <a:pt x="201" y="137"/>
                    </a:lnTo>
                    <a:lnTo>
                      <a:pt x="209" y="138"/>
                    </a:lnTo>
                    <a:lnTo>
                      <a:pt x="215" y="140"/>
                    </a:lnTo>
                    <a:lnTo>
                      <a:pt x="220" y="142"/>
                    </a:lnTo>
                    <a:lnTo>
                      <a:pt x="225" y="145"/>
                    </a:lnTo>
                    <a:lnTo>
                      <a:pt x="228" y="148"/>
                    </a:lnTo>
                    <a:lnTo>
                      <a:pt x="230" y="151"/>
                    </a:lnTo>
                    <a:lnTo>
                      <a:pt x="231" y="154"/>
                    </a:lnTo>
                    <a:lnTo>
                      <a:pt x="234" y="160"/>
                    </a:lnTo>
                    <a:lnTo>
                      <a:pt x="234" y="164"/>
                    </a:lnTo>
                    <a:lnTo>
                      <a:pt x="232" y="167"/>
                    </a:lnTo>
                    <a:lnTo>
                      <a:pt x="231" y="167"/>
                    </a:lnTo>
                    <a:lnTo>
                      <a:pt x="232" y="160"/>
                    </a:lnTo>
                    <a:lnTo>
                      <a:pt x="234" y="153"/>
                    </a:lnTo>
                    <a:lnTo>
                      <a:pt x="236" y="147"/>
                    </a:lnTo>
                    <a:lnTo>
                      <a:pt x="238" y="140"/>
                    </a:lnTo>
                    <a:lnTo>
                      <a:pt x="243" y="127"/>
                    </a:lnTo>
                    <a:lnTo>
                      <a:pt x="245" y="117"/>
                    </a:lnTo>
                    <a:lnTo>
                      <a:pt x="250" y="117"/>
                    </a:lnTo>
                    <a:lnTo>
                      <a:pt x="254" y="115"/>
                    </a:lnTo>
                    <a:lnTo>
                      <a:pt x="260" y="113"/>
                    </a:lnTo>
                    <a:lnTo>
                      <a:pt x="264" y="110"/>
                    </a:lnTo>
                    <a:lnTo>
                      <a:pt x="272" y="104"/>
                    </a:lnTo>
                    <a:lnTo>
                      <a:pt x="279" y="99"/>
                    </a:lnTo>
                    <a:lnTo>
                      <a:pt x="265" y="87"/>
                    </a:lnTo>
                    <a:lnTo>
                      <a:pt x="252" y="75"/>
                    </a:lnTo>
                    <a:lnTo>
                      <a:pt x="239" y="66"/>
                    </a:lnTo>
                    <a:lnTo>
                      <a:pt x="227" y="58"/>
                    </a:lnTo>
                    <a:lnTo>
                      <a:pt x="215" y="51"/>
                    </a:lnTo>
                    <a:lnTo>
                      <a:pt x="204" y="44"/>
                    </a:lnTo>
                    <a:lnTo>
                      <a:pt x="194" y="38"/>
                    </a:lnTo>
                    <a:lnTo>
                      <a:pt x="185" y="31"/>
                    </a:lnTo>
                    <a:lnTo>
                      <a:pt x="172" y="31"/>
                    </a:lnTo>
                    <a:lnTo>
                      <a:pt x="146" y="68"/>
                    </a:lnTo>
                    <a:lnTo>
                      <a:pt x="112" y="50"/>
                    </a:lnTo>
                    <a:lnTo>
                      <a:pt x="79" y="25"/>
                    </a:lnTo>
                    <a:lnTo>
                      <a:pt x="33" y="0"/>
                    </a:lnTo>
                    <a:lnTo>
                      <a:pt x="52" y="12"/>
                    </a:lnTo>
                    <a:lnTo>
                      <a:pt x="72" y="74"/>
                    </a:lnTo>
                    <a:lnTo>
                      <a:pt x="46" y="62"/>
                    </a:lnTo>
                    <a:lnTo>
                      <a:pt x="19" y="50"/>
                    </a:lnTo>
                    <a:lnTo>
                      <a:pt x="0" y="56"/>
                    </a:lnTo>
                  </a:path>
                </a:pathLst>
              </a:custGeom>
              <a:grpFill/>
              <a:ln w="9525" cmpd="sng">
                <a:solidFill>
                  <a:srgbClr val="FFFFFF"/>
                </a:solidFill>
                <a:prstDash val="solid"/>
                <a:round/>
                <a:headEnd/>
                <a:tailEnd/>
              </a:ln>
            </p:spPr>
            <p:txBody>
              <a:bodyPr/>
              <a:lstStyle/>
              <a:p>
                <a:endParaRPr lang="en-GB" sz="1637"/>
              </a:p>
            </p:txBody>
          </p:sp>
          <p:sp>
            <p:nvSpPr>
              <p:cNvPr id="139" name="Freeform 444"/>
              <p:cNvSpPr>
                <a:spLocks/>
              </p:cNvSpPr>
              <p:nvPr>
                <p:custDataLst>
                  <p:tags r:id="rId122"/>
                </p:custDataLst>
              </p:nvPr>
            </p:nvSpPr>
            <p:spPr bwMode="auto">
              <a:xfrm>
                <a:off x="4293852" y="2361102"/>
                <a:ext cx="90115" cy="98504"/>
              </a:xfrm>
              <a:custGeom>
                <a:avLst/>
                <a:gdLst>
                  <a:gd name="T0" fmla="*/ 38168 w 186"/>
                  <a:gd name="T1" fmla="*/ 77319 h 166"/>
                  <a:gd name="T2" fmla="*/ 36837 w 186"/>
                  <a:gd name="T3" fmla="*/ 71534 h 166"/>
                  <a:gd name="T4" fmla="*/ 34618 w 186"/>
                  <a:gd name="T5" fmla="*/ 66800 h 166"/>
                  <a:gd name="T6" fmla="*/ 32842 w 186"/>
                  <a:gd name="T7" fmla="*/ 62066 h 166"/>
                  <a:gd name="T8" fmla="*/ 31067 w 186"/>
                  <a:gd name="T9" fmla="*/ 57858 h 166"/>
                  <a:gd name="T10" fmla="*/ 26629 w 186"/>
                  <a:gd name="T11" fmla="*/ 49968 h 166"/>
                  <a:gd name="T12" fmla="*/ 21747 w 186"/>
                  <a:gd name="T13" fmla="*/ 43131 h 166"/>
                  <a:gd name="T14" fmla="*/ 16421 w 186"/>
                  <a:gd name="T15" fmla="*/ 36819 h 166"/>
                  <a:gd name="T16" fmla="*/ 11095 w 186"/>
                  <a:gd name="T17" fmla="*/ 29455 h 166"/>
                  <a:gd name="T18" fmla="*/ 5770 w 186"/>
                  <a:gd name="T19" fmla="*/ 19987 h 166"/>
                  <a:gd name="T20" fmla="*/ 0 w 186"/>
                  <a:gd name="T21" fmla="*/ 9468 h 166"/>
                  <a:gd name="T22" fmla="*/ 0 w 186"/>
                  <a:gd name="T23" fmla="*/ 0 h 166"/>
                  <a:gd name="T24" fmla="*/ 3107 w 186"/>
                  <a:gd name="T25" fmla="*/ 1052 h 166"/>
                  <a:gd name="T26" fmla="*/ 6213 w 186"/>
                  <a:gd name="T27" fmla="*/ 1578 h 166"/>
                  <a:gd name="T28" fmla="*/ 8876 w 186"/>
                  <a:gd name="T29" fmla="*/ 2104 h 166"/>
                  <a:gd name="T30" fmla="*/ 11983 w 186"/>
                  <a:gd name="T31" fmla="*/ 2104 h 166"/>
                  <a:gd name="T32" fmla="*/ 14646 w 186"/>
                  <a:gd name="T33" fmla="*/ 2104 h 166"/>
                  <a:gd name="T34" fmla="*/ 17753 w 186"/>
                  <a:gd name="T35" fmla="*/ 1578 h 166"/>
                  <a:gd name="T36" fmla="*/ 20859 w 186"/>
                  <a:gd name="T37" fmla="*/ 1052 h 166"/>
                  <a:gd name="T38" fmla="*/ 23522 w 186"/>
                  <a:gd name="T39" fmla="*/ 0 h 166"/>
                  <a:gd name="T40" fmla="*/ 62134 w 186"/>
                  <a:gd name="T41" fmla="*/ 6312 h 166"/>
                  <a:gd name="T42" fmla="*/ 82550 w 186"/>
                  <a:gd name="T43" fmla="*/ 47864 h 166"/>
                  <a:gd name="T44" fmla="*/ 75893 w 186"/>
                  <a:gd name="T45" fmla="*/ 58910 h 166"/>
                  <a:gd name="T46" fmla="*/ 68792 w 186"/>
                  <a:gd name="T47" fmla="*/ 67852 h 166"/>
                  <a:gd name="T48" fmla="*/ 66129 w 186"/>
                  <a:gd name="T49" fmla="*/ 72060 h 166"/>
                  <a:gd name="T50" fmla="*/ 63910 w 186"/>
                  <a:gd name="T51" fmla="*/ 76267 h 166"/>
                  <a:gd name="T52" fmla="*/ 63022 w 186"/>
                  <a:gd name="T53" fmla="*/ 78897 h 166"/>
                  <a:gd name="T54" fmla="*/ 62578 w 186"/>
                  <a:gd name="T55" fmla="*/ 82053 h 166"/>
                  <a:gd name="T56" fmla="*/ 62134 w 186"/>
                  <a:gd name="T57" fmla="*/ 84683 h 166"/>
                  <a:gd name="T58" fmla="*/ 62134 w 186"/>
                  <a:gd name="T59" fmla="*/ 87313 h 166"/>
                  <a:gd name="T60" fmla="*/ 38168 w 186"/>
                  <a:gd name="T61" fmla="*/ 77319 h 16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86" h="166">
                    <a:moveTo>
                      <a:pt x="86" y="147"/>
                    </a:moveTo>
                    <a:lnTo>
                      <a:pt x="83" y="136"/>
                    </a:lnTo>
                    <a:lnTo>
                      <a:pt x="78" y="127"/>
                    </a:lnTo>
                    <a:lnTo>
                      <a:pt x="74" y="118"/>
                    </a:lnTo>
                    <a:lnTo>
                      <a:pt x="70" y="110"/>
                    </a:lnTo>
                    <a:lnTo>
                      <a:pt x="60" y="95"/>
                    </a:lnTo>
                    <a:lnTo>
                      <a:pt x="49" y="82"/>
                    </a:lnTo>
                    <a:lnTo>
                      <a:pt x="37" y="70"/>
                    </a:lnTo>
                    <a:lnTo>
                      <a:pt x="25" y="56"/>
                    </a:lnTo>
                    <a:lnTo>
                      <a:pt x="13" y="38"/>
                    </a:lnTo>
                    <a:lnTo>
                      <a:pt x="0" y="18"/>
                    </a:lnTo>
                    <a:lnTo>
                      <a:pt x="0" y="0"/>
                    </a:lnTo>
                    <a:lnTo>
                      <a:pt x="7" y="2"/>
                    </a:lnTo>
                    <a:lnTo>
                      <a:pt x="14" y="3"/>
                    </a:lnTo>
                    <a:lnTo>
                      <a:pt x="20" y="4"/>
                    </a:lnTo>
                    <a:lnTo>
                      <a:pt x="27" y="4"/>
                    </a:lnTo>
                    <a:lnTo>
                      <a:pt x="33" y="4"/>
                    </a:lnTo>
                    <a:lnTo>
                      <a:pt x="40" y="3"/>
                    </a:lnTo>
                    <a:lnTo>
                      <a:pt x="47" y="2"/>
                    </a:lnTo>
                    <a:lnTo>
                      <a:pt x="53" y="0"/>
                    </a:lnTo>
                    <a:lnTo>
                      <a:pt x="140" y="12"/>
                    </a:lnTo>
                    <a:lnTo>
                      <a:pt x="186" y="91"/>
                    </a:lnTo>
                    <a:lnTo>
                      <a:pt x="171" y="112"/>
                    </a:lnTo>
                    <a:lnTo>
                      <a:pt x="155" y="129"/>
                    </a:lnTo>
                    <a:lnTo>
                      <a:pt x="149" y="137"/>
                    </a:lnTo>
                    <a:lnTo>
                      <a:pt x="144" y="145"/>
                    </a:lnTo>
                    <a:lnTo>
                      <a:pt x="142" y="150"/>
                    </a:lnTo>
                    <a:lnTo>
                      <a:pt x="141" y="156"/>
                    </a:lnTo>
                    <a:lnTo>
                      <a:pt x="140" y="161"/>
                    </a:lnTo>
                    <a:lnTo>
                      <a:pt x="140" y="166"/>
                    </a:lnTo>
                    <a:lnTo>
                      <a:pt x="86" y="147"/>
                    </a:lnTo>
                  </a:path>
                </a:pathLst>
              </a:custGeom>
              <a:grpFill/>
              <a:ln w="9525" cap="flat" cmpd="sng">
                <a:solidFill>
                  <a:srgbClr val="FFFFFF"/>
                </a:solidFill>
                <a:prstDash val="solid"/>
                <a:round/>
                <a:headEnd type="none" w="med" len="med"/>
                <a:tailEnd type="none" w="med" len="med"/>
              </a:ln>
              <a:effectLst/>
            </p:spPr>
            <p:txBody>
              <a:bodyPr/>
              <a:lstStyle/>
              <a:p>
                <a:endParaRPr lang="en-GB" sz="1637"/>
              </a:p>
            </p:txBody>
          </p:sp>
          <p:sp>
            <p:nvSpPr>
              <p:cNvPr id="140" name="Freeform 447"/>
              <p:cNvSpPr>
                <a:spLocks/>
              </p:cNvSpPr>
              <p:nvPr>
                <p:custDataLst>
                  <p:tags r:id="rId123"/>
                </p:custDataLst>
              </p:nvPr>
            </p:nvSpPr>
            <p:spPr bwMode="auto">
              <a:xfrm>
                <a:off x="3763561" y="3446427"/>
                <a:ext cx="194094" cy="186260"/>
              </a:xfrm>
              <a:custGeom>
                <a:avLst/>
                <a:gdLst>
                  <a:gd name="T0" fmla="*/ 2634 w 405"/>
                  <a:gd name="T1" fmla="*/ 136707 h 314"/>
                  <a:gd name="T2" fmla="*/ 5707 w 405"/>
                  <a:gd name="T3" fmla="*/ 124614 h 314"/>
                  <a:gd name="T4" fmla="*/ 7463 w 405"/>
                  <a:gd name="T5" fmla="*/ 106211 h 314"/>
                  <a:gd name="T6" fmla="*/ 10097 w 405"/>
                  <a:gd name="T7" fmla="*/ 90963 h 314"/>
                  <a:gd name="T8" fmla="*/ 14048 w 405"/>
                  <a:gd name="T9" fmla="*/ 85179 h 314"/>
                  <a:gd name="T10" fmla="*/ 21073 w 405"/>
                  <a:gd name="T11" fmla="*/ 78869 h 314"/>
                  <a:gd name="T12" fmla="*/ 31609 w 405"/>
                  <a:gd name="T13" fmla="*/ 74137 h 314"/>
                  <a:gd name="T14" fmla="*/ 40828 w 405"/>
                  <a:gd name="T15" fmla="*/ 70457 h 314"/>
                  <a:gd name="T16" fmla="*/ 45657 w 405"/>
                  <a:gd name="T17" fmla="*/ 65725 h 314"/>
                  <a:gd name="T18" fmla="*/ 49608 w 405"/>
                  <a:gd name="T19" fmla="*/ 59941 h 314"/>
                  <a:gd name="T20" fmla="*/ 53999 w 405"/>
                  <a:gd name="T21" fmla="*/ 48899 h 314"/>
                  <a:gd name="T22" fmla="*/ 59706 w 405"/>
                  <a:gd name="T23" fmla="*/ 36280 h 314"/>
                  <a:gd name="T24" fmla="*/ 64535 w 405"/>
                  <a:gd name="T25" fmla="*/ 28919 h 314"/>
                  <a:gd name="T26" fmla="*/ 68047 w 405"/>
                  <a:gd name="T27" fmla="*/ 26816 h 314"/>
                  <a:gd name="T28" fmla="*/ 74632 w 405"/>
                  <a:gd name="T29" fmla="*/ 26816 h 314"/>
                  <a:gd name="T30" fmla="*/ 82973 w 405"/>
                  <a:gd name="T31" fmla="*/ 25238 h 314"/>
                  <a:gd name="T32" fmla="*/ 93510 w 405"/>
                  <a:gd name="T33" fmla="*/ 18403 h 314"/>
                  <a:gd name="T34" fmla="*/ 104046 w 405"/>
                  <a:gd name="T35" fmla="*/ 10516 h 314"/>
                  <a:gd name="T36" fmla="*/ 112826 w 405"/>
                  <a:gd name="T37" fmla="*/ 5784 h 314"/>
                  <a:gd name="T38" fmla="*/ 123801 w 405"/>
                  <a:gd name="T39" fmla="*/ 2103 h 314"/>
                  <a:gd name="T40" fmla="*/ 137850 w 405"/>
                  <a:gd name="T41" fmla="*/ 0 h 314"/>
                  <a:gd name="T42" fmla="*/ 145752 w 405"/>
                  <a:gd name="T43" fmla="*/ 7361 h 314"/>
                  <a:gd name="T44" fmla="*/ 147947 w 405"/>
                  <a:gd name="T45" fmla="*/ 17877 h 314"/>
                  <a:gd name="T46" fmla="*/ 150581 w 405"/>
                  <a:gd name="T47" fmla="*/ 26290 h 314"/>
                  <a:gd name="T48" fmla="*/ 154532 w 405"/>
                  <a:gd name="T49" fmla="*/ 32599 h 314"/>
                  <a:gd name="T50" fmla="*/ 161557 w 405"/>
                  <a:gd name="T51" fmla="*/ 38909 h 314"/>
                  <a:gd name="T52" fmla="*/ 167703 w 405"/>
                  <a:gd name="T53" fmla="*/ 44693 h 314"/>
                  <a:gd name="T54" fmla="*/ 171215 w 405"/>
                  <a:gd name="T55" fmla="*/ 48899 h 314"/>
                  <a:gd name="T56" fmla="*/ 173849 w 405"/>
                  <a:gd name="T57" fmla="*/ 60467 h 314"/>
                  <a:gd name="T58" fmla="*/ 174727 w 405"/>
                  <a:gd name="T59" fmla="*/ 75189 h 314"/>
                  <a:gd name="T60" fmla="*/ 174727 w 405"/>
                  <a:gd name="T61" fmla="*/ 89385 h 314"/>
                  <a:gd name="T62" fmla="*/ 176483 w 405"/>
                  <a:gd name="T63" fmla="*/ 103056 h 314"/>
                  <a:gd name="T64" fmla="*/ 174727 w 405"/>
                  <a:gd name="T65" fmla="*/ 114098 h 314"/>
                  <a:gd name="T66" fmla="*/ 167703 w 405"/>
                  <a:gd name="T67" fmla="*/ 118830 h 314"/>
                  <a:gd name="T68" fmla="*/ 160240 w 405"/>
                  <a:gd name="T69" fmla="*/ 126717 h 314"/>
                  <a:gd name="T70" fmla="*/ 159361 w 405"/>
                  <a:gd name="T71" fmla="*/ 124614 h 314"/>
                  <a:gd name="T72" fmla="*/ 157166 w 405"/>
                  <a:gd name="T73" fmla="*/ 122511 h 314"/>
                  <a:gd name="T74" fmla="*/ 150142 w 405"/>
                  <a:gd name="T75" fmla="*/ 119356 h 314"/>
                  <a:gd name="T76" fmla="*/ 140045 w 405"/>
                  <a:gd name="T77" fmla="*/ 117253 h 314"/>
                  <a:gd name="T78" fmla="*/ 66730 w 405"/>
                  <a:gd name="T79" fmla="*/ 126717 h 314"/>
                  <a:gd name="T80" fmla="*/ 65852 w 405"/>
                  <a:gd name="T81" fmla="*/ 135130 h 314"/>
                  <a:gd name="T82" fmla="*/ 65852 w 405"/>
                  <a:gd name="T83" fmla="*/ 144068 h 314"/>
                  <a:gd name="T84" fmla="*/ 66730 w 405"/>
                  <a:gd name="T85" fmla="*/ 165100 h 314"/>
                  <a:gd name="T86" fmla="*/ 61023 w 405"/>
                  <a:gd name="T87" fmla="*/ 164048 h 314"/>
                  <a:gd name="T88" fmla="*/ 55316 w 405"/>
                  <a:gd name="T89" fmla="*/ 160368 h 314"/>
                  <a:gd name="T90" fmla="*/ 43901 w 405"/>
                  <a:gd name="T91" fmla="*/ 152481 h 314"/>
                  <a:gd name="T92" fmla="*/ 39072 w 405"/>
                  <a:gd name="T93" fmla="*/ 161419 h 314"/>
                  <a:gd name="T94" fmla="*/ 35999 w 405"/>
                  <a:gd name="T95" fmla="*/ 164048 h 314"/>
                  <a:gd name="T96" fmla="*/ 32048 w 405"/>
                  <a:gd name="T97" fmla="*/ 165100 h 314"/>
                  <a:gd name="T98" fmla="*/ 26341 w 405"/>
                  <a:gd name="T99" fmla="*/ 163523 h 314"/>
                  <a:gd name="T100" fmla="*/ 20634 w 405"/>
                  <a:gd name="T101" fmla="*/ 158790 h 314"/>
                  <a:gd name="T102" fmla="*/ 12292 w 405"/>
                  <a:gd name="T103" fmla="*/ 153007 h 314"/>
                  <a:gd name="T104" fmla="*/ 0 w 405"/>
                  <a:gd name="T105" fmla="*/ 149326 h 31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405" h="314">
                    <a:moveTo>
                      <a:pt x="0" y="272"/>
                    </a:moveTo>
                    <a:lnTo>
                      <a:pt x="6" y="260"/>
                    </a:lnTo>
                    <a:lnTo>
                      <a:pt x="11" y="248"/>
                    </a:lnTo>
                    <a:lnTo>
                      <a:pt x="13" y="237"/>
                    </a:lnTo>
                    <a:lnTo>
                      <a:pt x="15" y="226"/>
                    </a:lnTo>
                    <a:lnTo>
                      <a:pt x="17" y="202"/>
                    </a:lnTo>
                    <a:lnTo>
                      <a:pt x="20" y="179"/>
                    </a:lnTo>
                    <a:lnTo>
                      <a:pt x="23" y="173"/>
                    </a:lnTo>
                    <a:lnTo>
                      <a:pt x="26" y="167"/>
                    </a:lnTo>
                    <a:lnTo>
                      <a:pt x="32" y="162"/>
                    </a:lnTo>
                    <a:lnTo>
                      <a:pt x="36" y="158"/>
                    </a:lnTo>
                    <a:lnTo>
                      <a:pt x="48" y="150"/>
                    </a:lnTo>
                    <a:lnTo>
                      <a:pt x="60" y="145"/>
                    </a:lnTo>
                    <a:lnTo>
                      <a:pt x="72" y="141"/>
                    </a:lnTo>
                    <a:lnTo>
                      <a:pt x="83" y="137"/>
                    </a:lnTo>
                    <a:lnTo>
                      <a:pt x="93" y="134"/>
                    </a:lnTo>
                    <a:lnTo>
                      <a:pt x="100" y="130"/>
                    </a:lnTo>
                    <a:lnTo>
                      <a:pt x="104" y="125"/>
                    </a:lnTo>
                    <a:lnTo>
                      <a:pt x="109" y="120"/>
                    </a:lnTo>
                    <a:lnTo>
                      <a:pt x="113" y="114"/>
                    </a:lnTo>
                    <a:lnTo>
                      <a:pt x="116" y="107"/>
                    </a:lnTo>
                    <a:lnTo>
                      <a:pt x="123" y="93"/>
                    </a:lnTo>
                    <a:lnTo>
                      <a:pt x="129" y="81"/>
                    </a:lnTo>
                    <a:lnTo>
                      <a:pt x="136" y="69"/>
                    </a:lnTo>
                    <a:lnTo>
                      <a:pt x="143" y="59"/>
                    </a:lnTo>
                    <a:lnTo>
                      <a:pt x="147" y="55"/>
                    </a:lnTo>
                    <a:lnTo>
                      <a:pt x="150" y="53"/>
                    </a:lnTo>
                    <a:lnTo>
                      <a:pt x="155" y="51"/>
                    </a:lnTo>
                    <a:lnTo>
                      <a:pt x="159" y="50"/>
                    </a:lnTo>
                    <a:lnTo>
                      <a:pt x="170" y="51"/>
                    </a:lnTo>
                    <a:lnTo>
                      <a:pt x="180" y="50"/>
                    </a:lnTo>
                    <a:lnTo>
                      <a:pt x="189" y="48"/>
                    </a:lnTo>
                    <a:lnTo>
                      <a:pt x="196" y="44"/>
                    </a:lnTo>
                    <a:lnTo>
                      <a:pt x="213" y="35"/>
                    </a:lnTo>
                    <a:lnTo>
                      <a:pt x="228" y="25"/>
                    </a:lnTo>
                    <a:lnTo>
                      <a:pt x="237" y="20"/>
                    </a:lnTo>
                    <a:lnTo>
                      <a:pt x="247" y="15"/>
                    </a:lnTo>
                    <a:lnTo>
                      <a:pt x="257" y="11"/>
                    </a:lnTo>
                    <a:lnTo>
                      <a:pt x="269" y="7"/>
                    </a:lnTo>
                    <a:lnTo>
                      <a:pt x="282" y="4"/>
                    </a:lnTo>
                    <a:lnTo>
                      <a:pt x="296" y="1"/>
                    </a:lnTo>
                    <a:lnTo>
                      <a:pt x="314" y="0"/>
                    </a:lnTo>
                    <a:lnTo>
                      <a:pt x="332" y="1"/>
                    </a:lnTo>
                    <a:lnTo>
                      <a:pt x="332" y="14"/>
                    </a:lnTo>
                    <a:lnTo>
                      <a:pt x="335" y="25"/>
                    </a:lnTo>
                    <a:lnTo>
                      <a:pt x="337" y="34"/>
                    </a:lnTo>
                    <a:lnTo>
                      <a:pt x="340" y="43"/>
                    </a:lnTo>
                    <a:lnTo>
                      <a:pt x="343" y="50"/>
                    </a:lnTo>
                    <a:lnTo>
                      <a:pt x="348" y="56"/>
                    </a:lnTo>
                    <a:lnTo>
                      <a:pt x="352" y="62"/>
                    </a:lnTo>
                    <a:lnTo>
                      <a:pt x="357" y="66"/>
                    </a:lnTo>
                    <a:lnTo>
                      <a:pt x="368" y="74"/>
                    </a:lnTo>
                    <a:lnTo>
                      <a:pt x="378" y="81"/>
                    </a:lnTo>
                    <a:lnTo>
                      <a:pt x="382" y="85"/>
                    </a:lnTo>
                    <a:lnTo>
                      <a:pt x="385" y="89"/>
                    </a:lnTo>
                    <a:lnTo>
                      <a:pt x="390" y="93"/>
                    </a:lnTo>
                    <a:lnTo>
                      <a:pt x="392" y="100"/>
                    </a:lnTo>
                    <a:lnTo>
                      <a:pt x="396" y="115"/>
                    </a:lnTo>
                    <a:lnTo>
                      <a:pt x="398" y="129"/>
                    </a:lnTo>
                    <a:lnTo>
                      <a:pt x="398" y="143"/>
                    </a:lnTo>
                    <a:lnTo>
                      <a:pt x="398" y="157"/>
                    </a:lnTo>
                    <a:lnTo>
                      <a:pt x="398" y="170"/>
                    </a:lnTo>
                    <a:lnTo>
                      <a:pt x="399" y="183"/>
                    </a:lnTo>
                    <a:lnTo>
                      <a:pt x="402" y="196"/>
                    </a:lnTo>
                    <a:lnTo>
                      <a:pt x="405" y="211"/>
                    </a:lnTo>
                    <a:lnTo>
                      <a:pt x="398" y="217"/>
                    </a:lnTo>
                    <a:lnTo>
                      <a:pt x="390" y="221"/>
                    </a:lnTo>
                    <a:lnTo>
                      <a:pt x="382" y="226"/>
                    </a:lnTo>
                    <a:lnTo>
                      <a:pt x="374" y="233"/>
                    </a:lnTo>
                    <a:lnTo>
                      <a:pt x="365" y="241"/>
                    </a:lnTo>
                    <a:lnTo>
                      <a:pt x="365" y="239"/>
                    </a:lnTo>
                    <a:lnTo>
                      <a:pt x="363" y="237"/>
                    </a:lnTo>
                    <a:lnTo>
                      <a:pt x="361" y="235"/>
                    </a:lnTo>
                    <a:lnTo>
                      <a:pt x="358" y="233"/>
                    </a:lnTo>
                    <a:lnTo>
                      <a:pt x="351" y="230"/>
                    </a:lnTo>
                    <a:lnTo>
                      <a:pt x="342" y="227"/>
                    </a:lnTo>
                    <a:lnTo>
                      <a:pt x="326" y="224"/>
                    </a:lnTo>
                    <a:lnTo>
                      <a:pt x="319" y="223"/>
                    </a:lnTo>
                    <a:lnTo>
                      <a:pt x="300" y="241"/>
                    </a:lnTo>
                    <a:lnTo>
                      <a:pt x="152" y="241"/>
                    </a:lnTo>
                    <a:lnTo>
                      <a:pt x="151" y="249"/>
                    </a:lnTo>
                    <a:lnTo>
                      <a:pt x="150" y="257"/>
                    </a:lnTo>
                    <a:lnTo>
                      <a:pt x="150" y="266"/>
                    </a:lnTo>
                    <a:lnTo>
                      <a:pt x="150" y="274"/>
                    </a:lnTo>
                    <a:lnTo>
                      <a:pt x="152" y="291"/>
                    </a:lnTo>
                    <a:lnTo>
                      <a:pt x="152" y="314"/>
                    </a:lnTo>
                    <a:lnTo>
                      <a:pt x="146" y="314"/>
                    </a:lnTo>
                    <a:lnTo>
                      <a:pt x="139" y="312"/>
                    </a:lnTo>
                    <a:lnTo>
                      <a:pt x="133" y="308"/>
                    </a:lnTo>
                    <a:lnTo>
                      <a:pt x="126" y="305"/>
                    </a:lnTo>
                    <a:lnTo>
                      <a:pt x="114" y="297"/>
                    </a:lnTo>
                    <a:lnTo>
                      <a:pt x="100" y="290"/>
                    </a:lnTo>
                    <a:lnTo>
                      <a:pt x="94" y="299"/>
                    </a:lnTo>
                    <a:lnTo>
                      <a:pt x="89" y="307"/>
                    </a:lnTo>
                    <a:lnTo>
                      <a:pt x="85" y="310"/>
                    </a:lnTo>
                    <a:lnTo>
                      <a:pt x="82" y="312"/>
                    </a:lnTo>
                    <a:lnTo>
                      <a:pt x="78" y="314"/>
                    </a:lnTo>
                    <a:lnTo>
                      <a:pt x="73" y="314"/>
                    </a:lnTo>
                    <a:lnTo>
                      <a:pt x="66" y="313"/>
                    </a:lnTo>
                    <a:lnTo>
                      <a:pt x="60" y="311"/>
                    </a:lnTo>
                    <a:lnTo>
                      <a:pt x="54" y="306"/>
                    </a:lnTo>
                    <a:lnTo>
                      <a:pt x="47" y="302"/>
                    </a:lnTo>
                    <a:lnTo>
                      <a:pt x="38" y="296"/>
                    </a:lnTo>
                    <a:lnTo>
                      <a:pt x="28" y="291"/>
                    </a:lnTo>
                    <a:lnTo>
                      <a:pt x="16" y="287"/>
                    </a:lnTo>
                    <a:lnTo>
                      <a:pt x="0" y="284"/>
                    </a:lnTo>
                    <a:lnTo>
                      <a:pt x="0" y="272"/>
                    </a:lnTo>
                  </a:path>
                </a:pathLst>
              </a:custGeom>
              <a:grpFill/>
              <a:ln w="9525" cmpd="sng">
                <a:solidFill>
                  <a:srgbClr val="FFFFFF"/>
                </a:solidFill>
                <a:prstDash val="solid"/>
                <a:round/>
                <a:headEnd/>
                <a:tailEnd/>
              </a:ln>
            </p:spPr>
            <p:txBody>
              <a:bodyPr/>
              <a:lstStyle/>
              <a:p>
                <a:endParaRPr lang="en-GB" sz="1637"/>
              </a:p>
            </p:txBody>
          </p:sp>
          <p:sp>
            <p:nvSpPr>
              <p:cNvPr id="141" name="Freeform 448"/>
              <p:cNvSpPr>
                <a:spLocks/>
              </p:cNvSpPr>
              <p:nvPr>
                <p:custDataLst>
                  <p:tags r:id="rId124"/>
                </p:custDataLst>
              </p:nvPr>
            </p:nvSpPr>
            <p:spPr bwMode="auto">
              <a:xfrm>
                <a:off x="4143082" y="3523439"/>
                <a:ext cx="211423" cy="394012"/>
              </a:xfrm>
              <a:custGeom>
                <a:avLst/>
                <a:gdLst>
                  <a:gd name="T0" fmla="*/ 143225 w 453"/>
                  <a:gd name="T1" fmla="*/ 19021 h 661"/>
                  <a:gd name="T2" fmla="*/ 137240 w 453"/>
                  <a:gd name="T3" fmla="*/ 51780 h 661"/>
                  <a:gd name="T4" fmla="*/ 118428 w 453"/>
                  <a:gd name="T5" fmla="*/ 85595 h 661"/>
                  <a:gd name="T6" fmla="*/ 108167 w 453"/>
                  <a:gd name="T7" fmla="*/ 115712 h 661"/>
                  <a:gd name="T8" fmla="*/ 99189 w 453"/>
                  <a:gd name="T9" fmla="*/ 143716 h 661"/>
                  <a:gd name="T10" fmla="*/ 89356 w 453"/>
                  <a:gd name="T11" fmla="*/ 173832 h 661"/>
                  <a:gd name="T12" fmla="*/ 83798 w 453"/>
                  <a:gd name="T13" fmla="*/ 191269 h 661"/>
                  <a:gd name="T14" fmla="*/ 76957 w 453"/>
                  <a:gd name="T15" fmla="*/ 200779 h 661"/>
                  <a:gd name="T16" fmla="*/ 71399 w 453"/>
                  <a:gd name="T17" fmla="*/ 206063 h 661"/>
                  <a:gd name="T18" fmla="*/ 60283 w 453"/>
                  <a:gd name="T19" fmla="*/ 201836 h 661"/>
                  <a:gd name="T20" fmla="*/ 51732 w 453"/>
                  <a:gd name="T21" fmla="*/ 195495 h 661"/>
                  <a:gd name="T22" fmla="*/ 40189 w 453"/>
                  <a:gd name="T23" fmla="*/ 193910 h 661"/>
                  <a:gd name="T24" fmla="*/ 27362 w 453"/>
                  <a:gd name="T25" fmla="*/ 200779 h 661"/>
                  <a:gd name="T26" fmla="*/ 18812 w 453"/>
                  <a:gd name="T27" fmla="*/ 212932 h 661"/>
                  <a:gd name="T28" fmla="*/ 8978 w 453"/>
                  <a:gd name="T29" fmla="*/ 239878 h 661"/>
                  <a:gd name="T30" fmla="*/ 2993 w 453"/>
                  <a:gd name="T31" fmla="*/ 254672 h 661"/>
                  <a:gd name="T32" fmla="*/ 428 w 453"/>
                  <a:gd name="T33" fmla="*/ 264183 h 661"/>
                  <a:gd name="T34" fmla="*/ 3420 w 453"/>
                  <a:gd name="T35" fmla="*/ 273165 h 661"/>
                  <a:gd name="T36" fmla="*/ 8551 w 453"/>
                  <a:gd name="T37" fmla="*/ 277921 h 661"/>
                  <a:gd name="T38" fmla="*/ 23515 w 453"/>
                  <a:gd name="T39" fmla="*/ 277921 h 661"/>
                  <a:gd name="T40" fmla="*/ 30355 w 453"/>
                  <a:gd name="T41" fmla="*/ 289545 h 661"/>
                  <a:gd name="T42" fmla="*/ 31210 w 453"/>
                  <a:gd name="T43" fmla="*/ 311736 h 661"/>
                  <a:gd name="T44" fmla="*/ 28645 w 453"/>
                  <a:gd name="T45" fmla="*/ 332871 h 661"/>
                  <a:gd name="T46" fmla="*/ 185124 w 453"/>
                  <a:gd name="T47" fmla="*/ 349250 h 661"/>
                  <a:gd name="T48" fmla="*/ 188972 w 453"/>
                  <a:gd name="T49" fmla="*/ 307509 h 661"/>
                  <a:gd name="T50" fmla="*/ 177429 w 453"/>
                  <a:gd name="T51" fmla="*/ 300112 h 661"/>
                  <a:gd name="T52" fmla="*/ 159472 w 453"/>
                  <a:gd name="T53" fmla="*/ 294300 h 661"/>
                  <a:gd name="T54" fmla="*/ 150921 w 453"/>
                  <a:gd name="T55" fmla="*/ 290073 h 661"/>
                  <a:gd name="T56" fmla="*/ 145363 w 453"/>
                  <a:gd name="T57" fmla="*/ 283733 h 661"/>
                  <a:gd name="T58" fmla="*/ 142370 w 453"/>
                  <a:gd name="T59" fmla="*/ 272109 h 661"/>
                  <a:gd name="T60" fmla="*/ 142370 w 453"/>
                  <a:gd name="T61" fmla="*/ 245162 h 661"/>
                  <a:gd name="T62" fmla="*/ 144081 w 453"/>
                  <a:gd name="T63" fmla="*/ 226141 h 661"/>
                  <a:gd name="T64" fmla="*/ 150066 w 453"/>
                  <a:gd name="T65" fmla="*/ 209761 h 661"/>
                  <a:gd name="T66" fmla="*/ 159472 w 453"/>
                  <a:gd name="T67" fmla="*/ 192325 h 661"/>
                  <a:gd name="T68" fmla="*/ 167595 w 453"/>
                  <a:gd name="T69" fmla="*/ 174361 h 661"/>
                  <a:gd name="T70" fmla="*/ 170588 w 453"/>
                  <a:gd name="T71" fmla="*/ 156925 h 661"/>
                  <a:gd name="T72" fmla="*/ 166313 w 453"/>
                  <a:gd name="T73" fmla="*/ 141074 h 661"/>
                  <a:gd name="T74" fmla="*/ 159472 w 453"/>
                  <a:gd name="T75" fmla="*/ 129978 h 661"/>
                  <a:gd name="T76" fmla="*/ 146646 w 453"/>
                  <a:gd name="T77" fmla="*/ 114655 h 661"/>
                  <a:gd name="T78" fmla="*/ 142370 w 453"/>
                  <a:gd name="T79" fmla="*/ 101446 h 661"/>
                  <a:gd name="T80" fmla="*/ 143225 w 453"/>
                  <a:gd name="T81" fmla="*/ 91407 h 661"/>
                  <a:gd name="T82" fmla="*/ 150921 w 453"/>
                  <a:gd name="T83" fmla="*/ 86652 h 661"/>
                  <a:gd name="T84" fmla="*/ 173581 w 453"/>
                  <a:gd name="T85" fmla="*/ 85595 h 661"/>
                  <a:gd name="T86" fmla="*/ 168878 w 453"/>
                  <a:gd name="T87" fmla="*/ 79783 h 661"/>
                  <a:gd name="T88" fmla="*/ 162037 w 453"/>
                  <a:gd name="T89" fmla="*/ 61819 h 661"/>
                  <a:gd name="T90" fmla="*/ 158617 w 453"/>
                  <a:gd name="T91" fmla="*/ 38571 h 661"/>
                  <a:gd name="T92" fmla="*/ 159472 w 453"/>
                  <a:gd name="T93" fmla="*/ 23776 h 661"/>
                  <a:gd name="T94" fmla="*/ 156907 w 453"/>
                  <a:gd name="T95" fmla="*/ 5812 h 661"/>
                  <a:gd name="T96" fmla="*/ 148356 w 453"/>
                  <a:gd name="T97" fmla="*/ 0 h 66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453" h="661">
                    <a:moveTo>
                      <a:pt x="330" y="9"/>
                    </a:moveTo>
                    <a:lnTo>
                      <a:pt x="332" y="23"/>
                    </a:lnTo>
                    <a:lnTo>
                      <a:pt x="335" y="36"/>
                    </a:lnTo>
                    <a:lnTo>
                      <a:pt x="340" y="50"/>
                    </a:lnTo>
                    <a:lnTo>
                      <a:pt x="346" y="63"/>
                    </a:lnTo>
                    <a:lnTo>
                      <a:pt x="321" y="98"/>
                    </a:lnTo>
                    <a:lnTo>
                      <a:pt x="298" y="129"/>
                    </a:lnTo>
                    <a:lnTo>
                      <a:pt x="287" y="145"/>
                    </a:lnTo>
                    <a:lnTo>
                      <a:pt x="277" y="162"/>
                    </a:lnTo>
                    <a:lnTo>
                      <a:pt x="268" y="179"/>
                    </a:lnTo>
                    <a:lnTo>
                      <a:pt x="259" y="200"/>
                    </a:lnTo>
                    <a:lnTo>
                      <a:pt x="253" y="219"/>
                    </a:lnTo>
                    <a:lnTo>
                      <a:pt x="245" y="237"/>
                    </a:lnTo>
                    <a:lnTo>
                      <a:pt x="239" y="255"/>
                    </a:lnTo>
                    <a:lnTo>
                      <a:pt x="232" y="272"/>
                    </a:lnTo>
                    <a:lnTo>
                      <a:pt x="225" y="289"/>
                    </a:lnTo>
                    <a:lnTo>
                      <a:pt x="218" y="309"/>
                    </a:lnTo>
                    <a:lnTo>
                      <a:pt x="209" y="329"/>
                    </a:lnTo>
                    <a:lnTo>
                      <a:pt x="200" y="353"/>
                    </a:lnTo>
                    <a:lnTo>
                      <a:pt x="199" y="356"/>
                    </a:lnTo>
                    <a:lnTo>
                      <a:pt x="196" y="362"/>
                    </a:lnTo>
                    <a:lnTo>
                      <a:pt x="191" y="368"/>
                    </a:lnTo>
                    <a:lnTo>
                      <a:pt x="186" y="374"/>
                    </a:lnTo>
                    <a:lnTo>
                      <a:pt x="180" y="380"/>
                    </a:lnTo>
                    <a:lnTo>
                      <a:pt x="175" y="385"/>
                    </a:lnTo>
                    <a:lnTo>
                      <a:pt x="171" y="389"/>
                    </a:lnTo>
                    <a:lnTo>
                      <a:pt x="167" y="390"/>
                    </a:lnTo>
                    <a:lnTo>
                      <a:pt x="157" y="389"/>
                    </a:lnTo>
                    <a:lnTo>
                      <a:pt x="149" y="386"/>
                    </a:lnTo>
                    <a:lnTo>
                      <a:pt x="141" y="382"/>
                    </a:lnTo>
                    <a:lnTo>
                      <a:pt x="134" y="378"/>
                    </a:lnTo>
                    <a:lnTo>
                      <a:pt x="128" y="374"/>
                    </a:lnTo>
                    <a:lnTo>
                      <a:pt x="121" y="370"/>
                    </a:lnTo>
                    <a:lnTo>
                      <a:pt x="115" y="367"/>
                    </a:lnTo>
                    <a:lnTo>
                      <a:pt x="107" y="366"/>
                    </a:lnTo>
                    <a:lnTo>
                      <a:pt x="94" y="367"/>
                    </a:lnTo>
                    <a:lnTo>
                      <a:pt x="83" y="370"/>
                    </a:lnTo>
                    <a:lnTo>
                      <a:pt x="73" y="374"/>
                    </a:lnTo>
                    <a:lnTo>
                      <a:pt x="64" y="380"/>
                    </a:lnTo>
                    <a:lnTo>
                      <a:pt x="56" y="387"/>
                    </a:lnTo>
                    <a:lnTo>
                      <a:pt x="50" y="395"/>
                    </a:lnTo>
                    <a:lnTo>
                      <a:pt x="44" y="403"/>
                    </a:lnTo>
                    <a:lnTo>
                      <a:pt x="39" y="413"/>
                    </a:lnTo>
                    <a:lnTo>
                      <a:pt x="30" y="434"/>
                    </a:lnTo>
                    <a:lnTo>
                      <a:pt x="21" y="454"/>
                    </a:lnTo>
                    <a:lnTo>
                      <a:pt x="17" y="463"/>
                    </a:lnTo>
                    <a:lnTo>
                      <a:pt x="11" y="473"/>
                    </a:lnTo>
                    <a:lnTo>
                      <a:pt x="7" y="482"/>
                    </a:lnTo>
                    <a:lnTo>
                      <a:pt x="0" y="489"/>
                    </a:lnTo>
                    <a:lnTo>
                      <a:pt x="1" y="494"/>
                    </a:lnTo>
                    <a:lnTo>
                      <a:pt x="1" y="500"/>
                    </a:lnTo>
                    <a:lnTo>
                      <a:pt x="4" y="506"/>
                    </a:lnTo>
                    <a:lnTo>
                      <a:pt x="6" y="512"/>
                    </a:lnTo>
                    <a:lnTo>
                      <a:pt x="8" y="517"/>
                    </a:lnTo>
                    <a:lnTo>
                      <a:pt x="11" y="521"/>
                    </a:lnTo>
                    <a:lnTo>
                      <a:pt x="16" y="524"/>
                    </a:lnTo>
                    <a:lnTo>
                      <a:pt x="20" y="526"/>
                    </a:lnTo>
                    <a:lnTo>
                      <a:pt x="28" y="526"/>
                    </a:lnTo>
                    <a:lnTo>
                      <a:pt x="40" y="526"/>
                    </a:lnTo>
                    <a:lnTo>
                      <a:pt x="55" y="526"/>
                    </a:lnTo>
                    <a:lnTo>
                      <a:pt x="74" y="526"/>
                    </a:lnTo>
                    <a:lnTo>
                      <a:pt x="72" y="537"/>
                    </a:lnTo>
                    <a:lnTo>
                      <a:pt x="71" y="548"/>
                    </a:lnTo>
                    <a:lnTo>
                      <a:pt x="71" y="558"/>
                    </a:lnTo>
                    <a:lnTo>
                      <a:pt x="72" y="569"/>
                    </a:lnTo>
                    <a:lnTo>
                      <a:pt x="73" y="590"/>
                    </a:lnTo>
                    <a:lnTo>
                      <a:pt x="74" y="612"/>
                    </a:lnTo>
                    <a:lnTo>
                      <a:pt x="71" y="621"/>
                    </a:lnTo>
                    <a:lnTo>
                      <a:pt x="67" y="630"/>
                    </a:lnTo>
                    <a:lnTo>
                      <a:pt x="167" y="630"/>
                    </a:lnTo>
                    <a:lnTo>
                      <a:pt x="273" y="630"/>
                    </a:lnTo>
                    <a:lnTo>
                      <a:pt x="433" y="661"/>
                    </a:lnTo>
                    <a:lnTo>
                      <a:pt x="453" y="594"/>
                    </a:lnTo>
                    <a:lnTo>
                      <a:pt x="447" y="588"/>
                    </a:lnTo>
                    <a:lnTo>
                      <a:pt x="442" y="582"/>
                    </a:lnTo>
                    <a:lnTo>
                      <a:pt x="435" y="577"/>
                    </a:lnTo>
                    <a:lnTo>
                      <a:pt x="430" y="573"/>
                    </a:lnTo>
                    <a:lnTo>
                      <a:pt x="415" y="568"/>
                    </a:lnTo>
                    <a:lnTo>
                      <a:pt x="402" y="564"/>
                    </a:lnTo>
                    <a:lnTo>
                      <a:pt x="387" y="561"/>
                    </a:lnTo>
                    <a:lnTo>
                      <a:pt x="373" y="557"/>
                    </a:lnTo>
                    <a:lnTo>
                      <a:pt x="366" y="555"/>
                    </a:lnTo>
                    <a:lnTo>
                      <a:pt x="359" y="552"/>
                    </a:lnTo>
                    <a:lnTo>
                      <a:pt x="353" y="549"/>
                    </a:lnTo>
                    <a:lnTo>
                      <a:pt x="346" y="544"/>
                    </a:lnTo>
                    <a:lnTo>
                      <a:pt x="343" y="541"/>
                    </a:lnTo>
                    <a:lnTo>
                      <a:pt x="340" y="537"/>
                    </a:lnTo>
                    <a:lnTo>
                      <a:pt x="337" y="532"/>
                    </a:lnTo>
                    <a:lnTo>
                      <a:pt x="335" y="527"/>
                    </a:lnTo>
                    <a:lnTo>
                      <a:pt x="333" y="515"/>
                    </a:lnTo>
                    <a:lnTo>
                      <a:pt x="332" y="504"/>
                    </a:lnTo>
                    <a:lnTo>
                      <a:pt x="332" y="482"/>
                    </a:lnTo>
                    <a:lnTo>
                      <a:pt x="333" y="464"/>
                    </a:lnTo>
                    <a:lnTo>
                      <a:pt x="333" y="451"/>
                    </a:lnTo>
                    <a:lnTo>
                      <a:pt x="335" y="439"/>
                    </a:lnTo>
                    <a:lnTo>
                      <a:pt x="337" y="428"/>
                    </a:lnTo>
                    <a:lnTo>
                      <a:pt x="342" y="417"/>
                    </a:lnTo>
                    <a:lnTo>
                      <a:pt x="345" y="406"/>
                    </a:lnTo>
                    <a:lnTo>
                      <a:pt x="351" y="397"/>
                    </a:lnTo>
                    <a:lnTo>
                      <a:pt x="355" y="389"/>
                    </a:lnTo>
                    <a:lnTo>
                      <a:pt x="362" y="380"/>
                    </a:lnTo>
                    <a:lnTo>
                      <a:pt x="373" y="364"/>
                    </a:lnTo>
                    <a:lnTo>
                      <a:pt x="384" y="347"/>
                    </a:lnTo>
                    <a:lnTo>
                      <a:pt x="388" y="338"/>
                    </a:lnTo>
                    <a:lnTo>
                      <a:pt x="392" y="330"/>
                    </a:lnTo>
                    <a:lnTo>
                      <a:pt x="397" y="320"/>
                    </a:lnTo>
                    <a:lnTo>
                      <a:pt x="399" y="310"/>
                    </a:lnTo>
                    <a:lnTo>
                      <a:pt x="399" y="297"/>
                    </a:lnTo>
                    <a:lnTo>
                      <a:pt x="397" y="286"/>
                    </a:lnTo>
                    <a:lnTo>
                      <a:pt x="393" y="276"/>
                    </a:lnTo>
                    <a:lnTo>
                      <a:pt x="389" y="267"/>
                    </a:lnTo>
                    <a:lnTo>
                      <a:pt x="384" y="260"/>
                    </a:lnTo>
                    <a:lnTo>
                      <a:pt x="378" y="253"/>
                    </a:lnTo>
                    <a:lnTo>
                      <a:pt x="373" y="246"/>
                    </a:lnTo>
                    <a:lnTo>
                      <a:pt x="366" y="240"/>
                    </a:lnTo>
                    <a:lnTo>
                      <a:pt x="354" y="229"/>
                    </a:lnTo>
                    <a:lnTo>
                      <a:pt x="343" y="217"/>
                    </a:lnTo>
                    <a:lnTo>
                      <a:pt x="339" y="209"/>
                    </a:lnTo>
                    <a:lnTo>
                      <a:pt x="335" y="201"/>
                    </a:lnTo>
                    <a:lnTo>
                      <a:pt x="333" y="192"/>
                    </a:lnTo>
                    <a:lnTo>
                      <a:pt x="333" y="180"/>
                    </a:lnTo>
                    <a:lnTo>
                      <a:pt x="333" y="176"/>
                    </a:lnTo>
                    <a:lnTo>
                      <a:pt x="335" y="173"/>
                    </a:lnTo>
                    <a:lnTo>
                      <a:pt x="339" y="170"/>
                    </a:lnTo>
                    <a:lnTo>
                      <a:pt x="343" y="167"/>
                    </a:lnTo>
                    <a:lnTo>
                      <a:pt x="353" y="164"/>
                    </a:lnTo>
                    <a:lnTo>
                      <a:pt x="365" y="162"/>
                    </a:lnTo>
                    <a:lnTo>
                      <a:pt x="389" y="162"/>
                    </a:lnTo>
                    <a:lnTo>
                      <a:pt x="406" y="162"/>
                    </a:lnTo>
                    <a:lnTo>
                      <a:pt x="402" y="160"/>
                    </a:lnTo>
                    <a:lnTo>
                      <a:pt x="399" y="156"/>
                    </a:lnTo>
                    <a:lnTo>
                      <a:pt x="395" y="151"/>
                    </a:lnTo>
                    <a:lnTo>
                      <a:pt x="391" y="146"/>
                    </a:lnTo>
                    <a:lnTo>
                      <a:pt x="385" y="132"/>
                    </a:lnTo>
                    <a:lnTo>
                      <a:pt x="379" y="117"/>
                    </a:lnTo>
                    <a:lnTo>
                      <a:pt x="375" y="101"/>
                    </a:lnTo>
                    <a:lnTo>
                      <a:pt x="373" y="83"/>
                    </a:lnTo>
                    <a:lnTo>
                      <a:pt x="371" y="73"/>
                    </a:lnTo>
                    <a:lnTo>
                      <a:pt x="371" y="64"/>
                    </a:lnTo>
                    <a:lnTo>
                      <a:pt x="371" y="54"/>
                    </a:lnTo>
                    <a:lnTo>
                      <a:pt x="373" y="45"/>
                    </a:lnTo>
                    <a:lnTo>
                      <a:pt x="371" y="33"/>
                    </a:lnTo>
                    <a:lnTo>
                      <a:pt x="369" y="21"/>
                    </a:lnTo>
                    <a:lnTo>
                      <a:pt x="367" y="11"/>
                    </a:lnTo>
                    <a:lnTo>
                      <a:pt x="366" y="2"/>
                    </a:lnTo>
                    <a:lnTo>
                      <a:pt x="357" y="1"/>
                    </a:lnTo>
                    <a:lnTo>
                      <a:pt x="347" y="0"/>
                    </a:lnTo>
                    <a:lnTo>
                      <a:pt x="346" y="2"/>
                    </a:lnTo>
                    <a:lnTo>
                      <a:pt x="330" y="9"/>
                    </a:lnTo>
                  </a:path>
                </a:pathLst>
              </a:custGeom>
              <a:grpFill/>
              <a:ln w="9525" cmpd="sng">
                <a:solidFill>
                  <a:srgbClr val="FFFFFF"/>
                </a:solidFill>
                <a:prstDash val="solid"/>
                <a:round/>
                <a:headEnd/>
                <a:tailEnd/>
              </a:ln>
            </p:spPr>
            <p:txBody>
              <a:bodyPr/>
              <a:lstStyle/>
              <a:p>
                <a:endParaRPr lang="en-GB" sz="1637"/>
              </a:p>
            </p:txBody>
          </p:sp>
          <p:sp>
            <p:nvSpPr>
              <p:cNvPr id="142" name="Freeform 451"/>
              <p:cNvSpPr>
                <a:spLocks/>
              </p:cNvSpPr>
              <p:nvPr>
                <p:custDataLst>
                  <p:tags r:id="rId125"/>
                </p:custDataLst>
              </p:nvPr>
            </p:nvSpPr>
            <p:spPr bwMode="auto">
              <a:xfrm>
                <a:off x="4207203" y="3851185"/>
                <a:ext cx="204492" cy="309838"/>
              </a:xfrm>
              <a:custGeom>
                <a:avLst/>
                <a:gdLst>
                  <a:gd name="T0" fmla="*/ 187325 w 429"/>
                  <a:gd name="T1" fmla="*/ 11531 h 524"/>
                  <a:gd name="T2" fmla="*/ 186888 w 429"/>
                  <a:gd name="T3" fmla="*/ 22537 h 524"/>
                  <a:gd name="T4" fmla="*/ 185142 w 429"/>
                  <a:gd name="T5" fmla="*/ 28302 h 524"/>
                  <a:gd name="T6" fmla="*/ 181212 w 429"/>
                  <a:gd name="T7" fmla="*/ 35116 h 524"/>
                  <a:gd name="T8" fmla="*/ 180339 w 429"/>
                  <a:gd name="T9" fmla="*/ 42454 h 524"/>
                  <a:gd name="T10" fmla="*/ 180775 w 429"/>
                  <a:gd name="T11" fmla="*/ 83859 h 524"/>
                  <a:gd name="T12" fmla="*/ 178155 w 429"/>
                  <a:gd name="T13" fmla="*/ 108492 h 524"/>
                  <a:gd name="T14" fmla="*/ 172915 w 429"/>
                  <a:gd name="T15" fmla="*/ 126313 h 524"/>
                  <a:gd name="T16" fmla="*/ 162436 w 429"/>
                  <a:gd name="T17" fmla="*/ 145705 h 524"/>
                  <a:gd name="T18" fmla="*/ 147589 w 429"/>
                  <a:gd name="T19" fmla="*/ 161953 h 524"/>
                  <a:gd name="T20" fmla="*/ 139293 w 429"/>
                  <a:gd name="T21" fmla="*/ 174531 h 524"/>
                  <a:gd name="T22" fmla="*/ 136236 w 429"/>
                  <a:gd name="T23" fmla="*/ 215937 h 524"/>
                  <a:gd name="T24" fmla="*/ 132743 w 429"/>
                  <a:gd name="T25" fmla="*/ 230088 h 524"/>
                  <a:gd name="T26" fmla="*/ 126630 w 429"/>
                  <a:gd name="T27" fmla="*/ 234805 h 524"/>
                  <a:gd name="T28" fmla="*/ 117460 w 429"/>
                  <a:gd name="T29" fmla="*/ 238474 h 524"/>
                  <a:gd name="T30" fmla="*/ 110474 w 429"/>
                  <a:gd name="T31" fmla="*/ 247384 h 524"/>
                  <a:gd name="T32" fmla="*/ 102177 w 429"/>
                  <a:gd name="T33" fmla="*/ 262059 h 524"/>
                  <a:gd name="T34" fmla="*/ 97374 w 429"/>
                  <a:gd name="T35" fmla="*/ 264680 h 524"/>
                  <a:gd name="T36" fmla="*/ 87768 w 429"/>
                  <a:gd name="T37" fmla="*/ 264156 h 524"/>
                  <a:gd name="T38" fmla="*/ 82528 w 429"/>
                  <a:gd name="T39" fmla="*/ 261011 h 524"/>
                  <a:gd name="T40" fmla="*/ 63315 w 429"/>
                  <a:gd name="T41" fmla="*/ 262059 h 524"/>
                  <a:gd name="T42" fmla="*/ 53709 w 429"/>
                  <a:gd name="T43" fmla="*/ 262059 h 524"/>
                  <a:gd name="T44" fmla="*/ 49342 w 429"/>
                  <a:gd name="T45" fmla="*/ 258914 h 524"/>
                  <a:gd name="T46" fmla="*/ 41482 w 429"/>
                  <a:gd name="T47" fmla="*/ 258390 h 524"/>
                  <a:gd name="T48" fmla="*/ 34059 w 429"/>
                  <a:gd name="T49" fmla="*/ 263107 h 524"/>
                  <a:gd name="T50" fmla="*/ 27073 w 429"/>
                  <a:gd name="T51" fmla="*/ 272017 h 524"/>
                  <a:gd name="T52" fmla="*/ 11790 w 429"/>
                  <a:gd name="T53" fmla="*/ 257342 h 524"/>
                  <a:gd name="T54" fmla="*/ 2620 w 429"/>
                  <a:gd name="T55" fmla="*/ 234281 h 524"/>
                  <a:gd name="T56" fmla="*/ 10916 w 429"/>
                  <a:gd name="T57" fmla="*/ 225371 h 524"/>
                  <a:gd name="T58" fmla="*/ 18340 w 429"/>
                  <a:gd name="T59" fmla="*/ 222226 h 524"/>
                  <a:gd name="T60" fmla="*/ 26636 w 429"/>
                  <a:gd name="T61" fmla="*/ 224323 h 524"/>
                  <a:gd name="T62" fmla="*/ 25326 w 429"/>
                  <a:gd name="T63" fmla="*/ 219081 h 524"/>
                  <a:gd name="T64" fmla="*/ 19649 w 429"/>
                  <a:gd name="T65" fmla="*/ 202310 h 524"/>
                  <a:gd name="T66" fmla="*/ 20523 w 429"/>
                  <a:gd name="T67" fmla="*/ 191827 h 524"/>
                  <a:gd name="T68" fmla="*/ 24889 w 429"/>
                  <a:gd name="T69" fmla="*/ 186586 h 524"/>
                  <a:gd name="T70" fmla="*/ 31003 w 429"/>
                  <a:gd name="T71" fmla="*/ 184490 h 524"/>
                  <a:gd name="T72" fmla="*/ 38862 w 429"/>
                  <a:gd name="T73" fmla="*/ 176628 h 524"/>
                  <a:gd name="T74" fmla="*/ 45412 w 429"/>
                  <a:gd name="T75" fmla="*/ 174531 h 524"/>
                  <a:gd name="T76" fmla="*/ 50215 w 429"/>
                  <a:gd name="T77" fmla="*/ 179248 h 524"/>
                  <a:gd name="T78" fmla="*/ 58948 w 429"/>
                  <a:gd name="T79" fmla="*/ 188158 h 524"/>
                  <a:gd name="T80" fmla="*/ 67245 w 429"/>
                  <a:gd name="T81" fmla="*/ 183966 h 524"/>
                  <a:gd name="T82" fmla="*/ 79035 w 429"/>
                  <a:gd name="T83" fmla="*/ 185014 h 524"/>
                  <a:gd name="T84" fmla="*/ 86894 w 429"/>
                  <a:gd name="T85" fmla="*/ 178200 h 524"/>
                  <a:gd name="T86" fmla="*/ 91698 w 429"/>
                  <a:gd name="T87" fmla="*/ 165097 h 524"/>
                  <a:gd name="T88" fmla="*/ 93008 w 429"/>
                  <a:gd name="T89" fmla="*/ 151994 h 524"/>
                  <a:gd name="T90" fmla="*/ 93881 w 429"/>
                  <a:gd name="T91" fmla="*/ 140988 h 524"/>
                  <a:gd name="T92" fmla="*/ 87768 w 429"/>
                  <a:gd name="T93" fmla="*/ 123692 h 524"/>
                  <a:gd name="T94" fmla="*/ 82091 w 429"/>
                  <a:gd name="T95" fmla="*/ 106396 h 524"/>
                  <a:gd name="T96" fmla="*/ 90388 w 429"/>
                  <a:gd name="T97" fmla="*/ 92769 h 524"/>
                  <a:gd name="T98" fmla="*/ 91698 w 429"/>
                  <a:gd name="T99" fmla="*/ 85955 h 524"/>
                  <a:gd name="T100" fmla="*/ 87331 w 429"/>
                  <a:gd name="T101" fmla="*/ 81238 h 524"/>
                  <a:gd name="T102" fmla="*/ 86021 w 429"/>
                  <a:gd name="T103" fmla="*/ 71804 h 524"/>
                  <a:gd name="T104" fmla="*/ 82091 w 429"/>
                  <a:gd name="T105" fmla="*/ 67611 h 524"/>
                  <a:gd name="T106" fmla="*/ 70301 w 429"/>
                  <a:gd name="T107" fmla="*/ 69184 h 524"/>
                  <a:gd name="T108" fmla="*/ 59822 w 429"/>
                  <a:gd name="T109" fmla="*/ 68660 h 524"/>
                  <a:gd name="T110" fmla="*/ 54582 w 429"/>
                  <a:gd name="T111" fmla="*/ 62370 h 524"/>
                  <a:gd name="T112" fmla="*/ 53709 w 429"/>
                  <a:gd name="T113" fmla="*/ 53984 h 524"/>
                  <a:gd name="T114" fmla="*/ 57638 w 429"/>
                  <a:gd name="T115" fmla="*/ 39833 h 524"/>
                  <a:gd name="T116" fmla="*/ 133616 w 429"/>
                  <a:gd name="T117" fmla="*/ 19916 h 524"/>
                  <a:gd name="T118" fmla="*/ 141040 w 429"/>
                  <a:gd name="T119" fmla="*/ 8910 h 524"/>
                  <a:gd name="T120" fmla="*/ 149773 w 429"/>
                  <a:gd name="T121" fmla="*/ 3669 h 524"/>
                  <a:gd name="T122" fmla="*/ 163309 w 429"/>
                  <a:gd name="T123" fmla="*/ 2621 h 524"/>
                  <a:gd name="T124" fmla="*/ 178155 w 429"/>
                  <a:gd name="T125" fmla="*/ 2096 h 52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29" h="524">
                    <a:moveTo>
                      <a:pt x="426" y="0"/>
                    </a:moveTo>
                    <a:lnTo>
                      <a:pt x="427" y="12"/>
                    </a:lnTo>
                    <a:lnTo>
                      <a:pt x="429" y="22"/>
                    </a:lnTo>
                    <a:lnTo>
                      <a:pt x="429" y="31"/>
                    </a:lnTo>
                    <a:lnTo>
                      <a:pt x="429" y="38"/>
                    </a:lnTo>
                    <a:lnTo>
                      <a:pt x="428" y="43"/>
                    </a:lnTo>
                    <a:lnTo>
                      <a:pt x="427" y="48"/>
                    </a:lnTo>
                    <a:lnTo>
                      <a:pt x="426" y="51"/>
                    </a:lnTo>
                    <a:lnTo>
                      <a:pt x="424" y="54"/>
                    </a:lnTo>
                    <a:lnTo>
                      <a:pt x="419" y="60"/>
                    </a:lnTo>
                    <a:lnTo>
                      <a:pt x="416" y="64"/>
                    </a:lnTo>
                    <a:lnTo>
                      <a:pt x="415" y="67"/>
                    </a:lnTo>
                    <a:lnTo>
                      <a:pt x="413" y="71"/>
                    </a:lnTo>
                    <a:lnTo>
                      <a:pt x="413" y="75"/>
                    </a:lnTo>
                    <a:lnTo>
                      <a:pt x="413" y="81"/>
                    </a:lnTo>
                    <a:lnTo>
                      <a:pt x="413" y="109"/>
                    </a:lnTo>
                    <a:lnTo>
                      <a:pt x="414" y="135"/>
                    </a:lnTo>
                    <a:lnTo>
                      <a:pt x="414" y="160"/>
                    </a:lnTo>
                    <a:lnTo>
                      <a:pt x="413" y="183"/>
                    </a:lnTo>
                    <a:lnTo>
                      <a:pt x="410" y="196"/>
                    </a:lnTo>
                    <a:lnTo>
                      <a:pt x="408" y="207"/>
                    </a:lnTo>
                    <a:lnTo>
                      <a:pt x="405" y="218"/>
                    </a:lnTo>
                    <a:lnTo>
                      <a:pt x="401" y="229"/>
                    </a:lnTo>
                    <a:lnTo>
                      <a:pt x="396" y="241"/>
                    </a:lnTo>
                    <a:lnTo>
                      <a:pt x="390" y="254"/>
                    </a:lnTo>
                    <a:lnTo>
                      <a:pt x="382" y="266"/>
                    </a:lnTo>
                    <a:lnTo>
                      <a:pt x="372" y="278"/>
                    </a:lnTo>
                    <a:lnTo>
                      <a:pt x="360" y="288"/>
                    </a:lnTo>
                    <a:lnTo>
                      <a:pt x="346" y="300"/>
                    </a:lnTo>
                    <a:lnTo>
                      <a:pt x="338" y="309"/>
                    </a:lnTo>
                    <a:lnTo>
                      <a:pt x="331" y="316"/>
                    </a:lnTo>
                    <a:lnTo>
                      <a:pt x="325" y="324"/>
                    </a:lnTo>
                    <a:lnTo>
                      <a:pt x="319" y="333"/>
                    </a:lnTo>
                    <a:lnTo>
                      <a:pt x="318" y="361"/>
                    </a:lnTo>
                    <a:lnTo>
                      <a:pt x="314" y="395"/>
                    </a:lnTo>
                    <a:lnTo>
                      <a:pt x="312" y="412"/>
                    </a:lnTo>
                    <a:lnTo>
                      <a:pt x="308" y="428"/>
                    </a:lnTo>
                    <a:lnTo>
                      <a:pt x="306" y="434"/>
                    </a:lnTo>
                    <a:lnTo>
                      <a:pt x="304" y="439"/>
                    </a:lnTo>
                    <a:lnTo>
                      <a:pt x="302" y="442"/>
                    </a:lnTo>
                    <a:lnTo>
                      <a:pt x="300" y="444"/>
                    </a:lnTo>
                    <a:lnTo>
                      <a:pt x="290" y="448"/>
                    </a:lnTo>
                    <a:lnTo>
                      <a:pt x="280" y="451"/>
                    </a:lnTo>
                    <a:lnTo>
                      <a:pt x="274" y="453"/>
                    </a:lnTo>
                    <a:lnTo>
                      <a:pt x="269" y="455"/>
                    </a:lnTo>
                    <a:lnTo>
                      <a:pt x="264" y="458"/>
                    </a:lnTo>
                    <a:lnTo>
                      <a:pt x="259" y="462"/>
                    </a:lnTo>
                    <a:lnTo>
                      <a:pt x="253" y="472"/>
                    </a:lnTo>
                    <a:lnTo>
                      <a:pt x="245" y="487"/>
                    </a:lnTo>
                    <a:lnTo>
                      <a:pt x="239" y="494"/>
                    </a:lnTo>
                    <a:lnTo>
                      <a:pt x="234" y="500"/>
                    </a:lnTo>
                    <a:lnTo>
                      <a:pt x="230" y="502"/>
                    </a:lnTo>
                    <a:lnTo>
                      <a:pt x="227" y="504"/>
                    </a:lnTo>
                    <a:lnTo>
                      <a:pt x="223" y="505"/>
                    </a:lnTo>
                    <a:lnTo>
                      <a:pt x="219" y="506"/>
                    </a:lnTo>
                    <a:lnTo>
                      <a:pt x="210" y="505"/>
                    </a:lnTo>
                    <a:lnTo>
                      <a:pt x="201" y="504"/>
                    </a:lnTo>
                    <a:lnTo>
                      <a:pt x="196" y="503"/>
                    </a:lnTo>
                    <a:lnTo>
                      <a:pt x="192" y="501"/>
                    </a:lnTo>
                    <a:lnTo>
                      <a:pt x="189" y="498"/>
                    </a:lnTo>
                    <a:lnTo>
                      <a:pt x="186" y="494"/>
                    </a:lnTo>
                    <a:lnTo>
                      <a:pt x="166" y="496"/>
                    </a:lnTo>
                    <a:lnTo>
                      <a:pt x="145" y="500"/>
                    </a:lnTo>
                    <a:lnTo>
                      <a:pt x="135" y="502"/>
                    </a:lnTo>
                    <a:lnTo>
                      <a:pt x="126" y="501"/>
                    </a:lnTo>
                    <a:lnTo>
                      <a:pt x="123" y="500"/>
                    </a:lnTo>
                    <a:lnTo>
                      <a:pt x="119" y="499"/>
                    </a:lnTo>
                    <a:lnTo>
                      <a:pt x="116" y="497"/>
                    </a:lnTo>
                    <a:lnTo>
                      <a:pt x="113" y="494"/>
                    </a:lnTo>
                    <a:lnTo>
                      <a:pt x="106" y="493"/>
                    </a:lnTo>
                    <a:lnTo>
                      <a:pt x="100" y="493"/>
                    </a:lnTo>
                    <a:lnTo>
                      <a:pt x="95" y="493"/>
                    </a:lnTo>
                    <a:lnTo>
                      <a:pt x="91" y="494"/>
                    </a:lnTo>
                    <a:lnTo>
                      <a:pt x="83" y="497"/>
                    </a:lnTo>
                    <a:lnTo>
                      <a:pt x="78" y="502"/>
                    </a:lnTo>
                    <a:lnTo>
                      <a:pt x="73" y="507"/>
                    </a:lnTo>
                    <a:lnTo>
                      <a:pt x="68" y="513"/>
                    </a:lnTo>
                    <a:lnTo>
                      <a:pt x="62" y="519"/>
                    </a:lnTo>
                    <a:lnTo>
                      <a:pt x="54" y="524"/>
                    </a:lnTo>
                    <a:lnTo>
                      <a:pt x="39" y="507"/>
                    </a:lnTo>
                    <a:lnTo>
                      <a:pt x="27" y="491"/>
                    </a:lnTo>
                    <a:lnTo>
                      <a:pt x="14" y="474"/>
                    </a:lnTo>
                    <a:lnTo>
                      <a:pt x="0" y="456"/>
                    </a:lnTo>
                    <a:lnTo>
                      <a:pt x="6" y="447"/>
                    </a:lnTo>
                    <a:lnTo>
                      <a:pt x="13" y="440"/>
                    </a:lnTo>
                    <a:lnTo>
                      <a:pt x="18" y="434"/>
                    </a:lnTo>
                    <a:lnTo>
                      <a:pt x="25" y="430"/>
                    </a:lnTo>
                    <a:lnTo>
                      <a:pt x="31" y="427"/>
                    </a:lnTo>
                    <a:lnTo>
                      <a:pt x="36" y="425"/>
                    </a:lnTo>
                    <a:lnTo>
                      <a:pt x="42" y="424"/>
                    </a:lnTo>
                    <a:lnTo>
                      <a:pt x="46" y="424"/>
                    </a:lnTo>
                    <a:lnTo>
                      <a:pt x="55" y="425"/>
                    </a:lnTo>
                    <a:lnTo>
                      <a:pt x="61" y="428"/>
                    </a:lnTo>
                    <a:lnTo>
                      <a:pt x="65" y="431"/>
                    </a:lnTo>
                    <a:lnTo>
                      <a:pt x="67" y="432"/>
                    </a:lnTo>
                    <a:lnTo>
                      <a:pt x="58" y="418"/>
                    </a:lnTo>
                    <a:lnTo>
                      <a:pt x="51" y="405"/>
                    </a:lnTo>
                    <a:lnTo>
                      <a:pt x="47" y="395"/>
                    </a:lnTo>
                    <a:lnTo>
                      <a:pt x="45" y="386"/>
                    </a:lnTo>
                    <a:lnTo>
                      <a:pt x="45" y="378"/>
                    </a:lnTo>
                    <a:lnTo>
                      <a:pt x="45" y="372"/>
                    </a:lnTo>
                    <a:lnTo>
                      <a:pt x="47" y="366"/>
                    </a:lnTo>
                    <a:lnTo>
                      <a:pt x="50" y="362"/>
                    </a:lnTo>
                    <a:lnTo>
                      <a:pt x="54" y="359"/>
                    </a:lnTo>
                    <a:lnTo>
                      <a:pt x="57" y="356"/>
                    </a:lnTo>
                    <a:lnTo>
                      <a:pt x="61" y="354"/>
                    </a:lnTo>
                    <a:lnTo>
                      <a:pt x="65" y="353"/>
                    </a:lnTo>
                    <a:lnTo>
                      <a:pt x="71" y="352"/>
                    </a:lnTo>
                    <a:lnTo>
                      <a:pt x="73" y="351"/>
                    </a:lnTo>
                    <a:lnTo>
                      <a:pt x="81" y="343"/>
                    </a:lnTo>
                    <a:lnTo>
                      <a:pt x="89" y="337"/>
                    </a:lnTo>
                    <a:lnTo>
                      <a:pt x="94" y="334"/>
                    </a:lnTo>
                    <a:lnTo>
                      <a:pt x="100" y="333"/>
                    </a:lnTo>
                    <a:lnTo>
                      <a:pt x="104" y="333"/>
                    </a:lnTo>
                    <a:lnTo>
                      <a:pt x="109" y="335"/>
                    </a:lnTo>
                    <a:lnTo>
                      <a:pt x="112" y="339"/>
                    </a:lnTo>
                    <a:lnTo>
                      <a:pt x="115" y="342"/>
                    </a:lnTo>
                    <a:lnTo>
                      <a:pt x="123" y="350"/>
                    </a:lnTo>
                    <a:lnTo>
                      <a:pt x="130" y="356"/>
                    </a:lnTo>
                    <a:lnTo>
                      <a:pt x="135" y="359"/>
                    </a:lnTo>
                    <a:lnTo>
                      <a:pt x="140" y="359"/>
                    </a:lnTo>
                    <a:lnTo>
                      <a:pt x="146" y="356"/>
                    </a:lnTo>
                    <a:lnTo>
                      <a:pt x="154" y="351"/>
                    </a:lnTo>
                    <a:lnTo>
                      <a:pt x="163" y="354"/>
                    </a:lnTo>
                    <a:lnTo>
                      <a:pt x="172" y="354"/>
                    </a:lnTo>
                    <a:lnTo>
                      <a:pt x="181" y="353"/>
                    </a:lnTo>
                    <a:lnTo>
                      <a:pt x="188" y="350"/>
                    </a:lnTo>
                    <a:lnTo>
                      <a:pt x="193" y="345"/>
                    </a:lnTo>
                    <a:lnTo>
                      <a:pt x="199" y="340"/>
                    </a:lnTo>
                    <a:lnTo>
                      <a:pt x="202" y="334"/>
                    </a:lnTo>
                    <a:lnTo>
                      <a:pt x="205" y="328"/>
                    </a:lnTo>
                    <a:lnTo>
                      <a:pt x="210" y="315"/>
                    </a:lnTo>
                    <a:lnTo>
                      <a:pt x="212" y="302"/>
                    </a:lnTo>
                    <a:lnTo>
                      <a:pt x="213" y="293"/>
                    </a:lnTo>
                    <a:lnTo>
                      <a:pt x="213" y="290"/>
                    </a:lnTo>
                    <a:lnTo>
                      <a:pt x="215" y="283"/>
                    </a:lnTo>
                    <a:lnTo>
                      <a:pt x="215" y="276"/>
                    </a:lnTo>
                    <a:lnTo>
                      <a:pt x="215" y="269"/>
                    </a:lnTo>
                    <a:lnTo>
                      <a:pt x="213" y="262"/>
                    </a:lnTo>
                    <a:lnTo>
                      <a:pt x="208" y="249"/>
                    </a:lnTo>
                    <a:lnTo>
                      <a:pt x="201" y="236"/>
                    </a:lnTo>
                    <a:lnTo>
                      <a:pt x="186" y="217"/>
                    </a:lnTo>
                    <a:lnTo>
                      <a:pt x="180" y="210"/>
                    </a:lnTo>
                    <a:lnTo>
                      <a:pt x="188" y="203"/>
                    </a:lnTo>
                    <a:lnTo>
                      <a:pt x="202" y="187"/>
                    </a:lnTo>
                    <a:lnTo>
                      <a:pt x="205" y="182"/>
                    </a:lnTo>
                    <a:lnTo>
                      <a:pt x="207" y="177"/>
                    </a:lnTo>
                    <a:lnTo>
                      <a:pt x="210" y="173"/>
                    </a:lnTo>
                    <a:lnTo>
                      <a:pt x="211" y="168"/>
                    </a:lnTo>
                    <a:lnTo>
                      <a:pt x="210" y="164"/>
                    </a:lnTo>
                    <a:lnTo>
                      <a:pt x="208" y="161"/>
                    </a:lnTo>
                    <a:lnTo>
                      <a:pt x="205" y="157"/>
                    </a:lnTo>
                    <a:lnTo>
                      <a:pt x="200" y="155"/>
                    </a:lnTo>
                    <a:lnTo>
                      <a:pt x="200" y="148"/>
                    </a:lnTo>
                    <a:lnTo>
                      <a:pt x="200" y="142"/>
                    </a:lnTo>
                    <a:lnTo>
                      <a:pt x="197" y="137"/>
                    </a:lnTo>
                    <a:lnTo>
                      <a:pt x="195" y="133"/>
                    </a:lnTo>
                    <a:lnTo>
                      <a:pt x="192" y="131"/>
                    </a:lnTo>
                    <a:lnTo>
                      <a:pt x="188" y="129"/>
                    </a:lnTo>
                    <a:lnTo>
                      <a:pt x="183" y="129"/>
                    </a:lnTo>
                    <a:lnTo>
                      <a:pt x="179" y="129"/>
                    </a:lnTo>
                    <a:lnTo>
                      <a:pt x="161" y="132"/>
                    </a:lnTo>
                    <a:lnTo>
                      <a:pt x="154" y="137"/>
                    </a:lnTo>
                    <a:lnTo>
                      <a:pt x="144" y="134"/>
                    </a:lnTo>
                    <a:lnTo>
                      <a:pt x="137" y="131"/>
                    </a:lnTo>
                    <a:lnTo>
                      <a:pt x="132" y="128"/>
                    </a:lnTo>
                    <a:lnTo>
                      <a:pt x="127" y="124"/>
                    </a:lnTo>
                    <a:lnTo>
                      <a:pt x="125" y="119"/>
                    </a:lnTo>
                    <a:lnTo>
                      <a:pt x="123" y="114"/>
                    </a:lnTo>
                    <a:lnTo>
                      <a:pt x="123" y="109"/>
                    </a:lnTo>
                    <a:lnTo>
                      <a:pt x="123" y="103"/>
                    </a:lnTo>
                    <a:lnTo>
                      <a:pt x="125" y="93"/>
                    </a:lnTo>
                    <a:lnTo>
                      <a:pt x="128" y="84"/>
                    </a:lnTo>
                    <a:lnTo>
                      <a:pt x="132" y="76"/>
                    </a:lnTo>
                    <a:lnTo>
                      <a:pt x="133" y="74"/>
                    </a:lnTo>
                    <a:lnTo>
                      <a:pt x="293" y="105"/>
                    </a:lnTo>
                    <a:lnTo>
                      <a:pt x="306" y="38"/>
                    </a:lnTo>
                    <a:lnTo>
                      <a:pt x="311" y="30"/>
                    </a:lnTo>
                    <a:lnTo>
                      <a:pt x="317" y="22"/>
                    </a:lnTo>
                    <a:lnTo>
                      <a:pt x="323" y="17"/>
                    </a:lnTo>
                    <a:lnTo>
                      <a:pt x="329" y="12"/>
                    </a:lnTo>
                    <a:lnTo>
                      <a:pt x="336" y="9"/>
                    </a:lnTo>
                    <a:lnTo>
                      <a:pt x="343" y="7"/>
                    </a:lnTo>
                    <a:lnTo>
                      <a:pt x="350" y="6"/>
                    </a:lnTo>
                    <a:lnTo>
                      <a:pt x="358" y="5"/>
                    </a:lnTo>
                    <a:lnTo>
                      <a:pt x="374" y="5"/>
                    </a:lnTo>
                    <a:lnTo>
                      <a:pt x="391" y="4"/>
                    </a:lnTo>
                    <a:lnTo>
                      <a:pt x="399" y="4"/>
                    </a:lnTo>
                    <a:lnTo>
                      <a:pt x="408" y="4"/>
                    </a:lnTo>
                    <a:lnTo>
                      <a:pt x="417" y="2"/>
                    </a:lnTo>
                    <a:lnTo>
                      <a:pt x="426" y="0"/>
                    </a:lnTo>
                  </a:path>
                </a:pathLst>
              </a:custGeom>
              <a:grpFill/>
              <a:ln w="9525" cmpd="sng">
                <a:solidFill>
                  <a:srgbClr val="FFFFFF"/>
                </a:solidFill>
                <a:prstDash val="solid"/>
                <a:round/>
                <a:headEnd/>
                <a:tailEnd/>
              </a:ln>
            </p:spPr>
            <p:txBody>
              <a:bodyPr/>
              <a:lstStyle/>
              <a:p>
                <a:endParaRPr lang="en-GB" sz="1637"/>
              </a:p>
            </p:txBody>
          </p:sp>
          <p:sp>
            <p:nvSpPr>
              <p:cNvPr id="143" name="Freeform 452"/>
              <p:cNvSpPr>
                <a:spLocks/>
              </p:cNvSpPr>
              <p:nvPr>
                <p:custDataLst>
                  <p:tags r:id="rId126"/>
                </p:custDataLst>
              </p:nvPr>
            </p:nvSpPr>
            <p:spPr bwMode="auto">
              <a:xfrm>
                <a:off x="4241863" y="2319911"/>
                <a:ext cx="138638" cy="128949"/>
              </a:xfrm>
              <a:custGeom>
                <a:avLst/>
                <a:gdLst>
                  <a:gd name="T0" fmla="*/ 112647 w 292"/>
                  <a:gd name="T1" fmla="*/ 47668 h 223"/>
                  <a:gd name="T2" fmla="*/ 72199 w 292"/>
                  <a:gd name="T3" fmla="*/ 39467 h 223"/>
                  <a:gd name="T4" fmla="*/ 66110 w 292"/>
                  <a:gd name="T5" fmla="*/ 40492 h 223"/>
                  <a:gd name="T6" fmla="*/ 60455 w 292"/>
                  <a:gd name="T7" fmla="*/ 40492 h 223"/>
                  <a:gd name="T8" fmla="*/ 54801 w 292"/>
                  <a:gd name="T9" fmla="*/ 39467 h 223"/>
                  <a:gd name="T10" fmla="*/ 51757 w 292"/>
                  <a:gd name="T11" fmla="*/ 47668 h 223"/>
                  <a:gd name="T12" fmla="*/ 62630 w 292"/>
                  <a:gd name="T13" fmla="*/ 67145 h 223"/>
                  <a:gd name="T14" fmla="*/ 73068 w 292"/>
                  <a:gd name="T15" fmla="*/ 80471 h 223"/>
                  <a:gd name="T16" fmla="*/ 82202 w 292"/>
                  <a:gd name="T17" fmla="*/ 94823 h 223"/>
                  <a:gd name="T18" fmla="*/ 85682 w 292"/>
                  <a:gd name="T19" fmla="*/ 103536 h 223"/>
                  <a:gd name="T20" fmla="*/ 89161 w 292"/>
                  <a:gd name="T21" fmla="*/ 113787 h 223"/>
                  <a:gd name="T22" fmla="*/ 76113 w 292"/>
                  <a:gd name="T23" fmla="*/ 114300 h 223"/>
                  <a:gd name="T24" fmla="*/ 70024 w 292"/>
                  <a:gd name="T25" fmla="*/ 113787 h 223"/>
                  <a:gd name="T26" fmla="*/ 63500 w 292"/>
                  <a:gd name="T27" fmla="*/ 110712 h 223"/>
                  <a:gd name="T28" fmla="*/ 58281 w 292"/>
                  <a:gd name="T29" fmla="*/ 107124 h 223"/>
                  <a:gd name="T30" fmla="*/ 55236 w 292"/>
                  <a:gd name="T31" fmla="*/ 101486 h 223"/>
                  <a:gd name="T32" fmla="*/ 52627 w 292"/>
                  <a:gd name="T33" fmla="*/ 95848 h 223"/>
                  <a:gd name="T34" fmla="*/ 49147 w 292"/>
                  <a:gd name="T35" fmla="*/ 92260 h 223"/>
                  <a:gd name="T36" fmla="*/ 39579 w 292"/>
                  <a:gd name="T37" fmla="*/ 74321 h 223"/>
                  <a:gd name="T38" fmla="*/ 29575 w 292"/>
                  <a:gd name="T39" fmla="*/ 57919 h 223"/>
                  <a:gd name="T40" fmla="*/ 23921 w 292"/>
                  <a:gd name="T41" fmla="*/ 50743 h 223"/>
                  <a:gd name="T42" fmla="*/ 18267 w 292"/>
                  <a:gd name="T43" fmla="*/ 44592 h 223"/>
                  <a:gd name="T44" fmla="*/ 11743 w 292"/>
                  <a:gd name="T45" fmla="*/ 40492 h 223"/>
                  <a:gd name="T46" fmla="*/ 5654 w 292"/>
                  <a:gd name="T47" fmla="*/ 38442 h 223"/>
                  <a:gd name="T48" fmla="*/ 1740 w 292"/>
                  <a:gd name="T49" fmla="*/ 33316 h 223"/>
                  <a:gd name="T50" fmla="*/ 435 w 292"/>
                  <a:gd name="T51" fmla="*/ 29728 h 223"/>
                  <a:gd name="T52" fmla="*/ 0 w 292"/>
                  <a:gd name="T53" fmla="*/ 25115 h 223"/>
                  <a:gd name="T54" fmla="*/ 17397 w 292"/>
                  <a:gd name="T55" fmla="*/ 28191 h 223"/>
                  <a:gd name="T56" fmla="*/ 30445 w 292"/>
                  <a:gd name="T57" fmla="*/ 28191 h 223"/>
                  <a:gd name="T58" fmla="*/ 39579 w 292"/>
                  <a:gd name="T59" fmla="*/ 25628 h 223"/>
                  <a:gd name="T60" fmla="*/ 46103 w 292"/>
                  <a:gd name="T61" fmla="*/ 21015 h 223"/>
                  <a:gd name="T62" fmla="*/ 55236 w 292"/>
                  <a:gd name="T63" fmla="*/ 10251 h 223"/>
                  <a:gd name="T64" fmla="*/ 60021 w 292"/>
                  <a:gd name="T65" fmla="*/ 4613 h 223"/>
                  <a:gd name="T66" fmla="*/ 66110 w 292"/>
                  <a:gd name="T67" fmla="*/ 0 h 223"/>
                  <a:gd name="T68" fmla="*/ 74808 w 292"/>
                  <a:gd name="T69" fmla="*/ 7176 h 223"/>
                  <a:gd name="T70" fmla="*/ 84377 w 292"/>
                  <a:gd name="T71" fmla="*/ 13326 h 223"/>
                  <a:gd name="T72" fmla="*/ 94815 w 292"/>
                  <a:gd name="T73" fmla="*/ 17427 h 223"/>
                  <a:gd name="T74" fmla="*/ 106993 w 292"/>
                  <a:gd name="T75" fmla="*/ 18965 h 223"/>
                  <a:gd name="T76" fmla="*/ 113952 w 292"/>
                  <a:gd name="T77" fmla="*/ 17427 h 223"/>
                  <a:gd name="T78" fmla="*/ 121346 w 292"/>
                  <a:gd name="T79" fmla="*/ 15889 h 223"/>
                  <a:gd name="T80" fmla="*/ 123955 w 292"/>
                  <a:gd name="T81" fmla="*/ 24090 h 223"/>
                  <a:gd name="T82" fmla="*/ 124825 w 292"/>
                  <a:gd name="T83" fmla="*/ 25115 h 223"/>
                  <a:gd name="T84" fmla="*/ 127000 w 292"/>
                  <a:gd name="T85" fmla="*/ 35366 h 22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92" h="223">
                    <a:moveTo>
                      <a:pt x="292" y="69"/>
                    </a:moveTo>
                    <a:lnTo>
                      <a:pt x="259" y="93"/>
                    </a:lnTo>
                    <a:lnTo>
                      <a:pt x="172" y="75"/>
                    </a:lnTo>
                    <a:lnTo>
                      <a:pt x="166" y="77"/>
                    </a:lnTo>
                    <a:lnTo>
                      <a:pt x="159" y="78"/>
                    </a:lnTo>
                    <a:lnTo>
                      <a:pt x="152" y="79"/>
                    </a:lnTo>
                    <a:lnTo>
                      <a:pt x="146" y="79"/>
                    </a:lnTo>
                    <a:lnTo>
                      <a:pt x="139" y="79"/>
                    </a:lnTo>
                    <a:lnTo>
                      <a:pt x="133" y="78"/>
                    </a:lnTo>
                    <a:lnTo>
                      <a:pt x="126" y="77"/>
                    </a:lnTo>
                    <a:lnTo>
                      <a:pt x="119" y="75"/>
                    </a:lnTo>
                    <a:lnTo>
                      <a:pt x="119" y="93"/>
                    </a:lnTo>
                    <a:lnTo>
                      <a:pt x="132" y="113"/>
                    </a:lnTo>
                    <a:lnTo>
                      <a:pt x="144" y="131"/>
                    </a:lnTo>
                    <a:lnTo>
                      <a:pt x="156" y="145"/>
                    </a:lnTo>
                    <a:lnTo>
                      <a:pt x="168" y="157"/>
                    </a:lnTo>
                    <a:lnTo>
                      <a:pt x="179" y="170"/>
                    </a:lnTo>
                    <a:lnTo>
                      <a:pt x="189" y="185"/>
                    </a:lnTo>
                    <a:lnTo>
                      <a:pt x="193" y="193"/>
                    </a:lnTo>
                    <a:lnTo>
                      <a:pt x="197" y="202"/>
                    </a:lnTo>
                    <a:lnTo>
                      <a:pt x="202" y="211"/>
                    </a:lnTo>
                    <a:lnTo>
                      <a:pt x="205" y="222"/>
                    </a:lnTo>
                    <a:lnTo>
                      <a:pt x="191" y="223"/>
                    </a:lnTo>
                    <a:lnTo>
                      <a:pt x="175" y="223"/>
                    </a:lnTo>
                    <a:lnTo>
                      <a:pt x="168" y="223"/>
                    </a:lnTo>
                    <a:lnTo>
                      <a:pt x="161" y="222"/>
                    </a:lnTo>
                    <a:lnTo>
                      <a:pt x="154" y="220"/>
                    </a:lnTo>
                    <a:lnTo>
                      <a:pt x="146" y="216"/>
                    </a:lnTo>
                    <a:lnTo>
                      <a:pt x="139" y="213"/>
                    </a:lnTo>
                    <a:lnTo>
                      <a:pt x="134" y="209"/>
                    </a:lnTo>
                    <a:lnTo>
                      <a:pt x="130" y="203"/>
                    </a:lnTo>
                    <a:lnTo>
                      <a:pt x="127" y="198"/>
                    </a:lnTo>
                    <a:lnTo>
                      <a:pt x="124" y="192"/>
                    </a:lnTo>
                    <a:lnTo>
                      <a:pt x="121" y="187"/>
                    </a:lnTo>
                    <a:lnTo>
                      <a:pt x="117" y="183"/>
                    </a:lnTo>
                    <a:lnTo>
                      <a:pt x="113" y="180"/>
                    </a:lnTo>
                    <a:lnTo>
                      <a:pt x="102" y="162"/>
                    </a:lnTo>
                    <a:lnTo>
                      <a:pt x="91" y="145"/>
                    </a:lnTo>
                    <a:lnTo>
                      <a:pt x="80" y="129"/>
                    </a:lnTo>
                    <a:lnTo>
                      <a:pt x="68" y="113"/>
                    </a:lnTo>
                    <a:lnTo>
                      <a:pt x="61" y="105"/>
                    </a:lnTo>
                    <a:lnTo>
                      <a:pt x="55" y="99"/>
                    </a:lnTo>
                    <a:lnTo>
                      <a:pt x="48" y="93"/>
                    </a:lnTo>
                    <a:lnTo>
                      <a:pt x="42" y="87"/>
                    </a:lnTo>
                    <a:lnTo>
                      <a:pt x="35" y="83"/>
                    </a:lnTo>
                    <a:lnTo>
                      <a:pt x="27" y="79"/>
                    </a:lnTo>
                    <a:lnTo>
                      <a:pt x="21" y="76"/>
                    </a:lnTo>
                    <a:lnTo>
                      <a:pt x="13" y="75"/>
                    </a:lnTo>
                    <a:lnTo>
                      <a:pt x="9" y="70"/>
                    </a:lnTo>
                    <a:lnTo>
                      <a:pt x="4" y="65"/>
                    </a:lnTo>
                    <a:lnTo>
                      <a:pt x="2" y="62"/>
                    </a:lnTo>
                    <a:lnTo>
                      <a:pt x="1" y="58"/>
                    </a:lnTo>
                    <a:lnTo>
                      <a:pt x="0" y="54"/>
                    </a:lnTo>
                    <a:lnTo>
                      <a:pt x="0" y="49"/>
                    </a:lnTo>
                    <a:lnTo>
                      <a:pt x="22" y="53"/>
                    </a:lnTo>
                    <a:lnTo>
                      <a:pt x="40" y="55"/>
                    </a:lnTo>
                    <a:lnTo>
                      <a:pt x="57" y="56"/>
                    </a:lnTo>
                    <a:lnTo>
                      <a:pt x="70" y="55"/>
                    </a:lnTo>
                    <a:lnTo>
                      <a:pt x="82" y="53"/>
                    </a:lnTo>
                    <a:lnTo>
                      <a:pt x="91" y="50"/>
                    </a:lnTo>
                    <a:lnTo>
                      <a:pt x="99" y="46"/>
                    </a:lnTo>
                    <a:lnTo>
                      <a:pt x="106" y="41"/>
                    </a:lnTo>
                    <a:lnTo>
                      <a:pt x="117" y="31"/>
                    </a:lnTo>
                    <a:lnTo>
                      <a:pt x="127" y="20"/>
                    </a:lnTo>
                    <a:lnTo>
                      <a:pt x="132" y="14"/>
                    </a:lnTo>
                    <a:lnTo>
                      <a:pt x="138" y="9"/>
                    </a:lnTo>
                    <a:lnTo>
                      <a:pt x="145" y="4"/>
                    </a:lnTo>
                    <a:lnTo>
                      <a:pt x="152" y="0"/>
                    </a:lnTo>
                    <a:lnTo>
                      <a:pt x="162" y="8"/>
                    </a:lnTo>
                    <a:lnTo>
                      <a:pt x="172" y="14"/>
                    </a:lnTo>
                    <a:lnTo>
                      <a:pt x="183" y="21"/>
                    </a:lnTo>
                    <a:lnTo>
                      <a:pt x="194" y="26"/>
                    </a:lnTo>
                    <a:lnTo>
                      <a:pt x="205" y="31"/>
                    </a:lnTo>
                    <a:lnTo>
                      <a:pt x="218" y="34"/>
                    </a:lnTo>
                    <a:lnTo>
                      <a:pt x="231" y="37"/>
                    </a:lnTo>
                    <a:lnTo>
                      <a:pt x="246" y="37"/>
                    </a:lnTo>
                    <a:lnTo>
                      <a:pt x="255" y="36"/>
                    </a:lnTo>
                    <a:lnTo>
                      <a:pt x="262" y="34"/>
                    </a:lnTo>
                    <a:lnTo>
                      <a:pt x="270" y="32"/>
                    </a:lnTo>
                    <a:lnTo>
                      <a:pt x="279" y="31"/>
                    </a:lnTo>
                    <a:lnTo>
                      <a:pt x="283" y="42"/>
                    </a:lnTo>
                    <a:lnTo>
                      <a:pt x="285" y="47"/>
                    </a:lnTo>
                    <a:lnTo>
                      <a:pt x="287" y="49"/>
                    </a:lnTo>
                    <a:lnTo>
                      <a:pt x="289" y="52"/>
                    </a:lnTo>
                    <a:lnTo>
                      <a:pt x="292" y="69"/>
                    </a:lnTo>
                  </a:path>
                </a:pathLst>
              </a:custGeom>
              <a:grpFill/>
              <a:ln w="9525" cap="flat" cmpd="sng">
                <a:solidFill>
                  <a:srgbClr val="FFFFFF"/>
                </a:solidFill>
                <a:prstDash val="solid"/>
                <a:round/>
                <a:headEnd type="none" w="med" len="med"/>
                <a:tailEnd type="none" w="med" len="med"/>
              </a:ln>
              <a:effectLst/>
            </p:spPr>
            <p:txBody>
              <a:bodyPr/>
              <a:lstStyle/>
              <a:p>
                <a:endParaRPr lang="en-GB" sz="1637"/>
              </a:p>
            </p:txBody>
          </p:sp>
          <p:sp>
            <p:nvSpPr>
              <p:cNvPr id="144" name="Freeform 457"/>
              <p:cNvSpPr>
                <a:spLocks/>
              </p:cNvSpPr>
              <p:nvPr>
                <p:custDataLst>
                  <p:tags r:id="rId127"/>
                </p:custDataLst>
              </p:nvPr>
            </p:nvSpPr>
            <p:spPr bwMode="auto">
              <a:xfrm>
                <a:off x="4555531" y="2850036"/>
                <a:ext cx="298072" cy="347447"/>
              </a:xfrm>
              <a:custGeom>
                <a:avLst/>
                <a:gdLst>
                  <a:gd name="T0" fmla="*/ 9087 w 631"/>
                  <a:gd name="T1" fmla="*/ 1040 h 592"/>
                  <a:gd name="T2" fmla="*/ 13847 w 631"/>
                  <a:gd name="T3" fmla="*/ 2081 h 592"/>
                  <a:gd name="T4" fmla="*/ 23367 w 631"/>
                  <a:gd name="T5" fmla="*/ 4162 h 592"/>
                  <a:gd name="T6" fmla="*/ 33753 w 631"/>
                  <a:gd name="T7" fmla="*/ 5723 h 592"/>
                  <a:gd name="T8" fmla="*/ 45003 w 631"/>
                  <a:gd name="T9" fmla="*/ 9884 h 592"/>
                  <a:gd name="T10" fmla="*/ 56254 w 631"/>
                  <a:gd name="T11" fmla="*/ 16647 h 592"/>
                  <a:gd name="T12" fmla="*/ 63178 w 631"/>
                  <a:gd name="T13" fmla="*/ 20809 h 592"/>
                  <a:gd name="T14" fmla="*/ 68803 w 631"/>
                  <a:gd name="T15" fmla="*/ 22370 h 592"/>
                  <a:gd name="T16" fmla="*/ 81785 w 631"/>
                  <a:gd name="T17" fmla="*/ 22370 h 592"/>
                  <a:gd name="T18" fmla="*/ 98229 w 631"/>
                  <a:gd name="T19" fmla="*/ 19248 h 592"/>
                  <a:gd name="T20" fmla="*/ 119865 w 631"/>
                  <a:gd name="T21" fmla="*/ 11965 h 592"/>
                  <a:gd name="T22" fmla="*/ 172658 w 631"/>
                  <a:gd name="T23" fmla="*/ 19769 h 592"/>
                  <a:gd name="T24" fmla="*/ 174389 w 631"/>
                  <a:gd name="T25" fmla="*/ 35896 h 592"/>
                  <a:gd name="T26" fmla="*/ 177418 w 631"/>
                  <a:gd name="T27" fmla="*/ 49422 h 592"/>
                  <a:gd name="T28" fmla="*/ 180447 w 631"/>
                  <a:gd name="T29" fmla="*/ 61907 h 592"/>
                  <a:gd name="T30" fmla="*/ 184774 w 631"/>
                  <a:gd name="T31" fmla="*/ 72832 h 592"/>
                  <a:gd name="T32" fmla="*/ 194727 w 631"/>
                  <a:gd name="T33" fmla="*/ 91040 h 592"/>
                  <a:gd name="T34" fmla="*/ 204247 w 631"/>
                  <a:gd name="T35" fmla="*/ 106127 h 592"/>
                  <a:gd name="T36" fmla="*/ 208574 w 631"/>
                  <a:gd name="T37" fmla="*/ 115491 h 592"/>
                  <a:gd name="T38" fmla="*/ 209872 w 631"/>
                  <a:gd name="T39" fmla="*/ 124855 h 592"/>
                  <a:gd name="T40" fmla="*/ 212468 w 631"/>
                  <a:gd name="T41" fmla="*/ 132658 h 592"/>
                  <a:gd name="T42" fmla="*/ 214632 w 631"/>
                  <a:gd name="T43" fmla="*/ 135780 h 592"/>
                  <a:gd name="T44" fmla="*/ 218527 w 631"/>
                  <a:gd name="T45" fmla="*/ 138381 h 592"/>
                  <a:gd name="T46" fmla="*/ 221988 w 631"/>
                  <a:gd name="T47" fmla="*/ 140462 h 592"/>
                  <a:gd name="T48" fmla="*/ 224585 w 631"/>
                  <a:gd name="T49" fmla="*/ 144623 h 592"/>
                  <a:gd name="T50" fmla="*/ 230643 w 631"/>
                  <a:gd name="T51" fmla="*/ 157629 h 592"/>
                  <a:gd name="T52" fmla="*/ 234105 w 631"/>
                  <a:gd name="T53" fmla="*/ 172195 h 592"/>
                  <a:gd name="T54" fmla="*/ 235836 w 631"/>
                  <a:gd name="T55" fmla="*/ 186242 h 592"/>
                  <a:gd name="T56" fmla="*/ 237134 w 631"/>
                  <a:gd name="T57" fmla="*/ 191444 h 592"/>
                  <a:gd name="T58" fmla="*/ 241028 w 631"/>
                  <a:gd name="T59" fmla="*/ 198207 h 592"/>
                  <a:gd name="T60" fmla="*/ 252279 w 631"/>
                  <a:gd name="T61" fmla="*/ 215895 h 592"/>
                  <a:gd name="T62" fmla="*/ 264828 w 631"/>
                  <a:gd name="T63" fmla="*/ 232542 h 592"/>
                  <a:gd name="T64" fmla="*/ 273050 w 631"/>
                  <a:gd name="T65" fmla="*/ 240866 h 592"/>
                  <a:gd name="T66" fmla="*/ 264828 w 631"/>
                  <a:gd name="T67" fmla="*/ 250230 h 592"/>
                  <a:gd name="T68" fmla="*/ 270021 w 631"/>
                  <a:gd name="T69" fmla="*/ 258033 h 592"/>
                  <a:gd name="T70" fmla="*/ 270886 w 631"/>
                  <a:gd name="T71" fmla="*/ 263756 h 592"/>
                  <a:gd name="T72" fmla="*/ 270886 w 631"/>
                  <a:gd name="T73" fmla="*/ 268438 h 592"/>
                  <a:gd name="T74" fmla="*/ 273050 w 631"/>
                  <a:gd name="T75" fmla="*/ 276241 h 592"/>
                  <a:gd name="T76" fmla="*/ 270886 w 631"/>
                  <a:gd name="T77" fmla="*/ 280403 h 592"/>
                  <a:gd name="T78" fmla="*/ 266992 w 631"/>
                  <a:gd name="T79" fmla="*/ 285085 h 592"/>
                  <a:gd name="T80" fmla="*/ 256174 w 631"/>
                  <a:gd name="T81" fmla="*/ 296010 h 592"/>
                  <a:gd name="T82" fmla="*/ 241461 w 631"/>
                  <a:gd name="T83" fmla="*/ 307975 h 592"/>
                  <a:gd name="T84" fmla="*/ 19905 w 631"/>
                  <a:gd name="T85" fmla="*/ 90520 h 592"/>
                  <a:gd name="T86" fmla="*/ 10818 w 631"/>
                  <a:gd name="T87" fmla="*/ 81676 h 592"/>
                  <a:gd name="T88" fmla="*/ 4760 w 631"/>
                  <a:gd name="T89" fmla="*/ 71791 h 592"/>
                  <a:gd name="T90" fmla="*/ 865 w 631"/>
                  <a:gd name="T91" fmla="*/ 60867 h 592"/>
                  <a:gd name="T92" fmla="*/ 0 w 631"/>
                  <a:gd name="T93" fmla="*/ 48381 h 592"/>
                  <a:gd name="T94" fmla="*/ 1298 w 631"/>
                  <a:gd name="T95" fmla="*/ 46300 h 592"/>
                  <a:gd name="T96" fmla="*/ 4327 w 631"/>
                  <a:gd name="T97" fmla="*/ 43179 h 592"/>
                  <a:gd name="T98" fmla="*/ 7356 w 631"/>
                  <a:gd name="T99" fmla="*/ 40058 h 592"/>
                  <a:gd name="T100" fmla="*/ 8655 w 631"/>
                  <a:gd name="T101" fmla="*/ 35896 h 592"/>
                  <a:gd name="T102" fmla="*/ 7789 w 631"/>
                  <a:gd name="T103" fmla="*/ 27572 h 592"/>
                  <a:gd name="T104" fmla="*/ 5625 w 631"/>
                  <a:gd name="T105" fmla="*/ 21850 h 592"/>
                  <a:gd name="T106" fmla="*/ 3895 w 631"/>
                  <a:gd name="T107" fmla="*/ 17688 h 592"/>
                  <a:gd name="T108" fmla="*/ 3029 w 631"/>
                  <a:gd name="T109" fmla="*/ 13526 h 592"/>
                  <a:gd name="T110" fmla="*/ 5625 w 631"/>
                  <a:gd name="T111" fmla="*/ 0 h 59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631" h="592">
                    <a:moveTo>
                      <a:pt x="13" y="0"/>
                    </a:moveTo>
                    <a:lnTo>
                      <a:pt x="21" y="2"/>
                    </a:lnTo>
                    <a:lnTo>
                      <a:pt x="26" y="2"/>
                    </a:lnTo>
                    <a:lnTo>
                      <a:pt x="32" y="4"/>
                    </a:lnTo>
                    <a:lnTo>
                      <a:pt x="40" y="7"/>
                    </a:lnTo>
                    <a:lnTo>
                      <a:pt x="54" y="8"/>
                    </a:lnTo>
                    <a:lnTo>
                      <a:pt x="67" y="9"/>
                    </a:lnTo>
                    <a:lnTo>
                      <a:pt x="78" y="11"/>
                    </a:lnTo>
                    <a:lnTo>
                      <a:pt x="88" y="13"/>
                    </a:lnTo>
                    <a:lnTo>
                      <a:pt x="104" y="19"/>
                    </a:lnTo>
                    <a:lnTo>
                      <a:pt x="118" y="26"/>
                    </a:lnTo>
                    <a:lnTo>
                      <a:pt x="130" y="32"/>
                    </a:lnTo>
                    <a:lnTo>
                      <a:pt x="141" y="38"/>
                    </a:lnTo>
                    <a:lnTo>
                      <a:pt x="146" y="40"/>
                    </a:lnTo>
                    <a:lnTo>
                      <a:pt x="153" y="42"/>
                    </a:lnTo>
                    <a:lnTo>
                      <a:pt x="159" y="43"/>
                    </a:lnTo>
                    <a:lnTo>
                      <a:pt x="166" y="44"/>
                    </a:lnTo>
                    <a:lnTo>
                      <a:pt x="189" y="43"/>
                    </a:lnTo>
                    <a:lnTo>
                      <a:pt x="210" y="41"/>
                    </a:lnTo>
                    <a:lnTo>
                      <a:pt x="227" y="37"/>
                    </a:lnTo>
                    <a:lnTo>
                      <a:pt x="244" y="33"/>
                    </a:lnTo>
                    <a:lnTo>
                      <a:pt x="277" y="23"/>
                    </a:lnTo>
                    <a:lnTo>
                      <a:pt x="312" y="14"/>
                    </a:lnTo>
                    <a:lnTo>
                      <a:pt x="399" y="38"/>
                    </a:lnTo>
                    <a:lnTo>
                      <a:pt x="400" y="53"/>
                    </a:lnTo>
                    <a:lnTo>
                      <a:pt x="403" y="69"/>
                    </a:lnTo>
                    <a:lnTo>
                      <a:pt x="405" y="82"/>
                    </a:lnTo>
                    <a:lnTo>
                      <a:pt x="410" y="95"/>
                    </a:lnTo>
                    <a:lnTo>
                      <a:pt x="413" y="107"/>
                    </a:lnTo>
                    <a:lnTo>
                      <a:pt x="417" y="119"/>
                    </a:lnTo>
                    <a:lnTo>
                      <a:pt x="423" y="130"/>
                    </a:lnTo>
                    <a:lnTo>
                      <a:pt x="427" y="140"/>
                    </a:lnTo>
                    <a:lnTo>
                      <a:pt x="438" y="158"/>
                    </a:lnTo>
                    <a:lnTo>
                      <a:pt x="450" y="175"/>
                    </a:lnTo>
                    <a:lnTo>
                      <a:pt x="461" y="190"/>
                    </a:lnTo>
                    <a:lnTo>
                      <a:pt x="472" y="204"/>
                    </a:lnTo>
                    <a:lnTo>
                      <a:pt x="478" y="213"/>
                    </a:lnTo>
                    <a:lnTo>
                      <a:pt x="482" y="222"/>
                    </a:lnTo>
                    <a:lnTo>
                      <a:pt x="484" y="232"/>
                    </a:lnTo>
                    <a:lnTo>
                      <a:pt x="485" y="240"/>
                    </a:lnTo>
                    <a:lnTo>
                      <a:pt x="488" y="248"/>
                    </a:lnTo>
                    <a:lnTo>
                      <a:pt x="491" y="255"/>
                    </a:lnTo>
                    <a:lnTo>
                      <a:pt x="494" y="258"/>
                    </a:lnTo>
                    <a:lnTo>
                      <a:pt x="496" y="261"/>
                    </a:lnTo>
                    <a:lnTo>
                      <a:pt x="501" y="263"/>
                    </a:lnTo>
                    <a:lnTo>
                      <a:pt x="505" y="266"/>
                    </a:lnTo>
                    <a:lnTo>
                      <a:pt x="508" y="267"/>
                    </a:lnTo>
                    <a:lnTo>
                      <a:pt x="513" y="270"/>
                    </a:lnTo>
                    <a:lnTo>
                      <a:pt x="516" y="274"/>
                    </a:lnTo>
                    <a:lnTo>
                      <a:pt x="519" y="278"/>
                    </a:lnTo>
                    <a:lnTo>
                      <a:pt x="526" y="290"/>
                    </a:lnTo>
                    <a:lnTo>
                      <a:pt x="533" y="303"/>
                    </a:lnTo>
                    <a:lnTo>
                      <a:pt x="537" y="317"/>
                    </a:lnTo>
                    <a:lnTo>
                      <a:pt x="541" y="331"/>
                    </a:lnTo>
                    <a:lnTo>
                      <a:pt x="544" y="346"/>
                    </a:lnTo>
                    <a:lnTo>
                      <a:pt x="545" y="358"/>
                    </a:lnTo>
                    <a:lnTo>
                      <a:pt x="546" y="363"/>
                    </a:lnTo>
                    <a:lnTo>
                      <a:pt x="548" y="368"/>
                    </a:lnTo>
                    <a:lnTo>
                      <a:pt x="551" y="374"/>
                    </a:lnTo>
                    <a:lnTo>
                      <a:pt x="557" y="381"/>
                    </a:lnTo>
                    <a:lnTo>
                      <a:pt x="569" y="398"/>
                    </a:lnTo>
                    <a:lnTo>
                      <a:pt x="583" y="415"/>
                    </a:lnTo>
                    <a:lnTo>
                      <a:pt x="598" y="432"/>
                    </a:lnTo>
                    <a:lnTo>
                      <a:pt x="612" y="447"/>
                    </a:lnTo>
                    <a:lnTo>
                      <a:pt x="624" y="458"/>
                    </a:lnTo>
                    <a:lnTo>
                      <a:pt x="631" y="463"/>
                    </a:lnTo>
                    <a:lnTo>
                      <a:pt x="622" y="472"/>
                    </a:lnTo>
                    <a:lnTo>
                      <a:pt x="612" y="481"/>
                    </a:lnTo>
                    <a:lnTo>
                      <a:pt x="619" y="489"/>
                    </a:lnTo>
                    <a:lnTo>
                      <a:pt x="624" y="496"/>
                    </a:lnTo>
                    <a:lnTo>
                      <a:pt x="626" y="501"/>
                    </a:lnTo>
                    <a:lnTo>
                      <a:pt x="626" y="507"/>
                    </a:lnTo>
                    <a:lnTo>
                      <a:pt x="626" y="511"/>
                    </a:lnTo>
                    <a:lnTo>
                      <a:pt x="626" y="516"/>
                    </a:lnTo>
                    <a:lnTo>
                      <a:pt x="627" y="523"/>
                    </a:lnTo>
                    <a:lnTo>
                      <a:pt x="631" y="531"/>
                    </a:lnTo>
                    <a:lnTo>
                      <a:pt x="629" y="535"/>
                    </a:lnTo>
                    <a:lnTo>
                      <a:pt x="626" y="539"/>
                    </a:lnTo>
                    <a:lnTo>
                      <a:pt x="622" y="543"/>
                    </a:lnTo>
                    <a:lnTo>
                      <a:pt x="617" y="548"/>
                    </a:lnTo>
                    <a:lnTo>
                      <a:pt x="605" y="559"/>
                    </a:lnTo>
                    <a:lnTo>
                      <a:pt x="592" y="569"/>
                    </a:lnTo>
                    <a:lnTo>
                      <a:pt x="569" y="585"/>
                    </a:lnTo>
                    <a:lnTo>
                      <a:pt x="558" y="592"/>
                    </a:lnTo>
                    <a:lnTo>
                      <a:pt x="53" y="592"/>
                    </a:lnTo>
                    <a:lnTo>
                      <a:pt x="46" y="174"/>
                    </a:lnTo>
                    <a:lnTo>
                      <a:pt x="35" y="166"/>
                    </a:lnTo>
                    <a:lnTo>
                      <a:pt x="25" y="157"/>
                    </a:lnTo>
                    <a:lnTo>
                      <a:pt x="18" y="148"/>
                    </a:lnTo>
                    <a:lnTo>
                      <a:pt x="11" y="138"/>
                    </a:lnTo>
                    <a:lnTo>
                      <a:pt x="6" y="128"/>
                    </a:lnTo>
                    <a:lnTo>
                      <a:pt x="2" y="117"/>
                    </a:lnTo>
                    <a:lnTo>
                      <a:pt x="1" y="105"/>
                    </a:lnTo>
                    <a:lnTo>
                      <a:pt x="0" y="93"/>
                    </a:lnTo>
                    <a:lnTo>
                      <a:pt x="1" y="91"/>
                    </a:lnTo>
                    <a:lnTo>
                      <a:pt x="3" y="89"/>
                    </a:lnTo>
                    <a:lnTo>
                      <a:pt x="7" y="86"/>
                    </a:lnTo>
                    <a:lnTo>
                      <a:pt x="10" y="83"/>
                    </a:lnTo>
                    <a:lnTo>
                      <a:pt x="13" y="80"/>
                    </a:lnTo>
                    <a:lnTo>
                      <a:pt x="17" y="77"/>
                    </a:lnTo>
                    <a:lnTo>
                      <a:pt x="19" y="73"/>
                    </a:lnTo>
                    <a:lnTo>
                      <a:pt x="20" y="69"/>
                    </a:lnTo>
                    <a:lnTo>
                      <a:pt x="20" y="61"/>
                    </a:lnTo>
                    <a:lnTo>
                      <a:pt x="18" y="53"/>
                    </a:lnTo>
                    <a:lnTo>
                      <a:pt x="15" y="47"/>
                    </a:lnTo>
                    <a:lnTo>
                      <a:pt x="13" y="42"/>
                    </a:lnTo>
                    <a:lnTo>
                      <a:pt x="11" y="38"/>
                    </a:lnTo>
                    <a:lnTo>
                      <a:pt x="9" y="34"/>
                    </a:lnTo>
                    <a:lnTo>
                      <a:pt x="7" y="30"/>
                    </a:lnTo>
                    <a:lnTo>
                      <a:pt x="7" y="26"/>
                    </a:lnTo>
                    <a:lnTo>
                      <a:pt x="10" y="11"/>
                    </a:lnTo>
                    <a:lnTo>
                      <a:pt x="13" y="0"/>
                    </a:lnTo>
                  </a:path>
                </a:pathLst>
              </a:custGeom>
              <a:grpFill/>
              <a:ln w="9525" cap="flat" cmpd="sng">
                <a:solidFill>
                  <a:srgbClr val="FFFFFF"/>
                </a:solidFill>
                <a:prstDash val="solid"/>
                <a:round/>
                <a:headEnd type="none" w="med" len="med"/>
                <a:tailEnd type="none" w="med" len="med"/>
              </a:ln>
              <a:effectLst/>
            </p:spPr>
            <p:txBody>
              <a:bodyPr/>
              <a:lstStyle/>
              <a:p>
                <a:endParaRPr lang="en-GB" sz="1637"/>
              </a:p>
            </p:txBody>
          </p:sp>
          <p:sp>
            <p:nvSpPr>
              <p:cNvPr id="145" name="Freeform 460"/>
              <p:cNvSpPr>
                <a:spLocks/>
              </p:cNvSpPr>
              <p:nvPr>
                <p:custDataLst>
                  <p:tags r:id="rId128"/>
                </p:custDataLst>
              </p:nvPr>
            </p:nvSpPr>
            <p:spPr bwMode="auto">
              <a:xfrm>
                <a:off x="4900395" y="2421995"/>
                <a:ext cx="164632" cy="93130"/>
              </a:xfrm>
              <a:custGeom>
                <a:avLst/>
                <a:gdLst>
                  <a:gd name="T0" fmla="*/ 142243 w 352"/>
                  <a:gd name="T1" fmla="*/ 49098 h 153"/>
                  <a:gd name="T2" fmla="*/ 150812 w 352"/>
                  <a:gd name="T3" fmla="*/ 82550 h 153"/>
                  <a:gd name="T4" fmla="*/ 139672 w 352"/>
                  <a:gd name="T5" fmla="*/ 76075 h 153"/>
                  <a:gd name="T6" fmla="*/ 128105 w 352"/>
                  <a:gd name="T7" fmla="*/ 69601 h 153"/>
                  <a:gd name="T8" fmla="*/ 113966 w 352"/>
                  <a:gd name="T9" fmla="*/ 76075 h 153"/>
                  <a:gd name="T10" fmla="*/ 99399 w 352"/>
                  <a:gd name="T11" fmla="*/ 76075 h 153"/>
                  <a:gd name="T12" fmla="*/ 97257 w 352"/>
                  <a:gd name="T13" fmla="*/ 72838 h 153"/>
                  <a:gd name="T14" fmla="*/ 96828 w 352"/>
                  <a:gd name="T15" fmla="*/ 72838 h 153"/>
                  <a:gd name="T16" fmla="*/ 93829 w 352"/>
                  <a:gd name="T17" fmla="*/ 69601 h 153"/>
                  <a:gd name="T18" fmla="*/ 91258 w 352"/>
                  <a:gd name="T19" fmla="*/ 67443 h 153"/>
                  <a:gd name="T20" fmla="*/ 87831 w 352"/>
                  <a:gd name="T21" fmla="*/ 65285 h 153"/>
                  <a:gd name="T22" fmla="*/ 84403 w 352"/>
                  <a:gd name="T23" fmla="*/ 63666 h 153"/>
                  <a:gd name="T24" fmla="*/ 77548 w 352"/>
                  <a:gd name="T25" fmla="*/ 60968 h 153"/>
                  <a:gd name="T26" fmla="*/ 69836 w 352"/>
                  <a:gd name="T27" fmla="*/ 59350 h 153"/>
                  <a:gd name="T28" fmla="*/ 53984 w 352"/>
                  <a:gd name="T29" fmla="*/ 57731 h 153"/>
                  <a:gd name="T30" fmla="*/ 36846 w 352"/>
                  <a:gd name="T31" fmla="*/ 56112 h 153"/>
                  <a:gd name="T32" fmla="*/ 36418 w 352"/>
                  <a:gd name="T33" fmla="*/ 50717 h 153"/>
                  <a:gd name="T34" fmla="*/ 35132 w 352"/>
                  <a:gd name="T35" fmla="*/ 45322 h 153"/>
                  <a:gd name="T36" fmla="*/ 34275 w 352"/>
                  <a:gd name="T37" fmla="*/ 40466 h 153"/>
                  <a:gd name="T38" fmla="*/ 32133 w 352"/>
                  <a:gd name="T39" fmla="*/ 36149 h 153"/>
                  <a:gd name="T40" fmla="*/ 30419 w 352"/>
                  <a:gd name="T41" fmla="*/ 31833 h 153"/>
                  <a:gd name="T42" fmla="*/ 28706 w 352"/>
                  <a:gd name="T43" fmla="*/ 28056 h 153"/>
                  <a:gd name="T44" fmla="*/ 26135 w 352"/>
                  <a:gd name="T45" fmla="*/ 23740 h 153"/>
                  <a:gd name="T46" fmla="*/ 23993 w 352"/>
                  <a:gd name="T47" fmla="*/ 19963 h 153"/>
                  <a:gd name="T48" fmla="*/ 18852 w 352"/>
                  <a:gd name="T49" fmla="*/ 14028 h 153"/>
                  <a:gd name="T50" fmla="*/ 12425 w 352"/>
                  <a:gd name="T51" fmla="*/ 8633 h 153"/>
                  <a:gd name="T52" fmla="*/ 6427 w 352"/>
                  <a:gd name="T53" fmla="*/ 3777 h 153"/>
                  <a:gd name="T54" fmla="*/ 0 w 352"/>
                  <a:gd name="T55" fmla="*/ 0 h 153"/>
                  <a:gd name="T56" fmla="*/ 2999 w 352"/>
                  <a:gd name="T57" fmla="*/ 0 h 153"/>
                  <a:gd name="T58" fmla="*/ 25707 w 352"/>
                  <a:gd name="T59" fmla="*/ 9712 h 153"/>
                  <a:gd name="T60" fmla="*/ 45415 w 352"/>
                  <a:gd name="T61" fmla="*/ 16186 h 153"/>
                  <a:gd name="T62" fmla="*/ 57411 w 352"/>
                  <a:gd name="T63" fmla="*/ 9712 h 153"/>
                  <a:gd name="T64" fmla="*/ 77120 w 352"/>
                  <a:gd name="T65" fmla="*/ 19424 h 153"/>
                  <a:gd name="T66" fmla="*/ 88259 w 352"/>
                  <a:gd name="T67" fmla="*/ 29675 h 153"/>
                  <a:gd name="T68" fmla="*/ 105397 w 352"/>
                  <a:gd name="T69" fmla="*/ 26438 h 153"/>
                  <a:gd name="T70" fmla="*/ 122535 w 352"/>
                  <a:gd name="T71" fmla="*/ 32912 h 153"/>
                  <a:gd name="T72" fmla="*/ 134103 w 352"/>
                  <a:gd name="T73" fmla="*/ 42624 h 153"/>
                  <a:gd name="T74" fmla="*/ 142243 w 352"/>
                  <a:gd name="T75" fmla="*/ 49098 h 15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52" h="153">
                    <a:moveTo>
                      <a:pt x="332" y="91"/>
                    </a:moveTo>
                    <a:lnTo>
                      <a:pt x="352" y="153"/>
                    </a:lnTo>
                    <a:lnTo>
                      <a:pt x="326" y="141"/>
                    </a:lnTo>
                    <a:lnTo>
                      <a:pt x="299" y="129"/>
                    </a:lnTo>
                    <a:lnTo>
                      <a:pt x="266" y="141"/>
                    </a:lnTo>
                    <a:lnTo>
                      <a:pt x="232" y="141"/>
                    </a:lnTo>
                    <a:lnTo>
                      <a:pt x="227" y="135"/>
                    </a:lnTo>
                    <a:lnTo>
                      <a:pt x="226" y="135"/>
                    </a:lnTo>
                    <a:lnTo>
                      <a:pt x="219" y="129"/>
                    </a:lnTo>
                    <a:lnTo>
                      <a:pt x="213" y="125"/>
                    </a:lnTo>
                    <a:lnTo>
                      <a:pt x="205" y="121"/>
                    </a:lnTo>
                    <a:lnTo>
                      <a:pt x="197" y="118"/>
                    </a:lnTo>
                    <a:lnTo>
                      <a:pt x="181" y="113"/>
                    </a:lnTo>
                    <a:lnTo>
                      <a:pt x="163" y="110"/>
                    </a:lnTo>
                    <a:lnTo>
                      <a:pt x="126" y="107"/>
                    </a:lnTo>
                    <a:lnTo>
                      <a:pt x="86" y="104"/>
                    </a:lnTo>
                    <a:lnTo>
                      <a:pt x="85" y="94"/>
                    </a:lnTo>
                    <a:lnTo>
                      <a:pt x="82" y="84"/>
                    </a:lnTo>
                    <a:lnTo>
                      <a:pt x="80" y="75"/>
                    </a:lnTo>
                    <a:lnTo>
                      <a:pt x="75" y="67"/>
                    </a:lnTo>
                    <a:lnTo>
                      <a:pt x="71" y="59"/>
                    </a:lnTo>
                    <a:lnTo>
                      <a:pt x="67" y="52"/>
                    </a:lnTo>
                    <a:lnTo>
                      <a:pt x="61" y="44"/>
                    </a:lnTo>
                    <a:lnTo>
                      <a:pt x="56" y="37"/>
                    </a:lnTo>
                    <a:lnTo>
                      <a:pt x="44" y="26"/>
                    </a:lnTo>
                    <a:lnTo>
                      <a:pt x="29" y="16"/>
                    </a:lnTo>
                    <a:lnTo>
                      <a:pt x="15" y="7"/>
                    </a:lnTo>
                    <a:lnTo>
                      <a:pt x="0" y="0"/>
                    </a:lnTo>
                    <a:lnTo>
                      <a:pt x="7" y="0"/>
                    </a:lnTo>
                    <a:lnTo>
                      <a:pt x="60" y="18"/>
                    </a:lnTo>
                    <a:lnTo>
                      <a:pt x="106" y="30"/>
                    </a:lnTo>
                    <a:lnTo>
                      <a:pt x="134" y="18"/>
                    </a:lnTo>
                    <a:lnTo>
                      <a:pt x="180" y="36"/>
                    </a:lnTo>
                    <a:lnTo>
                      <a:pt x="206" y="55"/>
                    </a:lnTo>
                    <a:lnTo>
                      <a:pt x="246" y="49"/>
                    </a:lnTo>
                    <a:lnTo>
                      <a:pt x="286" y="61"/>
                    </a:lnTo>
                    <a:lnTo>
                      <a:pt x="313" y="79"/>
                    </a:lnTo>
                    <a:lnTo>
                      <a:pt x="332" y="91"/>
                    </a:lnTo>
                  </a:path>
                </a:pathLst>
              </a:custGeom>
              <a:grpFill/>
              <a:ln w="9525" cmpd="sng">
                <a:solidFill>
                  <a:srgbClr val="FFFFFF"/>
                </a:solidFill>
                <a:prstDash val="solid"/>
                <a:round/>
                <a:headEnd/>
                <a:tailEnd/>
              </a:ln>
            </p:spPr>
            <p:txBody>
              <a:bodyPr/>
              <a:lstStyle/>
              <a:p>
                <a:endParaRPr lang="en-GB" sz="1637"/>
              </a:p>
            </p:txBody>
          </p:sp>
          <p:sp>
            <p:nvSpPr>
              <p:cNvPr id="146" name="Freeform 463"/>
              <p:cNvSpPr>
                <a:spLocks/>
              </p:cNvSpPr>
              <p:nvPr>
                <p:custDataLst>
                  <p:tags r:id="rId129"/>
                </p:custDataLst>
              </p:nvPr>
            </p:nvSpPr>
            <p:spPr bwMode="auto">
              <a:xfrm>
                <a:off x="3494948" y="3532393"/>
                <a:ext cx="204492" cy="179096"/>
              </a:xfrm>
              <a:custGeom>
                <a:avLst/>
                <a:gdLst>
                  <a:gd name="T0" fmla="*/ 85308 w 426"/>
                  <a:gd name="T1" fmla="*/ 8495 h 299"/>
                  <a:gd name="T2" fmla="*/ 94982 w 426"/>
                  <a:gd name="T3" fmla="*/ 11681 h 299"/>
                  <a:gd name="T4" fmla="*/ 101138 w 426"/>
                  <a:gd name="T5" fmla="*/ 15397 h 299"/>
                  <a:gd name="T6" fmla="*/ 111252 w 426"/>
                  <a:gd name="T7" fmla="*/ 18583 h 299"/>
                  <a:gd name="T8" fmla="*/ 122685 w 426"/>
                  <a:gd name="T9" fmla="*/ 19645 h 299"/>
                  <a:gd name="T10" fmla="*/ 131919 w 426"/>
                  <a:gd name="T11" fmla="*/ 19645 h 299"/>
                  <a:gd name="T12" fmla="*/ 140274 w 426"/>
                  <a:gd name="T13" fmla="*/ 18052 h 299"/>
                  <a:gd name="T14" fmla="*/ 144671 w 426"/>
                  <a:gd name="T15" fmla="*/ 15397 h 299"/>
                  <a:gd name="T16" fmla="*/ 160501 w 426"/>
                  <a:gd name="T17" fmla="*/ 13273 h 299"/>
                  <a:gd name="T18" fmla="*/ 163580 w 426"/>
                  <a:gd name="T19" fmla="*/ 26016 h 299"/>
                  <a:gd name="T20" fmla="*/ 168417 w 426"/>
                  <a:gd name="T21" fmla="*/ 39289 h 299"/>
                  <a:gd name="T22" fmla="*/ 171934 w 426"/>
                  <a:gd name="T23" fmla="*/ 44599 h 299"/>
                  <a:gd name="T24" fmla="*/ 175892 w 426"/>
                  <a:gd name="T25" fmla="*/ 48846 h 299"/>
                  <a:gd name="T26" fmla="*/ 181169 w 426"/>
                  <a:gd name="T27" fmla="*/ 51501 h 299"/>
                  <a:gd name="T28" fmla="*/ 186885 w 426"/>
                  <a:gd name="T29" fmla="*/ 52563 h 299"/>
                  <a:gd name="T30" fmla="*/ 186885 w 426"/>
                  <a:gd name="T31" fmla="*/ 63712 h 299"/>
                  <a:gd name="T32" fmla="*/ 186885 w 426"/>
                  <a:gd name="T33" fmla="*/ 75393 h 299"/>
                  <a:gd name="T34" fmla="*/ 182928 w 426"/>
                  <a:gd name="T35" fmla="*/ 83888 h 299"/>
                  <a:gd name="T36" fmla="*/ 181169 w 426"/>
                  <a:gd name="T37" fmla="*/ 90259 h 299"/>
                  <a:gd name="T38" fmla="*/ 181169 w 426"/>
                  <a:gd name="T39" fmla="*/ 96099 h 299"/>
                  <a:gd name="T40" fmla="*/ 182488 w 426"/>
                  <a:gd name="T41" fmla="*/ 100878 h 299"/>
                  <a:gd name="T42" fmla="*/ 186006 w 426"/>
                  <a:gd name="T43" fmla="*/ 112028 h 299"/>
                  <a:gd name="T44" fmla="*/ 187325 w 426"/>
                  <a:gd name="T45" fmla="*/ 119992 h 299"/>
                  <a:gd name="T46" fmla="*/ 186885 w 426"/>
                  <a:gd name="T47" fmla="*/ 131141 h 299"/>
                  <a:gd name="T48" fmla="*/ 187325 w 426"/>
                  <a:gd name="T49" fmla="*/ 145477 h 299"/>
                  <a:gd name="T50" fmla="*/ 186006 w 426"/>
                  <a:gd name="T51" fmla="*/ 151317 h 299"/>
                  <a:gd name="T52" fmla="*/ 181169 w 426"/>
                  <a:gd name="T53" fmla="*/ 157157 h 299"/>
                  <a:gd name="T54" fmla="*/ 167097 w 426"/>
                  <a:gd name="T55" fmla="*/ 158219 h 299"/>
                  <a:gd name="T56" fmla="*/ 162700 w 426"/>
                  <a:gd name="T57" fmla="*/ 158750 h 299"/>
                  <a:gd name="T58" fmla="*/ 158303 w 426"/>
                  <a:gd name="T59" fmla="*/ 157157 h 299"/>
                  <a:gd name="T60" fmla="*/ 154345 w 426"/>
                  <a:gd name="T61" fmla="*/ 153972 h 299"/>
                  <a:gd name="T62" fmla="*/ 148629 w 426"/>
                  <a:gd name="T63" fmla="*/ 147600 h 299"/>
                  <a:gd name="T64" fmla="*/ 142473 w 426"/>
                  <a:gd name="T65" fmla="*/ 138574 h 299"/>
                  <a:gd name="T66" fmla="*/ 136756 w 426"/>
                  <a:gd name="T67" fmla="*/ 134327 h 299"/>
                  <a:gd name="T68" fmla="*/ 129281 w 426"/>
                  <a:gd name="T69" fmla="*/ 133265 h 299"/>
                  <a:gd name="T70" fmla="*/ 122245 w 426"/>
                  <a:gd name="T71" fmla="*/ 123177 h 299"/>
                  <a:gd name="T72" fmla="*/ 120486 w 426"/>
                  <a:gd name="T73" fmla="*/ 111497 h 299"/>
                  <a:gd name="T74" fmla="*/ 118287 w 426"/>
                  <a:gd name="T75" fmla="*/ 104594 h 299"/>
                  <a:gd name="T76" fmla="*/ 114770 w 426"/>
                  <a:gd name="T77" fmla="*/ 97692 h 299"/>
                  <a:gd name="T78" fmla="*/ 110372 w 426"/>
                  <a:gd name="T79" fmla="*/ 91852 h 299"/>
                  <a:gd name="T80" fmla="*/ 104656 w 426"/>
                  <a:gd name="T81" fmla="*/ 87605 h 299"/>
                  <a:gd name="T82" fmla="*/ 97620 w 426"/>
                  <a:gd name="T83" fmla="*/ 85481 h 299"/>
                  <a:gd name="T84" fmla="*/ 89705 w 426"/>
                  <a:gd name="T85" fmla="*/ 85481 h 299"/>
                  <a:gd name="T86" fmla="*/ 82669 w 426"/>
                  <a:gd name="T87" fmla="*/ 86543 h 299"/>
                  <a:gd name="T88" fmla="*/ 76073 w 426"/>
                  <a:gd name="T89" fmla="*/ 89197 h 299"/>
                  <a:gd name="T90" fmla="*/ 70357 w 426"/>
                  <a:gd name="T91" fmla="*/ 93445 h 299"/>
                  <a:gd name="T92" fmla="*/ 62002 w 426"/>
                  <a:gd name="T93" fmla="*/ 101409 h 299"/>
                  <a:gd name="T94" fmla="*/ 51888 w 426"/>
                  <a:gd name="T95" fmla="*/ 114151 h 299"/>
                  <a:gd name="T96" fmla="*/ 46172 w 426"/>
                  <a:gd name="T97" fmla="*/ 115744 h 299"/>
                  <a:gd name="T98" fmla="*/ 43973 w 426"/>
                  <a:gd name="T99" fmla="*/ 106718 h 299"/>
                  <a:gd name="T100" fmla="*/ 39576 w 426"/>
                  <a:gd name="T101" fmla="*/ 98754 h 299"/>
                  <a:gd name="T102" fmla="*/ 33419 w 426"/>
                  <a:gd name="T103" fmla="*/ 90790 h 299"/>
                  <a:gd name="T104" fmla="*/ 21987 w 426"/>
                  <a:gd name="T105" fmla="*/ 81233 h 299"/>
                  <a:gd name="T106" fmla="*/ 10554 w 426"/>
                  <a:gd name="T107" fmla="*/ 71145 h 299"/>
                  <a:gd name="T108" fmla="*/ 3518 w 426"/>
                  <a:gd name="T109" fmla="*/ 63181 h 299"/>
                  <a:gd name="T110" fmla="*/ 6596 w 426"/>
                  <a:gd name="T111" fmla="*/ 53625 h 299"/>
                  <a:gd name="T112" fmla="*/ 20228 w 426"/>
                  <a:gd name="T113" fmla="*/ 40882 h 299"/>
                  <a:gd name="T114" fmla="*/ 32980 w 426"/>
                  <a:gd name="T115" fmla="*/ 25485 h 299"/>
                  <a:gd name="T116" fmla="*/ 43094 w 426"/>
                  <a:gd name="T117" fmla="*/ 9026 h 299"/>
                  <a:gd name="T118" fmla="*/ 78712 w 426"/>
                  <a:gd name="T119" fmla="*/ 6902 h 29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426" h="299">
                    <a:moveTo>
                      <a:pt x="179" y="13"/>
                    </a:moveTo>
                    <a:lnTo>
                      <a:pt x="194" y="16"/>
                    </a:lnTo>
                    <a:lnTo>
                      <a:pt x="207" y="19"/>
                    </a:lnTo>
                    <a:lnTo>
                      <a:pt x="216" y="22"/>
                    </a:lnTo>
                    <a:lnTo>
                      <a:pt x="223" y="24"/>
                    </a:lnTo>
                    <a:lnTo>
                      <a:pt x="230" y="29"/>
                    </a:lnTo>
                    <a:lnTo>
                      <a:pt x="233" y="31"/>
                    </a:lnTo>
                    <a:lnTo>
                      <a:pt x="253" y="35"/>
                    </a:lnTo>
                    <a:lnTo>
                      <a:pt x="269" y="37"/>
                    </a:lnTo>
                    <a:lnTo>
                      <a:pt x="279" y="37"/>
                    </a:lnTo>
                    <a:lnTo>
                      <a:pt x="285" y="37"/>
                    </a:lnTo>
                    <a:lnTo>
                      <a:pt x="300" y="37"/>
                    </a:lnTo>
                    <a:lnTo>
                      <a:pt x="314" y="36"/>
                    </a:lnTo>
                    <a:lnTo>
                      <a:pt x="319" y="34"/>
                    </a:lnTo>
                    <a:lnTo>
                      <a:pt x="325" y="32"/>
                    </a:lnTo>
                    <a:lnTo>
                      <a:pt x="329" y="29"/>
                    </a:lnTo>
                    <a:lnTo>
                      <a:pt x="331" y="25"/>
                    </a:lnTo>
                    <a:lnTo>
                      <a:pt x="365" y="25"/>
                    </a:lnTo>
                    <a:lnTo>
                      <a:pt x="368" y="37"/>
                    </a:lnTo>
                    <a:lnTo>
                      <a:pt x="372" y="49"/>
                    </a:lnTo>
                    <a:lnTo>
                      <a:pt x="376" y="62"/>
                    </a:lnTo>
                    <a:lnTo>
                      <a:pt x="383" y="74"/>
                    </a:lnTo>
                    <a:lnTo>
                      <a:pt x="386" y="79"/>
                    </a:lnTo>
                    <a:lnTo>
                      <a:pt x="391" y="84"/>
                    </a:lnTo>
                    <a:lnTo>
                      <a:pt x="395" y="88"/>
                    </a:lnTo>
                    <a:lnTo>
                      <a:pt x="400" y="92"/>
                    </a:lnTo>
                    <a:lnTo>
                      <a:pt x="405" y="95"/>
                    </a:lnTo>
                    <a:lnTo>
                      <a:pt x="412" y="97"/>
                    </a:lnTo>
                    <a:lnTo>
                      <a:pt x="418" y="98"/>
                    </a:lnTo>
                    <a:lnTo>
                      <a:pt x="425" y="99"/>
                    </a:lnTo>
                    <a:lnTo>
                      <a:pt x="425" y="111"/>
                    </a:lnTo>
                    <a:lnTo>
                      <a:pt x="425" y="120"/>
                    </a:lnTo>
                    <a:lnTo>
                      <a:pt x="425" y="130"/>
                    </a:lnTo>
                    <a:lnTo>
                      <a:pt x="425" y="142"/>
                    </a:lnTo>
                    <a:lnTo>
                      <a:pt x="419" y="151"/>
                    </a:lnTo>
                    <a:lnTo>
                      <a:pt x="416" y="158"/>
                    </a:lnTo>
                    <a:lnTo>
                      <a:pt x="413" y="164"/>
                    </a:lnTo>
                    <a:lnTo>
                      <a:pt x="412" y="170"/>
                    </a:lnTo>
                    <a:lnTo>
                      <a:pt x="412" y="175"/>
                    </a:lnTo>
                    <a:lnTo>
                      <a:pt x="412" y="181"/>
                    </a:lnTo>
                    <a:lnTo>
                      <a:pt x="414" y="186"/>
                    </a:lnTo>
                    <a:lnTo>
                      <a:pt x="415" y="190"/>
                    </a:lnTo>
                    <a:lnTo>
                      <a:pt x="419" y="200"/>
                    </a:lnTo>
                    <a:lnTo>
                      <a:pt x="423" y="211"/>
                    </a:lnTo>
                    <a:lnTo>
                      <a:pt x="425" y="218"/>
                    </a:lnTo>
                    <a:lnTo>
                      <a:pt x="426" y="226"/>
                    </a:lnTo>
                    <a:lnTo>
                      <a:pt x="426" y="236"/>
                    </a:lnTo>
                    <a:lnTo>
                      <a:pt x="425" y="247"/>
                    </a:lnTo>
                    <a:lnTo>
                      <a:pt x="426" y="261"/>
                    </a:lnTo>
                    <a:lnTo>
                      <a:pt x="426" y="274"/>
                    </a:lnTo>
                    <a:lnTo>
                      <a:pt x="425" y="280"/>
                    </a:lnTo>
                    <a:lnTo>
                      <a:pt x="423" y="285"/>
                    </a:lnTo>
                    <a:lnTo>
                      <a:pt x="418" y="292"/>
                    </a:lnTo>
                    <a:lnTo>
                      <a:pt x="412" y="296"/>
                    </a:lnTo>
                    <a:lnTo>
                      <a:pt x="385" y="296"/>
                    </a:lnTo>
                    <a:lnTo>
                      <a:pt x="380" y="298"/>
                    </a:lnTo>
                    <a:lnTo>
                      <a:pt x="375" y="299"/>
                    </a:lnTo>
                    <a:lnTo>
                      <a:pt x="370" y="299"/>
                    </a:lnTo>
                    <a:lnTo>
                      <a:pt x="365" y="297"/>
                    </a:lnTo>
                    <a:lnTo>
                      <a:pt x="360" y="296"/>
                    </a:lnTo>
                    <a:lnTo>
                      <a:pt x="356" y="293"/>
                    </a:lnTo>
                    <a:lnTo>
                      <a:pt x="351" y="290"/>
                    </a:lnTo>
                    <a:lnTo>
                      <a:pt x="347" y="286"/>
                    </a:lnTo>
                    <a:lnTo>
                      <a:pt x="338" y="278"/>
                    </a:lnTo>
                    <a:lnTo>
                      <a:pt x="330" y="269"/>
                    </a:lnTo>
                    <a:lnTo>
                      <a:pt x="324" y="261"/>
                    </a:lnTo>
                    <a:lnTo>
                      <a:pt x="318" y="253"/>
                    </a:lnTo>
                    <a:lnTo>
                      <a:pt x="311" y="253"/>
                    </a:lnTo>
                    <a:lnTo>
                      <a:pt x="304" y="252"/>
                    </a:lnTo>
                    <a:lnTo>
                      <a:pt x="294" y="251"/>
                    </a:lnTo>
                    <a:lnTo>
                      <a:pt x="279" y="247"/>
                    </a:lnTo>
                    <a:lnTo>
                      <a:pt x="278" y="232"/>
                    </a:lnTo>
                    <a:lnTo>
                      <a:pt x="275" y="217"/>
                    </a:lnTo>
                    <a:lnTo>
                      <a:pt x="274" y="210"/>
                    </a:lnTo>
                    <a:lnTo>
                      <a:pt x="272" y="203"/>
                    </a:lnTo>
                    <a:lnTo>
                      <a:pt x="269" y="197"/>
                    </a:lnTo>
                    <a:lnTo>
                      <a:pt x="266" y="190"/>
                    </a:lnTo>
                    <a:lnTo>
                      <a:pt x="261" y="184"/>
                    </a:lnTo>
                    <a:lnTo>
                      <a:pt x="257" y="179"/>
                    </a:lnTo>
                    <a:lnTo>
                      <a:pt x="251" y="173"/>
                    </a:lnTo>
                    <a:lnTo>
                      <a:pt x="245" y="168"/>
                    </a:lnTo>
                    <a:lnTo>
                      <a:pt x="238" y="165"/>
                    </a:lnTo>
                    <a:lnTo>
                      <a:pt x="230" y="162"/>
                    </a:lnTo>
                    <a:lnTo>
                      <a:pt x="222" y="161"/>
                    </a:lnTo>
                    <a:lnTo>
                      <a:pt x="213" y="160"/>
                    </a:lnTo>
                    <a:lnTo>
                      <a:pt x="204" y="161"/>
                    </a:lnTo>
                    <a:lnTo>
                      <a:pt x="195" y="162"/>
                    </a:lnTo>
                    <a:lnTo>
                      <a:pt x="188" y="163"/>
                    </a:lnTo>
                    <a:lnTo>
                      <a:pt x="181" y="166"/>
                    </a:lnTo>
                    <a:lnTo>
                      <a:pt x="173" y="168"/>
                    </a:lnTo>
                    <a:lnTo>
                      <a:pt x="167" y="172"/>
                    </a:lnTo>
                    <a:lnTo>
                      <a:pt x="160" y="176"/>
                    </a:lnTo>
                    <a:lnTo>
                      <a:pt x="155" y="181"/>
                    </a:lnTo>
                    <a:lnTo>
                      <a:pt x="141" y="191"/>
                    </a:lnTo>
                    <a:lnTo>
                      <a:pt x="131" y="202"/>
                    </a:lnTo>
                    <a:lnTo>
                      <a:pt x="118" y="215"/>
                    </a:lnTo>
                    <a:lnTo>
                      <a:pt x="106" y="228"/>
                    </a:lnTo>
                    <a:lnTo>
                      <a:pt x="105" y="218"/>
                    </a:lnTo>
                    <a:lnTo>
                      <a:pt x="103" y="209"/>
                    </a:lnTo>
                    <a:lnTo>
                      <a:pt x="100" y="201"/>
                    </a:lnTo>
                    <a:lnTo>
                      <a:pt x="95" y="193"/>
                    </a:lnTo>
                    <a:lnTo>
                      <a:pt x="90" y="186"/>
                    </a:lnTo>
                    <a:lnTo>
                      <a:pt x="83" y="179"/>
                    </a:lnTo>
                    <a:lnTo>
                      <a:pt x="76" y="171"/>
                    </a:lnTo>
                    <a:lnTo>
                      <a:pt x="68" y="165"/>
                    </a:lnTo>
                    <a:lnTo>
                      <a:pt x="50" y="153"/>
                    </a:lnTo>
                    <a:lnTo>
                      <a:pt x="33" y="140"/>
                    </a:lnTo>
                    <a:lnTo>
                      <a:pt x="24" y="134"/>
                    </a:lnTo>
                    <a:lnTo>
                      <a:pt x="15" y="127"/>
                    </a:lnTo>
                    <a:lnTo>
                      <a:pt x="8" y="119"/>
                    </a:lnTo>
                    <a:lnTo>
                      <a:pt x="0" y="111"/>
                    </a:lnTo>
                    <a:lnTo>
                      <a:pt x="15" y="101"/>
                    </a:lnTo>
                    <a:lnTo>
                      <a:pt x="31" y="90"/>
                    </a:lnTo>
                    <a:lnTo>
                      <a:pt x="46" y="77"/>
                    </a:lnTo>
                    <a:lnTo>
                      <a:pt x="60" y="62"/>
                    </a:lnTo>
                    <a:lnTo>
                      <a:pt x="75" y="48"/>
                    </a:lnTo>
                    <a:lnTo>
                      <a:pt x="87" y="33"/>
                    </a:lnTo>
                    <a:lnTo>
                      <a:pt x="98" y="17"/>
                    </a:lnTo>
                    <a:lnTo>
                      <a:pt x="106" y="0"/>
                    </a:lnTo>
                    <a:lnTo>
                      <a:pt x="179" y="13"/>
                    </a:lnTo>
                  </a:path>
                </a:pathLst>
              </a:custGeom>
              <a:grpFill/>
              <a:ln w="9525" cmpd="sng">
                <a:solidFill>
                  <a:srgbClr val="FFFFFF"/>
                </a:solidFill>
                <a:prstDash val="solid"/>
                <a:round/>
                <a:headEnd/>
                <a:tailEnd/>
              </a:ln>
            </p:spPr>
            <p:txBody>
              <a:bodyPr/>
              <a:lstStyle/>
              <a:p>
                <a:endParaRPr lang="en-GB" sz="1637"/>
              </a:p>
            </p:txBody>
          </p:sp>
          <p:sp>
            <p:nvSpPr>
              <p:cNvPr id="147" name="Freeform 465"/>
              <p:cNvSpPr>
                <a:spLocks/>
              </p:cNvSpPr>
              <p:nvPr>
                <p:custDataLst>
                  <p:tags r:id="rId130"/>
                </p:custDataLst>
              </p:nvPr>
            </p:nvSpPr>
            <p:spPr bwMode="auto">
              <a:xfrm>
                <a:off x="3676912" y="3598660"/>
                <a:ext cx="173298" cy="232825"/>
              </a:xfrm>
              <a:custGeom>
                <a:avLst/>
                <a:gdLst>
                  <a:gd name="T0" fmla="*/ 23437 w 359"/>
                  <a:gd name="T1" fmla="*/ 200089 h 394"/>
                  <a:gd name="T2" fmla="*/ 23437 w 359"/>
                  <a:gd name="T3" fmla="*/ 187518 h 394"/>
                  <a:gd name="T4" fmla="*/ 23437 w 359"/>
                  <a:gd name="T5" fmla="*/ 174424 h 394"/>
                  <a:gd name="T6" fmla="*/ 22110 w 359"/>
                  <a:gd name="T7" fmla="*/ 163424 h 394"/>
                  <a:gd name="T8" fmla="*/ 19015 w 359"/>
                  <a:gd name="T9" fmla="*/ 153472 h 394"/>
                  <a:gd name="T10" fmla="*/ 15477 w 359"/>
                  <a:gd name="T11" fmla="*/ 145091 h 394"/>
                  <a:gd name="T12" fmla="*/ 5749 w 359"/>
                  <a:gd name="T13" fmla="*/ 128330 h 394"/>
                  <a:gd name="T14" fmla="*/ 0 w 359"/>
                  <a:gd name="T15" fmla="*/ 96902 h 394"/>
                  <a:gd name="T16" fmla="*/ 14593 w 359"/>
                  <a:gd name="T17" fmla="*/ 94807 h 394"/>
                  <a:gd name="T18" fmla="*/ 17688 w 359"/>
                  <a:gd name="T19" fmla="*/ 88521 h 394"/>
                  <a:gd name="T20" fmla="*/ 18130 w 359"/>
                  <a:gd name="T21" fmla="*/ 78569 h 394"/>
                  <a:gd name="T22" fmla="*/ 16804 w 359"/>
                  <a:gd name="T23" fmla="*/ 56046 h 394"/>
                  <a:gd name="T24" fmla="*/ 13708 w 359"/>
                  <a:gd name="T25" fmla="*/ 34047 h 394"/>
                  <a:gd name="T26" fmla="*/ 14150 w 359"/>
                  <a:gd name="T27" fmla="*/ 24618 h 394"/>
                  <a:gd name="T28" fmla="*/ 15919 w 359"/>
                  <a:gd name="T29" fmla="*/ 18857 h 394"/>
                  <a:gd name="T30" fmla="*/ 53064 w 359"/>
                  <a:gd name="T31" fmla="*/ 16238 h 394"/>
                  <a:gd name="T32" fmla="*/ 53948 w 359"/>
                  <a:gd name="T33" fmla="*/ 11523 h 394"/>
                  <a:gd name="T34" fmla="*/ 56602 w 359"/>
                  <a:gd name="T35" fmla="*/ 7333 h 394"/>
                  <a:gd name="T36" fmla="*/ 61908 w 359"/>
                  <a:gd name="T37" fmla="*/ 0 h 394"/>
                  <a:gd name="T38" fmla="*/ 62792 w 359"/>
                  <a:gd name="T39" fmla="*/ 9428 h 394"/>
                  <a:gd name="T40" fmla="*/ 62792 w 359"/>
                  <a:gd name="T41" fmla="*/ 13619 h 394"/>
                  <a:gd name="T42" fmla="*/ 61908 w 359"/>
                  <a:gd name="T43" fmla="*/ 16238 h 394"/>
                  <a:gd name="T44" fmla="*/ 74290 w 359"/>
                  <a:gd name="T45" fmla="*/ 16238 h 394"/>
                  <a:gd name="T46" fmla="*/ 82249 w 359"/>
                  <a:gd name="T47" fmla="*/ 16238 h 394"/>
                  <a:gd name="T48" fmla="*/ 94631 w 359"/>
                  <a:gd name="T49" fmla="*/ 19904 h 394"/>
                  <a:gd name="T50" fmla="*/ 103033 w 359"/>
                  <a:gd name="T51" fmla="*/ 25666 h 394"/>
                  <a:gd name="T52" fmla="*/ 108781 w 359"/>
                  <a:gd name="T53" fmla="*/ 30380 h 394"/>
                  <a:gd name="T54" fmla="*/ 114530 w 359"/>
                  <a:gd name="T55" fmla="*/ 31951 h 394"/>
                  <a:gd name="T56" fmla="*/ 118510 w 359"/>
                  <a:gd name="T57" fmla="*/ 30904 h 394"/>
                  <a:gd name="T58" fmla="*/ 121605 w 359"/>
                  <a:gd name="T59" fmla="*/ 28285 h 394"/>
                  <a:gd name="T60" fmla="*/ 126469 w 359"/>
                  <a:gd name="T61" fmla="*/ 19380 h 394"/>
                  <a:gd name="T62" fmla="*/ 137967 w 359"/>
                  <a:gd name="T63" fmla="*/ 27237 h 394"/>
                  <a:gd name="T64" fmla="*/ 143715 w 359"/>
                  <a:gd name="T65" fmla="*/ 30904 h 394"/>
                  <a:gd name="T66" fmla="*/ 149464 w 359"/>
                  <a:gd name="T67" fmla="*/ 31951 h 394"/>
                  <a:gd name="T68" fmla="*/ 156097 w 359"/>
                  <a:gd name="T69" fmla="*/ 84331 h 394"/>
                  <a:gd name="T70" fmla="*/ 149464 w 359"/>
                  <a:gd name="T71" fmla="*/ 96902 h 394"/>
                  <a:gd name="T72" fmla="*/ 142831 w 359"/>
                  <a:gd name="T73" fmla="*/ 107902 h 394"/>
                  <a:gd name="T74" fmla="*/ 139293 w 359"/>
                  <a:gd name="T75" fmla="*/ 117330 h 394"/>
                  <a:gd name="T76" fmla="*/ 138409 w 359"/>
                  <a:gd name="T77" fmla="*/ 125187 h 394"/>
                  <a:gd name="T78" fmla="*/ 138409 w 359"/>
                  <a:gd name="T79" fmla="*/ 133568 h 394"/>
                  <a:gd name="T80" fmla="*/ 141946 w 359"/>
                  <a:gd name="T81" fmla="*/ 142996 h 394"/>
                  <a:gd name="T82" fmla="*/ 146368 w 359"/>
                  <a:gd name="T83" fmla="*/ 153472 h 394"/>
                  <a:gd name="T84" fmla="*/ 149022 w 359"/>
                  <a:gd name="T85" fmla="*/ 161852 h 394"/>
                  <a:gd name="T86" fmla="*/ 149022 w 359"/>
                  <a:gd name="T87" fmla="*/ 168138 h 394"/>
                  <a:gd name="T88" fmla="*/ 145926 w 359"/>
                  <a:gd name="T89" fmla="*/ 176519 h 394"/>
                  <a:gd name="T90" fmla="*/ 144157 w 359"/>
                  <a:gd name="T91" fmla="*/ 183852 h 394"/>
                  <a:gd name="T92" fmla="*/ 141062 w 359"/>
                  <a:gd name="T93" fmla="*/ 187518 h 394"/>
                  <a:gd name="T94" fmla="*/ 136198 w 359"/>
                  <a:gd name="T95" fmla="*/ 186471 h 394"/>
                  <a:gd name="T96" fmla="*/ 131776 w 359"/>
                  <a:gd name="T97" fmla="*/ 183328 h 394"/>
                  <a:gd name="T98" fmla="*/ 126912 w 359"/>
                  <a:gd name="T99" fmla="*/ 178090 h 394"/>
                  <a:gd name="T100" fmla="*/ 122490 w 359"/>
                  <a:gd name="T101" fmla="*/ 175471 h 394"/>
                  <a:gd name="T102" fmla="*/ 117625 w 359"/>
                  <a:gd name="T103" fmla="*/ 174424 h 394"/>
                  <a:gd name="T104" fmla="*/ 108781 w 359"/>
                  <a:gd name="T105" fmla="*/ 174424 h 394"/>
                  <a:gd name="T106" fmla="*/ 97726 w 359"/>
                  <a:gd name="T107" fmla="*/ 175995 h 394"/>
                  <a:gd name="T108" fmla="*/ 80038 w 359"/>
                  <a:gd name="T109" fmla="*/ 179661 h 394"/>
                  <a:gd name="T110" fmla="*/ 57928 w 359"/>
                  <a:gd name="T111" fmla="*/ 188042 h 394"/>
                  <a:gd name="T112" fmla="*/ 38029 w 359"/>
                  <a:gd name="T113" fmla="*/ 196423 h 394"/>
                  <a:gd name="T114" fmla="*/ 23437 w 359"/>
                  <a:gd name="T115" fmla="*/ 206375 h 39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359" h="394">
                    <a:moveTo>
                      <a:pt x="53" y="394"/>
                    </a:moveTo>
                    <a:lnTo>
                      <a:pt x="53" y="382"/>
                    </a:lnTo>
                    <a:lnTo>
                      <a:pt x="53" y="370"/>
                    </a:lnTo>
                    <a:lnTo>
                      <a:pt x="53" y="358"/>
                    </a:lnTo>
                    <a:lnTo>
                      <a:pt x="53" y="346"/>
                    </a:lnTo>
                    <a:lnTo>
                      <a:pt x="53" y="333"/>
                    </a:lnTo>
                    <a:lnTo>
                      <a:pt x="52" y="322"/>
                    </a:lnTo>
                    <a:lnTo>
                      <a:pt x="50" y="312"/>
                    </a:lnTo>
                    <a:lnTo>
                      <a:pt x="46" y="302"/>
                    </a:lnTo>
                    <a:lnTo>
                      <a:pt x="43" y="293"/>
                    </a:lnTo>
                    <a:lnTo>
                      <a:pt x="40" y="284"/>
                    </a:lnTo>
                    <a:lnTo>
                      <a:pt x="35" y="277"/>
                    </a:lnTo>
                    <a:lnTo>
                      <a:pt x="32" y="270"/>
                    </a:lnTo>
                    <a:lnTo>
                      <a:pt x="13" y="245"/>
                    </a:lnTo>
                    <a:lnTo>
                      <a:pt x="0" y="222"/>
                    </a:lnTo>
                    <a:lnTo>
                      <a:pt x="0" y="185"/>
                    </a:lnTo>
                    <a:lnTo>
                      <a:pt x="27" y="185"/>
                    </a:lnTo>
                    <a:lnTo>
                      <a:pt x="33" y="181"/>
                    </a:lnTo>
                    <a:lnTo>
                      <a:pt x="38" y="174"/>
                    </a:lnTo>
                    <a:lnTo>
                      <a:pt x="40" y="169"/>
                    </a:lnTo>
                    <a:lnTo>
                      <a:pt x="41" y="163"/>
                    </a:lnTo>
                    <a:lnTo>
                      <a:pt x="41" y="150"/>
                    </a:lnTo>
                    <a:lnTo>
                      <a:pt x="40" y="136"/>
                    </a:lnTo>
                    <a:lnTo>
                      <a:pt x="38" y="107"/>
                    </a:lnTo>
                    <a:lnTo>
                      <a:pt x="32" y="79"/>
                    </a:lnTo>
                    <a:lnTo>
                      <a:pt x="31" y="65"/>
                    </a:lnTo>
                    <a:lnTo>
                      <a:pt x="31" y="52"/>
                    </a:lnTo>
                    <a:lnTo>
                      <a:pt x="32" y="47"/>
                    </a:lnTo>
                    <a:lnTo>
                      <a:pt x="34" y="41"/>
                    </a:lnTo>
                    <a:lnTo>
                      <a:pt x="36" y="36"/>
                    </a:lnTo>
                    <a:lnTo>
                      <a:pt x="40" y="31"/>
                    </a:lnTo>
                    <a:lnTo>
                      <a:pt x="120" y="31"/>
                    </a:lnTo>
                    <a:lnTo>
                      <a:pt x="120" y="27"/>
                    </a:lnTo>
                    <a:lnTo>
                      <a:pt x="122" y="22"/>
                    </a:lnTo>
                    <a:lnTo>
                      <a:pt x="124" y="18"/>
                    </a:lnTo>
                    <a:lnTo>
                      <a:pt x="128" y="14"/>
                    </a:lnTo>
                    <a:lnTo>
                      <a:pt x="133" y="6"/>
                    </a:lnTo>
                    <a:lnTo>
                      <a:pt x="140" y="0"/>
                    </a:lnTo>
                    <a:lnTo>
                      <a:pt x="141" y="9"/>
                    </a:lnTo>
                    <a:lnTo>
                      <a:pt x="142" y="18"/>
                    </a:lnTo>
                    <a:lnTo>
                      <a:pt x="143" y="22"/>
                    </a:lnTo>
                    <a:lnTo>
                      <a:pt x="142" y="26"/>
                    </a:lnTo>
                    <a:lnTo>
                      <a:pt x="142" y="29"/>
                    </a:lnTo>
                    <a:lnTo>
                      <a:pt x="140" y="31"/>
                    </a:lnTo>
                    <a:lnTo>
                      <a:pt x="153" y="31"/>
                    </a:lnTo>
                    <a:lnTo>
                      <a:pt x="168" y="31"/>
                    </a:lnTo>
                    <a:lnTo>
                      <a:pt x="180" y="31"/>
                    </a:lnTo>
                    <a:lnTo>
                      <a:pt x="186" y="31"/>
                    </a:lnTo>
                    <a:lnTo>
                      <a:pt x="202" y="34"/>
                    </a:lnTo>
                    <a:lnTo>
                      <a:pt x="214" y="38"/>
                    </a:lnTo>
                    <a:lnTo>
                      <a:pt x="224" y="43"/>
                    </a:lnTo>
                    <a:lnTo>
                      <a:pt x="233" y="49"/>
                    </a:lnTo>
                    <a:lnTo>
                      <a:pt x="240" y="53"/>
                    </a:lnTo>
                    <a:lnTo>
                      <a:pt x="246" y="58"/>
                    </a:lnTo>
                    <a:lnTo>
                      <a:pt x="252" y="60"/>
                    </a:lnTo>
                    <a:lnTo>
                      <a:pt x="259" y="61"/>
                    </a:lnTo>
                    <a:lnTo>
                      <a:pt x="264" y="61"/>
                    </a:lnTo>
                    <a:lnTo>
                      <a:pt x="268" y="59"/>
                    </a:lnTo>
                    <a:lnTo>
                      <a:pt x="271" y="57"/>
                    </a:lnTo>
                    <a:lnTo>
                      <a:pt x="275" y="54"/>
                    </a:lnTo>
                    <a:lnTo>
                      <a:pt x="280" y="46"/>
                    </a:lnTo>
                    <a:lnTo>
                      <a:pt x="286" y="37"/>
                    </a:lnTo>
                    <a:lnTo>
                      <a:pt x="300" y="44"/>
                    </a:lnTo>
                    <a:lnTo>
                      <a:pt x="312" y="52"/>
                    </a:lnTo>
                    <a:lnTo>
                      <a:pt x="319" y="55"/>
                    </a:lnTo>
                    <a:lnTo>
                      <a:pt x="325" y="59"/>
                    </a:lnTo>
                    <a:lnTo>
                      <a:pt x="332" y="61"/>
                    </a:lnTo>
                    <a:lnTo>
                      <a:pt x="338" y="61"/>
                    </a:lnTo>
                    <a:lnTo>
                      <a:pt x="359" y="148"/>
                    </a:lnTo>
                    <a:lnTo>
                      <a:pt x="353" y="161"/>
                    </a:lnTo>
                    <a:lnTo>
                      <a:pt x="346" y="173"/>
                    </a:lnTo>
                    <a:lnTo>
                      <a:pt x="338" y="185"/>
                    </a:lnTo>
                    <a:lnTo>
                      <a:pt x="331" y="195"/>
                    </a:lnTo>
                    <a:lnTo>
                      <a:pt x="323" y="206"/>
                    </a:lnTo>
                    <a:lnTo>
                      <a:pt x="318" y="218"/>
                    </a:lnTo>
                    <a:lnTo>
                      <a:pt x="315" y="224"/>
                    </a:lnTo>
                    <a:lnTo>
                      <a:pt x="314" y="231"/>
                    </a:lnTo>
                    <a:lnTo>
                      <a:pt x="313" y="239"/>
                    </a:lnTo>
                    <a:lnTo>
                      <a:pt x="312" y="247"/>
                    </a:lnTo>
                    <a:lnTo>
                      <a:pt x="313" y="255"/>
                    </a:lnTo>
                    <a:lnTo>
                      <a:pt x="316" y="263"/>
                    </a:lnTo>
                    <a:lnTo>
                      <a:pt x="321" y="273"/>
                    </a:lnTo>
                    <a:lnTo>
                      <a:pt x="325" y="283"/>
                    </a:lnTo>
                    <a:lnTo>
                      <a:pt x="331" y="293"/>
                    </a:lnTo>
                    <a:lnTo>
                      <a:pt x="335" y="302"/>
                    </a:lnTo>
                    <a:lnTo>
                      <a:pt x="337" y="309"/>
                    </a:lnTo>
                    <a:lnTo>
                      <a:pt x="338" y="315"/>
                    </a:lnTo>
                    <a:lnTo>
                      <a:pt x="337" y="321"/>
                    </a:lnTo>
                    <a:lnTo>
                      <a:pt x="332" y="331"/>
                    </a:lnTo>
                    <a:lnTo>
                      <a:pt x="330" y="337"/>
                    </a:lnTo>
                    <a:lnTo>
                      <a:pt x="327" y="343"/>
                    </a:lnTo>
                    <a:lnTo>
                      <a:pt x="326" y="351"/>
                    </a:lnTo>
                    <a:lnTo>
                      <a:pt x="325" y="358"/>
                    </a:lnTo>
                    <a:lnTo>
                      <a:pt x="319" y="358"/>
                    </a:lnTo>
                    <a:lnTo>
                      <a:pt x="313" y="357"/>
                    </a:lnTo>
                    <a:lnTo>
                      <a:pt x="308" y="356"/>
                    </a:lnTo>
                    <a:lnTo>
                      <a:pt x="304" y="354"/>
                    </a:lnTo>
                    <a:lnTo>
                      <a:pt x="298" y="350"/>
                    </a:lnTo>
                    <a:lnTo>
                      <a:pt x="292" y="346"/>
                    </a:lnTo>
                    <a:lnTo>
                      <a:pt x="287" y="340"/>
                    </a:lnTo>
                    <a:lnTo>
                      <a:pt x="280" y="336"/>
                    </a:lnTo>
                    <a:lnTo>
                      <a:pt x="277" y="335"/>
                    </a:lnTo>
                    <a:lnTo>
                      <a:pt x="271" y="334"/>
                    </a:lnTo>
                    <a:lnTo>
                      <a:pt x="266" y="333"/>
                    </a:lnTo>
                    <a:lnTo>
                      <a:pt x="259" y="333"/>
                    </a:lnTo>
                    <a:lnTo>
                      <a:pt x="246" y="333"/>
                    </a:lnTo>
                    <a:lnTo>
                      <a:pt x="234" y="334"/>
                    </a:lnTo>
                    <a:lnTo>
                      <a:pt x="221" y="336"/>
                    </a:lnTo>
                    <a:lnTo>
                      <a:pt x="208" y="338"/>
                    </a:lnTo>
                    <a:lnTo>
                      <a:pt x="181" y="343"/>
                    </a:lnTo>
                    <a:lnTo>
                      <a:pt x="155" y="351"/>
                    </a:lnTo>
                    <a:lnTo>
                      <a:pt x="131" y="359"/>
                    </a:lnTo>
                    <a:lnTo>
                      <a:pt x="107" y="367"/>
                    </a:lnTo>
                    <a:lnTo>
                      <a:pt x="86" y="375"/>
                    </a:lnTo>
                    <a:lnTo>
                      <a:pt x="66" y="382"/>
                    </a:lnTo>
                    <a:lnTo>
                      <a:pt x="53" y="394"/>
                    </a:lnTo>
                  </a:path>
                </a:pathLst>
              </a:custGeom>
              <a:grpFill/>
              <a:ln w="9525" cmpd="sng">
                <a:solidFill>
                  <a:srgbClr val="FFFFFF"/>
                </a:solidFill>
                <a:prstDash val="solid"/>
                <a:round/>
                <a:headEnd/>
                <a:tailEnd/>
              </a:ln>
            </p:spPr>
            <p:txBody>
              <a:bodyPr/>
              <a:lstStyle/>
              <a:p>
                <a:endParaRPr lang="en-GB" sz="1637"/>
              </a:p>
            </p:txBody>
          </p:sp>
          <p:sp>
            <p:nvSpPr>
              <p:cNvPr id="148" name="Freeform 466"/>
              <p:cNvSpPr>
                <a:spLocks/>
              </p:cNvSpPr>
              <p:nvPr>
                <p:custDataLst>
                  <p:tags r:id="rId131"/>
                </p:custDataLst>
              </p:nvPr>
            </p:nvSpPr>
            <p:spPr bwMode="auto">
              <a:xfrm>
                <a:off x="4843206" y="3818948"/>
                <a:ext cx="209691" cy="306256"/>
              </a:xfrm>
              <a:custGeom>
                <a:avLst/>
                <a:gdLst>
                  <a:gd name="T0" fmla="*/ 175403 w 449"/>
                  <a:gd name="T1" fmla="*/ 54500 h 523"/>
                  <a:gd name="T2" fmla="*/ 173264 w 449"/>
                  <a:gd name="T3" fmla="*/ 50867 h 523"/>
                  <a:gd name="T4" fmla="*/ 174548 w 449"/>
                  <a:gd name="T5" fmla="*/ 47753 h 523"/>
                  <a:gd name="T6" fmla="*/ 180537 w 449"/>
                  <a:gd name="T7" fmla="*/ 39967 h 523"/>
                  <a:gd name="T8" fmla="*/ 188665 w 449"/>
                  <a:gd name="T9" fmla="*/ 31143 h 523"/>
                  <a:gd name="T10" fmla="*/ 191232 w 449"/>
                  <a:gd name="T11" fmla="*/ 25952 h 523"/>
                  <a:gd name="T12" fmla="*/ 192088 w 449"/>
                  <a:gd name="T13" fmla="*/ 19205 h 523"/>
                  <a:gd name="T14" fmla="*/ 184815 w 449"/>
                  <a:gd name="T15" fmla="*/ 17648 h 523"/>
                  <a:gd name="T16" fmla="*/ 180537 w 449"/>
                  <a:gd name="T17" fmla="*/ 14014 h 523"/>
                  <a:gd name="T18" fmla="*/ 175831 w 449"/>
                  <a:gd name="T19" fmla="*/ 10900 h 523"/>
                  <a:gd name="T20" fmla="*/ 166847 w 449"/>
                  <a:gd name="T21" fmla="*/ 9343 h 523"/>
                  <a:gd name="T22" fmla="*/ 161285 w 449"/>
                  <a:gd name="T23" fmla="*/ 10381 h 523"/>
                  <a:gd name="T24" fmla="*/ 157435 w 449"/>
                  <a:gd name="T25" fmla="*/ 12457 h 523"/>
                  <a:gd name="T26" fmla="*/ 151874 w 449"/>
                  <a:gd name="T27" fmla="*/ 19205 h 523"/>
                  <a:gd name="T28" fmla="*/ 145456 w 449"/>
                  <a:gd name="T29" fmla="*/ 25952 h 523"/>
                  <a:gd name="T30" fmla="*/ 139467 w 449"/>
                  <a:gd name="T31" fmla="*/ 28029 h 523"/>
                  <a:gd name="T32" fmla="*/ 132622 w 449"/>
                  <a:gd name="T33" fmla="*/ 28548 h 523"/>
                  <a:gd name="T34" fmla="*/ 122782 w 449"/>
                  <a:gd name="T35" fmla="*/ 28029 h 523"/>
                  <a:gd name="T36" fmla="*/ 114226 w 449"/>
                  <a:gd name="T37" fmla="*/ 25952 h 523"/>
                  <a:gd name="T38" fmla="*/ 100536 w 449"/>
                  <a:gd name="T39" fmla="*/ 18686 h 523"/>
                  <a:gd name="T40" fmla="*/ 88129 w 449"/>
                  <a:gd name="T41" fmla="*/ 9862 h 523"/>
                  <a:gd name="T42" fmla="*/ 80857 w 449"/>
                  <a:gd name="T43" fmla="*/ 6229 h 523"/>
                  <a:gd name="T44" fmla="*/ 72728 w 449"/>
                  <a:gd name="T45" fmla="*/ 3114 h 523"/>
                  <a:gd name="T46" fmla="*/ 57327 w 449"/>
                  <a:gd name="T47" fmla="*/ 4152 h 523"/>
                  <a:gd name="T48" fmla="*/ 50910 w 449"/>
                  <a:gd name="T49" fmla="*/ 3114 h 523"/>
                  <a:gd name="T50" fmla="*/ 44065 w 449"/>
                  <a:gd name="T51" fmla="*/ 0 h 523"/>
                  <a:gd name="T52" fmla="*/ 22246 w 449"/>
                  <a:gd name="T53" fmla="*/ 0 h 523"/>
                  <a:gd name="T54" fmla="*/ 2139 w 449"/>
                  <a:gd name="T55" fmla="*/ 0 h 523"/>
                  <a:gd name="T56" fmla="*/ 2139 w 449"/>
                  <a:gd name="T57" fmla="*/ 9343 h 523"/>
                  <a:gd name="T58" fmla="*/ 2139 w 449"/>
                  <a:gd name="T59" fmla="*/ 19205 h 523"/>
                  <a:gd name="T60" fmla="*/ 6417 w 449"/>
                  <a:gd name="T61" fmla="*/ 31143 h 523"/>
                  <a:gd name="T62" fmla="*/ 9840 w 449"/>
                  <a:gd name="T63" fmla="*/ 47234 h 523"/>
                  <a:gd name="T64" fmla="*/ 13262 w 449"/>
                  <a:gd name="T65" fmla="*/ 66438 h 523"/>
                  <a:gd name="T66" fmla="*/ 16257 w 449"/>
                  <a:gd name="T67" fmla="*/ 89277 h 523"/>
                  <a:gd name="T68" fmla="*/ 15829 w 449"/>
                  <a:gd name="T69" fmla="*/ 106924 h 523"/>
                  <a:gd name="T70" fmla="*/ 12407 w 449"/>
                  <a:gd name="T71" fmla="*/ 119381 h 523"/>
                  <a:gd name="T72" fmla="*/ 2995 w 449"/>
                  <a:gd name="T73" fmla="*/ 139624 h 523"/>
                  <a:gd name="T74" fmla="*/ 4278 w 449"/>
                  <a:gd name="T75" fmla="*/ 166615 h 523"/>
                  <a:gd name="T76" fmla="*/ 11979 w 449"/>
                  <a:gd name="T77" fmla="*/ 175958 h 523"/>
                  <a:gd name="T78" fmla="*/ 35936 w 449"/>
                  <a:gd name="T79" fmla="*/ 190491 h 523"/>
                  <a:gd name="T80" fmla="*/ 58183 w 449"/>
                  <a:gd name="T81" fmla="*/ 205544 h 523"/>
                  <a:gd name="T82" fmla="*/ 72728 w 449"/>
                  <a:gd name="T83" fmla="*/ 218001 h 523"/>
                  <a:gd name="T84" fmla="*/ 80857 w 449"/>
                  <a:gd name="T85" fmla="*/ 226306 h 523"/>
                  <a:gd name="T86" fmla="*/ 84707 w 449"/>
                  <a:gd name="T87" fmla="*/ 234091 h 523"/>
                  <a:gd name="T88" fmla="*/ 85990 w 449"/>
                  <a:gd name="T89" fmla="*/ 240839 h 523"/>
                  <a:gd name="T90" fmla="*/ 89413 w 449"/>
                  <a:gd name="T91" fmla="*/ 248625 h 523"/>
                  <a:gd name="T92" fmla="*/ 94119 w 449"/>
                  <a:gd name="T93" fmla="*/ 255372 h 523"/>
                  <a:gd name="T94" fmla="*/ 99680 w 449"/>
                  <a:gd name="T95" fmla="*/ 261082 h 523"/>
                  <a:gd name="T96" fmla="*/ 105670 w 449"/>
                  <a:gd name="T97" fmla="*/ 265753 h 523"/>
                  <a:gd name="T98" fmla="*/ 112943 w 449"/>
                  <a:gd name="T99" fmla="*/ 269387 h 523"/>
                  <a:gd name="T100" fmla="*/ 120215 w 449"/>
                  <a:gd name="T101" fmla="*/ 271463 h 523"/>
                  <a:gd name="T102" fmla="*/ 130055 w 449"/>
                  <a:gd name="T103" fmla="*/ 260563 h 523"/>
                  <a:gd name="T104" fmla="*/ 143317 w 449"/>
                  <a:gd name="T105" fmla="*/ 239801 h 523"/>
                  <a:gd name="T106" fmla="*/ 156152 w 449"/>
                  <a:gd name="T107" fmla="*/ 221634 h 523"/>
                  <a:gd name="T108" fmla="*/ 168558 w 449"/>
                  <a:gd name="T109" fmla="*/ 202429 h 52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449" h="523">
                    <a:moveTo>
                      <a:pt x="410" y="370"/>
                    </a:moveTo>
                    <a:lnTo>
                      <a:pt x="410" y="105"/>
                    </a:lnTo>
                    <a:lnTo>
                      <a:pt x="407" y="102"/>
                    </a:lnTo>
                    <a:lnTo>
                      <a:pt x="405" y="98"/>
                    </a:lnTo>
                    <a:lnTo>
                      <a:pt x="405" y="95"/>
                    </a:lnTo>
                    <a:lnTo>
                      <a:pt x="408" y="92"/>
                    </a:lnTo>
                    <a:lnTo>
                      <a:pt x="413" y="84"/>
                    </a:lnTo>
                    <a:lnTo>
                      <a:pt x="422" y="77"/>
                    </a:lnTo>
                    <a:lnTo>
                      <a:pt x="432" y="70"/>
                    </a:lnTo>
                    <a:lnTo>
                      <a:pt x="441" y="60"/>
                    </a:lnTo>
                    <a:lnTo>
                      <a:pt x="444" y="55"/>
                    </a:lnTo>
                    <a:lnTo>
                      <a:pt x="447" y="50"/>
                    </a:lnTo>
                    <a:lnTo>
                      <a:pt x="448" y="44"/>
                    </a:lnTo>
                    <a:lnTo>
                      <a:pt x="449" y="37"/>
                    </a:lnTo>
                    <a:lnTo>
                      <a:pt x="438" y="37"/>
                    </a:lnTo>
                    <a:lnTo>
                      <a:pt x="432" y="34"/>
                    </a:lnTo>
                    <a:lnTo>
                      <a:pt x="426" y="32"/>
                    </a:lnTo>
                    <a:lnTo>
                      <a:pt x="422" y="27"/>
                    </a:lnTo>
                    <a:lnTo>
                      <a:pt x="418" y="24"/>
                    </a:lnTo>
                    <a:lnTo>
                      <a:pt x="411" y="21"/>
                    </a:lnTo>
                    <a:lnTo>
                      <a:pt x="402" y="19"/>
                    </a:lnTo>
                    <a:lnTo>
                      <a:pt x="390" y="18"/>
                    </a:lnTo>
                    <a:lnTo>
                      <a:pt x="382" y="19"/>
                    </a:lnTo>
                    <a:lnTo>
                      <a:pt x="377" y="20"/>
                    </a:lnTo>
                    <a:lnTo>
                      <a:pt x="371" y="22"/>
                    </a:lnTo>
                    <a:lnTo>
                      <a:pt x="368" y="24"/>
                    </a:lnTo>
                    <a:lnTo>
                      <a:pt x="360" y="31"/>
                    </a:lnTo>
                    <a:lnTo>
                      <a:pt x="355" y="37"/>
                    </a:lnTo>
                    <a:lnTo>
                      <a:pt x="348" y="44"/>
                    </a:lnTo>
                    <a:lnTo>
                      <a:pt x="340" y="50"/>
                    </a:lnTo>
                    <a:lnTo>
                      <a:pt x="333" y="52"/>
                    </a:lnTo>
                    <a:lnTo>
                      <a:pt x="326" y="54"/>
                    </a:lnTo>
                    <a:lnTo>
                      <a:pt x="319" y="55"/>
                    </a:lnTo>
                    <a:lnTo>
                      <a:pt x="310" y="55"/>
                    </a:lnTo>
                    <a:lnTo>
                      <a:pt x="298" y="55"/>
                    </a:lnTo>
                    <a:lnTo>
                      <a:pt x="287" y="54"/>
                    </a:lnTo>
                    <a:lnTo>
                      <a:pt x="277" y="52"/>
                    </a:lnTo>
                    <a:lnTo>
                      <a:pt x="267" y="50"/>
                    </a:lnTo>
                    <a:lnTo>
                      <a:pt x="251" y="43"/>
                    </a:lnTo>
                    <a:lnTo>
                      <a:pt x="235" y="36"/>
                    </a:lnTo>
                    <a:lnTo>
                      <a:pt x="220" y="27"/>
                    </a:lnTo>
                    <a:lnTo>
                      <a:pt x="206" y="19"/>
                    </a:lnTo>
                    <a:lnTo>
                      <a:pt x="197" y="15"/>
                    </a:lnTo>
                    <a:lnTo>
                      <a:pt x="189" y="12"/>
                    </a:lnTo>
                    <a:lnTo>
                      <a:pt x="180" y="9"/>
                    </a:lnTo>
                    <a:lnTo>
                      <a:pt x="170" y="6"/>
                    </a:lnTo>
                    <a:lnTo>
                      <a:pt x="152" y="7"/>
                    </a:lnTo>
                    <a:lnTo>
                      <a:pt x="134" y="8"/>
                    </a:lnTo>
                    <a:lnTo>
                      <a:pt x="127" y="7"/>
                    </a:lnTo>
                    <a:lnTo>
                      <a:pt x="119" y="6"/>
                    </a:lnTo>
                    <a:lnTo>
                      <a:pt x="111" y="4"/>
                    </a:lnTo>
                    <a:lnTo>
                      <a:pt x="103" y="0"/>
                    </a:lnTo>
                    <a:lnTo>
                      <a:pt x="80" y="0"/>
                    </a:lnTo>
                    <a:lnTo>
                      <a:pt x="52" y="0"/>
                    </a:lnTo>
                    <a:lnTo>
                      <a:pt x="24" y="0"/>
                    </a:lnTo>
                    <a:lnTo>
                      <a:pt x="5" y="0"/>
                    </a:lnTo>
                    <a:lnTo>
                      <a:pt x="5" y="7"/>
                    </a:lnTo>
                    <a:lnTo>
                      <a:pt x="5" y="18"/>
                    </a:lnTo>
                    <a:lnTo>
                      <a:pt x="5" y="29"/>
                    </a:lnTo>
                    <a:lnTo>
                      <a:pt x="5" y="37"/>
                    </a:lnTo>
                    <a:lnTo>
                      <a:pt x="9" y="47"/>
                    </a:lnTo>
                    <a:lnTo>
                      <a:pt x="15" y="60"/>
                    </a:lnTo>
                    <a:lnTo>
                      <a:pt x="19" y="74"/>
                    </a:lnTo>
                    <a:lnTo>
                      <a:pt x="23" y="91"/>
                    </a:lnTo>
                    <a:lnTo>
                      <a:pt x="28" y="109"/>
                    </a:lnTo>
                    <a:lnTo>
                      <a:pt x="31" y="128"/>
                    </a:lnTo>
                    <a:lnTo>
                      <a:pt x="34" y="150"/>
                    </a:lnTo>
                    <a:lnTo>
                      <a:pt x="38" y="172"/>
                    </a:lnTo>
                    <a:lnTo>
                      <a:pt x="38" y="190"/>
                    </a:lnTo>
                    <a:lnTo>
                      <a:pt x="37" y="206"/>
                    </a:lnTo>
                    <a:lnTo>
                      <a:pt x="33" y="219"/>
                    </a:lnTo>
                    <a:lnTo>
                      <a:pt x="29" y="230"/>
                    </a:lnTo>
                    <a:lnTo>
                      <a:pt x="18" y="249"/>
                    </a:lnTo>
                    <a:lnTo>
                      <a:pt x="7" y="269"/>
                    </a:lnTo>
                    <a:lnTo>
                      <a:pt x="17" y="284"/>
                    </a:lnTo>
                    <a:lnTo>
                      <a:pt x="10" y="321"/>
                    </a:lnTo>
                    <a:lnTo>
                      <a:pt x="0" y="328"/>
                    </a:lnTo>
                    <a:lnTo>
                      <a:pt x="28" y="339"/>
                    </a:lnTo>
                    <a:lnTo>
                      <a:pt x="55" y="352"/>
                    </a:lnTo>
                    <a:lnTo>
                      <a:pt x="84" y="367"/>
                    </a:lnTo>
                    <a:lnTo>
                      <a:pt x="111" y="381"/>
                    </a:lnTo>
                    <a:lnTo>
                      <a:pt x="136" y="396"/>
                    </a:lnTo>
                    <a:lnTo>
                      <a:pt x="159" y="411"/>
                    </a:lnTo>
                    <a:lnTo>
                      <a:pt x="170" y="420"/>
                    </a:lnTo>
                    <a:lnTo>
                      <a:pt x="180" y="428"/>
                    </a:lnTo>
                    <a:lnTo>
                      <a:pt x="189" y="436"/>
                    </a:lnTo>
                    <a:lnTo>
                      <a:pt x="197" y="444"/>
                    </a:lnTo>
                    <a:lnTo>
                      <a:pt x="198" y="451"/>
                    </a:lnTo>
                    <a:lnTo>
                      <a:pt x="199" y="457"/>
                    </a:lnTo>
                    <a:lnTo>
                      <a:pt x="201" y="464"/>
                    </a:lnTo>
                    <a:lnTo>
                      <a:pt x="205" y="471"/>
                    </a:lnTo>
                    <a:lnTo>
                      <a:pt x="209" y="479"/>
                    </a:lnTo>
                    <a:lnTo>
                      <a:pt x="214" y="486"/>
                    </a:lnTo>
                    <a:lnTo>
                      <a:pt x="220" y="492"/>
                    </a:lnTo>
                    <a:lnTo>
                      <a:pt x="226" y="498"/>
                    </a:lnTo>
                    <a:lnTo>
                      <a:pt x="233" y="503"/>
                    </a:lnTo>
                    <a:lnTo>
                      <a:pt x="240" y="508"/>
                    </a:lnTo>
                    <a:lnTo>
                      <a:pt x="247" y="512"/>
                    </a:lnTo>
                    <a:lnTo>
                      <a:pt x="256" y="516"/>
                    </a:lnTo>
                    <a:lnTo>
                      <a:pt x="264" y="519"/>
                    </a:lnTo>
                    <a:lnTo>
                      <a:pt x="273" y="521"/>
                    </a:lnTo>
                    <a:lnTo>
                      <a:pt x="281" y="523"/>
                    </a:lnTo>
                    <a:lnTo>
                      <a:pt x="290" y="523"/>
                    </a:lnTo>
                    <a:lnTo>
                      <a:pt x="304" y="502"/>
                    </a:lnTo>
                    <a:lnTo>
                      <a:pt x="320" y="482"/>
                    </a:lnTo>
                    <a:lnTo>
                      <a:pt x="335" y="462"/>
                    </a:lnTo>
                    <a:lnTo>
                      <a:pt x="349" y="444"/>
                    </a:lnTo>
                    <a:lnTo>
                      <a:pt x="365" y="427"/>
                    </a:lnTo>
                    <a:lnTo>
                      <a:pt x="379" y="408"/>
                    </a:lnTo>
                    <a:lnTo>
                      <a:pt x="394" y="390"/>
                    </a:lnTo>
                    <a:lnTo>
                      <a:pt x="410" y="370"/>
                    </a:lnTo>
                  </a:path>
                </a:pathLst>
              </a:custGeom>
              <a:grpFill/>
              <a:ln w="9525" cmpd="sng">
                <a:solidFill>
                  <a:srgbClr val="FFFFFF"/>
                </a:solidFill>
                <a:prstDash val="solid"/>
                <a:round/>
                <a:headEnd/>
                <a:tailEnd/>
              </a:ln>
            </p:spPr>
            <p:txBody>
              <a:bodyPr/>
              <a:lstStyle/>
              <a:p>
                <a:endParaRPr lang="en-GB" sz="1637"/>
              </a:p>
            </p:txBody>
          </p:sp>
          <p:sp>
            <p:nvSpPr>
              <p:cNvPr id="149" name="Freeform 467"/>
              <p:cNvSpPr>
                <a:spLocks/>
              </p:cNvSpPr>
              <p:nvPr>
                <p:custDataLst>
                  <p:tags r:id="rId132"/>
                </p:custDataLst>
              </p:nvPr>
            </p:nvSpPr>
            <p:spPr bwMode="auto">
              <a:xfrm>
                <a:off x="4824144" y="2787352"/>
                <a:ext cx="110911" cy="146859"/>
              </a:xfrm>
              <a:custGeom>
                <a:avLst/>
                <a:gdLst>
                  <a:gd name="T0" fmla="*/ 5395 w 226"/>
                  <a:gd name="T1" fmla="*/ 120650 h 246"/>
                  <a:gd name="T2" fmla="*/ 16184 w 226"/>
                  <a:gd name="T3" fmla="*/ 127000 h 246"/>
                  <a:gd name="T4" fmla="*/ 23827 w 226"/>
                  <a:gd name="T5" fmla="*/ 129646 h 246"/>
                  <a:gd name="T6" fmla="*/ 30570 w 226"/>
                  <a:gd name="T7" fmla="*/ 129646 h 246"/>
                  <a:gd name="T8" fmla="*/ 38212 w 226"/>
                  <a:gd name="T9" fmla="*/ 127529 h 246"/>
                  <a:gd name="T10" fmla="*/ 49451 w 226"/>
                  <a:gd name="T11" fmla="*/ 120650 h 246"/>
                  <a:gd name="T12" fmla="*/ 63388 w 226"/>
                  <a:gd name="T13" fmla="*/ 108479 h 246"/>
                  <a:gd name="T14" fmla="*/ 72379 w 226"/>
                  <a:gd name="T15" fmla="*/ 97367 h 246"/>
                  <a:gd name="T16" fmla="*/ 71480 w 226"/>
                  <a:gd name="T17" fmla="*/ 91546 h 246"/>
                  <a:gd name="T18" fmla="*/ 66984 w 226"/>
                  <a:gd name="T19" fmla="*/ 84667 h 246"/>
                  <a:gd name="T20" fmla="*/ 64287 w 226"/>
                  <a:gd name="T21" fmla="*/ 76729 h 246"/>
                  <a:gd name="T22" fmla="*/ 63388 w 226"/>
                  <a:gd name="T23" fmla="*/ 68792 h 246"/>
                  <a:gd name="T24" fmla="*/ 63388 w 226"/>
                  <a:gd name="T25" fmla="*/ 61383 h 246"/>
                  <a:gd name="T26" fmla="*/ 65635 w 226"/>
                  <a:gd name="T27" fmla="*/ 55562 h 246"/>
                  <a:gd name="T28" fmla="*/ 70131 w 226"/>
                  <a:gd name="T29" fmla="*/ 49742 h 246"/>
                  <a:gd name="T30" fmla="*/ 75526 w 226"/>
                  <a:gd name="T31" fmla="*/ 45508 h 246"/>
                  <a:gd name="T32" fmla="*/ 91710 w 226"/>
                  <a:gd name="T33" fmla="*/ 37571 h 246"/>
                  <a:gd name="T34" fmla="*/ 101150 w 226"/>
                  <a:gd name="T35" fmla="*/ 25929 h 246"/>
                  <a:gd name="T36" fmla="*/ 99352 w 226"/>
                  <a:gd name="T37" fmla="*/ 15875 h 246"/>
                  <a:gd name="T38" fmla="*/ 96205 w 226"/>
                  <a:gd name="T39" fmla="*/ 8996 h 246"/>
                  <a:gd name="T40" fmla="*/ 95306 w 226"/>
                  <a:gd name="T41" fmla="*/ 3175 h 246"/>
                  <a:gd name="T42" fmla="*/ 90811 w 226"/>
                  <a:gd name="T43" fmla="*/ 529 h 246"/>
                  <a:gd name="T44" fmla="*/ 81370 w 226"/>
                  <a:gd name="T45" fmla="*/ 3704 h 246"/>
                  <a:gd name="T46" fmla="*/ 69232 w 226"/>
                  <a:gd name="T47" fmla="*/ 10583 h 246"/>
                  <a:gd name="T48" fmla="*/ 54396 w 226"/>
                  <a:gd name="T49" fmla="*/ 20108 h 246"/>
                  <a:gd name="T50" fmla="*/ 44956 w 226"/>
                  <a:gd name="T51" fmla="*/ 26987 h 246"/>
                  <a:gd name="T52" fmla="*/ 39112 w 226"/>
                  <a:gd name="T53" fmla="*/ 29104 h 246"/>
                  <a:gd name="T54" fmla="*/ 33717 w 226"/>
                  <a:gd name="T55" fmla="*/ 28575 h 246"/>
                  <a:gd name="T56" fmla="*/ 26524 w 226"/>
                  <a:gd name="T57" fmla="*/ 24871 h 246"/>
                  <a:gd name="T58" fmla="*/ 16184 w 226"/>
                  <a:gd name="T59" fmla="*/ 16404 h 246"/>
                  <a:gd name="T60" fmla="*/ 10789 w 226"/>
                  <a:gd name="T61" fmla="*/ 20638 h 246"/>
                  <a:gd name="T62" fmla="*/ 8092 w 226"/>
                  <a:gd name="T63" fmla="*/ 50271 h 246"/>
                  <a:gd name="T64" fmla="*/ 4496 w 226"/>
                  <a:gd name="T65" fmla="*/ 86254 h 246"/>
                  <a:gd name="T66" fmla="*/ 1349 w 226"/>
                  <a:gd name="T67" fmla="*/ 112183 h 24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26" h="246">
                    <a:moveTo>
                      <a:pt x="0" y="221"/>
                    </a:moveTo>
                    <a:lnTo>
                      <a:pt x="12" y="228"/>
                    </a:lnTo>
                    <a:lnTo>
                      <a:pt x="27" y="236"/>
                    </a:lnTo>
                    <a:lnTo>
                      <a:pt x="36" y="240"/>
                    </a:lnTo>
                    <a:lnTo>
                      <a:pt x="44" y="243"/>
                    </a:lnTo>
                    <a:lnTo>
                      <a:pt x="53" y="245"/>
                    </a:lnTo>
                    <a:lnTo>
                      <a:pt x="60" y="246"/>
                    </a:lnTo>
                    <a:lnTo>
                      <a:pt x="68" y="245"/>
                    </a:lnTo>
                    <a:lnTo>
                      <a:pt x="76" y="243"/>
                    </a:lnTo>
                    <a:lnTo>
                      <a:pt x="85" y="241"/>
                    </a:lnTo>
                    <a:lnTo>
                      <a:pt x="92" y="237"/>
                    </a:lnTo>
                    <a:lnTo>
                      <a:pt x="110" y="228"/>
                    </a:lnTo>
                    <a:lnTo>
                      <a:pt x="126" y="217"/>
                    </a:lnTo>
                    <a:lnTo>
                      <a:pt x="141" y="205"/>
                    </a:lnTo>
                    <a:lnTo>
                      <a:pt x="153" y="194"/>
                    </a:lnTo>
                    <a:lnTo>
                      <a:pt x="161" y="184"/>
                    </a:lnTo>
                    <a:lnTo>
                      <a:pt x="167" y="178"/>
                    </a:lnTo>
                    <a:lnTo>
                      <a:pt x="159" y="173"/>
                    </a:lnTo>
                    <a:lnTo>
                      <a:pt x="154" y="167"/>
                    </a:lnTo>
                    <a:lnTo>
                      <a:pt x="149" y="160"/>
                    </a:lnTo>
                    <a:lnTo>
                      <a:pt x="146" y="152"/>
                    </a:lnTo>
                    <a:lnTo>
                      <a:pt x="143" y="145"/>
                    </a:lnTo>
                    <a:lnTo>
                      <a:pt x="142" y="137"/>
                    </a:lnTo>
                    <a:lnTo>
                      <a:pt x="141" y="130"/>
                    </a:lnTo>
                    <a:lnTo>
                      <a:pt x="139" y="123"/>
                    </a:lnTo>
                    <a:lnTo>
                      <a:pt x="141" y="116"/>
                    </a:lnTo>
                    <a:lnTo>
                      <a:pt x="143" y="110"/>
                    </a:lnTo>
                    <a:lnTo>
                      <a:pt x="146" y="105"/>
                    </a:lnTo>
                    <a:lnTo>
                      <a:pt x="150" y="100"/>
                    </a:lnTo>
                    <a:lnTo>
                      <a:pt x="156" y="94"/>
                    </a:lnTo>
                    <a:lnTo>
                      <a:pt x="161" y="90"/>
                    </a:lnTo>
                    <a:lnTo>
                      <a:pt x="168" y="86"/>
                    </a:lnTo>
                    <a:lnTo>
                      <a:pt x="176" y="82"/>
                    </a:lnTo>
                    <a:lnTo>
                      <a:pt x="204" y="71"/>
                    </a:lnTo>
                    <a:lnTo>
                      <a:pt x="226" y="61"/>
                    </a:lnTo>
                    <a:lnTo>
                      <a:pt x="225" y="49"/>
                    </a:lnTo>
                    <a:lnTo>
                      <a:pt x="223" y="38"/>
                    </a:lnTo>
                    <a:lnTo>
                      <a:pt x="221" y="30"/>
                    </a:lnTo>
                    <a:lnTo>
                      <a:pt x="217" y="23"/>
                    </a:lnTo>
                    <a:lnTo>
                      <a:pt x="214" y="17"/>
                    </a:lnTo>
                    <a:lnTo>
                      <a:pt x="212" y="12"/>
                    </a:lnTo>
                    <a:lnTo>
                      <a:pt x="212" y="6"/>
                    </a:lnTo>
                    <a:lnTo>
                      <a:pt x="213" y="0"/>
                    </a:lnTo>
                    <a:lnTo>
                      <a:pt x="202" y="1"/>
                    </a:lnTo>
                    <a:lnTo>
                      <a:pt x="191" y="4"/>
                    </a:lnTo>
                    <a:lnTo>
                      <a:pt x="181" y="7"/>
                    </a:lnTo>
                    <a:lnTo>
                      <a:pt x="171" y="11"/>
                    </a:lnTo>
                    <a:lnTo>
                      <a:pt x="154" y="20"/>
                    </a:lnTo>
                    <a:lnTo>
                      <a:pt x="136" y="29"/>
                    </a:lnTo>
                    <a:lnTo>
                      <a:pt x="121" y="38"/>
                    </a:lnTo>
                    <a:lnTo>
                      <a:pt x="107" y="47"/>
                    </a:lnTo>
                    <a:lnTo>
                      <a:pt x="100" y="51"/>
                    </a:lnTo>
                    <a:lnTo>
                      <a:pt x="93" y="53"/>
                    </a:lnTo>
                    <a:lnTo>
                      <a:pt x="87" y="55"/>
                    </a:lnTo>
                    <a:lnTo>
                      <a:pt x="80" y="55"/>
                    </a:lnTo>
                    <a:lnTo>
                      <a:pt x="75" y="54"/>
                    </a:lnTo>
                    <a:lnTo>
                      <a:pt x="67" y="51"/>
                    </a:lnTo>
                    <a:lnTo>
                      <a:pt x="59" y="47"/>
                    </a:lnTo>
                    <a:lnTo>
                      <a:pt x="51" y="41"/>
                    </a:lnTo>
                    <a:lnTo>
                      <a:pt x="36" y="31"/>
                    </a:lnTo>
                    <a:lnTo>
                      <a:pt x="27" y="24"/>
                    </a:lnTo>
                    <a:lnTo>
                      <a:pt x="24" y="39"/>
                    </a:lnTo>
                    <a:lnTo>
                      <a:pt x="21" y="64"/>
                    </a:lnTo>
                    <a:lnTo>
                      <a:pt x="18" y="95"/>
                    </a:lnTo>
                    <a:lnTo>
                      <a:pt x="13" y="129"/>
                    </a:lnTo>
                    <a:lnTo>
                      <a:pt x="10" y="163"/>
                    </a:lnTo>
                    <a:lnTo>
                      <a:pt x="7" y="191"/>
                    </a:lnTo>
                    <a:lnTo>
                      <a:pt x="3" y="212"/>
                    </a:lnTo>
                    <a:lnTo>
                      <a:pt x="0" y="221"/>
                    </a:lnTo>
                  </a:path>
                </a:pathLst>
              </a:custGeom>
              <a:grpFill/>
              <a:ln w="9525" cmpd="sng">
                <a:solidFill>
                  <a:srgbClr val="FFFFFF"/>
                </a:solidFill>
                <a:prstDash val="solid"/>
                <a:round/>
                <a:headEnd/>
                <a:tailEnd/>
              </a:ln>
            </p:spPr>
            <p:txBody>
              <a:bodyPr/>
              <a:lstStyle/>
              <a:p>
                <a:endParaRPr lang="en-GB" sz="1637"/>
              </a:p>
            </p:txBody>
          </p:sp>
          <p:sp>
            <p:nvSpPr>
              <p:cNvPr id="150" name="Freeform 468"/>
              <p:cNvSpPr>
                <a:spLocks/>
              </p:cNvSpPr>
              <p:nvPr>
                <p:custDataLst>
                  <p:tags r:id="rId133"/>
                </p:custDataLst>
              </p:nvPr>
            </p:nvSpPr>
            <p:spPr bwMode="auto">
              <a:xfrm>
                <a:off x="5149944" y="2903765"/>
                <a:ext cx="24262" cy="62683"/>
              </a:xfrm>
              <a:custGeom>
                <a:avLst/>
                <a:gdLst>
                  <a:gd name="T0" fmla="*/ 10001 w 60"/>
                  <a:gd name="T1" fmla="*/ 0 h 81"/>
                  <a:gd name="T2" fmla="*/ 10742 w 60"/>
                  <a:gd name="T3" fmla="*/ 1372 h 81"/>
                  <a:gd name="T4" fmla="*/ 11853 w 60"/>
                  <a:gd name="T5" fmla="*/ 2058 h 81"/>
                  <a:gd name="T6" fmla="*/ 13335 w 60"/>
                  <a:gd name="T7" fmla="*/ 2058 h 81"/>
                  <a:gd name="T8" fmla="*/ 14817 w 60"/>
                  <a:gd name="T9" fmla="*/ 1372 h 81"/>
                  <a:gd name="T10" fmla="*/ 17410 w 60"/>
                  <a:gd name="T11" fmla="*/ 686 h 81"/>
                  <a:gd name="T12" fmla="*/ 19632 w 60"/>
                  <a:gd name="T13" fmla="*/ 0 h 81"/>
                  <a:gd name="T14" fmla="*/ 19632 w 60"/>
                  <a:gd name="T15" fmla="*/ 17835 h 81"/>
                  <a:gd name="T16" fmla="*/ 20003 w 60"/>
                  <a:gd name="T17" fmla="*/ 32240 h 81"/>
                  <a:gd name="T18" fmla="*/ 20003 w 60"/>
                  <a:gd name="T19" fmla="*/ 39099 h 81"/>
                  <a:gd name="T20" fmla="*/ 20743 w 60"/>
                  <a:gd name="T21" fmla="*/ 44587 h 81"/>
                  <a:gd name="T22" fmla="*/ 21484 w 60"/>
                  <a:gd name="T23" fmla="*/ 50074 h 81"/>
                  <a:gd name="T24" fmla="*/ 22225 w 60"/>
                  <a:gd name="T25" fmla="*/ 55562 h 81"/>
                  <a:gd name="T26" fmla="*/ 7408 w 60"/>
                  <a:gd name="T27" fmla="*/ 55562 h 81"/>
                  <a:gd name="T28" fmla="*/ 5186 w 60"/>
                  <a:gd name="T29" fmla="*/ 54876 h 81"/>
                  <a:gd name="T30" fmla="*/ 2593 w 60"/>
                  <a:gd name="T31" fmla="*/ 52818 h 81"/>
                  <a:gd name="T32" fmla="*/ 1852 w 60"/>
                  <a:gd name="T33" fmla="*/ 50760 h 81"/>
                  <a:gd name="T34" fmla="*/ 741 w 60"/>
                  <a:gd name="T35" fmla="*/ 49388 h 81"/>
                  <a:gd name="T36" fmla="*/ 370 w 60"/>
                  <a:gd name="T37" fmla="*/ 48017 h 81"/>
                  <a:gd name="T38" fmla="*/ 0 w 60"/>
                  <a:gd name="T39" fmla="*/ 46645 h 81"/>
                  <a:gd name="T40" fmla="*/ 2593 w 60"/>
                  <a:gd name="T41" fmla="*/ 8231 h 81"/>
                  <a:gd name="T42" fmla="*/ 7408 w 60"/>
                  <a:gd name="T43" fmla="*/ 4116 h 81"/>
                  <a:gd name="T44" fmla="*/ 12594 w 60"/>
                  <a:gd name="T45" fmla="*/ 0 h 81"/>
                  <a:gd name="T46" fmla="*/ 10001 w 60"/>
                  <a:gd name="T47" fmla="*/ 0 h 8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60" h="81">
                    <a:moveTo>
                      <a:pt x="27" y="0"/>
                    </a:moveTo>
                    <a:lnTo>
                      <a:pt x="29" y="2"/>
                    </a:lnTo>
                    <a:lnTo>
                      <a:pt x="32" y="3"/>
                    </a:lnTo>
                    <a:lnTo>
                      <a:pt x="36" y="3"/>
                    </a:lnTo>
                    <a:lnTo>
                      <a:pt x="40" y="2"/>
                    </a:lnTo>
                    <a:lnTo>
                      <a:pt x="47" y="1"/>
                    </a:lnTo>
                    <a:lnTo>
                      <a:pt x="53" y="0"/>
                    </a:lnTo>
                    <a:lnTo>
                      <a:pt x="53" y="26"/>
                    </a:lnTo>
                    <a:lnTo>
                      <a:pt x="54" y="47"/>
                    </a:lnTo>
                    <a:lnTo>
                      <a:pt x="54" y="57"/>
                    </a:lnTo>
                    <a:lnTo>
                      <a:pt x="56" y="65"/>
                    </a:lnTo>
                    <a:lnTo>
                      <a:pt x="58" y="73"/>
                    </a:lnTo>
                    <a:lnTo>
                      <a:pt x="60" y="81"/>
                    </a:lnTo>
                    <a:lnTo>
                      <a:pt x="20" y="81"/>
                    </a:lnTo>
                    <a:lnTo>
                      <a:pt x="14" y="80"/>
                    </a:lnTo>
                    <a:lnTo>
                      <a:pt x="7" y="77"/>
                    </a:lnTo>
                    <a:lnTo>
                      <a:pt x="5" y="74"/>
                    </a:lnTo>
                    <a:lnTo>
                      <a:pt x="2" y="72"/>
                    </a:lnTo>
                    <a:lnTo>
                      <a:pt x="1" y="70"/>
                    </a:lnTo>
                    <a:lnTo>
                      <a:pt x="0" y="68"/>
                    </a:lnTo>
                    <a:lnTo>
                      <a:pt x="7" y="12"/>
                    </a:lnTo>
                    <a:lnTo>
                      <a:pt x="20" y="6"/>
                    </a:lnTo>
                    <a:lnTo>
                      <a:pt x="34" y="0"/>
                    </a:lnTo>
                    <a:lnTo>
                      <a:pt x="27" y="0"/>
                    </a:lnTo>
                  </a:path>
                </a:pathLst>
              </a:custGeom>
              <a:grpFill/>
              <a:ln w="9525" cmpd="sng">
                <a:solidFill>
                  <a:srgbClr val="FFFFFF"/>
                </a:solidFill>
                <a:prstDash val="solid"/>
                <a:round/>
                <a:headEnd/>
                <a:tailEnd/>
              </a:ln>
            </p:spPr>
            <p:txBody>
              <a:bodyPr/>
              <a:lstStyle/>
              <a:p>
                <a:endParaRPr lang="en-GB" sz="1637"/>
              </a:p>
            </p:txBody>
          </p:sp>
          <p:sp>
            <p:nvSpPr>
              <p:cNvPr id="151" name="Freeform 470"/>
              <p:cNvSpPr>
                <a:spLocks/>
              </p:cNvSpPr>
              <p:nvPr>
                <p:custDataLst>
                  <p:tags r:id="rId134"/>
                </p:custDataLst>
              </p:nvPr>
            </p:nvSpPr>
            <p:spPr bwMode="auto">
              <a:xfrm>
                <a:off x="4820678" y="2740787"/>
                <a:ext cx="32926" cy="64475"/>
              </a:xfrm>
              <a:custGeom>
                <a:avLst/>
                <a:gdLst>
                  <a:gd name="T0" fmla="*/ 10180 w 80"/>
                  <a:gd name="T1" fmla="*/ 608 h 94"/>
                  <a:gd name="T2" fmla="*/ 12819 w 80"/>
                  <a:gd name="T3" fmla="*/ 0 h 94"/>
                  <a:gd name="T4" fmla="*/ 15458 w 80"/>
                  <a:gd name="T5" fmla="*/ 0 h 94"/>
                  <a:gd name="T6" fmla="*/ 17720 w 80"/>
                  <a:gd name="T7" fmla="*/ 1216 h 94"/>
                  <a:gd name="T8" fmla="*/ 20359 w 80"/>
                  <a:gd name="T9" fmla="*/ 2432 h 94"/>
                  <a:gd name="T10" fmla="*/ 22622 w 80"/>
                  <a:gd name="T11" fmla="*/ 3648 h 94"/>
                  <a:gd name="T12" fmla="*/ 24884 w 80"/>
                  <a:gd name="T13" fmla="*/ 4864 h 94"/>
                  <a:gd name="T14" fmla="*/ 27523 w 80"/>
                  <a:gd name="T15" fmla="*/ 4864 h 94"/>
                  <a:gd name="T16" fmla="*/ 30162 w 80"/>
                  <a:gd name="T17" fmla="*/ 4256 h 94"/>
                  <a:gd name="T18" fmla="*/ 30162 w 80"/>
                  <a:gd name="T19" fmla="*/ 23103 h 94"/>
                  <a:gd name="T20" fmla="*/ 28277 w 80"/>
                  <a:gd name="T21" fmla="*/ 26751 h 94"/>
                  <a:gd name="T22" fmla="*/ 26015 w 80"/>
                  <a:gd name="T23" fmla="*/ 31007 h 94"/>
                  <a:gd name="T24" fmla="*/ 24130 w 80"/>
                  <a:gd name="T25" fmla="*/ 35871 h 94"/>
                  <a:gd name="T26" fmla="*/ 21867 w 80"/>
                  <a:gd name="T27" fmla="*/ 41343 h 94"/>
                  <a:gd name="T28" fmla="*/ 19228 w 80"/>
                  <a:gd name="T29" fmla="*/ 51070 h 94"/>
                  <a:gd name="T30" fmla="*/ 17720 w 80"/>
                  <a:gd name="T31" fmla="*/ 57150 h 94"/>
                  <a:gd name="T32" fmla="*/ 16212 w 80"/>
                  <a:gd name="T33" fmla="*/ 56542 h 94"/>
                  <a:gd name="T34" fmla="*/ 15081 w 80"/>
                  <a:gd name="T35" fmla="*/ 55934 h 94"/>
                  <a:gd name="T36" fmla="*/ 13950 w 80"/>
                  <a:gd name="T37" fmla="*/ 55326 h 94"/>
                  <a:gd name="T38" fmla="*/ 12819 w 80"/>
                  <a:gd name="T39" fmla="*/ 54110 h 94"/>
                  <a:gd name="T40" fmla="*/ 10934 w 80"/>
                  <a:gd name="T41" fmla="*/ 51070 h 94"/>
                  <a:gd name="T42" fmla="*/ 8672 w 80"/>
                  <a:gd name="T43" fmla="*/ 47422 h 94"/>
                  <a:gd name="T44" fmla="*/ 7163 w 80"/>
                  <a:gd name="T45" fmla="*/ 43774 h 94"/>
                  <a:gd name="T46" fmla="*/ 4901 w 80"/>
                  <a:gd name="T47" fmla="*/ 39519 h 94"/>
                  <a:gd name="T48" fmla="*/ 2639 w 80"/>
                  <a:gd name="T49" fmla="*/ 36479 h 94"/>
                  <a:gd name="T50" fmla="*/ 0 w 80"/>
                  <a:gd name="T51" fmla="*/ 34047 h 94"/>
                  <a:gd name="T52" fmla="*/ 3016 w 80"/>
                  <a:gd name="T53" fmla="*/ 24927 h 94"/>
                  <a:gd name="T54" fmla="*/ 4901 w 80"/>
                  <a:gd name="T55" fmla="*/ 17631 h 94"/>
                  <a:gd name="T56" fmla="*/ 7163 w 80"/>
                  <a:gd name="T57" fmla="*/ 10336 h 94"/>
                  <a:gd name="T58" fmla="*/ 10180 w 80"/>
                  <a:gd name="T59" fmla="*/ 608 h 9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80" h="94">
                    <a:moveTo>
                      <a:pt x="27" y="1"/>
                    </a:moveTo>
                    <a:lnTo>
                      <a:pt x="34" y="0"/>
                    </a:lnTo>
                    <a:lnTo>
                      <a:pt x="41" y="0"/>
                    </a:lnTo>
                    <a:lnTo>
                      <a:pt x="47" y="2"/>
                    </a:lnTo>
                    <a:lnTo>
                      <a:pt x="54" y="4"/>
                    </a:lnTo>
                    <a:lnTo>
                      <a:pt x="60" y="6"/>
                    </a:lnTo>
                    <a:lnTo>
                      <a:pt x="66" y="8"/>
                    </a:lnTo>
                    <a:lnTo>
                      <a:pt x="73" y="8"/>
                    </a:lnTo>
                    <a:lnTo>
                      <a:pt x="80" y="7"/>
                    </a:lnTo>
                    <a:lnTo>
                      <a:pt x="80" y="38"/>
                    </a:lnTo>
                    <a:lnTo>
                      <a:pt x="75" y="44"/>
                    </a:lnTo>
                    <a:lnTo>
                      <a:pt x="69" y="51"/>
                    </a:lnTo>
                    <a:lnTo>
                      <a:pt x="64" y="59"/>
                    </a:lnTo>
                    <a:lnTo>
                      <a:pt x="58" y="68"/>
                    </a:lnTo>
                    <a:lnTo>
                      <a:pt x="51" y="84"/>
                    </a:lnTo>
                    <a:lnTo>
                      <a:pt x="47" y="94"/>
                    </a:lnTo>
                    <a:lnTo>
                      <a:pt x="43" y="93"/>
                    </a:lnTo>
                    <a:lnTo>
                      <a:pt x="40" y="92"/>
                    </a:lnTo>
                    <a:lnTo>
                      <a:pt x="37" y="91"/>
                    </a:lnTo>
                    <a:lnTo>
                      <a:pt x="34" y="89"/>
                    </a:lnTo>
                    <a:lnTo>
                      <a:pt x="29" y="84"/>
                    </a:lnTo>
                    <a:lnTo>
                      <a:pt x="23" y="78"/>
                    </a:lnTo>
                    <a:lnTo>
                      <a:pt x="19" y="72"/>
                    </a:lnTo>
                    <a:lnTo>
                      <a:pt x="13" y="65"/>
                    </a:lnTo>
                    <a:lnTo>
                      <a:pt x="7" y="60"/>
                    </a:lnTo>
                    <a:lnTo>
                      <a:pt x="0" y="56"/>
                    </a:lnTo>
                    <a:lnTo>
                      <a:pt x="8" y="41"/>
                    </a:lnTo>
                    <a:lnTo>
                      <a:pt x="13" y="29"/>
                    </a:lnTo>
                    <a:lnTo>
                      <a:pt x="19" y="17"/>
                    </a:lnTo>
                    <a:lnTo>
                      <a:pt x="27" y="1"/>
                    </a:lnTo>
                  </a:path>
                </a:pathLst>
              </a:custGeom>
              <a:grpFill/>
              <a:ln w="9525" cmpd="sng">
                <a:solidFill>
                  <a:srgbClr val="FFFFFF"/>
                </a:solidFill>
                <a:prstDash val="solid"/>
                <a:round/>
                <a:headEnd/>
                <a:tailEnd/>
              </a:ln>
            </p:spPr>
            <p:txBody>
              <a:bodyPr/>
              <a:lstStyle/>
              <a:p>
                <a:endParaRPr lang="en-GB" sz="1637"/>
              </a:p>
            </p:txBody>
          </p:sp>
          <p:sp>
            <p:nvSpPr>
              <p:cNvPr id="152" name="Freeform 471"/>
              <p:cNvSpPr>
                <a:spLocks/>
              </p:cNvSpPr>
              <p:nvPr>
                <p:custDataLst>
                  <p:tags r:id="rId135"/>
                </p:custDataLst>
              </p:nvPr>
            </p:nvSpPr>
            <p:spPr bwMode="auto">
              <a:xfrm>
                <a:off x="4619652" y="5009940"/>
                <a:ext cx="67586" cy="64475"/>
              </a:xfrm>
              <a:custGeom>
                <a:avLst/>
                <a:gdLst>
                  <a:gd name="T0" fmla="*/ 1376 w 135"/>
                  <a:gd name="T1" fmla="*/ 32074 h 98"/>
                  <a:gd name="T2" fmla="*/ 5045 w 135"/>
                  <a:gd name="T3" fmla="*/ 31491 h 98"/>
                  <a:gd name="T4" fmla="*/ 8255 w 135"/>
                  <a:gd name="T5" fmla="*/ 30908 h 98"/>
                  <a:gd name="T6" fmla="*/ 11007 w 135"/>
                  <a:gd name="T7" fmla="*/ 29158 h 98"/>
                  <a:gd name="T8" fmla="*/ 14217 w 135"/>
                  <a:gd name="T9" fmla="*/ 27409 h 98"/>
                  <a:gd name="T10" fmla="*/ 19262 w 135"/>
                  <a:gd name="T11" fmla="*/ 22160 h 98"/>
                  <a:gd name="T12" fmla="*/ 23848 w 135"/>
                  <a:gd name="T13" fmla="*/ 16329 h 98"/>
                  <a:gd name="T14" fmla="*/ 27975 w 135"/>
                  <a:gd name="T15" fmla="*/ 10497 h 98"/>
                  <a:gd name="T16" fmla="*/ 32561 w 135"/>
                  <a:gd name="T17" fmla="*/ 4665 h 98"/>
                  <a:gd name="T18" fmla="*/ 34854 w 135"/>
                  <a:gd name="T19" fmla="*/ 2916 h 98"/>
                  <a:gd name="T20" fmla="*/ 37606 w 135"/>
                  <a:gd name="T21" fmla="*/ 1166 h 98"/>
                  <a:gd name="T22" fmla="*/ 40357 w 135"/>
                  <a:gd name="T23" fmla="*/ 0 h 98"/>
                  <a:gd name="T24" fmla="*/ 44026 w 135"/>
                  <a:gd name="T25" fmla="*/ 0 h 98"/>
                  <a:gd name="T26" fmla="*/ 46778 w 135"/>
                  <a:gd name="T27" fmla="*/ 0 h 98"/>
                  <a:gd name="T28" fmla="*/ 50447 w 135"/>
                  <a:gd name="T29" fmla="*/ 1749 h 98"/>
                  <a:gd name="T30" fmla="*/ 53657 w 135"/>
                  <a:gd name="T31" fmla="*/ 3499 h 98"/>
                  <a:gd name="T32" fmla="*/ 56409 w 135"/>
                  <a:gd name="T33" fmla="*/ 6415 h 98"/>
                  <a:gd name="T34" fmla="*/ 58702 w 135"/>
                  <a:gd name="T35" fmla="*/ 9331 h 98"/>
                  <a:gd name="T36" fmla="*/ 60536 w 135"/>
                  <a:gd name="T37" fmla="*/ 13996 h 98"/>
                  <a:gd name="T38" fmla="*/ 61453 w 135"/>
                  <a:gd name="T39" fmla="*/ 17495 h 98"/>
                  <a:gd name="T40" fmla="*/ 61912 w 135"/>
                  <a:gd name="T41" fmla="*/ 21577 h 98"/>
                  <a:gd name="T42" fmla="*/ 61453 w 135"/>
                  <a:gd name="T43" fmla="*/ 23327 h 98"/>
                  <a:gd name="T44" fmla="*/ 60536 w 135"/>
                  <a:gd name="T45" fmla="*/ 25076 h 98"/>
                  <a:gd name="T46" fmla="*/ 59160 w 135"/>
                  <a:gd name="T47" fmla="*/ 27409 h 98"/>
                  <a:gd name="T48" fmla="*/ 56867 w 135"/>
                  <a:gd name="T49" fmla="*/ 29741 h 98"/>
                  <a:gd name="T50" fmla="*/ 51823 w 135"/>
                  <a:gd name="T51" fmla="*/ 35573 h 98"/>
                  <a:gd name="T52" fmla="*/ 45861 w 135"/>
                  <a:gd name="T53" fmla="*/ 41988 h 98"/>
                  <a:gd name="T54" fmla="*/ 39899 w 135"/>
                  <a:gd name="T55" fmla="*/ 47819 h 98"/>
                  <a:gd name="T56" fmla="*/ 33937 w 135"/>
                  <a:gd name="T57" fmla="*/ 53068 h 98"/>
                  <a:gd name="T58" fmla="*/ 28892 w 135"/>
                  <a:gd name="T59" fmla="*/ 55984 h 98"/>
                  <a:gd name="T60" fmla="*/ 25223 w 135"/>
                  <a:gd name="T61" fmla="*/ 57150 h 98"/>
                  <a:gd name="T62" fmla="*/ 23389 w 135"/>
                  <a:gd name="T63" fmla="*/ 56567 h 98"/>
                  <a:gd name="T64" fmla="*/ 19720 w 135"/>
                  <a:gd name="T65" fmla="*/ 53651 h 98"/>
                  <a:gd name="T66" fmla="*/ 14675 w 135"/>
                  <a:gd name="T67" fmla="*/ 49569 h 98"/>
                  <a:gd name="T68" fmla="*/ 9631 w 135"/>
                  <a:gd name="T69" fmla="*/ 44904 h 98"/>
                  <a:gd name="T70" fmla="*/ 5045 w 135"/>
                  <a:gd name="T71" fmla="*/ 39655 h 98"/>
                  <a:gd name="T72" fmla="*/ 2293 w 135"/>
                  <a:gd name="T73" fmla="*/ 36156 h 98"/>
                  <a:gd name="T74" fmla="*/ 459 w 135"/>
                  <a:gd name="T75" fmla="*/ 34407 h 98"/>
                  <a:gd name="T76" fmla="*/ 0 w 135"/>
                  <a:gd name="T77" fmla="*/ 33240 h 98"/>
                  <a:gd name="T78" fmla="*/ 0 w 135"/>
                  <a:gd name="T79" fmla="*/ 32657 h 98"/>
                  <a:gd name="T80" fmla="*/ 1376 w 135"/>
                  <a:gd name="T81" fmla="*/ 32074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grpFill/>
              <a:ln w="9525" cmpd="sng">
                <a:solidFill>
                  <a:srgbClr val="FFFFFF"/>
                </a:solidFill>
                <a:prstDash val="solid"/>
                <a:round/>
                <a:headEnd/>
                <a:tailEnd/>
              </a:ln>
            </p:spPr>
            <p:txBody>
              <a:bodyPr/>
              <a:lstStyle/>
              <a:p>
                <a:endParaRPr lang="en-GB" sz="1637"/>
              </a:p>
            </p:txBody>
          </p:sp>
          <p:sp>
            <p:nvSpPr>
              <p:cNvPr id="153" name="Freeform 474"/>
              <p:cNvSpPr>
                <a:spLocks/>
              </p:cNvSpPr>
              <p:nvPr>
                <p:custDataLst>
                  <p:tags r:id="rId136"/>
                </p:custDataLst>
              </p:nvPr>
            </p:nvSpPr>
            <p:spPr bwMode="auto">
              <a:xfrm>
                <a:off x="4810280" y="4316836"/>
                <a:ext cx="76251" cy="272227"/>
              </a:xfrm>
              <a:custGeom>
                <a:avLst/>
                <a:gdLst>
                  <a:gd name="T0" fmla="*/ 4208 w 166"/>
                  <a:gd name="T1" fmla="*/ 149225 h 456"/>
                  <a:gd name="T2" fmla="*/ 7995 w 166"/>
                  <a:gd name="T3" fmla="*/ 153458 h 456"/>
                  <a:gd name="T4" fmla="*/ 15569 w 166"/>
                  <a:gd name="T5" fmla="*/ 158750 h 456"/>
                  <a:gd name="T6" fmla="*/ 24405 w 166"/>
                  <a:gd name="T7" fmla="*/ 161925 h 456"/>
                  <a:gd name="T8" fmla="*/ 29455 w 166"/>
                  <a:gd name="T9" fmla="*/ 165100 h 456"/>
                  <a:gd name="T10" fmla="*/ 33663 w 166"/>
                  <a:gd name="T11" fmla="*/ 169333 h 456"/>
                  <a:gd name="T12" fmla="*/ 36187 w 166"/>
                  <a:gd name="T13" fmla="*/ 175154 h 456"/>
                  <a:gd name="T14" fmla="*/ 36187 w 166"/>
                  <a:gd name="T15" fmla="*/ 183621 h 456"/>
                  <a:gd name="T16" fmla="*/ 32821 w 166"/>
                  <a:gd name="T17" fmla="*/ 192088 h 456"/>
                  <a:gd name="T18" fmla="*/ 28613 w 166"/>
                  <a:gd name="T19" fmla="*/ 198438 h 456"/>
                  <a:gd name="T20" fmla="*/ 26089 w 166"/>
                  <a:gd name="T21" fmla="*/ 205317 h 456"/>
                  <a:gd name="T22" fmla="*/ 25247 w 166"/>
                  <a:gd name="T23" fmla="*/ 211667 h 456"/>
                  <a:gd name="T24" fmla="*/ 26930 w 166"/>
                  <a:gd name="T25" fmla="*/ 217487 h 456"/>
                  <a:gd name="T26" fmla="*/ 31980 w 166"/>
                  <a:gd name="T27" fmla="*/ 224367 h 456"/>
                  <a:gd name="T28" fmla="*/ 43761 w 166"/>
                  <a:gd name="T29" fmla="*/ 235479 h 456"/>
                  <a:gd name="T30" fmla="*/ 50494 w 166"/>
                  <a:gd name="T31" fmla="*/ 234421 h 456"/>
                  <a:gd name="T32" fmla="*/ 50494 w 166"/>
                  <a:gd name="T33" fmla="*/ 223837 h 456"/>
                  <a:gd name="T34" fmla="*/ 55123 w 166"/>
                  <a:gd name="T35" fmla="*/ 218546 h 456"/>
                  <a:gd name="T36" fmla="*/ 61014 w 166"/>
                  <a:gd name="T37" fmla="*/ 215371 h 456"/>
                  <a:gd name="T38" fmla="*/ 64380 w 166"/>
                  <a:gd name="T39" fmla="*/ 212725 h 456"/>
                  <a:gd name="T40" fmla="*/ 67325 w 166"/>
                  <a:gd name="T41" fmla="*/ 207962 h 456"/>
                  <a:gd name="T42" fmla="*/ 69850 w 166"/>
                  <a:gd name="T43" fmla="*/ 198438 h 456"/>
                  <a:gd name="T44" fmla="*/ 69429 w 166"/>
                  <a:gd name="T45" fmla="*/ 185208 h 456"/>
                  <a:gd name="T46" fmla="*/ 66484 w 166"/>
                  <a:gd name="T47" fmla="*/ 173567 h 456"/>
                  <a:gd name="T48" fmla="*/ 62276 w 166"/>
                  <a:gd name="T49" fmla="*/ 162454 h 456"/>
                  <a:gd name="T50" fmla="*/ 59330 w 166"/>
                  <a:gd name="T51" fmla="*/ 150283 h 456"/>
                  <a:gd name="T52" fmla="*/ 56806 w 166"/>
                  <a:gd name="T53" fmla="*/ 142346 h 456"/>
                  <a:gd name="T54" fmla="*/ 49652 w 166"/>
                  <a:gd name="T55" fmla="*/ 132821 h 456"/>
                  <a:gd name="T56" fmla="*/ 40816 w 166"/>
                  <a:gd name="T57" fmla="*/ 118533 h 456"/>
                  <a:gd name="T58" fmla="*/ 35767 w 166"/>
                  <a:gd name="T59" fmla="*/ 109008 h 456"/>
                  <a:gd name="T60" fmla="*/ 33663 w 166"/>
                  <a:gd name="T61" fmla="*/ 103187 h 456"/>
                  <a:gd name="T62" fmla="*/ 34083 w 166"/>
                  <a:gd name="T63" fmla="*/ 93663 h 456"/>
                  <a:gd name="T64" fmla="*/ 37029 w 166"/>
                  <a:gd name="T65" fmla="*/ 77788 h 456"/>
                  <a:gd name="T66" fmla="*/ 40395 w 166"/>
                  <a:gd name="T67" fmla="*/ 68263 h 456"/>
                  <a:gd name="T68" fmla="*/ 41237 w 166"/>
                  <a:gd name="T69" fmla="*/ 59796 h 456"/>
                  <a:gd name="T70" fmla="*/ 39974 w 166"/>
                  <a:gd name="T71" fmla="*/ 43392 h 456"/>
                  <a:gd name="T72" fmla="*/ 38712 w 166"/>
                  <a:gd name="T73" fmla="*/ 23813 h 456"/>
                  <a:gd name="T74" fmla="*/ 37450 w 166"/>
                  <a:gd name="T75" fmla="*/ 9525 h 456"/>
                  <a:gd name="T76" fmla="*/ 29876 w 166"/>
                  <a:gd name="T77" fmla="*/ 4233 h 456"/>
                  <a:gd name="T78" fmla="*/ 13886 w 166"/>
                  <a:gd name="T79" fmla="*/ 2117 h 456"/>
                  <a:gd name="T80" fmla="*/ 5049 w 166"/>
                  <a:gd name="T81" fmla="*/ 5292 h 456"/>
                  <a:gd name="T82" fmla="*/ 9257 w 166"/>
                  <a:gd name="T83" fmla="*/ 13229 h 456"/>
                  <a:gd name="T84" fmla="*/ 13886 w 166"/>
                  <a:gd name="T85" fmla="*/ 15875 h 456"/>
                  <a:gd name="T86" fmla="*/ 16831 w 166"/>
                  <a:gd name="T87" fmla="*/ 23283 h 456"/>
                  <a:gd name="T88" fmla="*/ 16831 w 166"/>
                  <a:gd name="T89" fmla="*/ 33867 h 456"/>
                  <a:gd name="T90" fmla="*/ 16831 w 166"/>
                  <a:gd name="T91" fmla="*/ 41275 h 456"/>
                  <a:gd name="T92" fmla="*/ 15148 w 166"/>
                  <a:gd name="T93" fmla="*/ 44979 h 456"/>
                  <a:gd name="T94" fmla="*/ 12203 w 166"/>
                  <a:gd name="T95" fmla="*/ 50271 h 456"/>
                  <a:gd name="T96" fmla="*/ 6312 w 166"/>
                  <a:gd name="T97" fmla="*/ 57679 h 456"/>
                  <a:gd name="T98" fmla="*/ 1262 w 166"/>
                  <a:gd name="T99" fmla="*/ 64558 h 456"/>
                  <a:gd name="T100" fmla="*/ 2945 w 166"/>
                  <a:gd name="T101" fmla="*/ 146579 h 45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66" h="456">
                    <a:moveTo>
                      <a:pt x="7" y="277"/>
                    </a:moveTo>
                    <a:lnTo>
                      <a:pt x="10" y="282"/>
                    </a:lnTo>
                    <a:lnTo>
                      <a:pt x="14" y="287"/>
                    </a:lnTo>
                    <a:lnTo>
                      <a:pt x="19" y="290"/>
                    </a:lnTo>
                    <a:lnTo>
                      <a:pt x="25" y="294"/>
                    </a:lnTo>
                    <a:lnTo>
                      <a:pt x="37" y="300"/>
                    </a:lnTo>
                    <a:lnTo>
                      <a:pt x="52" y="304"/>
                    </a:lnTo>
                    <a:lnTo>
                      <a:pt x="58" y="306"/>
                    </a:lnTo>
                    <a:lnTo>
                      <a:pt x="65" y="309"/>
                    </a:lnTo>
                    <a:lnTo>
                      <a:pt x="70" y="312"/>
                    </a:lnTo>
                    <a:lnTo>
                      <a:pt x="76" y="316"/>
                    </a:lnTo>
                    <a:lnTo>
                      <a:pt x="80" y="320"/>
                    </a:lnTo>
                    <a:lnTo>
                      <a:pt x="84" y="325"/>
                    </a:lnTo>
                    <a:lnTo>
                      <a:pt x="86" y="331"/>
                    </a:lnTo>
                    <a:lnTo>
                      <a:pt x="87" y="339"/>
                    </a:lnTo>
                    <a:lnTo>
                      <a:pt x="86" y="347"/>
                    </a:lnTo>
                    <a:lnTo>
                      <a:pt x="82" y="356"/>
                    </a:lnTo>
                    <a:lnTo>
                      <a:pt x="78" y="363"/>
                    </a:lnTo>
                    <a:lnTo>
                      <a:pt x="74" y="369"/>
                    </a:lnTo>
                    <a:lnTo>
                      <a:pt x="68" y="375"/>
                    </a:lnTo>
                    <a:lnTo>
                      <a:pt x="64" y="381"/>
                    </a:lnTo>
                    <a:lnTo>
                      <a:pt x="62" y="388"/>
                    </a:lnTo>
                    <a:lnTo>
                      <a:pt x="60" y="394"/>
                    </a:lnTo>
                    <a:lnTo>
                      <a:pt x="60" y="400"/>
                    </a:lnTo>
                    <a:lnTo>
                      <a:pt x="62" y="405"/>
                    </a:lnTo>
                    <a:lnTo>
                      <a:pt x="64" y="411"/>
                    </a:lnTo>
                    <a:lnTo>
                      <a:pt x="67" y="416"/>
                    </a:lnTo>
                    <a:lnTo>
                      <a:pt x="76" y="424"/>
                    </a:lnTo>
                    <a:lnTo>
                      <a:pt x="85" y="432"/>
                    </a:lnTo>
                    <a:lnTo>
                      <a:pt x="104" y="445"/>
                    </a:lnTo>
                    <a:lnTo>
                      <a:pt x="120" y="456"/>
                    </a:lnTo>
                    <a:lnTo>
                      <a:pt x="120" y="443"/>
                    </a:lnTo>
                    <a:lnTo>
                      <a:pt x="120" y="432"/>
                    </a:lnTo>
                    <a:lnTo>
                      <a:pt x="120" y="423"/>
                    </a:lnTo>
                    <a:lnTo>
                      <a:pt x="120" y="413"/>
                    </a:lnTo>
                    <a:lnTo>
                      <a:pt x="131" y="413"/>
                    </a:lnTo>
                    <a:lnTo>
                      <a:pt x="141" y="410"/>
                    </a:lnTo>
                    <a:lnTo>
                      <a:pt x="145" y="407"/>
                    </a:lnTo>
                    <a:lnTo>
                      <a:pt x="149" y="405"/>
                    </a:lnTo>
                    <a:lnTo>
                      <a:pt x="153" y="402"/>
                    </a:lnTo>
                    <a:lnTo>
                      <a:pt x="155" y="399"/>
                    </a:lnTo>
                    <a:lnTo>
                      <a:pt x="160" y="393"/>
                    </a:lnTo>
                    <a:lnTo>
                      <a:pt x="164" y="384"/>
                    </a:lnTo>
                    <a:lnTo>
                      <a:pt x="166" y="375"/>
                    </a:lnTo>
                    <a:lnTo>
                      <a:pt x="166" y="364"/>
                    </a:lnTo>
                    <a:lnTo>
                      <a:pt x="165" y="350"/>
                    </a:lnTo>
                    <a:lnTo>
                      <a:pt x="163" y="339"/>
                    </a:lnTo>
                    <a:lnTo>
                      <a:pt x="158" y="328"/>
                    </a:lnTo>
                    <a:lnTo>
                      <a:pt x="153" y="318"/>
                    </a:lnTo>
                    <a:lnTo>
                      <a:pt x="148" y="307"/>
                    </a:lnTo>
                    <a:lnTo>
                      <a:pt x="144" y="296"/>
                    </a:lnTo>
                    <a:lnTo>
                      <a:pt x="141" y="284"/>
                    </a:lnTo>
                    <a:lnTo>
                      <a:pt x="140" y="271"/>
                    </a:lnTo>
                    <a:lnTo>
                      <a:pt x="135" y="269"/>
                    </a:lnTo>
                    <a:lnTo>
                      <a:pt x="127" y="261"/>
                    </a:lnTo>
                    <a:lnTo>
                      <a:pt x="118" y="251"/>
                    </a:lnTo>
                    <a:lnTo>
                      <a:pt x="108" y="238"/>
                    </a:lnTo>
                    <a:lnTo>
                      <a:pt x="97" y="224"/>
                    </a:lnTo>
                    <a:lnTo>
                      <a:pt x="88" y="211"/>
                    </a:lnTo>
                    <a:lnTo>
                      <a:pt x="85" y="206"/>
                    </a:lnTo>
                    <a:lnTo>
                      <a:pt x="82" y="200"/>
                    </a:lnTo>
                    <a:lnTo>
                      <a:pt x="80" y="195"/>
                    </a:lnTo>
                    <a:lnTo>
                      <a:pt x="80" y="192"/>
                    </a:lnTo>
                    <a:lnTo>
                      <a:pt x="81" y="177"/>
                    </a:lnTo>
                    <a:lnTo>
                      <a:pt x="85" y="157"/>
                    </a:lnTo>
                    <a:lnTo>
                      <a:pt x="88" y="147"/>
                    </a:lnTo>
                    <a:lnTo>
                      <a:pt x="91" y="138"/>
                    </a:lnTo>
                    <a:lnTo>
                      <a:pt x="96" y="129"/>
                    </a:lnTo>
                    <a:lnTo>
                      <a:pt x="100" y="123"/>
                    </a:lnTo>
                    <a:lnTo>
                      <a:pt x="98" y="113"/>
                    </a:lnTo>
                    <a:lnTo>
                      <a:pt x="96" y="99"/>
                    </a:lnTo>
                    <a:lnTo>
                      <a:pt x="95" y="82"/>
                    </a:lnTo>
                    <a:lnTo>
                      <a:pt x="93" y="63"/>
                    </a:lnTo>
                    <a:lnTo>
                      <a:pt x="92" y="45"/>
                    </a:lnTo>
                    <a:lnTo>
                      <a:pt x="90" y="30"/>
                    </a:lnTo>
                    <a:lnTo>
                      <a:pt x="89" y="18"/>
                    </a:lnTo>
                    <a:lnTo>
                      <a:pt x="87" y="12"/>
                    </a:lnTo>
                    <a:lnTo>
                      <a:pt x="71" y="8"/>
                    </a:lnTo>
                    <a:lnTo>
                      <a:pt x="54" y="6"/>
                    </a:lnTo>
                    <a:lnTo>
                      <a:pt x="33" y="4"/>
                    </a:lnTo>
                    <a:lnTo>
                      <a:pt x="7" y="0"/>
                    </a:lnTo>
                    <a:lnTo>
                      <a:pt x="12" y="10"/>
                    </a:lnTo>
                    <a:lnTo>
                      <a:pt x="19" y="21"/>
                    </a:lnTo>
                    <a:lnTo>
                      <a:pt x="22" y="25"/>
                    </a:lnTo>
                    <a:lnTo>
                      <a:pt x="28" y="28"/>
                    </a:lnTo>
                    <a:lnTo>
                      <a:pt x="33" y="30"/>
                    </a:lnTo>
                    <a:lnTo>
                      <a:pt x="40" y="31"/>
                    </a:lnTo>
                    <a:lnTo>
                      <a:pt x="40" y="44"/>
                    </a:lnTo>
                    <a:lnTo>
                      <a:pt x="40" y="55"/>
                    </a:lnTo>
                    <a:lnTo>
                      <a:pt x="40" y="64"/>
                    </a:lnTo>
                    <a:lnTo>
                      <a:pt x="40" y="74"/>
                    </a:lnTo>
                    <a:lnTo>
                      <a:pt x="40" y="78"/>
                    </a:lnTo>
                    <a:lnTo>
                      <a:pt x="39" y="81"/>
                    </a:lnTo>
                    <a:lnTo>
                      <a:pt x="36" y="85"/>
                    </a:lnTo>
                    <a:lnTo>
                      <a:pt x="35" y="88"/>
                    </a:lnTo>
                    <a:lnTo>
                      <a:pt x="29" y="95"/>
                    </a:lnTo>
                    <a:lnTo>
                      <a:pt x="22" y="102"/>
                    </a:lnTo>
                    <a:lnTo>
                      <a:pt x="15" y="109"/>
                    </a:lnTo>
                    <a:lnTo>
                      <a:pt x="9" y="115"/>
                    </a:lnTo>
                    <a:lnTo>
                      <a:pt x="3" y="122"/>
                    </a:lnTo>
                    <a:lnTo>
                      <a:pt x="0" y="129"/>
                    </a:lnTo>
                    <a:lnTo>
                      <a:pt x="7" y="277"/>
                    </a:lnTo>
                  </a:path>
                </a:pathLst>
              </a:custGeom>
              <a:grpFill/>
              <a:ln w="9525" cmpd="sng">
                <a:solidFill>
                  <a:srgbClr val="FFFFFF"/>
                </a:solidFill>
                <a:prstDash val="solid"/>
                <a:round/>
                <a:headEnd/>
                <a:tailEnd/>
              </a:ln>
            </p:spPr>
            <p:txBody>
              <a:bodyPr/>
              <a:lstStyle/>
              <a:p>
                <a:endParaRPr lang="en-GB" sz="1637"/>
              </a:p>
            </p:txBody>
          </p:sp>
          <p:sp>
            <p:nvSpPr>
              <p:cNvPr id="154" name="Freeform 475"/>
              <p:cNvSpPr>
                <a:spLocks/>
              </p:cNvSpPr>
              <p:nvPr>
                <p:custDataLst>
                  <p:tags r:id="rId137"/>
                </p:custDataLst>
              </p:nvPr>
            </p:nvSpPr>
            <p:spPr bwMode="auto">
              <a:xfrm>
                <a:off x="4255727" y="2704968"/>
                <a:ext cx="15596" cy="64475"/>
              </a:xfrm>
              <a:custGeom>
                <a:avLst/>
                <a:gdLst>
                  <a:gd name="T0" fmla="*/ 14287 w 27"/>
                  <a:gd name="T1" fmla="*/ 0 h 19"/>
                  <a:gd name="T2" fmla="*/ 14287 w 27"/>
                  <a:gd name="T3" fmla="*/ 36095 h 19"/>
                  <a:gd name="T4" fmla="*/ 14287 w 27"/>
                  <a:gd name="T5" fmla="*/ 57150 h 19"/>
                  <a:gd name="T6" fmla="*/ 4762 w 27"/>
                  <a:gd name="T7" fmla="*/ 57150 h 19"/>
                  <a:gd name="T8" fmla="*/ 0 w 27"/>
                  <a:gd name="T9" fmla="*/ 57150 h 19"/>
                  <a:gd name="T10" fmla="*/ 4762 w 27"/>
                  <a:gd name="T11" fmla="*/ 36095 h 19"/>
                  <a:gd name="T12" fmla="*/ 14287 w 27"/>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7" h="19">
                    <a:moveTo>
                      <a:pt x="27" y="0"/>
                    </a:moveTo>
                    <a:lnTo>
                      <a:pt x="27" y="12"/>
                    </a:lnTo>
                    <a:lnTo>
                      <a:pt x="27" y="19"/>
                    </a:lnTo>
                    <a:lnTo>
                      <a:pt x="9" y="19"/>
                    </a:lnTo>
                    <a:lnTo>
                      <a:pt x="0" y="19"/>
                    </a:lnTo>
                    <a:lnTo>
                      <a:pt x="9" y="12"/>
                    </a:lnTo>
                    <a:lnTo>
                      <a:pt x="27" y="0"/>
                    </a:lnTo>
                  </a:path>
                </a:pathLst>
              </a:custGeom>
              <a:grpFill/>
              <a:ln w="9525" cmpd="sng">
                <a:solidFill>
                  <a:srgbClr val="FFFFFF"/>
                </a:solidFill>
                <a:prstDash val="solid"/>
                <a:round/>
                <a:headEnd/>
                <a:tailEnd/>
              </a:ln>
            </p:spPr>
            <p:txBody>
              <a:bodyPr/>
              <a:lstStyle/>
              <a:p>
                <a:endParaRPr lang="en-GB" sz="1637"/>
              </a:p>
            </p:txBody>
          </p:sp>
          <p:sp>
            <p:nvSpPr>
              <p:cNvPr id="155" name="Freeform 476"/>
              <p:cNvSpPr>
                <a:spLocks/>
              </p:cNvSpPr>
              <p:nvPr>
                <p:custDataLst>
                  <p:tags r:id="rId138"/>
                </p:custDataLst>
              </p:nvPr>
            </p:nvSpPr>
            <p:spPr bwMode="auto">
              <a:xfrm>
                <a:off x="4604055" y="4533543"/>
                <a:ext cx="206225" cy="245362"/>
              </a:xfrm>
              <a:custGeom>
                <a:avLst/>
                <a:gdLst>
                  <a:gd name="T0" fmla="*/ 122492 w 438"/>
                  <a:gd name="T1" fmla="*/ 4285 h 406"/>
                  <a:gd name="T2" fmla="*/ 138019 w 438"/>
                  <a:gd name="T3" fmla="*/ 14463 h 406"/>
                  <a:gd name="T4" fmla="*/ 156565 w 438"/>
                  <a:gd name="T5" fmla="*/ 25177 h 406"/>
                  <a:gd name="T6" fmla="*/ 170367 w 438"/>
                  <a:gd name="T7" fmla="*/ 31070 h 406"/>
                  <a:gd name="T8" fmla="*/ 179424 w 438"/>
                  <a:gd name="T9" fmla="*/ 32677 h 406"/>
                  <a:gd name="T10" fmla="*/ 183306 w 438"/>
                  <a:gd name="T11" fmla="*/ 43390 h 406"/>
                  <a:gd name="T12" fmla="*/ 185031 w 438"/>
                  <a:gd name="T13" fmla="*/ 64282 h 406"/>
                  <a:gd name="T14" fmla="*/ 187188 w 438"/>
                  <a:gd name="T15" fmla="*/ 84102 h 406"/>
                  <a:gd name="T16" fmla="*/ 188913 w 438"/>
                  <a:gd name="T17" fmla="*/ 104458 h 406"/>
                  <a:gd name="T18" fmla="*/ 188913 w 438"/>
                  <a:gd name="T19" fmla="*/ 119457 h 406"/>
                  <a:gd name="T20" fmla="*/ 187619 w 438"/>
                  <a:gd name="T21" fmla="*/ 126957 h 406"/>
                  <a:gd name="T22" fmla="*/ 183306 w 438"/>
                  <a:gd name="T23" fmla="*/ 138742 h 406"/>
                  <a:gd name="T24" fmla="*/ 175542 w 438"/>
                  <a:gd name="T25" fmla="*/ 153741 h 406"/>
                  <a:gd name="T26" fmla="*/ 168642 w 438"/>
                  <a:gd name="T27" fmla="*/ 164454 h 406"/>
                  <a:gd name="T28" fmla="*/ 164328 w 438"/>
                  <a:gd name="T29" fmla="*/ 171418 h 406"/>
                  <a:gd name="T30" fmla="*/ 161309 w 438"/>
                  <a:gd name="T31" fmla="*/ 177847 h 406"/>
                  <a:gd name="T32" fmla="*/ 160447 w 438"/>
                  <a:gd name="T33" fmla="*/ 188560 h 406"/>
                  <a:gd name="T34" fmla="*/ 154840 w 438"/>
                  <a:gd name="T35" fmla="*/ 199274 h 406"/>
                  <a:gd name="T36" fmla="*/ 138450 w 438"/>
                  <a:gd name="T37" fmla="*/ 214809 h 406"/>
                  <a:gd name="T38" fmla="*/ 88418 w 438"/>
                  <a:gd name="T39" fmla="*/ 207845 h 406"/>
                  <a:gd name="T40" fmla="*/ 78498 w 438"/>
                  <a:gd name="T41" fmla="*/ 203024 h 406"/>
                  <a:gd name="T42" fmla="*/ 71166 w 438"/>
                  <a:gd name="T43" fmla="*/ 198202 h 406"/>
                  <a:gd name="T44" fmla="*/ 64696 w 438"/>
                  <a:gd name="T45" fmla="*/ 192310 h 406"/>
                  <a:gd name="T46" fmla="*/ 59952 w 438"/>
                  <a:gd name="T47" fmla="*/ 185346 h 406"/>
                  <a:gd name="T48" fmla="*/ 53482 w 438"/>
                  <a:gd name="T49" fmla="*/ 172490 h 406"/>
                  <a:gd name="T50" fmla="*/ 46581 w 438"/>
                  <a:gd name="T51" fmla="*/ 158562 h 406"/>
                  <a:gd name="T52" fmla="*/ 40543 w 438"/>
                  <a:gd name="T53" fmla="*/ 149455 h 406"/>
                  <a:gd name="T54" fmla="*/ 31054 w 438"/>
                  <a:gd name="T55" fmla="*/ 138742 h 406"/>
                  <a:gd name="T56" fmla="*/ 18978 w 438"/>
                  <a:gd name="T57" fmla="*/ 125350 h 406"/>
                  <a:gd name="T58" fmla="*/ 10351 w 438"/>
                  <a:gd name="T59" fmla="*/ 114100 h 406"/>
                  <a:gd name="T60" fmla="*/ 5607 w 438"/>
                  <a:gd name="T61" fmla="*/ 104458 h 406"/>
                  <a:gd name="T62" fmla="*/ 1725 w 438"/>
                  <a:gd name="T63" fmla="*/ 94280 h 406"/>
                  <a:gd name="T64" fmla="*/ 0 w 438"/>
                  <a:gd name="T65" fmla="*/ 82495 h 406"/>
                  <a:gd name="T66" fmla="*/ 7764 w 438"/>
                  <a:gd name="T67" fmla="*/ 75531 h 406"/>
                  <a:gd name="T68" fmla="*/ 17252 w 438"/>
                  <a:gd name="T69" fmla="*/ 75531 h 406"/>
                  <a:gd name="T70" fmla="*/ 22859 w 438"/>
                  <a:gd name="T71" fmla="*/ 75531 h 406"/>
                  <a:gd name="T72" fmla="*/ 27172 w 438"/>
                  <a:gd name="T73" fmla="*/ 73924 h 406"/>
                  <a:gd name="T74" fmla="*/ 33211 w 438"/>
                  <a:gd name="T75" fmla="*/ 70174 h 406"/>
                  <a:gd name="T76" fmla="*/ 42700 w 438"/>
                  <a:gd name="T77" fmla="*/ 57854 h 406"/>
                  <a:gd name="T78" fmla="*/ 50463 w 438"/>
                  <a:gd name="T79" fmla="*/ 46604 h 406"/>
                  <a:gd name="T80" fmla="*/ 56070 w 438"/>
                  <a:gd name="T81" fmla="*/ 42855 h 406"/>
                  <a:gd name="T82" fmla="*/ 64696 w 438"/>
                  <a:gd name="T83" fmla="*/ 38033 h 406"/>
                  <a:gd name="T84" fmla="*/ 77204 w 438"/>
                  <a:gd name="T85" fmla="*/ 32141 h 406"/>
                  <a:gd name="T86" fmla="*/ 87556 w 438"/>
                  <a:gd name="T87" fmla="*/ 26784 h 406"/>
                  <a:gd name="T88" fmla="*/ 91006 w 438"/>
                  <a:gd name="T89" fmla="*/ 23034 h 406"/>
                  <a:gd name="T90" fmla="*/ 90575 w 438"/>
                  <a:gd name="T91" fmla="*/ 20356 h 406"/>
                  <a:gd name="T92" fmla="*/ 91006 w 438"/>
                  <a:gd name="T93" fmla="*/ 16070 h 406"/>
                  <a:gd name="T94" fmla="*/ 91869 w 438"/>
                  <a:gd name="T95" fmla="*/ 9107 h 406"/>
                  <a:gd name="T96" fmla="*/ 93594 w 438"/>
                  <a:gd name="T97" fmla="*/ 6428 h 406"/>
                  <a:gd name="T98" fmla="*/ 97044 w 438"/>
                  <a:gd name="T99" fmla="*/ 6428 h 406"/>
                  <a:gd name="T100" fmla="*/ 100064 w 438"/>
                  <a:gd name="T101" fmla="*/ 4821 h 406"/>
                  <a:gd name="T102" fmla="*/ 101789 w 438"/>
                  <a:gd name="T103" fmla="*/ 2143 h 406"/>
                  <a:gd name="T104" fmla="*/ 105239 w 438"/>
                  <a:gd name="T105" fmla="*/ 1071 h 406"/>
                  <a:gd name="T106" fmla="*/ 108258 w 438"/>
                  <a:gd name="T107" fmla="*/ 1607 h 406"/>
                  <a:gd name="T108" fmla="*/ 113865 w 438"/>
                  <a:gd name="T109" fmla="*/ 536 h 40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438" h="406">
                    <a:moveTo>
                      <a:pt x="272" y="0"/>
                    </a:moveTo>
                    <a:lnTo>
                      <a:pt x="284" y="8"/>
                    </a:lnTo>
                    <a:lnTo>
                      <a:pt x="301" y="17"/>
                    </a:lnTo>
                    <a:lnTo>
                      <a:pt x="320" y="27"/>
                    </a:lnTo>
                    <a:lnTo>
                      <a:pt x="341" y="37"/>
                    </a:lnTo>
                    <a:lnTo>
                      <a:pt x="363" y="47"/>
                    </a:lnTo>
                    <a:lnTo>
                      <a:pt x="385" y="55"/>
                    </a:lnTo>
                    <a:lnTo>
                      <a:pt x="395" y="58"/>
                    </a:lnTo>
                    <a:lnTo>
                      <a:pt x="406" y="60"/>
                    </a:lnTo>
                    <a:lnTo>
                      <a:pt x="416" y="61"/>
                    </a:lnTo>
                    <a:lnTo>
                      <a:pt x="425" y="61"/>
                    </a:lnTo>
                    <a:lnTo>
                      <a:pt x="425" y="81"/>
                    </a:lnTo>
                    <a:lnTo>
                      <a:pt x="427" y="101"/>
                    </a:lnTo>
                    <a:lnTo>
                      <a:pt x="429" y="120"/>
                    </a:lnTo>
                    <a:lnTo>
                      <a:pt x="432" y="138"/>
                    </a:lnTo>
                    <a:lnTo>
                      <a:pt x="434" y="157"/>
                    </a:lnTo>
                    <a:lnTo>
                      <a:pt x="436" y="176"/>
                    </a:lnTo>
                    <a:lnTo>
                      <a:pt x="438" y="195"/>
                    </a:lnTo>
                    <a:lnTo>
                      <a:pt x="438" y="216"/>
                    </a:lnTo>
                    <a:lnTo>
                      <a:pt x="438" y="223"/>
                    </a:lnTo>
                    <a:lnTo>
                      <a:pt x="436" y="230"/>
                    </a:lnTo>
                    <a:lnTo>
                      <a:pt x="435" y="237"/>
                    </a:lnTo>
                    <a:lnTo>
                      <a:pt x="432" y="245"/>
                    </a:lnTo>
                    <a:lnTo>
                      <a:pt x="425" y="259"/>
                    </a:lnTo>
                    <a:lnTo>
                      <a:pt x="416" y="274"/>
                    </a:lnTo>
                    <a:lnTo>
                      <a:pt x="407" y="287"/>
                    </a:lnTo>
                    <a:lnTo>
                      <a:pt x="399" y="298"/>
                    </a:lnTo>
                    <a:lnTo>
                      <a:pt x="391" y="307"/>
                    </a:lnTo>
                    <a:lnTo>
                      <a:pt x="385" y="314"/>
                    </a:lnTo>
                    <a:lnTo>
                      <a:pt x="381" y="320"/>
                    </a:lnTo>
                    <a:lnTo>
                      <a:pt x="378" y="326"/>
                    </a:lnTo>
                    <a:lnTo>
                      <a:pt x="374" y="332"/>
                    </a:lnTo>
                    <a:lnTo>
                      <a:pt x="373" y="339"/>
                    </a:lnTo>
                    <a:lnTo>
                      <a:pt x="372" y="352"/>
                    </a:lnTo>
                    <a:lnTo>
                      <a:pt x="372" y="363"/>
                    </a:lnTo>
                    <a:lnTo>
                      <a:pt x="359" y="372"/>
                    </a:lnTo>
                    <a:lnTo>
                      <a:pt x="339" y="387"/>
                    </a:lnTo>
                    <a:lnTo>
                      <a:pt x="321" y="401"/>
                    </a:lnTo>
                    <a:lnTo>
                      <a:pt x="312" y="406"/>
                    </a:lnTo>
                    <a:lnTo>
                      <a:pt x="205" y="388"/>
                    </a:lnTo>
                    <a:lnTo>
                      <a:pt x="192" y="382"/>
                    </a:lnTo>
                    <a:lnTo>
                      <a:pt x="182" y="379"/>
                    </a:lnTo>
                    <a:lnTo>
                      <a:pt x="172" y="376"/>
                    </a:lnTo>
                    <a:lnTo>
                      <a:pt x="165" y="370"/>
                    </a:lnTo>
                    <a:lnTo>
                      <a:pt x="157" y="365"/>
                    </a:lnTo>
                    <a:lnTo>
                      <a:pt x="150" y="359"/>
                    </a:lnTo>
                    <a:lnTo>
                      <a:pt x="145" y="353"/>
                    </a:lnTo>
                    <a:lnTo>
                      <a:pt x="139" y="346"/>
                    </a:lnTo>
                    <a:lnTo>
                      <a:pt x="134" y="338"/>
                    </a:lnTo>
                    <a:lnTo>
                      <a:pt x="124" y="322"/>
                    </a:lnTo>
                    <a:lnTo>
                      <a:pt x="114" y="304"/>
                    </a:lnTo>
                    <a:lnTo>
                      <a:pt x="108" y="296"/>
                    </a:lnTo>
                    <a:lnTo>
                      <a:pt x="101" y="288"/>
                    </a:lnTo>
                    <a:lnTo>
                      <a:pt x="94" y="279"/>
                    </a:lnTo>
                    <a:lnTo>
                      <a:pt x="86" y="271"/>
                    </a:lnTo>
                    <a:lnTo>
                      <a:pt x="72" y="259"/>
                    </a:lnTo>
                    <a:lnTo>
                      <a:pt x="58" y="247"/>
                    </a:lnTo>
                    <a:lnTo>
                      <a:pt x="44" y="234"/>
                    </a:lnTo>
                    <a:lnTo>
                      <a:pt x="31" y="220"/>
                    </a:lnTo>
                    <a:lnTo>
                      <a:pt x="24" y="213"/>
                    </a:lnTo>
                    <a:lnTo>
                      <a:pt x="19" y="204"/>
                    </a:lnTo>
                    <a:lnTo>
                      <a:pt x="13" y="195"/>
                    </a:lnTo>
                    <a:lnTo>
                      <a:pt x="9" y="186"/>
                    </a:lnTo>
                    <a:lnTo>
                      <a:pt x="4" y="176"/>
                    </a:lnTo>
                    <a:lnTo>
                      <a:pt x="2" y="166"/>
                    </a:lnTo>
                    <a:lnTo>
                      <a:pt x="0" y="154"/>
                    </a:lnTo>
                    <a:lnTo>
                      <a:pt x="0" y="141"/>
                    </a:lnTo>
                    <a:lnTo>
                      <a:pt x="18" y="141"/>
                    </a:lnTo>
                    <a:lnTo>
                      <a:pt x="31" y="141"/>
                    </a:lnTo>
                    <a:lnTo>
                      <a:pt x="40" y="141"/>
                    </a:lnTo>
                    <a:lnTo>
                      <a:pt x="46" y="141"/>
                    </a:lnTo>
                    <a:lnTo>
                      <a:pt x="53" y="141"/>
                    </a:lnTo>
                    <a:lnTo>
                      <a:pt x="58" y="140"/>
                    </a:lnTo>
                    <a:lnTo>
                      <a:pt x="63" y="138"/>
                    </a:lnTo>
                    <a:lnTo>
                      <a:pt x="68" y="136"/>
                    </a:lnTo>
                    <a:lnTo>
                      <a:pt x="77" y="131"/>
                    </a:lnTo>
                    <a:lnTo>
                      <a:pt x="85" y="124"/>
                    </a:lnTo>
                    <a:lnTo>
                      <a:pt x="99" y="108"/>
                    </a:lnTo>
                    <a:lnTo>
                      <a:pt x="113" y="92"/>
                    </a:lnTo>
                    <a:lnTo>
                      <a:pt x="117" y="87"/>
                    </a:lnTo>
                    <a:lnTo>
                      <a:pt x="124" y="83"/>
                    </a:lnTo>
                    <a:lnTo>
                      <a:pt x="130" y="80"/>
                    </a:lnTo>
                    <a:lnTo>
                      <a:pt x="136" y="77"/>
                    </a:lnTo>
                    <a:lnTo>
                      <a:pt x="150" y="71"/>
                    </a:lnTo>
                    <a:lnTo>
                      <a:pt x="165" y="65"/>
                    </a:lnTo>
                    <a:lnTo>
                      <a:pt x="179" y="60"/>
                    </a:lnTo>
                    <a:lnTo>
                      <a:pt x="192" y="55"/>
                    </a:lnTo>
                    <a:lnTo>
                      <a:pt x="203" y="50"/>
                    </a:lnTo>
                    <a:lnTo>
                      <a:pt x="212" y="43"/>
                    </a:lnTo>
                    <a:lnTo>
                      <a:pt x="211" y="43"/>
                    </a:lnTo>
                    <a:lnTo>
                      <a:pt x="210" y="41"/>
                    </a:lnTo>
                    <a:lnTo>
                      <a:pt x="210" y="38"/>
                    </a:lnTo>
                    <a:lnTo>
                      <a:pt x="210" y="36"/>
                    </a:lnTo>
                    <a:lnTo>
                      <a:pt x="211" y="30"/>
                    </a:lnTo>
                    <a:lnTo>
                      <a:pt x="212" y="24"/>
                    </a:lnTo>
                    <a:lnTo>
                      <a:pt x="213" y="17"/>
                    </a:lnTo>
                    <a:lnTo>
                      <a:pt x="214" y="14"/>
                    </a:lnTo>
                    <a:lnTo>
                      <a:pt x="217" y="12"/>
                    </a:lnTo>
                    <a:lnTo>
                      <a:pt x="221" y="12"/>
                    </a:lnTo>
                    <a:lnTo>
                      <a:pt x="225" y="12"/>
                    </a:lnTo>
                    <a:lnTo>
                      <a:pt x="229" y="11"/>
                    </a:lnTo>
                    <a:lnTo>
                      <a:pt x="232" y="9"/>
                    </a:lnTo>
                    <a:lnTo>
                      <a:pt x="234" y="7"/>
                    </a:lnTo>
                    <a:lnTo>
                      <a:pt x="236" y="4"/>
                    </a:lnTo>
                    <a:lnTo>
                      <a:pt x="239" y="0"/>
                    </a:lnTo>
                    <a:lnTo>
                      <a:pt x="244" y="2"/>
                    </a:lnTo>
                    <a:lnTo>
                      <a:pt x="248" y="3"/>
                    </a:lnTo>
                    <a:lnTo>
                      <a:pt x="251" y="3"/>
                    </a:lnTo>
                    <a:lnTo>
                      <a:pt x="256" y="2"/>
                    </a:lnTo>
                    <a:lnTo>
                      <a:pt x="264" y="1"/>
                    </a:lnTo>
                    <a:lnTo>
                      <a:pt x="272" y="0"/>
                    </a:lnTo>
                  </a:path>
                </a:pathLst>
              </a:custGeom>
              <a:grpFill/>
              <a:ln w="9525" cmpd="sng">
                <a:solidFill>
                  <a:srgbClr val="FFFFFF"/>
                </a:solidFill>
                <a:prstDash val="solid"/>
                <a:round/>
                <a:headEnd/>
                <a:tailEnd/>
              </a:ln>
            </p:spPr>
            <p:txBody>
              <a:bodyPr/>
              <a:lstStyle/>
              <a:p>
                <a:endParaRPr lang="en-GB" sz="1637"/>
              </a:p>
            </p:txBody>
          </p:sp>
          <p:sp>
            <p:nvSpPr>
              <p:cNvPr id="156" name="Freeform 477"/>
              <p:cNvSpPr>
                <a:spLocks/>
              </p:cNvSpPr>
              <p:nvPr>
                <p:custDataLst>
                  <p:tags r:id="rId139"/>
                </p:custDataLst>
              </p:nvPr>
            </p:nvSpPr>
            <p:spPr bwMode="auto">
              <a:xfrm>
                <a:off x="4508742" y="4281017"/>
                <a:ext cx="320601" cy="338493"/>
              </a:xfrm>
              <a:custGeom>
                <a:avLst/>
                <a:gdLst>
                  <a:gd name="T0" fmla="*/ 222215 w 678"/>
                  <a:gd name="T1" fmla="*/ 4182 h 574"/>
                  <a:gd name="T2" fmla="*/ 239108 w 678"/>
                  <a:gd name="T3" fmla="*/ 13591 h 574"/>
                  <a:gd name="T4" fmla="*/ 279393 w 678"/>
                  <a:gd name="T5" fmla="*/ 32931 h 574"/>
                  <a:gd name="T6" fmla="*/ 285890 w 678"/>
                  <a:gd name="T7" fmla="*/ 45999 h 574"/>
                  <a:gd name="T8" fmla="*/ 293687 w 678"/>
                  <a:gd name="T9" fmla="*/ 49135 h 574"/>
                  <a:gd name="T10" fmla="*/ 293687 w 678"/>
                  <a:gd name="T11" fmla="*/ 66385 h 574"/>
                  <a:gd name="T12" fmla="*/ 293254 w 678"/>
                  <a:gd name="T13" fmla="*/ 75271 h 574"/>
                  <a:gd name="T14" fmla="*/ 288922 w 678"/>
                  <a:gd name="T15" fmla="*/ 82589 h 574"/>
                  <a:gd name="T16" fmla="*/ 280259 w 678"/>
                  <a:gd name="T17" fmla="*/ 93043 h 574"/>
                  <a:gd name="T18" fmla="*/ 276360 w 678"/>
                  <a:gd name="T19" fmla="*/ 180859 h 574"/>
                  <a:gd name="T20" fmla="*/ 199690 w 678"/>
                  <a:gd name="T21" fmla="*/ 202813 h 574"/>
                  <a:gd name="T22" fmla="*/ 199690 w 678"/>
                  <a:gd name="T23" fmla="*/ 216926 h 574"/>
                  <a:gd name="T24" fmla="*/ 197091 w 678"/>
                  <a:gd name="T25" fmla="*/ 227381 h 574"/>
                  <a:gd name="T26" fmla="*/ 192326 w 678"/>
                  <a:gd name="T27" fmla="*/ 227381 h 574"/>
                  <a:gd name="T28" fmla="*/ 187994 w 678"/>
                  <a:gd name="T29" fmla="*/ 229994 h 574"/>
                  <a:gd name="T30" fmla="*/ 184096 w 678"/>
                  <a:gd name="T31" fmla="*/ 232608 h 574"/>
                  <a:gd name="T32" fmla="*/ 179331 w 678"/>
                  <a:gd name="T33" fmla="*/ 233653 h 574"/>
                  <a:gd name="T34" fmla="*/ 178032 w 678"/>
                  <a:gd name="T35" fmla="*/ 242017 h 574"/>
                  <a:gd name="T36" fmla="*/ 177598 w 678"/>
                  <a:gd name="T37" fmla="*/ 247767 h 574"/>
                  <a:gd name="T38" fmla="*/ 174566 w 678"/>
                  <a:gd name="T39" fmla="*/ 252471 h 574"/>
                  <a:gd name="T40" fmla="*/ 158106 w 678"/>
                  <a:gd name="T41" fmla="*/ 260312 h 574"/>
                  <a:gd name="T42" fmla="*/ 142945 w 678"/>
                  <a:gd name="T43" fmla="*/ 268152 h 574"/>
                  <a:gd name="T44" fmla="*/ 135581 w 678"/>
                  <a:gd name="T45" fmla="*/ 274425 h 574"/>
                  <a:gd name="T46" fmla="*/ 119987 w 678"/>
                  <a:gd name="T47" fmla="*/ 294811 h 574"/>
                  <a:gd name="T48" fmla="*/ 111757 w 678"/>
                  <a:gd name="T49" fmla="*/ 299515 h 574"/>
                  <a:gd name="T50" fmla="*/ 103094 w 678"/>
                  <a:gd name="T51" fmla="*/ 300038 h 574"/>
                  <a:gd name="T52" fmla="*/ 83601 w 678"/>
                  <a:gd name="T53" fmla="*/ 300038 h 574"/>
                  <a:gd name="T54" fmla="*/ 80569 w 678"/>
                  <a:gd name="T55" fmla="*/ 292197 h 574"/>
                  <a:gd name="T56" fmla="*/ 71473 w 678"/>
                  <a:gd name="T57" fmla="*/ 285925 h 574"/>
                  <a:gd name="T58" fmla="*/ 57611 w 678"/>
                  <a:gd name="T59" fmla="*/ 284879 h 574"/>
                  <a:gd name="T60" fmla="*/ 40285 w 678"/>
                  <a:gd name="T61" fmla="*/ 290629 h 574"/>
                  <a:gd name="T62" fmla="*/ 14295 w 678"/>
                  <a:gd name="T63" fmla="*/ 275470 h 574"/>
                  <a:gd name="T64" fmla="*/ 0 w 678"/>
                  <a:gd name="T65" fmla="*/ 148974 h 574"/>
                  <a:gd name="T66" fmla="*/ 31621 w 678"/>
                  <a:gd name="T67" fmla="*/ 149496 h 574"/>
                  <a:gd name="T68" fmla="*/ 44616 w 678"/>
                  <a:gd name="T69" fmla="*/ 147405 h 574"/>
                  <a:gd name="T70" fmla="*/ 51547 w 678"/>
                  <a:gd name="T71" fmla="*/ 143746 h 574"/>
                  <a:gd name="T72" fmla="*/ 55879 w 678"/>
                  <a:gd name="T73" fmla="*/ 133815 h 574"/>
                  <a:gd name="T74" fmla="*/ 56745 w 678"/>
                  <a:gd name="T75" fmla="*/ 119702 h 574"/>
                  <a:gd name="T76" fmla="*/ 54579 w 678"/>
                  <a:gd name="T77" fmla="*/ 96702 h 574"/>
                  <a:gd name="T78" fmla="*/ 56312 w 678"/>
                  <a:gd name="T79" fmla="*/ 86248 h 574"/>
                  <a:gd name="T80" fmla="*/ 60643 w 678"/>
                  <a:gd name="T81" fmla="*/ 89384 h 574"/>
                  <a:gd name="T82" fmla="*/ 75371 w 678"/>
                  <a:gd name="T83" fmla="*/ 91475 h 574"/>
                  <a:gd name="T84" fmla="*/ 81435 w 678"/>
                  <a:gd name="T85" fmla="*/ 97225 h 574"/>
                  <a:gd name="T86" fmla="*/ 84468 w 678"/>
                  <a:gd name="T87" fmla="*/ 105066 h 574"/>
                  <a:gd name="T88" fmla="*/ 90099 w 678"/>
                  <a:gd name="T89" fmla="*/ 109770 h 574"/>
                  <a:gd name="T90" fmla="*/ 104393 w 678"/>
                  <a:gd name="T91" fmla="*/ 113429 h 574"/>
                  <a:gd name="T92" fmla="*/ 116522 w 678"/>
                  <a:gd name="T93" fmla="*/ 111861 h 574"/>
                  <a:gd name="T94" fmla="*/ 130383 w 678"/>
                  <a:gd name="T95" fmla="*/ 104020 h 574"/>
                  <a:gd name="T96" fmla="*/ 138180 w 678"/>
                  <a:gd name="T97" fmla="*/ 102452 h 574"/>
                  <a:gd name="T98" fmla="*/ 143378 w 678"/>
                  <a:gd name="T99" fmla="*/ 100884 h 574"/>
                  <a:gd name="T100" fmla="*/ 148576 w 678"/>
                  <a:gd name="T101" fmla="*/ 99316 h 574"/>
                  <a:gd name="T102" fmla="*/ 154641 w 678"/>
                  <a:gd name="T103" fmla="*/ 95134 h 574"/>
                  <a:gd name="T104" fmla="*/ 159405 w 678"/>
                  <a:gd name="T105" fmla="*/ 87816 h 574"/>
                  <a:gd name="T106" fmla="*/ 165903 w 678"/>
                  <a:gd name="T107" fmla="*/ 65862 h 574"/>
                  <a:gd name="T108" fmla="*/ 174566 w 678"/>
                  <a:gd name="T109" fmla="*/ 24568 h 574"/>
                  <a:gd name="T110" fmla="*/ 179331 w 678"/>
                  <a:gd name="T111" fmla="*/ 5227 h 574"/>
                  <a:gd name="T112" fmla="*/ 186695 w 678"/>
                  <a:gd name="T113" fmla="*/ 3136 h 574"/>
                  <a:gd name="T114" fmla="*/ 196225 w 678"/>
                  <a:gd name="T115" fmla="*/ 4182 h 574"/>
                  <a:gd name="T116" fmla="*/ 208786 w 678"/>
                  <a:gd name="T117" fmla="*/ 523 h 57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678" h="574">
                    <a:moveTo>
                      <a:pt x="505" y="1"/>
                    </a:moveTo>
                    <a:lnTo>
                      <a:pt x="507" y="4"/>
                    </a:lnTo>
                    <a:lnTo>
                      <a:pt x="513" y="8"/>
                    </a:lnTo>
                    <a:lnTo>
                      <a:pt x="521" y="12"/>
                    </a:lnTo>
                    <a:lnTo>
                      <a:pt x="529" y="16"/>
                    </a:lnTo>
                    <a:lnTo>
                      <a:pt x="552" y="26"/>
                    </a:lnTo>
                    <a:lnTo>
                      <a:pt x="578" y="37"/>
                    </a:lnTo>
                    <a:lnTo>
                      <a:pt x="624" y="55"/>
                    </a:lnTo>
                    <a:lnTo>
                      <a:pt x="645" y="63"/>
                    </a:lnTo>
                    <a:lnTo>
                      <a:pt x="650" y="73"/>
                    </a:lnTo>
                    <a:lnTo>
                      <a:pt x="657" y="84"/>
                    </a:lnTo>
                    <a:lnTo>
                      <a:pt x="660" y="88"/>
                    </a:lnTo>
                    <a:lnTo>
                      <a:pt x="666" y="91"/>
                    </a:lnTo>
                    <a:lnTo>
                      <a:pt x="671" y="93"/>
                    </a:lnTo>
                    <a:lnTo>
                      <a:pt x="678" y="94"/>
                    </a:lnTo>
                    <a:lnTo>
                      <a:pt x="678" y="107"/>
                    </a:lnTo>
                    <a:lnTo>
                      <a:pt x="678" y="118"/>
                    </a:lnTo>
                    <a:lnTo>
                      <a:pt x="678" y="127"/>
                    </a:lnTo>
                    <a:lnTo>
                      <a:pt x="678" y="137"/>
                    </a:lnTo>
                    <a:lnTo>
                      <a:pt x="678" y="141"/>
                    </a:lnTo>
                    <a:lnTo>
                      <a:pt x="677" y="144"/>
                    </a:lnTo>
                    <a:lnTo>
                      <a:pt x="674" y="148"/>
                    </a:lnTo>
                    <a:lnTo>
                      <a:pt x="673" y="151"/>
                    </a:lnTo>
                    <a:lnTo>
                      <a:pt x="667" y="158"/>
                    </a:lnTo>
                    <a:lnTo>
                      <a:pt x="660" y="165"/>
                    </a:lnTo>
                    <a:lnTo>
                      <a:pt x="653" y="172"/>
                    </a:lnTo>
                    <a:lnTo>
                      <a:pt x="647" y="178"/>
                    </a:lnTo>
                    <a:lnTo>
                      <a:pt x="641" y="185"/>
                    </a:lnTo>
                    <a:lnTo>
                      <a:pt x="638" y="192"/>
                    </a:lnTo>
                    <a:lnTo>
                      <a:pt x="638" y="346"/>
                    </a:lnTo>
                    <a:lnTo>
                      <a:pt x="466" y="378"/>
                    </a:lnTo>
                    <a:lnTo>
                      <a:pt x="464" y="382"/>
                    </a:lnTo>
                    <a:lnTo>
                      <a:pt x="461" y="388"/>
                    </a:lnTo>
                    <a:lnTo>
                      <a:pt x="460" y="394"/>
                    </a:lnTo>
                    <a:lnTo>
                      <a:pt x="460" y="400"/>
                    </a:lnTo>
                    <a:lnTo>
                      <a:pt x="461" y="415"/>
                    </a:lnTo>
                    <a:lnTo>
                      <a:pt x="466" y="433"/>
                    </a:lnTo>
                    <a:lnTo>
                      <a:pt x="460" y="434"/>
                    </a:lnTo>
                    <a:lnTo>
                      <a:pt x="455" y="435"/>
                    </a:lnTo>
                    <a:lnTo>
                      <a:pt x="451" y="436"/>
                    </a:lnTo>
                    <a:lnTo>
                      <a:pt x="448" y="436"/>
                    </a:lnTo>
                    <a:lnTo>
                      <a:pt x="444" y="435"/>
                    </a:lnTo>
                    <a:lnTo>
                      <a:pt x="439" y="433"/>
                    </a:lnTo>
                    <a:lnTo>
                      <a:pt x="436" y="437"/>
                    </a:lnTo>
                    <a:lnTo>
                      <a:pt x="434" y="440"/>
                    </a:lnTo>
                    <a:lnTo>
                      <a:pt x="432" y="442"/>
                    </a:lnTo>
                    <a:lnTo>
                      <a:pt x="429" y="444"/>
                    </a:lnTo>
                    <a:lnTo>
                      <a:pt x="425" y="445"/>
                    </a:lnTo>
                    <a:lnTo>
                      <a:pt x="421" y="445"/>
                    </a:lnTo>
                    <a:lnTo>
                      <a:pt x="417" y="445"/>
                    </a:lnTo>
                    <a:lnTo>
                      <a:pt x="414" y="447"/>
                    </a:lnTo>
                    <a:lnTo>
                      <a:pt x="413" y="450"/>
                    </a:lnTo>
                    <a:lnTo>
                      <a:pt x="412" y="457"/>
                    </a:lnTo>
                    <a:lnTo>
                      <a:pt x="411" y="463"/>
                    </a:lnTo>
                    <a:lnTo>
                      <a:pt x="410" y="469"/>
                    </a:lnTo>
                    <a:lnTo>
                      <a:pt x="410" y="471"/>
                    </a:lnTo>
                    <a:lnTo>
                      <a:pt x="410" y="474"/>
                    </a:lnTo>
                    <a:lnTo>
                      <a:pt x="411" y="476"/>
                    </a:lnTo>
                    <a:lnTo>
                      <a:pt x="412" y="476"/>
                    </a:lnTo>
                    <a:lnTo>
                      <a:pt x="403" y="483"/>
                    </a:lnTo>
                    <a:lnTo>
                      <a:pt x="392" y="488"/>
                    </a:lnTo>
                    <a:lnTo>
                      <a:pt x="379" y="493"/>
                    </a:lnTo>
                    <a:lnTo>
                      <a:pt x="365" y="498"/>
                    </a:lnTo>
                    <a:lnTo>
                      <a:pt x="350" y="504"/>
                    </a:lnTo>
                    <a:lnTo>
                      <a:pt x="336" y="510"/>
                    </a:lnTo>
                    <a:lnTo>
                      <a:pt x="330" y="513"/>
                    </a:lnTo>
                    <a:lnTo>
                      <a:pt x="324" y="516"/>
                    </a:lnTo>
                    <a:lnTo>
                      <a:pt x="317" y="520"/>
                    </a:lnTo>
                    <a:lnTo>
                      <a:pt x="313" y="525"/>
                    </a:lnTo>
                    <a:lnTo>
                      <a:pt x="299" y="541"/>
                    </a:lnTo>
                    <a:lnTo>
                      <a:pt x="285" y="557"/>
                    </a:lnTo>
                    <a:lnTo>
                      <a:pt x="277" y="564"/>
                    </a:lnTo>
                    <a:lnTo>
                      <a:pt x="268" y="569"/>
                    </a:lnTo>
                    <a:lnTo>
                      <a:pt x="263" y="571"/>
                    </a:lnTo>
                    <a:lnTo>
                      <a:pt x="258" y="573"/>
                    </a:lnTo>
                    <a:lnTo>
                      <a:pt x="253" y="574"/>
                    </a:lnTo>
                    <a:lnTo>
                      <a:pt x="246" y="574"/>
                    </a:lnTo>
                    <a:lnTo>
                      <a:pt x="238" y="574"/>
                    </a:lnTo>
                    <a:lnTo>
                      <a:pt x="227" y="574"/>
                    </a:lnTo>
                    <a:lnTo>
                      <a:pt x="212" y="574"/>
                    </a:lnTo>
                    <a:lnTo>
                      <a:pt x="193" y="574"/>
                    </a:lnTo>
                    <a:lnTo>
                      <a:pt x="192" y="569"/>
                    </a:lnTo>
                    <a:lnTo>
                      <a:pt x="189" y="564"/>
                    </a:lnTo>
                    <a:lnTo>
                      <a:pt x="186" y="559"/>
                    </a:lnTo>
                    <a:lnTo>
                      <a:pt x="180" y="554"/>
                    </a:lnTo>
                    <a:lnTo>
                      <a:pt x="173" y="550"/>
                    </a:lnTo>
                    <a:lnTo>
                      <a:pt x="165" y="547"/>
                    </a:lnTo>
                    <a:lnTo>
                      <a:pt x="156" y="545"/>
                    </a:lnTo>
                    <a:lnTo>
                      <a:pt x="146" y="544"/>
                    </a:lnTo>
                    <a:lnTo>
                      <a:pt x="133" y="545"/>
                    </a:lnTo>
                    <a:lnTo>
                      <a:pt x="120" y="548"/>
                    </a:lnTo>
                    <a:lnTo>
                      <a:pt x="108" y="552"/>
                    </a:lnTo>
                    <a:lnTo>
                      <a:pt x="93" y="556"/>
                    </a:lnTo>
                    <a:lnTo>
                      <a:pt x="61" y="556"/>
                    </a:lnTo>
                    <a:lnTo>
                      <a:pt x="48" y="544"/>
                    </a:lnTo>
                    <a:lnTo>
                      <a:pt x="33" y="527"/>
                    </a:lnTo>
                    <a:lnTo>
                      <a:pt x="17" y="510"/>
                    </a:lnTo>
                    <a:lnTo>
                      <a:pt x="0" y="494"/>
                    </a:lnTo>
                    <a:lnTo>
                      <a:pt x="0" y="285"/>
                    </a:lnTo>
                    <a:lnTo>
                      <a:pt x="21" y="286"/>
                    </a:lnTo>
                    <a:lnTo>
                      <a:pt x="54" y="286"/>
                    </a:lnTo>
                    <a:lnTo>
                      <a:pt x="73" y="286"/>
                    </a:lnTo>
                    <a:lnTo>
                      <a:pt x="89" y="285"/>
                    </a:lnTo>
                    <a:lnTo>
                      <a:pt x="97" y="284"/>
                    </a:lnTo>
                    <a:lnTo>
                      <a:pt x="103" y="282"/>
                    </a:lnTo>
                    <a:lnTo>
                      <a:pt x="109" y="281"/>
                    </a:lnTo>
                    <a:lnTo>
                      <a:pt x="113" y="279"/>
                    </a:lnTo>
                    <a:lnTo>
                      <a:pt x="119" y="275"/>
                    </a:lnTo>
                    <a:lnTo>
                      <a:pt x="123" y="269"/>
                    </a:lnTo>
                    <a:lnTo>
                      <a:pt x="126" y="263"/>
                    </a:lnTo>
                    <a:lnTo>
                      <a:pt x="129" y="256"/>
                    </a:lnTo>
                    <a:lnTo>
                      <a:pt x="130" y="247"/>
                    </a:lnTo>
                    <a:lnTo>
                      <a:pt x="131" y="238"/>
                    </a:lnTo>
                    <a:lnTo>
                      <a:pt x="131" y="229"/>
                    </a:lnTo>
                    <a:lnTo>
                      <a:pt x="130" y="220"/>
                    </a:lnTo>
                    <a:lnTo>
                      <a:pt x="129" y="202"/>
                    </a:lnTo>
                    <a:lnTo>
                      <a:pt x="126" y="185"/>
                    </a:lnTo>
                    <a:lnTo>
                      <a:pt x="125" y="171"/>
                    </a:lnTo>
                    <a:lnTo>
                      <a:pt x="126" y="162"/>
                    </a:lnTo>
                    <a:lnTo>
                      <a:pt x="130" y="165"/>
                    </a:lnTo>
                    <a:lnTo>
                      <a:pt x="132" y="168"/>
                    </a:lnTo>
                    <a:lnTo>
                      <a:pt x="136" y="170"/>
                    </a:lnTo>
                    <a:lnTo>
                      <a:pt x="140" y="171"/>
                    </a:lnTo>
                    <a:lnTo>
                      <a:pt x="147" y="174"/>
                    </a:lnTo>
                    <a:lnTo>
                      <a:pt x="156" y="175"/>
                    </a:lnTo>
                    <a:lnTo>
                      <a:pt x="174" y="175"/>
                    </a:lnTo>
                    <a:lnTo>
                      <a:pt x="187" y="174"/>
                    </a:lnTo>
                    <a:lnTo>
                      <a:pt x="187" y="180"/>
                    </a:lnTo>
                    <a:lnTo>
                      <a:pt x="188" y="186"/>
                    </a:lnTo>
                    <a:lnTo>
                      <a:pt x="190" y="191"/>
                    </a:lnTo>
                    <a:lnTo>
                      <a:pt x="192" y="197"/>
                    </a:lnTo>
                    <a:lnTo>
                      <a:pt x="195" y="201"/>
                    </a:lnTo>
                    <a:lnTo>
                      <a:pt x="199" y="204"/>
                    </a:lnTo>
                    <a:lnTo>
                      <a:pt x="202" y="207"/>
                    </a:lnTo>
                    <a:lnTo>
                      <a:pt x="208" y="210"/>
                    </a:lnTo>
                    <a:lnTo>
                      <a:pt x="218" y="213"/>
                    </a:lnTo>
                    <a:lnTo>
                      <a:pt x="229" y="216"/>
                    </a:lnTo>
                    <a:lnTo>
                      <a:pt x="241" y="217"/>
                    </a:lnTo>
                    <a:lnTo>
                      <a:pt x="253" y="217"/>
                    </a:lnTo>
                    <a:lnTo>
                      <a:pt x="260" y="216"/>
                    </a:lnTo>
                    <a:lnTo>
                      <a:pt x="269" y="214"/>
                    </a:lnTo>
                    <a:lnTo>
                      <a:pt x="277" y="211"/>
                    </a:lnTo>
                    <a:lnTo>
                      <a:pt x="286" y="207"/>
                    </a:lnTo>
                    <a:lnTo>
                      <a:pt x="301" y="199"/>
                    </a:lnTo>
                    <a:lnTo>
                      <a:pt x="313" y="192"/>
                    </a:lnTo>
                    <a:lnTo>
                      <a:pt x="315" y="195"/>
                    </a:lnTo>
                    <a:lnTo>
                      <a:pt x="319" y="196"/>
                    </a:lnTo>
                    <a:lnTo>
                      <a:pt x="322" y="196"/>
                    </a:lnTo>
                    <a:lnTo>
                      <a:pt x="325" y="195"/>
                    </a:lnTo>
                    <a:lnTo>
                      <a:pt x="331" y="193"/>
                    </a:lnTo>
                    <a:lnTo>
                      <a:pt x="333" y="192"/>
                    </a:lnTo>
                    <a:lnTo>
                      <a:pt x="338" y="192"/>
                    </a:lnTo>
                    <a:lnTo>
                      <a:pt x="343" y="190"/>
                    </a:lnTo>
                    <a:lnTo>
                      <a:pt x="348" y="188"/>
                    </a:lnTo>
                    <a:lnTo>
                      <a:pt x="353" y="185"/>
                    </a:lnTo>
                    <a:lnTo>
                      <a:pt x="357" y="182"/>
                    </a:lnTo>
                    <a:lnTo>
                      <a:pt x="360" y="178"/>
                    </a:lnTo>
                    <a:lnTo>
                      <a:pt x="364" y="173"/>
                    </a:lnTo>
                    <a:lnTo>
                      <a:pt x="368" y="168"/>
                    </a:lnTo>
                    <a:lnTo>
                      <a:pt x="373" y="156"/>
                    </a:lnTo>
                    <a:lnTo>
                      <a:pt x="379" y="142"/>
                    </a:lnTo>
                    <a:lnTo>
                      <a:pt x="383" y="126"/>
                    </a:lnTo>
                    <a:lnTo>
                      <a:pt x="388" y="111"/>
                    </a:lnTo>
                    <a:lnTo>
                      <a:pt x="395" y="78"/>
                    </a:lnTo>
                    <a:lnTo>
                      <a:pt x="403" y="47"/>
                    </a:lnTo>
                    <a:lnTo>
                      <a:pt x="406" y="33"/>
                    </a:lnTo>
                    <a:lnTo>
                      <a:pt x="410" y="20"/>
                    </a:lnTo>
                    <a:lnTo>
                      <a:pt x="414" y="10"/>
                    </a:lnTo>
                    <a:lnTo>
                      <a:pt x="418" y="1"/>
                    </a:lnTo>
                    <a:lnTo>
                      <a:pt x="425" y="4"/>
                    </a:lnTo>
                    <a:lnTo>
                      <a:pt x="431" y="6"/>
                    </a:lnTo>
                    <a:lnTo>
                      <a:pt x="436" y="8"/>
                    </a:lnTo>
                    <a:lnTo>
                      <a:pt x="442" y="8"/>
                    </a:lnTo>
                    <a:lnTo>
                      <a:pt x="453" y="8"/>
                    </a:lnTo>
                    <a:lnTo>
                      <a:pt x="462" y="6"/>
                    </a:lnTo>
                    <a:lnTo>
                      <a:pt x="472" y="4"/>
                    </a:lnTo>
                    <a:lnTo>
                      <a:pt x="482" y="1"/>
                    </a:lnTo>
                    <a:lnTo>
                      <a:pt x="493" y="0"/>
                    </a:lnTo>
                    <a:lnTo>
                      <a:pt x="505" y="1"/>
                    </a:lnTo>
                  </a:path>
                </a:pathLst>
              </a:custGeom>
              <a:grpFill/>
              <a:ln w="9525" cmpd="sng">
                <a:solidFill>
                  <a:srgbClr val="FFFFFF"/>
                </a:solidFill>
                <a:prstDash val="solid"/>
                <a:round/>
                <a:headEnd/>
                <a:tailEnd/>
              </a:ln>
            </p:spPr>
            <p:txBody>
              <a:bodyPr/>
              <a:lstStyle/>
              <a:p>
                <a:endParaRPr lang="en-GB" sz="1637"/>
              </a:p>
            </p:txBody>
          </p:sp>
          <p:sp>
            <p:nvSpPr>
              <p:cNvPr id="157" name="Freeform 478"/>
              <p:cNvSpPr>
                <a:spLocks/>
              </p:cNvSpPr>
              <p:nvPr>
                <p:custDataLst>
                  <p:tags r:id="rId140"/>
                </p:custDataLst>
              </p:nvPr>
            </p:nvSpPr>
            <p:spPr bwMode="auto">
              <a:xfrm>
                <a:off x="4221067" y="4589063"/>
                <a:ext cx="382988" cy="429832"/>
              </a:xfrm>
              <a:custGeom>
                <a:avLst/>
                <a:gdLst>
                  <a:gd name="T0" fmla="*/ 345206 w 810"/>
                  <a:gd name="T1" fmla="*/ 22011 h 727"/>
                  <a:gd name="T2" fmla="*/ 331779 w 810"/>
                  <a:gd name="T3" fmla="*/ 13626 h 727"/>
                  <a:gd name="T4" fmla="*/ 310989 w 810"/>
                  <a:gd name="T5" fmla="*/ 17294 h 727"/>
                  <a:gd name="T6" fmla="*/ 274606 w 810"/>
                  <a:gd name="T7" fmla="*/ 23059 h 727"/>
                  <a:gd name="T8" fmla="*/ 261612 w 810"/>
                  <a:gd name="T9" fmla="*/ 28824 h 727"/>
                  <a:gd name="T10" fmla="*/ 121277 w 810"/>
                  <a:gd name="T11" fmla="*/ 20963 h 727"/>
                  <a:gd name="T12" fmla="*/ 100487 w 810"/>
                  <a:gd name="T13" fmla="*/ 19391 h 727"/>
                  <a:gd name="T14" fmla="*/ 74499 w 810"/>
                  <a:gd name="T15" fmla="*/ 8909 h 727"/>
                  <a:gd name="T16" fmla="*/ 50243 w 810"/>
                  <a:gd name="T17" fmla="*/ 0 h 727"/>
                  <a:gd name="T18" fmla="*/ 35950 w 810"/>
                  <a:gd name="T19" fmla="*/ 2620 h 727"/>
                  <a:gd name="T20" fmla="*/ 22956 w 810"/>
                  <a:gd name="T21" fmla="*/ 12578 h 727"/>
                  <a:gd name="T22" fmla="*/ 0 w 810"/>
                  <a:gd name="T23" fmla="*/ 28824 h 727"/>
                  <a:gd name="T24" fmla="*/ 3032 w 810"/>
                  <a:gd name="T25" fmla="*/ 35637 h 727"/>
                  <a:gd name="T26" fmla="*/ 11261 w 810"/>
                  <a:gd name="T27" fmla="*/ 38781 h 727"/>
                  <a:gd name="T28" fmla="*/ 15593 w 810"/>
                  <a:gd name="T29" fmla="*/ 67605 h 727"/>
                  <a:gd name="T30" fmla="*/ 25988 w 810"/>
                  <a:gd name="T31" fmla="*/ 100622 h 727"/>
                  <a:gd name="T32" fmla="*/ 47211 w 810"/>
                  <a:gd name="T33" fmla="*/ 144644 h 727"/>
                  <a:gd name="T34" fmla="*/ 57607 w 810"/>
                  <a:gd name="T35" fmla="*/ 157221 h 727"/>
                  <a:gd name="T36" fmla="*/ 68868 w 810"/>
                  <a:gd name="T37" fmla="*/ 158270 h 727"/>
                  <a:gd name="T38" fmla="*/ 68868 w 810"/>
                  <a:gd name="T39" fmla="*/ 173992 h 727"/>
                  <a:gd name="T40" fmla="*/ 65836 w 810"/>
                  <a:gd name="T41" fmla="*/ 188142 h 727"/>
                  <a:gd name="T42" fmla="*/ 63237 w 810"/>
                  <a:gd name="T43" fmla="*/ 206484 h 727"/>
                  <a:gd name="T44" fmla="*/ 64970 w 810"/>
                  <a:gd name="T45" fmla="*/ 222730 h 727"/>
                  <a:gd name="T46" fmla="*/ 74932 w 810"/>
                  <a:gd name="T47" fmla="*/ 253651 h 727"/>
                  <a:gd name="T48" fmla="*/ 77531 w 810"/>
                  <a:gd name="T49" fmla="*/ 271469 h 727"/>
                  <a:gd name="T50" fmla="*/ 80996 w 810"/>
                  <a:gd name="T51" fmla="*/ 317587 h 727"/>
                  <a:gd name="T52" fmla="*/ 88359 w 810"/>
                  <a:gd name="T53" fmla="*/ 339074 h 727"/>
                  <a:gd name="T54" fmla="*/ 100054 w 810"/>
                  <a:gd name="T55" fmla="*/ 361609 h 727"/>
                  <a:gd name="T56" fmla="*/ 106117 w 810"/>
                  <a:gd name="T57" fmla="*/ 366850 h 727"/>
                  <a:gd name="T58" fmla="*/ 112181 w 810"/>
                  <a:gd name="T59" fmla="*/ 374711 h 727"/>
                  <a:gd name="T60" fmla="*/ 114780 w 810"/>
                  <a:gd name="T61" fmla="*/ 355320 h 727"/>
                  <a:gd name="T62" fmla="*/ 133405 w 810"/>
                  <a:gd name="T63" fmla="*/ 364754 h 727"/>
                  <a:gd name="T64" fmla="*/ 142067 w 810"/>
                  <a:gd name="T65" fmla="*/ 373663 h 727"/>
                  <a:gd name="T66" fmla="*/ 161125 w 810"/>
                  <a:gd name="T67" fmla="*/ 380476 h 727"/>
                  <a:gd name="T68" fmla="*/ 176285 w 810"/>
                  <a:gd name="T69" fmla="*/ 378904 h 727"/>
                  <a:gd name="T70" fmla="*/ 185814 w 810"/>
                  <a:gd name="T71" fmla="*/ 372091 h 727"/>
                  <a:gd name="T72" fmla="*/ 195776 w 810"/>
                  <a:gd name="T73" fmla="*/ 353748 h 727"/>
                  <a:gd name="T74" fmla="*/ 200540 w 810"/>
                  <a:gd name="T75" fmla="*/ 277234 h 727"/>
                  <a:gd name="T76" fmla="*/ 201406 w 810"/>
                  <a:gd name="T77" fmla="*/ 251554 h 727"/>
                  <a:gd name="T78" fmla="*/ 204005 w 810"/>
                  <a:gd name="T79" fmla="*/ 245790 h 727"/>
                  <a:gd name="T80" fmla="*/ 200540 w 810"/>
                  <a:gd name="T81" fmla="*/ 223254 h 727"/>
                  <a:gd name="T82" fmla="*/ 203139 w 810"/>
                  <a:gd name="T83" fmla="*/ 192858 h 727"/>
                  <a:gd name="T84" fmla="*/ 216566 w 810"/>
                  <a:gd name="T85" fmla="*/ 172944 h 727"/>
                  <a:gd name="T86" fmla="*/ 227394 w 810"/>
                  <a:gd name="T87" fmla="*/ 167703 h 727"/>
                  <a:gd name="T88" fmla="*/ 233025 w 810"/>
                  <a:gd name="T89" fmla="*/ 121585 h 727"/>
                  <a:gd name="T90" fmla="*/ 238656 w 810"/>
                  <a:gd name="T91" fmla="*/ 77563 h 727"/>
                  <a:gd name="T92" fmla="*/ 234324 w 810"/>
                  <a:gd name="T93" fmla="*/ 64985 h 727"/>
                  <a:gd name="T94" fmla="*/ 229993 w 810"/>
                  <a:gd name="T95" fmla="*/ 51883 h 727"/>
                  <a:gd name="T96" fmla="*/ 233458 w 810"/>
                  <a:gd name="T97" fmla="*/ 45070 h 727"/>
                  <a:gd name="T98" fmla="*/ 267243 w 810"/>
                  <a:gd name="T99" fmla="*/ 41926 h 727"/>
                  <a:gd name="T100" fmla="*/ 306658 w 810"/>
                  <a:gd name="T101" fmla="*/ 33017 h 727"/>
                  <a:gd name="T102" fmla="*/ 347805 w 810"/>
                  <a:gd name="T103" fmla="*/ 31968 h 72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810" h="727">
                    <a:moveTo>
                      <a:pt x="810" y="61"/>
                    </a:moveTo>
                    <a:lnTo>
                      <a:pt x="807" y="54"/>
                    </a:lnTo>
                    <a:lnTo>
                      <a:pt x="802" y="48"/>
                    </a:lnTo>
                    <a:lnTo>
                      <a:pt x="797" y="42"/>
                    </a:lnTo>
                    <a:lnTo>
                      <a:pt x="790" y="36"/>
                    </a:lnTo>
                    <a:lnTo>
                      <a:pt x="784" y="32"/>
                    </a:lnTo>
                    <a:lnTo>
                      <a:pt x="775" y="28"/>
                    </a:lnTo>
                    <a:lnTo>
                      <a:pt x="766" y="26"/>
                    </a:lnTo>
                    <a:lnTo>
                      <a:pt x="756" y="25"/>
                    </a:lnTo>
                    <a:lnTo>
                      <a:pt x="743" y="26"/>
                    </a:lnTo>
                    <a:lnTo>
                      <a:pt x="730" y="29"/>
                    </a:lnTo>
                    <a:lnTo>
                      <a:pt x="718" y="33"/>
                    </a:lnTo>
                    <a:lnTo>
                      <a:pt x="703" y="37"/>
                    </a:lnTo>
                    <a:lnTo>
                      <a:pt x="671" y="37"/>
                    </a:lnTo>
                    <a:lnTo>
                      <a:pt x="651" y="41"/>
                    </a:lnTo>
                    <a:lnTo>
                      <a:pt x="634" y="44"/>
                    </a:lnTo>
                    <a:lnTo>
                      <a:pt x="627" y="46"/>
                    </a:lnTo>
                    <a:lnTo>
                      <a:pt x="619" y="48"/>
                    </a:lnTo>
                    <a:lnTo>
                      <a:pt x="611" y="51"/>
                    </a:lnTo>
                    <a:lnTo>
                      <a:pt x="604" y="55"/>
                    </a:lnTo>
                    <a:lnTo>
                      <a:pt x="411" y="55"/>
                    </a:lnTo>
                    <a:lnTo>
                      <a:pt x="411" y="37"/>
                    </a:lnTo>
                    <a:lnTo>
                      <a:pt x="292" y="37"/>
                    </a:lnTo>
                    <a:lnTo>
                      <a:pt x="280" y="40"/>
                    </a:lnTo>
                    <a:lnTo>
                      <a:pt x="269" y="41"/>
                    </a:lnTo>
                    <a:lnTo>
                      <a:pt x="257" y="40"/>
                    </a:lnTo>
                    <a:lnTo>
                      <a:pt x="245" y="39"/>
                    </a:lnTo>
                    <a:lnTo>
                      <a:pt x="232" y="37"/>
                    </a:lnTo>
                    <a:lnTo>
                      <a:pt x="220" y="34"/>
                    </a:lnTo>
                    <a:lnTo>
                      <a:pt x="208" y="30"/>
                    </a:lnTo>
                    <a:lnTo>
                      <a:pt x="196" y="26"/>
                    </a:lnTo>
                    <a:lnTo>
                      <a:pt x="172" y="17"/>
                    </a:lnTo>
                    <a:lnTo>
                      <a:pt x="149" y="8"/>
                    </a:lnTo>
                    <a:lnTo>
                      <a:pt x="137" y="5"/>
                    </a:lnTo>
                    <a:lnTo>
                      <a:pt x="126" y="2"/>
                    </a:lnTo>
                    <a:lnTo>
                      <a:pt x="116" y="0"/>
                    </a:lnTo>
                    <a:lnTo>
                      <a:pt x="105" y="0"/>
                    </a:lnTo>
                    <a:lnTo>
                      <a:pt x="97" y="0"/>
                    </a:lnTo>
                    <a:lnTo>
                      <a:pt x="91" y="2"/>
                    </a:lnTo>
                    <a:lnTo>
                      <a:pt x="83" y="5"/>
                    </a:lnTo>
                    <a:lnTo>
                      <a:pt x="75" y="8"/>
                    </a:lnTo>
                    <a:lnTo>
                      <a:pt x="68" y="13"/>
                    </a:lnTo>
                    <a:lnTo>
                      <a:pt x="60" y="19"/>
                    </a:lnTo>
                    <a:lnTo>
                      <a:pt x="53" y="24"/>
                    </a:lnTo>
                    <a:lnTo>
                      <a:pt x="46" y="31"/>
                    </a:lnTo>
                    <a:lnTo>
                      <a:pt x="6" y="31"/>
                    </a:lnTo>
                    <a:lnTo>
                      <a:pt x="3" y="45"/>
                    </a:lnTo>
                    <a:lnTo>
                      <a:pt x="0" y="55"/>
                    </a:lnTo>
                    <a:lnTo>
                      <a:pt x="0" y="58"/>
                    </a:lnTo>
                    <a:lnTo>
                      <a:pt x="2" y="61"/>
                    </a:lnTo>
                    <a:lnTo>
                      <a:pt x="4" y="64"/>
                    </a:lnTo>
                    <a:lnTo>
                      <a:pt x="7" y="68"/>
                    </a:lnTo>
                    <a:lnTo>
                      <a:pt x="12" y="70"/>
                    </a:lnTo>
                    <a:lnTo>
                      <a:pt x="16" y="72"/>
                    </a:lnTo>
                    <a:lnTo>
                      <a:pt x="21" y="74"/>
                    </a:lnTo>
                    <a:lnTo>
                      <a:pt x="26" y="74"/>
                    </a:lnTo>
                    <a:lnTo>
                      <a:pt x="26" y="86"/>
                    </a:lnTo>
                    <a:lnTo>
                      <a:pt x="28" y="99"/>
                    </a:lnTo>
                    <a:lnTo>
                      <a:pt x="32" y="113"/>
                    </a:lnTo>
                    <a:lnTo>
                      <a:pt x="36" y="129"/>
                    </a:lnTo>
                    <a:lnTo>
                      <a:pt x="40" y="144"/>
                    </a:lnTo>
                    <a:lnTo>
                      <a:pt x="47" y="160"/>
                    </a:lnTo>
                    <a:lnTo>
                      <a:pt x="53" y="175"/>
                    </a:lnTo>
                    <a:lnTo>
                      <a:pt x="60" y="192"/>
                    </a:lnTo>
                    <a:lnTo>
                      <a:pt x="77" y="223"/>
                    </a:lnTo>
                    <a:lnTo>
                      <a:pt x="93" y="252"/>
                    </a:lnTo>
                    <a:lnTo>
                      <a:pt x="102" y="265"/>
                    </a:lnTo>
                    <a:lnTo>
                      <a:pt x="109" y="276"/>
                    </a:lnTo>
                    <a:lnTo>
                      <a:pt x="117" y="286"/>
                    </a:lnTo>
                    <a:lnTo>
                      <a:pt x="125" y="296"/>
                    </a:lnTo>
                    <a:lnTo>
                      <a:pt x="128" y="298"/>
                    </a:lnTo>
                    <a:lnTo>
                      <a:pt x="133" y="300"/>
                    </a:lnTo>
                    <a:lnTo>
                      <a:pt x="137" y="301"/>
                    </a:lnTo>
                    <a:lnTo>
                      <a:pt x="142" y="301"/>
                    </a:lnTo>
                    <a:lnTo>
                      <a:pt x="151" y="302"/>
                    </a:lnTo>
                    <a:lnTo>
                      <a:pt x="159" y="302"/>
                    </a:lnTo>
                    <a:lnTo>
                      <a:pt x="159" y="309"/>
                    </a:lnTo>
                    <a:lnTo>
                      <a:pt x="159" y="317"/>
                    </a:lnTo>
                    <a:lnTo>
                      <a:pt x="159" y="326"/>
                    </a:lnTo>
                    <a:lnTo>
                      <a:pt x="159" y="332"/>
                    </a:lnTo>
                    <a:lnTo>
                      <a:pt x="158" y="339"/>
                    </a:lnTo>
                    <a:lnTo>
                      <a:pt x="157" y="346"/>
                    </a:lnTo>
                    <a:lnTo>
                      <a:pt x="154" y="353"/>
                    </a:lnTo>
                    <a:lnTo>
                      <a:pt x="152" y="359"/>
                    </a:lnTo>
                    <a:lnTo>
                      <a:pt x="149" y="366"/>
                    </a:lnTo>
                    <a:lnTo>
                      <a:pt x="147" y="374"/>
                    </a:lnTo>
                    <a:lnTo>
                      <a:pt x="146" y="383"/>
                    </a:lnTo>
                    <a:lnTo>
                      <a:pt x="146" y="394"/>
                    </a:lnTo>
                    <a:lnTo>
                      <a:pt x="146" y="403"/>
                    </a:lnTo>
                    <a:lnTo>
                      <a:pt x="147" y="410"/>
                    </a:lnTo>
                    <a:lnTo>
                      <a:pt x="148" y="418"/>
                    </a:lnTo>
                    <a:lnTo>
                      <a:pt x="150" y="425"/>
                    </a:lnTo>
                    <a:lnTo>
                      <a:pt x="156" y="439"/>
                    </a:lnTo>
                    <a:lnTo>
                      <a:pt x="162" y="453"/>
                    </a:lnTo>
                    <a:lnTo>
                      <a:pt x="168" y="469"/>
                    </a:lnTo>
                    <a:lnTo>
                      <a:pt x="173" y="484"/>
                    </a:lnTo>
                    <a:lnTo>
                      <a:pt x="175" y="491"/>
                    </a:lnTo>
                    <a:lnTo>
                      <a:pt x="178" y="500"/>
                    </a:lnTo>
                    <a:lnTo>
                      <a:pt x="179" y="508"/>
                    </a:lnTo>
                    <a:lnTo>
                      <a:pt x="179" y="518"/>
                    </a:lnTo>
                    <a:lnTo>
                      <a:pt x="179" y="542"/>
                    </a:lnTo>
                    <a:lnTo>
                      <a:pt x="180" y="564"/>
                    </a:lnTo>
                    <a:lnTo>
                      <a:pt x="183" y="586"/>
                    </a:lnTo>
                    <a:lnTo>
                      <a:pt x="187" y="606"/>
                    </a:lnTo>
                    <a:lnTo>
                      <a:pt x="191" y="616"/>
                    </a:lnTo>
                    <a:lnTo>
                      <a:pt x="194" y="627"/>
                    </a:lnTo>
                    <a:lnTo>
                      <a:pt x="198" y="637"/>
                    </a:lnTo>
                    <a:lnTo>
                      <a:pt x="204" y="647"/>
                    </a:lnTo>
                    <a:lnTo>
                      <a:pt x="209" y="657"/>
                    </a:lnTo>
                    <a:lnTo>
                      <a:pt x="216" y="667"/>
                    </a:lnTo>
                    <a:lnTo>
                      <a:pt x="224" y="679"/>
                    </a:lnTo>
                    <a:lnTo>
                      <a:pt x="231" y="690"/>
                    </a:lnTo>
                    <a:lnTo>
                      <a:pt x="235" y="696"/>
                    </a:lnTo>
                    <a:lnTo>
                      <a:pt x="238" y="698"/>
                    </a:lnTo>
                    <a:lnTo>
                      <a:pt x="241" y="700"/>
                    </a:lnTo>
                    <a:lnTo>
                      <a:pt x="245" y="700"/>
                    </a:lnTo>
                    <a:lnTo>
                      <a:pt x="249" y="701"/>
                    </a:lnTo>
                    <a:lnTo>
                      <a:pt x="252" y="703"/>
                    </a:lnTo>
                    <a:lnTo>
                      <a:pt x="256" y="707"/>
                    </a:lnTo>
                    <a:lnTo>
                      <a:pt x="259" y="715"/>
                    </a:lnTo>
                    <a:lnTo>
                      <a:pt x="259" y="708"/>
                    </a:lnTo>
                    <a:lnTo>
                      <a:pt x="262" y="699"/>
                    </a:lnTo>
                    <a:lnTo>
                      <a:pt x="264" y="688"/>
                    </a:lnTo>
                    <a:lnTo>
                      <a:pt x="265" y="678"/>
                    </a:lnTo>
                    <a:lnTo>
                      <a:pt x="298" y="678"/>
                    </a:lnTo>
                    <a:lnTo>
                      <a:pt x="301" y="685"/>
                    </a:lnTo>
                    <a:lnTo>
                      <a:pt x="304" y="691"/>
                    </a:lnTo>
                    <a:lnTo>
                      <a:pt x="308" y="696"/>
                    </a:lnTo>
                    <a:lnTo>
                      <a:pt x="313" y="701"/>
                    </a:lnTo>
                    <a:lnTo>
                      <a:pt x="317" y="706"/>
                    </a:lnTo>
                    <a:lnTo>
                      <a:pt x="322" y="710"/>
                    </a:lnTo>
                    <a:lnTo>
                      <a:pt x="328" y="713"/>
                    </a:lnTo>
                    <a:lnTo>
                      <a:pt x="333" y="716"/>
                    </a:lnTo>
                    <a:lnTo>
                      <a:pt x="346" y="721"/>
                    </a:lnTo>
                    <a:lnTo>
                      <a:pt x="359" y="724"/>
                    </a:lnTo>
                    <a:lnTo>
                      <a:pt x="372" y="726"/>
                    </a:lnTo>
                    <a:lnTo>
                      <a:pt x="384" y="727"/>
                    </a:lnTo>
                    <a:lnTo>
                      <a:pt x="393" y="726"/>
                    </a:lnTo>
                    <a:lnTo>
                      <a:pt x="400" y="725"/>
                    </a:lnTo>
                    <a:lnTo>
                      <a:pt x="407" y="723"/>
                    </a:lnTo>
                    <a:lnTo>
                      <a:pt x="414" y="721"/>
                    </a:lnTo>
                    <a:lnTo>
                      <a:pt x="419" y="718"/>
                    </a:lnTo>
                    <a:lnTo>
                      <a:pt x="425" y="714"/>
                    </a:lnTo>
                    <a:lnTo>
                      <a:pt x="429" y="710"/>
                    </a:lnTo>
                    <a:lnTo>
                      <a:pt x="433" y="706"/>
                    </a:lnTo>
                    <a:lnTo>
                      <a:pt x="441" y="696"/>
                    </a:lnTo>
                    <a:lnTo>
                      <a:pt x="447" y="686"/>
                    </a:lnTo>
                    <a:lnTo>
                      <a:pt x="452" y="675"/>
                    </a:lnTo>
                    <a:lnTo>
                      <a:pt x="458" y="665"/>
                    </a:lnTo>
                    <a:lnTo>
                      <a:pt x="458" y="554"/>
                    </a:lnTo>
                    <a:lnTo>
                      <a:pt x="462" y="542"/>
                    </a:lnTo>
                    <a:lnTo>
                      <a:pt x="463" y="529"/>
                    </a:lnTo>
                    <a:lnTo>
                      <a:pt x="464" y="516"/>
                    </a:lnTo>
                    <a:lnTo>
                      <a:pt x="464" y="502"/>
                    </a:lnTo>
                    <a:lnTo>
                      <a:pt x="464" y="490"/>
                    </a:lnTo>
                    <a:lnTo>
                      <a:pt x="465" y="480"/>
                    </a:lnTo>
                    <a:lnTo>
                      <a:pt x="466" y="476"/>
                    </a:lnTo>
                    <a:lnTo>
                      <a:pt x="467" y="473"/>
                    </a:lnTo>
                    <a:lnTo>
                      <a:pt x="469" y="470"/>
                    </a:lnTo>
                    <a:lnTo>
                      <a:pt x="471" y="469"/>
                    </a:lnTo>
                    <a:lnTo>
                      <a:pt x="466" y="456"/>
                    </a:lnTo>
                    <a:lnTo>
                      <a:pt x="464" y="444"/>
                    </a:lnTo>
                    <a:lnTo>
                      <a:pt x="463" y="435"/>
                    </a:lnTo>
                    <a:lnTo>
                      <a:pt x="463" y="426"/>
                    </a:lnTo>
                    <a:lnTo>
                      <a:pt x="463" y="409"/>
                    </a:lnTo>
                    <a:lnTo>
                      <a:pt x="464" y="388"/>
                    </a:lnTo>
                    <a:lnTo>
                      <a:pt x="465" y="378"/>
                    </a:lnTo>
                    <a:lnTo>
                      <a:pt x="469" y="368"/>
                    </a:lnTo>
                    <a:lnTo>
                      <a:pt x="474" y="358"/>
                    </a:lnTo>
                    <a:lnTo>
                      <a:pt x="482" y="348"/>
                    </a:lnTo>
                    <a:lnTo>
                      <a:pt x="490" y="338"/>
                    </a:lnTo>
                    <a:lnTo>
                      <a:pt x="500" y="330"/>
                    </a:lnTo>
                    <a:lnTo>
                      <a:pt x="506" y="327"/>
                    </a:lnTo>
                    <a:lnTo>
                      <a:pt x="511" y="324"/>
                    </a:lnTo>
                    <a:lnTo>
                      <a:pt x="518" y="322"/>
                    </a:lnTo>
                    <a:lnTo>
                      <a:pt x="525" y="320"/>
                    </a:lnTo>
                    <a:lnTo>
                      <a:pt x="526" y="298"/>
                    </a:lnTo>
                    <a:lnTo>
                      <a:pt x="528" y="275"/>
                    </a:lnTo>
                    <a:lnTo>
                      <a:pt x="532" y="254"/>
                    </a:lnTo>
                    <a:lnTo>
                      <a:pt x="538" y="232"/>
                    </a:lnTo>
                    <a:lnTo>
                      <a:pt x="542" y="211"/>
                    </a:lnTo>
                    <a:lnTo>
                      <a:pt x="546" y="190"/>
                    </a:lnTo>
                    <a:lnTo>
                      <a:pt x="550" y="168"/>
                    </a:lnTo>
                    <a:lnTo>
                      <a:pt x="551" y="148"/>
                    </a:lnTo>
                    <a:lnTo>
                      <a:pt x="550" y="141"/>
                    </a:lnTo>
                    <a:lnTo>
                      <a:pt x="548" y="135"/>
                    </a:lnTo>
                    <a:lnTo>
                      <a:pt x="544" y="129"/>
                    </a:lnTo>
                    <a:lnTo>
                      <a:pt x="541" y="124"/>
                    </a:lnTo>
                    <a:lnTo>
                      <a:pt x="537" y="117"/>
                    </a:lnTo>
                    <a:lnTo>
                      <a:pt x="533" y="111"/>
                    </a:lnTo>
                    <a:lnTo>
                      <a:pt x="531" y="105"/>
                    </a:lnTo>
                    <a:lnTo>
                      <a:pt x="531" y="99"/>
                    </a:lnTo>
                    <a:lnTo>
                      <a:pt x="531" y="94"/>
                    </a:lnTo>
                    <a:lnTo>
                      <a:pt x="532" y="91"/>
                    </a:lnTo>
                    <a:lnTo>
                      <a:pt x="535" y="88"/>
                    </a:lnTo>
                    <a:lnTo>
                      <a:pt x="539" y="86"/>
                    </a:lnTo>
                    <a:lnTo>
                      <a:pt x="548" y="84"/>
                    </a:lnTo>
                    <a:lnTo>
                      <a:pt x="559" y="83"/>
                    </a:lnTo>
                    <a:lnTo>
                      <a:pt x="587" y="82"/>
                    </a:lnTo>
                    <a:lnTo>
                      <a:pt x="617" y="80"/>
                    </a:lnTo>
                    <a:lnTo>
                      <a:pt x="640" y="74"/>
                    </a:lnTo>
                    <a:lnTo>
                      <a:pt x="662" y="70"/>
                    </a:lnTo>
                    <a:lnTo>
                      <a:pt x="685" y="67"/>
                    </a:lnTo>
                    <a:lnTo>
                      <a:pt x="708" y="63"/>
                    </a:lnTo>
                    <a:lnTo>
                      <a:pt x="731" y="62"/>
                    </a:lnTo>
                    <a:lnTo>
                      <a:pt x="754" y="61"/>
                    </a:lnTo>
                    <a:lnTo>
                      <a:pt x="778" y="61"/>
                    </a:lnTo>
                    <a:lnTo>
                      <a:pt x="803" y="61"/>
                    </a:lnTo>
                    <a:lnTo>
                      <a:pt x="810" y="61"/>
                    </a:lnTo>
                  </a:path>
                </a:pathLst>
              </a:custGeom>
              <a:grpFill/>
              <a:ln w="9525" cmpd="sng">
                <a:solidFill>
                  <a:srgbClr val="FFFFFF"/>
                </a:solidFill>
                <a:prstDash val="solid"/>
                <a:round/>
                <a:headEnd/>
                <a:tailEnd/>
              </a:ln>
            </p:spPr>
            <p:txBody>
              <a:bodyPr/>
              <a:lstStyle/>
              <a:p>
                <a:endParaRPr lang="en-GB" sz="1637"/>
              </a:p>
            </p:txBody>
          </p:sp>
          <p:sp>
            <p:nvSpPr>
              <p:cNvPr id="158" name="Freeform 479"/>
              <p:cNvSpPr>
                <a:spLocks/>
              </p:cNvSpPr>
              <p:nvPr>
                <p:custDataLst>
                  <p:tags r:id="rId141"/>
                </p:custDataLst>
              </p:nvPr>
            </p:nvSpPr>
            <p:spPr bwMode="auto">
              <a:xfrm>
                <a:off x="3434295" y="3381952"/>
                <a:ext cx="176764" cy="159396"/>
              </a:xfrm>
              <a:custGeom>
                <a:avLst/>
                <a:gdLst>
                  <a:gd name="T0" fmla="*/ 90057 w 365"/>
                  <a:gd name="T1" fmla="*/ 130339 h 271"/>
                  <a:gd name="T2" fmla="*/ 72312 w 365"/>
                  <a:gd name="T3" fmla="*/ 128254 h 271"/>
                  <a:gd name="T4" fmla="*/ 53679 w 365"/>
                  <a:gd name="T5" fmla="*/ 128775 h 271"/>
                  <a:gd name="T6" fmla="*/ 40814 w 365"/>
                  <a:gd name="T7" fmla="*/ 130339 h 271"/>
                  <a:gd name="T8" fmla="*/ 32829 w 365"/>
                  <a:gd name="T9" fmla="*/ 132946 h 271"/>
                  <a:gd name="T10" fmla="*/ 11534 w 365"/>
                  <a:gd name="T11" fmla="*/ 141288 h 271"/>
                  <a:gd name="T12" fmla="*/ 8873 w 365"/>
                  <a:gd name="T13" fmla="*/ 140767 h 271"/>
                  <a:gd name="T14" fmla="*/ 7542 w 365"/>
                  <a:gd name="T15" fmla="*/ 138681 h 271"/>
                  <a:gd name="T16" fmla="*/ 7985 w 365"/>
                  <a:gd name="T17" fmla="*/ 132425 h 271"/>
                  <a:gd name="T18" fmla="*/ 11534 w 365"/>
                  <a:gd name="T19" fmla="*/ 118870 h 271"/>
                  <a:gd name="T20" fmla="*/ 27061 w 365"/>
                  <a:gd name="T21" fmla="*/ 117827 h 271"/>
                  <a:gd name="T22" fmla="*/ 39483 w 365"/>
                  <a:gd name="T23" fmla="*/ 115741 h 271"/>
                  <a:gd name="T24" fmla="*/ 51017 w 365"/>
                  <a:gd name="T25" fmla="*/ 113656 h 271"/>
                  <a:gd name="T26" fmla="*/ 64770 w 365"/>
                  <a:gd name="T27" fmla="*/ 112613 h 271"/>
                  <a:gd name="T28" fmla="*/ 80741 w 365"/>
                  <a:gd name="T29" fmla="*/ 113656 h 271"/>
                  <a:gd name="T30" fmla="*/ 88282 w 365"/>
                  <a:gd name="T31" fmla="*/ 113656 h 271"/>
                  <a:gd name="T32" fmla="*/ 97155 w 365"/>
                  <a:gd name="T33" fmla="*/ 112613 h 271"/>
                  <a:gd name="T34" fmla="*/ 95380 w 365"/>
                  <a:gd name="T35" fmla="*/ 108442 h 271"/>
                  <a:gd name="T36" fmla="*/ 93162 w 365"/>
                  <a:gd name="T37" fmla="*/ 104793 h 271"/>
                  <a:gd name="T38" fmla="*/ 86508 w 365"/>
                  <a:gd name="T39" fmla="*/ 101143 h 271"/>
                  <a:gd name="T40" fmla="*/ 77635 w 365"/>
                  <a:gd name="T41" fmla="*/ 99579 h 271"/>
                  <a:gd name="T42" fmla="*/ 67432 w 365"/>
                  <a:gd name="T43" fmla="*/ 99058 h 271"/>
                  <a:gd name="T44" fmla="*/ 41258 w 365"/>
                  <a:gd name="T45" fmla="*/ 100101 h 271"/>
                  <a:gd name="T46" fmla="*/ 28392 w 365"/>
                  <a:gd name="T47" fmla="*/ 102186 h 271"/>
                  <a:gd name="T48" fmla="*/ 14640 w 365"/>
                  <a:gd name="T49" fmla="*/ 105836 h 271"/>
                  <a:gd name="T50" fmla="*/ 16858 w 365"/>
                  <a:gd name="T51" fmla="*/ 95409 h 271"/>
                  <a:gd name="T52" fmla="*/ 17302 w 365"/>
                  <a:gd name="T53" fmla="*/ 89674 h 271"/>
                  <a:gd name="T54" fmla="*/ 11534 w 365"/>
                  <a:gd name="T55" fmla="*/ 85503 h 271"/>
                  <a:gd name="T56" fmla="*/ 5767 w 365"/>
                  <a:gd name="T57" fmla="*/ 83417 h 271"/>
                  <a:gd name="T58" fmla="*/ 4880 w 365"/>
                  <a:gd name="T59" fmla="*/ 76640 h 271"/>
                  <a:gd name="T60" fmla="*/ 2662 w 365"/>
                  <a:gd name="T61" fmla="*/ 74554 h 271"/>
                  <a:gd name="T62" fmla="*/ 887 w 365"/>
                  <a:gd name="T63" fmla="*/ 73511 h 271"/>
                  <a:gd name="T64" fmla="*/ 0 w 365"/>
                  <a:gd name="T65" fmla="*/ 70383 h 271"/>
                  <a:gd name="T66" fmla="*/ 2218 w 365"/>
                  <a:gd name="T67" fmla="*/ 59956 h 271"/>
                  <a:gd name="T68" fmla="*/ 7542 w 365"/>
                  <a:gd name="T69" fmla="*/ 47965 h 271"/>
                  <a:gd name="T70" fmla="*/ 13309 w 365"/>
                  <a:gd name="T71" fmla="*/ 35974 h 271"/>
                  <a:gd name="T72" fmla="*/ 17302 w 365"/>
                  <a:gd name="T73" fmla="*/ 25547 h 271"/>
                  <a:gd name="T74" fmla="*/ 21294 w 365"/>
                  <a:gd name="T75" fmla="*/ 21897 h 271"/>
                  <a:gd name="T76" fmla="*/ 21738 w 365"/>
                  <a:gd name="T77" fmla="*/ 25025 h 271"/>
                  <a:gd name="T78" fmla="*/ 23069 w 365"/>
                  <a:gd name="T79" fmla="*/ 18769 h 271"/>
                  <a:gd name="T80" fmla="*/ 33272 w 365"/>
                  <a:gd name="T81" fmla="*/ 16162 h 271"/>
                  <a:gd name="T82" fmla="*/ 50574 w 365"/>
                  <a:gd name="T83" fmla="*/ 9384 h 271"/>
                  <a:gd name="T84" fmla="*/ 73199 w 365"/>
                  <a:gd name="T85" fmla="*/ 0 h 271"/>
                  <a:gd name="T86" fmla="*/ 81628 w 365"/>
                  <a:gd name="T87" fmla="*/ 7820 h 271"/>
                  <a:gd name="T88" fmla="*/ 89613 w 365"/>
                  <a:gd name="T89" fmla="*/ 12513 h 271"/>
                  <a:gd name="T90" fmla="*/ 97599 w 365"/>
                  <a:gd name="T91" fmla="*/ 15119 h 271"/>
                  <a:gd name="T92" fmla="*/ 106028 w 365"/>
                  <a:gd name="T93" fmla="*/ 15641 h 271"/>
                  <a:gd name="T94" fmla="*/ 106915 w 365"/>
                  <a:gd name="T95" fmla="*/ 27111 h 271"/>
                  <a:gd name="T96" fmla="*/ 109577 w 365"/>
                  <a:gd name="T97" fmla="*/ 35974 h 271"/>
                  <a:gd name="T98" fmla="*/ 112682 w 365"/>
                  <a:gd name="T99" fmla="*/ 43794 h 271"/>
                  <a:gd name="T100" fmla="*/ 117118 w 365"/>
                  <a:gd name="T101" fmla="*/ 49529 h 271"/>
                  <a:gd name="T102" fmla="*/ 135307 w 365"/>
                  <a:gd name="T103" fmla="*/ 67255 h 271"/>
                  <a:gd name="T104" fmla="*/ 156158 w 365"/>
                  <a:gd name="T105" fmla="*/ 121998 h 271"/>
                  <a:gd name="T106" fmla="*/ 159263 w 365"/>
                  <a:gd name="T107" fmla="*/ 133989 h 271"/>
                  <a:gd name="T108" fmla="*/ 161925 w 365"/>
                  <a:gd name="T109" fmla="*/ 141288 h 271"/>
                  <a:gd name="T110" fmla="*/ 142405 w 365"/>
                  <a:gd name="T111" fmla="*/ 135032 h 271"/>
                  <a:gd name="T112" fmla="*/ 121998 w 365"/>
                  <a:gd name="T113" fmla="*/ 131382 h 271"/>
                  <a:gd name="T114" fmla="*/ 110020 w 365"/>
                  <a:gd name="T115" fmla="*/ 130861 h 271"/>
                  <a:gd name="T116" fmla="*/ 97155 w 365"/>
                  <a:gd name="T117" fmla="*/ 131382 h 27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65" h="271">
                    <a:moveTo>
                      <a:pt x="219" y="252"/>
                    </a:moveTo>
                    <a:lnTo>
                      <a:pt x="203" y="250"/>
                    </a:lnTo>
                    <a:lnTo>
                      <a:pt x="184" y="248"/>
                    </a:lnTo>
                    <a:lnTo>
                      <a:pt x="163" y="246"/>
                    </a:lnTo>
                    <a:lnTo>
                      <a:pt x="142" y="246"/>
                    </a:lnTo>
                    <a:lnTo>
                      <a:pt x="121" y="247"/>
                    </a:lnTo>
                    <a:lnTo>
                      <a:pt x="101" y="249"/>
                    </a:lnTo>
                    <a:lnTo>
                      <a:pt x="92" y="250"/>
                    </a:lnTo>
                    <a:lnTo>
                      <a:pt x="82" y="252"/>
                    </a:lnTo>
                    <a:lnTo>
                      <a:pt x="74" y="255"/>
                    </a:lnTo>
                    <a:lnTo>
                      <a:pt x="65" y="258"/>
                    </a:lnTo>
                    <a:lnTo>
                      <a:pt x="26" y="271"/>
                    </a:lnTo>
                    <a:lnTo>
                      <a:pt x="23" y="271"/>
                    </a:lnTo>
                    <a:lnTo>
                      <a:pt x="20" y="270"/>
                    </a:lnTo>
                    <a:lnTo>
                      <a:pt x="18" y="268"/>
                    </a:lnTo>
                    <a:lnTo>
                      <a:pt x="17" y="266"/>
                    </a:lnTo>
                    <a:lnTo>
                      <a:pt x="17" y="260"/>
                    </a:lnTo>
                    <a:lnTo>
                      <a:pt x="18" y="254"/>
                    </a:lnTo>
                    <a:lnTo>
                      <a:pt x="24" y="240"/>
                    </a:lnTo>
                    <a:lnTo>
                      <a:pt x="26" y="228"/>
                    </a:lnTo>
                    <a:lnTo>
                      <a:pt x="45" y="227"/>
                    </a:lnTo>
                    <a:lnTo>
                      <a:pt x="61" y="226"/>
                    </a:lnTo>
                    <a:lnTo>
                      <a:pt x="75" y="224"/>
                    </a:lnTo>
                    <a:lnTo>
                      <a:pt x="89" y="222"/>
                    </a:lnTo>
                    <a:lnTo>
                      <a:pt x="102" y="220"/>
                    </a:lnTo>
                    <a:lnTo>
                      <a:pt x="115" y="218"/>
                    </a:lnTo>
                    <a:lnTo>
                      <a:pt x="129" y="216"/>
                    </a:lnTo>
                    <a:lnTo>
                      <a:pt x="146" y="216"/>
                    </a:lnTo>
                    <a:lnTo>
                      <a:pt x="164" y="217"/>
                    </a:lnTo>
                    <a:lnTo>
                      <a:pt x="182" y="218"/>
                    </a:lnTo>
                    <a:lnTo>
                      <a:pt x="191" y="218"/>
                    </a:lnTo>
                    <a:lnTo>
                      <a:pt x="199" y="218"/>
                    </a:lnTo>
                    <a:lnTo>
                      <a:pt x="209" y="217"/>
                    </a:lnTo>
                    <a:lnTo>
                      <a:pt x="219" y="216"/>
                    </a:lnTo>
                    <a:lnTo>
                      <a:pt x="217" y="211"/>
                    </a:lnTo>
                    <a:lnTo>
                      <a:pt x="215" y="208"/>
                    </a:lnTo>
                    <a:lnTo>
                      <a:pt x="213" y="203"/>
                    </a:lnTo>
                    <a:lnTo>
                      <a:pt x="210" y="201"/>
                    </a:lnTo>
                    <a:lnTo>
                      <a:pt x="204" y="196"/>
                    </a:lnTo>
                    <a:lnTo>
                      <a:pt x="195" y="194"/>
                    </a:lnTo>
                    <a:lnTo>
                      <a:pt x="186" y="192"/>
                    </a:lnTo>
                    <a:lnTo>
                      <a:pt x="175" y="191"/>
                    </a:lnTo>
                    <a:lnTo>
                      <a:pt x="164" y="191"/>
                    </a:lnTo>
                    <a:lnTo>
                      <a:pt x="152" y="190"/>
                    </a:lnTo>
                    <a:lnTo>
                      <a:pt x="120" y="191"/>
                    </a:lnTo>
                    <a:lnTo>
                      <a:pt x="93" y="192"/>
                    </a:lnTo>
                    <a:lnTo>
                      <a:pt x="79" y="193"/>
                    </a:lnTo>
                    <a:lnTo>
                      <a:pt x="64" y="196"/>
                    </a:lnTo>
                    <a:lnTo>
                      <a:pt x="49" y="199"/>
                    </a:lnTo>
                    <a:lnTo>
                      <a:pt x="33" y="203"/>
                    </a:lnTo>
                    <a:lnTo>
                      <a:pt x="37" y="191"/>
                    </a:lnTo>
                    <a:lnTo>
                      <a:pt x="38" y="183"/>
                    </a:lnTo>
                    <a:lnTo>
                      <a:pt x="39" y="177"/>
                    </a:lnTo>
                    <a:lnTo>
                      <a:pt x="39" y="172"/>
                    </a:lnTo>
                    <a:lnTo>
                      <a:pt x="34" y="168"/>
                    </a:lnTo>
                    <a:lnTo>
                      <a:pt x="26" y="164"/>
                    </a:lnTo>
                    <a:lnTo>
                      <a:pt x="18" y="161"/>
                    </a:lnTo>
                    <a:lnTo>
                      <a:pt x="13" y="160"/>
                    </a:lnTo>
                    <a:lnTo>
                      <a:pt x="13" y="153"/>
                    </a:lnTo>
                    <a:lnTo>
                      <a:pt x="11" y="147"/>
                    </a:lnTo>
                    <a:lnTo>
                      <a:pt x="8" y="144"/>
                    </a:lnTo>
                    <a:lnTo>
                      <a:pt x="6" y="143"/>
                    </a:lnTo>
                    <a:lnTo>
                      <a:pt x="4" y="142"/>
                    </a:lnTo>
                    <a:lnTo>
                      <a:pt x="2" y="141"/>
                    </a:lnTo>
                    <a:lnTo>
                      <a:pt x="0" y="139"/>
                    </a:lnTo>
                    <a:lnTo>
                      <a:pt x="0" y="135"/>
                    </a:lnTo>
                    <a:lnTo>
                      <a:pt x="1" y="125"/>
                    </a:lnTo>
                    <a:lnTo>
                      <a:pt x="5" y="115"/>
                    </a:lnTo>
                    <a:lnTo>
                      <a:pt x="11" y="104"/>
                    </a:lnTo>
                    <a:lnTo>
                      <a:pt x="17" y="92"/>
                    </a:lnTo>
                    <a:lnTo>
                      <a:pt x="24" y="80"/>
                    </a:lnTo>
                    <a:lnTo>
                      <a:pt x="30" y="69"/>
                    </a:lnTo>
                    <a:lnTo>
                      <a:pt x="36" y="59"/>
                    </a:lnTo>
                    <a:lnTo>
                      <a:pt x="39" y="49"/>
                    </a:lnTo>
                    <a:lnTo>
                      <a:pt x="45" y="43"/>
                    </a:lnTo>
                    <a:lnTo>
                      <a:pt x="48" y="42"/>
                    </a:lnTo>
                    <a:lnTo>
                      <a:pt x="49" y="44"/>
                    </a:lnTo>
                    <a:lnTo>
                      <a:pt x="49" y="48"/>
                    </a:lnTo>
                    <a:lnTo>
                      <a:pt x="48" y="51"/>
                    </a:lnTo>
                    <a:lnTo>
                      <a:pt x="52" y="36"/>
                    </a:lnTo>
                    <a:lnTo>
                      <a:pt x="61" y="35"/>
                    </a:lnTo>
                    <a:lnTo>
                      <a:pt x="75" y="31"/>
                    </a:lnTo>
                    <a:lnTo>
                      <a:pt x="94" y="25"/>
                    </a:lnTo>
                    <a:lnTo>
                      <a:pt x="114" y="18"/>
                    </a:lnTo>
                    <a:lnTo>
                      <a:pt x="150" y="6"/>
                    </a:lnTo>
                    <a:lnTo>
                      <a:pt x="165" y="0"/>
                    </a:lnTo>
                    <a:lnTo>
                      <a:pt x="175" y="8"/>
                    </a:lnTo>
                    <a:lnTo>
                      <a:pt x="184" y="15"/>
                    </a:lnTo>
                    <a:lnTo>
                      <a:pt x="194" y="20"/>
                    </a:lnTo>
                    <a:lnTo>
                      <a:pt x="202" y="24"/>
                    </a:lnTo>
                    <a:lnTo>
                      <a:pt x="210" y="27"/>
                    </a:lnTo>
                    <a:lnTo>
                      <a:pt x="220" y="29"/>
                    </a:lnTo>
                    <a:lnTo>
                      <a:pt x="229" y="30"/>
                    </a:lnTo>
                    <a:lnTo>
                      <a:pt x="239" y="30"/>
                    </a:lnTo>
                    <a:lnTo>
                      <a:pt x="239" y="42"/>
                    </a:lnTo>
                    <a:lnTo>
                      <a:pt x="241" y="52"/>
                    </a:lnTo>
                    <a:lnTo>
                      <a:pt x="243" y="61"/>
                    </a:lnTo>
                    <a:lnTo>
                      <a:pt x="247" y="69"/>
                    </a:lnTo>
                    <a:lnTo>
                      <a:pt x="250" y="77"/>
                    </a:lnTo>
                    <a:lnTo>
                      <a:pt x="254" y="84"/>
                    </a:lnTo>
                    <a:lnTo>
                      <a:pt x="259" y="90"/>
                    </a:lnTo>
                    <a:lnTo>
                      <a:pt x="264" y="95"/>
                    </a:lnTo>
                    <a:lnTo>
                      <a:pt x="286" y="115"/>
                    </a:lnTo>
                    <a:lnTo>
                      <a:pt x="305" y="129"/>
                    </a:lnTo>
                    <a:lnTo>
                      <a:pt x="305" y="210"/>
                    </a:lnTo>
                    <a:lnTo>
                      <a:pt x="352" y="234"/>
                    </a:lnTo>
                    <a:lnTo>
                      <a:pt x="353" y="245"/>
                    </a:lnTo>
                    <a:lnTo>
                      <a:pt x="359" y="257"/>
                    </a:lnTo>
                    <a:lnTo>
                      <a:pt x="363" y="267"/>
                    </a:lnTo>
                    <a:lnTo>
                      <a:pt x="365" y="271"/>
                    </a:lnTo>
                    <a:lnTo>
                      <a:pt x="353" y="267"/>
                    </a:lnTo>
                    <a:lnTo>
                      <a:pt x="321" y="259"/>
                    </a:lnTo>
                    <a:lnTo>
                      <a:pt x="300" y="255"/>
                    </a:lnTo>
                    <a:lnTo>
                      <a:pt x="275" y="252"/>
                    </a:lnTo>
                    <a:lnTo>
                      <a:pt x="262" y="251"/>
                    </a:lnTo>
                    <a:lnTo>
                      <a:pt x="248" y="251"/>
                    </a:lnTo>
                    <a:lnTo>
                      <a:pt x="233" y="251"/>
                    </a:lnTo>
                    <a:lnTo>
                      <a:pt x="219" y="252"/>
                    </a:lnTo>
                  </a:path>
                </a:pathLst>
              </a:custGeom>
              <a:grpFill/>
              <a:ln w="9525" cmpd="sng">
                <a:solidFill>
                  <a:srgbClr val="FFFFFF"/>
                </a:solidFill>
                <a:prstDash val="solid"/>
                <a:round/>
                <a:headEnd/>
                <a:tailEnd/>
              </a:ln>
            </p:spPr>
            <p:txBody>
              <a:bodyPr/>
              <a:lstStyle/>
              <a:p>
                <a:endParaRPr lang="en-GB" sz="1637"/>
              </a:p>
            </p:txBody>
          </p:sp>
          <p:sp>
            <p:nvSpPr>
              <p:cNvPr id="159" name="Freeform 480"/>
              <p:cNvSpPr>
                <a:spLocks/>
              </p:cNvSpPr>
              <p:nvPr>
                <p:custDataLst>
                  <p:tags r:id="rId142"/>
                </p:custDataLst>
              </p:nvPr>
            </p:nvSpPr>
            <p:spPr bwMode="auto">
              <a:xfrm>
                <a:off x="4714965" y="4015954"/>
                <a:ext cx="294606" cy="377894"/>
              </a:xfrm>
              <a:custGeom>
                <a:avLst/>
                <a:gdLst>
                  <a:gd name="T0" fmla="*/ 63144 w 624"/>
                  <a:gd name="T1" fmla="*/ 6281 h 640"/>
                  <a:gd name="T2" fmla="*/ 103366 w 624"/>
                  <a:gd name="T3" fmla="*/ 6281 h 640"/>
                  <a:gd name="T4" fmla="*/ 124125 w 624"/>
                  <a:gd name="T5" fmla="*/ 2617 h 640"/>
                  <a:gd name="T6" fmla="*/ 140992 w 624"/>
                  <a:gd name="T7" fmla="*/ 11514 h 640"/>
                  <a:gd name="T8" fmla="*/ 171267 w 624"/>
                  <a:gd name="T9" fmla="*/ 34543 h 640"/>
                  <a:gd name="T10" fmla="*/ 201109 w 624"/>
                  <a:gd name="T11" fmla="*/ 58095 h 640"/>
                  <a:gd name="T12" fmla="*/ 202839 w 624"/>
                  <a:gd name="T13" fmla="*/ 68563 h 640"/>
                  <a:gd name="T14" fmla="*/ 207596 w 624"/>
                  <a:gd name="T15" fmla="*/ 80077 h 640"/>
                  <a:gd name="T16" fmla="*/ 214949 w 624"/>
                  <a:gd name="T17" fmla="*/ 88975 h 640"/>
                  <a:gd name="T18" fmla="*/ 224463 w 624"/>
                  <a:gd name="T19" fmla="*/ 95778 h 640"/>
                  <a:gd name="T20" fmla="*/ 234843 w 624"/>
                  <a:gd name="T21" fmla="*/ 99442 h 640"/>
                  <a:gd name="T22" fmla="*/ 239601 w 624"/>
                  <a:gd name="T23" fmla="*/ 102059 h 640"/>
                  <a:gd name="T24" fmla="*/ 244358 w 624"/>
                  <a:gd name="T25" fmla="*/ 107293 h 640"/>
                  <a:gd name="T26" fmla="*/ 242628 w 624"/>
                  <a:gd name="T27" fmla="*/ 118807 h 640"/>
                  <a:gd name="T28" fmla="*/ 232248 w 624"/>
                  <a:gd name="T29" fmla="*/ 131892 h 640"/>
                  <a:gd name="T30" fmla="*/ 227058 w 624"/>
                  <a:gd name="T31" fmla="*/ 141836 h 640"/>
                  <a:gd name="T32" fmla="*/ 230518 w 624"/>
                  <a:gd name="T33" fmla="*/ 150210 h 640"/>
                  <a:gd name="T34" fmla="*/ 236573 w 624"/>
                  <a:gd name="T35" fmla="*/ 156491 h 640"/>
                  <a:gd name="T36" fmla="*/ 238736 w 624"/>
                  <a:gd name="T37" fmla="*/ 222436 h 640"/>
                  <a:gd name="T38" fmla="*/ 237871 w 624"/>
                  <a:gd name="T39" fmla="*/ 229764 h 640"/>
                  <a:gd name="T40" fmla="*/ 241331 w 624"/>
                  <a:gd name="T41" fmla="*/ 241801 h 640"/>
                  <a:gd name="T42" fmla="*/ 241331 w 624"/>
                  <a:gd name="T43" fmla="*/ 255933 h 640"/>
                  <a:gd name="T44" fmla="*/ 242628 w 624"/>
                  <a:gd name="T45" fmla="*/ 269541 h 640"/>
                  <a:gd name="T46" fmla="*/ 256900 w 624"/>
                  <a:gd name="T47" fmla="*/ 287335 h 640"/>
                  <a:gd name="T48" fmla="*/ 266415 w 624"/>
                  <a:gd name="T49" fmla="*/ 303037 h 640"/>
                  <a:gd name="T50" fmla="*/ 248683 w 624"/>
                  <a:gd name="T51" fmla="*/ 314028 h 640"/>
                  <a:gd name="T52" fmla="*/ 212354 w 624"/>
                  <a:gd name="T53" fmla="*/ 330253 h 640"/>
                  <a:gd name="T54" fmla="*/ 191594 w 624"/>
                  <a:gd name="T55" fmla="*/ 333916 h 640"/>
                  <a:gd name="T56" fmla="*/ 169537 w 624"/>
                  <a:gd name="T57" fmla="*/ 328682 h 640"/>
                  <a:gd name="T58" fmla="*/ 146615 w 624"/>
                  <a:gd name="T59" fmla="*/ 331299 h 640"/>
                  <a:gd name="T60" fmla="*/ 132343 w 624"/>
                  <a:gd name="T61" fmla="*/ 328682 h 640"/>
                  <a:gd name="T62" fmla="*/ 129315 w 624"/>
                  <a:gd name="T63" fmla="*/ 321355 h 640"/>
                  <a:gd name="T64" fmla="*/ 127153 w 624"/>
                  <a:gd name="T65" fmla="*/ 299897 h 640"/>
                  <a:gd name="T66" fmla="*/ 124558 w 624"/>
                  <a:gd name="T67" fmla="*/ 276868 h 640"/>
                  <a:gd name="T68" fmla="*/ 109420 w 624"/>
                  <a:gd name="T69" fmla="*/ 270587 h 640"/>
                  <a:gd name="T70" fmla="*/ 80011 w 624"/>
                  <a:gd name="T71" fmla="*/ 262737 h 640"/>
                  <a:gd name="T72" fmla="*/ 38924 w 624"/>
                  <a:gd name="T73" fmla="*/ 240231 h 640"/>
                  <a:gd name="T74" fmla="*/ 29409 w 624"/>
                  <a:gd name="T75" fmla="*/ 233427 h 640"/>
                  <a:gd name="T76" fmla="*/ 28544 w 624"/>
                  <a:gd name="T77" fmla="*/ 224007 h 640"/>
                  <a:gd name="T78" fmla="*/ 28112 w 624"/>
                  <a:gd name="T79" fmla="*/ 210399 h 640"/>
                  <a:gd name="T80" fmla="*/ 22922 w 624"/>
                  <a:gd name="T81" fmla="*/ 197314 h 640"/>
                  <a:gd name="T82" fmla="*/ 17732 w 624"/>
                  <a:gd name="T83" fmla="*/ 186847 h 640"/>
                  <a:gd name="T84" fmla="*/ 11677 w 624"/>
                  <a:gd name="T85" fmla="*/ 181613 h 640"/>
                  <a:gd name="T86" fmla="*/ 5190 w 624"/>
                  <a:gd name="T87" fmla="*/ 173762 h 640"/>
                  <a:gd name="T88" fmla="*/ 2162 w 624"/>
                  <a:gd name="T89" fmla="*/ 161201 h 640"/>
                  <a:gd name="T90" fmla="*/ 0 w 624"/>
                  <a:gd name="T91" fmla="*/ 137125 h 640"/>
                  <a:gd name="T92" fmla="*/ 0 w 624"/>
                  <a:gd name="T93" fmla="*/ 122471 h 640"/>
                  <a:gd name="T94" fmla="*/ 4325 w 624"/>
                  <a:gd name="T95" fmla="*/ 110956 h 640"/>
                  <a:gd name="T96" fmla="*/ 16435 w 624"/>
                  <a:gd name="T97" fmla="*/ 102059 h 640"/>
                  <a:gd name="T98" fmla="*/ 26382 w 624"/>
                  <a:gd name="T99" fmla="*/ 90545 h 640"/>
                  <a:gd name="T100" fmla="*/ 33302 w 624"/>
                  <a:gd name="T101" fmla="*/ 40300 h 640"/>
                  <a:gd name="T102" fmla="*/ 36329 w 624"/>
                  <a:gd name="T103" fmla="*/ 22505 h 640"/>
                  <a:gd name="T104" fmla="*/ 35464 w 624"/>
                  <a:gd name="T105" fmla="*/ 4187 h 6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624" h="640">
                    <a:moveTo>
                      <a:pt x="79" y="0"/>
                    </a:moveTo>
                    <a:lnTo>
                      <a:pt x="146" y="0"/>
                    </a:lnTo>
                    <a:lnTo>
                      <a:pt x="146" y="12"/>
                    </a:lnTo>
                    <a:lnTo>
                      <a:pt x="173" y="43"/>
                    </a:lnTo>
                    <a:lnTo>
                      <a:pt x="232" y="43"/>
                    </a:lnTo>
                    <a:lnTo>
                      <a:pt x="239" y="12"/>
                    </a:lnTo>
                    <a:lnTo>
                      <a:pt x="259" y="0"/>
                    </a:lnTo>
                    <a:lnTo>
                      <a:pt x="273" y="0"/>
                    </a:lnTo>
                    <a:lnTo>
                      <a:pt x="287" y="5"/>
                    </a:lnTo>
                    <a:lnTo>
                      <a:pt x="301" y="10"/>
                    </a:lnTo>
                    <a:lnTo>
                      <a:pt x="314" y="16"/>
                    </a:lnTo>
                    <a:lnTo>
                      <a:pt x="326" y="22"/>
                    </a:lnTo>
                    <a:lnTo>
                      <a:pt x="351" y="36"/>
                    </a:lnTo>
                    <a:lnTo>
                      <a:pt x="374" y="51"/>
                    </a:lnTo>
                    <a:lnTo>
                      <a:pt x="396" y="66"/>
                    </a:lnTo>
                    <a:lnTo>
                      <a:pt x="418" y="81"/>
                    </a:lnTo>
                    <a:lnTo>
                      <a:pt x="441" y="97"/>
                    </a:lnTo>
                    <a:lnTo>
                      <a:pt x="465" y="111"/>
                    </a:lnTo>
                    <a:lnTo>
                      <a:pt x="465" y="118"/>
                    </a:lnTo>
                    <a:lnTo>
                      <a:pt x="467" y="124"/>
                    </a:lnTo>
                    <a:lnTo>
                      <a:pt x="469" y="131"/>
                    </a:lnTo>
                    <a:lnTo>
                      <a:pt x="471" y="138"/>
                    </a:lnTo>
                    <a:lnTo>
                      <a:pt x="476" y="146"/>
                    </a:lnTo>
                    <a:lnTo>
                      <a:pt x="480" y="153"/>
                    </a:lnTo>
                    <a:lnTo>
                      <a:pt x="485" y="159"/>
                    </a:lnTo>
                    <a:lnTo>
                      <a:pt x="491" y="165"/>
                    </a:lnTo>
                    <a:lnTo>
                      <a:pt x="497" y="170"/>
                    </a:lnTo>
                    <a:lnTo>
                      <a:pt x="503" y="175"/>
                    </a:lnTo>
                    <a:lnTo>
                      <a:pt x="511" y="179"/>
                    </a:lnTo>
                    <a:lnTo>
                      <a:pt x="519" y="183"/>
                    </a:lnTo>
                    <a:lnTo>
                      <a:pt x="526" y="186"/>
                    </a:lnTo>
                    <a:lnTo>
                      <a:pt x="534" y="188"/>
                    </a:lnTo>
                    <a:lnTo>
                      <a:pt x="543" y="190"/>
                    </a:lnTo>
                    <a:lnTo>
                      <a:pt x="552" y="190"/>
                    </a:lnTo>
                    <a:lnTo>
                      <a:pt x="552" y="193"/>
                    </a:lnTo>
                    <a:lnTo>
                      <a:pt x="554" y="195"/>
                    </a:lnTo>
                    <a:lnTo>
                      <a:pt x="556" y="198"/>
                    </a:lnTo>
                    <a:lnTo>
                      <a:pt x="559" y="200"/>
                    </a:lnTo>
                    <a:lnTo>
                      <a:pt x="565" y="205"/>
                    </a:lnTo>
                    <a:lnTo>
                      <a:pt x="571" y="209"/>
                    </a:lnTo>
                    <a:lnTo>
                      <a:pt x="567" y="219"/>
                    </a:lnTo>
                    <a:lnTo>
                      <a:pt x="561" y="227"/>
                    </a:lnTo>
                    <a:lnTo>
                      <a:pt x="554" y="236"/>
                    </a:lnTo>
                    <a:lnTo>
                      <a:pt x="545" y="244"/>
                    </a:lnTo>
                    <a:lnTo>
                      <a:pt x="537" y="252"/>
                    </a:lnTo>
                    <a:lnTo>
                      <a:pt x="531" y="260"/>
                    </a:lnTo>
                    <a:lnTo>
                      <a:pt x="526" y="266"/>
                    </a:lnTo>
                    <a:lnTo>
                      <a:pt x="525" y="271"/>
                    </a:lnTo>
                    <a:lnTo>
                      <a:pt x="526" y="277"/>
                    </a:lnTo>
                    <a:lnTo>
                      <a:pt x="528" y="283"/>
                    </a:lnTo>
                    <a:lnTo>
                      <a:pt x="533" y="287"/>
                    </a:lnTo>
                    <a:lnTo>
                      <a:pt x="538" y="291"/>
                    </a:lnTo>
                    <a:lnTo>
                      <a:pt x="543" y="295"/>
                    </a:lnTo>
                    <a:lnTo>
                      <a:pt x="547" y="299"/>
                    </a:lnTo>
                    <a:lnTo>
                      <a:pt x="550" y="303"/>
                    </a:lnTo>
                    <a:lnTo>
                      <a:pt x="552" y="307"/>
                    </a:lnTo>
                    <a:lnTo>
                      <a:pt x="552" y="425"/>
                    </a:lnTo>
                    <a:lnTo>
                      <a:pt x="549" y="430"/>
                    </a:lnTo>
                    <a:lnTo>
                      <a:pt x="549" y="434"/>
                    </a:lnTo>
                    <a:lnTo>
                      <a:pt x="550" y="439"/>
                    </a:lnTo>
                    <a:lnTo>
                      <a:pt x="552" y="443"/>
                    </a:lnTo>
                    <a:lnTo>
                      <a:pt x="556" y="452"/>
                    </a:lnTo>
                    <a:lnTo>
                      <a:pt x="558" y="462"/>
                    </a:lnTo>
                    <a:lnTo>
                      <a:pt x="558" y="475"/>
                    </a:lnTo>
                    <a:lnTo>
                      <a:pt x="558" y="483"/>
                    </a:lnTo>
                    <a:lnTo>
                      <a:pt x="558" y="489"/>
                    </a:lnTo>
                    <a:lnTo>
                      <a:pt x="558" y="499"/>
                    </a:lnTo>
                    <a:lnTo>
                      <a:pt x="559" y="507"/>
                    </a:lnTo>
                    <a:lnTo>
                      <a:pt x="561" y="515"/>
                    </a:lnTo>
                    <a:lnTo>
                      <a:pt x="567" y="523"/>
                    </a:lnTo>
                    <a:lnTo>
                      <a:pt x="574" y="532"/>
                    </a:lnTo>
                    <a:lnTo>
                      <a:pt x="594" y="549"/>
                    </a:lnTo>
                    <a:lnTo>
                      <a:pt x="624" y="572"/>
                    </a:lnTo>
                    <a:lnTo>
                      <a:pt x="622" y="575"/>
                    </a:lnTo>
                    <a:lnTo>
                      <a:pt x="616" y="579"/>
                    </a:lnTo>
                    <a:lnTo>
                      <a:pt x="609" y="583"/>
                    </a:lnTo>
                    <a:lnTo>
                      <a:pt x="599" y="589"/>
                    </a:lnTo>
                    <a:lnTo>
                      <a:pt x="575" y="600"/>
                    </a:lnTo>
                    <a:lnTo>
                      <a:pt x="546" y="611"/>
                    </a:lnTo>
                    <a:lnTo>
                      <a:pt x="518" y="622"/>
                    </a:lnTo>
                    <a:lnTo>
                      <a:pt x="491" y="631"/>
                    </a:lnTo>
                    <a:lnTo>
                      <a:pt x="470" y="638"/>
                    </a:lnTo>
                    <a:lnTo>
                      <a:pt x="458" y="640"/>
                    </a:lnTo>
                    <a:lnTo>
                      <a:pt x="443" y="638"/>
                    </a:lnTo>
                    <a:lnTo>
                      <a:pt x="423" y="634"/>
                    </a:lnTo>
                    <a:lnTo>
                      <a:pt x="403" y="630"/>
                    </a:lnTo>
                    <a:lnTo>
                      <a:pt x="392" y="628"/>
                    </a:lnTo>
                    <a:lnTo>
                      <a:pt x="369" y="630"/>
                    </a:lnTo>
                    <a:lnTo>
                      <a:pt x="348" y="632"/>
                    </a:lnTo>
                    <a:lnTo>
                      <a:pt x="339" y="633"/>
                    </a:lnTo>
                    <a:lnTo>
                      <a:pt x="329" y="633"/>
                    </a:lnTo>
                    <a:lnTo>
                      <a:pt x="318" y="631"/>
                    </a:lnTo>
                    <a:lnTo>
                      <a:pt x="306" y="628"/>
                    </a:lnTo>
                    <a:lnTo>
                      <a:pt x="303" y="625"/>
                    </a:lnTo>
                    <a:lnTo>
                      <a:pt x="301" y="620"/>
                    </a:lnTo>
                    <a:lnTo>
                      <a:pt x="299" y="614"/>
                    </a:lnTo>
                    <a:lnTo>
                      <a:pt x="298" y="608"/>
                    </a:lnTo>
                    <a:lnTo>
                      <a:pt x="295" y="592"/>
                    </a:lnTo>
                    <a:lnTo>
                      <a:pt x="294" y="573"/>
                    </a:lnTo>
                    <a:lnTo>
                      <a:pt x="291" y="556"/>
                    </a:lnTo>
                    <a:lnTo>
                      <a:pt x="289" y="541"/>
                    </a:lnTo>
                    <a:lnTo>
                      <a:pt x="288" y="529"/>
                    </a:lnTo>
                    <a:lnTo>
                      <a:pt x="286" y="523"/>
                    </a:lnTo>
                    <a:lnTo>
                      <a:pt x="270" y="519"/>
                    </a:lnTo>
                    <a:lnTo>
                      <a:pt x="253" y="517"/>
                    </a:lnTo>
                    <a:lnTo>
                      <a:pt x="232" y="515"/>
                    </a:lnTo>
                    <a:lnTo>
                      <a:pt x="206" y="511"/>
                    </a:lnTo>
                    <a:lnTo>
                      <a:pt x="185" y="502"/>
                    </a:lnTo>
                    <a:lnTo>
                      <a:pt x="139" y="482"/>
                    </a:lnTo>
                    <a:lnTo>
                      <a:pt x="113" y="470"/>
                    </a:lnTo>
                    <a:lnTo>
                      <a:pt x="90" y="459"/>
                    </a:lnTo>
                    <a:lnTo>
                      <a:pt x="82" y="454"/>
                    </a:lnTo>
                    <a:lnTo>
                      <a:pt x="74" y="450"/>
                    </a:lnTo>
                    <a:lnTo>
                      <a:pt x="68" y="446"/>
                    </a:lnTo>
                    <a:lnTo>
                      <a:pt x="66" y="443"/>
                    </a:lnTo>
                    <a:lnTo>
                      <a:pt x="66" y="437"/>
                    </a:lnTo>
                    <a:lnTo>
                      <a:pt x="66" y="428"/>
                    </a:lnTo>
                    <a:lnTo>
                      <a:pt x="66" y="419"/>
                    </a:lnTo>
                    <a:lnTo>
                      <a:pt x="66" y="412"/>
                    </a:lnTo>
                    <a:lnTo>
                      <a:pt x="65" y="402"/>
                    </a:lnTo>
                    <a:lnTo>
                      <a:pt x="62" y="392"/>
                    </a:lnTo>
                    <a:lnTo>
                      <a:pt x="57" y="384"/>
                    </a:lnTo>
                    <a:lnTo>
                      <a:pt x="53" y="377"/>
                    </a:lnTo>
                    <a:lnTo>
                      <a:pt x="48" y="371"/>
                    </a:lnTo>
                    <a:lnTo>
                      <a:pt x="44" y="363"/>
                    </a:lnTo>
                    <a:lnTo>
                      <a:pt x="41" y="357"/>
                    </a:lnTo>
                    <a:lnTo>
                      <a:pt x="40" y="351"/>
                    </a:lnTo>
                    <a:lnTo>
                      <a:pt x="32" y="350"/>
                    </a:lnTo>
                    <a:lnTo>
                      <a:pt x="27" y="347"/>
                    </a:lnTo>
                    <a:lnTo>
                      <a:pt x="21" y="343"/>
                    </a:lnTo>
                    <a:lnTo>
                      <a:pt x="17" y="338"/>
                    </a:lnTo>
                    <a:lnTo>
                      <a:pt x="12" y="332"/>
                    </a:lnTo>
                    <a:lnTo>
                      <a:pt x="9" y="325"/>
                    </a:lnTo>
                    <a:lnTo>
                      <a:pt x="7" y="317"/>
                    </a:lnTo>
                    <a:lnTo>
                      <a:pt x="5" y="308"/>
                    </a:lnTo>
                    <a:lnTo>
                      <a:pt x="1" y="291"/>
                    </a:lnTo>
                    <a:lnTo>
                      <a:pt x="0" y="276"/>
                    </a:lnTo>
                    <a:lnTo>
                      <a:pt x="0" y="262"/>
                    </a:lnTo>
                    <a:lnTo>
                      <a:pt x="0" y="252"/>
                    </a:lnTo>
                    <a:lnTo>
                      <a:pt x="0" y="243"/>
                    </a:lnTo>
                    <a:lnTo>
                      <a:pt x="0" y="234"/>
                    </a:lnTo>
                    <a:lnTo>
                      <a:pt x="0" y="225"/>
                    </a:lnTo>
                    <a:lnTo>
                      <a:pt x="0" y="215"/>
                    </a:lnTo>
                    <a:lnTo>
                      <a:pt x="10" y="212"/>
                    </a:lnTo>
                    <a:lnTo>
                      <a:pt x="20" y="208"/>
                    </a:lnTo>
                    <a:lnTo>
                      <a:pt x="29" y="202"/>
                    </a:lnTo>
                    <a:lnTo>
                      <a:pt x="38" y="195"/>
                    </a:lnTo>
                    <a:lnTo>
                      <a:pt x="46" y="188"/>
                    </a:lnTo>
                    <a:lnTo>
                      <a:pt x="54" y="180"/>
                    </a:lnTo>
                    <a:lnTo>
                      <a:pt x="61" y="173"/>
                    </a:lnTo>
                    <a:lnTo>
                      <a:pt x="66" y="166"/>
                    </a:lnTo>
                    <a:lnTo>
                      <a:pt x="73" y="85"/>
                    </a:lnTo>
                    <a:lnTo>
                      <a:pt x="77" y="77"/>
                    </a:lnTo>
                    <a:lnTo>
                      <a:pt x="81" y="67"/>
                    </a:lnTo>
                    <a:lnTo>
                      <a:pt x="83" y="55"/>
                    </a:lnTo>
                    <a:lnTo>
                      <a:pt x="84" y="43"/>
                    </a:lnTo>
                    <a:lnTo>
                      <a:pt x="84" y="30"/>
                    </a:lnTo>
                    <a:lnTo>
                      <a:pt x="83" y="18"/>
                    </a:lnTo>
                    <a:lnTo>
                      <a:pt x="82" y="8"/>
                    </a:lnTo>
                    <a:lnTo>
                      <a:pt x="79" y="0"/>
                    </a:lnTo>
                  </a:path>
                </a:pathLst>
              </a:custGeom>
              <a:grpFill/>
              <a:ln w="9525" cmpd="sng">
                <a:solidFill>
                  <a:srgbClr val="FFFFFF"/>
                </a:solidFill>
                <a:prstDash val="solid"/>
                <a:round/>
                <a:headEnd/>
                <a:tailEnd/>
              </a:ln>
            </p:spPr>
            <p:txBody>
              <a:bodyPr/>
              <a:lstStyle/>
              <a:p>
                <a:endParaRPr lang="en-GB" sz="1637"/>
              </a:p>
            </p:txBody>
          </p:sp>
          <p:sp>
            <p:nvSpPr>
              <p:cNvPr id="160" name="Freeform 486"/>
              <p:cNvSpPr>
                <a:spLocks/>
              </p:cNvSpPr>
              <p:nvPr>
                <p:custDataLst>
                  <p:tags r:id="rId143"/>
                </p:custDataLst>
              </p:nvPr>
            </p:nvSpPr>
            <p:spPr bwMode="auto">
              <a:xfrm>
                <a:off x="4647380" y="1236376"/>
                <a:ext cx="117843" cy="68057"/>
              </a:xfrm>
              <a:custGeom>
                <a:avLst/>
                <a:gdLst>
                  <a:gd name="T0" fmla="*/ 11848 w 246"/>
                  <a:gd name="T1" fmla="*/ 51707 h 42"/>
                  <a:gd name="T2" fmla="*/ 15798 w 246"/>
                  <a:gd name="T3" fmla="*/ 51707 h 42"/>
                  <a:gd name="T4" fmla="*/ 19747 w 246"/>
                  <a:gd name="T5" fmla="*/ 50271 h 42"/>
                  <a:gd name="T6" fmla="*/ 23258 w 246"/>
                  <a:gd name="T7" fmla="*/ 47398 h 42"/>
                  <a:gd name="T8" fmla="*/ 25890 w 246"/>
                  <a:gd name="T9" fmla="*/ 44526 h 42"/>
                  <a:gd name="T10" fmla="*/ 28962 w 246"/>
                  <a:gd name="T11" fmla="*/ 43089 h 42"/>
                  <a:gd name="T12" fmla="*/ 31595 w 246"/>
                  <a:gd name="T13" fmla="*/ 41653 h 42"/>
                  <a:gd name="T14" fmla="*/ 35106 w 246"/>
                  <a:gd name="T15" fmla="*/ 41653 h 42"/>
                  <a:gd name="T16" fmla="*/ 38177 w 246"/>
                  <a:gd name="T17" fmla="*/ 43089 h 42"/>
                  <a:gd name="T18" fmla="*/ 38177 w 246"/>
                  <a:gd name="T19" fmla="*/ 60325 h 42"/>
                  <a:gd name="T20" fmla="*/ 67578 w 246"/>
                  <a:gd name="T21" fmla="*/ 60325 h 42"/>
                  <a:gd name="T22" fmla="*/ 67578 w 246"/>
                  <a:gd name="T23" fmla="*/ 56016 h 42"/>
                  <a:gd name="T24" fmla="*/ 68456 w 246"/>
                  <a:gd name="T25" fmla="*/ 51707 h 42"/>
                  <a:gd name="T26" fmla="*/ 69773 w 246"/>
                  <a:gd name="T27" fmla="*/ 47398 h 42"/>
                  <a:gd name="T28" fmla="*/ 71528 w 246"/>
                  <a:gd name="T29" fmla="*/ 44526 h 42"/>
                  <a:gd name="T30" fmla="*/ 76794 w 246"/>
                  <a:gd name="T31" fmla="*/ 37344 h 42"/>
                  <a:gd name="T32" fmla="*/ 83376 w 246"/>
                  <a:gd name="T33" fmla="*/ 33035 h 42"/>
                  <a:gd name="T34" fmla="*/ 96979 w 246"/>
                  <a:gd name="T35" fmla="*/ 24417 h 42"/>
                  <a:gd name="T36" fmla="*/ 107950 w 246"/>
                  <a:gd name="T37" fmla="*/ 17236 h 42"/>
                  <a:gd name="T38" fmla="*/ 93030 w 246"/>
                  <a:gd name="T39" fmla="*/ 18672 h 42"/>
                  <a:gd name="T40" fmla="*/ 81621 w 246"/>
                  <a:gd name="T41" fmla="*/ 20108 h 42"/>
                  <a:gd name="T42" fmla="*/ 78110 w 246"/>
                  <a:gd name="T43" fmla="*/ 21545 h 42"/>
                  <a:gd name="T44" fmla="*/ 75038 w 246"/>
                  <a:gd name="T45" fmla="*/ 21545 h 42"/>
                  <a:gd name="T46" fmla="*/ 73722 w 246"/>
                  <a:gd name="T47" fmla="*/ 20108 h 42"/>
                  <a:gd name="T48" fmla="*/ 73283 w 246"/>
                  <a:gd name="T49" fmla="*/ 17236 h 42"/>
                  <a:gd name="T50" fmla="*/ 69773 w 246"/>
                  <a:gd name="T51" fmla="*/ 22981 h 42"/>
                  <a:gd name="T52" fmla="*/ 66701 w 246"/>
                  <a:gd name="T53" fmla="*/ 24417 h 42"/>
                  <a:gd name="T54" fmla="*/ 64507 w 246"/>
                  <a:gd name="T55" fmla="*/ 24417 h 42"/>
                  <a:gd name="T56" fmla="*/ 61874 w 246"/>
                  <a:gd name="T57" fmla="*/ 21545 h 42"/>
                  <a:gd name="T58" fmla="*/ 60118 w 246"/>
                  <a:gd name="T59" fmla="*/ 17236 h 42"/>
                  <a:gd name="T60" fmla="*/ 58363 w 246"/>
                  <a:gd name="T61" fmla="*/ 12927 h 42"/>
                  <a:gd name="T62" fmla="*/ 56608 w 246"/>
                  <a:gd name="T63" fmla="*/ 7182 h 42"/>
                  <a:gd name="T64" fmla="*/ 55291 w 246"/>
                  <a:gd name="T65" fmla="*/ 0 h 42"/>
                  <a:gd name="T66" fmla="*/ 53097 w 246"/>
                  <a:gd name="T67" fmla="*/ 2873 h 42"/>
                  <a:gd name="T68" fmla="*/ 49587 w 246"/>
                  <a:gd name="T69" fmla="*/ 5745 h 42"/>
                  <a:gd name="T70" fmla="*/ 45199 w 246"/>
                  <a:gd name="T71" fmla="*/ 7182 h 42"/>
                  <a:gd name="T72" fmla="*/ 40810 w 246"/>
                  <a:gd name="T73" fmla="*/ 7182 h 42"/>
                  <a:gd name="T74" fmla="*/ 32473 w 246"/>
                  <a:gd name="T75" fmla="*/ 8618 h 42"/>
                  <a:gd name="T76" fmla="*/ 26329 w 246"/>
                  <a:gd name="T77" fmla="*/ 8618 h 42"/>
                  <a:gd name="T78" fmla="*/ 25452 w 246"/>
                  <a:gd name="T79" fmla="*/ 12927 h 42"/>
                  <a:gd name="T80" fmla="*/ 24574 w 246"/>
                  <a:gd name="T81" fmla="*/ 17236 h 42"/>
                  <a:gd name="T82" fmla="*/ 23696 w 246"/>
                  <a:gd name="T83" fmla="*/ 21545 h 42"/>
                  <a:gd name="T84" fmla="*/ 21941 w 246"/>
                  <a:gd name="T85" fmla="*/ 24417 h 42"/>
                  <a:gd name="T86" fmla="*/ 18430 w 246"/>
                  <a:gd name="T87" fmla="*/ 28726 h 42"/>
                  <a:gd name="T88" fmla="*/ 14481 w 246"/>
                  <a:gd name="T89" fmla="*/ 31599 h 42"/>
                  <a:gd name="T90" fmla="*/ 6143 w 246"/>
                  <a:gd name="T91" fmla="*/ 34471 h 42"/>
                  <a:gd name="T92" fmla="*/ 0 w 246"/>
                  <a:gd name="T93" fmla="*/ 34471 h 42"/>
                  <a:gd name="T94" fmla="*/ 439 w 246"/>
                  <a:gd name="T95" fmla="*/ 38780 h 42"/>
                  <a:gd name="T96" fmla="*/ 1316 w 246"/>
                  <a:gd name="T97" fmla="*/ 41653 h 42"/>
                  <a:gd name="T98" fmla="*/ 2194 w 246"/>
                  <a:gd name="T99" fmla="*/ 44526 h 42"/>
                  <a:gd name="T100" fmla="*/ 3949 w 246"/>
                  <a:gd name="T101" fmla="*/ 47398 h 42"/>
                  <a:gd name="T102" fmla="*/ 7460 w 246"/>
                  <a:gd name="T103" fmla="*/ 50271 h 42"/>
                  <a:gd name="T104" fmla="*/ 11848 w 246"/>
                  <a:gd name="T105" fmla="*/ 51707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grpFill/>
              <a:ln w="9525" cap="flat" cmpd="sng">
                <a:solidFill>
                  <a:srgbClr val="FFFFFF"/>
                </a:solidFill>
                <a:prstDash val="solid"/>
                <a:round/>
                <a:headEnd type="none" w="med" len="med"/>
                <a:tailEnd type="none" w="med" len="med"/>
              </a:ln>
              <a:effectLst/>
            </p:spPr>
            <p:txBody>
              <a:bodyPr/>
              <a:lstStyle/>
              <a:p>
                <a:endParaRPr lang="en-GB" sz="1637"/>
              </a:p>
            </p:txBody>
          </p:sp>
          <p:sp>
            <p:nvSpPr>
              <p:cNvPr id="161" name="Freeform 487"/>
              <p:cNvSpPr>
                <a:spLocks/>
              </p:cNvSpPr>
              <p:nvPr>
                <p:custDataLst>
                  <p:tags r:id="rId144"/>
                </p:custDataLst>
              </p:nvPr>
            </p:nvSpPr>
            <p:spPr bwMode="auto">
              <a:xfrm>
                <a:off x="4803348" y="1216676"/>
                <a:ext cx="69319" cy="64475"/>
              </a:xfrm>
              <a:custGeom>
                <a:avLst/>
                <a:gdLst>
                  <a:gd name="T0" fmla="*/ 43896 w 149"/>
                  <a:gd name="T1" fmla="*/ 0 h 61"/>
                  <a:gd name="T2" fmla="*/ 50289 w 149"/>
                  <a:gd name="T3" fmla="*/ 937 h 61"/>
                  <a:gd name="T4" fmla="*/ 57107 w 149"/>
                  <a:gd name="T5" fmla="*/ 2811 h 61"/>
                  <a:gd name="T6" fmla="*/ 61795 w 149"/>
                  <a:gd name="T7" fmla="*/ 4684 h 61"/>
                  <a:gd name="T8" fmla="*/ 63500 w 149"/>
                  <a:gd name="T9" fmla="*/ 5621 h 61"/>
                  <a:gd name="T10" fmla="*/ 63500 w 149"/>
                  <a:gd name="T11" fmla="*/ 7495 h 61"/>
                  <a:gd name="T12" fmla="*/ 62648 w 149"/>
                  <a:gd name="T13" fmla="*/ 9369 h 61"/>
                  <a:gd name="T14" fmla="*/ 61795 w 149"/>
                  <a:gd name="T15" fmla="*/ 11243 h 61"/>
                  <a:gd name="T16" fmla="*/ 60091 w 149"/>
                  <a:gd name="T17" fmla="*/ 12180 h 61"/>
                  <a:gd name="T18" fmla="*/ 58386 w 149"/>
                  <a:gd name="T19" fmla="*/ 13116 h 61"/>
                  <a:gd name="T20" fmla="*/ 56255 w 149"/>
                  <a:gd name="T21" fmla="*/ 13116 h 61"/>
                  <a:gd name="T22" fmla="*/ 54124 w 149"/>
                  <a:gd name="T23" fmla="*/ 13116 h 61"/>
                  <a:gd name="T24" fmla="*/ 52419 w 149"/>
                  <a:gd name="T25" fmla="*/ 11243 h 61"/>
                  <a:gd name="T26" fmla="*/ 52419 w 149"/>
                  <a:gd name="T27" fmla="*/ 21548 h 61"/>
                  <a:gd name="T28" fmla="*/ 52419 w 149"/>
                  <a:gd name="T29" fmla="*/ 30917 h 61"/>
                  <a:gd name="T30" fmla="*/ 52419 w 149"/>
                  <a:gd name="T31" fmla="*/ 38412 h 61"/>
                  <a:gd name="T32" fmla="*/ 52419 w 149"/>
                  <a:gd name="T33" fmla="*/ 45907 h 61"/>
                  <a:gd name="T34" fmla="*/ 49436 w 149"/>
                  <a:gd name="T35" fmla="*/ 46844 h 61"/>
                  <a:gd name="T36" fmla="*/ 46453 w 149"/>
                  <a:gd name="T37" fmla="*/ 47781 h 61"/>
                  <a:gd name="T38" fmla="*/ 44322 w 149"/>
                  <a:gd name="T39" fmla="*/ 49655 h 61"/>
                  <a:gd name="T40" fmla="*/ 42617 w 149"/>
                  <a:gd name="T41" fmla="*/ 51529 h 61"/>
                  <a:gd name="T42" fmla="*/ 40060 w 149"/>
                  <a:gd name="T43" fmla="*/ 53402 h 61"/>
                  <a:gd name="T44" fmla="*/ 37930 w 149"/>
                  <a:gd name="T45" fmla="*/ 55276 h 61"/>
                  <a:gd name="T46" fmla="*/ 35372 w 149"/>
                  <a:gd name="T47" fmla="*/ 57150 h 61"/>
                  <a:gd name="T48" fmla="*/ 32389 w 149"/>
                  <a:gd name="T49" fmla="*/ 57150 h 61"/>
                  <a:gd name="T50" fmla="*/ 28554 w 149"/>
                  <a:gd name="T51" fmla="*/ 56213 h 61"/>
                  <a:gd name="T52" fmla="*/ 22587 w 149"/>
                  <a:gd name="T53" fmla="*/ 53402 h 61"/>
                  <a:gd name="T54" fmla="*/ 16621 w 149"/>
                  <a:gd name="T55" fmla="*/ 50592 h 61"/>
                  <a:gd name="T56" fmla="*/ 10654 w 149"/>
                  <a:gd name="T57" fmla="*/ 45907 h 61"/>
                  <a:gd name="T58" fmla="*/ 5114 w 149"/>
                  <a:gd name="T59" fmla="*/ 42160 h 61"/>
                  <a:gd name="T60" fmla="*/ 1279 w 149"/>
                  <a:gd name="T61" fmla="*/ 38412 h 61"/>
                  <a:gd name="T62" fmla="*/ 426 w 149"/>
                  <a:gd name="T63" fmla="*/ 36539 h 61"/>
                  <a:gd name="T64" fmla="*/ 0 w 149"/>
                  <a:gd name="T65" fmla="*/ 35602 h 61"/>
                  <a:gd name="T66" fmla="*/ 0 w 149"/>
                  <a:gd name="T67" fmla="*/ 34665 h 61"/>
                  <a:gd name="T68" fmla="*/ 1279 w 149"/>
                  <a:gd name="T69" fmla="*/ 34665 h 61"/>
                  <a:gd name="T70" fmla="*/ 8097 w 149"/>
                  <a:gd name="T71" fmla="*/ 33728 h 61"/>
                  <a:gd name="T72" fmla="*/ 14916 w 149"/>
                  <a:gd name="T73" fmla="*/ 32791 h 61"/>
                  <a:gd name="T74" fmla="*/ 20456 w 149"/>
                  <a:gd name="T75" fmla="*/ 29980 h 61"/>
                  <a:gd name="T76" fmla="*/ 25570 w 149"/>
                  <a:gd name="T77" fmla="*/ 25296 h 61"/>
                  <a:gd name="T78" fmla="*/ 30685 w 149"/>
                  <a:gd name="T79" fmla="*/ 20611 h 61"/>
                  <a:gd name="T80" fmla="*/ 34946 w 149"/>
                  <a:gd name="T81" fmla="*/ 14990 h 61"/>
                  <a:gd name="T82" fmla="*/ 39634 w 149"/>
                  <a:gd name="T83" fmla="*/ 7495 h 61"/>
                  <a:gd name="T84" fmla="*/ 43896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grpFill/>
              <a:ln w="9525" cap="flat" cmpd="sng">
                <a:solidFill>
                  <a:srgbClr val="FFFFFF"/>
                </a:solidFill>
                <a:prstDash val="solid"/>
                <a:round/>
                <a:headEnd type="none" w="med" len="med"/>
                <a:tailEnd type="none" w="med" len="med"/>
              </a:ln>
              <a:effectLst/>
            </p:spPr>
            <p:txBody>
              <a:bodyPr/>
              <a:lstStyle/>
              <a:p>
                <a:endParaRPr lang="en-GB" sz="1637"/>
              </a:p>
            </p:txBody>
          </p:sp>
          <p:sp>
            <p:nvSpPr>
              <p:cNvPr id="162" name="Freeform 488"/>
              <p:cNvSpPr>
                <a:spLocks/>
              </p:cNvSpPr>
              <p:nvPr>
                <p:custDataLst>
                  <p:tags r:id="rId145"/>
                </p:custDataLst>
              </p:nvPr>
            </p:nvSpPr>
            <p:spPr bwMode="auto">
              <a:xfrm>
                <a:off x="4843206" y="1225630"/>
                <a:ext cx="142104" cy="64475"/>
              </a:xfrm>
              <a:custGeom>
                <a:avLst/>
                <a:gdLst>
                  <a:gd name="T0" fmla="*/ 57904 w 299"/>
                  <a:gd name="T1" fmla="*/ 55605 h 74"/>
                  <a:gd name="T2" fmla="*/ 67047 w 299"/>
                  <a:gd name="T3" fmla="*/ 50199 h 74"/>
                  <a:gd name="T4" fmla="*/ 77495 w 299"/>
                  <a:gd name="T5" fmla="*/ 41704 h 74"/>
                  <a:gd name="T6" fmla="*/ 86638 w 299"/>
                  <a:gd name="T7" fmla="*/ 32436 h 74"/>
                  <a:gd name="T8" fmla="*/ 90121 w 299"/>
                  <a:gd name="T9" fmla="*/ 30892 h 74"/>
                  <a:gd name="T10" fmla="*/ 91863 w 299"/>
                  <a:gd name="T11" fmla="*/ 35526 h 74"/>
                  <a:gd name="T12" fmla="*/ 95781 w 299"/>
                  <a:gd name="T13" fmla="*/ 39387 h 74"/>
                  <a:gd name="T14" fmla="*/ 105794 w 299"/>
                  <a:gd name="T15" fmla="*/ 42476 h 74"/>
                  <a:gd name="T16" fmla="*/ 117114 w 299"/>
                  <a:gd name="T17" fmla="*/ 42476 h 74"/>
                  <a:gd name="T18" fmla="*/ 124515 w 299"/>
                  <a:gd name="T19" fmla="*/ 42476 h 74"/>
                  <a:gd name="T20" fmla="*/ 127563 w 299"/>
                  <a:gd name="T21" fmla="*/ 35526 h 74"/>
                  <a:gd name="T22" fmla="*/ 129740 w 299"/>
                  <a:gd name="T23" fmla="*/ 23941 h 74"/>
                  <a:gd name="T24" fmla="*/ 121468 w 299"/>
                  <a:gd name="T25" fmla="*/ 19307 h 74"/>
                  <a:gd name="T26" fmla="*/ 106230 w 299"/>
                  <a:gd name="T27" fmla="*/ 19307 h 74"/>
                  <a:gd name="T28" fmla="*/ 97958 w 299"/>
                  <a:gd name="T29" fmla="*/ 19307 h 74"/>
                  <a:gd name="T30" fmla="*/ 93169 w 299"/>
                  <a:gd name="T31" fmla="*/ 20852 h 74"/>
                  <a:gd name="T32" fmla="*/ 88815 w 299"/>
                  <a:gd name="T33" fmla="*/ 25486 h 74"/>
                  <a:gd name="T34" fmla="*/ 74883 w 299"/>
                  <a:gd name="T35" fmla="*/ 28575 h 74"/>
                  <a:gd name="T36" fmla="*/ 76625 w 299"/>
                  <a:gd name="T37" fmla="*/ 21624 h 74"/>
                  <a:gd name="T38" fmla="*/ 78366 w 299"/>
                  <a:gd name="T39" fmla="*/ 16218 h 74"/>
                  <a:gd name="T40" fmla="*/ 84461 w 299"/>
                  <a:gd name="T41" fmla="*/ 10040 h 74"/>
                  <a:gd name="T42" fmla="*/ 91427 w 299"/>
                  <a:gd name="T43" fmla="*/ 6951 h 74"/>
                  <a:gd name="T44" fmla="*/ 97958 w 299"/>
                  <a:gd name="T45" fmla="*/ 0 h 74"/>
                  <a:gd name="T46" fmla="*/ 80543 w 299"/>
                  <a:gd name="T47" fmla="*/ 2317 h 74"/>
                  <a:gd name="T48" fmla="*/ 68353 w 299"/>
                  <a:gd name="T49" fmla="*/ 8495 h 74"/>
                  <a:gd name="T50" fmla="*/ 58339 w 299"/>
                  <a:gd name="T51" fmla="*/ 19307 h 74"/>
                  <a:gd name="T52" fmla="*/ 49632 w 299"/>
                  <a:gd name="T53" fmla="*/ 30892 h 74"/>
                  <a:gd name="T54" fmla="*/ 43537 w 299"/>
                  <a:gd name="T55" fmla="*/ 40932 h 74"/>
                  <a:gd name="T56" fmla="*/ 37877 w 299"/>
                  <a:gd name="T57" fmla="*/ 45566 h 74"/>
                  <a:gd name="T58" fmla="*/ 27864 w 299"/>
                  <a:gd name="T59" fmla="*/ 48655 h 74"/>
                  <a:gd name="T60" fmla="*/ 13932 w 299"/>
                  <a:gd name="T61" fmla="*/ 49427 h 74"/>
                  <a:gd name="T62" fmla="*/ 5224 w 299"/>
                  <a:gd name="T63" fmla="*/ 51744 h 74"/>
                  <a:gd name="T64" fmla="*/ 871 w 299"/>
                  <a:gd name="T65" fmla="*/ 54061 h 74"/>
                  <a:gd name="T66" fmla="*/ 16979 w 299"/>
                  <a:gd name="T67" fmla="*/ 57150 h 74"/>
                  <a:gd name="T68" fmla="*/ 44408 w 299"/>
                  <a:gd name="T69" fmla="*/ 57150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grpFill/>
              <a:ln w="9525" cap="flat" cmpd="sng">
                <a:solidFill>
                  <a:srgbClr val="FFFFFF"/>
                </a:solidFill>
                <a:prstDash val="solid"/>
                <a:round/>
                <a:headEnd type="none" w="med" len="med"/>
                <a:tailEnd type="none" w="med" len="med"/>
              </a:ln>
              <a:effectLst/>
            </p:spPr>
            <p:txBody>
              <a:bodyPr/>
              <a:lstStyle/>
              <a:p>
                <a:endParaRPr lang="en-GB" sz="1637"/>
              </a:p>
            </p:txBody>
          </p:sp>
          <p:sp>
            <p:nvSpPr>
              <p:cNvPr id="163" name="Freeform 489"/>
              <p:cNvSpPr>
                <a:spLocks/>
              </p:cNvSpPr>
              <p:nvPr>
                <p:custDataLst>
                  <p:tags r:id="rId146"/>
                </p:custDataLst>
              </p:nvPr>
            </p:nvSpPr>
            <p:spPr bwMode="auto">
              <a:xfrm>
                <a:off x="5425487" y="1435174"/>
                <a:ext cx="45057" cy="64475"/>
              </a:xfrm>
              <a:custGeom>
                <a:avLst/>
                <a:gdLst>
                  <a:gd name="T0" fmla="*/ 38386 w 100"/>
                  <a:gd name="T1" fmla="*/ 0 h 42"/>
                  <a:gd name="T2" fmla="*/ 40037 w 100"/>
                  <a:gd name="T3" fmla="*/ 9525 h 42"/>
                  <a:gd name="T4" fmla="*/ 41275 w 100"/>
                  <a:gd name="T5" fmla="*/ 24493 h 42"/>
                  <a:gd name="T6" fmla="*/ 37973 w 100"/>
                  <a:gd name="T7" fmla="*/ 32657 h 42"/>
                  <a:gd name="T8" fmla="*/ 35497 w 100"/>
                  <a:gd name="T9" fmla="*/ 39461 h 42"/>
                  <a:gd name="T10" fmla="*/ 32607 w 100"/>
                  <a:gd name="T11" fmla="*/ 46264 h 42"/>
                  <a:gd name="T12" fmla="*/ 29718 w 100"/>
                  <a:gd name="T13" fmla="*/ 50346 h 42"/>
                  <a:gd name="T14" fmla="*/ 26829 w 100"/>
                  <a:gd name="T15" fmla="*/ 53068 h 42"/>
                  <a:gd name="T16" fmla="*/ 23527 w 100"/>
                  <a:gd name="T17" fmla="*/ 55789 h 42"/>
                  <a:gd name="T18" fmla="*/ 20225 w 100"/>
                  <a:gd name="T19" fmla="*/ 57150 h 42"/>
                  <a:gd name="T20" fmla="*/ 16510 w 100"/>
                  <a:gd name="T21" fmla="*/ 57150 h 42"/>
                  <a:gd name="T22" fmla="*/ 11144 w 100"/>
                  <a:gd name="T23" fmla="*/ 55789 h 42"/>
                  <a:gd name="T24" fmla="*/ 4953 w 100"/>
                  <a:gd name="T25" fmla="*/ 53068 h 42"/>
                  <a:gd name="T26" fmla="*/ 413 w 100"/>
                  <a:gd name="T27" fmla="*/ 50346 h 42"/>
                  <a:gd name="T28" fmla="*/ 0 w 100"/>
                  <a:gd name="T29" fmla="*/ 48986 h 42"/>
                  <a:gd name="T30" fmla="*/ 2477 w 100"/>
                  <a:gd name="T31" fmla="*/ 48986 h 42"/>
                  <a:gd name="T32" fmla="*/ 4953 w 100"/>
                  <a:gd name="T33" fmla="*/ 47625 h 42"/>
                  <a:gd name="T34" fmla="*/ 7430 w 100"/>
                  <a:gd name="T35" fmla="*/ 44904 h 42"/>
                  <a:gd name="T36" fmla="*/ 9493 w 100"/>
                  <a:gd name="T37" fmla="*/ 40821 h 42"/>
                  <a:gd name="T38" fmla="*/ 13621 w 100"/>
                  <a:gd name="T39" fmla="*/ 34018 h 42"/>
                  <a:gd name="T40" fmla="*/ 18161 w 100"/>
                  <a:gd name="T41" fmla="*/ 24493 h 42"/>
                  <a:gd name="T42" fmla="*/ 22701 w 100"/>
                  <a:gd name="T43" fmla="*/ 14968 h 42"/>
                  <a:gd name="T44" fmla="*/ 27242 w 100"/>
                  <a:gd name="T45" fmla="*/ 6804 h 42"/>
                  <a:gd name="T46" fmla="*/ 29718 w 100"/>
                  <a:gd name="T47" fmla="*/ 4082 h 42"/>
                  <a:gd name="T48" fmla="*/ 32607 w 100"/>
                  <a:gd name="T49" fmla="*/ 1361 h 42"/>
                  <a:gd name="T50" fmla="*/ 35497 w 100"/>
                  <a:gd name="T51" fmla="*/ 0 h 42"/>
                  <a:gd name="T52" fmla="*/ 38386 w 100"/>
                  <a:gd name="T53" fmla="*/ 0 h 4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100" h="42">
                    <a:moveTo>
                      <a:pt x="93" y="0"/>
                    </a:moveTo>
                    <a:lnTo>
                      <a:pt x="97" y="7"/>
                    </a:lnTo>
                    <a:lnTo>
                      <a:pt x="100" y="18"/>
                    </a:lnTo>
                    <a:lnTo>
                      <a:pt x="92" y="24"/>
                    </a:lnTo>
                    <a:lnTo>
                      <a:pt x="86" y="29"/>
                    </a:lnTo>
                    <a:lnTo>
                      <a:pt x="79" y="34"/>
                    </a:lnTo>
                    <a:lnTo>
                      <a:pt x="72" y="37"/>
                    </a:lnTo>
                    <a:lnTo>
                      <a:pt x="65" y="39"/>
                    </a:lnTo>
                    <a:lnTo>
                      <a:pt x="57" y="41"/>
                    </a:lnTo>
                    <a:lnTo>
                      <a:pt x="49" y="42"/>
                    </a:lnTo>
                    <a:lnTo>
                      <a:pt x="40" y="42"/>
                    </a:lnTo>
                    <a:lnTo>
                      <a:pt x="27" y="41"/>
                    </a:lnTo>
                    <a:lnTo>
                      <a:pt x="12" y="39"/>
                    </a:lnTo>
                    <a:lnTo>
                      <a:pt x="1" y="37"/>
                    </a:lnTo>
                    <a:lnTo>
                      <a:pt x="0" y="36"/>
                    </a:lnTo>
                    <a:lnTo>
                      <a:pt x="6" y="36"/>
                    </a:lnTo>
                    <a:lnTo>
                      <a:pt x="12" y="35"/>
                    </a:lnTo>
                    <a:lnTo>
                      <a:pt x="18" y="33"/>
                    </a:lnTo>
                    <a:lnTo>
                      <a:pt x="23" y="30"/>
                    </a:lnTo>
                    <a:lnTo>
                      <a:pt x="33" y="25"/>
                    </a:lnTo>
                    <a:lnTo>
                      <a:pt x="44" y="18"/>
                    </a:lnTo>
                    <a:lnTo>
                      <a:pt x="55" y="11"/>
                    </a:lnTo>
                    <a:lnTo>
                      <a:pt x="66" y="5"/>
                    </a:lnTo>
                    <a:lnTo>
                      <a:pt x="72" y="3"/>
                    </a:lnTo>
                    <a:lnTo>
                      <a:pt x="79" y="1"/>
                    </a:lnTo>
                    <a:lnTo>
                      <a:pt x="86" y="0"/>
                    </a:lnTo>
                    <a:lnTo>
                      <a:pt x="93" y="0"/>
                    </a:lnTo>
                  </a:path>
                </a:pathLst>
              </a:custGeom>
              <a:grpFill/>
              <a:ln w="9525" cap="flat" cmpd="sng">
                <a:solidFill>
                  <a:srgbClr val="FFFFFF"/>
                </a:solidFill>
                <a:prstDash val="solid"/>
                <a:round/>
                <a:headEnd type="none" w="med" len="med"/>
                <a:tailEnd type="none" w="med" len="med"/>
              </a:ln>
              <a:effectLst/>
            </p:spPr>
            <p:txBody>
              <a:bodyPr/>
              <a:lstStyle/>
              <a:p>
                <a:endParaRPr lang="en-GB" sz="1637"/>
              </a:p>
            </p:txBody>
          </p:sp>
          <p:sp>
            <p:nvSpPr>
              <p:cNvPr id="164" name="Freeform 490"/>
              <p:cNvSpPr>
                <a:spLocks/>
              </p:cNvSpPr>
              <p:nvPr>
                <p:custDataLst>
                  <p:tags r:id="rId147"/>
                </p:custDataLst>
              </p:nvPr>
            </p:nvSpPr>
            <p:spPr bwMode="auto">
              <a:xfrm>
                <a:off x="5326708" y="1275777"/>
                <a:ext cx="17330" cy="66266"/>
              </a:xfrm>
              <a:custGeom>
                <a:avLst/>
                <a:gdLst>
                  <a:gd name="T0" fmla="*/ 15875 w 40"/>
                  <a:gd name="T1" fmla="*/ 58738 h 5"/>
                  <a:gd name="T2" fmla="*/ 0 w 40"/>
                  <a:gd name="T3" fmla="*/ 58738 h 5"/>
                  <a:gd name="T4" fmla="*/ 1984 w 40"/>
                  <a:gd name="T5" fmla="*/ 35243 h 5"/>
                  <a:gd name="T6" fmla="*/ 3572 w 40"/>
                  <a:gd name="T7" fmla="*/ 11748 h 5"/>
                  <a:gd name="T8" fmla="*/ 5953 w 40"/>
                  <a:gd name="T9" fmla="*/ 0 h 5"/>
                  <a:gd name="T10" fmla="*/ 7938 w 40"/>
                  <a:gd name="T11" fmla="*/ 0 h 5"/>
                  <a:gd name="T12" fmla="*/ 9922 w 40"/>
                  <a:gd name="T13" fmla="*/ 0 h 5"/>
                  <a:gd name="T14" fmla="*/ 11906 w 40"/>
                  <a:gd name="T15" fmla="*/ 11748 h 5"/>
                  <a:gd name="T16" fmla="*/ 13891 w 40"/>
                  <a:gd name="T17" fmla="*/ 35243 h 5"/>
                  <a:gd name="T18" fmla="*/ 15875 w 40"/>
                  <a:gd name="T19" fmla="*/ 58738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 h="5">
                    <a:moveTo>
                      <a:pt x="40" y="5"/>
                    </a:moveTo>
                    <a:lnTo>
                      <a:pt x="0" y="5"/>
                    </a:lnTo>
                    <a:lnTo>
                      <a:pt x="5" y="3"/>
                    </a:lnTo>
                    <a:lnTo>
                      <a:pt x="9" y="1"/>
                    </a:lnTo>
                    <a:lnTo>
                      <a:pt x="15" y="0"/>
                    </a:lnTo>
                    <a:lnTo>
                      <a:pt x="20" y="0"/>
                    </a:lnTo>
                    <a:lnTo>
                      <a:pt x="25" y="0"/>
                    </a:lnTo>
                    <a:lnTo>
                      <a:pt x="30" y="1"/>
                    </a:lnTo>
                    <a:lnTo>
                      <a:pt x="35" y="3"/>
                    </a:lnTo>
                    <a:lnTo>
                      <a:pt x="40" y="5"/>
                    </a:lnTo>
                  </a:path>
                </a:pathLst>
              </a:custGeom>
              <a:grpFill/>
              <a:ln w="9525" cap="flat" cmpd="sng">
                <a:solidFill>
                  <a:srgbClr val="FFFFFF"/>
                </a:solidFill>
                <a:prstDash val="solid"/>
                <a:round/>
                <a:headEnd type="none" w="med" len="med"/>
                <a:tailEnd type="none" w="med" len="med"/>
              </a:ln>
              <a:effectLst/>
            </p:spPr>
            <p:txBody>
              <a:bodyPr/>
              <a:lstStyle/>
              <a:p>
                <a:endParaRPr lang="en-GB" sz="1637"/>
              </a:p>
            </p:txBody>
          </p:sp>
          <p:sp>
            <p:nvSpPr>
              <p:cNvPr id="165" name="Freeform 491"/>
              <p:cNvSpPr>
                <a:spLocks/>
              </p:cNvSpPr>
              <p:nvPr>
                <p:custDataLst>
                  <p:tags r:id="rId148"/>
                </p:custDataLst>
              </p:nvPr>
            </p:nvSpPr>
            <p:spPr bwMode="auto">
              <a:xfrm>
                <a:off x="5350969" y="1229212"/>
                <a:ext cx="15596" cy="68057"/>
              </a:xfrm>
              <a:custGeom>
                <a:avLst/>
                <a:gdLst>
                  <a:gd name="T0" fmla="*/ 0 w 33"/>
                  <a:gd name="T1" fmla="*/ 36973 h 31"/>
                  <a:gd name="T2" fmla="*/ 8659 w 33"/>
                  <a:gd name="T3" fmla="*/ 0 h 31"/>
                  <a:gd name="T4" fmla="*/ 8659 w 33"/>
                  <a:gd name="T5" fmla="*/ 7784 h 31"/>
                  <a:gd name="T6" fmla="*/ 9525 w 33"/>
                  <a:gd name="T7" fmla="*/ 19460 h 31"/>
                  <a:gd name="T8" fmla="*/ 10823 w 33"/>
                  <a:gd name="T9" fmla="*/ 27244 h 31"/>
                  <a:gd name="T10" fmla="*/ 11689 w 33"/>
                  <a:gd name="T11" fmla="*/ 35027 h 31"/>
                  <a:gd name="T12" fmla="*/ 13421 w 33"/>
                  <a:gd name="T13" fmla="*/ 50595 h 31"/>
                  <a:gd name="T14" fmla="*/ 14287 w 33"/>
                  <a:gd name="T15" fmla="*/ 60325 h 31"/>
                  <a:gd name="T16" fmla="*/ 0 w 33"/>
                  <a:gd name="T17" fmla="*/ 60325 h 31"/>
                  <a:gd name="T18" fmla="*/ 0 w 33"/>
                  <a:gd name="T19" fmla="*/ 48649 h 31"/>
                  <a:gd name="T20" fmla="*/ 0 w 33"/>
                  <a:gd name="T21" fmla="*/ 36973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31">
                    <a:moveTo>
                      <a:pt x="0" y="19"/>
                    </a:moveTo>
                    <a:lnTo>
                      <a:pt x="20" y="0"/>
                    </a:lnTo>
                    <a:lnTo>
                      <a:pt x="20" y="4"/>
                    </a:lnTo>
                    <a:lnTo>
                      <a:pt x="22" y="10"/>
                    </a:lnTo>
                    <a:lnTo>
                      <a:pt x="25" y="14"/>
                    </a:lnTo>
                    <a:lnTo>
                      <a:pt x="27" y="18"/>
                    </a:lnTo>
                    <a:lnTo>
                      <a:pt x="31" y="26"/>
                    </a:lnTo>
                    <a:lnTo>
                      <a:pt x="33" y="31"/>
                    </a:lnTo>
                    <a:lnTo>
                      <a:pt x="0" y="31"/>
                    </a:lnTo>
                    <a:lnTo>
                      <a:pt x="0" y="25"/>
                    </a:lnTo>
                    <a:lnTo>
                      <a:pt x="0" y="19"/>
                    </a:lnTo>
                  </a:path>
                </a:pathLst>
              </a:custGeom>
              <a:grpFill/>
              <a:ln w="9525" cap="flat" cmpd="sng">
                <a:solidFill>
                  <a:srgbClr val="FFFFFF"/>
                </a:solidFill>
                <a:prstDash val="solid"/>
                <a:round/>
                <a:headEnd type="none" w="med" len="med"/>
                <a:tailEnd type="none" w="med" len="med"/>
              </a:ln>
              <a:effectLst/>
            </p:spPr>
            <p:txBody>
              <a:bodyPr/>
              <a:lstStyle/>
              <a:p>
                <a:endParaRPr lang="en-GB" sz="1637"/>
              </a:p>
            </p:txBody>
          </p:sp>
          <p:sp>
            <p:nvSpPr>
              <p:cNvPr id="166" name="Freeform 492"/>
              <p:cNvSpPr>
                <a:spLocks/>
              </p:cNvSpPr>
              <p:nvPr>
                <p:custDataLst>
                  <p:tags r:id="rId149"/>
                </p:custDataLst>
              </p:nvPr>
            </p:nvSpPr>
            <p:spPr bwMode="auto">
              <a:xfrm>
                <a:off x="5508670" y="1359953"/>
                <a:ext cx="19063" cy="64475"/>
              </a:xfrm>
              <a:custGeom>
                <a:avLst/>
                <a:gdLst>
                  <a:gd name="T0" fmla="*/ 17463 w 41"/>
                  <a:gd name="T1" fmla="*/ 0 h 43"/>
                  <a:gd name="T2" fmla="*/ 17463 w 41"/>
                  <a:gd name="T3" fmla="*/ 57150 h 43"/>
                  <a:gd name="T4" fmla="*/ 13204 w 41"/>
                  <a:gd name="T5" fmla="*/ 55821 h 43"/>
                  <a:gd name="T6" fmla="*/ 10222 w 41"/>
                  <a:gd name="T7" fmla="*/ 53163 h 43"/>
                  <a:gd name="T8" fmla="*/ 7667 w 41"/>
                  <a:gd name="T9" fmla="*/ 49176 h 43"/>
                  <a:gd name="T10" fmla="*/ 5537 w 41"/>
                  <a:gd name="T11" fmla="*/ 43859 h 43"/>
                  <a:gd name="T12" fmla="*/ 2130 w 41"/>
                  <a:gd name="T13" fmla="*/ 33227 h 43"/>
                  <a:gd name="T14" fmla="*/ 0 w 41"/>
                  <a:gd name="T15" fmla="*/ 25252 h 43"/>
                  <a:gd name="T16" fmla="*/ 5111 w 41"/>
                  <a:gd name="T17" fmla="*/ 17278 h 43"/>
                  <a:gd name="T18" fmla="*/ 10648 w 41"/>
                  <a:gd name="T19" fmla="*/ 9303 h 43"/>
                  <a:gd name="T20" fmla="*/ 15333 w 41"/>
                  <a:gd name="T21" fmla="*/ 2658 h 43"/>
                  <a:gd name="T22" fmla="*/ 17463 w 41"/>
                  <a:gd name="T23" fmla="*/ 0 h 4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1" h="43">
                    <a:moveTo>
                      <a:pt x="41" y="0"/>
                    </a:moveTo>
                    <a:lnTo>
                      <a:pt x="41" y="43"/>
                    </a:lnTo>
                    <a:lnTo>
                      <a:pt x="31" y="42"/>
                    </a:lnTo>
                    <a:lnTo>
                      <a:pt x="24" y="40"/>
                    </a:lnTo>
                    <a:lnTo>
                      <a:pt x="18" y="37"/>
                    </a:lnTo>
                    <a:lnTo>
                      <a:pt x="13" y="33"/>
                    </a:lnTo>
                    <a:lnTo>
                      <a:pt x="5" y="25"/>
                    </a:lnTo>
                    <a:lnTo>
                      <a:pt x="0" y="19"/>
                    </a:lnTo>
                    <a:lnTo>
                      <a:pt x="12" y="13"/>
                    </a:lnTo>
                    <a:lnTo>
                      <a:pt x="25" y="7"/>
                    </a:lnTo>
                    <a:lnTo>
                      <a:pt x="36" y="2"/>
                    </a:lnTo>
                    <a:lnTo>
                      <a:pt x="41" y="0"/>
                    </a:lnTo>
                  </a:path>
                </a:pathLst>
              </a:custGeom>
              <a:grpFill/>
              <a:ln w="9525" cap="flat" cmpd="sng">
                <a:solidFill>
                  <a:srgbClr val="FFFFFF"/>
                </a:solidFill>
                <a:prstDash val="solid"/>
                <a:round/>
                <a:headEnd type="none" w="med" len="med"/>
                <a:tailEnd type="none" w="med" len="med"/>
              </a:ln>
              <a:effectLst/>
            </p:spPr>
            <p:txBody>
              <a:bodyPr/>
              <a:lstStyle/>
              <a:p>
                <a:endParaRPr lang="en-GB" sz="1637"/>
              </a:p>
            </p:txBody>
          </p:sp>
          <p:sp>
            <p:nvSpPr>
              <p:cNvPr id="167" name="Freeform 493"/>
              <p:cNvSpPr>
                <a:spLocks/>
              </p:cNvSpPr>
              <p:nvPr>
                <p:custDataLst>
                  <p:tags r:id="rId150"/>
                </p:custDataLst>
              </p:nvPr>
            </p:nvSpPr>
            <p:spPr bwMode="auto">
              <a:xfrm>
                <a:off x="5567591" y="1229212"/>
                <a:ext cx="102246" cy="68057"/>
              </a:xfrm>
              <a:custGeom>
                <a:avLst/>
                <a:gdLst>
                  <a:gd name="T0" fmla="*/ 26824 w 213"/>
                  <a:gd name="T1" fmla="*/ 0 h 62"/>
                  <a:gd name="T2" fmla="*/ 36498 w 213"/>
                  <a:gd name="T3" fmla="*/ 0 h 62"/>
                  <a:gd name="T4" fmla="*/ 46172 w 213"/>
                  <a:gd name="T5" fmla="*/ 973 h 62"/>
                  <a:gd name="T6" fmla="*/ 55846 w 213"/>
                  <a:gd name="T7" fmla="*/ 2919 h 62"/>
                  <a:gd name="T8" fmla="*/ 64201 w 213"/>
                  <a:gd name="T9" fmla="*/ 6811 h 62"/>
                  <a:gd name="T10" fmla="*/ 72996 w 213"/>
                  <a:gd name="T11" fmla="*/ 10703 h 62"/>
                  <a:gd name="T12" fmla="*/ 80911 w 213"/>
                  <a:gd name="T13" fmla="*/ 15568 h 62"/>
                  <a:gd name="T14" fmla="*/ 83989 w 213"/>
                  <a:gd name="T15" fmla="*/ 18487 h 62"/>
                  <a:gd name="T16" fmla="*/ 87507 w 213"/>
                  <a:gd name="T17" fmla="*/ 22379 h 62"/>
                  <a:gd name="T18" fmla="*/ 91025 w 213"/>
                  <a:gd name="T19" fmla="*/ 26271 h 62"/>
                  <a:gd name="T20" fmla="*/ 93663 w 213"/>
                  <a:gd name="T21" fmla="*/ 30163 h 62"/>
                  <a:gd name="T22" fmla="*/ 92784 w 213"/>
                  <a:gd name="T23" fmla="*/ 34054 h 62"/>
                  <a:gd name="T24" fmla="*/ 91025 w 213"/>
                  <a:gd name="T25" fmla="*/ 36973 h 62"/>
                  <a:gd name="T26" fmla="*/ 88386 w 213"/>
                  <a:gd name="T27" fmla="*/ 39892 h 62"/>
                  <a:gd name="T28" fmla="*/ 85748 w 213"/>
                  <a:gd name="T29" fmla="*/ 42811 h 62"/>
                  <a:gd name="T30" fmla="*/ 77833 w 213"/>
                  <a:gd name="T31" fmla="*/ 47676 h 62"/>
                  <a:gd name="T32" fmla="*/ 68598 w 213"/>
                  <a:gd name="T33" fmla="*/ 51568 h 62"/>
                  <a:gd name="T34" fmla="*/ 59364 w 213"/>
                  <a:gd name="T35" fmla="*/ 55460 h 62"/>
                  <a:gd name="T36" fmla="*/ 50129 w 213"/>
                  <a:gd name="T37" fmla="*/ 57406 h 62"/>
                  <a:gd name="T38" fmla="*/ 41775 w 213"/>
                  <a:gd name="T39" fmla="*/ 60325 h 62"/>
                  <a:gd name="T40" fmla="*/ 35179 w 213"/>
                  <a:gd name="T41" fmla="*/ 60325 h 62"/>
                  <a:gd name="T42" fmla="*/ 27263 w 213"/>
                  <a:gd name="T43" fmla="*/ 60325 h 62"/>
                  <a:gd name="T44" fmla="*/ 18908 w 213"/>
                  <a:gd name="T45" fmla="*/ 57406 h 62"/>
                  <a:gd name="T46" fmla="*/ 14511 w 213"/>
                  <a:gd name="T47" fmla="*/ 57406 h 62"/>
                  <a:gd name="T48" fmla="*/ 10114 w 213"/>
                  <a:gd name="T49" fmla="*/ 57406 h 62"/>
                  <a:gd name="T50" fmla="*/ 5277 w 213"/>
                  <a:gd name="T51" fmla="*/ 58379 h 62"/>
                  <a:gd name="T52" fmla="*/ 0 w 213"/>
                  <a:gd name="T53" fmla="*/ 60325 h 62"/>
                  <a:gd name="T54" fmla="*/ 2638 w 213"/>
                  <a:gd name="T55" fmla="*/ 48649 h 62"/>
                  <a:gd name="T56" fmla="*/ 4837 w 213"/>
                  <a:gd name="T57" fmla="*/ 37946 h 62"/>
                  <a:gd name="T58" fmla="*/ 7475 w 213"/>
                  <a:gd name="T59" fmla="*/ 28217 h 62"/>
                  <a:gd name="T60" fmla="*/ 10114 w 213"/>
                  <a:gd name="T61" fmla="*/ 19460 h 62"/>
                  <a:gd name="T62" fmla="*/ 11873 w 213"/>
                  <a:gd name="T63" fmla="*/ 15568 h 62"/>
                  <a:gd name="T64" fmla="*/ 13192 w 213"/>
                  <a:gd name="T65" fmla="*/ 11676 h 62"/>
                  <a:gd name="T66" fmla="*/ 14951 w 213"/>
                  <a:gd name="T67" fmla="*/ 8757 h 62"/>
                  <a:gd name="T68" fmla="*/ 17150 w 213"/>
                  <a:gd name="T69" fmla="*/ 5838 h 62"/>
                  <a:gd name="T70" fmla="*/ 18908 w 213"/>
                  <a:gd name="T71" fmla="*/ 2919 h 62"/>
                  <a:gd name="T72" fmla="*/ 21547 w 213"/>
                  <a:gd name="T73" fmla="*/ 973 h 62"/>
                  <a:gd name="T74" fmla="*/ 23746 w 213"/>
                  <a:gd name="T75" fmla="*/ 0 h 62"/>
                  <a:gd name="T76" fmla="*/ 26824 w 213"/>
                  <a:gd name="T77" fmla="*/ 0 h 6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13" h="62">
                    <a:moveTo>
                      <a:pt x="61" y="0"/>
                    </a:moveTo>
                    <a:lnTo>
                      <a:pt x="83" y="0"/>
                    </a:lnTo>
                    <a:lnTo>
                      <a:pt x="105" y="1"/>
                    </a:lnTo>
                    <a:lnTo>
                      <a:pt x="127" y="3"/>
                    </a:lnTo>
                    <a:lnTo>
                      <a:pt x="146" y="7"/>
                    </a:lnTo>
                    <a:lnTo>
                      <a:pt x="166" y="11"/>
                    </a:lnTo>
                    <a:lnTo>
                      <a:pt x="184" y="16"/>
                    </a:lnTo>
                    <a:lnTo>
                      <a:pt x="191" y="19"/>
                    </a:lnTo>
                    <a:lnTo>
                      <a:pt x="199" y="23"/>
                    </a:lnTo>
                    <a:lnTo>
                      <a:pt x="207" y="27"/>
                    </a:lnTo>
                    <a:lnTo>
                      <a:pt x="213" y="31"/>
                    </a:lnTo>
                    <a:lnTo>
                      <a:pt x="211" y="35"/>
                    </a:lnTo>
                    <a:lnTo>
                      <a:pt x="207" y="38"/>
                    </a:lnTo>
                    <a:lnTo>
                      <a:pt x="201" y="41"/>
                    </a:lnTo>
                    <a:lnTo>
                      <a:pt x="195" y="44"/>
                    </a:lnTo>
                    <a:lnTo>
                      <a:pt x="177" y="49"/>
                    </a:lnTo>
                    <a:lnTo>
                      <a:pt x="156" y="53"/>
                    </a:lnTo>
                    <a:lnTo>
                      <a:pt x="135" y="57"/>
                    </a:lnTo>
                    <a:lnTo>
                      <a:pt x="114" y="59"/>
                    </a:lnTo>
                    <a:lnTo>
                      <a:pt x="95" y="62"/>
                    </a:lnTo>
                    <a:lnTo>
                      <a:pt x="80" y="62"/>
                    </a:lnTo>
                    <a:lnTo>
                      <a:pt x="62" y="62"/>
                    </a:lnTo>
                    <a:lnTo>
                      <a:pt x="43" y="59"/>
                    </a:lnTo>
                    <a:lnTo>
                      <a:pt x="33" y="59"/>
                    </a:lnTo>
                    <a:lnTo>
                      <a:pt x="23" y="59"/>
                    </a:lnTo>
                    <a:lnTo>
                      <a:pt x="12" y="60"/>
                    </a:lnTo>
                    <a:lnTo>
                      <a:pt x="0" y="62"/>
                    </a:lnTo>
                    <a:lnTo>
                      <a:pt x="6" y="50"/>
                    </a:lnTo>
                    <a:lnTo>
                      <a:pt x="11" y="39"/>
                    </a:lnTo>
                    <a:lnTo>
                      <a:pt x="17" y="29"/>
                    </a:lnTo>
                    <a:lnTo>
                      <a:pt x="23" y="20"/>
                    </a:lnTo>
                    <a:lnTo>
                      <a:pt x="27" y="16"/>
                    </a:lnTo>
                    <a:lnTo>
                      <a:pt x="30" y="12"/>
                    </a:lnTo>
                    <a:lnTo>
                      <a:pt x="34" y="9"/>
                    </a:lnTo>
                    <a:lnTo>
                      <a:pt x="39" y="6"/>
                    </a:lnTo>
                    <a:lnTo>
                      <a:pt x="43" y="3"/>
                    </a:lnTo>
                    <a:lnTo>
                      <a:pt x="49" y="1"/>
                    </a:lnTo>
                    <a:lnTo>
                      <a:pt x="54" y="0"/>
                    </a:lnTo>
                    <a:lnTo>
                      <a:pt x="61" y="0"/>
                    </a:lnTo>
                  </a:path>
                </a:pathLst>
              </a:custGeom>
              <a:grpFill/>
              <a:ln w="9525" cap="flat" cmpd="sng">
                <a:solidFill>
                  <a:srgbClr val="FFFFFF"/>
                </a:solidFill>
                <a:prstDash val="solid"/>
                <a:round/>
                <a:headEnd type="none" w="med" len="med"/>
                <a:tailEnd type="none" w="med" len="med"/>
              </a:ln>
              <a:effectLst/>
            </p:spPr>
            <p:txBody>
              <a:bodyPr/>
              <a:lstStyle/>
              <a:p>
                <a:endParaRPr lang="en-GB" sz="1637"/>
              </a:p>
            </p:txBody>
          </p:sp>
          <p:sp>
            <p:nvSpPr>
              <p:cNvPr id="168" name="Freeform 494"/>
              <p:cNvSpPr>
                <a:spLocks/>
              </p:cNvSpPr>
              <p:nvPr>
                <p:custDataLst>
                  <p:tags r:id="rId151"/>
                </p:custDataLst>
              </p:nvPr>
            </p:nvSpPr>
            <p:spPr bwMode="auto">
              <a:xfrm>
                <a:off x="5633444" y="1257868"/>
                <a:ext cx="112644" cy="68057"/>
              </a:xfrm>
              <a:custGeom>
                <a:avLst/>
                <a:gdLst>
                  <a:gd name="T0" fmla="*/ 17702 w 239"/>
                  <a:gd name="T1" fmla="*/ 0 h 56"/>
                  <a:gd name="T2" fmla="*/ 12952 w 239"/>
                  <a:gd name="T3" fmla="*/ 3232 h 56"/>
                  <a:gd name="T4" fmla="*/ 9930 w 239"/>
                  <a:gd name="T5" fmla="*/ 5386 h 56"/>
                  <a:gd name="T6" fmla="*/ 8203 w 239"/>
                  <a:gd name="T7" fmla="*/ 7541 h 56"/>
                  <a:gd name="T8" fmla="*/ 6476 w 239"/>
                  <a:gd name="T9" fmla="*/ 9695 h 56"/>
                  <a:gd name="T10" fmla="*/ 5613 w 239"/>
                  <a:gd name="T11" fmla="*/ 14004 h 56"/>
                  <a:gd name="T12" fmla="*/ 4317 w 239"/>
                  <a:gd name="T13" fmla="*/ 16158 h 56"/>
                  <a:gd name="T14" fmla="*/ 3022 w 239"/>
                  <a:gd name="T15" fmla="*/ 18313 h 56"/>
                  <a:gd name="T16" fmla="*/ 0 w 239"/>
                  <a:gd name="T17" fmla="*/ 20467 h 56"/>
                  <a:gd name="T18" fmla="*/ 863 w 239"/>
                  <a:gd name="T19" fmla="*/ 25854 h 56"/>
                  <a:gd name="T20" fmla="*/ 2159 w 239"/>
                  <a:gd name="T21" fmla="*/ 29085 h 56"/>
                  <a:gd name="T22" fmla="*/ 3022 w 239"/>
                  <a:gd name="T23" fmla="*/ 32317 h 56"/>
                  <a:gd name="T24" fmla="*/ 4317 w 239"/>
                  <a:gd name="T25" fmla="*/ 35549 h 56"/>
                  <a:gd name="T26" fmla="*/ 7340 w 239"/>
                  <a:gd name="T27" fmla="*/ 38780 h 56"/>
                  <a:gd name="T28" fmla="*/ 10362 w 239"/>
                  <a:gd name="T29" fmla="*/ 40935 h 56"/>
                  <a:gd name="T30" fmla="*/ 17702 w 239"/>
                  <a:gd name="T31" fmla="*/ 40935 h 56"/>
                  <a:gd name="T32" fmla="*/ 23314 w 239"/>
                  <a:gd name="T33" fmla="*/ 40935 h 56"/>
                  <a:gd name="T34" fmla="*/ 66058 w 239"/>
                  <a:gd name="T35" fmla="*/ 40935 h 56"/>
                  <a:gd name="T36" fmla="*/ 66921 w 239"/>
                  <a:gd name="T37" fmla="*/ 44167 h 56"/>
                  <a:gd name="T38" fmla="*/ 67353 w 239"/>
                  <a:gd name="T39" fmla="*/ 47398 h 56"/>
                  <a:gd name="T40" fmla="*/ 68648 w 239"/>
                  <a:gd name="T41" fmla="*/ 49553 h 56"/>
                  <a:gd name="T42" fmla="*/ 69943 w 239"/>
                  <a:gd name="T43" fmla="*/ 51707 h 56"/>
                  <a:gd name="T44" fmla="*/ 72102 w 239"/>
                  <a:gd name="T45" fmla="*/ 54939 h 56"/>
                  <a:gd name="T46" fmla="*/ 75124 w 239"/>
                  <a:gd name="T47" fmla="*/ 58171 h 56"/>
                  <a:gd name="T48" fmla="*/ 81169 w 239"/>
                  <a:gd name="T49" fmla="*/ 60325 h 56"/>
                  <a:gd name="T50" fmla="*/ 86350 w 239"/>
                  <a:gd name="T51" fmla="*/ 60325 h 56"/>
                  <a:gd name="T52" fmla="*/ 88077 w 239"/>
                  <a:gd name="T53" fmla="*/ 59248 h 56"/>
                  <a:gd name="T54" fmla="*/ 90667 w 239"/>
                  <a:gd name="T55" fmla="*/ 58171 h 56"/>
                  <a:gd name="T56" fmla="*/ 92394 w 239"/>
                  <a:gd name="T57" fmla="*/ 56016 h 56"/>
                  <a:gd name="T58" fmla="*/ 94985 w 239"/>
                  <a:gd name="T59" fmla="*/ 52784 h 56"/>
                  <a:gd name="T60" fmla="*/ 99302 w 239"/>
                  <a:gd name="T61" fmla="*/ 46321 h 56"/>
                  <a:gd name="T62" fmla="*/ 103188 w 239"/>
                  <a:gd name="T63" fmla="*/ 40935 h 56"/>
                  <a:gd name="T64" fmla="*/ 100166 w 239"/>
                  <a:gd name="T65" fmla="*/ 39858 h 56"/>
                  <a:gd name="T66" fmla="*/ 97144 w 239"/>
                  <a:gd name="T67" fmla="*/ 38780 h 56"/>
                  <a:gd name="T68" fmla="*/ 94553 w 239"/>
                  <a:gd name="T69" fmla="*/ 36626 h 56"/>
                  <a:gd name="T70" fmla="*/ 91963 w 239"/>
                  <a:gd name="T71" fmla="*/ 34471 h 56"/>
                  <a:gd name="T72" fmla="*/ 86782 w 239"/>
                  <a:gd name="T73" fmla="*/ 28008 h 56"/>
                  <a:gd name="T74" fmla="*/ 82032 w 239"/>
                  <a:gd name="T75" fmla="*/ 20467 h 56"/>
                  <a:gd name="T76" fmla="*/ 76851 w 239"/>
                  <a:gd name="T77" fmla="*/ 14004 h 56"/>
                  <a:gd name="T78" fmla="*/ 72102 w 239"/>
                  <a:gd name="T79" fmla="*/ 6463 h 56"/>
                  <a:gd name="T80" fmla="*/ 69080 w 239"/>
                  <a:gd name="T81" fmla="*/ 4309 h 56"/>
                  <a:gd name="T82" fmla="*/ 66489 w 239"/>
                  <a:gd name="T83" fmla="*/ 2154 h 56"/>
                  <a:gd name="T84" fmla="*/ 63467 w 239"/>
                  <a:gd name="T85" fmla="*/ 1077 h 56"/>
                  <a:gd name="T86" fmla="*/ 60445 w 239"/>
                  <a:gd name="T87" fmla="*/ 0 h 56"/>
                  <a:gd name="T88" fmla="*/ 57854 w 239"/>
                  <a:gd name="T89" fmla="*/ 1077 h 56"/>
                  <a:gd name="T90" fmla="*/ 54832 w 239"/>
                  <a:gd name="T91" fmla="*/ 4309 h 56"/>
                  <a:gd name="T92" fmla="*/ 53537 w 239"/>
                  <a:gd name="T93" fmla="*/ 6463 h 56"/>
                  <a:gd name="T94" fmla="*/ 52673 w 239"/>
                  <a:gd name="T95" fmla="*/ 8618 h 56"/>
                  <a:gd name="T96" fmla="*/ 52242 w 239"/>
                  <a:gd name="T97" fmla="*/ 10772 h 56"/>
                  <a:gd name="T98" fmla="*/ 51810 w 239"/>
                  <a:gd name="T99" fmla="*/ 14004 h 56"/>
                  <a:gd name="T100" fmla="*/ 43175 w 239"/>
                  <a:gd name="T101" fmla="*/ 8618 h 56"/>
                  <a:gd name="T102" fmla="*/ 34540 w 239"/>
                  <a:gd name="T103" fmla="*/ 4309 h 56"/>
                  <a:gd name="T104" fmla="*/ 26337 w 239"/>
                  <a:gd name="T105" fmla="*/ 1077 h 56"/>
                  <a:gd name="T106" fmla="*/ 17702 w 239"/>
                  <a:gd name="T107" fmla="*/ 0 h 5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39" h="56">
                    <a:moveTo>
                      <a:pt x="41" y="0"/>
                    </a:moveTo>
                    <a:lnTo>
                      <a:pt x="30" y="3"/>
                    </a:lnTo>
                    <a:lnTo>
                      <a:pt x="23" y="5"/>
                    </a:lnTo>
                    <a:lnTo>
                      <a:pt x="19" y="7"/>
                    </a:lnTo>
                    <a:lnTo>
                      <a:pt x="15" y="9"/>
                    </a:lnTo>
                    <a:lnTo>
                      <a:pt x="13" y="13"/>
                    </a:lnTo>
                    <a:lnTo>
                      <a:pt x="10" y="15"/>
                    </a:lnTo>
                    <a:lnTo>
                      <a:pt x="7" y="17"/>
                    </a:lnTo>
                    <a:lnTo>
                      <a:pt x="0" y="19"/>
                    </a:lnTo>
                    <a:lnTo>
                      <a:pt x="2" y="24"/>
                    </a:lnTo>
                    <a:lnTo>
                      <a:pt x="5" y="27"/>
                    </a:lnTo>
                    <a:lnTo>
                      <a:pt x="7" y="30"/>
                    </a:lnTo>
                    <a:lnTo>
                      <a:pt x="10" y="33"/>
                    </a:lnTo>
                    <a:lnTo>
                      <a:pt x="17" y="36"/>
                    </a:lnTo>
                    <a:lnTo>
                      <a:pt x="24" y="38"/>
                    </a:lnTo>
                    <a:lnTo>
                      <a:pt x="41" y="38"/>
                    </a:lnTo>
                    <a:lnTo>
                      <a:pt x="54" y="38"/>
                    </a:lnTo>
                    <a:lnTo>
                      <a:pt x="153" y="38"/>
                    </a:lnTo>
                    <a:lnTo>
                      <a:pt x="155" y="41"/>
                    </a:lnTo>
                    <a:lnTo>
                      <a:pt x="156" y="44"/>
                    </a:lnTo>
                    <a:lnTo>
                      <a:pt x="159" y="46"/>
                    </a:lnTo>
                    <a:lnTo>
                      <a:pt x="162" y="48"/>
                    </a:lnTo>
                    <a:lnTo>
                      <a:pt x="167" y="51"/>
                    </a:lnTo>
                    <a:lnTo>
                      <a:pt x="174" y="54"/>
                    </a:lnTo>
                    <a:lnTo>
                      <a:pt x="188" y="56"/>
                    </a:lnTo>
                    <a:lnTo>
                      <a:pt x="200" y="56"/>
                    </a:lnTo>
                    <a:lnTo>
                      <a:pt x="204" y="55"/>
                    </a:lnTo>
                    <a:lnTo>
                      <a:pt x="210" y="54"/>
                    </a:lnTo>
                    <a:lnTo>
                      <a:pt x="214" y="52"/>
                    </a:lnTo>
                    <a:lnTo>
                      <a:pt x="220" y="49"/>
                    </a:lnTo>
                    <a:lnTo>
                      <a:pt x="230" y="43"/>
                    </a:lnTo>
                    <a:lnTo>
                      <a:pt x="239" y="38"/>
                    </a:lnTo>
                    <a:lnTo>
                      <a:pt x="232" y="37"/>
                    </a:lnTo>
                    <a:lnTo>
                      <a:pt x="225" y="36"/>
                    </a:lnTo>
                    <a:lnTo>
                      <a:pt x="219" y="34"/>
                    </a:lnTo>
                    <a:lnTo>
                      <a:pt x="213" y="32"/>
                    </a:lnTo>
                    <a:lnTo>
                      <a:pt x="201" y="26"/>
                    </a:lnTo>
                    <a:lnTo>
                      <a:pt x="190" y="19"/>
                    </a:lnTo>
                    <a:lnTo>
                      <a:pt x="178" y="13"/>
                    </a:lnTo>
                    <a:lnTo>
                      <a:pt x="167" y="6"/>
                    </a:lnTo>
                    <a:lnTo>
                      <a:pt x="160" y="4"/>
                    </a:lnTo>
                    <a:lnTo>
                      <a:pt x="154" y="2"/>
                    </a:lnTo>
                    <a:lnTo>
                      <a:pt x="147" y="1"/>
                    </a:lnTo>
                    <a:lnTo>
                      <a:pt x="140" y="0"/>
                    </a:lnTo>
                    <a:lnTo>
                      <a:pt x="134" y="1"/>
                    </a:lnTo>
                    <a:lnTo>
                      <a:pt x="127" y="4"/>
                    </a:lnTo>
                    <a:lnTo>
                      <a:pt x="124" y="6"/>
                    </a:lnTo>
                    <a:lnTo>
                      <a:pt x="122" y="8"/>
                    </a:lnTo>
                    <a:lnTo>
                      <a:pt x="121" y="10"/>
                    </a:lnTo>
                    <a:lnTo>
                      <a:pt x="120" y="13"/>
                    </a:lnTo>
                    <a:lnTo>
                      <a:pt x="100" y="8"/>
                    </a:lnTo>
                    <a:lnTo>
                      <a:pt x="80" y="4"/>
                    </a:lnTo>
                    <a:lnTo>
                      <a:pt x="61" y="1"/>
                    </a:lnTo>
                    <a:lnTo>
                      <a:pt x="41" y="0"/>
                    </a:lnTo>
                  </a:path>
                </a:pathLst>
              </a:custGeom>
              <a:grpFill/>
              <a:ln w="9525" cap="flat" cmpd="sng">
                <a:solidFill>
                  <a:srgbClr val="FFFFFF"/>
                </a:solidFill>
                <a:prstDash val="solid"/>
                <a:round/>
                <a:headEnd type="none" w="med" len="med"/>
                <a:tailEnd type="none" w="med" len="med"/>
              </a:ln>
              <a:effectLst/>
            </p:spPr>
            <p:txBody>
              <a:bodyPr/>
              <a:lstStyle/>
              <a:p>
                <a:endParaRPr lang="en-GB" sz="1637"/>
              </a:p>
            </p:txBody>
          </p:sp>
          <p:sp>
            <p:nvSpPr>
              <p:cNvPr id="169" name="Freeform 495"/>
              <p:cNvSpPr>
                <a:spLocks/>
              </p:cNvSpPr>
              <p:nvPr>
                <p:custDataLst>
                  <p:tags r:id="rId152"/>
                </p:custDataLst>
              </p:nvPr>
            </p:nvSpPr>
            <p:spPr bwMode="auto">
              <a:xfrm>
                <a:off x="5761685" y="1273987"/>
                <a:ext cx="90115" cy="64475"/>
              </a:xfrm>
              <a:custGeom>
                <a:avLst/>
                <a:gdLst>
                  <a:gd name="T0" fmla="*/ 6180 w 187"/>
                  <a:gd name="T1" fmla="*/ 13573 h 80"/>
                  <a:gd name="T2" fmla="*/ 18099 w 187"/>
                  <a:gd name="T3" fmla="*/ 0 h 80"/>
                  <a:gd name="T4" fmla="*/ 19424 w 187"/>
                  <a:gd name="T5" fmla="*/ 2143 h 80"/>
                  <a:gd name="T6" fmla="*/ 22072 w 187"/>
                  <a:gd name="T7" fmla="*/ 4286 h 80"/>
                  <a:gd name="T8" fmla="*/ 25604 w 187"/>
                  <a:gd name="T9" fmla="*/ 6429 h 80"/>
                  <a:gd name="T10" fmla="*/ 29577 w 187"/>
                  <a:gd name="T11" fmla="*/ 8573 h 80"/>
                  <a:gd name="T12" fmla="*/ 39289 w 187"/>
                  <a:gd name="T13" fmla="*/ 13573 h 80"/>
                  <a:gd name="T14" fmla="*/ 50325 w 187"/>
                  <a:gd name="T15" fmla="*/ 18574 h 80"/>
                  <a:gd name="T16" fmla="*/ 61361 w 187"/>
                  <a:gd name="T17" fmla="*/ 23574 h 80"/>
                  <a:gd name="T18" fmla="*/ 71072 w 187"/>
                  <a:gd name="T19" fmla="*/ 27146 h 80"/>
                  <a:gd name="T20" fmla="*/ 78136 w 187"/>
                  <a:gd name="T21" fmla="*/ 30004 h 80"/>
                  <a:gd name="T22" fmla="*/ 82550 w 187"/>
                  <a:gd name="T23" fmla="*/ 30718 h 80"/>
                  <a:gd name="T24" fmla="*/ 82550 w 187"/>
                  <a:gd name="T25" fmla="*/ 40005 h 80"/>
                  <a:gd name="T26" fmla="*/ 82550 w 187"/>
                  <a:gd name="T27" fmla="*/ 48578 h 80"/>
                  <a:gd name="T28" fmla="*/ 75045 w 187"/>
                  <a:gd name="T29" fmla="*/ 50006 h 80"/>
                  <a:gd name="T30" fmla="*/ 66658 w 187"/>
                  <a:gd name="T31" fmla="*/ 50721 h 80"/>
                  <a:gd name="T32" fmla="*/ 58712 w 187"/>
                  <a:gd name="T33" fmla="*/ 50721 h 80"/>
                  <a:gd name="T34" fmla="*/ 51207 w 187"/>
                  <a:gd name="T35" fmla="*/ 50006 h 80"/>
                  <a:gd name="T36" fmla="*/ 37523 w 187"/>
                  <a:gd name="T37" fmla="*/ 49292 h 80"/>
                  <a:gd name="T38" fmla="*/ 26928 w 187"/>
                  <a:gd name="T39" fmla="*/ 48578 h 80"/>
                  <a:gd name="T40" fmla="*/ 24279 w 187"/>
                  <a:gd name="T41" fmla="*/ 49292 h 80"/>
                  <a:gd name="T42" fmla="*/ 22514 w 187"/>
                  <a:gd name="T43" fmla="*/ 50006 h 80"/>
                  <a:gd name="T44" fmla="*/ 19865 w 187"/>
                  <a:gd name="T45" fmla="*/ 51435 h 80"/>
                  <a:gd name="T46" fmla="*/ 18099 w 187"/>
                  <a:gd name="T47" fmla="*/ 52864 h 80"/>
                  <a:gd name="T48" fmla="*/ 14568 w 187"/>
                  <a:gd name="T49" fmla="*/ 55721 h 80"/>
                  <a:gd name="T50" fmla="*/ 12360 w 187"/>
                  <a:gd name="T51" fmla="*/ 57150 h 80"/>
                  <a:gd name="T52" fmla="*/ 9712 w 187"/>
                  <a:gd name="T53" fmla="*/ 56436 h 80"/>
                  <a:gd name="T54" fmla="*/ 7946 w 187"/>
                  <a:gd name="T55" fmla="*/ 54293 h 80"/>
                  <a:gd name="T56" fmla="*/ 6180 w 187"/>
                  <a:gd name="T57" fmla="*/ 51435 h 80"/>
                  <a:gd name="T58" fmla="*/ 3973 w 187"/>
                  <a:gd name="T59" fmla="*/ 47863 h 80"/>
                  <a:gd name="T60" fmla="*/ 2649 w 187"/>
                  <a:gd name="T61" fmla="*/ 44291 h 80"/>
                  <a:gd name="T62" fmla="*/ 1324 w 187"/>
                  <a:gd name="T63" fmla="*/ 40719 h 80"/>
                  <a:gd name="T64" fmla="*/ 883 w 187"/>
                  <a:gd name="T65" fmla="*/ 37862 h 80"/>
                  <a:gd name="T66" fmla="*/ 0 w 187"/>
                  <a:gd name="T67" fmla="*/ 35719 h 80"/>
                  <a:gd name="T68" fmla="*/ 883 w 187"/>
                  <a:gd name="T69" fmla="*/ 31433 h 80"/>
                  <a:gd name="T70" fmla="*/ 1324 w 187"/>
                  <a:gd name="T71" fmla="*/ 28575 h 80"/>
                  <a:gd name="T72" fmla="*/ 2207 w 187"/>
                  <a:gd name="T73" fmla="*/ 25718 h 80"/>
                  <a:gd name="T74" fmla="*/ 3090 w 187"/>
                  <a:gd name="T75" fmla="*/ 22146 h 80"/>
                  <a:gd name="T76" fmla="*/ 5739 w 187"/>
                  <a:gd name="T77" fmla="*/ 17145 h 80"/>
                  <a:gd name="T78" fmla="*/ 6180 w 187"/>
                  <a:gd name="T79" fmla="*/ 13573 h 8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87" h="80">
                    <a:moveTo>
                      <a:pt x="14" y="19"/>
                    </a:moveTo>
                    <a:lnTo>
                      <a:pt x="41" y="0"/>
                    </a:lnTo>
                    <a:lnTo>
                      <a:pt x="44" y="3"/>
                    </a:lnTo>
                    <a:lnTo>
                      <a:pt x="50" y="6"/>
                    </a:lnTo>
                    <a:lnTo>
                      <a:pt x="58" y="9"/>
                    </a:lnTo>
                    <a:lnTo>
                      <a:pt x="67" y="12"/>
                    </a:lnTo>
                    <a:lnTo>
                      <a:pt x="89" y="19"/>
                    </a:lnTo>
                    <a:lnTo>
                      <a:pt x="114" y="26"/>
                    </a:lnTo>
                    <a:lnTo>
                      <a:pt x="139" y="33"/>
                    </a:lnTo>
                    <a:lnTo>
                      <a:pt x="161" y="38"/>
                    </a:lnTo>
                    <a:lnTo>
                      <a:pt x="177" y="42"/>
                    </a:lnTo>
                    <a:lnTo>
                      <a:pt x="187" y="43"/>
                    </a:lnTo>
                    <a:lnTo>
                      <a:pt x="187" y="56"/>
                    </a:lnTo>
                    <a:lnTo>
                      <a:pt x="187" y="68"/>
                    </a:lnTo>
                    <a:lnTo>
                      <a:pt x="170" y="70"/>
                    </a:lnTo>
                    <a:lnTo>
                      <a:pt x="151" y="71"/>
                    </a:lnTo>
                    <a:lnTo>
                      <a:pt x="133" y="71"/>
                    </a:lnTo>
                    <a:lnTo>
                      <a:pt x="116" y="70"/>
                    </a:lnTo>
                    <a:lnTo>
                      <a:pt x="85" y="69"/>
                    </a:lnTo>
                    <a:lnTo>
                      <a:pt x="61" y="68"/>
                    </a:lnTo>
                    <a:lnTo>
                      <a:pt x="55" y="69"/>
                    </a:lnTo>
                    <a:lnTo>
                      <a:pt x="51" y="70"/>
                    </a:lnTo>
                    <a:lnTo>
                      <a:pt x="45" y="72"/>
                    </a:lnTo>
                    <a:lnTo>
                      <a:pt x="41" y="74"/>
                    </a:lnTo>
                    <a:lnTo>
                      <a:pt x="33" y="78"/>
                    </a:lnTo>
                    <a:lnTo>
                      <a:pt x="28" y="80"/>
                    </a:lnTo>
                    <a:lnTo>
                      <a:pt x="22" y="79"/>
                    </a:lnTo>
                    <a:lnTo>
                      <a:pt x="18" y="76"/>
                    </a:lnTo>
                    <a:lnTo>
                      <a:pt x="14" y="72"/>
                    </a:lnTo>
                    <a:lnTo>
                      <a:pt x="9" y="67"/>
                    </a:lnTo>
                    <a:lnTo>
                      <a:pt x="6" y="62"/>
                    </a:lnTo>
                    <a:lnTo>
                      <a:pt x="3" y="57"/>
                    </a:lnTo>
                    <a:lnTo>
                      <a:pt x="2" y="53"/>
                    </a:lnTo>
                    <a:lnTo>
                      <a:pt x="0" y="50"/>
                    </a:lnTo>
                    <a:lnTo>
                      <a:pt x="2" y="44"/>
                    </a:lnTo>
                    <a:lnTo>
                      <a:pt x="3" y="40"/>
                    </a:lnTo>
                    <a:lnTo>
                      <a:pt x="5" y="36"/>
                    </a:lnTo>
                    <a:lnTo>
                      <a:pt x="7" y="31"/>
                    </a:lnTo>
                    <a:lnTo>
                      <a:pt x="13" y="24"/>
                    </a:lnTo>
                    <a:lnTo>
                      <a:pt x="14" y="19"/>
                    </a:lnTo>
                  </a:path>
                </a:pathLst>
              </a:custGeom>
              <a:grpFill/>
              <a:ln w="9525" cap="flat" cmpd="sng">
                <a:solidFill>
                  <a:srgbClr val="FFFFFF"/>
                </a:solidFill>
                <a:prstDash val="solid"/>
                <a:round/>
                <a:headEnd type="none" w="med" len="med"/>
                <a:tailEnd type="none" w="med" len="med"/>
              </a:ln>
              <a:effectLst/>
            </p:spPr>
            <p:txBody>
              <a:bodyPr/>
              <a:lstStyle/>
              <a:p>
                <a:endParaRPr lang="en-GB" sz="1637"/>
              </a:p>
            </p:txBody>
          </p:sp>
          <p:sp>
            <p:nvSpPr>
              <p:cNvPr id="170" name="Freeform 496"/>
              <p:cNvSpPr>
                <a:spLocks/>
              </p:cNvSpPr>
              <p:nvPr>
                <p:custDataLst>
                  <p:tags r:id="rId153"/>
                </p:custDataLst>
              </p:nvPr>
            </p:nvSpPr>
            <p:spPr bwMode="auto">
              <a:xfrm>
                <a:off x="6337034" y="1415473"/>
                <a:ext cx="86649" cy="66266"/>
              </a:xfrm>
              <a:custGeom>
                <a:avLst/>
                <a:gdLst>
                  <a:gd name="T0" fmla="*/ 21687 w 183"/>
                  <a:gd name="T1" fmla="*/ 0 h 73"/>
                  <a:gd name="T2" fmla="*/ 27326 w 183"/>
                  <a:gd name="T3" fmla="*/ 0 h 73"/>
                  <a:gd name="T4" fmla="*/ 32531 w 183"/>
                  <a:gd name="T5" fmla="*/ 805 h 73"/>
                  <a:gd name="T6" fmla="*/ 37302 w 183"/>
                  <a:gd name="T7" fmla="*/ 3219 h 73"/>
                  <a:gd name="T8" fmla="*/ 42073 w 183"/>
                  <a:gd name="T9" fmla="*/ 5632 h 73"/>
                  <a:gd name="T10" fmla="*/ 45977 w 183"/>
                  <a:gd name="T11" fmla="*/ 8046 h 73"/>
                  <a:gd name="T12" fmla="*/ 50314 w 183"/>
                  <a:gd name="T13" fmla="*/ 12069 h 73"/>
                  <a:gd name="T14" fmla="*/ 53784 w 183"/>
                  <a:gd name="T15" fmla="*/ 15288 h 73"/>
                  <a:gd name="T16" fmla="*/ 56820 w 183"/>
                  <a:gd name="T17" fmla="*/ 20116 h 73"/>
                  <a:gd name="T18" fmla="*/ 68965 w 183"/>
                  <a:gd name="T19" fmla="*/ 39427 h 73"/>
                  <a:gd name="T20" fmla="*/ 79375 w 183"/>
                  <a:gd name="T21" fmla="*/ 58738 h 73"/>
                  <a:gd name="T22" fmla="*/ 59423 w 183"/>
                  <a:gd name="T23" fmla="*/ 58738 h 73"/>
                  <a:gd name="T24" fmla="*/ 55519 w 183"/>
                  <a:gd name="T25" fmla="*/ 57933 h 73"/>
                  <a:gd name="T26" fmla="*/ 50748 w 183"/>
                  <a:gd name="T27" fmla="*/ 56324 h 73"/>
                  <a:gd name="T28" fmla="*/ 45109 w 183"/>
                  <a:gd name="T29" fmla="*/ 53106 h 73"/>
                  <a:gd name="T30" fmla="*/ 39037 w 183"/>
                  <a:gd name="T31" fmla="*/ 49887 h 73"/>
                  <a:gd name="T32" fmla="*/ 31663 w 183"/>
                  <a:gd name="T33" fmla="*/ 45059 h 73"/>
                  <a:gd name="T34" fmla="*/ 25157 w 183"/>
                  <a:gd name="T35" fmla="*/ 40232 h 73"/>
                  <a:gd name="T36" fmla="*/ 18217 w 183"/>
                  <a:gd name="T37" fmla="*/ 35404 h 73"/>
                  <a:gd name="T38" fmla="*/ 12145 w 183"/>
                  <a:gd name="T39" fmla="*/ 29771 h 73"/>
                  <a:gd name="T40" fmla="*/ 6940 w 183"/>
                  <a:gd name="T41" fmla="*/ 24139 h 73"/>
                  <a:gd name="T42" fmla="*/ 3036 w 183"/>
                  <a:gd name="T43" fmla="*/ 18506 h 73"/>
                  <a:gd name="T44" fmla="*/ 1735 w 183"/>
                  <a:gd name="T45" fmla="*/ 15288 h 73"/>
                  <a:gd name="T46" fmla="*/ 867 w 183"/>
                  <a:gd name="T47" fmla="*/ 12874 h 73"/>
                  <a:gd name="T48" fmla="*/ 434 w 183"/>
                  <a:gd name="T49" fmla="*/ 11265 h 73"/>
                  <a:gd name="T50" fmla="*/ 0 w 183"/>
                  <a:gd name="T51" fmla="*/ 8851 h 73"/>
                  <a:gd name="T52" fmla="*/ 434 w 183"/>
                  <a:gd name="T53" fmla="*/ 6437 h 73"/>
                  <a:gd name="T54" fmla="*/ 1301 w 183"/>
                  <a:gd name="T55" fmla="*/ 4828 h 73"/>
                  <a:gd name="T56" fmla="*/ 3036 w 183"/>
                  <a:gd name="T57" fmla="*/ 3219 h 73"/>
                  <a:gd name="T58" fmla="*/ 5639 w 183"/>
                  <a:gd name="T59" fmla="*/ 2414 h 73"/>
                  <a:gd name="T60" fmla="*/ 8241 w 183"/>
                  <a:gd name="T61" fmla="*/ 805 h 73"/>
                  <a:gd name="T62" fmla="*/ 12145 w 183"/>
                  <a:gd name="T63" fmla="*/ 0 h 73"/>
                  <a:gd name="T64" fmla="*/ 16482 w 183"/>
                  <a:gd name="T65" fmla="*/ 0 h 73"/>
                  <a:gd name="T66" fmla="*/ 21687 w 183"/>
                  <a:gd name="T67" fmla="*/ 0 h 7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83" h="73">
                    <a:moveTo>
                      <a:pt x="50" y="0"/>
                    </a:moveTo>
                    <a:lnTo>
                      <a:pt x="63" y="0"/>
                    </a:lnTo>
                    <a:lnTo>
                      <a:pt x="75" y="1"/>
                    </a:lnTo>
                    <a:lnTo>
                      <a:pt x="86" y="4"/>
                    </a:lnTo>
                    <a:lnTo>
                      <a:pt x="97" y="7"/>
                    </a:lnTo>
                    <a:lnTo>
                      <a:pt x="106" y="10"/>
                    </a:lnTo>
                    <a:lnTo>
                      <a:pt x="116" y="15"/>
                    </a:lnTo>
                    <a:lnTo>
                      <a:pt x="124" y="19"/>
                    </a:lnTo>
                    <a:lnTo>
                      <a:pt x="131" y="25"/>
                    </a:lnTo>
                    <a:lnTo>
                      <a:pt x="159" y="49"/>
                    </a:lnTo>
                    <a:lnTo>
                      <a:pt x="183" y="73"/>
                    </a:lnTo>
                    <a:lnTo>
                      <a:pt x="137" y="73"/>
                    </a:lnTo>
                    <a:lnTo>
                      <a:pt x="128" y="72"/>
                    </a:lnTo>
                    <a:lnTo>
                      <a:pt x="117" y="70"/>
                    </a:lnTo>
                    <a:lnTo>
                      <a:pt x="104" y="66"/>
                    </a:lnTo>
                    <a:lnTo>
                      <a:pt x="90" y="62"/>
                    </a:lnTo>
                    <a:lnTo>
                      <a:pt x="73" y="56"/>
                    </a:lnTo>
                    <a:lnTo>
                      <a:pt x="58" y="50"/>
                    </a:lnTo>
                    <a:lnTo>
                      <a:pt x="42" y="44"/>
                    </a:lnTo>
                    <a:lnTo>
                      <a:pt x="28" y="37"/>
                    </a:lnTo>
                    <a:lnTo>
                      <a:pt x="16" y="30"/>
                    </a:lnTo>
                    <a:lnTo>
                      <a:pt x="7" y="23"/>
                    </a:lnTo>
                    <a:lnTo>
                      <a:pt x="4" y="19"/>
                    </a:lnTo>
                    <a:lnTo>
                      <a:pt x="2" y="16"/>
                    </a:lnTo>
                    <a:lnTo>
                      <a:pt x="1" y="14"/>
                    </a:lnTo>
                    <a:lnTo>
                      <a:pt x="0" y="11"/>
                    </a:lnTo>
                    <a:lnTo>
                      <a:pt x="1" y="8"/>
                    </a:lnTo>
                    <a:lnTo>
                      <a:pt x="3" y="6"/>
                    </a:lnTo>
                    <a:lnTo>
                      <a:pt x="7" y="4"/>
                    </a:lnTo>
                    <a:lnTo>
                      <a:pt x="13" y="3"/>
                    </a:lnTo>
                    <a:lnTo>
                      <a:pt x="19" y="1"/>
                    </a:lnTo>
                    <a:lnTo>
                      <a:pt x="28" y="0"/>
                    </a:lnTo>
                    <a:lnTo>
                      <a:pt x="38" y="0"/>
                    </a:lnTo>
                    <a:lnTo>
                      <a:pt x="50" y="0"/>
                    </a:lnTo>
                  </a:path>
                </a:pathLst>
              </a:custGeom>
              <a:grpFill/>
              <a:ln w="9525" cap="flat" cmpd="sng">
                <a:solidFill>
                  <a:srgbClr val="FFFFFF"/>
                </a:solidFill>
                <a:prstDash val="solid"/>
                <a:round/>
                <a:headEnd type="none" w="med" len="med"/>
                <a:tailEnd type="none" w="med" len="med"/>
              </a:ln>
              <a:effectLst/>
            </p:spPr>
            <p:txBody>
              <a:bodyPr/>
              <a:lstStyle/>
              <a:p>
                <a:endParaRPr lang="en-GB" sz="1637"/>
              </a:p>
            </p:txBody>
          </p:sp>
          <p:sp>
            <p:nvSpPr>
              <p:cNvPr id="171" name="Freeform 497"/>
              <p:cNvSpPr>
                <a:spLocks/>
              </p:cNvSpPr>
              <p:nvPr>
                <p:custDataLst>
                  <p:tags r:id="rId154"/>
                </p:custDataLst>
              </p:nvPr>
            </p:nvSpPr>
            <p:spPr bwMode="auto">
              <a:xfrm>
                <a:off x="6409819" y="1435174"/>
                <a:ext cx="36393" cy="64475"/>
              </a:xfrm>
              <a:custGeom>
                <a:avLst/>
                <a:gdLst>
                  <a:gd name="T0" fmla="*/ 0 w 79"/>
                  <a:gd name="T1" fmla="*/ 8164 h 42"/>
                  <a:gd name="T2" fmla="*/ 9706 w 79"/>
                  <a:gd name="T3" fmla="*/ 2721 h 42"/>
                  <a:gd name="T4" fmla="*/ 17302 w 79"/>
                  <a:gd name="T5" fmla="*/ 1361 h 42"/>
                  <a:gd name="T6" fmla="*/ 25320 w 79"/>
                  <a:gd name="T7" fmla="*/ 0 h 42"/>
                  <a:gd name="T8" fmla="*/ 33338 w 79"/>
                  <a:gd name="T9" fmla="*/ 0 h 42"/>
                  <a:gd name="T10" fmla="*/ 33338 w 79"/>
                  <a:gd name="T11" fmla="*/ 12246 h 42"/>
                  <a:gd name="T12" fmla="*/ 33338 w 79"/>
                  <a:gd name="T13" fmla="*/ 24493 h 42"/>
                  <a:gd name="T14" fmla="*/ 33338 w 79"/>
                  <a:gd name="T15" fmla="*/ 29936 h 42"/>
                  <a:gd name="T16" fmla="*/ 31650 w 79"/>
                  <a:gd name="T17" fmla="*/ 36739 h 42"/>
                  <a:gd name="T18" fmla="*/ 30384 w 79"/>
                  <a:gd name="T19" fmla="*/ 42182 h 42"/>
                  <a:gd name="T20" fmla="*/ 28696 w 79"/>
                  <a:gd name="T21" fmla="*/ 47625 h 42"/>
                  <a:gd name="T22" fmla="*/ 26164 w 79"/>
                  <a:gd name="T23" fmla="*/ 51707 h 42"/>
                  <a:gd name="T24" fmla="*/ 24054 w 79"/>
                  <a:gd name="T25" fmla="*/ 54429 h 42"/>
                  <a:gd name="T26" fmla="*/ 21522 w 79"/>
                  <a:gd name="T27" fmla="*/ 57150 h 42"/>
                  <a:gd name="T28" fmla="*/ 19412 w 79"/>
                  <a:gd name="T29" fmla="*/ 57150 h 42"/>
                  <a:gd name="T30" fmla="*/ 16880 w 79"/>
                  <a:gd name="T31" fmla="*/ 57150 h 42"/>
                  <a:gd name="T32" fmla="*/ 14770 w 79"/>
                  <a:gd name="T33" fmla="*/ 55789 h 42"/>
                  <a:gd name="T34" fmla="*/ 12238 w 79"/>
                  <a:gd name="T35" fmla="*/ 53068 h 42"/>
                  <a:gd name="T36" fmla="*/ 10550 w 79"/>
                  <a:gd name="T37" fmla="*/ 50346 h 42"/>
                  <a:gd name="T38" fmla="*/ 6752 w 79"/>
                  <a:gd name="T39" fmla="*/ 43543 h 42"/>
                  <a:gd name="T40" fmla="*/ 4642 w 79"/>
                  <a:gd name="T41" fmla="*/ 35379 h 42"/>
                  <a:gd name="T42" fmla="*/ 2110 w 79"/>
                  <a:gd name="T43" fmla="*/ 27214 h 42"/>
                  <a:gd name="T44" fmla="*/ 844 w 79"/>
                  <a:gd name="T45" fmla="*/ 19050 h 42"/>
                  <a:gd name="T46" fmla="*/ 0 w 79"/>
                  <a:gd name="T47" fmla="*/ 12246 h 42"/>
                  <a:gd name="T48" fmla="*/ 0 w 79"/>
                  <a:gd name="T49" fmla="*/ 8164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42">
                    <a:moveTo>
                      <a:pt x="0" y="6"/>
                    </a:moveTo>
                    <a:lnTo>
                      <a:pt x="23" y="2"/>
                    </a:lnTo>
                    <a:lnTo>
                      <a:pt x="41" y="1"/>
                    </a:lnTo>
                    <a:lnTo>
                      <a:pt x="60" y="0"/>
                    </a:lnTo>
                    <a:lnTo>
                      <a:pt x="79" y="0"/>
                    </a:lnTo>
                    <a:lnTo>
                      <a:pt x="79" y="9"/>
                    </a:lnTo>
                    <a:lnTo>
                      <a:pt x="79" y="18"/>
                    </a:lnTo>
                    <a:lnTo>
                      <a:pt x="79" y="22"/>
                    </a:lnTo>
                    <a:lnTo>
                      <a:pt x="75" y="27"/>
                    </a:lnTo>
                    <a:lnTo>
                      <a:pt x="72" y="31"/>
                    </a:lnTo>
                    <a:lnTo>
                      <a:pt x="68" y="35"/>
                    </a:lnTo>
                    <a:lnTo>
                      <a:pt x="62" y="38"/>
                    </a:lnTo>
                    <a:lnTo>
                      <a:pt x="57" y="40"/>
                    </a:lnTo>
                    <a:lnTo>
                      <a:pt x="51" y="42"/>
                    </a:lnTo>
                    <a:lnTo>
                      <a:pt x="46" y="42"/>
                    </a:lnTo>
                    <a:lnTo>
                      <a:pt x="40" y="42"/>
                    </a:lnTo>
                    <a:lnTo>
                      <a:pt x="35" y="41"/>
                    </a:lnTo>
                    <a:lnTo>
                      <a:pt x="29" y="39"/>
                    </a:lnTo>
                    <a:lnTo>
                      <a:pt x="25" y="37"/>
                    </a:lnTo>
                    <a:lnTo>
                      <a:pt x="16" y="32"/>
                    </a:lnTo>
                    <a:lnTo>
                      <a:pt x="11" y="26"/>
                    </a:lnTo>
                    <a:lnTo>
                      <a:pt x="5" y="20"/>
                    </a:lnTo>
                    <a:lnTo>
                      <a:pt x="2" y="14"/>
                    </a:lnTo>
                    <a:lnTo>
                      <a:pt x="0" y="9"/>
                    </a:lnTo>
                    <a:lnTo>
                      <a:pt x="0" y="6"/>
                    </a:lnTo>
                  </a:path>
                </a:pathLst>
              </a:custGeom>
              <a:grpFill/>
              <a:ln w="9525" cap="flat" cmpd="sng">
                <a:solidFill>
                  <a:srgbClr val="FFFFFF"/>
                </a:solidFill>
                <a:prstDash val="solid"/>
                <a:round/>
                <a:headEnd type="none" w="med" len="med"/>
                <a:tailEnd type="none" w="med" len="med"/>
              </a:ln>
              <a:effectLst/>
            </p:spPr>
            <p:txBody>
              <a:bodyPr/>
              <a:lstStyle/>
              <a:p>
                <a:endParaRPr lang="en-GB" sz="1637"/>
              </a:p>
            </p:txBody>
          </p:sp>
          <p:sp>
            <p:nvSpPr>
              <p:cNvPr id="172" name="Freeform 498"/>
              <p:cNvSpPr>
                <a:spLocks/>
              </p:cNvSpPr>
              <p:nvPr>
                <p:custDataLst>
                  <p:tags r:id="rId155"/>
                </p:custDataLst>
              </p:nvPr>
            </p:nvSpPr>
            <p:spPr bwMode="auto">
              <a:xfrm>
                <a:off x="6442746" y="1447710"/>
                <a:ext cx="57188" cy="66266"/>
              </a:xfrm>
              <a:custGeom>
                <a:avLst/>
                <a:gdLst>
                  <a:gd name="T0" fmla="*/ 52387 w 113"/>
                  <a:gd name="T1" fmla="*/ 44054 h 52"/>
                  <a:gd name="T2" fmla="*/ 51923 w 113"/>
                  <a:gd name="T3" fmla="*/ 47442 h 52"/>
                  <a:gd name="T4" fmla="*/ 50533 w 113"/>
                  <a:gd name="T5" fmla="*/ 50831 h 52"/>
                  <a:gd name="T6" fmla="*/ 49142 w 113"/>
                  <a:gd name="T7" fmla="*/ 53090 h 52"/>
                  <a:gd name="T8" fmla="*/ 47751 w 113"/>
                  <a:gd name="T9" fmla="*/ 55349 h 52"/>
                  <a:gd name="T10" fmla="*/ 43579 w 113"/>
                  <a:gd name="T11" fmla="*/ 57608 h 52"/>
                  <a:gd name="T12" fmla="*/ 39406 w 113"/>
                  <a:gd name="T13" fmla="*/ 58738 h 52"/>
                  <a:gd name="T14" fmla="*/ 30598 w 113"/>
                  <a:gd name="T15" fmla="*/ 58738 h 52"/>
                  <a:gd name="T16" fmla="*/ 24571 w 113"/>
                  <a:gd name="T17" fmla="*/ 57608 h 52"/>
                  <a:gd name="T18" fmla="*/ 21789 w 113"/>
                  <a:gd name="T19" fmla="*/ 57608 h 52"/>
                  <a:gd name="T20" fmla="*/ 18080 w 113"/>
                  <a:gd name="T21" fmla="*/ 54220 h 52"/>
                  <a:gd name="T22" fmla="*/ 13908 w 113"/>
                  <a:gd name="T23" fmla="*/ 50831 h 52"/>
                  <a:gd name="T24" fmla="*/ 9736 w 113"/>
                  <a:gd name="T25" fmla="*/ 46313 h 52"/>
                  <a:gd name="T26" fmla="*/ 6027 w 113"/>
                  <a:gd name="T27" fmla="*/ 40665 h 52"/>
                  <a:gd name="T28" fmla="*/ 2782 w 113"/>
                  <a:gd name="T29" fmla="*/ 35017 h 52"/>
                  <a:gd name="T30" fmla="*/ 1854 w 113"/>
                  <a:gd name="T31" fmla="*/ 31628 h 52"/>
                  <a:gd name="T32" fmla="*/ 927 w 113"/>
                  <a:gd name="T33" fmla="*/ 28239 h 52"/>
                  <a:gd name="T34" fmla="*/ 464 w 113"/>
                  <a:gd name="T35" fmla="*/ 24851 h 52"/>
                  <a:gd name="T36" fmla="*/ 0 w 113"/>
                  <a:gd name="T37" fmla="*/ 22592 h 52"/>
                  <a:gd name="T38" fmla="*/ 464 w 113"/>
                  <a:gd name="T39" fmla="*/ 16944 h 52"/>
                  <a:gd name="T40" fmla="*/ 464 w 113"/>
                  <a:gd name="T41" fmla="*/ 12425 h 52"/>
                  <a:gd name="T42" fmla="*/ 1391 w 113"/>
                  <a:gd name="T43" fmla="*/ 9037 h 52"/>
                  <a:gd name="T44" fmla="*/ 2318 w 113"/>
                  <a:gd name="T45" fmla="*/ 5648 h 52"/>
                  <a:gd name="T46" fmla="*/ 3245 w 113"/>
                  <a:gd name="T47" fmla="*/ 3389 h 52"/>
                  <a:gd name="T48" fmla="*/ 4636 w 113"/>
                  <a:gd name="T49" fmla="*/ 2259 h 52"/>
                  <a:gd name="T50" fmla="*/ 6490 w 113"/>
                  <a:gd name="T51" fmla="*/ 1130 h 52"/>
                  <a:gd name="T52" fmla="*/ 7881 w 113"/>
                  <a:gd name="T53" fmla="*/ 0 h 52"/>
                  <a:gd name="T54" fmla="*/ 12054 w 113"/>
                  <a:gd name="T55" fmla="*/ 0 h 52"/>
                  <a:gd name="T56" fmla="*/ 16690 w 113"/>
                  <a:gd name="T57" fmla="*/ 2259 h 52"/>
                  <a:gd name="T58" fmla="*/ 21326 w 113"/>
                  <a:gd name="T59" fmla="*/ 5648 h 52"/>
                  <a:gd name="T60" fmla="*/ 26425 w 113"/>
                  <a:gd name="T61" fmla="*/ 10166 h 52"/>
                  <a:gd name="T62" fmla="*/ 35697 w 113"/>
                  <a:gd name="T63" fmla="*/ 20332 h 52"/>
                  <a:gd name="T64" fmla="*/ 44042 w 113"/>
                  <a:gd name="T65" fmla="*/ 32758 h 52"/>
                  <a:gd name="T66" fmla="*/ 50069 w 113"/>
                  <a:gd name="T67" fmla="*/ 40665 h 52"/>
                  <a:gd name="T68" fmla="*/ 52387 w 113"/>
                  <a:gd name="T69" fmla="*/ 44054 h 5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13" h="52">
                    <a:moveTo>
                      <a:pt x="113" y="39"/>
                    </a:moveTo>
                    <a:lnTo>
                      <a:pt x="112" y="42"/>
                    </a:lnTo>
                    <a:lnTo>
                      <a:pt x="109" y="45"/>
                    </a:lnTo>
                    <a:lnTo>
                      <a:pt x="106" y="47"/>
                    </a:lnTo>
                    <a:lnTo>
                      <a:pt x="103" y="49"/>
                    </a:lnTo>
                    <a:lnTo>
                      <a:pt x="94" y="51"/>
                    </a:lnTo>
                    <a:lnTo>
                      <a:pt x="85" y="52"/>
                    </a:lnTo>
                    <a:lnTo>
                      <a:pt x="66" y="52"/>
                    </a:lnTo>
                    <a:lnTo>
                      <a:pt x="53" y="51"/>
                    </a:lnTo>
                    <a:lnTo>
                      <a:pt x="47" y="51"/>
                    </a:lnTo>
                    <a:lnTo>
                      <a:pt x="39" y="48"/>
                    </a:lnTo>
                    <a:lnTo>
                      <a:pt x="30" y="45"/>
                    </a:lnTo>
                    <a:lnTo>
                      <a:pt x="21" y="41"/>
                    </a:lnTo>
                    <a:lnTo>
                      <a:pt x="13" y="36"/>
                    </a:lnTo>
                    <a:lnTo>
                      <a:pt x="6" y="31"/>
                    </a:lnTo>
                    <a:lnTo>
                      <a:pt x="4" y="28"/>
                    </a:lnTo>
                    <a:lnTo>
                      <a:pt x="2" y="25"/>
                    </a:lnTo>
                    <a:lnTo>
                      <a:pt x="1" y="22"/>
                    </a:lnTo>
                    <a:lnTo>
                      <a:pt x="0" y="20"/>
                    </a:lnTo>
                    <a:lnTo>
                      <a:pt x="1" y="15"/>
                    </a:lnTo>
                    <a:lnTo>
                      <a:pt x="1" y="11"/>
                    </a:lnTo>
                    <a:lnTo>
                      <a:pt x="3" y="8"/>
                    </a:lnTo>
                    <a:lnTo>
                      <a:pt x="5" y="5"/>
                    </a:lnTo>
                    <a:lnTo>
                      <a:pt x="7" y="3"/>
                    </a:lnTo>
                    <a:lnTo>
                      <a:pt x="10" y="2"/>
                    </a:lnTo>
                    <a:lnTo>
                      <a:pt x="14" y="1"/>
                    </a:lnTo>
                    <a:lnTo>
                      <a:pt x="17" y="0"/>
                    </a:lnTo>
                    <a:lnTo>
                      <a:pt x="26" y="0"/>
                    </a:lnTo>
                    <a:lnTo>
                      <a:pt x="36" y="2"/>
                    </a:lnTo>
                    <a:lnTo>
                      <a:pt x="46" y="5"/>
                    </a:lnTo>
                    <a:lnTo>
                      <a:pt x="57" y="9"/>
                    </a:lnTo>
                    <a:lnTo>
                      <a:pt x="77" y="18"/>
                    </a:lnTo>
                    <a:lnTo>
                      <a:pt x="95" y="29"/>
                    </a:lnTo>
                    <a:lnTo>
                      <a:pt x="108" y="36"/>
                    </a:lnTo>
                    <a:lnTo>
                      <a:pt x="113" y="39"/>
                    </a:lnTo>
                  </a:path>
                </a:pathLst>
              </a:custGeom>
              <a:grpFill/>
              <a:ln w="9525" cap="flat" cmpd="sng">
                <a:solidFill>
                  <a:srgbClr val="FFFFFF"/>
                </a:solidFill>
                <a:prstDash val="solid"/>
                <a:round/>
                <a:headEnd type="none" w="med" len="med"/>
                <a:tailEnd type="none" w="med" len="med"/>
              </a:ln>
              <a:effectLst/>
            </p:spPr>
            <p:txBody>
              <a:bodyPr/>
              <a:lstStyle/>
              <a:p>
                <a:endParaRPr lang="en-GB" sz="1637"/>
              </a:p>
            </p:txBody>
          </p:sp>
          <p:sp>
            <p:nvSpPr>
              <p:cNvPr id="173" name="Freeform 499"/>
              <p:cNvSpPr>
                <a:spLocks/>
              </p:cNvSpPr>
              <p:nvPr>
                <p:custDataLst>
                  <p:tags r:id="rId156"/>
                </p:custDataLst>
              </p:nvPr>
            </p:nvSpPr>
            <p:spPr bwMode="auto">
              <a:xfrm>
                <a:off x="6193197" y="1417264"/>
                <a:ext cx="67586" cy="66265"/>
              </a:xfrm>
              <a:custGeom>
                <a:avLst/>
                <a:gdLst>
                  <a:gd name="T0" fmla="*/ 0 w 139"/>
                  <a:gd name="T1" fmla="*/ 11747 h 40"/>
                  <a:gd name="T2" fmla="*/ 3563 w 139"/>
                  <a:gd name="T3" fmla="*/ 13216 h 40"/>
                  <a:gd name="T4" fmla="*/ 8463 w 139"/>
                  <a:gd name="T5" fmla="*/ 11747 h 40"/>
                  <a:gd name="T6" fmla="*/ 13362 w 139"/>
                  <a:gd name="T7" fmla="*/ 10279 h 40"/>
                  <a:gd name="T8" fmla="*/ 18707 w 139"/>
                  <a:gd name="T9" fmla="*/ 7342 h 40"/>
                  <a:gd name="T10" fmla="*/ 23607 w 139"/>
                  <a:gd name="T11" fmla="*/ 2937 h 40"/>
                  <a:gd name="T12" fmla="*/ 28506 w 139"/>
                  <a:gd name="T13" fmla="*/ 1468 h 40"/>
                  <a:gd name="T14" fmla="*/ 32515 w 139"/>
                  <a:gd name="T15" fmla="*/ 0 h 40"/>
                  <a:gd name="T16" fmla="*/ 35633 w 139"/>
                  <a:gd name="T17" fmla="*/ 2937 h 40"/>
                  <a:gd name="T18" fmla="*/ 61912 w 139"/>
                  <a:gd name="T19" fmla="*/ 57269 h 40"/>
                  <a:gd name="T20" fmla="*/ 59240 w 139"/>
                  <a:gd name="T21" fmla="*/ 58737 h 40"/>
                  <a:gd name="T22" fmla="*/ 55676 w 139"/>
                  <a:gd name="T23" fmla="*/ 57269 h 40"/>
                  <a:gd name="T24" fmla="*/ 51668 w 139"/>
                  <a:gd name="T25" fmla="*/ 55800 h 40"/>
                  <a:gd name="T26" fmla="*/ 47213 w 139"/>
                  <a:gd name="T27" fmla="*/ 52863 h 40"/>
                  <a:gd name="T28" fmla="*/ 38305 w 139"/>
                  <a:gd name="T29" fmla="*/ 44053 h 40"/>
                  <a:gd name="T30" fmla="*/ 28506 w 139"/>
                  <a:gd name="T31" fmla="*/ 35242 h 40"/>
                  <a:gd name="T32" fmla="*/ 19598 w 139"/>
                  <a:gd name="T33" fmla="*/ 23495 h 40"/>
                  <a:gd name="T34" fmla="*/ 11581 w 139"/>
                  <a:gd name="T35" fmla="*/ 16153 h 40"/>
                  <a:gd name="T36" fmla="*/ 7572 w 139"/>
                  <a:gd name="T37" fmla="*/ 13216 h 40"/>
                  <a:gd name="T38" fmla="*/ 4900 w 139"/>
                  <a:gd name="T39" fmla="*/ 10279 h 40"/>
                  <a:gd name="T40" fmla="*/ 1782 w 139"/>
                  <a:gd name="T41" fmla="*/ 10279 h 40"/>
                  <a:gd name="T42" fmla="*/ 0 w 139"/>
                  <a:gd name="T43" fmla="*/ 11747 h 4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39" h="40">
                    <a:moveTo>
                      <a:pt x="0" y="8"/>
                    </a:moveTo>
                    <a:lnTo>
                      <a:pt x="8" y="9"/>
                    </a:lnTo>
                    <a:lnTo>
                      <a:pt x="19" y="8"/>
                    </a:lnTo>
                    <a:lnTo>
                      <a:pt x="30" y="7"/>
                    </a:lnTo>
                    <a:lnTo>
                      <a:pt x="42" y="5"/>
                    </a:lnTo>
                    <a:lnTo>
                      <a:pt x="53" y="2"/>
                    </a:lnTo>
                    <a:lnTo>
                      <a:pt x="64" y="1"/>
                    </a:lnTo>
                    <a:lnTo>
                      <a:pt x="73" y="0"/>
                    </a:lnTo>
                    <a:lnTo>
                      <a:pt x="80" y="2"/>
                    </a:lnTo>
                    <a:lnTo>
                      <a:pt x="139" y="39"/>
                    </a:lnTo>
                    <a:lnTo>
                      <a:pt x="133" y="40"/>
                    </a:lnTo>
                    <a:lnTo>
                      <a:pt x="125" y="39"/>
                    </a:lnTo>
                    <a:lnTo>
                      <a:pt x="116" y="38"/>
                    </a:lnTo>
                    <a:lnTo>
                      <a:pt x="106" y="36"/>
                    </a:lnTo>
                    <a:lnTo>
                      <a:pt x="86" y="30"/>
                    </a:lnTo>
                    <a:lnTo>
                      <a:pt x="64" y="24"/>
                    </a:lnTo>
                    <a:lnTo>
                      <a:pt x="44" y="16"/>
                    </a:lnTo>
                    <a:lnTo>
                      <a:pt x="26" y="11"/>
                    </a:lnTo>
                    <a:lnTo>
                      <a:pt x="17" y="9"/>
                    </a:lnTo>
                    <a:lnTo>
                      <a:pt x="11" y="7"/>
                    </a:lnTo>
                    <a:lnTo>
                      <a:pt x="4" y="7"/>
                    </a:lnTo>
                    <a:lnTo>
                      <a:pt x="0" y="8"/>
                    </a:lnTo>
                  </a:path>
                </a:pathLst>
              </a:custGeom>
              <a:grpFill/>
              <a:ln w="9525" cap="flat" cmpd="sng">
                <a:solidFill>
                  <a:srgbClr val="FFFFFF"/>
                </a:solidFill>
                <a:prstDash val="solid"/>
                <a:round/>
                <a:headEnd type="none" w="med" len="med"/>
                <a:tailEnd type="none" w="med" len="med"/>
              </a:ln>
              <a:effectLst/>
            </p:spPr>
            <p:txBody>
              <a:bodyPr/>
              <a:lstStyle/>
              <a:p>
                <a:endParaRPr lang="en-GB" sz="1637"/>
              </a:p>
            </p:txBody>
          </p:sp>
          <p:sp>
            <p:nvSpPr>
              <p:cNvPr id="174" name="Freeform 500"/>
              <p:cNvSpPr>
                <a:spLocks/>
              </p:cNvSpPr>
              <p:nvPr>
                <p:custDataLst>
                  <p:tags r:id="rId157"/>
                </p:custDataLst>
              </p:nvPr>
            </p:nvSpPr>
            <p:spPr bwMode="auto">
              <a:xfrm>
                <a:off x="6520730" y="1350998"/>
                <a:ext cx="152502" cy="64475"/>
              </a:xfrm>
              <a:custGeom>
                <a:avLst/>
                <a:gdLst>
                  <a:gd name="T0" fmla="*/ 4298 w 325"/>
                  <a:gd name="T1" fmla="*/ 5635 h 71"/>
                  <a:gd name="T2" fmla="*/ 13325 w 325"/>
                  <a:gd name="T3" fmla="*/ 805 h 71"/>
                  <a:gd name="T4" fmla="*/ 22782 w 325"/>
                  <a:gd name="T5" fmla="*/ 0 h 71"/>
                  <a:gd name="T6" fmla="*/ 31379 w 325"/>
                  <a:gd name="T7" fmla="*/ 3220 h 71"/>
                  <a:gd name="T8" fmla="*/ 39546 w 325"/>
                  <a:gd name="T9" fmla="*/ 8049 h 71"/>
                  <a:gd name="T10" fmla="*/ 47283 w 325"/>
                  <a:gd name="T11" fmla="*/ 14489 h 71"/>
                  <a:gd name="T12" fmla="*/ 52441 w 325"/>
                  <a:gd name="T13" fmla="*/ 23343 h 71"/>
                  <a:gd name="T14" fmla="*/ 55880 w 325"/>
                  <a:gd name="T15" fmla="*/ 30587 h 71"/>
                  <a:gd name="T16" fmla="*/ 58459 w 325"/>
                  <a:gd name="T17" fmla="*/ 27368 h 71"/>
                  <a:gd name="T18" fmla="*/ 59749 w 325"/>
                  <a:gd name="T19" fmla="*/ 12074 h 71"/>
                  <a:gd name="T20" fmla="*/ 69205 w 325"/>
                  <a:gd name="T21" fmla="*/ 5635 h 71"/>
                  <a:gd name="T22" fmla="*/ 92847 w 325"/>
                  <a:gd name="T23" fmla="*/ 10464 h 71"/>
                  <a:gd name="T24" fmla="*/ 110900 w 325"/>
                  <a:gd name="T25" fmla="*/ 18513 h 71"/>
                  <a:gd name="T26" fmla="*/ 121646 w 325"/>
                  <a:gd name="T27" fmla="*/ 25758 h 71"/>
                  <a:gd name="T28" fmla="*/ 131103 w 325"/>
                  <a:gd name="T29" fmla="*/ 34612 h 71"/>
                  <a:gd name="T30" fmla="*/ 137551 w 325"/>
                  <a:gd name="T31" fmla="*/ 44271 h 71"/>
                  <a:gd name="T32" fmla="*/ 135831 w 325"/>
                  <a:gd name="T33" fmla="*/ 51515 h 71"/>
                  <a:gd name="T34" fmla="*/ 126375 w 325"/>
                  <a:gd name="T35" fmla="*/ 54735 h 71"/>
                  <a:gd name="T36" fmla="*/ 111330 w 325"/>
                  <a:gd name="T37" fmla="*/ 57150 h 71"/>
                  <a:gd name="T38" fmla="*/ 90268 w 325"/>
                  <a:gd name="T39" fmla="*/ 56345 h 71"/>
                  <a:gd name="T40" fmla="*/ 71784 w 325"/>
                  <a:gd name="T41" fmla="*/ 54735 h 71"/>
                  <a:gd name="T42" fmla="*/ 57170 w 325"/>
                  <a:gd name="T43" fmla="*/ 55540 h 71"/>
                  <a:gd name="T44" fmla="*/ 38686 w 325"/>
                  <a:gd name="T45" fmla="*/ 57150 h 71"/>
                  <a:gd name="T46" fmla="*/ 30949 w 325"/>
                  <a:gd name="T47" fmla="*/ 54735 h 71"/>
                  <a:gd name="T48" fmla="*/ 28800 w 325"/>
                  <a:gd name="T49" fmla="*/ 51515 h 71"/>
                  <a:gd name="T50" fmla="*/ 24931 w 325"/>
                  <a:gd name="T51" fmla="*/ 49101 h 71"/>
                  <a:gd name="T52" fmla="*/ 19773 w 325"/>
                  <a:gd name="T53" fmla="*/ 47491 h 71"/>
                  <a:gd name="T54" fmla="*/ 15045 w 325"/>
                  <a:gd name="T55" fmla="*/ 42661 h 71"/>
                  <a:gd name="T56" fmla="*/ 10746 w 325"/>
                  <a:gd name="T57" fmla="*/ 36222 h 71"/>
                  <a:gd name="T58" fmla="*/ 6878 w 325"/>
                  <a:gd name="T59" fmla="*/ 31392 h 71"/>
                  <a:gd name="T60" fmla="*/ 2579 w 325"/>
                  <a:gd name="T61" fmla="*/ 29782 h 71"/>
                  <a:gd name="T62" fmla="*/ 0 w 325"/>
                  <a:gd name="T63" fmla="*/ 17708 h 7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325" h="71">
                    <a:moveTo>
                      <a:pt x="0" y="12"/>
                    </a:moveTo>
                    <a:lnTo>
                      <a:pt x="10" y="7"/>
                    </a:lnTo>
                    <a:lnTo>
                      <a:pt x="20" y="3"/>
                    </a:lnTo>
                    <a:lnTo>
                      <a:pt x="31" y="1"/>
                    </a:lnTo>
                    <a:lnTo>
                      <a:pt x="42" y="0"/>
                    </a:lnTo>
                    <a:lnTo>
                      <a:pt x="53" y="0"/>
                    </a:lnTo>
                    <a:lnTo>
                      <a:pt x="62" y="2"/>
                    </a:lnTo>
                    <a:lnTo>
                      <a:pt x="73" y="4"/>
                    </a:lnTo>
                    <a:lnTo>
                      <a:pt x="83" y="6"/>
                    </a:lnTo>
                    <a:lnTo>
                      <a:pt x="92" y="10"/>
                    </a:lnTo>
                    <a:lnTo>
                      <a:pt x="101" y="14"/>
                    </a:lnTo>
                    <a:lnTo>
                      <a:pt x="110" y="18"/>
                    </a:lnTo>
                    <a:lnTo>
                      <a:pt x="116" y="23"/>
                    </a:lnTo>
                    <a:lnTo>
                      <a:pt x="122" y="29"/>
                    </a:lnTo>
                    <a:lnTo>
                      <a:pt x="127" y="33"/>
                    </a:lnTo>
                    <a:lnTo>
                      <a:pt x="130" y="38"/>
                    </a:lnTo>
                    <a:lnTo>
                      <a:pt x="133" y="43"/>
                    </a:lnTo>
                    <a:lnTo>
                      <a:pt x="136" y="34"/>
                    </a:lnTo>
                    <a:lnTo>
                      <a:pt x="138" y="25"/>
                    </a:lnTo>
                    <a:lnTo>
                      <a:pt x="139" y="15"/>
                    </a:lnTo>
                    <a:lnTo>
                      <a:pt x="139" y="6"/>
                    </a:lnTo>
                    <a:lnTo>
                      <a:pt x="161" y="7"/>
                    </a:lnTo>
                    <a:lnTo>
                      <a:pt x="188" y="9"/>
                    </a:lnTo>
                    <a:lnTo>
                      <a:pt x="216" y="13"/>
                    </a:lnTo>
                    <a:lnTo>
                      <a:pt x="245" y="19"/>
                    </a:lnTo>
                    <a:lnTo>
                      <a:pt x="258" y="23"/>
                    </a:lnTo>
                    <a:lnTo>
                      <a:pt x="271" y="28"/>
                    </a:lnTo>
                    <a:lnTo>
                      <a:pt x="283" y="32"/>
                    </a:lnTo>
                    <a:lnTo>
                      <a:pt x="295" y="37"/>
                    </a:lnTo>
                    <a:lnTo>
                      <a:pt x="305" y="43"/>
                    </a:lnTo>
                    <a:lnTo>
                      <a:pt x="314" y="48"/>
                    </a:lnTo>
                    <a:lnTo>
                      <a:pt x="320" y="55"/>
                    </a:lnTo>
                    <a:lnTo>
                      <a:pt x="325" y="61"/>
                    </a:lnTo>
                    <a:lnTo>
                      <a:pt x="316" y="64"/>
                    </a:lnTo>
                    <a:lnTo>
                      <a:pt x="305" y="67"/>
                    </a:lnTo>
                    <a:lnTo>
                      <a:pt x="294" y="68"/>
                    </a:lnTo>
                    <a:lnTo>
                      <a:pt x="283" y="70"/>
                    </a:lnTo>
                    <a:lnTo>
                      <a:pt x="259" y="71"/>
                    </a:lnTo>
                    <a:lnTo>
                      <a:pt x="234" y="71"/>
                    </a:lnTo>
                    <a:lnTo>
                      <a:pt x="210" y="70"/>
                    </a:lnTo>
                    <a:lnTo>
                      <a:pt x="186" y="69"/>
                    </a:lnTo>
                    <a:lnTo>
                      <a:pt x="167" y="68"/>
                    </a:lnTo>
                    <a:lnTo>
                      <a:pt x="152" y="67"/>
                    </a:lnTo>
                    <a:lnTo>
                      <a:pt x="133" y="69"/>
                    </a:lnTo>
                    <a:lnTo>
                      <a:pt x="104" y="71"/>
                    </a:lnTo>
                    <a:lnTo>
                      <a:pt x="90" y="71"/>
                    </a:lnTo>
                    <a:lnTo>
                      <a:pt x="78" y="70"/>
                    </a:lnTo>
                    <a:lnTo>
                      <a:pt x="72" y="68"/>
                    </a:lnTo>
                    <a:lnTo>
                      <a:pt x="69" y="67"/>
                    </a:lnTo>
                    <a:lnTo>
                      <a:pt x="67" y="64"/>
                    </a:lnTo>
                    <a:lnTo>
                      <a:pt x="66" y="61"/>
                    </a:lnTo>
                    <a:lnTo>
                      <a:pt x="58" y="61"/>
                    </a:lnTo>
                    <a:lnTo>
                      <a:pt x="51" y="60"/>
                    </a:lnTo>
                    <a:lnTo>
                      <a:pt x="46" y="59"/>
                    </a:lnTo>
                    <a:lnTo>
                      <a:pt x="42" y="57"/>
                    </a:lnTo>
                    <a:lnTo>
                      <a:pt x="35" y="53"/>
                    </a:lnTo>
                    <a:lnTo>
                      <a:pt x="31" y="49"/>
                    </a:lnTo>
                    <a:lnTo>
                      <a:pt x="25" y="45"/>
                    </a:lnTo>
                    <a:lnTo>
                      <a:pt x="20" y="41"/>
                    </a:lnTo>
                    <a:lnTo>
                      <a:pt x="16" y="39"/>
                    </a:lnTo>
                    <a:lnTo>
                      <a:pt x="12" y="38"/>
                    </a:lnTo>
                    <a:lnTo>
                      <a:pt x="6" y="37"/>
                    </a:lnTo>
                    <a:lnTo>
                      <a:pt x="0" y="37"/>
                    </a:lnTo>
                    <a:lnTo>
                      <a:pt x="0" y="22"/>
                    </a:lnTo>
                    <a:lnTo>
                      <a:pt x="0" y="12"/>
                    </a:lnTo>
                  </a:path>
                </a:pathLst>
              </a:custGeom>
              <a:grpFill/>
              <a:ln w="9525" cap="flat" cmpd="sng">
                <a:solidFill>
                  <a:srgbClr val="FFFFFF"/>
                </a:solidFill>
                <a:prstDash val="solid"/>
                <a:round/>
                <a:headEnd type="none" w="med" len="med"/>
                <a:tailEnd type="none" w="med" len="med"/>
              </a:ln>
              <a:effectLst/>
            </p:spPr>
            <p:txBody>
              <a:bodyPr/>
              <a:lstStyle/>
              <a:p>
                <a:endParaRPr lang="en-GB" sz="1637"/>
              </a:p>
            </p:txBody>
          </p:sp>
          <p:sp>
            <p:nvSpPr>
              <p:cNvPr id="175" name="Freeform 501"/>
              <p:cNvSpPr>
                <a:spLocks/>
              </p:cNvSpPr>
              <p:nvPr>
                <p:custDataLst>
                  <p:tags r:id="rId158"/>
                </p:custDataLst>
              </p:nvPr>
            </p:nvSpPr>
            <p:spPr bwMode="auto">
              <a:xfrm>
                <a:off x="6695761" y="1359953"/>
                <a:ext cx="103979" cy="64475"/>
              </a:xfrm>
              <a:custGeom>
                <a:avLst/>
                <a:gdLst>
                  <a:gd name="T0" fmla="*/ 37667 w 220"/>
                  <a:gd name="T1" fmla="*/ 19844 h 72"/>
                  <a:gd name="T2" fmla="*/ 39832 w 220"/>
                  <a:gd name="T3" fmla="*/ 20638 h 72"/>
                  <a:gd name="T4" fmla="*/ 42430 w 220"/>
                  <a:gd name="T5" fmla="*/ 21431 h 72"/>
                  <a:gd name="T6" fmla="*/ 43728 w 220"/>
                  <a:gd name="T7" fmla="*/ 22225 h 72"/>
                  <a:gd name="T8" fmla="*/ 45027 w 220"/>
                  <a:gd name="T9" fmla="*/ 21431 h 72"/>
                  <a:gd name="T10" fmla="*/ 47192 w 220"/>
                  <a:gd name="T11" fmla="*/ 21431 h 72"/>
                  <a:gd name="T12" fmla="*/ 48924 w 220"/>
                  <a:gd name="T13" fmla="*/ 19844 h 72"/>
                  <a:gd name="T14" fmla="*/ 49357 w 220"/>
                  <a:gd name="T15" fmla="*/ 20638 h 72"/>
                  <a:gd name="T16" fmla="*/ 49790 w 220"/>
                  <a:gd name="T17" fmla="*/ 20638 h 72"/>
                  <a:gd name="T18" fmla="*/ 50223 w 220"/>
                  <a:gd name="T19" fmla="*/ 19844 h 72"/>
                  <a:gd name="T20" fmla="*/ 50656 w 220"/>
                  <a:gd name="T21" fmla="*/ 19844 h 72"/>
                  <a:gd name="T22" fmla="*/ 51522 w 220"/>
                  <a:gd name="T23" fmla="*/ 17463 h 72"/>
                  <a:gd name="T24" fmla="*/ 51955 w 220"/>
                  <a:gd name="T25" fmla="*/ 13494 h 72"/>
                  <a:gd name="T26" fmla="*/ 51955 w 220"/>
                  <a:gd name="T27" fmla="*/ 5556 h 72"/>
                  <a:gd name="T28" fmla="*/ 51955 w 220"/>
                  <a:gd name="T29" fmla="*/ 0 h 72"/>
                  <a:gd name="T30" fmla="*/ 54119 w 220"/>
                  <a:gd name="T31" fmla="*/ 3969 h 72"/>
                  <a:gd name="T32" fmla="*/ 56717 w 220"/>
                  <a:gd name="T33" fmla="*/ 7938 h 72"/>
                  <a:gd name="T34" fmla="*/ 59315 w 220"/>
                  <a:gd name="T35" fmla="*/ 11906 h 72"/>
                  <a:gd name="T36" fmla="*/ 61913 w 220"/>
                  <a:gd name="T37" fmla="*/ 15081 h 72"/>
                  <a:gd name="T38" fmla="*/ 67541 w 220"/>
                  <a:gd name="T39" fmla="*/ 19844 h 72"/>
                  <a:gd name="T40" fmla="*/ 73602 w 220"/>
                  <a:gd name="T41" fmla="*/ 23813 h 72"/>
                  <a:gd name="T42" fmla="*/ 79231 w 220"/>
                  <a:gd name="T43" fmla="*/ 27781 h 72"/>
                  <a:gd name="T44" fmla="*/ 84859 w 220"/>
                  <a:gd name="T45" fmla="*/ 32544 h 72"/>
                  <a:gd name="T46" fmla="*/ 87890 w 220"/>
                  <a:gd name="T47" fmla="*/ 34925 h 72"/>
                  <a:gd name="T48" fmla="*/ 90488 w 220"/>
                  <a:gd name="T49" fmla="*/ 37306 h 72"/>
                  <a:gd name="T50" fmla="*/ 92652 w 220"/>
                  <a:gd name="T51" fmla="*/ 40481 h 72"/>
                  <a:gd name="T52" fmla="*/ 95250 w 220"/>
                  <a:gd name="T53" fmla="*/ 43656 h 72"/>
                  <a:gd name="T54" fmla="*/ 89189 w 220"/>
                  <a:gd name="T55" fmla="*/ 44450 h 72"/>
                  <a:gd name="T56" fmla="*/ 83993 w 220"/>
                  <a:gd name="T57" fmla="*/ 45244 h 72"/>
                  <a:gd name="T58" fmla="*/ 78798 w 220"/>
                  <a:gd name="T59" fmla="*/ 46038 h 72"/>
                  <a:gd name="T60" fmla="*/ 74035 w 220"/>
                  <a:gd name="T61" fmla="*/ 47625 h 72"/>
                  <a:gd name="T62" fmla="*/ 65376 w 220"/>
                  <a:gd name="T63" fmla="*/ 51594 h 72"/>
                  <a:gd name="T64" fmla="*/ 58016 w 220"/>
                  <a:gd name="T65" fmla="*/ 55563 h 72"/>
                  <a:gd name="T66" fmla="*/ 54552 w 220"/>
                  <a:gd name="T67" fmla="*/ 56356 h 72"/>
                  <a:gd name="T68" fmla="*/ 50656 w 220"/>
                  <a:gd name="T69" fmla="*/ 57150 h 72"/>
                  <a:gd name="T70" fmla="*/ 47625 w 220"/>
                  <a:gd name="T71" fmla="*/ 57150 h 72"/>
                  <a:gd name="T72" fmla="*/ 44594 w 220"/>
                  <a:gd name="T73" fmla="*/ 57150 h 72"/>
                  <a:gd name="T74" fmla="*/ 41131 w 220"/>
                  <a:gd name="T75" fmla="*/ 55563 h 72"/>
                  <a:gd name="T76" fmla="*/ 38100 w 220"/>
                  <a:gd name="T77" fmla="*/ 52388 h 72"/>
                  <a:gd name="T78" fmla="*/ 35069 w 220"/>
                  <a:gd name="T79" fmla="*/ 48419 h 72"/>
                  <a:gd name="T80" fmla="*/ 32039 w 220"/>
                  <a:gd name="T81" fmla="*/ 43656 h 72"/>
                  <a:gd name="T82" fmla="*/ 25544 w 220"/>
                  <a:gd name="T83" fmla="*/ 42069 h 72"/>
                  <a:gd name="T84" fmla="*/ 19483 w 220"/>
                  <a:gd name="T85" fmla="*/ 39688 h 72"/>
                  <a:gd name="T86" fmla="*/ 14288 w 220"/>
                  <a:gd name="T87" fmla="*/ 37306 h 72"/>
                  <a:gd name="T88" fmla="*/ 9525 w 220"/>
                  <a:gd name="T89" fmla="*/ 34131 h 72"/>
                  <a:gd name="T90" fmla="*/ 7793 w 220"/>
                  <a:gd name="T91" fmla="*/ 32544 h 72"/>
                  <a:gd name="T92" fmla="*/ 5628 w 220"/>
                  <a:gd name="T93" fmla="*/ 30163 h 72"/>
                  <a:gd name="T94" fmla="*/ 3897 w 220"/>
                  <a:gd name="T95" fmla="*/ 27781 h 72"/>
                  <a:gd name="T96" fmla="*/ 3031 w 220"/>
                  <a:gd name="T97" fmla="*/ 24606 h 72"/>
                  <a:gd name="T98" fmla="*/ 1299 w 220"/>
                  <a:gd name="T99" fmla="*/ 21431 h 72"/>
                  <a:gd name="T100" fmla="*/ 866 w 220"/>
                  <a:gd name="T101" fmla="*/ 18256 h 72"/>
                  <a:gd name="T102" fmla="*/ 433 w 220"/>
                  <a:gd name="T103" fmla="*/ 14288 h 72"/>
                  <a:gd name="T104" fmla="*/ 0 w 220"/>
                  <a:gd name="T105" fmla="*/ 10319 h 72"/>
                  <a:gd name="T106" fmla="*/ 9958 w 220"/>
                  <a:gd name="T107" fmla="*/ 13494 h 72"/>
                  <a:gd name="T108" fmla="*/ 19050 w 220"/>
                  <a:gd name="T109" fmla="*/ 16669 h 72"/>
                  <a:gd name="T110" fmla="*/ 27709 w 220"/>
                  <a:gd name="T111" fmla="*/ 19050 h 72"/>
                  <a:gd name="T112" fmla="*/ 37667 w 220"/>
                  <a:gd name="T113" fmla="*/ 19844 h 7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20" h="72">
                    <a:moveTo>
                      <a:pt x="87" y="25"/>
                    </a:moveTo>
                    <a:lnTo>
                      <a:pt x="92" y="26"/>
                    </a:lnTo>
                    <a:lnTo>
                      <a:pt x="98" y="27"/>
                    </a:lnTo>
                    <a:lnTo>
                      <a:pt x="101" y="28"/>
                    </a:lnTo>
                    <a:lnTo>
                      <a:pt x="104" y="27"/>
                    </a:lnTo>
                    <a:lnTo>
                      <a:pt x="109" y="27"/>
                    </a:lnTo>
                    <a:lnTo>
                      <a:pt x="113" y="25"/>
                    </a:lnTo>
                    <a:lnTo>
                      <a:pt x="114" y="26"/>
                    </a:lnTo>
                    <a:lnTo>
                      <a:pt x="115" y="26"/>
                    </a:lnTo>
                    <a:lnTo>
                      <a:pt x="116" y="25"/>
                    </a:lnTo>
                    <a:lnTo>
                      <a:pt x="117" y="25"/>
                    </a:lnTo>
                    <a:lnTo>
                      <a:pt x="119" y="22"/>
                    </a:lnTo>
                    <a:lnTo>
                      <a:pt x="120" y="17"/>
                    </a:lnTo>
                    <a:lnTo>
                      <a:pt x="120" y="7"/>
                    </a:lnTo>
                    <a:lnTo>
                      <a:pt x="120" y="0"/>
                    </a:lnTo>
                    <a:lnTo>
                      <a:pt x="125" y="5"/>
                    </a:lnTo>
                    <a:lnTo>
                      <a:pt x="131" y="10"/>
                    </a:lnTo>
                    <a:lnTo>
                      <a:pt x="137" y="15"/>
                    </a:lnTo>
                    <a:lnTo>
                      <a:pt x="143" y="19"/>
                    </a:lnTo>
                    <a:lnTo>
                      <a:pt x="156" y="25"/>
                    </a:lnTo>
                    <a:lnTo>
                      <a:pt x="170" y="30"/>
                    </a:lnTo>
                    <a:lnTo>
                      <a:pt x="183" y="35"/>
                    </a:lnTo>
                    <a:lnTo>
                      <a:pt x="196" y="41"/>
                    </a:lnTo>
                    <a:lnTo>
                      <a:pt x="203" y="44"/>
                    </a:lnTo>
                    <a:lnTo>
                      <a:pt x="209" y="47"/>
                    </a:lnTo>
                    <a:lnTo>
                      <a:pt x="214" y="51"/>
                    </a:lnTo>
                    <a:lnTo>
                      <a:pt x="220" y="55"/>
                    </a:lnTo>
                    <a:lnTo>
                      <a:pt x="206" y="56"/>
                    </a:lnTo>
                    <a:lnTo>
                      <a:pt x="194" y="57"/>
                    </a:lnTo>
                    <a:lnTo>
                      <a:pt x="182" y="58"/>
                    </a:lnTo>
                    <a:lnTo>
                      <a:pt x="171" y="60"/>
                    </a:lnTo>
                    <a:lnTo>
                      <a:pt x="151" y="65"/>
                    </a:lnTo>
                    <a:lnTo>
                      <a:pt x="134" y="70"/>
                    </a:lnTo>
                    <a:lnTo>
                      <a:pt x="126" y="71"/>
                    </a:lnTo>
                    <a:lnTo>
                      <a:pt x="117" y="72"/>
                    </a:lnTo>
                    <a:lnTo>
                      <a:pt x="110" y="72"/>
                    </a:lnTo>
                    <a:lnTo>
                      <a:pt x="103" y="72"/>
                    </a:lnTo>
                    <a:lnTo>
                      <a:pt x="95" y="70"/>
                    </a:lnTo>
                    <a:lnTo>
                      <a:pt x="88" y="66"/>
                    </a:lnTo>
                    <a:lnTo>
                      <a:pt x="81" y="61"/>
                    </a:lnTo>
                    <a:lnTo>
                      <a:pt x="74" y="55"/>
                    </a:lnTo>
                    <a:lnTo>
                      <a:pt x="59" y="53"/>
                    </a:lnTo>
                    <a:lnTo>
                      <a:pt x="45" y="50"/>
                    </a:lnTo>
                    <a:lnTo>
                      <a:pt x="33" y="47"/>
                    </a:lnTo>
                    <a:lnTo>
                      <a:pt x="22" y="43"/>
                    </a:lnTo>
                    <a:lnTo>
                      <a:pt x="18" y="41"/>
                    </a:lnTo>
                    <a:lnTo>
                      <a:pt x="13" y="38"/>
                    </a:lnTo>
                    <a:lnTo>
                      <a:pt x="9" y="35"/>
                    </a:lnTo>
                    <a:lnTo>
                      <a:pt x="7" y="31"/>
                    </a:lnTo>
                    <a:lnTo>
                      <a:pt x="3" y="27"/>
                    </a:lnTo>
                    <a:lnTo>
                      <a:pt x="2" y="23"/>
                    </a:lnTo>
                    <a:lnTo>
                      <a:pt x="1" y="18"/>
                    </a:lnTo>
                    <a:lnTo>
                      <a:pt x="0" y="13"/>
                    </a:lnTo>
                    <a:lnTo>
                      <a:pt x="23" y="17"/>
                    </a:lnTo>
                    <a:lnTo>
                      <a:pt x="44" y="21"/>
                    </a:lnTo>
                    <a:lnTo>
                      <a:pt x="64" y="24"/>
                    </a:lnTo>
                    <a:lnTo>
                      <a:pt x="87" y="25"/>
                    </a:lnTo>
                  </a:path>
                </a:pathLst>
              </a:custGeom>
              <a:grpFill/>
              <a:ln w="9525" cap="flat" cmpd="sng">
                <a:solidFill>
                  <a:srgbClr val="FFFFFF"/>
                </a:solidFill>
                <a:prstDash val="solid"/>
                <a:round/>
                <a:headEnd type="none" w="med" len="med"/>
                <a:tailEnd type="none" w="med" len="med"/>
              </a:ln>
              <a:effectLst/>
            </p:spPr>
            <p:txBody>
              <a:bodyPr/>
              <a:lstStyle/>
              <a:p>
                <a:endParaRPr lang="en-GB" sz="1637"/>
              </a:p>
            </p:txBody>
          </p:sp>
          <p:sp>
            <p:nvSpPr>
              <p:cNvPr id="176" name="Freeform 502"/>
              <p:cNvSpPr>
                <a:spLocks/>
              </p:cNvSpPr>
              <p:nvPr>
                <p:custDataLst>
                  <p:tags r:id="rId159"/>
                </p:custDataLst>
              </p:nvPr>
            </p:nvSpPr>
            <p:spPr bwMode="auto">
              <a:xfrm>
                <a:off x="6652436" y="1413682"/>
                <a:ext cx="69319" cy="66265"/>
              </a:xfrm>
              <a:custGeom>
                <a:avLst/>
                <a:gdLst>
                  <a:gd name="T0" fmla="*/ 63500 w 146"/>
                  <a:gd name="T1" fmla="*/ 48948 h 30"/>
                  <a:gd name="T2" fmla="*/ 60890 w 146"/>
                  <a:gd name="T3" fmla="*/ 31326 h 30"/>
                  <a:gd name="T4" fmla="*/ 59586 w 146"/>
                  <a:gd name="T5" fmla="*/ 17621 h 30"/>
                  <a:gd name="T6" fmla="*/ 57846 w 146"/>
                  <a:gd name="T7" fmla="*/ 7832 h 30"/>
                  <a:gd name="T8" fmla="*/ 55671 w 146"/>
                  <a:gd name="T9" fmla="*/ 1958 h 30"/>
                  <a:gd name="T10" fmla="*/ 54801 w 146"/>
                  <a:gd name="T11" fmla="*/ 1958 h 30"/>
                  <a:gd name="T12" fmla="*/ 53932 w 146"/>
                  <a:gd name="T13" fmla="*/ 1958 h 30"/>
                  <a:gd name="T14" fmla="*/ 52192 w 146"/>
                  <a:gd name="T15" fmla="*/ 3916 h 30"/>
                  <a:gd name="T16" fmla="*/ 51322 w 146"/>
                  <a:gd name="T17" fmla="*/ 5874 h 30"/>
                  <a:gd name="T18" fmla="*/ 49147 w 146"/>
                  <a:gd name="T19" fmla="*/ 17621 h 30"/>
                  <a:gd name="T20" fmla="*/ 45668 w 146"/>
                  <a:gd name="T21" fmla="*/ 37200 h 30"/>
                  <a:gd name="T22" fmla="*/ 31315 w 146"/>
                  <a:gd name="T23" fmla="*/ 37200 h 30"/>
                  <a:gd name="T24" fmla="*/ 27401 w 146"/>
                  <a:gd name="T25" fmla="*/ 35242 h 30"/>
                  <a:gd name="T26" fmla="*/ 23921 w 146"/>
                  <a:gd name="T27" fmla="*/ 33284 h 30"/>
                  <a:gd name="T28" fmla="*/ 20442 w 146"/>
                  <a:gd name="T29" fmla="*/ 27411 h 30"/>
                  <a:gd name="T30" fmla="*/ 17397 w 146"/>
                  <a:gd name="T31" fmla="*/ 23495 h 30"/>
                  <a:gd name="T32" fmla="*/ 12613 w 146"/>
                  <a:gd name="T33" fmla="*/ 11747 h 30"/>
                  <a:gd name="T34" fmla="*/ 8264 w 146"/>
                  <a:gd name="T35" fmla="*/ 0 h 30"/>
                  <a:gd name="T36" fmla="*/ 6089 w 146"/>
                  <a:gd name="T37" fmla="*/ 17621 h 30"/>
                  <a:gd name="T38" fmla="*/ 4349 w 146"/>
                  <a:gd name="T39" fmla="*/ 29369 h 30"/>
                  <a:gd name="T40" fmla="*/ 1740 w 146"/>
                  <a:gd name="T41" fmla="*/ 39158 h 30"/>
                  <a:gd name="T42" fmla="*/ 0 w 146"/>
                  <a:gd name="T43" fmla="*/ 48948 h 30"/>
                  <a:gd name="T44" fmla="*/ 14353 w 146"/>
                  <a:gd name="T45" fmla="*/ 48948 h 30"/>
                  <a:gd name="T46" fmla="*/ 24791 w 146"/>
                  <a:gd name="T47" fmla="*/ 48948 h 30"/>
                  <a:gd name="T48" fmla="*/ 33490 w 146"/>
                  <a:gd name="T49" fmla="*/ 48948 h 30"/>
                  <a:gd name="T50" fmla="*/ 43058 w 146"/>
                  <a:gd name="T51" fmla="*/ 48948 h 30"/>
                  <a:gd name="T52" fmla="*/ 47842 w 146"/>
                  <a:gd name="T53" fmla="*/ 50905 h 30"/>
                  <a:gd name="T54" fmla="*/ 53497 w 146"/>
                  <a:gd name="T55" fmla="*/ 56779 h 30"/>
                  <a:gd name="T56" fmla="*/ 55671 w 146"/>
                  <a:gd name="T57" fmla="*/ 58737 h 30"/>
                  <a:gd name="T58" fmla="*/ 58716 w 146"/>
                  <a:gd name="T59" fmla="*/ 58737 h 30"/>
                  <a:gd name="T60" fmla="*/ 60890 w 146"/>
                  <a:gd name="T61" fmla="*/ 54821 h 30"/>
                  <a:gd name="T62" fmla="*/ 63500 w 146"/>
                  <a:gd name="T63" fmla="*/ 48948 h 3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46" h="30">
                    <a:moveTo>
                      <a:pt x="146" y="25"/>
                    </a:moveTo>
                    <a:lnTo>
                      <a:pt x="140" y="16"/>
                    </a:lnTo>
                    <a:lnTo>
                      <a:pt x="137" y="9"/>
                    </a:lnTo>
                    <a:lnTo>
                      <a:pt x="133" y="4"/>
                    </a:lnTo>
                    <a:lnTo>
                      <a:pt x="128" y="1"/>
                    </a:lnTo>
                    <a:lnTo>
                      <a:pt x="126" y="1"/>
                    </a:lnTo>
                    <a:lnTo>
                      <a:pt x="124" y="1"/>
                    </a:lnTo>
                    <a:lnTo>
                      <a:pt x="120" y="2"/>
                    </a:lnTo>
                    <a:lnTo>
                      <a:pt x="118" y="3"/>
                    </a:lnTo>
                    <a:lnTo>
                      <a:pt x="113" y="9"/>
                    </a:lnTo>
                    <a:lnTo>
                      <a:pt x="105" y="19"/>
                    </a:lnTo>
                    <a:lnTo>
                      <a:pt x="72" y="19"/>
                    </a:lnTo>
                    <a:lnTo>
                      <a:pt x="63" y="18"/>
                    </a:lnTo>
                    <a:lnTo>
                      <a:pt x="55" y="17"/>
                    </a:lnTo>
                    <a:lnTo>
                      <a:pt x="47" y="14"/>
                    </a:lnTo>
                    <a:lnTo>
                      <a:pt x="40" y="12"/>
                    </a:lnTo>
                    <a:lnTo>
                      <a:pt x="29" y="6"/>
                    </a:lnTo>
                    <a:lnTo>
                      <a:pt x="19" y="0"/>
                    </a:lnTo>
                    <a:lnTo>
                      <a:pt x="14" y="9"/>
                    </a:lnTo>
                    <a:lnTo>
                      <a:pt x="10" y="15"/>
                    </a:lnTo>
                    <a:lnTo>
                      <a:pt x="4" y="20"/>
                    </a:lnTo>
                    <a:lnTo>
                      <a:pt x="0" y="25"/>
                    </a:lnTo>
                    <a:lnTo>
                      <a:pt x="33" y="25"/>
                    </a:lnTo>
                    <a:lnTo>
                      <a:pt x="57" y="25"/>
                    </a:lnTo>
                    <a:lnTo>
                      <a:pt x="77" y="25"/>
                    </a:lnTo>
                    <a:lnTo>
                      <a:pt x="99" y="25"/>
                    </a:lnTo>
                    <a:lnTo>
                      <a:pt x="110" y="26"/>
                    </a:lnTo>
                    <a:lnTo>
                      <a:pt x="123" y="29"/>
                    </a:lnTo>
                    <a:lnTo>
                      <a:pt x="128" y="30"/>
                    </a:lnTo>
                    <a:lnTo>
                      <a:pt x="135" y="30"/>
                    </a:lnTo>
                    <a:lnTo>
                      <a:pt x="140" y="28"/>
                    </a:lnTo>
                    <a:lnTo>
                      <a:pt x="146" y="25"/>
                    </a:lnTo>
                  </a:path>
                </a:pathLst>
              </a:custGeom>
              <a:grpFill/>
              <a:ln w="9525" cap="flat" cmpd="sng">
                <a:solidFill>
                  <a:srgbClr val="FFFFFF"/>
                </a:solidFill>
                <a:prstDash val="solid"/>
                <a:round/>
                <a:headEnd type="none" w="med" len="med"/>
                <a:tailEnd type="none" w="med" len="med"/>
              </a:ln>
              <a:effectLst/>
            </p:spPr>
            <p:txBody>
              <a:bodyPr/>
              <a:lstStyle/>
              <a:p>
                <a:endParaRPr lang="en-GB" sz="1637"/>
              </a:p>
            </p:txBody>
          </p:sp>
          <p:sp>
            <p:nvSpPr>
              <p:cNvPr id="177" name="Freeform 503"/>
              <p:cNvSpPr>
                <a:spLocks/>
              </p:cNvSpPr>
              <p:nvPr>
                <p:custDataLst>
                  <p:tags r:id="rId160"/>
                </p:custDataLst>
              </p:nvPr>
            </p:nvSpPr>
            <p:spPr bwMode="auto">
              <a:xfrm>
                <a:off x="6629908" y="1410100"/>
                <a:ext cx="22528" cy="66265"/>
              </a:xfrm>
              <a:custGeom>
                <a:avLst/>
                <a:gdLst>
                  <a:gd name="T0" fmla="*/ 0 w 53"/>
                  <a:gd name="T1" fmla="*/ 58737 h 9"/>
                  <a:gd name="T2" fmla="*/ 6619 w 53"/>
                  <a:gd name="T3" fmla="*/ 58737 h 9"/>
                  <a:gd name="T4" fmla="*/ 11292 w 53"/>
                  <a:gd name="T5" fmla="*/ 58737 h 9"/>
                  <a:gd name="T6" fmla="*/ 15575 w 53"/>
                  <a:gd name="T7" fmla="*/ 58737 h 9"/>
                  <a:gd name="T8" fmla="*/ 20637 w 53"/>
                  <a:gd name="T9" fmla="*/ 58737 h 9"/>
                  <a:gd name="T10" fmla="*/ 17911 w 53"/>
                  <a:gd name="T11" fmla="*/ 39158 h 9"/>
                  <a:gd name="T12" fmla="*/ 14796 w 53"/>
                  <a:gd name="T13" fmla="*/ 19579 h 9"/>
                  <a:gd name="T14" fmla="*/ 12071 w 53"/>
                  <a:gd name="T15" fmla="*/ 6526 h 9"/>
                  <a:gd name="T16" fmla="*/ 9734 w 53"/>
                  <a:gd name="T17" fmla="*/ 0 h 9"/>
                  <a:gd name="T18" fmla="*/ 7398 w 53"/>
                  <a:gd name="T19" fmla="*/ 0 h 9"/>
                  <a:gd name="T20" fmla="*/ 5451 w 53"/>
                  <a:gd name="T21" fmla="*/ 0 h 9"/>
                  <a:gd name="T22" fmla="*/ 3504 w 53"/>
                  <a:gd name="T23" fmla="*/ 6526 h 9"/>
                  <a:gd name="T24" fmla="*/ 2336 w 53"/>
                  <a:gd name="T25" fmla="*/ 19579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3" h="9">
                    <a:moveTo>
                      <a:pt x="0" y="9"/>
                    </a:moveTo>
                    <a:lnTo>
                      <a:pt x="17" y="9"/>
                    </a:lnTo>
                    <a:lnTo>
                      <a:pt x="29" y="9"/>
                    </a:lnTo>
                    <a:lnTo>
                      <a:pt x="40" y="9"/>
                    </a:lnTo>
                    <a:lnTo>
                      <a:pt x="53" y="9"/>
                    </a:lnTo>
                    <a:lnTo>
                      <a:pt x="46" y="6"/>
                    </a:lnTo>
                    <a:lnTo>
                      <a:pt x="38" y="3"/>
                    </a:lnTo>
                    <a:lnTo>
                      <a:pt x="31" y="1"/>
                    </a:lnTo>
                    <a:lnTo>
                      <a:pt x="25" y="0"/>
                    </a:lnTo>
                    <a:lnTo>
                      <a:pt x="19" y="0"/>
                    </a:lnTo>
                    <a:lnTo>
                      <a:pt x="14" y="0"/>
                    </a:lnTo>
                    <a:lnTo>
                      <a:pt x="9" y="1"/>
                    </a:lnTo>
                    <a:lnTo>
                      <a:pt x="6" y="3"/>
                    </a:lnTo>
                  </a:path>
                </a:pathLst>
              </a:custGeom>
              <a:grpFill/>
              <a:ln w="9525" cap="flat" cmpd="sng">
                <a:solidFill>
                  <a:srgbClr val="FFFFFF"/>
                </a:solidFill>
                <a:prstDash val="solid"/>
                <a:round/>
                <a:headEnd type="none" w="med" len="med"/>
                <a:tailEnd type="none" w="med" len="med"/>
              </a:ln>
              <a:effectLst/>
            </p:spPr>
            <p:txBody>
              <a:bodyPr/>
              <a:lstStyle/>
              <a:p>
                <a:endParaRPr lang="en-GB" sz="1637"/>
              </a:p>
            </p:txBody>
          </p:sp>
          <p:sp>
            <p:nvSpPr>
              <p:cNvPr id="178" name="Line 504"/>
              <p:cNvSpPr>
                <a:spLocks noChangeShapeType="1"/>
              </p:cNvSpPr>
              <p:nvPr>
                <p:custDataLst>
                  <p:tags r:id="rId161"/>
                </p:custDataLst>
              </p:nvPr>
            </p:nvSpPr>
            <p:spPr bwMode="auto">
              <a:xfrm flipV="1">
                <a:off x="6631640" y="1408309"/>
                <a:ext cx="0" cy="1792"/>
              </a:xfrm>
              <a:prstGeom prst="line">
                <a:avLst/>
              </a:prstGeom>
              <a:grpFill/>
              <a:ln w="9525">
                <a:solidFill>
                  <a:srgbClr val="FFFFFF"/>
                </a:solidFill>
                <a:round/>
                <a:headEnd/>
                <a:tailEnd/>
              </a:ln>
              <a:effectLst/>
            </p:spPr>
            <p:txBody>
              <a:bodyPr/>
              <a:lstStyle/>
              <a:p>
                <a:endParaRPr lang="en-GB" sz="1637"/>
              </a:p>
            </p:txBody>
          </p:sp>
          <p:sp>
            <p:nvSpPr>
              <p:cNvPr id="179" name="Freeform 505"/>
              <p:cNvSpPr>
                <a:spLocks/>
              </p:cNvSpPr>
              <p:nvPr>
                <p:custDataLst>
                  <p:tags r:id="rId162"/>
                </p:custDataLst>
              </p:nvPr>
            </p:nvSpPr>
            <p:spPr bwMode="auto">
              <a:xfrm>
                <a:off x="5725293" y="1327716"/>
                <a:ext cx="12130" cy="62683"/>
              </a:xfrm>
              <a:custGeom>
                <a:avLst/>
                <a:gdLst>
                  <a:gd name="T0" fmla="*/ 0 w 26"/>
                  <a:gd name="T1" fmla="*/ 55562 h 25"/>
                  <a:gd name="T2" fmla="*/ 2137 w 26"/>
                  <a:gd name="T3" fmla="*/ 37782 h 25"/>
                  <a:gd name="T4" fmla="*/ 5556 w 26"/>
                  <a:gd name="T5" fmla="*/ 17780 h 25"/>
                  <a:gd name="T6" fmla="*/ 6838 w 26"/>
                  <a:gd name="T7" fmla="*/ 11112 h 25"/>
                  <a:gd name="T8" fmla="*/ 8548 w 26"/>
                  <a:gd name="T9" fmla="*/ 4445 h 25"/>
                  <a:gd name="T10" fmla="*/ 9830 w 26"/>
                  <a:gd name="T11" fmla="*/ 2222 h 25"/>
                  <a:gd name="T12" fmla="*/ 11112 w 26"/>
                  <a:gd name="T13" fmla="*/ 0 h 25"/>
                  <a:gd name="T14" fmla="*/ 11112 w 26"/>
                  <a:gd name="T15" fmla="*/ 55562 h 25"/>
                  <a:gd name="T16" fmla="*/ 8548 w 26"/>
                  <a:gd name="T17" fmla="*/ 55562 h 25"/>
                  <a:gd name="T18" fmla="*/ 5556 w 26"/>
                  <a:gd name="T19" fmla="*/ 55562 h 25"/>
                  <a:gd name="T20" fmla="*/ 0 w 26"/>
                  <a:gd name="T21" fmla="*/ 55562 h 2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6" h="25">
                    <a:moveTo>
                      <a:pt x="0" y="25"/>
                    </a:moveTo>
                    <a:lnTo>
                      <a:pt x="5" y="17"/>
                    </a:lnTo>
                    <a:lnTo>
                      <a:pt x="13" y="8"/>
                    </a:lnTo>
                    <a:lnTo>
                      <a:pt x="16" y="5"/>
                    </a:lnTo>
                    <a:lnTo>
                      <a:pt x="20" y="2"/>
                    </a:lnTo>
                    <a:lnTo>
                      <a:pt x="23" y="1"/>
                    </a:lnTo>
                    <a:lnTo>
                      <a:pt x="26" y="0"/>
                    </a:lnTo>
                    <a:lnTo>
                      <a:pt x="26" y="25"/>
                    </a:lnTo>
                    <a:lnTo>
                      <a:pt x="20" y="25"/>
                    </a:lnTo>
                    <a:lnTo>
                      <a:pt x="13" y="25"/>
                    </a:lnTo>
                    <a:lnTo>
                      <a:pt x="0" y="25"/>
                    </a:lnTo>
                  </a:path>
                </a:pathLst>
              </a:custGeom>
              <a:grpFill/>
              <a:ln w="9525" cap="flat" cmpd="sng">
                <a:solidFill>
                  <a:srgbClr val="FFFFFF"/>
                </a:solidFill>
                <a:prstDash val="solid"/>
                <a:round/>
                <a:headEnd type="none" w="med" len="med"/>
                <a:tailEnd type="none" w="med" len="med"/>
              </a:ln>
              <a:effectLst/>
            </p:spPr>
            <p:txBody>
              <a:bodyPr/>
              <a:lstStyle/>
              <a:p>
                <a:endParaRPr lang="en-GB" sz="1637"/>
              </a:p>
            </p:txBody>
          </p:sp>
          <p:sp>
            <p:nvSpPr>
              <p:cNvPr id="180" name="Freeform 506"/>
              <p:cNvSpPr>
                <a:spLocks/>
              </p:cNvSpPr>
              <p:nvPr>
                <p:custDataLst>
                  <p:tags r:id="rId163"/>
                </p:custDataLst>
              </p:nvPr>
            </p:nvSpPr>
            <p:spPr bwMode="auto">
              <a:xfrm>
                <a:off x="6543259" y="1408309"/>
                <a:ext cx="10398" cy="64475"/>
              </a:xfrm>
              <a:custGeom>
                <a:avLst/>
                <a:gdLst>
                  <a:gd name="T0" fmla="*/ 9525 w 33"/>
                  <a:gd name="T1" fmla="*/ 57150 h 25"/>
                  <a:gd name="T2" fmla="*/ 9525 w 33"/>
                  <a:gd name="T3" fmla="*/ 27432 h 25"/>
                  <a:gd name="T4" fmla="*/ 9525 w 33"/>
                  <a:gd name="T5" fmla="*/ 0 h 25"/>
                  <a:gd name="T6" fmla="*/ 0 w 33"/>
                  <a:gd name="T7" fmla="*/ 0 h 25"/>
                  <a:gd name="T8" fmla="*/ 2598 w 33"/>
                  <a:gd name="T9" fmla="*/ 20574 h 25"/>
                  <a:gd name="T10" fmla="*/ 4618 w 33"/>
                  <a:gd name="T11" fmla="*/ 38862 h 25"/>
                  <a:gd name="T12" fmla="*/ 5773 w 33"/>
                  <a:gd name="T13" fmla="*/ 45720 h 25"/>
                  <a:gd name="T14" fmla="*/ 6927 w 33"/>
                  <a:gd name="T15" fmla="*/ 52578 h 25"/>
                  <a:gd name="T16" fmla="*/ 8082 w 33"/>
                  <a:gd name="T17" fmla="*/ 54864 h 25"/>
                  <a:gd name="T18" fmla="*/ 9525 w 33"/>
                  <a:gd name="T19" fmla="*/ 57150 h 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3" h="25">
                    <a:moveTo>
                      <a:pt x="33" y="25"/>
                    </a:moveTo>
                    <a:lnTo>
                      <a:pt x="33" y="12"/>
                    </a:lnTo>
                    <a:lnTo>
                      <a:pt x="33" y="0"/>
                    </a:lnTo>
                    <a:lnTo>
                      <a:pt x="0" y="0"/>
                    </a:lnTo>
                    <a:lnTo>
                      <a:pt x="9" y="9"/>
                    </a:lnTo>
                    <a:lnTo>
                      <a:pt x="16" y="17"/>
                    </a:lnTo>
                    <a:lnTo>
                      <a:pt x="20" y="20"/>
                    </a:lnTo>
                    <a:lnTo>
                      <a:pt x="24" y="23"/>
                    </a:lnTo>
                    <a:lnTo>
                      <a:pt x="28" y="24"/>
                    </a:lnTo>
                    <a:lnTo>
                      <a:pt x="33" y="25"/>
                    </a:lnTo>
                  </a:path>
                </a:pathLst>
              </a:custGeom>
              <a:grpFill/>
              <a:ln w="9525" cap="flat" cmpd="sng">
                <a:solidFill>
                  <a:srgbClr val="FFFFFF"/>
                </a:solidFill>
                <a:prstDash val="solid"/>
                <a:round/>
                <a:headEnd type="none" w="med" len="med"/>
                <a:tailEnd type="none" w="med" len="med"/>
              </a:ln>
              <a:effectLst/>
            </p:spPr>
            <p:txBody>
              <a:bodyPr/>
              <a:lstStyle/>
              <a:p>
                <a:endParaRPr lang="en-GB" sz="1637"/>
              </a:p>
            </p:txBody>
          </p:sp>
          <p:sp>
            <p:nvSpPr>
              <p:cNvPr id="181" name="Freeform 507"/>
              <p:cNvSpPr>
                <a:spLocks/>
              </p:cNvSpPr>
              <p:nvPr>
                <p:custDataLst>
                  <p:tags r:id="rId164"/>
                </p:custDataLst>
              </p:nvPr>
            </p:nvSpPr>
            <p:spPr bwMode="auto">
              <a:xfrm>
                <a:off x="6493002" y="1367117"/>
                <a:ext cx="10398" cy="64475"/>
              </a:xfrm>
              <a:custGeom>
                <a:avLst/>
                <a:gdLst>
                  <a:gd name="T0" fmla="*/ 0 w 20"/>
                  <a:gd name="T1" fmla="*/ 0 h 18"/>
                  <a:gd name="T2" fmla="*/ 6191 w 20"/>
                  <a:gd name="T3" fmla="*/ 57150 h 18"/>
                  <a:gd name="T4" fmla="*/ 7620 w 20"/>
                  <a:gd name="T5" fmla="*/ 34925 h 18"/>
                  <a:gd name="T6" fmla="*/ 9525 w 20"/>
                  <a:gd name="T7" fmla="*/ 0 h 18"/>
                  <a:gd name="T8" fmla="*/ 0 w 20"/>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0" h="18">
                    <a:moveTo>
                      <a:pt x="0" y="0"/>
                    </a:moveTo>
                    <a:lnTo>
                      <a:pt x="13" y="18"/>
                    </a:lnTo>
                    <a:lnTo>
                      <a:pt x="16" y="11"/>
                    </a:lnTo>
                    <a:lnTo>
                      <a:pt x="20" y="0"/>
                    </a:lnTo>
                    <a:lnTo>
                      <a:pt x="0" y="0"/>
                    </a:lnTo>
                  </a:path>
                </a:pathLst>
              </a:custGeom>
              <a:grpFill/>
              <a:ln w="9525" cap="flat" cmpd="sng">
                <a:solidFill>
                  <a:srgbClr val="FFFFFF"/>
                </a:solidFill>
                <a:prstDash val="solid"/>
                <a:round/>
                <a:headEnd type="none" w="med" len="med"/>
                <a:tailEnd type="none" w="med" len="med"/>
              </a:ln>
              <a:effectLst/>
            </p:spPr>
            <p:txBody>
              <a:bodyPr/>
              <a:lstStyle/>
              <a:p>
                <a:endParaRPr lang="en-GB" sz="1637"/>
              </a:p>
            </p:txBody>
          </p:sp>
          <p:sp>
            <p:nvSpPr>
              <p:cNvPr id="182" name="Freeform 508"/>
              <p:cNvSpPr>
                <a:spLocks/>
              </p:cNvSpPr>
              <p:nvPr>
                <p:custDataLst>
                  <p:tags r:id="rId165"/>
                </p:custDataLst>
              </p:nvPr>
            </p:nvSpPr>
            <p:spPr bwMode="auto">
              <a:xfrm>
                <a:off x="7038891" y="2010073"/>
                <a:ext cx="13864" cy="66266"/>
              </a:xfrm>
              <a:custGeom>
                <a:avLst/>
                <a:gdLst>
                  <a:gd name="T0" fmla="*/ 0 w 33"/>
                  <a:gd name="T1" fmla="*/ 58738 h 31"/>
                  <a:gd name="T2" fmla="*/ 0 w 33"/>
                  <a:gd name="T3" fmla="*/ 0 h 31"/>
                  <a:gd name="T4" fmla="*/ 3464 w 33"/>
                  <a:gd name="T5" fmla="*/ 0 h 31"/>
                  <a:gd name="T6" fmla="*/ 6158 w 33"/>
                  <a:gd name="T7" fmla="*/ 0 h 31"/>
                  <a:gd name="T8" fmla="*/ 9236 w 33"/>
                  <a:gd name="T9" fmla="*/ 0 h 31"/>
                  <a:gd name="T10" fmla="*/ 12700 w 33"/>
                  <a:gd name="T11" fmla="*/ 0 h 31"/>
                  <a:gd name="T12" fmla="*/ 11545 w 33"/>
                  <a:gd name="T13" fmla="*/ 3790 h 31"/>
                  <a:gd name="T14" fmla="*/ 11161 w 33"/>
                  <a:gd name="T15" fmla="*/ 9474 h 31"/>
                  <a:gd name="T16" fmla="*/ 10776 w 33"/>
                  <a:gd name="T17" fmla="*/ 17053 h 31"/>
                  <a:gd name="T18" fmla="*/ 10776 w 33"/>
                  <a:gd name="T19" fmla="*/ 24632 h 31"/>
                  <a:gd name="T20" fmla="*/ 10776 w 33"/>
                  <a:gd name="T21" fmla="*/ 32211 h 31"/>
                  <a:gd name="T22" fmla="*/ 11161 w 33"/>
                  <a:gd name="T23" fmla="*/ 39790 h 31"/>
                  <a:gd name="T24" fmla="*/ 11545 w 33"/>
                  <a:gd name="T25" fmla="*/ 49264 h 31"/>
                  <a:gd name="T26" fmla="*/ 12700 w 33"/>
                  <a:gd name="T27" fmla="*/ 58738 h 31"/>
                  <a:gd name="T28" fmla="*/ 0 w 33"/>
                  <a:gd name="T29" fmla="*/ 58738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3" h="31">
                    <a:moveTo>
                      <a:pt x="0" y="31"/>
                    </a:moveTo>
                    <a:lnTo>
                      <a:pt x="0" y="0"/>
                    </a:lnTo>
                    <a:lnTo>
                      <a:pt x="9" y="0"/>
                    </a:lnTo>
                    <a:lnTo>
                      <a:pt x="16" y="0"/>
                    </a:lnTo>
                    <a:lnTo>
                      <a:pt x="24" y="0"/>
                    </a:lnTo>
                    <a:lnTo>
                      <a:pt x="33" y="0"/>
                    </a:lnTo>
                    <a:lnTo>
                      <a:pt x="30" y="2"/>
                    </a:lnTo>
                    <a:lnTo>
                      <a:pt x="29" y="5"/>
                    </a:lnTo>
                    <a:lnTo>
                      <a:pt x="28" y="9"/>
                    </a:lnTo>
                    <a:lnTo>
                      <a:pt x="28" y="13"/>
                    </a:lnTo>
                    <a:lnTo>
                      <a:pt x="28" y="17"/>
                    </a:lnTo>
                    <a:lnTo>
                      <a:pt x="29" y="21"/>
                    </a:lnTo>
                    <a:lnTo>
                      <a:pt x="30" y="26"/>
                    </a:lnTo>
                    <a:lnTo>
                      <a:pt x="33" y="31"/>
                    </a:lnTo>
                    <a:lnTo>
                      <a:pt x="0" y="31"/>
                    </a:lnTo>
                  </a:path>
                </a:pathLst>
              </a:custGeom>
              <a:grpFill/>
              <a:ln w="9525" cap="flat" cmpd="sng">
                <a:solidFill>
                  <a:srgbClr val="FFFFFF"/>
                </a:solidFill>
                <a:prstDash val="solid"/>
                <a:round/>
                <a:headEnd type="none" w="med" len="med"/>
                <a:tailEnd type="none" w="med" len="med"/>
              </a:ln>
              <a:effectLst/>
            </p:spPr>
            <p:txBody>
              <a:bodyPr/>
              <a:lstStyle/>
              <a:p>
                <a:endParaRPr lang="en-GB" sz="1637"/>
              </a:p>
            </p:txBody>
          </p:sp>
          <p:sp>
            <p:nvSpPr>
              <p:cNvPr id="183" name="Freeform 509"/>
              <p:cNvSpPr>
                <a:spLocks/>
              </p:cNvSpPr>
              <p:nvPr>
                <p:custDataLst>
                  <p:tags r:id="rId166"/>
                </p:custDataLst>
              </p:nvPr>
            </p:nvSpPr>
            <p:spPr bwMode="auto">
              <a:xfrm>
                <a:off x="7359491" y="1470993"/>
                <a:ext cx="60655" cy="66265"/>
              </a:xfrm>
              <a:custGeom>
                <a:avLst/>
                <a:gdLst>
                  <a:gd name="T0" fmla="*/ 1292 w 129"/>
                  <a:gd name="T1" fmla="*/ 46151 h 56"/>
                  <a:gd name="T2" fmla="*/ 431 w 129"/>
                  <a:gd name="T3" fmla="*/ 44053 h 56"/>
                  <a:gd name="T4" fmla="*/ 431 w 129"/>
                  <a:gd name="T5" fmla="*/ 41955 h 56"/>
                  <a:gd name="T6" fmla="*/ 0 w 129"/>
                  <a:gd name="T7" fmla="*/ 38808 h 56"/>
                  <a:gd name="T8" fmla="*/ 431 w 129"/>
                  <a:gd name="T9" fmla="*/ 34613 h 56"/>
                  <a:gd name="T10" fmla="*/ 861 w 129"/>
                  <a:gd name="T11" fmla="*/ 26222 h 56"/>
                  <a:gd name="T12" fmla="*/ 1292 w 129"/>
                  <a:gd name="T13" fmla="*/ 18880 h 56"/>
                  <a:gd name="T14" fmla="*/ 3876 w 129"/>
                  <a:gd name="T15" fmla="*/ 13635 h 56"/>
                  <a:gd name="T16" fmla="*/ 6892 w 129"/>
                  <a:gd name="T17" fmla="*/ 9440 h 56"/>
                  <a:gd name="T18" fmla="*/ 9045 w 129"/>
                  <a:gd name="T19" fmla="*/ 6293 h 56"/>
                  <a:gd name="T20" fmla="*/ 11629 w 129"/>
                  <a:gd name="T21" fmla="*/ 5244 h 56"/>
                  <a:gd name="T22" fmla="*/ 16798 w 129"/>
                  <a:gd name="T23" fmla="*/ 3147 h 56"/>
                  <a:gd name="T24" fmla="*/ 24551 w 129"/>
                  <a:gd name="T25" fmla="*/ 0 h 56"/>
                  <a:gd name="T26" fmla="*/ 25843 w 129"/>
                  <a:gd name="T27" fmla="*/ 5244 h 56"/>
                  <a:gd name="T28" fmla="*/ 27566 w 129"/>
                  <a:gd name="T29" fmla="*/ 8391 h 56"/>
                  <a:gd name="T30" fmla="*/ 29720 w 129"/>
                  <a:gd name="T31" fmla="*/ 11538 h 56"/>
                  <a:gd name="T32" fmla="*/ 31443 w 129"/>
                  <a:gd name="T33" fmla="*/ 14684 h 56"/>
                  <a:gd name="T34" fmla="*/ 35750 w 129"/>
                  <a:gd name="T35" fmla="*/ 18880 h 56"/>
                  <a:gd name="T36" fmla="*/ 40057 w 129"/>
                  <a:gd name="T37" fmla="*/ 22026 h 56"/>
                  <a:gd name="T38" fmla="*/ 44364 w 129"/>
                  <a:gd name="T39" fmla="*/ 26222 h 56"/>
                  <a:gd name="T40" fmla="*/ 48671 w 129"/>
                  <a:gd name="T41" fmla="*/ 30417 h 56"/>
                  <a:gd name="T42" fmla="*/ 50394 w 129"/>
                  <a:gd name="T43" fmla="*/ 33564 h 56"/>
                  <a:gd name="T44" fmla="*/ 52117 w 129"/>
                  <a:gd name="T45" fmla="*/ 36711 h 56"/>
                  <a:gd name="T46" fmla="*/ 54271 w 129"/>
                  <a:gd name="T47" fmla="*/ 39857 h 56"/>
                  <a:gd name="T48" fmla="*/ 55563 w 129"/>
                  <a:gd name="T49" fmla="*/ 46151 h 56"/>
                  <a:gd name="T50" fmla="*/ 51256 w 129"/>
                  <a:gd name="T51" fmla="*/ 50346 h 56"/>
                  <a:gd name="T52" fmla="*/ 46949 w 129"/>
                  <a:gd name="T53" fmla="*/ 53493 h 56"/>
                  <a:gd name="T54" fmla="*/ 42641 w 129"/>
                  <a:gd name="T55" fmla="*/ 55590 h 56"/>
                  <a:gd name="T56" fmla="*/ 38765 w 129"/>
                  <a:gd name="T57" fmla="*/ 56639 h 56"/>
                  <a:gd name="T58" fmla="*/ 30150 w 129"/>
                  <a:gd name="T59" fmla="*/ 58737 h 56"/>
                  <a:gd name="T60" fmla="*/ 21105 w 129"/>
                  <a:gd name="T61" fmla="*/ 58737 h 56"/>
                  <a:gd name="T62" fmla="*/ 17229 w 129"/>
                  <a:gd name="T63" fmla="*/ 57688 h 56"/>
                  <a:gd name="T64" fmla="*/ 13352 w 129"/>
                  <a:gd name="T65" fmla="*/ 56639 h 56"/>
                  <a:gd name="T66" fmla="*/ 9907 w 129"/>
                  <a:gd name="T67" fmla="*/ 54542 h 56"/>
                  <a:gd name="T68" fmla="*/ 6892 w 129"/>
                  <a:gd name="T69" fmla="*/ 52444 h 56"/>
                  <a:gd name="T70" fmla="*/ 2584 w 129"/>
                  <a:gd name="T71" fmla="*/ 48248 h 56"/>
                  <a:gd name="T72" fmla="*/ 1292 w 129"/>
                  <a:gd name="T73" fmla="*/ 46151 h 5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29" h="56">
                    <a:moveTo>
                      <a:pt x="3" y="44"/>
                    </a:moveTo>
                    <a:lnTo>
                      <a:pt x="1" y="42"/>
                    </a:lnTo>
                    <a:lnTo>
                      <a:pt x="1" y="40"/>
                    </a:lnTo>
                    <a:lnTo>
                      <a:pt x="0" y="37"/>
                    </a:lnTo>
                    <a:lnTo>
                      <a:pt x="1" y="33"/>
                    </a:lnTo>
                    <a:lnTo>
                      <a:pt x="2" y="25"/>
                    </a:lnTo>
                    <a:lnTo>
                      <a:pt x="3" y="18"/>
                    </a:lnTo>
                    <a:lnTo>
                      <a:pt x="9" y="13"/>
                    </a:lnTo>
                    <a:lnTo>
                      <a:pt x="16" y="9"/>
                    </a:lnTo>
                    <a:lnTo>
                      <a:pt x="21" y="6"/>
                    </a:lnTo>
                    <a:lnTo>
                      <a:pt x="27" y="5"/>
                    </a:lnTo>
                    <a:lnTo>
                      <a:pt x="39" y="3"/>
                    </a:lnTo>
                    <a:lnTo>
                      <a:pt x="57" y="0"/>
                    </a:lnTo>
                    <a:lnTo>
                      <a:pt x="60" y="5"/>
                    </a:lnTo>
                    <a:lnTo>
                      <a:pt x="64" y="8"/>
                    </a:lnTo>
                    <a:lnTo>
                      <a:pt x="69" y="11"/>
                    </a:lnTo>
                    <a:lnTo>
                      <a:pt x="73" y="14"/>
                    </a:lnTo>
                    <a:lnTo>
                      <a:pt x="83" y="18"/>
                    </a:lnTo>
                    <a:lnTo>
                      <a:pt x="93" y="21"/>
                    </a:lnTo>
                    <a:lnTo>
                      <a:pt x="103" y="25"/>
                    </a:lnTo>
                    <a:lnTo>
                      <a:pt x="113" y="29"/>
                    </a:lnTo>
                    <a:lnTo>
                      <a:pt x="117" y="32"/>
                    </a:lnTo>
                    <a:lnTo>
                      <a:pt x="121" y="35"/>
                    </a:lnTo>
                    <a:lnTo>
                      <a:pt x="126" y="38"/>
                    </a:lnTo>
                    <a:lnTo>
                      <a:pt x="129" y="44"/>
                    </a:lnTo>
                    <a:lnTo>
                      <a:pt x="119" y="48"/>
                    </a:lnTo>
                    <a:lnTo>
                      <a:pt x="109" y="51"/>
                    </a:lnTo>
                    <a:lnTo>
                      <a:pt x="99" y="53"/>
                    </a:lnTo>
                    <a:lnTo>
                      <a:pt x="90" y="54"/>
                    </a:lnTo>
                    <a:lnTo>
                      <a:pt x="70" y="56"/>
                    </a:lnTo>
                    <a:lnTo>
                      <a:pt x="49" y="56"/>
                    </a:lnTo>
                    <a:lnTo>
                      <a:pt x="40" y="55"/>
                    </a:lnTo>
                    <a:lnTo>
                      <a:pt x="31" y="54"/>
                    </a:lnTo>
                    <a:lnTo>
                      <a:pt x="23" y="52"/>
                    </a:lnTo>
                    <a:lnTo>
                      <a:pt x="16" y="50"/>
                    </a:lnTo>
                    <a:lnTo>
                      <a:pt x="6" y="46"/>
                    </a:lnTo>
                    <a:lnTo>
                      <a:pt x="3" y="44"/>
                    </a:lnTo>
                  </a:path>
                </a:pathLst>
              </a:custGeom>
              <a:grpFill/>
              <a:ln w="9525" cap="flat" cmpd="sng">
                <a:solidFill>
                  <a:srgbClr val="FFFFFF"/>
                </a:solidFill>
                <a:prstDash val="solid"/>
                <a:round/>
                <a:headEnd type="none" w="med" len="med"/>
                <a:tailEnd type="none" w="med" len="med"/>
              </a:ln>
              <a:effectLst/>
            </p:spPr>
            <p:txBody>
              <a:bodyPr/>
              <a:lstStyle/>
              <a:p>
                <a:endParaRPr lang="en-GB" sz="1637"/>
              </a:p>
            </p:txBody>
          </p:sp>
          <p:sp>
            <p:nvSpPr>
              <p:cNvPr id="184" name="Freeform 510"/>
              <p:cNvSpPr>
                <a:spLocks/>
              </p:cNvSpPr>
              <p:nvPr>
                <p:custDataLst>
                  <p:tags r:id="rId167"/>
                </p:custDataLst>
              </p:nvPr>
            </p:nvSpPr>
            <p:spPr bwMode="auto">
              <a:xfrm>
                <a:off x="7508528" y="1868587"/>
                <a:ext cx="15597" cy="64475"/>
              </a:xfrm>
              <a:custGeom>
                <a:avLst/>
                <a:gdLst>
                  <a:gd name="T0" fmla="*/ 7318 w 41"/>
                  <a:gd name="T1" fmla="*/ 57150 h 42"/>
                  <a:gd name="T2" fmla="*/ 0 w 41"/>
                  <a:gd name="T3" fmla="*/ 40821 h 42"/>
                  <a:gd name="T4" fmla="*/ 0 w 41"/>
                  <a:gd name="T5" fmla="*/ 8164 h 42"/>
                  <a:gd name="T6" fmla="*/ 2439 w 41"/>
                  <a:gd name="T7" fmla="*/ 6804 h 42"/>
                  <a:gd name="T8" fmla="*/ 4879 w 41"/>
                  <a:gd name="T9" fmla="*/ 4082 h 42"/>
                  <a:gd name="T10" fmla="*/ 8364 w 41"/>
                  <a:gd name="T11" fmla="*/ 1361 h 42"/>
                  <a:gd name="T12" fmla="*/ 11849 w 41"/>
                  <a:gd name="T13" fmla="*/ 0 h 42"/>
                  <a:gd name="T14" fmla="*/ 11849 w 41"/>
                  <a:gd name="T15" fmla="*/ 24493 h 42"/>
                  <a:gd name="T16" fmla="*/ 14288 w 41"/>
                  <a:gd name="T17" fmla="*/ 24493 h 42"/>
                  <a:gd name="T18" fmla="*/ 7318 w 41"/>
                  <a:gd name="T19" fmla="*/ 57150 h 4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1" h="42">
                    <a:moveTo>
                      <a:pt x="21" y="42"/>
                    </a:moveTo>
                    <a:lnTo>
                      <a:pt x="0" y="30"/>
                    </a:lnTo>
                    <a:lnTo>
                      <a:pt x="0" y="6"/>
                    </a:lnTo>
                    <a:lnTo>
                      <a:pt x="7" y="5"/>
                    </a:lnTo>
                    <a:lnTo>
                      <a:pt x="14" y="3"/>
                    </a:lnTo>
                    <a:lnTo>
                      <a:pt x="24" y="1"/>
                    </a:lnTo>
                    <a:lnTo>
                      <a:pt x="34" y="0"/>
                    </a:lnTo>
                    <a:lnTo>
                      <a:pt x="34" y="18"/>
                    </a:lnTo>
                    <a:lnTo>
                      <a:pt x="41" y="18"/>
                    </a:lnTo>
                    <a:lnTo>
                      <a:pt x="21" y="42"/>
                    </a:lnTo>
                  </a:path>
                </a:pathLst>
              </a:custGeom>
              <a:grpFill/>
              <a:ln w="9525" cap="flat" cmpd="sng">
                <a:solidFill>
                  <a:srgbClr val="FFFFFF"/>
                </a:solidFill>
                <a:prstDash val="solid"/>
                <a:round/>
                <a:headEnd type="none" w="med" len="med"/>
                <a:tailEnd type="none" w="med" len="med"/>
              </a:ln>
              <a:effectLst/>
            </p:spPr>
            <p:txBody>
              <a:bodyPr/>
              <a:lstStyle/>
              <a:p>
                <a:endParaRPr lang="en-GB" sz="1637"/>
              </a:p>
            </p:txBody>
          </p:sp>
          <p:sp>
            <p:nvSpPr>
              <p:cNvPr id="185" name="Freeform 511"/>
              <p:cNvSpPr>
                <a:spLocks/>
              </p:cNvSpPr>
              <p:nvPr>
                <p:custDataLst>
                  <p:tags r:id="rId168"/>
                </p:custDataLst>
              </p:nvPr>
            </p:nvSpPr>
            <p:spPr bwMode="auto">
              <a:xfrm>
                <a:off x="7671428" y="1995745"/>
                <a:ext cx="46791" cy="68057"/>
              </a:xfrm>
              <a:custGeom>
                <a:avLst/>
                <a:gdLst>
                  <a:gd name="T0" fmla="*/ 27654 w 93"/>
                  <a:gd name="T1" fmla="*/ 13921 h 39"/>
                  <a:gd name="T2" fmla="*/ 30880 w 93"/>
                  <a:gd name="T3" fmla="*/ 27842 h 39"/>
                  <a:gd name="T4" fmla="*/ 35489 w 93"/>
                  <a:gd name="T5" fmla="*/ 43310 h 39"/>
                  <a:gd name="T6" fmla="*/ 37332 w 93"/>
                  <a:gd name="T7" fmla="*/ 51044 h 39"/>
                  <a:gd name="T8" fmla="*/ 39637 w 93"/>
                  <a:gd name="T9" fmla="*/ 55685 h 39"/>
                  <a:gd name="T10" fmla="*/ 41480 w 93"/>
                  <a:gd name="T11" fmla="*/ 58778 h 39"/>
                  <a:gd name="T12" fmla="*/ 42863 w 93"/>
                  <a:gd name="T13" fmla="*/ 60325 h 39"/>
                  <a:gd name="T14" fmla="*/ 27654 w 93"/>
                  <a:gd name="T15" fmla="*/ 60325 h 39"/>
                  <a:gd name="T16" fmla="*/ 23045 w 93"/>
                  <a:gd name="T17" fmla="*/ 55685 h 39"/>
                  <a:gd name="T18" fmla="*/ 19818 w 93"/>
                  <a:gd name="T19" fmla="*/ 49497 h 39"/>
                  <a:gd name="T20" fmla="*/ 16592 w 93"/>
                  <a:gd name="T21" fmla="*/ 43310 h 39"/>
                  <a:gd name="T22" fmla="*/ 13827 w 93"/>
                  <a:gd name="T23" fmla="*/ 35576 h 39"/>
                  <a:gd name="T24" fmla="*/ 11061 w 93"/>
                  <a:gd name="T25" fmla="*/ 27842 h 39"/>
                  <a:gd name="T26" fmla="*/ 7374 w 93"/>
                  <a:gd name="T27" fmla="*/ 20108 h 39"/>
                  <a:gd name="T28" fmla="*/ 4148 w 93"/>
                  <a:gd name="T29" fmla="*/ 10828 h 39"/>
                  <a:gd name="T30" fmla="*/ 0 w 93"/>
                  <a:gd name="T31" fmla="*/ 4640 h 39"/>
                  <a:gd name="T32" fmla="*/ 5070 w 93"/>
                  <a:gd name="T33" fmla="*/ 1547 h 39"/>
                  <a:gd name="T34" fmla="*/ 9218 w 93"/>
                  <a:gd name="T35" fmla="*/ 0 h 39"/>
                  <a:gd name="T36" fmla="*/ 11983 w 93"/>
                  <a:gd name="T37" fmla="*/ 0 h 39"/>
                  <a:gd name="T38" fmla="*/ 15209 w 93"/>
                  <a:gd name="T39" fmla="*/ 1547 h 39"/>
                  <a:gd name="T40" fmla="*/ 20279 w 93"/>
                  <a:gd name="T41" fmla="*/ 6187 h 39"/>
                  <a:gd name="T42" fmla="*/ 27654 w 93"/>
                  <a:gd name="T43" fmla="*/ 13921 h 3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93" h="39">
                    <a:moveTo>
                      <a:pt x="60" y="9"/>
                    </a:moveTo>
                    <a:lnTo>
                      <a:pt x="67" y="18"/>
                    </a:lnTo>
                    <a:lnTo>
                      <a:pt x="77" y="28"/>
                    </a:lnTo>
                    <a:lnTo>
                      <a:pt x="81" y="33"/>
                    </a:lnTo>
                    <a:lnTo>
                      <a:pt x="86" y="36"/>
                    </a:lnTo>
                    <a:lnTo>
                      <a:pt x="90" y="38"/>
                    </a:lnTo>
                    <a:lnTo>
                      <a:pt x="93" y="39"/>
                    </a:lnTo>
                    <a:lnTo>
                      <a:pt x="60" y="39"/>
                    </a:lnTo>
                    <a:lnTo>
                      <a:pt x="50" y="36"/>
                    </a:lnTo>
                    <a:lnTo>
                      <a:pt x="43" y="32"/>
                    </a:lnTo>
                    <a:lnTo>
                      <a:pt x="36" y="28"/>
                    </a:lnTo>
                    <a:lnTo>
                      <a:pt x="30" y="23"/>
                    </a:lnTo>
                    <a:lnTo>
                      <a:pt x="24" y="18"/>
                    </a:lnTo>
                    <a:lnTo>
                      <a:pt x="16" y="13"/>
                    </a:lnTo>
                    <a:lnTo>
                      <a:pt x="9" y="7"/>
                    </a:lnTo>
                    <a:lnTo>
                      <a:pt x="0" y="3"/>
                    </a:lnTo>
                    <a:lnTo>
                      <a:pt x="11" y="1"/>
                    </a:lnTo>
                    <a:lnTo>
                      <a:pt x="20" y="0"/>
                    </a:lnTo>
                    <a:lnTo>
                      <a:pt x="26" y="0"/>
                    </a:lnTo>
                    <a:lnTo>
                      <a:pt x="33" y="1"/>
                    </a:lnTo>
                    <a:lnTo>
                      <a:pt x="44" y="4"/>
                    </a:lnTo>
                    <a:lnTo>
                      <a:pt x="60" y="9"/>
                    </a:lnTo>
                  </a:path>
                </a:pathLst>
              </a:custGeom>
              <a:grpFill/>
              <a:ln w="9525" cap="flat" cmpd="sng">
                <a:solidFill>
                  <a:srgbClr val="FFFFFF"/>
                </a:solidFill>
                <a:prstDash val="solid"/>
                <a:round/>
                <a:headEnd type="none" w="med" len="med"/>
                <a:tailEnd type="none" w="med" len="med"/>
              </a:ln>
              <a:effectLst/>
            </p:spPr>
            <p:txBody>
              <a:bodyPr/>
              <a:lstStyle/>
              <a:p>
                <a:endParaRPr lang="en-GB" sz="1637"/>
              </a:p>
            </p:txBody>
          </p:sp>
          <p:sp>
            <p:nvSpPr>
              <p:cNvPr id="186" name="Freeform 512"/>
              <p:cNvSpPr>
                <a:spLocks/>
              </p:cNvSpPr>
              <p:nvPr>
                <p:custDataLst>
                  <p:tags r:id="rId169"/>
                </p:custDataLst>
              </p:nvPr>
            </p:nvSpPr>
            <p:spPr bwMode="auto">
              <a:xfrm>
                <a:off x="7726883" y="2013655"/>
                <a:ext cx="20796" cy="66266"/>
              </a:xfrm>
              <a:custGeom>
                <a:avLst/>
                <a:gdLst>
                  <a:gd name="T0" fmla="*/ 19050 w 39"/>
                  <a:gd name="T1" fmla="*/ 58738 h 19"/>
                  <a:gd name="T2" fmla="*/ 6350 w 39"/>
                  <a:gd name="T3" fmla="*/ 58738 h 19"/>
                  <a:gd name="T4" fmla="*/ 3908 w 39"/>
                  <a:gd name="T5" fmla="*/ 58738 h 19"/>
                  <a:gd name="T6" fmla="*/ 2442 w 39"/>
                  <a:gd name="T7" fmla="*/ 52555 h 19"/>
                  <a:gd name="T8" fmla="*/ 1465 w 39"/>
                  <a:gd name="T9" fmla="*/ 43281 h 19"/>
                  <a:gd name="T10" fmla="*/ 977 w 39"/>
                  <a:gd name="T11" fmla="*/ 34006 h 19"/>
                  <a:gd name="T12" fmla="*/ 0 w 39"/>
                  <a:gd name="T13" fmla="*/ 15457 h 19"/>
                  <a:gd name="T14" fmla="*/ 0 w 39"/>
                  <a:gd name="T15" fmla="*/ 0 h 19"/>
                  <a:gd name="T16" fmla="*/ 6350 w 39"/>
                  <a:gd name="T17" fmla="*/ 12366 h 19"/>
                  <a:gd name="T18" fmla="*/ 10746 w 39"/>
                  <a:gd name="T19" fmla="*/ 27823 h 19"/>
                  <a:gd name="T20" fmla="*/ 14654 w 39"/>
                  <a:gd name="T21" fmla="*/ 43281 h 19"/>
                  <a:gd name="T22" fmla="*/ 19050 w 39"/>
                  <a:gd name="T23" fmla="*/ 58738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9" h="19">
                    <a:moveTo>
                      <a:pt x="39" y="19"/>
                    </a:moveTo>
                    <a:lnTo>
                      <a:pt x="13" y="19"/>
                    </a:lnTo>
                    <a:lnTo>
                      <a:pt x="8" y="19"/>
                    </a:lnTo>
                    <a:lnTo>
                      <a:pt x="5" y="17"/>
                    </a:lnTo>
                    <a:lnTo>
                      <a:pt x="3" y="14"/>
                    </a:lnTo>
                    <a:lnTo>
                      <a:pt x="2" y="11"/>
                    </a:lnTo>
                    <a:lnTo>
                      <a:pt x="0" y="5"/>
                    </a:lnTo>
                    <a:lnTo>
                      <a:pt x="0" y="0"/>
                    </a:lnTo>
                    <a:lnTo>
                      <a:pt x="13" y="4"/>
                    </a:lnTo>
                    <a:lnTo>
                      <a:pt x="22" y="9"/>
                    </a:lnTo>
                    <a:lnTo>
                      <a:pt x="30" y="14"/>
                    </a:lnTo>
                    <a:lnTo>
                      <a:pt x="39" y="19"/>
                    </a:lnTo>
                  </a:path>
                </a:pathLst>
              </a:custGeom>
              <a:grpFill/>
              <a:ln w="9525" cap="flat" cmpd="sng">
                <a:solidFill>
                  <a:srgbClr val="FFFFFF"/>
                </a:solidFill>
                <a:prstDash val="solid"/>
                <a:round/>
                <a:headEnd type="none" w="med" len="med"/>
                <a:tailEnd type="none" w="med" len="med"/>
              </a:ln>
              <a:effectLst/>
            </p:spPr>
            <p:txBody>
              <a:bodyPr/>
              <a:lstStyle/>
              <a:p>
                <a:endParaRPr lang="en-GB" sz="1637"/>
              </a:p>
            </p:txBody>
          </p:sp>
          <p:sp>
            <p:nvSpPr>
              <p:cNvPr id="187" name="Freeform 513"/>
              <p:cNvSpPr>
                <a:spLocks/>
              </p:cNvSpPr>
              <p:nvPr>
                <p:custDataLst>
                  <p:tags r:id="rId170"/>
                </p:custDataLst>
              </p:nvPr>
            </p:nvSpPr>
            <p:spPr bwMode="auto">
              <a:xfrm>
                <a:off x="7579580" y="2156932"/>
                <a:ext cx="15596" cy="64475"/>
              </a:xfrm>
              <a:custGeom>
                <a:avLst/>
                <a:gdLst>
                  <a:gd name="T0" fmla="*/ 0 w 26"/>
                  <a:gd name="T1" fmla="*/ 57150 h 36"/>
                  <a:gd name="T2" fmla="*/ 1649 w 26"/>
                  <a:gd name="T3" fmla="*/ 49213 h 36"/>
                  <a:gd name="T4" fmla="*/ 5495 w 26"/>
                  <a:gd name="T5" fmla="*/ 31750 h 36"/>
                  <a:gd name="T6" fmla="*/ 9891 w 26"/>
                  <a:gd name="T7" fmla="*/ 12700 h 36"/>
                  <a:gd name="T8" fmla="*/ 14287 w 26"/>
                  <a:gd name="T9" fmla="*/ 0 h 36"/>
                  <a:gd name="T10" fmla="*/ 14287 w 26"/>
                  <a:gd name="T11" fmla="*/ 14288 h 36"/>
                  <a:gd name="T12" fmla="*/ 14287 w 26"/>
                  <a:gd name="T13" fmla="*/ 28575 h 36"/>
                  <a:gd name="T14" fmla="*/ 13738 w 26"/>
                  <a:gd name="T15" fmla="*/ 34925 h 36"/>
                  <a:gd name="T16" fmla="*/ 13188 w 26"/>
                  <a:gd name="T17" fmla="*/ 41275 h 36"/>
                  <a:gd name="T18" fmla="*/ 11540 w 26"/>
                  <a:gd name="T19" fmla="*/ 46038 h 36"/>
                  <a:gd name="T20" fmla="*/ 9342 w 26"/>
                  <a:gd name="T21" fmla="*/ 50800 h 36"/>
                  <a:gd name="T22" fmla="*/ 7693 w 26"/>
                  <a:gd name="T23" fmla="*/ 53975 h 36"/>
                  <a:gd name="T24" fmla="*/ 5495 w 26"/>
                  <a:gd name="T25" fmla="*/ 55563 h 36"/>
                  <a:gd name="T26" fmla="*/ 2198 w 26"/>
                  <a:gd name="T27" fmla="*/ 57150 h 36"/>
                  <a:gd name="T28" fmla="*/ 0 w 26"/>
                  <a:gd name="T29" fmla="*/ 57150 h 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6" h="36">
                    <a:moveTo>
                      <a:pt x="0" y="36"/>
                    </a:moveTo>
                    <a:lnTo>
                      <a:pt x="3" y="31"/>
                    </a:lnTo>
                    <a:lnTo>
                      <a:pt x="10" y="20"/>
                    </a:lnTo>
                    <a:lnTo>
                      <a:pt x="18" y="8"/>
                    </a:lnTo>
                    <a:lnTo>
                      <a:pt x="26" y="0"/>
                    </a:lnTo>
                    <a:lnTo>
                      <a:pt x="26" y="9"/>
                    </a:lnTo>
                    <a:lnTo>
                      <a:pt x="26" y="18"/>
                    </a:lnTo>
                    <a:lnTo>
                      <a:pt x="25" y="22"/>
                    </a:lnTo>
                    <a:lnTo>
                      <a:pt x="24" y="26"/>
                    </a:lnTo>
                    <a:lnTo>
                      <a:pt x="21" y="29"/>
                    </a:lnTo>
                    <a:lnTo>
                      <a:pt x="17" y="32"/>
                    </a:lnTo>
                    <a:lnTo>
                      <a:pt x="14" y="34"/>
                    </a:lnTo>
                    <a:lnTo>
                      <a:pt x="10" y="35"/>
                    </a:lnTo>
                    <a:lnTo>
                      <a:pt x="4" y="36"/>
                    </a:lnTo>
                    <a:lnTo>
                      <a:pt x="0" y="36"/>
                    </a:lnTo>
                  </a:path>
                </a:pathLst>
              </a:custGeom>
              <a:grpFill/>
              <a:ln w="9525" cap="flat" cmpd="sng">
                <a:solidFill>
                  <a:srgbClr val="FFFFFF"/>
                </a:solidFill>
                <a:prstDash val="solid"/>
                <a:round/>
                <a:headEnd type="none" w="med" len="med"/>
                <a:tailEnd type="none" w="med" len="med"/>
              </a:ln>
              <a:effectLst/>
            </p:spPr>
            <p:txBody>
              <a:bodyPr/>
              <a:lstStyle/>
              <a:p>
                <a:endParaRPr lang="en-GB" sz="1637"/>
              </a:p>
            </p:txBody>
          </p:sp>
          <p:sp>
            <p:nvSpPr>
              <p:cNvPr id="188" name="Freeform 514"/>
              <p:cNvSpPr>
                <a:spLocks/>
              </p:cNvSpPr>
              <p:nvPr>
                <p:custDataLst>
                  <p:tags r:id="rId171"/>
                </p:custDataLst>
              </p:nvPr>
            </p:nvSpPr>
            <p:spPr bwMode="auto">
              <a:xfrm>
                <a:off x="7591711" y="2189170"/>
                <a:ext cx="3466" cy="68057"/>
              </a:xfrm>
              <a:custGeom>
                <a:avLst/>
                <a:gdLst>
                  <a:gd name="T0" fmla="*/ 0 w 6"/>
                  <a:gd name="T1" fmla="*/ 60325 h 37"/>
                  <a:gd name="T2" fmla="*/ 0 w 6"/>
                  <a:gd name="T3" fmla="*/ 0 h 37"/>
                  <a:gd name="T4" fmla="*/ 3175 w 6"/>
                  <a:gd name="T5" fmla="*/ 0 h 37"/>
                  <a:gd name="T6" fmla="*/ 3175 w 6"/>
                  <a:gd name="T7" fmla="*/ 50543 h 37"/>
                  <a:gd name="T8" fmla="*/ 0 w 6"/>
                  <a:gd name="T9" fmla="*/ 60325 h 3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37">
                    <a:moveTo>
                      <a:pt x="0" y="37"/>
                    </a:moveTo>
                    <a:lnTo>
                      <a:pt x="0" y="0"/>
                    </a:lnTo>
                    <a:lnTo>
                      <a:pt x="6" y="0"/>
                    </a:lnTo>
                    <a:lnTo>
                      <a:pt x="6" y="31"/>
                    </a:lnTo>
                    <a:lnTo>
                      <a:pt x="0" y="37"/>
                    </a:lnTo>
                  </a:path>
                </a:pathLst>
              </a:custGeom>
              <a:grpFill/>
              <a:ln w="9525" cap="flat" cmpd="sng">
                <a:solidFill>
                  <a:srgbClr val="FFFFFF"/>
                </a:solidFill>
                <a:prstDash val="solid"/>
                <a:round/>
                <a:headEnd type="none" w="med" len="med"/>
                <a:tailEnd type="none" w="med" len="med"/>
              </a:ln>
              <a:effectLst/>
            </p:spPr>
            <p:txBody>
              <a:bodyPr/>
              <a:lstStyle/>
              <a:p>
                <a:endParaRPr lang="en-GB" sz="1637"/>
              </a:p>
            </p:txBody>
          </p:sp>
          <p:sp>
            <p:nvSpPr>
              <p:cNvPr id="189" name="Freeform 515"/>
              <p:cNvSpPr>
                <a:spLocks/>
              </p:cNvSpPr>
              <p:nvPr>
                <p:custDataLst>
                  <p:tags r:id="rId172"/>
                </p:custDataLst>
              </p:nvPr>
            </p:nvSpPr>
            <p:spPr bwMode="auto">
              <a:xfrm>
                <a:off x="7577847" y="2282300"/>
                <a:ext cx="10398" cy="62684"/>
              </a:xfrm>
              <a:custGeom>
                <a:avLst/>
                <a:gdLst>
                  <a:gd name="T0" fmla="*/ 0 w 20"/>
                  <a:gd name="T1" fmla="*/ 40057 h 43"/>
                  <a:gd name="T2" fmla="*/ 0 w 20"/>
                  <a:gd name="T3" fmla="*/ 32304 h 43"/>
                  <a:gd name="T4" fmla="*/ 0 w 20"/>
                  <a:gd name="T5" fmla="*/ 23259 h 43"/>
                  <a:gd name="T6" fmla="*/ 953 w 20"/>
                  <a:gd name="T7" fmla="*/ 11629 h 43"/>
                  <a:gd name="T8" fmla="*/ 3334 w 20"/>
                  <a:gd name="T9" fmla="*/ 0 h 43"/>
                  <a:gd name="T10" fmla="*/ 5239 w 20"/>
                  <a:gd name="T11" fmla="*/ 9045 h 43"/>
                  <a:gd name="T12" fmla="*/ 7620 w 20"/>
                  <a:gd name="T13" fmla="*/ 15506 h 43"/>
                  <a:gd name="T14" fmla="*/ 8096 w 20"/>
                  <a:gd name="T15" fmla="*/ 18090 h 43"/>
                  <a:gd name="T16" fmla="*/ 9049 w 20"/>
                  <a:gd name="T17" fmla="*/ 23259 h 43"/>
                  <a:gd name="T18" fmla="*/ 9049 w 20"/>
                  <a:gd name="T19" fmla="*/ 27135 h 43"/>
                  <a:gd name="T20" fmla="*/ 9525 w 20"/>
                  <a:gd name="T21" fmla="*/ 32304 h 43"/>
                  <a:gd name="T22" fmla="*/ 9049 w 20"/>
                  <a:gd name="T23" fmla="*/ 34888 h 43"/>
                  <a:gd name="T24" fmla="*/ 8573 w 20"/>
                  <a:gd name="T25" fmla="*/ 38765 h 43"/>
                  <a:gd name="T26" fmla="*/ 7620 w 20"/>
                  <a:gd name="T27" fmla="*/ 42641 h 43"/>
                  <a:gd name="T28" fmla="*/ 5715 w 20"/>
                  <a:gd name="T29" fmla="*/ 46518 h 43"/>
                  <a:gd name="T30" fmla="*/ 4286 w 20"/>
                  <a:gd name="T31" fmla="*/ 50394 h 43"/>
                  <a:gd name="T32" fmla="*/ 2858 w 20"/>
                  <a:gd name="T33" fmla="*/ 52979 h 43"/>
                  <a:gd name="T34" fmla="*/ 953 w 20"/>
                  <a:gd name="T35" fmla="*/ 54271 h 43"/>
                  <a:gd name="T36" fmla="*/ 0 w 20"/>
                  <a:gd name="T37" fmla="*/ 55563 h 43"/>
                  <a:gd name="T38" fmla="*/ 0 w 20"/>
                  <a:gd name="T39" fmla="*/ 40057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0" h="43">
                    <a:moveTo>
                      <a:pt x="0" y="31"/>
                    </a:moveTo>
                    <a:lnTo>
                      <a:pt x="0" y="25"/>
                    </a:lnTo>
                    <a:lnTo>
                      <a:pt x="0" y="18"/>
                    </a:lnTo>
                    <a:lnTo>
                      <a:pt x="2" y="9"/>
                    </a:lnTo>
                    <a:lnTo>
                      <a:pt x="7" y="0"/>
                    </a:lnTo>
                    <a:lnTo>
                      <a:pt x="11" y="7"/>
                    </a:lnTo>
                    <a:lnTo>
                      <a:pt x="16" y="12"/>
                    </a:lnTo>
                    <a:lnTo>
                      <a:pt x="17" y="14"/>
                    </a:lnTo>
                    <a:lnTo>
                      <a:pt x="19" y="18"/>
                    </a:lnTo>
                    <a:lnTo>
                      <a:pt x="19" y="21"/>
                    </a:lnTo>
                    <a:lnTo>
                      <a:pt x="20" y="25"/>
                    </a:lnTo>
                    <a:lnTo>
                      <a:pt x="19" y="27"/>
                    </a:lnTo>
                    <a:lnTo>
                      <a:pt x="18" y="30"/>
                    </a:lnTo>
                    <a:lnTo>
                      <a:pt x="16" y="33"/>
                    </a:lnTo>
                    <a:lnTo>
                      <a:pt x="12" y="36"/>
                    </a:lnTo>
                    <a:lnTo>
                      <a:pt x="9" y="39"/>
                    </a:lnTo>
                    <a:lnTo>
                      <a:pt x="6" y="41"/>
                    </a:lnTo>
                    <a:lnTo>
                      <a:pt x="2" y="42"/>
                    </a:lnTo>
                    <a:lnTo>
                      <a:pt x="0" y="43"/>
                    </a:lnTo>
                    <a:lnTo>
                      <a:pt x="0" y="31"/>
                    </a:lnTo>
                  </a:path>
                </a:pathLst>
              </a:custGeom>
              <a:grpFill/>
              <a:ln w="9525" cap="flat" cmpd="sng">
                <a:solidFill>
                  <a:srgbClr val="FFFFFF"/>
                </a:solidFill>
                <a:prstDash val="solid"/>
                <a:round/>
                <a:headEnd type="none" w="med" len="med"/>
                <a:tailEnd type="none" w="med" len="med"/>
              </a:ln>
              <a:effectLst/>
            </p:spPr>
            <p:txBody>
              <a:bodyPr/>
              <a:lstStyle/>
              <a:p>
                <a:endParaRPr lang="en-GB" sz="1637"/>
              </a:p>
            </p:txBody>
          </p:sp>
          <p:sp>
            <p:nvSpPr>
              <p:cNvPr id="190" name="Freeform 518"/>
              <p:cNvSpPr>
                <a:spLocks/>
              </p:cNvSpPr>
              <p:nvPr>
                <p:custDataLst>
                  <p:tags r:id="rId173"/>
                </p:custDataLst>
              </p:nvPr>
            </p:nvSpPr>
            <p:spPr bwMode="auto">
              <a:xfrm>
                <a:off x="7284974" y="1856050"/>
                <a:ext cx="19062" cy="68057"/>
              </a:xfrm>
              <a:custGeom>
                <a:avLst/>
                <a:gdLst>
                  <a:gd name="T0" fmla="*/ 0 w 46"/>
                  <a:gd name="T1" fmla="*/ 0 h 19"/>
                  <a:gd name="T2" fmla="*/ 3416 w 46"/>
                  <a:gd name="T3" fmla="*/ 9525 h 19"/>
                  <a:gd name="T4" fmla="*/ 5315 w 46"/>
                  <a:gd name="T5" fmla="*/ 15875 h 19"/>
                  <a:gd name="T6" fmla="*/ 7213 w 46"/>
                  <a:gd name="T7" fmla="*/ 25400 h 19"/>
                  <a:gd name="T8" fmla="*/ 8731 w 46"/>
                  <a:gd name="T9" fmla="*/ 31750 h 19"/>
                  <a:gd name="T10" fmla="*/ 9870 w 46"/>
                  <a:gd name="T11" fmla="*/ 38100 h 19"/>
                  <a:gd name="T12" fmla="*/ 12147 w 46"/>
                  <a:gd name="T13" fmla="*/ 44450 h 19"/>
                  <a:gd name="T14" fmla="*/ 14046 w 46"/>
                  <a:gd name="T15" fmla="*/ 53975 h 19"/>
                  <a:gd name="T16" fmla="*/ 17462 w 46"/>
                  <a:gd name="T17" fmla="*/ 60325 h 19"/>
                  <a:gd name="T18" fmla="*/ 12527 w 46"/>
                  <a:gd name="T19" fmla="*/ 60325 h 19"/>
                  <a:gd name="T20" fmla="*/ 9111 w 46"/>
                  <a:gd name="T21" fmla="*/ 60325 h 19"/>
                  <a:gd name="T22" fmla="*/ 6833 w 46"/>
                  <a:gd name="T23" fmla="*/ 57150 h 19"/>
                  <a:gd name="T24" fmla="*/ 4935 w 46"/>
                  <a:gd name="T25" fmla="*/ 53975 h 19"/>
                  <a:gd name="T26" fmla="*/ 3796 w 46"/>
                  <a:gd name="T27" fmla="*/ 44450 h 19"/>
                  <a:gd name="T28" fmla="*/ 2657 w 46"/>
                  <a:gd name="T29" fmla="*/ 34925 h 19"/>
                  <a:gd name="T30" fmla="*/ 1518 w 46"/>
                  <a:gd name="T31" fmla="*/ 22225 h 19"/>
                  <a:gd name="T32" fmla="*/ 0 w 46"/>
                  <a:gd name="T33" fmla="*/ 0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6" h="19">
                    <a:moveTo>
                      <a:pt x="0" y="0"/>
                    </a:moveTo>
                    <a:lnTo>
                      <a:pt x="9" y="3"/>
                    </a:lnTo>
                    <a:lnTo>
                      <a:pt x="14" y="5"/>
                    </a:lnTo>
                    <a:lnTo>
                      <a:pt x="19" y="8"/>
                    </a:lnTo>
                    <a:lnTo>
                      <a:pt x="23" y="10"/>
                    </a:lnTo>
                    <a:lnTo>
                      <a:pt x="26" y="12"/>
                    </a:lnTo>
                    <a:lnTo>
                      <a:pt x="32" y="14"/>
                    </a:lnTo>
                    <a:lnTo>
                      <a:pt x="37" y="17"/>
                    </a:lnTo>
                    <a:lnTo>
                      <a:pt x="46" y="19"/>
                    </a:lnTo>
                    <a:lnTo>
                      <a:pt x="33" y="19"/>
                    </a:lnTo>
                    <a:lnTo>
                      <a:pt x="24" y="19"/>
                    </a:lnTo>
                    <a:lnTo>
                      <a:pt x="18" y="18"/>
                    </a:lnTo>
                    <a:lnTo>
                      <a:pt x="13" y="17"/>
                    </a:lnTo>
                    <a:lnTo>
                      <a:pt x="10" y="14"/>
                    </a:lnTo>
                    <a:lnTo>
                      <a:pt x="7" y="11"/>
                    </a:lnTo>
                    <a:lnTo>
                      <a:pt x="4" y="7"/>
                    </a:lnTo>
                    <a:lnTo>
                      <a:pt x="0" y="0"/>
                    </a:lnTo>
                  </a:path>
                </a:pathLst>
              </a:custGeom>
              <a:grpFill/>
              <a:ln w="9525" cap="flat" cmpd="sng">
                <a:solidFill>
                  <a:srgbClr val="FFFFFF"/>
                </a:solidFill>
                <a:prstDash val="solid"/>
                <a:round/>
                <a:headEnd type="none" w="med" len="med"/>
                <a:tailEnd type="none" w="med" len="med"/>
              </a:ln>
              <a:effectLst/>
            </p:spPr>
            <p:txBody>
              <a:bodyPr/>
              <a:lstStyle/>
              <a:p>
                <a:endParaRPr lang="en-GB" sz="1637"/>
              </a:p>
            </p:txBody>
          </p:sp>
          <p:sp>
            <p:nvSpPr>
              <p:cNvPr id="191" name="Freeform 520"/>
              <p:cNvSpPr>
                <a:spLocks/>
              </p:cNvSpPr>
              <p:nvPr>
                <p:custDataLst>
                  <p:tags r:id="rId174"/>
                </p:custDataLst>
              </p:nvPr>
            </p:nvSpPr>
            <p:spPr bwMode="auto">
              <a:xfrm>
                <a:off x="4844939" y="1553378"/>
                <a:ext cx="46790" cy="66265"/>
              </a:xfrm>
              <a:custGeom>
                <a:avLst/>
                <a:gdLst>
                  <a:gd name="T0" fmla="*/ 22946 w 99"/>
                  <a:gd name="T1" fmla="*/ 2303 h 51"/>
                  <a:gd name="T2" fmla="*/ 25111 w 99"/>
                  <a:gd name="T3" fmla="*/ 1152 h 51"/>
                  <a:gd name="T4" fmla="*/ 26843 w 99"/>
                  <a:gd name="T5" fmla="*/ 0 h 51"/>
                  <a:gd name="T6" fmla="*/ 28142 w 99"/>
                  <a:gd name="T7" fmla="*/ 0 h 51"/>
                  <a:gd name="T8" fmla="*/ 29874 w 99"/>
                  <a:gd name="T9" fmla="*/ 1152 h 51"/>
                  <a:gd name="T10" fmla="*/ 32038 w 99"/>
                  <a:gd name="T11" fmla="*/ 5759 h 51"/>
                  <a:gd name="T12" fmla="*/ 34203 w 99"/>
                  <a:gd name="T13" fmla="*/ 12669 h 51"/>
                  <a:gd name="T14" fmla="*/ 35935 w 99"/>
                  <a:gd name="T15" fmla="*/ 20731 h 51"/>
                  <a:gd name="T16" fmla="*/ 37667 w 99"/>
                  <a:gd name="T17" fmla="*/ 28793 h 51"/>
                  <a:gd name="T18" fmla="*/ 39398 w 99"/>
                  <a:gd name="T19" fmla="*/ 32248 h 51"/>
                  <a:gd name="T20" fmla="*/ 40264 w 99"/>
                  <a:gd name="T21" fmla="*/ 34551 h 51"/>
                  <a:gd name="T22" fmla="*/ 41563 w 99"/>
                  <a:gd name="T23" fmla="*/ 36855 h 51"/>
                  <a:gd name="T24" fmla="*/ 42862 w 99"/>
                  <a:gd name="T25" fmla="*/ 39158 h 51"/>
                  <a:gd name="T26" fmla="*/ 42862 w 99"/>
                  <a:gd name="T27" fmla="*/ 42613 h 51"/>
                  <a:gd name="T28" fmla="*/ 41996 w 99"/>
                  <a:gd name="T29" fmla="*/ 46068 h 51"/>
                  <a:gd name="T30" fmla="*/ 41130 w 99"/>
                  <a:gd name="T31" fmla="*/ 49523 h 51"/>
                  <a:gd name="T32" fmla="*/ 39398 w 99"/>
                  <a:gd name="T33" fmla="*/ 51827 h 51"/>
                  <a:gd name="T34" fmla="*/ 37234 w 99"/>
                  <a:gd name="T35" fmla="*/ 54130 h 51"/>
                  <a:gd name="T36" fmla="*/ 35069 w 99"/>
                  <a:gd name="T37" fmla="*/ 55282 h 51"/>
                  <a:gd name="T38" fmla="*/ 32038 w 99"/>
                  <a:gd name="T39" fmla="*/ 57585 h 51"/>
                  <a:gd name="T40" fmla="*/ 29441 w 99"/>
                  <a:gd name="T41" fmla="*/ 57585 h 51"/>
                  <a:gd name="T42" fmla="*/ 22513 w 99"/>
                  <a:gd name="T43" fmla="*/ 58737 h 51"/>
                  <a:gd name="T44" fmla="*/ 15586 w 99"/>
                  <a:gd name="T45" fmla="*/ 56434 h 51"/>
                  <a:gd name="T46" fmla="*/ 11690 w 99"/>
                  <a:gd name="T47" fmla="*/ 55282 h 51"/>
                  <a:gd name="T48" fmla="*/ 7793 w 99"/>
                  <a:gd name="T49" fmla="*/ 51827 h 51"/>
                  <a:gd name="T50" fmla="*/ 3897 w 99"/>
                  <a:gd name="T51" fmla="*/ 49523 h 51"/>
                  <a:gd name="T52" fmla="*/ 433 w 99"/>
                  <a:gd name="T53" fmla="*/ 46068 h 51"/>
                  <a:gd name="T54" fmla="*/ 0 w 99"/>
                  <a:gd name="T55" fmla="*/ 44917 h 51"/>
                  <a:gd name="T56" fmla="*/ 433 w 99"/>
                  <a:gd name="T57" fmla="*/ 42613 h 51"/>
                  <a:gd name="T58" fmla="*/ 1299 w 99"/>
                  <a:gd name="T59" fmla="*/ 40310 h 51"/>
                  <a:gd name="T60" fmla="*/ 2598 w 99"/>
                  <a:gd name="T61" fmla="*/ 38006 h 51"/>
                  <a:gd name="T62" fmla="*/ 6061 w 99"/>
                  <a:gd name="T63" fmla="*/ 33399 h 51"/>
                  <a:gd name="T64" fmla="*/ 10824 w 99"/>
                  <a:gd name="T65" fmla="*/ 27641 h 51"/>
                  <a:gd name="T66" fmla="*/ 15153 w 99"/>
                  <a:gd name="T67" fmla="*/ 21882 h 51"/>
                  <a:gd name="T68" fmla="*/ 19483 w 99"/>
                  <a:gd name="T69" fmla="*/ 13820 h 51"/>
                  <a:gd name="T70" fmla="*/ 20782 w 99"/>
                  <a:gd name="T71" fmla="*/ 11517 h 51"/>
                  <a:gd name="T72" fmla="*/ 22080 w 99"/>
                  <a:gd name="T73" fmla="*/ 8062 h 51"/>
                  <a:gd name="T74" fmla="*/ 22513 w 99"/>
                  <a:gd name="T75" fmla="*/ 5759 h 51"/>
                  <a:gd name="T76" fmla="*/ 22946 w 99"/>
                  <a:gd name="T77" fmla="*/ 2303 h 5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99" h="51">
                    <a:moveTo>
                      <a:pt x="53" y="2"/>
                    </a:moveTo>
                    <a:lnTo>
                      <a:pt x="58" y="1"/>
                    </a:lnTo>
                    <a:lnTo>
                      <a:pt x="62" y="0"/>
                    </a:lnTo>
                    <a:lnTo>
                      <a:pt x="65" y="0"/>
                    </a:lnTo>
                    <a:lnTo>
                      <a:pt x="69" y="1"/>
                    </a:lnTo>
                    <a:lnTo>
                      <a:pt x="74" y="5"/>
                    </a:lnTo>
                    <a:lnTo>
                      <a:pt x="79" y="11"/>
                    </a:lnTo>
                    <a:lnTo>
                      <a:pt x="83" y="18"/>
                    </a:lnTo>
                    <a:lnTo>
                      <a:pt x="87" y="25"/>
                    </a:lnTo>
                    <a:lnTo>
                      <a:pt x="91" y="28"/>
                    </a:lnTo>
                    <a:lnTo>
                      <a:pt x="93" y="30"/>
                    </a:lnTo>
                    <a:lnTo>
                      <a:pt x="96" y="32"/>
                    </a:lnTo>
                    <a:lnTo>
                      <a:pt x="99" y="34"/>
                    </a:lnTo>
                    <a:lnTo>
                      <a:pt x="99" y="37"/>
                    </a:lnTo>
                    <a:lnTo>
                      <a:pt x="97" y="40"/>
                    </a:lnTo>
                    <a:lnTo>
                      <a:pt x="95" y="43"/>
                    </a:lnTo>
                    <a:lnTo>
                      <a:pt x="91" y="45"/>
                    </a:lnTo>
                    <a:lnTo>
                      <a:pt x="86" y="47"/>
                    </a:lnTo>
                    <a:lnTo>
                      <a:pt x="81" y="48"/>
                    </a:lnTo>
                    <a:lnTo>
                      <a:pt x="74" y="50"/>
                    </a:lnTo>
                    <a:lnTo>
                      <a:pt x="68" y="50"/>
                    </a:lnTo>
                    <a:lnTo>
                      <a:pt x="52" y="51"/>
                    </a:lnTo>
                    <a:lnTo>
                      <a:pt x="36" y="49"/>
                    </a:lnTo>
                    <a:lnTo>
                      <a:pt x="27" y="48"/>
                    </a:lnTo>
                    <a:lnTo>
                      <a:pt x="18" y="45"/>
                    </a:lnTo>
                    <a:lnTo>
                      <a:pt x="9" y="43"/>
                    </a:lnTo>
                    <a:lnTo>
                      <a:pt x="1" y="40"/>
                    </a:lnTo>
                    <a:lnTo>
                      <a:pt x="0" y="39"/>
                    </a:lnTo>
                    <a:lnTo>
                      <a:pt x="1" y="37"/>
                    </a:lnTo>
                    <a:lnTo>
                      <a:pt x="3" y="35"/>
                    </a:lnTo>
                    <a:lnTo>
                      <a:pt x="6" y="33"/>
                    </a:lnTo>
                    <a:lnTo>
                      <a:pt x="14" y="29"/>
                    </a:lnTo>
                    <a:lnTo>
                      <a:pt x="25" y="24"/>
                    </a:lnTo>
                    <a:lnTo>
                      <a:pt x="35" y="19"/>
                    </a:lnTo>
                    <a:lnTo>
                      <a:pt x="45" y="12"/>
                    </a:lnTo>
                    <a:lnTo>
                      <a:pt x="48" y="10"/>
                    </a:lnTo>
                    <a:lnTo>
                      <a:pt x="51" y="7"/>
                    </a:lnTo>
                    <a:lnTo>
                      <a:pt x="52" y="5"/>
                    </a:lnTo>
                    <a:lnTo>
                      <a:pt x="53" y="2"/>
                    </a:lnTo>
                  </a:path>
                </a:pathLst>
              </a:custGeom>
              <a:grpFill/>
              <a:ln w="9525" cap="flat" cmpd="sng">
                <a:solidFill>
                  <a:srgbClr val="FFFFFF"/>
                </a:solidFill>
                <a:prstDash val="solid"/>
                <a:round/>
                <a:headEnd type="none" w="med" len="med"/>
                <a:tailEnd type="none" w="med" len="med"/>
              </a:ln>
              <a:effectLst/>
            </p:spPr>
            <p:txBody>
              <a:bodyPr/>
              <a:lstStyle/>
              <a:p>
                <a:endParaRPr lang="en-GB" sz="1637"/>
              </a:p>
            </p:txBody>
          </p:sp>
          <p:sp>
            <p:nvSpPr>
              <p:cNvPr id="192" name="Freeform 521"/>
              <p:cNvSpPr>
                <a:spLocks/>
              </p:cNvSpPr>
              <p:nvPr>
                <p:custDataLst>
                  <p:tags r:id="rId175"/>
                </p:custDataLst>
              </p:nvPr>
            </p:nvSpPr>
            <p:spPr bwMode="auto">
              <a:xfrm>
                <a:off x="4883065" y="1342044"/>
                <a:ext cx="249549" cy="184469"/>
              </a:xfrm>
              <a:custGeom>
                <a:avLst/>
                <a:gdLst>
                  <a:gd name="T0" fmla="*/ 137160 w 525"/>
                  <a:gd name="T1" fmla="*/ 14196 h 311"/>
                  <a:gd name="T2" fmla="*/ 148917 w 525"/>
                  <a:gd name="T3" fmla="*/ 11041 h 311"/>
                  <a:gd name="T4" fmla="*/ 167640 w 525"/>
                  <a:gd name="T5" fmla="*/ 10515 h 311"/>
                  <a:gd name="T6" fmla="*/ 177655 w 525"/>
                  <a:gd name="T7" fmla="*/ 8938 h 311"/>
                  <a:gd name="T8" fmla="*/ 185928 w 525"/>
                  <a:gd name="T9" fmla="*/ 3680 h 311"/>
                  <a:gd name="T10" fmla="*/ 223810 w 525"/>
                  <a:gd name="T11" fmla="*/ 3155 h 311"/>
                  <a:gd name="T12" fmla="*/ 228600 w 525"/>
                  <a:gd name="T13" fmla="*/ 9989 h 311"/>
                  <a:gd name="T14" fmla="*/ 203781 w 525"/>
                  <a:gd name="T15" fmla="*/ 24711 h 311"/>
                  <a:gd name="T16" fmla="*/ 170688 w 525"/>
                  <a:gd name="T17" fmla="*/ 38381 h 311"/>
                  <a:gd name="T18" fmla="*/ 155013 w 525"/>
                  <a:gd name="T19" fmla="*/ 42061 h 311"/>
                  <a:gd name="T20" fmla="*/ 139773 w 525"/>
                  <a:gd name="T21" fmla="*/ 43638 h 311"/>
                  <a:gd name="T22" fmla="*/ 121485 w 525"/>
                  <a:gd name="T23" fmla="*/ 53102 h 311"/>
                  <a:gd name="T24" fmla="*/ 106245 w 525"/>
                  <a:gd name="T25" fmla="*/ 63617 h 311"/>
                  <a:gd name="T26" fmla="*/ 94923 w 525"/>
                  <a:gd name="T27" fmla="*/ 67823 h 311"/>
                  <a:gd name="T28" fmla="*/ 81425 w 525"/>
                  <a:gd name="T29" fmla="*/ 64669 h 311"/>
                  <a:gd name="T30" fmla="*/ 77506 w 525"/>
                  <a:gd name="T31" fmla="*/ 72029 h 311"/>
                  <a:gd name="T32" fmla="*/ 76200 w 525"/>
                  <a:gd name="T33" fmla="*/ 76235 h 311"/>
                  <a:gd name="T34" fmla="*/ 80554 w 525"/>
                  <a:gd name="T35" fmla="*/ 77813 h 311"/>
                  <a:gd name="T36" fmla="*/ 80119 w 525"/>
                  <a:gd name="T37" fmla="*/ 82545 h 311"/>
                  <a:gd name="T38" fmla="*/ 76635 w 525"/>
                  <a:gd name="T39" fmla="*/ 87802 h 311"/>
                  <a:gd name="T40" fmla="*/ 78377 w 525"/>
                  <a:gd name="T41" fmla="*/ 94111 h 311"/>
                  <a:gd name="T42" fmla="*/ 70539 w 525"/>
                  <a:gd name="T43" fmla="*/ 101998 h 311"/>
                  <a:gd name="T44" fmla="*/ 62702 w 525"/>
                  <a:gd name="T45" fmla="*/ 107255 h 311"/>
                  <a:gd name="T46" fmla="*/ 61395 w 525"/>
                  <a:gd name="T47" fmla="*/ 111987 h 311"/>
                  <a:gd name="T48" fmla="*/ 62702 w 525"/>
                  <a:gd name="T49" fmla="*/ 119874 h 311"/>
                  <a:gd name="T50" fmla="*/ 70975 w 525"/>
                  <a:gd name="T51" fmla="*/ 129863 h 311"/>
                  <a:gd name="T52" fmla="*/ 83167 w 525"/>
                  <a:gd name="T53" fmla="*/ 140378 h 311"/>
                  <a:gd name="T54" fmla="*/ 111470 w 525"/>
                  <a:gd name="T55" fmla="*/ 157729 h 311"/>
                  <a:gd name="T56" fmla="*/ 105809 w 525"/>
                  <a:gd name="T57" fmla="*/ 163512 h 311"/>
                  <a:gd name="T58" fmla="*/ 82296 w 525"/>
                  <a:gd name="T59" fmla="*/ 162460 h 311"/>
                  <a:gd name="T60" fmla="*/ 63137 w 525"/>
                  <a:gd name="T61" fmla="*/ 161935 h 311"/>
                  <a:gd name="T62" fmla="*/ 56170 w 525"/>
                  <a:gd name="T63" fmla="*/ 159832 h 311"/>
                  <a:gd name="T64" fmla="*/ 53558 w 525"/>
                  <a:gd name="T65" fmla="*/ 156677 h 311"/>
                  <a:gd name="T66" fmla="*/ 52251 w 525"/>
                  <a:gd name="T67" fmla="*/ 148265 h 311"/>
                  <a:gd name="T68" fmla="*/ 50510 w 525"/>
                  <a:gd name="T69" fmla="*/ 146162 h 311"/>
                  <a:gd name="T70" fmla="*/ 41366 w 525"/>
                  <a:gd name="T71" fmla="*/ 145636 h 311"/>
                  <a:gd name="T72" fmla="*/ 34834 w 525"/>
                  <a:gd name="T73" fmla="*/ 155626 h 311"/>
                  <a:gd name="T74" fmla="*/ 19159 w 525"/>
                  <a:gd name="T75" fmla="*/ 148265 h 311"/>
                  <a:gd name="T76" fmla="*/ 0 w 525"/>
                  <a:gd name="T77" fmla="*/ 129337 h 311"/>
                  <a:gd name="T78" fmla="*/ 7838 w 525"/>
                  <a:gd name="T79" fmla="*/ 125657 h 311"/>
                  <a:gd name="T80" fmla="*/ 14805 w 525"/>
                  <a:gd name="T81" fmla="*/ 116719 h 311"/>
                  <a:gd name="T82" fmla="*/ 12192 w 525"/>
                  <a:gd name="T83" fmla="*/ 111987 h 311"/>
                  <a:gd name="T84" fmla="*/ 14805 w 525"/>
                  <a:gd name="T85" fmla="*/ 105152 h 311"/>
                  <a:gd name="T86" fmla="*/ 17417 w 525"/>
                  <a:gd name="T87" fmla="*/ 98843 h 311"/>
                  <a:gd name="T88" fmla="*/ 14805 w 525"/>
                  <a:gd name="T89" fmla="*/ 94111 h 311"/>
                  <a:gd name="T90" fmla="*/ 58347 w 525"/>
                  <a:gd name="T91" fmla="*/ 94111 h 311"/>
                  <a:gd name="T92" fmla="*/ 57041 w 525"/>
                  <a:gd name="T93" fmla="*/ 93060 h 311"/>
                  <a:gd name="T94" fmla="*/ 39189 w 525"/>
                  <a:gd name="T95" fmla="*/ 87277 h 311"/>
                  <a:gd name="T96" fmla="*/ 23513 w 525"/>
                  <a:gd name="T97" fmla="*/ 77813 h 311"/>
                  <a:gd name="T98" fmla="*/ 36576 w 525"/>
                  <a:gd name="T99" fmla="*/ 70452 h 311"/>
                  <a:gd name="T100" fmla="*/ 52251 w 525"/>
                  <a:gd name="T101" fmla="*/ 58360 h 311"/>
                  <a:gd name="T102" fmla="*/ 48333 w 525"/>
                  <a:gd name="T103" fmla="*/ 54153 h 311"/>
                  <a:gd name="T104" fmla="*/ 43543 w 525"/>
                  <a:gd name="T105" fmla="*/ 42061 h 311"/>
                  <a:gd name="T106" fmla="*/ 55299 w 525"/>
                  <a:gd name="T107" fmla="*/ 39958 h 311"/>
                  <a:gd name="T108" fmla="*/ 80119 w 525"/>
                  <a:gd name="T109" fmla="*/ 30494 h 311"/>
                  <a:gd name="T110" fmla="*/ 110599 w 525"/>
                  <a:gd name="T111" fmla="*/ 18402 h 31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525" h="311">
                    <a:moveTo>
                      <a:pt x="273" y="31"/>
                    </a:moveTo>
                    <a:lnTo>
                      <a:pt x="307" y="31"/>
                    </a:lnTo>
                    <a:lnTo>
                      <a:pt x="315" y="27"/>
                    </a:lnTo>
                    <a:lnTo>
                      <a:pt x="324" y="24"/>
                    </a:lnTo>
                    <a:lnTo>
                      <a:pt x="333" y="22"/>
                    </a:lnTo>
                    <a:lnTo>
                      <a:pt x="342" y="21"/>
                    </a:lnTo>
                    <a:lnTo>
                      <a:pt x="359" y="20"/>
                    </a:lnTo>
                    <a:lnTo>
                      <a:pt x="377" y="20"/>
                    </a:lnTo>
                    <a:lnTo>
                      <a:pt x="385" y="20"/>
                    </a:lnTo>
                    <a:lnTo>
                      <a:pt x="393" y="20"/>
                    </a:lnTo>
                    <a:lnTo>
                      <a:pt x="401" y="19"/>
                    </a:lnTo>
                    <a:lnTo>
                      <a:pt x="408" y="17"/>
                    </a:lnTo>
                    <a:lnTo>
                      <a:pt x="415" y="15"/>
                    </a:lnTo>
                    <a:lnTo>
                      <a:pt x="421" y="11"/>
                    </a:lnTo>
                    <a:lnTo>
                      <a:pt x="427" y="7"/>
                    </a:lnTo>
                    <a:lnTo>
                      <a:pt x="433" y="0"/>
                    </a:lnTo>
                    <a:lnTo>
                      <a:pt x="512" y="0"/>
                    </a:lnTo>
                    <a:lnTo>
                      <a:pt x="514" y="6"/>
                    </a:lnTo>
                    <a:lnTo>
                      <a:pt x="519" y="12"/>
                    </a:lnTo>
                    <a:lnTo>
                      <a:pt x="523" y="17"/>
                    </a:lnTo>
                    <a:lnTo>
                      <a:pt x="525" y="19"/>
                    </a:lnTo>
                    <a:lnTo>
                      <a:pt x="511" y="26"/>
                    </a:lnTo>
                    <a:lnTo>
                      <a:pt x="491" y="36"/>
                    </a:lnTo>
                    <a:lnTo>
                      <a:pt x="468" y="47"/>
                    </a:lnTo>
                    <a:lnTo>
                      <a:pt x="443" y="57"/>
                    </a:lnTo>
                    <a:lnTo>
                      <a:pt x="418" y="66"/>
                    </a:lnTo>
                    <a:lnTo>
                      <a:pt x="392" y="73"/>
                    </a:lnTo>
                    <a:lnTo>
                      <a:pt x="379" y="76"/>
                    </a:lnTo>
                    <a:lnTo>
                      <a:pt x="368" y="78"/>
                    </a:lnTo>
                    <a:lnTo>
                      <a:pt x="356" y="80"/>
                    </a:lnTo>
                    <a:lnTo>
                      <a:pt x="346" y="80"/>
                    </a:lnTo>
                    <a:lnTo>
                      <a:pt x="333" y="81"/>
                    </a:lnTo>
                    <a:lnTo>
                      <a:pt x="321" y="83"/>
                    </a:lnTo>
                    <a:lnTo>
                      <a:pt x="309" y="86"/>
                    </a:lnTo>
                    <a:lnTo>
                      <a:pt x="299" y="90"/>
                    </a:lnTo>
                    <a:lnTo>
                      <a:pt x="279" y="101"/>
                    </a:lnTo>
                    <a:lnTo>
                      <a:pt x="262" y="111"/>
                    </a:lnTo>
                    <a:lnTo>
                      <a:pt x="253" y="116"/>
                    </a:lnTo>
                    <a:lnTo>
                      <a:pt x="244" y="121"/>
                    </a:lnTo>
                    <a:lnTo>
                      <a:pt x="235" y="124"/>
                    </a:lnTo>
                    <a:lnTo>
                      <a:pt x="226" y="127"/>
                    </a:lnTo>
                    <a:lnTo>
                      <a:pt x="218" y="129"/>
                    </a:lnTo>
                    <a:lnTo>
                      <a:pt x="208" y="129"/>
                    </a:lnTo>
                    <a:lnTo>
                      <a:pt x="198" y="127"/>
                    </a:lnTo>
                    <a:lnTo>
                      <a:pt x="187" y="123"/>
                    </a:lnTo>
                    <a:lnTo>
                      <a:pt x="186" y="128"/>
                    </a:lnTo>
                    <a:lnTo>
                      <a:pt x="183" y="133"/>
                    </a:lnTo>
                    <a:lnTo>
                      <a:pt x="178" y="137"/>
                    </a:lnTo>
                    <a:lnTo>
                      <a:pt x="174" y="142"/>
                    </a:lnTo>
                    <a:lnTo>
                      <a:pt x="174" y="144"/>
                    </a:lnTo>
                    <a:lnTo>
                      <a:pt x="175" y="145"/>
                    </a:lnTo>
                    <a:lnTo>
                      <a:pt x="177" y="146"/>
                    </a:lnTo>
                    <a:lnTo>
                      <a:pt x="180" y="147"/>
                    </a:lnTo>
                    <a:lnTo>
                      <a:pt x="185" y="148"/>
                    </a:lnTo>
                    <a:lnTo>
                      <a:pt x="187" y="148"/>
                    </a:lnTo>
                    <a:lnTo>
                      <a:pt x="186" y="152"/>
                    </a:lnTo>
                    <a:lnTo>
                      <a:pt x="184" y="157"/>
                    </a:lnTo>
                    <a:lnTo>
                      <a:pt x="181" y="160"/>
                    </a:lnTo>
                    <a:lnTo>
                      <a:pt x="178" y="164"/>
                    </a:lnTo>
                    <a:lnTo>
                      <a:pt x="176" y="167"/>
                    </a:lnTo>
                    <a:lnTo>
                      <a:pt x="175" y="171"/>
                    </a:lnTo>
                    <a:lnTo>
                      <a:pt x="176" y="175"/>
                    </a:lnTo>
                    <a:lnTo>
                      <a:pt x="180" y="179"/>
                    </a:lnTo>
                    <a:lnTo>
                      <a:pt x="175" y="185"/>
                    </a:lnTo>
                    <a:lnTo>
                      <a:pt x="168" y="190"/>
                    </a:lnTo>
                    <a:lnTo>
                      <a:pt x="162" y="194"/>
                    </a:lnTo>
                    <a:lnTo>
                      <a:pt x="155" y="197"/>
                    </a:lnTo>
                    <a:lnTo>
                      <a:pt x="150" y="201"/>
                    </a:lnTo>
                    <a:lnTo>
                      <a:pt x="144" y="204"/>
                    </a:lnTo>
                    <a:lnTo>
                      <a:pt x="143" y="207"/>
                    </a:lnTo>
                    <a:lnTo>
                      <a:pt x="141" y="209"/>
                    </a:lnTo>
                    <a:lnTo>
                      <a:pt x="141" y="213"/>
                    </a:lnTo>
                    <a:lnTo>
                      <a:pt x="140" y="216"/>
                    </a:lnTo>
                    <a:lnTo>
                      <a:pt x="141" y="222"/>
                    </a:lnTo>
                    <a:lnTo>
                      <a:pt x="144" y="228"/>
                    </a:lnTo>
                    <a:lnTo>
                      <a:pt x="149" y="234"/>
                    </a:lnTo>
                    <a:lnTo>
                      <a:pt x="155" y="241"/>
                    </a:lnTo>
                    <a:lnTo>
                      <a:pt x="163" y="247"/>
                    </a:lnTo>
                    <a:lnTo>
                      <a:pt x="172" y="254"/>
                    </a:lnTo>
                    <a:lnTo>
                      <a:pt x="181" y="260"/>
                    </a:lnTo>
                    <a:lnTo>
                      <a:pt x="191" y="267"/>
                    </a:lnTo>
                    <a:lnTo>
                      <a:pt x="213" y="279"/>
                    </a:lnTo>
                    <a:lnTo>
                      <a:pt x="235" y="290"/>
                    </a:lnTo>
                    <a:lnTo>
                      <a:pt x="256" y="300"/>
                    </a:lnTo>
                    <a:lnTo>
                      <a:pt x="273" y="308"/>
                    </a:lnTo>
                    <a:lnTo>
                      <a:pt x="258" y="310"/>
                    </a:lnTo>
                    <a:lnTo>
                      <a:pt x="243" y="311"/>
                    </a:lnTo>
                    <a:lnTo>
                      <a:pt x="229" y="311"/>
                    </a:lnTo>
                    <a:lnTo>
                      <a:pt x="214" y="310"/>
                    </a:lnTo>
                    <a:lnTo>
                      <a:pt x="189" y="309"/>
                    </a:lnTo>
                    <a:lnTo>
                      <a:pt x="167" y="308"/>
                    </a:lnTo>
                    <a:lnTo>
                      <a:pt x="155" y="308"/>
                    </a:lnTo>
                    <a:lnTo>
                      <a:pt x="145" y="308"/>
                    </a:lnTo>
                    <a:lnTo>
                      <a:pt x="138" y="307"/>
                    </a:lnTo>
                    <a:lnTo>
                      <a:pt x="131" y="305"/>
                    </a:lnTo>
                    <a:lnTo>
                      <a:pt x="129" y="304"/>
                    </a:lnTo>
                    <a:lnTo>
                      <a:pt x="127" y="302"/>
                    </a:lnTo>
                    <a:lnTo>
                      <a:pt x="124" y="300"/>
                    </a:lnTo>
                    <a:lnTo>
                      <a:pt x="123" y="298"/>
                    </a:lnTo>
                    <a:lnTo>
                      <a:pt x="121" y="292"/>
                    </a:lnTo>
                    <a:lnTo>
                      <a:pt x="120" y="284"/>
                    </a:lnTo>
                    <a:lnTo>
                      <a:pt x="120" y="282"/>
                    </a:lnTo>
                    <a:lnTo>
                      <a:pt x="119" y="280"/>
                    </a:lnTo>
                    <a:lnTo>
                      <a:pt x="118" y="279"/>
                    </a:lnTo>
                    <a:lnTo>
                      <a:pt x="116" y="278"/>
                    </a:lnTo>
                    <a:lnTo>
                      <a:pt x="111" y="277"/>
                    </a:lnTo>
                    <a:lnTo>
                      <a:pt x="106" y="276"/>
                    </a:lnTo>
                    <a:lnTo>
                      <a:pt x="95" y="277"/>
                    </a:lnTo>
                    <a:lnTo>
                      <a:pt x="87" y="278"/>
                    </a:lnTo>
                    <a:lnTo>
                      <a:pt x="84" y="287"/>
                    </a:lnTo>
                    <a:lnTo>
                      <a:pt x="80" y="296"/>
                    </a:lnTo>
                    <a:lnTo>
                      <a:pt x="66" y="291"/>
                    </a:lnTo>
                    <a:lnTo>
                      <a:pt x="55" y="287"/>
                    </a:lnTo>
                    <a:lnTo>
                      <a:pt x="44" y="282"/>
                    </a:lnTo>
                    <a:lnTo>
                      <a:pt x="35" y="276"/>
                    </a:lnTo>
                    <a:lnTo>
                      <a:pt x="19" y="263"/>
                    </a:lnTo>
                    <a:lnTo>
                      <a:pt x="0" y="246"/>
                    </a:lnTo>
                    <a:lnTo>
                      <a:pt x="8" y="244"/>
                    </a:lnTo>
                    <a:lnTo>
                      <a:pt x="13" y="242"/>
                    </a:lnTo>
                    <a:lnTo>
                      <a:pt x="18" y="239"/>
                    </a:lnTo>
                    <a:lnTo>
                      <a:pt x="22" y="237"/>
                    </a:lnTo>
                    <a:lnTo>
                      <a:pt x="29" y="230"/>
                    </a:lnTo>
                    <a:lnTo>
                      <a:pt x="34" y="222"/>
                    </a:lnTo>
                    <a:lnTo>
                      <a:pt x="31" y="219"/>
                    </a:lnTo>
                    <a:lnTo>
                      <a:pt x="29" y="216"/>
                    </a:lnTo>
                    <a:lnTo>
                      <a:pt x="28" y="213"/>
                    </a:lnTo>
                    <a:lnTo>
                      <a:pt x="28" y="211"/>
                    </a:lnTo>
                    <a:lnTo>
                      <a:pt x="30" y="205"/>
                    </a:lnTo>
                    <a:lnTo>
                      <a:pt x="34" y="200"/>
                    </a:lnTo>
                    <a:lnTo>
                      <a:pt x="38" y="196"/>
                    </a:lnTo>
                    <a:lnTo>
                      <a:pt x="40" y="191"/>
                    </a:lnTo>
                    <a:lnTo>
                      <a:pt x="40" y="188"/>
                    </a:lnTo>
                    <a:lnTo>
                      <a:pt x="39" y="185"/>
                    </a:lnTo>
                    <a:lnTo>
                      <a:pt x="37" y="182"/>
                    </a:lnTo>
                    <a:lnTo>
                      <a:pt x="34" y="179"/>
                    </a:lnTo>
                    <a:lnTo>
                      <a:pt x="73" y="179"/>
                    </a:lnTo>
                    <a:lnTo>
                      <a:pt x="106" y="179"/>
                    </a:lnTo>
                    <a:lnTo>
                      <a:pt x="134" y="179"/>
                    </a:lnTo>
                    <a:lnTo>
                      <a:pt x="167" y="179"/>
                    </a:lnTo>
                    <a:lnTo>
                      <a:pt x="147" y="178"/>
                    </a:lnTo>
                    <a:lnTo>
                      <a:pt x="131" y="177"/>
                    </a:lnTo>
                    <a:lnTo>
                      <a:pt x="117" y="174"/>
                    </a:lnTo>
                    <a:lnTo>
                      <a:pt x="102" y="171"/>
                    </a:lnTo>
                    <a:lnTo>
                      <a:pt x="90" y="166"/>
                    </a:lnTo>
                    <a:lnTo>
                      <a:pt x="78" y="161"/>
                    </a:lnTo>
                    <a:lnTo>
                      <a:pt x="66" y="155"/>
                    </a:lnTo>
                    <a:lnTo>
                      <a:pt x="54" y="148"/>
                    </a:lnTo>
                    <a:lnTo>
                      <a:pt x="65" y="143"/>
                    </a:lnTo>
                    <a:lnTo>
                      <a:pt x="75" y="139"/>
                    </a:lnTo>
                    <a:lnTo>
                      <a:pt x="84" y="134"/>
                    </a:lnTo>
                    <a:lnTo>
                      <a:pt x="91" y="130"/>
                    </a:lnTo>
                    <a:lnTo>
                      <a:pt x="106" y="120"/>
                    </a:lnTo>
                    <a:lnTo>
                      <a:pt x="120" y="111"/>
                    </a:lnTo>
                    <a:lnTo>
                      <a:pt x="118" y="110"/>
                    </a:lnTo>
                    <a:lnTo>
                      <a:pt x="115" y="108"/>
                    </a:lnTo>
                    <a:lnTo>
                      <a:pt x="111" y="103"/>
                    </a:lnTo>
                    <a:lnTo>
                      <a:pt x="108" y="99"/>
                    </a:lnTo>
                    <a:lnTo>
                      <a:pt x="102" y="87"/>
                    </a:lnTo>
                    <a:lnTo>
                      <a:pt x="100" y="80"/>
                    </a:lnTo>
                    <a:lnTo>
                      <a:pt x="108" y="80"/>
                    </a:lnTo>
                    <a:lnTo>
                      <a:pt x="117" y="78"/>
                    </a:lnTo>
                    <a:lnTo>
                      <a:pt x="127" y="76"/>
                    </a:lnTo>
                    <a:lnTo>
                      <a:pt x="138" y="73"/>
                    </a:lnTo>
                    <a:lnTo>
                      <a:pt x="161" y="66"/>
                    </a:lnTo>
                    <a:lnTo>
                      <a:pt x="184" y="58"/>
                    </a:lnTo>
                    <a:lnTo>
                      <a:pt x="209" y="50"/>
                    </a:lnTo>
                    <a:lnTo>
                      <a:pt x="232" y="41"/>
                    </a:lnTo>
                    <a:lnTo>
                      <a:pt x="254" y="35"/>
                    </a:lnTo>
                    <a:lnTo>
                      <a:pt x="273" y="31"/>
                    </a:lnTo>
                  </a:path>
                </a:pathLst>
              </a:custGeom>
              <a:grpFill/>
              <a:ln w="9525" cap="flat" cmpd="sng">
                <a:solidFill>
                  <a:srgbClr val="FFFFFF"/>
                </a:solidFill>
                <a:prstDash val="solid"/>
                <a:round/>
                <a:headEnd type="none" w="med" len="med"/>
                <a:tailEnd type="none" w="med" len="med"/>
              </a:ln>
              <a:effectLst/>
            </p:spPr>
            <p:txBody>
              <a:bodyPr/>
              <a:lstStyle/>
              <a:p>
                <a:endParaRPr lang="en-GB" sz="1637"/>
              </a:p>
            </p:txBody>
          </p:sp>
          <p:sp>
            <p:nvSpPr>
              <p:cNvPr id="193" name="Freeform 522"/>
              <p:cNvSpPr>
                <a:spLocks/>
              </p:cNvSpPr>
              <p:nvPr>
                <p:custDataLst>
                  <p:tags r:id="rId176"/>
                </p:custDataLst>
              </p:nvPr>
            </p:nvSpPr>
            <p:spPr bwMode="auto">
              <a:xfrm>
                <a:off x="4656044" y="1693073"/>
                <a:ext cx="34660" cy="62683"/>
              </a:xfrm>
              <a:custGeom>
                <a:avLst/>
                <a:gdLst>
                  <a:gd name="T0" fmla="*/ 18487 w 79"/>
                  <a:gd name="T1" fmla="*/ 0 h 38"/>
                  <a:gd name="T2" fmla="*/ 21703 w 79"/>
                  <a:gd name="T3" fmla="*/ 1462 h 38"/>
                  <a:gd name="T4" fmla="*/ 24918 w 79"/>
                  <a:gd name="T5" fmla="*/ 4386 h 38"/>
                  <a:gd name="T6" fmla="*/ 27329 w 79"/>
                  <a:gd name="T7" fmla="*/ 10235 h 38"/>
                  <a:gd name="T8" fmla="*/ 28937 w 79"/>
                  <a:gd name="T9" fmla="*/ 17546 h 38"/>
                  <a:gd name="T10" fmla="*/ 30142 w 79"/>
                  <a:gd name="T11" fmla="*/ 24857 h 38"/>
                  <a:gd name="T12" fmla="*/ 30946 w 79"/>
                  <a:gd name="T13" fmla="*/ 32167 h 38"/>
                  <a:gd name="T14" fmla="*/ 31750 w 79"/>
                  <a:gd name="T15" fmla="*/ 39478 h 38"/>
                  <a:gd name="T16" fmla="*/ 31750 w 79"/>
                  <a:gd name="T17" fmla="*/ 46789 h 38"/>
                  <a:gd name="T18" fmla="*/ 30946 w 79"/>
                  <a:gd name="T19" fmla="*/ 49713 h 38"/>
                  <a:gd name="T20" fmla="*/ 30142 w 79"/>
                  <a:gd name="T21" fmla="*/ 51176 h 38"/>
                  <a:gd name="T22" fmla="*/ 28937 w 79"/>
                  <a:gd name="T23" fmla="*/ 52638 h 38"/>
                  <a:gd name="T24" fmla="*/ 27329 w 79"/>
                  <a:gd name="T25" fmla="*/ 54100 h 38"/>
                  <a:gd name="T26" fmla="*/ 22908 w 79"/>
                  <a:gd name="T27" fmla="*/ 55562 h 38"/>
                  <a:gd name="T28" fmla="*/ 18487 w 79"/>
                  <a:gd name="T29" fmla="*/ 55562 h 38"/>
                  <a:gd name="T30" fmla="*/ 15272 w 79"/>
                  <a:gd name="T31" fmla="*/ 54100 h 38"/>
                  <a:gd name="T32" fmla="*/ 12057 w 79"/>
                  <a:gd name="T33" fmla="*/ 52638 h 38"/>
                  <a:gd name="T34" fmla="*/ 8440 w 79"/>
                  <a:gd name="T35" fmla="*/ 51176 h 38"/>
                  <a:gd name="T36" fmla="*/ 6028 w 79"/>
                  <a:gd name="T37" fmla="*/ 46789 h 38"/>
                  <a:gd name="T38" fmla="*/ 3215 w 79"/>
                  <a:gd name="T39" fmla="*/ 42403 h 38"/>
                  <a:gd name="T40" fmla="*/ 1608 w 79"/>
                  <a:gd name="T41" fmla="*/ 36554 h 38"/>
                  <a:gd name="T42" fmla="*/ 804 w 79"/>
                  <a:gd name="T43" fmla="*/ 32167 h 38"/>
                  <a:gd name="T44" fmla="*/ 402 w 79"/>
                  <a:gd name="T45" fmla="*/ 29243 h 38"/>
                  <a:gd name="T46" fmla="*/ 0 w 79"/>
                  <a:gd name="T47" fmla="*/ 24857 h 38"/>
                  <a:gd name="T48" fmla="*/ 0 w 79"/>
                  <a:gd name="T49" fmla="*/ 19008 h 38"/>
                  <a:gd name="T50" fmla="*/ 402 w 79"/>
                  <a:gd name="T51" fmla="*/ 16084 h 38"/>
                  <a:gd name="T52" fmla="*/ 1608 w 79"/>
                  <a:gd name="T53" fmla="*/ 13159 h 38"/>
                  <a:gd name="T54" fmla="*/ 4019 w 79"/>
                  <a:gd name="T55" fmla="*/ 8773 h 38"/>
                  <a:gd name="T56" fmla="*/ 6832 w 79"/>
                  <a:gd name="T57" fmla="*/ 5849 h 38"/>
                  <a:gd name="T58" fmla="*/ 12861 w 79"/>
                  <a:gd name="T59" fmla="*/ 1462 h 38"/>
                  <a:gd name="T60" fmla="*/ 18487 w 79"/>
                  <a:gd name="T61" fmla="*/ 0 h 3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79" h="38">
                    <a:moveTo>
                      <a:pt x="46" y="0"/>
                    </a:moveTo>
                    <a:lnTo>
                      <a:pt x="54" y="1"/>
                    </a:lnTo>
                    <a:lnTo>
                      <a:pt x="62" y="3"/>
                    </a:lnTo>
                    <a:lnTo>
                      <a:pt x="68" y="7"/>
                    </a:lnTo>
                    <a:lnTo>
                      <a:pt x="72" y="12"/>
                    </a:lnTo>
                    <a:lnTo>
                      <a:pt x="75" y="17"/>
                    </a:lnTo>
                    <a:lnTo>
                      <a:pt x="77" y="22"/>
                    </a:lnTo>
                    <a:lnTo>
                      <a:pt x="79" y="27"/>
                    </a:lnTo>
                    <a:lnTo>
                      <a:pt x="79" y="32"/>
                    </a:lnTo>
                    <a:lnTo>
                      <a:pt x="77" y="34"/>
                    </a:lnTo>
                    <a:lnTo>
                      <a:pt x="75" y="35"/>
                    </a:lnTo>
                    <a:lnTo>
                      <a:pt x="72" y="36"/>
                    </a:lnTo>
                    <a:lnTo>
                      <a:pt x="68" y="37"/>
                    </a:lnTo>
                    <a:lnTo>
                      <a:pt x="57" y="38"/>
                    </a:lnTo>
                    <a:lnTo>
                      <a:pt x="46" y="38"/>
                    </a:lnTo>
                    <a:lnTo>
                      <a:pt x="38" y="37"/>
                    </a:lnTo>
                    <a:lnTo>
                      <a:pt x="30" y="36"/>
                    </a:lnTo>
                    <a:lnTo>
                      <a:pt x="21" y="35"/>
                    </a:lnTo>
                    <a:lnTo>
                      <a:pt x="15" y="32"/>
                    </a:lnTo>
                    <a:lnTo>
                      <a:pt x="8" y="29"/>
                    </a:lnTo>
                    <a:lnTo>
                      <a:pt x="4" y="25"/>
                    </a:lnTo>
                    <a:lnTo>
                      <a:pt x="2" y="22"/>
                    </a:lnTo>
                    <a:lnTo>
                      <a:pt x="1" y="20"/>
                    </a:lnTo>
                    <a:lnTo>
                      <a:pt x="0" y="17"/>
                    </a:lnTo>
                    <a:lnTo>
                      <a:pt x="0" y="13"/>
                    </a:lnTo>
                    <a:lnTo>
                      <a:pt x="1" y="11"/>
                    </a:lnTo>
                    <a:lnTo>
                      <a:pt x="4" y="9"/>
                    </a:lnTo>
                    <a:lnTo>
                      <a:pt x="10" y="6"/>
                    </a:lnTo>
                    <a:lnTo>
                      <a:pt x="17" y="4"/>
                    </a:lnTo>
                    <a:lnTo>
                      <a:pt x="32" y="1"/>
                    </a:lnTo>
                    <a:lnTo>
                      <a:pt x="46" y="0"/>
                    </a:lnTo>
                  </a:path>
                </a:pathLst>
              </a:custGeom>
              <a:grpFill/>
              <a:ln w="9525" cap="flat" cmpd="sng">
                <a:solidFill>
                  <a:srgbClr val="FFFFFF"/>
                </a:solidFill>
                <a:prstDash val="solid"/>
                <a:round/>
                <a:headEnd type="none" w="med" len="med"/>
                <a:tailEnd type="none" w="med" len="med"/>
              </a:ln>
              <a:effectLst/>
            </p:spPr>
            <p:txBody>
              <a:bodyPr/>
              <a:lstStyle/>
              <a:p>
                <a:endParaRPr lang="en-GB" sz="1637"/>
              </a:p>
            </p:txBody>
          </p:sp>
          <p:sp>
            <p:nvSpPr>
              <p:cNvPr id="194" name="Freeform 523"/>
              <p:cNvSpPr>
                <a:spLocks/>
              </p:cNvSpPr>
              <p:nvPr>
                <p:custDataLst>
                  <p:tags r:id="rId177"/>
                </p:custDataLst>
              </p:nvPr>
            </p:nvSpPr>
            <p:spPr bwMode="auto">
              <a:xfrm>
                <a:off x="7172330" y="2027983"/>
                <a:ext cx="214889" cy="302674"/>
              </a:xfrm>
              <a:custGeom>
                <a:avLst/>
                <a:gdLst>
                  <a:gd name="T0" fmla="*/ 11151 w 459"/>
                  <a:gd name="T1" fmla="*/ 23626 h 511"/>
                  <a:gd name="T2" fmla="*/ 5146 w 459"/>
                  <a:gd name="T3" fmla="*/ 13126 h 511"/>
                  <a:gd name="T4" fmla="*/ 0 w 459"/>
                  <a:gd name="T5" fmla="*/ 0 h 511"/>
                  <a:gd name="T6" fmla="*/ 9435 w 459"/>
                  <a:gd name="T7" fmla="*/ 3675 h 511"/>
                  <a:gd name="T8" fmla="*/ 14153 w 459"/>
                  <a:gd name="T9" fmla="*/ 3150 h 511"/>
                  <a:gd name="T10" fmla="*/ 40742 w 459"/>
                  <a:gd name="T11" fmla="*/ 35177 h 511"/>
                  <a:gd name="T12" fmla="*/ 62615 w 459"/>
                  <a:gd name="T13" fmla="*/ 64578 h 511"/>
                  <a:gd name="T14" fmla="*/ 92635 w 459"/>
                  <a:gd name="T15" fmla="*/ 103955 h 511"/>
                  <a:gd name="T16" fmla="*/ 110648 w 459"/>
                  <a:gd name="T17" fmla="*/ 124431 h 511"/>
                  <a:gd name="T18" fmla="*/ 129947 w 459"/>
                  <a:gd name="T19" fmla="*/ 139657 h 511"/>
                  <a:gd name="T20" fmla="*/ 159539 w 459"/>
                  <a:gd name="T21" fmla="*/ 163283 h 511"/>
                  <a:gd name="T22" fmla="*/ 170689 w 459"/>
                  <a:gd name="T23" fmla="*/ 176409 h 511"/>
                  <a:gd name="T24" fmla="*/ 156536 w 459"/>
                  <a:gd name="T25" fmla="*/ 168008 h 511"/>
                  <a:gd name="T26" fmla="*/ 138953 w 459"/>
                  <a:gd name="T27" fmla="*/ 155408 h 511"/>
                  <a:gd name="T28" fmla="*/ 134664 w 459"/>
                  <a:gd name="T29" fmla="*/ 156458 h 511"/>
                  <a:gd name="T30" fmla="*/ 134235 w 459"/>
                  <a:gd name="T31" fmla="*/ 163283 h 511"/>
                  <a:gd name="T32" fmla="*/ 135951 w 459"/>
                  <a:gd name="T33" fmla="*/ 176934 h 511"/>
                  <a:gd name="T34" fmla="*/ 139811 w 459"/>
                  <a:gd name="T35" fmla="*/ 187959 h 511"/>
                  <a:gd name="T36" fmla="*/ 149246 w 459"/>
                  <a:gd name="T37" fmla="*/ 203185 h 511"/>
                  <a:gd name="T38" fmla="*/ 168974 w 459"/>
                  <a:gd name="T39" fmla="*/ 221036 h 511"/>
                  <a:gd name="T40" fmla="*/ 188702 w 459"/>
                  <a:gd name="T41" fmla="*/ 240462 h 511"/>
                  <a:gd name="T42" fmla="*/ 192132 w 459"/>
                  <a:gd name="T43" fmla="*/ 249912 h 511"/>
                  <a:gd name="T44" fmla="*/ 183555 w 459"/>
                  <a:gd name="T45" fmla="*/ 246237 h 511"/>
                  <a:gd name="T46" fmla="*/ 168116 w 459"/>
                  <a:gd name="T47" fmla="*/ 242562 h 511"/>
                  <a:gd name="T48" fmla="*/ 168545 w 459"/>
                  <a:gd name="T49" fmla="*/ 259363 h 511"/>
                  <a:gd name="T50" fmla="*/ 170689 w 459"/>
                  <a:gd name="T51" fmla="*/ 268288 h 511"/>
                  <a:gd name="T52" fmla="*/ 166400 w 459"/>
                  <a:gd name="T53" fmla="*/ 258313 h 511"/>
                  <a:gd name="T54" fmla="*/ 155679 w 459"/>
                  <a:gd name="T55" fmla="*/ 244662 h 511"/>
                  <a:gd name="T56" fmla="*/ 147101 w 459"/>
                  <a:gd name="T57" fmla="*/ 233636 h 511"/>
                  <a:gd name="T58" fmla="*/ 145386 w 459"/>
                  <a:gd name="T59" fmla="*/ 226286 h 511"/>
                  <a:gd name="T60" fmla="*/ 140668 w 459"/>
                  <a:gd name="T61" fmla="*/ 215785 h 511"/>
                  <a:gd name="T62" fmla="*/ 132949 w 459"/>
                  <a:gd name="T63" fmla="*/ 201610 h 511"/>
                  <a:gd name="T64" fmla="*/ 127802 w 459"/>
                  <a:gd name="T65" fmla="*/ 192684 h 511"/>
                  <a:gd name="T66" fmla="*/ 120083 w 459"/>
                  <a:gd name="T67" fmla="*/ 187959 h 511"/>
                  <a:gd name="T68" fmla="*/ 113221 w 459"/>
                  <a:gd name="T69" fmla="*/ 180084 h 511"/>
                  <a:gd name="T70" fmla="*/ 106788 w 459"/>
                  <a:gd name="T71" fmla="*/ 164858 h 511"/>
                  <a:gd name="T72" fmla="*/ 105072 w 459"/>
                  <a:gd name="T73" fmla="*/ 153832 h 511"/>
                  <a:gd name="T74" fmla="*/ 100355 w 459"/>
                  <a:gd name="T75" fmla="*/ 147532 h 511"/>
                  <a:gd name="T76" fmla="*/ 83200 w 459"/>
                  <a:gd name="T77" fmla="*/ 128106 h 511"/>
                  <a:gd name="T78" fmla="*/ 73336 w 459"/>
                  <a:gd name="T79" fmla="*/ 115506 h 511"/>
                  <a:gd name="T80" fmla="*/ 69905 w 459"/>
                  <a:gd name="T81" fmla="*/ 106580 h 511"/>
                  <a:gd name="T82" fmla="*/ 66046 w 459"/>
                  <a:gd name="T83" fmla="*/ 98180 h 511"/>
                  <a:gd name="T84" fmla="*/ 49320 w 459"/>
                  <a:gd name="T85" fmla="*/ 81379 h 511"/>
                  <a:gd name="T86" fmla="*/ 30021 w 459"/>
                  <a:gd name="T87" fmla="*/ 68253 h 511"/>
                  <a:gd name="T88" fmla="*/ 20157 w 459"/>
                  <a:gd name="T89" fmla="*/ 57753 h 511"/>
                  <a:gd name="T90" fmla="*/ 16297 w 459"/>
                  <a:gd name="T91" fmla="*/ 48827 h 511"/>
                  <a:gd name="T92" fmla="*/ 14581 w 459"/>
                  <a:gd name="T93" fmla="*/ 39377 h 51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459" h="511">
                    <a:moveTo>
                      <a:pt x="33" y="68"/>
                    </a:moveTo>
                    <a:lnTo>
                      <a:pt x="29" y="56"/>
                    </a:lnTo>
                    <a:lnTo>
                      <a:pt x="26" y="45"/>
                    </a:lnTo>
                    <a:lnTo>
                      <a:pt x="22" y="38"/>
                    </a:lnTo>
                    <a:lnTo>
                      <a:pt x="16" y="31"/>
                    </a:lnTo>
                    <a:lnTo>
                      <a:pt x="12" y="25"/>
                    </a:lnTo>
                    <a:lnTo>
                      <a:pt x="6" y="18"/>
                    </a:lnTo>
                    <a:lnTo>
                      <a:pt x="3" y="10"/>
                    </a:lnTo>
                    <a:lnTo>
                      <a:pt x="0" y="0"/>
                    </a:lnTo>
                    <a:lnTo>
                      <a:pt x="6" y="2"/>
                    </a:lnTo>
                    <a:lnTo>
                      <a:pt x="16" y="5"/>
                    </a:lnTo>
                    <a:lnTo>
                      <a:pt x="22" y="7"/>
                    </a:lnTo>
                    <a:lnTo>
                      <a:pt x="26" y="8"/>
                    </a:lnTo>
                    <a:lnTo>
                      <a:pt x="29" y="8"/>
                    </a:lnTo>
                    <a:lnTo>
                      <a:pt x="33" y="6"/>
                    </a:lnTo>
                    <a:lnTo>
                      <a:pt x="59" y="31"/>
                    </a:lnTo>
                    <a:lnTo>
                      <a:pt x="80" y="50"/>
                    </a:lnTo>
                    <a:lnTo>
                      <a:pt x="95" y="67"/>
                    </a:lnTo>
                    <a:lnTo>
                      <a:pt x="107" y="80"/>
                    </a:lnTo>
                    <a:lnTo>
                      <a:pt x="125" y="102"/>
                    </a:lnTo>
                    <a:lnTo>
                      <a:pt x="146" y="123"/>
                    </a:lnTo>
                    <a:lnTo>
                      <a:pt x="172" y="149"/>
                    </a:lnTo>
                    <a:lnTo>
                      <a:pt x="195" y="175"/>
                    </a:lnTo>
                    <a:lnTo>
                      <a:pt x="216" y="198"/>
                    </a:lnTo>
                    <a:lnTo>
                      <a:pt x="239" y="222"/>
                    </a:lnTo>
                    <a:lnTo>
                      <a:pt x="248" y="230"/>
                    </a:lnTo>
                    <a:lnTo>
                      <a:pt x="258" y="237"/>
                    </a:lnTo>
                    <a:lnTo>
                      <a:pt x="269" y="245"/>
                    </a:lnTo>
                    <a:lnTo>
                      <a:pt x="280" y="252"/>
                    </a:lnTo>
                    <a:lnTo>
                      <a:pt x="303" y="266"/>
                    </a:lnTo>
                    <a:lnTo>
                      <a:pt x="327" y="281"/>
                    </a:lnTo>
                    <a:lnTo>
                      <a:pt x="350" y="295"/>
                    </a:lnTo>
                    <a:lnTo>
                      <a:pt x="372" y="311"/>
                    </a:lnTo>
                    <a:lnTo>
                      <a:pt x="382" y="318"/>
                    </a:lnTo>
                    <a:lnTo>
                      <a:pt x="391" y="327"/>
                    </a:lnTo>
                    <a:lnTo>
                      <a:pt x="398" y="336"/>
                    </a:lnTo>
                    <a:lnTo>
                      <a:pt x="405" y="345"/>
                    </a:lnTo>
                    <a:lnTo>
                      <a:pt x="387" y="334"/>
                    </a:lnTo>
                    <a:lnTo>
                      <a:pt x="365" y="320"/>
                    </a:lnTo>
                    <a:lnTo>
                      <a:pt x="343" y="306"/>
                    </a:lnTo>
                    <a:lnTo>
                      <a:pt x="326" y="295"/>
                    </a:lnTo>
                    <a:lnTo>
                      <a:pt x="324" y="296"/>
                    </a:lnTo>
                    <a:lnTo>
                      <a:pt x="318" y="296"/>
                    </a:lnTo>
                    <a:lnTo>
                      <a:pt x="316" y="297"/>
                    </a:lnTo>
                    <a:lnTo>
                      <a:pt x="314" y="298"/>
                    </a:lnTo>
                    <a:lnTo>
                      <a:pt x="313" y="300"/>
                    </a:lnTo>
                    <a:lnTo>
                      <a:pt x="311" y="301"/>
                    </a:lnTo>
                    <a:lnTo>
                      <a:pt x="313" y="311"/>
                    </a:lnTo>
                    <a:lnTo>
                      <a:pt x="313" y="320"/>
                    </a:lnTo>
                    <a:lnTo>
                      <a:pt x="315" y="328"/>
                    </a:lnTo>
                    <a:lnTo>
                      <a:pt x="317" y="337"/>
                    </a:lnTo>
                    <a:lnTo>
                      <a:pt x="319" y="344"/>
                    </a:lnTo>
                    <a:lnTo>
                      <a:pt x="322" y="351"/>
                    </a:lnTo>
                    <a:lnTo>
                      <a:pt x="326" y="358"/>
                    </a:lnTo>
                    <a:lnTo>
                      <a:pt x="329" y="364"/>
                    </a:lnTo>
                    <a:lnTo>
                      <a:pt x="338" y="375"/>
                    </a:lnTo>
                    <a:lnTo>
                      <a:pt x="348" y="387"/>
                    </a:lnTo>
                    <a:lnTo>
                      <a:pt x="359" y="396"/>
                    </a:lnTo>
                    <a:lnTo>
                      <a:pt x="370" y="405"/>
                    </a:lnTo>
                    <a:lnTo>
                      <a:pt x="394" y="421"/>
                    </a:lnTo>
                    <a:lnTo>
                      <a:pt x="418" y="438"/>
                    </a:lnTo>
                    <a:lnTo>
                      <a:pt x="430" y="448"/>
                    </a:lnTo>
                    <a:lnTo>
                      <a:pt x="440" y="458"/>
                    </a:lnTo>
                    <a:lnTo>
                      <a:pt x="450" y="468"/>
                    </a:lnTo>
                    <a:lnTo>
                      <a:pt x="459" y="480"/>
                    </a:lnTo>
                    <a:lnTo>
                      <a:pt x="448" y="476"/>
                    </a:lnTo>
                    <a:lnTo>
                      <a:pt x="437" y="473"/>
                    </a:lnTo>
                    <a:lnTo>
                      <a:pt x="432" y="471"/>
                    </a:lnTo>
                    <a:lnTo>
                      <a:pt x="428" y="469"/>
                    </a:lnTo>
                    <a:lnTo>
                      <a:pt x="426" y="466"/>
                    </a:lnTo>
                    <a:lnTo>
                      <a:pt x="425" y="462"/>
                    </a:lnTo>
                    <a:lnTo>
                      <a:pt x="392" y="462"/>
                    </a:lnTo>
                    <a:lnTo>
                      <a:pt x="392" y="475"/>
                    </a:lnTo>
                    <a:lnTo>
                      <a:pt x="393" y="488"/>
                    </a:lnTo>
                    <a:lnTo>
                      <a:pt x="393" y="494"/>
                    </a:lnTo>
                    <a:lnTo>
                      <a:pt x="395" y="501"/>
                    </a:lnTo>
                    <a:lnTo>
                      <a:pt x="396" y="506"/>
                    </a:lnTo>
                    <a:lnTo>
                      <a:pt x="398" y="511"/>
                    </a:lnTo>
                    <a:lnTo>
                      <a:pt x="395" y="505"/>
                    </a:lnTo>
                    <a:lnTo>
                      <a:pt x="392" y="498"/>
                    </a:lnTo>
                    <a:lnTo>
                      <a:pt x="388" y="492"/>
                    </a:lnTo>
                    <a:lnTo>
                      <a:pt x="383" y="486"/>
                    </a:lnTo>
                    <a:lnTo>
                      <a:pt x="374" y="476"/>
                    </a:lnTo>
                    <a:lnTo>
                      <a:pt x="363" y="466"/>
                    </a:lnTo>
                    <a:lnTo>
                      <a:pt x="354" y="458"/>
                    </a:lnTo>
                    <a:lnTo>
                      <a:pt x="346" y="449"/>
                    </a:lnTo>
                    <a:lnTo>
                      <a:pt x="343" y="445"/>
                    </a:lnTo>
                    <a:lnTo>
                      <a:pt x="340" y="439"/>
                    </a:lnTo>
                    <a:lnTo>
                      <a:pt x="339" y="435"/>
                    </a:lnTo>
                    <a:lnTo>
                      <a:pt x="339" y="431"/>
                    </a:lnTo>
                    <a:lnTo>
                      <a:pt x="337" y="425"/>
                    </a:lnTo>
                    <a:lnTo>
                      <a:pt x="333" y="419"/>
                    </a:lnTo>
                    <a:lnTo>
                      <a:pt x="328" y="411"/>
                    </a:lnTo>
                    <a:lnTo>
                      <a:pt x="321" y="403"/>
                    </a:lnTo>
                    <a:lnTo>
                      <a:pt x="316" y="394"/>
                    </a:lnTo>
                    <a:lnTo>
                      <a:pt x="310" y="384"/>
                    </a:lnTo>
                    <a:lnTo>
                      <a:pt x="307" y="376"/>
                    </a:lnTo>
                    <a:lnTo>
                      <a:pt x="305" y="369"/>
                    </a:lnTo>
                    <a:lnTo>
                      <a:pt x="298" y="367"/>
                    </a:lnTo>
                    <a:lnTo>
                      <a:pt x="292" y="365"/>
                    </a:lnTo>
                    <a:lnTo>
                      <a:pt x="285" y="362"/>
                    </a:lnTo>
                    <a:lnTo>
                      <a:pt x="280" y="358"/>
                    </a:lnTo>
                    <a:lnTo>
                      <a:pt x="274" y="353"/>
                    </a:lnTo>
                    <a:lnTo>
                      <a:pt x="269" y="348"/>
                    </a:lnTo>
                    <a:lnTo>
                      <a:pt x="264" y="343"/>
                    </a:lnTo>
                    <a:lnTo>
                      <a:pt x="261" y="337"/>
                    </a:lnTo>
                    <a:lnTo>
                      <a:pt x="254" y="325"/>
                    </a:lnTo>
                    <a:lnTo>
                      <a:pt x="249" y="314"/>
                    </a:lnTo>
                    <a:lnTo>
                      <a:pt x="247" y="304"/>
                    </a:lnTo>
                    <a:lnTo>
                      <a:pt x="246" y="295"/>
                    </a:lnTo>
                    <a:lnTo>
                      <a:pt x="245" y="293"/>
                    </a:lnTo>
                    <a:lnTo>
                      <a:pt x="242" y="289"/>
                    </a:lnTo>
                    <a:lnTo>
                      <a:pt x="239" y="285"/>
                    </a:lnTo>
                    <a:lnTo>
                      <a:pt x="234" y="281"/>
                    </a:lnTo>
                    <a:lnTo>
                      <a:pt x="221" y="269"/>
                    </a:lnTo>
                    <a:lnTo>
                      <a:pt x="208" y="257"/>
                    </a:lnTo>
                    <a:lnTo>
                      <a:pt x="194" y="244"/>
                    </a:lnTo>
                    <a:lnTo>
                      <a:pt x="181" y="232"/>
                    </a:lnTo>
                    <a:lnTo>
                      <a:pt x="175" y="226"/>
                    </a:lnTo>
                    <a:lnTo>
                      <a:pt x="171" y="220"/>
                    </a:lnTo>
                    <a:lnTo>
                      <a:pt x="168" y="214"/>
                    </a:lnTo>
                    <a:lnTo>
                      <a:pt x="165" y="209"/>
                    </a:lnTo>
                    <a:lnTo>
                      <a:pt x="163" y="203"/>
                    </a:lnTo>
                    <a:lnTo>
                      <a:pt x="161" y="197"/>
                    </a:lnTo>
                    <a:lnTo>
                      <a:pt x="158" y="192"/>
                    </a:lnTo>
                    <a:lnTo>
                      <a:pt x="154" y="187"/>
                    </a:lnTo>
                    <a:lnTo>
                      <a:pt x="146" y="178"/>
                    </a:lnTo>
                    <a:lnTo>
                      <a:pt x="137" y="170"/>
                    </a:lnTo>
                    <a:lnTo>
                      <a:pt x="115" y="155"/>
                    </a:lnTo>
                    <a:lnTo>
                      <a:pt x="92" y="143"/>
                    </a:lnTo>
                    <a:lnTo>
                      <a:pt x="81" y="136"/>
                    </a:lnTo>
                    <a:lnTo>
                      <a:pt x="70" y="130"/>
                    </a:lnTo>
                    <a:lnTo>
                      <a:pt x="60" y="122"/>
                    </a:lnTo>
                    <a:lnTo>
                      <a:pt x="51" y="114"/>
                    </a:lnTo>
                    <a:lnTo>
                      <a:pt x="47" y="110"/>
                    </a:lnTo>
                    <a:lnTo>
                      <a:pt x="44" y="104"/>
                    </a:lnTo>
                    <a:lnTo>
                      <a:pt x="40" y="99"/>
                    </a:lnTo>
                    <a:lnTo>
                      <a:pt x="38" y="93"/>
                    </a:lnTo>
                    <a:lnTo>
                      <a:pt x="36" y="88"/>
                    </a:lnTo>
                    <a:lnTo>
                      <a:pt x="34" y="81"/>
                    </a:lnTo>
                    <a:lnTo>
                      <a:pt x="34" y="75"/>
                    </a:lnTo>
                    <a:lnTo>
                      <a:pt x="33" y="68"/>
                    </a:lnTo>
                  </a:path>
                </a:pathLst>
              </a:custGeom>
              <a:grpFill/>
              <a:ln w="9525" cap="flat" cmpd="sng">
                <a:solidFill>
                  <a:srgbClr val="FFFFFF"/>
                </a:solidFill>
                <a:prstDash val="solid"/>
                <a:round/>
                <a:headEnd type="none" w="med" len="med"/>
                <a:tailEnd type="none" w="med" len="med"/>
              </a:ln>
              <a:effectLst/>
            </p:spPr>
            <p:txBody>
              <a:bodyPr/>
              <a:lstStyle/>
              <a:p>
                <a:endParaRPr lang="en-GB" sz="1637"/>
              </a:p>
            </p:txBody>
          </p:sp>
          <p:sp>
            <p:nvSpPr>
              <p:cNvPr id="195" name="Freeform 527"/>
              <p:cNvSpPr>
                <a:spLocks/>
              </p:cNvSpPr>
              <p:nvPr>
                <p:custDataLst>
                  <p:tags r:id="rId178"/>
                </p:custDataLst>
              </p:nvPr>
            </p:nvSpPr>
            <p:spPr bwMode="auto">
              <a:xfrm>
                <a:off x="4822410" y="2823171"/>
                <a:ext cx="578815" cy="576691"/>
              </a:xfrm>
              <a:custGeom>
                <a:avLst/>
                <a:gdLst>
                  <a:gd name="T0" fmla="*/ 402746 w 1227"/>
                  <a:gd name="T1" fmla="*/ 243317 h 979"/>
                  <a:gd name="T2" fmla="*/ 402746 w 1227"/>
                  <a:gd name="T3" fmla="*/ 230786 h 979"/>
                  <a:gd name="T4" fmla="*/ 401882 w 1227"/>
                  <a:gd name="T5" fmla="*/ 215122 h 979"/>
                  <a:gd name="T6" fmla="*/ 392375 w 1227"/>
                  <a:gd name="T7" fmla="*/ 201024 h 979"/>
                  <a:gd name="T8" fmla="*/ 388486 w 1227"/>
                  <a:gd name="T9" fmla="*/ 191625 h 979"/>
                  <a:gd name="T10" fmla="*/ 353051 w 1227"/>
                  <a:gd name="T11" fmla="*/ 162908 h 979"/>
                  <a:gd name="T12" fmla="*/ 327988 w 1227"/>
                  <a:gd name="T13" fmla="*/ 137323 h 979"/>
                  <a:gd name="T14" fmla="*/ 324963 w 1227"/>
                  <a:gd name="T15" fmla="*/ 119570 h 979"/>
                  <a:gd name="T16" fmla="*/ 313727 w 1227"/>
                  <a:gd name="T17" fmla="*/ 113827 h 979"/>
                  <a:gd name="T18" fmla="*/ 300331 w 1227"/>
                  <a:gd name="T19" fmla="*/ 108083 h 979"/>
                  <a:gd name="T20" fmla="*/ 275700 w 1227"/>
                  <a:gd name="T21" fmla="*/ 102339 h 979"/>
                  <a:gd name="T22" fmla="*/ 257550 w 1227"/>
                  <a:gd name="T23" fmla="*/ 104950 h 979"/>
                  <a:gd name="T24" fmla="*/ 246315 w 1227"/>
                  <a:gd name="T25" fmla="*/ 106517 h 979"/>
                  <a:gd name="T26" fmla="*/ 229030 w 1227"/>
                  <a:gd name="T27" fmla="*/ 101817 h 979"/>
                  <a:gd name="T28" fmla="*/ 218226 w 1227"/>
                  <a:gd name="T29" fmla="*/ 93463 h 979"/>
                  <a:gd name="T30" fmla="*/ 208719 w 1227"/>
                  <a:gd name="T31" fmla="*/ 66834 h 979"/>
                  <a:gd name="T32" fmla="*/ 200941 w 1227"/>
                  <a:gd name="T33" fmla="*/ 53780 h 979"/>
                  <a:gd name="T34" fmla="*/ 186681 w 1227"/>
                  <a:gd name="T35" fmla="*/ 42293 h 979"/>
                  <a:gd name="T36" fmla="*/ 157728 w 1227"/>
                  <a:gd name="T37" fmla="*/ 31851 h 979"/>
                  <a:gd name="T38" fmla="*/ 130936 w 1227"/>
                  <a:gd name="T39" fmla="*/ 16708 h 979"/>
                  <a:gd name="T40" fmla="*/ 92476 w 1227"/>
                  <a:gd name="T41" fmla="*/ 5221 h 979"/>
                  <a:gd name="T42" fmla="*/ 71734 w 1227"/>
                  <a:gd name="T43" fmla="*/ 19841 h 979"/>
                  <a:gd name="T44" fmla="*/ 65252 w 1227"/>
                  <a:gd name="T45" fmla="*/ 31851 h 979"/>
                  <a:gd name="T46" fmla="*/ 66116 w 1227"/>
                  <a:gd name="T47" fmla="*/ 46993 h 979"/>
                  <a:gd name="T48" fmla="*/ 73030 w 1227"/>
                  <a:gd name="T49" fmla="*/ 61613 h 979"/>
                  <a:gd name="T50" fmla="*/ 65252 w 1227"/>
                  <a:gd name="T51" fmla="*/ 78321 h 979"/>
                  <a:gd name="T52" fmla="*/ 41052 w 1227"/>
                  <a:gd name="T53" fmla="*/ 97118 h 979"/>
                  <a:gd name="T54" fmla="*/ 23335 w 1227"/>
                  <a:gd name="T55" fmla="*/ 99207 h 979"/>
                  <a:gd name="T56" fmla="*/ 3889 w 1227"/>
                  <a:gd name="T57" fmla="*/ 95552 h 979"/>
                  <a:gd name="T58" fmla="*/ 0 w 1227"/>
                  <a:gd name="T59" fmla="*/ 123225 h 979"/>
                  <a:gd name="T60" fmla="*/ 3889 w 1227"/>
                  <a:gd name="T61" fmla="*/ 140456 h 979"/>
                  <a:gd name="T62" fmla="*/ 10803 w 1227"/>
                  <a:gd name="T63" fmla="*/ 147243 h 979"/>
                  <a:gd name="T64" fmla="*/ 17285 w 1227"/>
                  <a:gd name="T65" fmla="*/ 160297 h 979"/>
                  <a:gd name="T66" fmla="*/ 35867 w 1227"/>
                  <a:gd name="T67" fmla="*/ 190059 h 979"/>
                  <a:gd name="T68" fmla="*/ 44077 w 1227"/>
                  <a:gd name="T69" fmla="*/ 216166 h 979"/>
                  <a:gd name="T70" fmla="*/ 52288 w 1227"/>
                  <a:gd name="T71" fmla="*/ 222954 h 979"/>
                  <a:gd name="T72" fmla="*/ 57473 w 1227"/>
                  <a:gd name="T73" fmla="*/ 228697 h 979"/>
                  <a:gd name="T74" fmla="*/ 63955 w 1227"/>
                  <a:gd name="T75" fmla="*/ 244884 h 979"/>
                  <a:gd name="T76" fmla="*/ 96797 w 1227"/>
                  <a:gd name="T77" fmla="*/ 285088 h 979"/>
                  <a:gd name="T78" fmla="*/ 107601 w 1227"/>
                  <a:gd name="T79" fmla="*/ 305452 h 979"/>
                  <a:gd name="T80" fmla="*/ 110626 w 1227"/>
                  <a:gd name="T81" fmla="*/ 325815 h 979"/>
                  <a:gd name="T82" fmla="*/ 114947 w 1227"/>
                  <a:gd name="T83" fmla="*/ 344090 h 979"/>
                  <a:gd name="T84" fmla="*/ 129207 w 1227"/>
                  <a:gd name="T85" fmla="*/ 366020 h 979"/>
                  <a:gd name="T86" fmla="*/ 155999 w 1227"/>
                  <a:gd name="T87" fmla="*/ 397348 h 979"/>
                  <a:gd name="T88" fmla="*/ 167667 w 1227"/>
                  <a:gd name="T89" fmla="*/ 425022 h 979"/>
                  <a:gd name="T90" fmla="*/ 183656 w 1227"/>
                  <a:gd name="T91" fmla="*/ 452695 h 979"/>
                  <a:gd name="T92" fmla="*/ 208719 w 1227"/>
                  <a:gd name="T93" fmla="*/ 489767 h 979"/>
                  <a:gd name="T94" fmla="*/ 228165 w 1227"/>
                  <a:gd name="T95" fmla="*/ 511175 h 979"/>
                  <a:gd name="T96" fmla="*/ 234647 w 1227"/>
                  <a:gd name="T97" fmla="*/ 497599 h 979"/>
                  <a:gd name="T98" fmla="*/ 235944 w 1227"/>
                  <a:gd name="T99" fmla="*/ 474625 h 979"/>
                  <a:gd name="T100" fmla="*/ 246315 w 1227"/>
                  <a:gd name="T101" fmla="*/ 467837 h 979"/>
                  <a:gd name="T102" fmla="*/ 261439 w 1227"/>
                  <a:gd name="T103" fmla="*/ 467315 h 979"/>
                  <a:gd name="T104" fmla="*/ 285207 w 1227"/>
                  <a:gd name="T105" fmla="*/ 474625 h 979"/>
                  <a:gd name="T106" fmla="*/ 305949 w 1227"/>
                  <a:gd name="T107" fmla="*/ 492378 h 979"/>
                  <a:gd name="T108" fmla="*/ 340087 w 1227"/>
                  <a:gd name="T109" fmla="*/ 437553 h 979"/>
                  <a:gd name="T110" fmla="*/ 518125 w 1227"/>
                  <a:gd name="T111" fmla="*/ 296053 h 979"/>
                  <a:gd name="T112" fmla="*/ 406203 w 1227"/>
                  <a:gd name="T113" fmla="*/ 244361 h 97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227" h="979">
                    <a:moveTo>
                      <a:pt x="940" y="468"/>
                    </a:moveTo>
                    <a:lnTo>
                      <a:pt x="937" y="468"/>
                    </a:lnTo>
                    <a:lnTo>
                      <a:pt x="935" y="467"/>
                    </a:lnTo>
                    <a:lnTo>
                      <a:pt x="932" y="466"/>
                    </a:lnTo>
                    <a:lnTo>
                      <a:pt x="931" y="465"/>
                    </a:lnTo>
                    <a:lnTo>
                      <a:pt x="930" y="461"/>
                    </a:lnTo>
                    <a:lnTo>
                      <a:pt x="930" y="456"/>
                    </a:lnTo>
                    <a:lnTo>
                      <a:pt x="932" y="442"/>
                    </a:lnTo>
                    <a:lnTo>
                      <a:pt x="933" y="425"/>
                    </a:lnTo>
                    <a:lnTo>
                      <a:pt x="933" y="420"/>
                    </a:lnTo>
                    <a:lnTo>
                      <a:pt x="932" y="416"/>
                    </a:lnTo>
                    <a:lnTo>
                      <a:pt x="930" y="412"/>
                    </a:lnTo>
                    <a:lnTo>
                      <a:pt x="928" y="407"/>
                    </a:lnTo>
                    <a:lnTo>
                      <a:pt x="921" y="400"/>
                    </a:lnTo>
                    <a:lnTo>
                      <a:pt x="915" y="392"/>
                    </a:lnTo>
                    <a:lnTo>
                      <a:pt x="908" y="385"/>
                    </a:lnTo>
                    <a:lnTo>
                      <a:pt x="903" y="378"/>
                    </a:lnTo>
                    <a:lnTo>
                      <a:pt x="902" y="373"/>
                    </a:lnTo>
                    <a:lnTo>
                      <a:pt x="901" y="370"/>
                    </a:lnTo>
                    <a:lnTo>
                      <a:pt x="899" y="367"/>
                    </a:lnTo>
                    <a:lnTo>
                      <a:pt x="901" y="363"/>
                    </a:lnTo>
                    <a:lnTo>
                      <a:pt x="865" y="344"/>
                    </a:lnTo>
                    <a:lnTo>
                      <a:pt x="838" y="328"/>
                    </a:lnTo>
                    <a:lnTo>
                      <a:pt x="817" y="312"/>
                    </a:lnTo>
                    <a:lnTo>
                      <a:pt x="801" y="300"/>
                    </a:lnTo>
                    <a:lnTo>
                      <a:pt x="779" y="280"/>
                    </a:lnTo>
                    <a:lnTo>
                      <a:pt x="761" y="264"/>
                    </a:lnTo>
                    <a:lnTo>
                      <a:pt x="759" y="263"/>
                    </a:lnTo>
                    <a:lnTo>
                      <a:pt x="757" y="258"/>
                    </a:lnTo>
                    <a:lnTo>
                      <a:pt x="756" y="252"/>
                    </a:lnTo>
                    <a:lnTo>
                      <a:pt x="754" y="245"/>
                    </a:lnTo>
                    <a:lnTo>
                      <a:pt x="752" y="229"/>
                    </a:lnTo>
                    <a:lnTo>
                      <a:pt x="748" y="216"/>
                    </a:lnTo>
                    <a:lnTo>
                      <a:pt x="740" y="218"/>
                    </a:lnTo>
                    <a:lnTo>
                      <a:pt x="733" y="218"/>
                    </a:lnTo>
                    <a:lnTo>
                      <a:pt x="726" y="218"/>
                    </a:lnTo>
                    <a:lnTo>
                      <a:pt x="718" y="217"/>
                    </a:lnTo>
                    <a:lnTo>
                      <a:pt x="711" y="215"/>
                    </a:lnTo>
                    <a:lnTo>
                      <a:pt x="703" y="212"/>
                    </a:lnTo>
                    <a:lnTo>
                      <a:pt x="695" y="207"/>
                    </a:lnTo>
                    <a:lnTo>
                      <a:pt x="688" y="203"/>
                    </a:lnTo>
                    <a:lnTo>
                      <a:pt x="667" y="199"/>
                    </a:lnTo>
                    <a:lnTo>
                      <a:pt x="650" y="197"/>
                    </a:lnTo>
                    <a:lnTo>
                      <a:pt x="638" y="196"/>
                    </a:lnTo>
                    <a:lnTo>
                      <a:pt x="630" y="196"/>
                    </a:lnTo>
                    <a:lnTo>
                      <a:pt x="617" y="199"/>
                    </a:lnTo>
                    <a:lnTo>
                      <a:pt x="602" y="203"/>
                    </a:lnTo>
                    <a:lnTo>
                      <a:pt x="596" y="201"/>
                    </a:lnTo>
                    <a:lnTo>
                      <a:pt x="591" y="201"/>
                    </a:lnTo>
                    <a:lnTo>
                      <a:pt x="584" y="202"/>
                    </a:lnTo>
                    <a:lnTo>
                      <a:pt x="578" y="203"/>
                    </a:lnTo>
                    <a:lnTo>
                      <a:pt x="570" y="204"/>
                    </a:lnTo>
                    <a:lnTo>
                      <a:pt x="563" y="205"/>
                    </a:lnTo>
                    <a:lnTo>
                      <a:pt x="556" y="204"/>
                    </a:lnTo>
                    <a:lnTo>
                      <a:pt x="548" y="203"/>
                    </a:lnTo>
                    <a:lnTo>
                      <a:pt x="530" y="195"/>
                    </a:lnTo>
                    <a:lnTo>
                      <a:pt x="517" y="190"/>
                    </a:lnTo>
                    <a:lnTo>
                      <a:pt x="513" y="187"/>
                    </a:lnTo>
                    <a:lnTo>
                      <a:pt x="509" y="183"/>
                    </a:lnTo>
                    <a:lnTo>
                      <a:pt x="505" y="179"/>
                    </a:lnTo>
                    <a:lnTo>
                      <a:pt x="502" y="173"/>
                    </a:lnTo>
                    <a:lnTo>
                      <a:pt x="493" y="152"/>
                    </a:lnTo>
                    <a:lnTo>
                      <a:pt x="487" y="136"/>
                    </a:lnTo>
                    <a:lnTo>
                      <a:pt x="483" y="128"/>
                    </a:lnTo>
                    <a:lnTo>
                      <a:pt x="479" y="121"/>
                    </a:lnTo>
                    <a:lnTo>
                      <a:pt x="476" y="115"/>
                    </a:lnTo>
                    <a:lnTo>
                      <a:pt x="470" y="109"/>
                    </a:lnTo>
                    <a:lnTo>
                      <a:pt x="465" y="103"/>
                    </a:lnTo>
                    <a:lnTo>
                      <a:pt x="459" y="96"/>
                    </a:lnTo>
                    <a:lnTo>
                      <a:pt x="451" y="91"/>
                    </a:lnTo>
                    <a:lnTo>
                      <a:pt x="443" y="86"/>
                    </a:lnTo>
                    <a:lnTo>
                      <a:pt x="432" y="81"/>
                    </a:lnTo>
                    <a:lnTo>
                      <a:pt x="420" y="77"/>
                    </a:lnTo>
                    <a:lnTo>
                      <a:pt x="405" y="72"/>
                    </a:lnTo>
                    <a:lnTo>
                      <a:pt x="389" y="68"/>
                    </a:lnTo>
                    <a:lnTo>
                      <a:pt x="365" y="61"/>
                    </a:lnTo>
                    <a:lnTo>
                      <a:pt x="346" y="55"/>
                    </a:lnTo>
                    <a:lnTo>
                      <a:pt x="332" y="48"/>
                    </a:lnTo>
                    <a:lnTo>
                      <a:pt x="317" y="40"/>
                    </a:lnTo>
                    <a:lnTo>
                      <a:pt x="303" y="32"/>
                    </a:lnTo>
                    <a:lnTo>
                      <a:pt x="287" y="23"/>
                    </a:lnTo>
                    <a:lnTo>
                      <a:pt x="265" y="13"/>
                    </a:lnTo>
                    <a:lnTo>
                      <a:pt x="236" y="0"/>
                    </a:lnTo>
                    <a:lnTo>
                      <a:pt x="214" y="10"/>
                    </a:lnTo>
                    <a:lnTo>
                      <a:pt x="186" y="24"/>
                    </a:lnTo>
                    <a:lnTo>
                      <a:pt x="178" y="28"/>
                    </a:lnTo>
                    <a:lnTo>
                      <a:pt x="171" y="33"/>
                    </a:lnTo>
                    <a:lnTo>
                      <a:pt x="166" y="38"/>
                    </a:lnTo>
                    <a:lnTo>
                      <a:pt x="160" y="44"/>
                    </a:lnTo>
                    <a:lnTo>
                      <a:pt x="156" y="49"/>
                    </a:lnTo>
                    <a:lnTo>
                      <a:pt x="153" y="55"/>
                    </a:lnTo>
                    <a:lnTo>
                      <a:pt x="151" y="61"/>
                    </a:lnTo>
                    <a:lnTo>
                      <a:pt x="149" y="68"/>
                    </a:lnTo>
                    <a:lnTo>
                      <a:pt x="151" y="75"/>
                    </a:lnTo>
                    <a:lnTo>
                      <a:pt x="152" y="82"/>
                    </a:lnTo>
                    <a:lnTo>
                      <a:pt x="153" y="90"/>
                    </a:lnTo>
                    <a:lnTo>
                      <a:pt x="156" y="97"/>
                    </a:lnTo>
                    <a:lnTo>
                      <a:pt x="159" y="105"/>
                    </a:lnTo>
                    <a:lnTo>
                      <a:pt x="164" y="112"/>
                    </a:lnTo>
                    <a:lnTo>
                      <a:pt x="169" y="118"/>
                    </a:lnTo>
                    <a:lnTo>
                      <a:pt x="177" y="123"/>
                    </a:lnTo>
                    <a:lnTo>
                      <a:pt x="171" y="129"/>
                    </a:lnTo>
                    <a:lnTo>
                      <a:pt x="163" y="139"/>
                    </a:lnTo>
                    <a:lnTo>
                      <a:pt x="151" y="150"/>
                    </a:lnTo>
                    <a:lnTo>
                      <a:pt x="136" y="162"/>
                    </a:lnTo>
                    <a:lnTo>
                      <a:pt x="120" y="173"/>
                    </a:lnTo>
                    <a:lnTo>
                      <a:pt x="102" y="182"/>
                    </a:lnTo>
                    <a:lnTo>
                      <a:pt x="95" y="186"/>
                    </a:lnTo>
                    <a:lnTo>
                      <a:pt x="86" y="188"/>
                    </a:lnTo>
                    <a:lnTo>
                      <a:pt x="78" y="190"/>
                    </a:lnTo>
                    <a:lnTo>
                      <a:pt x="70" y="191"/>
                    </a:lnTo>
                    <a:lnTo>
                      <a:pt x="54" y="190"/>
                    </a:lnTo>
                    <a:lnTo>
                      <a:pt x="37" y="187"/>
                    </a:lnTo>
                    <a:lnTo>
                      <a:pt x="22" y="183"/>
                    </a:lnTo>
                    <a:lnTo>
                      <a:pt x="10" y="179"/>
                    </a:lnTo>
                    <a:lnTo>
                      <a:pt x="9" y="183"/>
                    </a:lnTo>
                    <a:lnTo>
                      <a:pt x="6" y="193"/>
                    </a:lnTo>
                    <a:lnTo>
                      <a:pt x="2" y="208"/>
                    </a:lnTo>
                    <a:lnTo>
                      <a:pt x="0" y="226"/>
                    </a:lnTo>
                    <a:lnTo>
                      <a:pt x="0" y="236"/>
                    </a:lnTo>
                    <a:lnTo>
                      <a:pt x="0" y="245"/>
                    </a:lnTo>
                    <a:lnTo>
                      <a:pt x="2" y="253"/>
                    </a:lnTo>
                    <a:lnTo>
                      <a:pt x="5" y="261"/>
                    </a:lnTo>
                    <a:lnTo>
                      <a:pt x="9" y="269"/>
                    </a:lnTo>
                    <a:lnTo>
                      <a:pt x="14" y="276"/>
                    </a:lnTo>
                    <a:lnTo>
                      <a:pt x="18" y="278"/>
                    </a:lnTo>
                    <a:lnTo>
                      <a:pt x="21" y="280"/>
                    </a:lnTo>
                    <a:lnTo>
                      <a:pt x="25" y="282"/>
                    </a:lnTo>
                    <a:lnTo>
                      <a:pt x="30" y="283"/>
                    </a:lnTo>
                    <a:lnTo>
                      <a:pt x="32" y="291"/>
                    </a:lnTo>
                    <a:lnTo>
                      <a:pt x="35" y="299"/>
                    </a:lnTo>
                    <a:lnTo>
                      <a:pt x="40" y="307"/>
                    </a:lnTo>
                    <a:lnTo>
                      <a:pt x="44" y="315"/>
                    </a:lnTo>
                    <a:lnTo>
                      <a:pt x="56" y="331"/>
                    </a:lnTo>
                    <a:lnTo>
                      <a:pt x="69" y="347"/>
                    </a:lnTo>
                    <a:lnTo>
                      <a:pt x="83" y="364"/>
                    </a:lnTo>
                    <a:lnTo>
                      <a:pt x="92" y="383"/>
                    </a:lnTo>
                    <a:lnTo>
                      <a:pt x="97" y="393"/>
                    </a:lnTo>
                    <a:lnTo>
                      <a:pt x="100" y="403"/>
                    </a:lnTo>
                    <a:lnTo>
                      <a:pt x="102" y="414"/>
                    </a:lnTo>
                    <a:lnTo>
                      <a:pt x="103" y="425"/>
                    </a:lnTo>
                    <a:lnTo>
                      <a:pt x="110" y="425"/>
                    </a:lnTo>
                    <a:lnTo>
                      <a:pt x="117" y="426"/>
                    </a:lnTo>
                    <a:lnTo>
                      <a:pt x="121" y="427"/>
                    </a:lnTo>
                    <a:lnTo>
                      <a:pt x="124" y="429"/>
                    </a:lnTo>
                    <a:lnTo>
                      <a:pt x="128" y="431"/>
                    </a:lnTo>
                    <a:lnTo>
                      <a:pt x="131" y="435"/>
                    </a:lnTo>
                    <a:lnTo>
                      <a:pt x="133" y="438"/>
                    </a:lnTo>
                    <a:lnTo>
                      <a:pt x="135" y="441"/>
                    </a:lnTo>
                    <a:lnTo>
                      <a:pt x="139" y="450"/>
                    </a:lnTo>
                    <a:lnTo>
                      <a:pt x="143" y="459"/>
                    </a:lnTo>
                    <a:lnTo>
                      <a:pt x="148" y="469"/>
                    </a:lnTo>
                    <a:lnTo>
                      <a:pt x="156" y="480"/>
                    </a:lnTo>
                    <a:lnTo>
                      <a:pt x="184" y="504"/>
                    </a:lnTo>
                    <a:lnTo>
                      <a:pt x="216" y="536"/>
                    </a:lnTo>
                    <a:lnTo>
                      <a:pt x="224" y="546"/>
                    </a:lnTo>
                    <a:lnTo>
                      <a:pt x="232" y="556"/>
                    </a:lnTo>
                    <a:lnTo>
                      <a:pt x="238" y="565"/>
                    </a:lnTo>
                    <a:lnTo>
                      <a:pt x="244" y="575"/>
                    </a:lnTo>
                    <a:lnTo>
                      <a:pt x="249" y="585"/>
                    </a:lnTo>
                    <a:lnTo>
                      <a:pt x="253" y="595"/>
                    </a:lnTo>
                    <a:lnTo>
                      <a:pt x="255" y="606"/>
                    </a:lnTo>
                    <a:lnTo>
                      <a:pt x="256" y="616"/>
                    </a:lnTo>
                    <a:lnTo>
                      <a:pt x="256" y="624"/>
                    </a:lnTo>
                    <a:lnTo>
                      <a:pt x="257" y="631"/>
                    </a:lnTo>
                    <a:lnTo>
                      <a:pt x="258" y="638"/>
                    </a:lnTo>
                    <a:lnTo>
                      <a:pt x="260" y="645"/>
                    </a:lnTo>
                    <a:lnTo>
                      <a:pt x="266" y="659"/>
                    </a:lnTo>
                    <a:lnTo>
                      <a:pt x="272" y="670"/>
                    </a:lnTo>
                    <a:lnTo>
                      <a:pt x="280" y="681"/>
                    </a:lnTo>
                    <a:lnTo>
                      <a:pt x="289" y="691"/>
                    </a:lnTo>
                    <a:lnTo>
                      <a:pt x="299" y="701"/>
                    </a:lnTo>
                    <a:lnTo>
                      <a:pt x="310" y="710"/>
                    </a:lnTo>
                    <a:lnTo>
                      <a:pt x="331" y="730"/>
                    </a:lnTo>
                    <a:lnTo>
                      <a:pt x="352" y="750"/>
                    </a:lnTo>
                    <a:lnTo>
                      <a:pt x="361" y="761"/>
                    </a:lnTo>
                    <a:lnTo>
                      <a:pt x="369" y="774"/>
                    </a:lnTo>
                    <a:lnTo>
                      <a:pt x="377" y="787"/>
                    </a:lnTo>
                    <a:lnTo>
                      <a:pt x="382" y="801"/>
                    </a:lnTo>
                    <a:lnTo>
                      <a:pt x="388" y="814"/>
                    </a:lnTo>
                    <a:lnTo>
                      <a:pt x="394" y="827"/>
                    </a:lnTo>
                    <a:lnTo>
                      <a:pt x="401" y="838"/>
                    </a:lnTo>
                    <a:lnTo>
                      <a:pt x="409" y="848"/>
                    </a:lnTo>
                    <a:lnTo>
                      <a:pt x="425" y="867"/>
                    </a:lnTo>
                    <a:lnTo>
                      <a:pt x="443" y="886"/>
                    </a:lnTo>
                    <a:lnTo>
                      <a:pt x="459" y="905"/>
                    </a:lnTo>
                    <a:lnTo>
                      <a:pt x="476" y="925"/>
                    </a:lnTo>
                    <a:lnTo>
                      <a:pt x="483" y="938"/>
                    </a:lnTo>
                    <a:lnTo>
                      <a:pt x="490" y="950"/>
                    </a:lnTo>
                    <a:lnTo>
                      <a:pt x="496" y="964"/>
                    </a:lnTo>
                    <a:lnTo>
                      <a:pt x="502" y="979"/>
                    </a:lnTo>
                    <a:lnTo>
                      <a:pt x="528" y="979"/>
                    </a:lnTo>
                    <a:lnTo>
                      <a:pt x="535" y="973"/>
                    </a:lnTo>
                    <a:lnTo>
                      <a:pt x="539" y="966"/>
                    </a:lnTo>
                    <a:lnTo>
                      <a:pt x="541" y="960"/>
                    </a:lnTo>
                    <a:lnTo>
                      <a:pt x="543" y="953"/>
                    </a:lnTo>
                    <a:lnTo>
                      <a:pt x="543" y="938"/>
                    </a:lnTo>
                    <a:lnTo>
                      <a:pt x="541" y="918"/>
                    </a:lnTo>
                    <a:lnTo>
                      <a:pt x="543" y="913"/>
                    </a:lnTo>
                    <a:lnTo>
                      <a:pt x="546" y="909"/>
                    </a:lnTo>
                    <a:lnTo>
                      <a:pt x="551" y="905"/>
                    </a:lnTo>
                    <a:lnTo>
                      <a:pt x="557" y="901"/>
                    </a:lnTo>
                    <a:lnTo>
                      <a:pt x="563" y="898"/>
                    </a:lnTo>
                    <a:lnTo>
                      <a:pt x="570" y="896"/>
                    </a:lnTo>
                    <a:lnTo>
                      <a:pt x="577" y="894"/>
                    </a:lnTo>
                    <a:lnTo>
                      <a:pt x="582" y="893"/>
                    </a:lnTo>
                    <a:lnTo>
                      <a:pt x="594" y="894"/>
                    </a:lnTo>
                    <a:lnTo>
                      <a:pt x="605" y="895"/>
                    </a:lnTo>
                    <a:lnTo>
                      <a:pt x="616" y="896"/>
                    </a:lnTo>
                    <a:lnTo>
                      <a:pt x="626" y="898"/>
                    </a:lnTo>
                    <a:lnTo>
                      <a:pt x="644" y="902"/>
                    </a:lnTo>
                    <a:lnTo>
                      <a:pt x="660" y="909"/>
                    </a:lnTo>
                    <a:lnTo>
                      <a:pt x="674" y="916"/>
                    </a:lnTo>
                    <a:lnTo>
                      <a:pt x="686" y="924"/>
                    </a:lnTo>
                    <a:lnTo>
                      <a:pt x="697" y="934"/>
                    </a:lnTo>
                    <a:lnTo>
                      <a:pt x="708" y="943"/>
                    </a:lnTo>
                    <a:lnTo>
                      <a:pt x="729" y="916"/>
                    </a:lnTo>
                    <a:lnTo>
                      <a:pt x="756" y="881"/>
                    </a:lnTo>
                    <a:lnTo>
                      <a:pt x="778" y="851"/>
                    </a:lnTo>
                    <a:lnTo>
                      <a:pt x="787" y="838"/>
                    </a:lnTo>
                    <a:lnTo>
                      <a:pt x="1033" y="789"/>
                    </a:lnTo>
                    <a:lnTo>
                      <a:pt x="1146" y="763"/>
                    </a:lnTo>
                    <a:lnTo>
                      <a:pt x="1227" y="616"/>
                    </a:lnTo>
                    <a:lnTo>
                      <a:pt x="1199" y="567"/>
                    </a:lnTo>
                    <a:lnTo>
                      <a:pt x="1173" y="591"/>
                    </a:lnTo>
                    <a:lnTo>
                      <a:pt x="1000" y="573"/>
                    </a:lnTo>
                    <a:lnTo>
                      <a:pt x="940" y="480"/>
                    </a:lnTo>
                    <a:lnTo>
                      <a:pt x="940" y="468"/>
                    </a:lnTo>
                  </a:path>
                </a:pathLst>
              </a:custGeom>
              <a:grpFill/>
              <a:ln w="9525" cap="flat" cmpd="sng">
                <a:solidFill>
                  <a:srgbClr val="FFFFFF"/>
                </a:solidFill>
                <a:prstDash val="solid"/>
                <a:round/>
                <a:headEnd type="none" w="med" len="med"/>
                <a:tailEnd type="none" w="med" len="med"/>
              </a:ln>
              <a:effectLst/>
            </p:spPr>
            <p:txBody>
              <a:bodyPr/>
              <a:lstStyle/>
              <a:p>
                <a:endParaRPr lang="en-GB" sz="1637"/>
              </a:p>
            </p:txBody>
          </p:sp>
          <p:sp>
            <p:nvSpPr>
              <p:cNvPr id="196" name="Freeform 528"/>
              <p:cNvSpPr>
                <a:spLocks/>
              </p:cNvSpPr>
              <p:nvPr>
                <p:custDataLst>
                  <p:tags r:id="rId179"/>
                </p:custDataLst>
              </p:nvPr>
            </p:nvSpPr>
            <p:spPr bwMode="auto">
              <a:xfrm>
                <a:off x="4248795" y="2309165"/>
                <a:ext cx="62387" cy="64475"/>
              </a:xfrm>
              <a:custGeom>
                <a:avLst/>
                <a:gdLst>
                  <a:gd name="T0" fmla="*/ 57150 w 146"/>
                  <a:gd name="T1" fmla="*/ 12700 h 81"/>
                  <a:gd name="T2" fmla="*/ 54018 w 146"/>
                  <a:gd name="T3" fmla="*/ 16933 h 81"/>
                  <a:gd name="T4" fmla="*/ 50887 w 146"/>
                  <a:gd name="T5" fmla="*/ 20461 h 81"/>
                  <a:gd name="T6" fmla="*/ 48147 w 146"/>
                  <a:gd name="T7" fmla="*/ 24694 h 81"/>
                  <a:gd name="T8" fmla="*/ 46190 w 146"/>
                  <a:gd name="T9" fmla="*/ 28928 h 81"/>
                  <a:gd name="T10" fmla="*/ 42275 w 146"/>
                  <a:gd name="T11" fmla="*/ 37394 h 81"/>
                  <a:gd name="T12" fmla="*/ 38361 w 146"/>
                  <a:gd name="T13" fmla="*/ 45156 h 81"/>
                  <a:gd name="T14" fmla="*/ 36404 w 146"/>
                  <a:gd name="T15" fmla="*/ 48683 h 81"/>
                  <a:gd name="T16" fmla="*/ 33272 w 146"/>
                  <a:gd name="T17" fmla="*/ 51506 h 81"/>
                  <a:gd name="T18" fmla="*/ 29749 w 146"/>
                  <a:gd name="T19" fmla="*/ 54328 h 81"/>
                  <a:gd name="T20" fmla="*/ 25835 w 146"/>
                  <a:gd name="T21" fmla="*/ 56444 h 81"/>
                  <a:gd name="T22" fmla="*/ 20746 w 146"/>
                  <a:gd name="T23" fmla="*/ 57150 h 81"/>
                  <a:gd name="T24" fmla="*/ 15266 w 146"/>
                  <a:gd name="T25" fmla="*/ 56444 h 81"/>
                  <a:gd name="T26" fmla="*/ 8220 w 146"/>
                  <a:gd name="T27" fmla="*/ 54328 h 81"/>
                  <a:gd name="T28" fmla="*/ 0 w 146"/>
                  <a:gd name="T29" fmla="*/ 52211 h 81"/>
                  <a:gd name="T30" fmla="*/ 0 w 146"/>
                  <a:gd name="T31" fmla="*/ 43744 h 81"/>
                  <a:gd name="T32" fmla="*/ 0 w 146"/>
                  <a:gd name="T33" fmla="*/ 34572 h 81"/>
                  <a:gd name="T34" fmla="*/ 0 w 146"/>
                  <a:gd name="T35" fmla="*/ 23989 h 81"/>
                  <a:gd name="T36" fmla="*/ 0 w 146"/>
                  <a:gd name="T37" fmla="*/ 12700 h 81"/>
                  <a:gd name="T38" fmla="*/ 5480 w 146"/>
                  <a:gd name="T39" fmla="*/ 12700 h 81"/>
                  <a:gd name="T40" fmla="*/ 8612 w 146"/>
                  <a:gd name="T41" fmla="*/ 12700 h 81"/>
                  <a:gd name="T42" fmla="*/ 12135 w 146"/>
                  <a:gd name="T43" fmla="*/ 12700 h 81"/>
                  <a:gd name="T44" fmla="*/ 15658 w 146"/>
                  <a:gd name="T45" fmla="*/ 12700 h 81"/>
                  <a:gd name="T46" fmla="*/ 20355 w 146"/>
                  <a:gd name="T47" fmla="*/ 12700 h 81"/>
                  <a:gd name="T48" fmla="*/ 24661 w 146"/>
                  <a:gd name="T49" fmla="*/ 11289 h 81"/>
                  <a:gd name="T50" fmla="*/ 28575 w 146"/>
                  <a:gd name="T51" fmla="*/ 9878 h 81"/>
                  <a:gd name="T52" fmla="*/ 32489 w 146"/>
                  <a:gd name="T53" fmla="*/ 7761 h 81"/>
                  <a:gd name="T54" fmla="*/ 39535 w 146"/>
                  <a:gd name="T55" fmla="*/ 3528 h 81"/>
                  <a:gd name="T56" fmla="*/ 46973 w 146"/>
                  <a:gd name="T57" fmla="*/ 0 h 81"/>
                  <a:gd name="T58" fmla="*/ 50496 w 146"/>
                  <a:gd name="T59" fmla="*/ 2822 h 81"/>
                  <a:gd name="T60" fmla="*/ 52844 w 146"/>
                  <a:gd name="T61" fmla="*/ 6350 h 81"/>
                  <a:gd name="T62" fmla="*/ 55193 w 146"/>
                  <a:gd name="T63" fmla="*/ 9878 h 81"/>
                  <a:gd name="T64" fmla="*/ 57150 w 146"/>
                  <a:gd name="T65" fmla="*/ 12700 h 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46" h="81">
                    <a:moveTo>
                      <a:pt x="146" y="18"/>
                    </a:moveTo>
                    <a:lnTo>
                      <a:pt x="138" y="24"/>
                    </a:lnTo>
                    <a:lnTo>
                      <a:pt x="130" y="29"/>
                    </a:lnTo>
                    <a:lnTo>
                      <a:pt x="123" y="35"/>
                    </a:lnTo>
                    <a:lnTo>
                      <a:pt x="118" y="41"/>
                    </a:lnTo>
                    <a:lnTo>
                      <a:pt x="108" y="53"/>
                    </a:lnTo>
                    <a:lnTo>
                      <a:pt x="98" y="64"/>
                    </a:lnTo>
                    <a:lnTo>
                      <a:pt x="93" y="69"/>
                    </a:lnTo>
                    <a:lnTo>
                      <a:pt x="85" y="73"/>
                    </a:lnTo>
                    <a:lnTo>
                      <a:pt x="76" y="77"/>
                    </a:lnTo>
                    <a:lnTo>
                      <a:pt x="66" y="80"/>
                    </a:lnTo>
                    <a:lnTo>
                      <a:pt x="53" y="81"/>
                    </a:lnTo>
                    <a:lnTo>
                      <a:pt x="39" y="80"/>
                    </a:lnTo>
                    <a:lnTo>
                      <a:pt x="21" y="77"/>
                    </a:lnTo>
                    <a:lnTo>
                      <a:pt x="0" y="74"/>
                    </a:lnTo>
                    <a:lnTo>
                      <a:pt x="0" y="62"/>
                    </a:lnTo>
                    <a:lnTo>
                      <a:pt x="0" y="49"/>
                    </a:lnTo>
                    <a:lnTo>
                      <a:pt x="0" y="34"/>
                    </a:lnTo>
                    <a:lnTo>
                      <a:pt x="0" y="18"/>
                    </a:lnTo>
                    <a:lnTo>
                      <a:pt x="14" y="18"/>
                    </a:lnTo>
                    <a:lnTo>
                      <a:pt x="22" y="18"/>
                    </a:lnTo>
                    <a:lnTo>
                      <a:pt x="31" y="18"/>
                    </a:lnTo>
                    <a:lnTo>
                      <a:pt x="40" y="18"/>
                    </a:lnTo>
                    <a:lnTo>
                      <a:pt x="52" y="18"/>
                    </a:lnTo>
                    <a:lnTo>
                      <a:pt x="63" y="16"/>
                    </a:lnTo>
                    <a:lnTo>
                      <a:pt x="73" y="14"/>
                    </a:lnTo>
                    <a:lnTo>
                      <a:pt x="83" y="11"/>
                    </a:lnTo>
                    <a:lnTo>
                      <a:pt x="101" y="5"/>
                    </a:lnTo>
                    <a:lnTo>
                      <a:pt x="120" y="0"/>
                    </a:lnTo>
                    <a:lnTo>
                      <a:pt x="129" y="4"/>
                    </a:lnTo>
                    <a:lnTo>
                      <a:pt x="135" y="9"/>
                    </a:lnTo>
                    <a:lnTo>
                      <a:pt x="141" y="14"/>
                    </a:lnTo>
                    <a:lnTo>
                      <a:pt x="146" y="18"/>
                    </a:lnTo>
                  </a:path>
                </a:pathLst>
              </a:custGeom>
              <a:grpFill/>
              <a:ln w="9525" cap="flat" cmpd="sng">
                <a:solidFill>
                  <a:srgbClr val="FFFFFF"/>
                </a:solidFill>
                <a:prstDash val="solid"/>
                <a:round/>
                <a:headEnd type="none" w="med" len="med"/>
                <a:tailEnd type="none" w="med" len="med"/>
              </a:ln>
              <a:effectLst/>
            </p:spPr>
            <p:txBody>
              <a:bodyPr/>
              <a:lstStyle/>
              <a:p>
                <a:endParaRPr lang="en-GB" sz="1637"/>
              </a:p>
            </p:txBody>
          </p:sp>
          <p:sp>
            <p:nvSpPr>
              <p:cNvPr id="197" name="Freeform 533"/>
              <p:cNvSpPr>
                <a:spLocks/>
              </p:cNvSpPr>
              <p:nvPr>
                <p:custDataLst>
                  <p:tags r:id="rId180"/>
                </p:custDataLst>
              </p:nvPr>
            </p:nvSpPr>
            <p:spPr bwMode="auto">
              <a:xfrm>
                <a:off x="4815478" y="2644075"/>
                <a:ext cx="190628" cy="179096"/>
              </a:xfrm>
              <a:custGeom>
                <a:avLst/>
                <a:gdLst>
                  <a:gd name="T0" fmla="*/ 11210 w 405"/>
                  <a:gd name="T1" fmla="*/ 85157 h 302"/>
                  <a:gd name="T2" fmla="*/ 12073 w 405"/>
                  <a:gd name="T3" fmla="*/ 82003 h 302"/>
                  <a:gd name="T4" fmla="*/ 12935 w 405"/>
                  <a:gd name="T5" fmla="*/ 80952 h 302"/>
                  <a:gd name="T6" fmla="*/ 12073 w 405"/>
                  <a:gd name="T7" fmla="*/ 79375 h 302"/>
                  <a:gd name="T8" fmla="*/ 7761 w 405"/>
                  <a:gd name="T9" fmla="*/ 75170 h 302"/>
                  <a:gd name="T10" fmla="*/ 2587 w 405"/>
                  <a:gd name="T11" fmla="*/ 66759 h 302"/>
                  <a:gd name="T12" fmla="*/ 862 w 405"/>
                  <a:gd name="T13" fmla="*/ 60977 h 302"/>
                  <a:gd name="T14" fmla="*/ 2156 w 405"/>
                  <a:gd name="T15" fmla="*/ 58874 h 302"/>
                  <a:gd name="T16" fmla="*/ 2587 w 405"/>
                  <a:gd name="T17" fmla="*/ 54669 h 302"/>
                  <a:gd name="T18" fmla="*/ 7330 w 405"/>
                  <a:gd name="T19" fmla="*/ 50989 h 302"/>
                  <a:gd name="T20" fmla="*/ 14660 w 405"/>
                  <a:gd name="T21" fmla="*/ 48887 h 302"/>
                  <a:gd name="T22" fmla="*/ 20265 w 405"/>
                  <a:gd name="T23" fmla="*/ 46258 h 302"/>
                  <a:gd name="T24" fmla="*/ 24577 w 405"/>
                  <a:gd name="T25" fmla="*/ 43104 h 302"/>
                  <a:gd name="T26" fmla="*/ 28889 w 405"/>
                  <a:gd name="T27" fmla="*/ 36796 h 302"/>
                  <a:gd name="T28" fmla="*/ 32338 w 405"/>
                  <a:gd name="T29" fmla="*/ 27334 h 302"/>
                  <a:gd name="T30" fmla="*/ 36219 w 405"/>
                  <a:gd name="T31" fmla="*/ 24706 h 302"/>
                  <a:gd name="T32" fmla="*/ 40961 w 405"/>
                  <a:gd name="T33" fmla="*/ 27334 h 302"/>
                  <a:gd name="T34" fmla="*/ 50447 w 405"/>
                  <a:gd name="T35" fmla="*/ 28386 h 302"/>
                  <a:gd name="T36" fmla="*/ 72868 w 405"/>
                  <a:gd name="T37" fmla="*/ 24180 h 302"/>
                  <a:gd name="T38" fmla="*/ 91409 w 405"/>
                  <a:gd name="T39" fmla="*/ 22603 h 302"/>
                  <a:gd name="T40" fmla="*/ 100894 w 405"/>
                  <a:gd name="T41" fmla="*/ 21552 h 302"/>
                  <a:gd name="T42" fmla="*/ 113830 w 405"/>
                  <a:gd name="T43" fmla="*/ 18398 h 302"/>
                  <a:gd name="T44" fmla="*/ 137113 w 405"/>
                  <a:gd name="T45" fmla="*/ 8936 h 302"/>
                  <a:gd name="T46" fmla="*/ 154791 w 405"/>
                  <a:gd name="T47" fmla="*/ 2103 h 302"/>
                  <a:gd name="T48" fmla="*/ 160396 w 405"/>
                  <a:gd name="T49" fmla="*/ 1577 h 302"/>
                  <a:gd name="T50" fmla="*/ 166002 w 405"/>
                  <a:gd name="T51" fmla="*/ 1577 h 302"/>
                  <a:gd name="T52" fmla="*/ 171607 w 405"/>
                  <a:gd name="T53" fmla="*/ 526 h 302"/>
                  <a:gd name="T54" fmla="*/ 170313 w 405"/>
                  <a:gd name="T55" fmla="*/ 4205 h 302"/>
                  <a:gd name="T56" fmla="*/ 155222 w 405"/>
                  <a:gd name="T57" fmla="*/ 21552 h 302"/>
                  <a:gd name="T58" fmla="*/ 148323 w 405"/>
                  <a:gd name="T59" fmla="*/ 29963 h 302"/>
                  <a:gd name="T60" fmla="*/ 146168 w 405"/>
                  <a:gd name="T61" fmla="*/ 33642 h 302"/>
                  <a:gd name="T62" fmla="*/ 146168 w 405"/>
                  <a:gd name="T63" fmla="*/ 50464 h 302"/>
                  <a:gd name="T64" fmla="*/ 145305 w 405"/>
                  <a:gd name="T65" fmla="*/ 78324 h 302"/>
                  <a:gd name="T66" fmla="*/ 144443 w 405"/>
                  <a:gd name="T67" fmla="*/ 94619 h 302"/>
                  <a:gd name="T68" fmla="*/ 140562 w 405"/>
                  <a:gd name="T69" fmla="*/ 104081 h 302"/>
                  <a:gd name="T70" fmla="*/ 131508 w 405"/>
                  <a:gd name="T71" fmla="*/ 110389 h 302"/>
                  <a:gd name="T72" fmla="*/ 114261 w 405"/>
                  <a:gd name="T73" fmla="*/ 119325 h 302"/>
                  <a:gd name="T74" fmla="*/ 45704 w 405"/>
                  <a:gd name="T75" fmla="*/ 158750 h 302"/>
                  <a:gd name="T76" fmla="*/ 24577 w 405"/>
                  <a:gd name="T77" fmla="*/ 136672 h 302"/>
                  <a:gd name="T78" fmla="*/ 30182 w 405"/>
                  <a:gd name="T79" fmla="*/ 119851 h 302"/>
                  <a:gd name="T80" fmla="*/ 34925 w 405"/>
                  <a:gd name="T81" fmla="*/ 109863 h 302"/>
                  <a:gd name="T82" fmla="*/ 37081 w 405"/>
                  <a:gd name="T83" fmla="*/ 90414 h 302"/>
                  <a:gd name="T84" fmla="*/ 30613 w 405"/>
                  <a:gd name="T85" fmla="*/ 90940 h 302"/>
                  <a:gd name="T86" fmla="*/ 24577 w 405"/>
                  <a:gd name="T87" fmla="*/ 88837 h 302"/>
                  <a:gd name="T88" fmla="*/ 17678 w 405"/>
                  <a:gd name="T89" fmla="*/ 86734 h 302"/>
                  <a:gd name="T90" fmla="*/ 11210 w 405"/>
                  <a:gd name="T91" fmla="*/ 87260 h 30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05" h="302">
                    <a:moveTo>
                      <a:pt x="26" y="166"/>
                    </a:moveTo>
                    <a:lnTo>
                      <a:pt x="26" y="162"/>
                    </a:lnTo>
                    <a:lnTo>
                      <a:pt x="27" y="158"/>
                    </a:lnTo>
                    <a:lnTo>
                      <a:pt x="28" y="156"/>
                    </a:lnTo>
                    <a:lnTo>
                      <a:pt x="29" y="155"/>
                    </a:lnTo>
                    <a:lnTo>
                      <a:pt x="30" y="154"/>
                    </a:lnTo>
                    <a:lnTo>
                      <a:pt x="33" y="154"/>
                    </a:lnTo>
                    <a:lnTo>
                      <a:pt x="28" y="151"/>
                    </a:lnTo>
                    <a:lnTo>
                      <a:pt x="23" y="147"/>
                    </a:lnTo>
                    <a:lnTo>
                      <a:pt x="18" y="143"/>
                    </a:lnTo>
                    <a:lnTo>
                      <a:pt x="14" y="138"/>
                    </a:lnTo>
                    <a:lnTo>
                      <a:pt x="6" y="127"/>
                    </a:lnTo>
                    <a:lnTo>
                      <a:pt x="0" y="117"/>
                    </a:lnTo>
                    <a:lnTo>
                      <a:pt x="2" y="116"/>
                    </a:lnTo>
                    <a:lnTo>
                      <a:pt x="4" y="115"/>
                    </a:lnTo>
                    <a:lnTo>
                      <a:pt x="5" y="112"/>
                    </a:lnTo>
                    <a:lnTo>
                      <a:pt x="5" y="110"/>
                    </a:lnTo>
                    <a:lnTo>
                      <a:pt x="6" y="104"/>
                    </a:lnTo>
                    <a:lnTo>
                      <a:pt x="6" y="98"/>
                    </a:lnTo>
                    <a:lnTo>
                      <a:pt x="17" y="97"/>
                    </a:lnTo>
                    <a:lnTo>
                      <a:pt x="26" y="95"/>
                    </a:lnTo>
                    <a:lnTo>
                      <a:pt x="34" y="93"/>
                    </a:lnTo>
                    <a:lnTo>
                      <a:pt x="41" y="91"/>
                    </a:lnTo>
                    <a:lnTo>
                      <a:pt x="47" y="88"/>
                    </a:lnTo>
                    <a:lnTo>
                      <a:pt x="52" y="85"/>
                    </a:lnTo>
                    <a:lnTo>
                      <a:pt x="57" y="82"/>
                    </a:lnTo>
                    <a:lnTo>
                      <a:pt x="60" y="78"/>
                    </a:lnTo>
                    <a:lnTo>
                      <a:pt x="67" y="70"/>
                    </a:lnTo>
                    <a:lnTo>
                      <a:pt x="71" y="61"/>
                    </a:lnTo>
                    <a:lnTo>
                      <a:pt x="75" y="52"/>
                    </a:lnTo>
                    <a:lnTo>
                      <a:pt x="80" y="43"/>
                    </a:lnTo>
                    <a:lnTo>
                      <a:pt x="84" y="47"/>
                    </a:lnTo>
                    <a:lnTo>
                      <a:pt x="89" y="50"/>
                    </a:lnTo>
                    <a:lnTo>
                      <a:pt x="95" y="52"/>
                    </a:lnTo>
                    <a:lnTo>
                      <a:pt x="102" y="53"/>
                    </a:lnTo>
                    <a:lnTo>
                      <a:pt x="117" y="54"/>
                    </a:lnTo>
                    <a:lnTo>
                      <a:pt x="135" y="52"/>
                    </a:lnTo>
                    <a:lnTo>
                      <a:pt x="169" y="46"/>
                    </a:lnTo>
                    <a:lnTo>
                      <a:pt x="200" y="43"/>
                    </a:lnTo>
                    <a:lnTo>
                      <a:pt x="212" y="43"/>
                    </a:lnTo>
                    <a:lnTo>
                      <a:pt x="223" y="42"/>
                    </a:lnTo>
                    <a:lnTo>
                      <a:pt x="234" y="41"/>
                    </a:lnTo>
                    <a:lnTo>
                      <a:pt x="245" y="39"/>
                    </a:lnTo>
                    <a:lnTo>
                      <a:pt x="264" y="35"/>
                    </a:lnTo>
                    <a:lnTo>
                      <a:pt x="283" y="29"/>
                    </a:lnTo>
                    <a:lnTo>
                      <a:pt x="318" y="17"/>
                    </a:lnTo>
                    <a:lnTo>
                      <a:pt x="352" y="6"/>
                    </a:lnTo>
                    <a:lnTo>
                      <a:pt x="359" y="4"/>
                    </a:lnTo>
                    <a:lnTo>
                      <a:pt x="365" y="3"/>
                    </a:lnTo>
                    <a:lnTo>
                      <a:pt x="372" y="3"/>
                    </a:lnTo>
                    <a:lnTo>
                      <a:pt x="378" y="3"/>
                    </a:lnTo>
                    <a:lnTo>
                      <a:pt x="385" y="3"/>
                    </a:lnTo>
                    <a:lnTo>
                      <a:pt x="392" y="2"/>
                    </a:lnTo>
                    <a:lnTo>
                      <a:pt x="398" y="1"/>
                    </a:lnTo>
                    <a:lnTo>
                      <a:pt x="405" y="0"/>
                    </a:lnTo>
                    <a:lnTo>
                      <a:pt x="395" y="8"/>
                    </a:lnTo>
                    <a:lnTo>
                      <a:pt x="372" y="29"/>
                    </a:lnTo>
                    <a:lnTo>
                      <a:pt x="360" y="41"/>
                    </a:lnTo>
                    <a:lnTo>
                      <a:pt x="349" y="52"/>
                    </a:lnTo>
                    <a:lnTo>
                      <a:pt x="344" y="57"/>
                    </a:lnTo>
                    <a:lnTo>
                      <a:pt x="341" y="61"/>
                    </a:lnTo>
                    <a:lnTo>
                      <a:pt x="339" y="64"/>
                    </a:lnTo>
                    <a:lnTo>
                      <a:pt x="339" y="68"/>
                    </a:lnTo>
                    <a:lnTo>
                      <a:pt x="339" y="96"/>
                    </a:lnTo>
                    <a:lnTo>
                      <a:pt x="338" y="132"/>
                    </a:lnTo>
                    <a:lnTo>
                      <a:pt x="337" y="149"/>
                    </a:lnTo>
                    <a:lnTo>
                      <a:pt x="336" y="165"/>
                    </a:lnTo>
                    <a:lnTo>
                      <a:pt x="335" y="180"/>
                    </a:lnTo>
                    <a:lnTo>
                      <a:pt x="332" y="191"/>
                    </a:lnTo>
                    <a:lnTo>
                      <a:pt x="326" y="198"/>
                    </a:lnTo>
                    <a:lnTo>
                      <a:pt x="317" y="204"/>
                    </a:lnTo>
                    <a:lnTo>
                      <a:pt x="305" y="210"/>
                    </a:lnTo>
                    <a:lnTo>
                      <a:pt x="293" y="215"/>
                    </a:lnTo>
                    <a:lnTo>
                      <a:pt x="265" y="227"/>
                    </a:lnTo>
                    <a:lnTo>
                      <a:pt x="239" y="241"/>
                    </a:lnTo>
                    <a:lnTo>
                      <a:pt x="106" y="302"/>
                    </a:lnTo>
                    <a:lnTo>
                      <a:pt x="53" y="271"/>
                    </a:lnTo>
                    <a:lnTo>
                      <a:pt x="57" y="260"/>
                    </a:lnTo>
                    <a:lnTo>
                      <a:pt x="64" y="240"/>
                    </a:lnTo>
                    <a:lnTo>
                      <a:pt x="70" y="228"/>
                    </a:lnTo>
                    <a:lnTo>
                      <a:pt x="75" y="218"/>
                    </a:lnTo>
                    <a:lnTo>
                      <a:pt x="81" y="209"/>
                    </a:lnTo>
                    <a:lnTo>
                      <a:pt x="86" y="203"/>
                    </a:lnTo>
                    <a:lnTo>
                      <a:pt x="86" y="172"/>
                    </a:lnTo>
                    <a:lnTo>
                      <a:pt x="79" y="173"/>
                    </a:lnTo>
                    <a:lnTo>
                      <a:pt x="71" y="173"/>
                    </a:lnTo>
                    <a:lnTo>
                      <a:pt x="63" y="171"/>
                    </a:lnTo>
                    <a:lnTo>
                      <a:pt x="57" y="169"/>
                    </a:lnTo>
                    <a:lnTo>
                      <a:pt x="49" y="167"/>
                    </a:lnTo>
                    <a:lnTo>
                      <a:pt x="41" y="165"/>
                    </a:lnTo>
                    <a:lnTo>
                      <a:pt x="34" y="165"/>
                    </a:lnTo>
                    <a:lnTo>
                      <a:pt x="26" y="166"/>
                    </a:lnTo>
                  </a:path>
                </a:pathLst>
              </a:custGeom>
              <a:grpFill/>
              <a:ln w="9525" cmpd="sng">
                <a:solidFill>
                  <a:srgbClr val="FFFFFF"/>
                </a:solidFill>
                <a:prstDash val="solid"/>
                <a:round/>
                <a:headEnd/>
                <a:tailEnd/>
              </a:ln>
            </p:spPr>
            <p:txBody>
              <a:bodyPr/>
              <a:lstStyle/>
              <a:p>
                <a:endParaRPr lang="en-GB" sz="1637"/>
              </a:p>
            </p:txBody>
          </p:sp>
          <p:grpSp>
            <p:nvGrpSpPr>
              <p:cNvPr id="198" name="Group 535"/>
              <p:cNvGrpSpPr>
                <a:grpSpLocks/>
              </p:cNvGrpSpPr>
              <p:nvPr>
                <p:custDataLst>
                  <p:tags r:id="rId181"/>
                </p:custDataLst>
              </p:nvPr>
            </p:nvGrpSpPr>
            <p:grpSpPr bwMode="auto">
              <a:xfrm>
                <a:off x="4533003" y="2473934"/>
                <a:ext cx="526826" cy="227452"/>
                <a:chOff x="3289" y="1830"/>
                <a:chExt cx="363" cy="128"/>
              </a:xfrm>
              <a:grpFill/>
            </p:grpSpPr>
            <p:sp>
              <p:nvSpPr>
                <p:cNvPr id="206" name="Freeform 536"/>
                <p:cNvSpPr>
                  <a:spLocks/>
                </p:cNvSpPr>
                <p:nvPr/>
              </p:nvSpPr>
              <p:spPr bwMode="auto">
                <a:xfrm>
                  <a:off x="3289" y="1871"/>
                  <a:ext cx="4" cy="3"/>
                </a:xfrm>
                <a:custGeom>
                  <a:avLst/>
                  <a:gdLst>
                    <a:gd name="T0" fmla="*/ 4 w 13"/>
                    <a:gd name="T1" fmla="*/ 0 h 7"/>
                    <a:gd name="T2" fmla="*/ 4 w 13"/>
                    <a:gd name="T3" fmla="*/ 0 h 7"/>
                    <a:gd name="T4" fmla="*/ 3 w 13"/>
                    <a:gd name="T5" fmla="*/ 1 h 7"/>
                    <a:gd name="T6" fmla="*/ 1 w 13"/>
                    <a:gd name="T7" fmla="*/ 2 h 7"/>
                    <a:gd name="T8" fmla="*/ 0 w 13"/>
                    <a:gd name="T9" fmla="*/ 3 h 7"/>
                    <a:gd name="T10" fmla="*/ 2 w 13"/>
                    <a:gd name="T11" fmla="*/ 1 h 7"/>
                    <a:gd name="T12" fmla="*/ 4 w 13"/>
                    <a:gd name="T13" fmla="*/ 0 h 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 h="7">
                      <a:moveTo>
                        <a:pt x="13" y="0"/>
                      </a:moveTo>
                      <a:lnTo>
                        <a:pt x="12" y="1"/>
                      </a:lnTo>
                      <a:lnTo>
                        <a:pt x="9" y="3"/>
                      </a:lnTo>
                      <a:lnTo>
                        <a:pt x="4" y="5"/>
                      </a:lnTo>
                      <a:lnTo>
                        <a:pt x="0" y="7"/>
                      </a:lnTo>
                      <a:lnTo>
                        <a:pt x="7" y="3"/>
                      </a:lnTo>
                      <a:lnTo>
                        <a:pt x="13" y="0"/>
                      </a:lnTo>
                    </a:path>
                  </a:pathLst>
                </a:custGeom>
                <a:grpFill/>
                <a:ln w="9525" cap="flat" cmpd="sng">
                  <a:solidFill>
                    <a:srgbClr val="FFFFFF"/>
                  </a:solidFill>
                  <a:prstDash val="solid"/>
                  <a:round/>
                  <a:headEnd type="none" w="med" len="med"/>
                  <a:tailEnd type="none" w="med" len="med"/>
                </a:ln>
                <a:effectLst/>
              </p:spPr>
              <p:txBody>
                <a:bodyPr/>
                <a:lstStyle/>
                <a:p>
                  <a:endParaRPr lang="en-GB" sz="1637"/>
                </a:p>
              </p:txBody>
            </p:sp>
            <p:sp>
              <p:nvSpPr>
                <p:cNvPr id="207" name="Freeform 537"/>
                <p:cNvSpPr>
                  <a:spLocks/>
                </p:cNvSpPr>
                <p:nvPr/>
              </p:nvSpPr>
              <p:spPr bwMode="auto">
                <a:xfrm>
                  <a:off x="3324" y="1937"/>
                  <a:ext cx="10" cy="3"/>
                </a:xfrm>
                <a:custGeom>
                  <a:avLst/>
                  <a:gdLst>
                    <a:gd name="T0" fmla="*/ 0 w 34"/>
                    <a:gd name="T1" fmla="*/ 2 h 8"/>
                    <a:gd name="T2" fmla="*/ 2 w 34"/>
                    <a:gd name="T3" fmla="*/ 2 h 8"/>
                    <a:gd name="T4" fmla="*/ 4 w 34"/>
                    <a:gd name="T5" fmla="*/ 1 h 8"/>
                    <a:gd name="T6" fmla="*/ 7 w 34"/>
                    <a:gd name="T7" fmla="*/ 0 h 8"/>
                    <a:gd name="T8" fmla="*/ 10 w 34"/>
                    <a:gd name="T9" fmla="*/ 0 h 8"/>
                    <a:gd name="T10" fmla="*/ 9 w 34"/>
                    <a:gd name="T11" fmla="*/ 1 h 8"/>
                    <a:gd name="T12" fmla="*/ 8 w 34"/>
                    <a:gd name="T13" fmla="*/ 2 h 8"/>
                    <a:gd name="T14" fmla="*/ 6 w 34"/>
                    <a:gd name="T15" fmla="*/ 2 h 8"/>
                    <a:gd name="T16" fmla="*/ 5 w 34"/>
                    <a:gd name="T17" fmla="*/ 3 h 8"/>
                    <a:gd name="T18" fmla="*/ 4 w 34"/>
                    <a:gd name="T19" fmla="*/ 3 h 8"/>
                    <a:gd name="T20" fmla="*/ 2 w 34"/>
                    <a:gd name="T21" fmla="*/ 3 h 8"/>
                    <a:gd name="T22" fmla="*/ 1 w 34"/>
                    <a:gd name="T23" fmla="*/ 3 h 8"/>
                    <a:gd name="T24" fmla="*/ 0 w 34"/>
                    <a:gd name="T25" fmla="*/ 2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4" h="8">
                      <a:moveTo>
                        <a:pt x="0" y="6"/>
                      </a:moveTo>
                      <a:lnTo>
                        <a:pt x="7" y="5"/>
                      </a:lnTo>
                      <a:lnTo>
                        <a:pt x="15" y="3"/>
                      </a:lnTo>
                      <a:lnTo>
                        <a:pt x="25" y="1"/>
                      </a:lnTo>
                      <a:lnTo>
                        <a:pt x="34" y="0"/>
                      </a:lnTo>
                      <a:lnTo>
                        <a:pt x="31" y="2"/>
                      </a:lnTo>
                      <a:lnTo>
                        <a:pt x="27" y="4"/>
                      </a:lnTo>
                      <a:lnTo>
                        <a:pt x="22" y="6"/>
                      </a:lnTo>
                      <a:lnTo>
                        <a:pt x="18" y="7"/>
                      </a:lnTo>
                      <a:lnTo>
                        <a:pt x="12" y="8"/>
                      </a:lnTo>
                      <a:lnTo>
                        <a:pt x="8" y="8"/>
                      </a:lnTo>
                      <a:lnTo>
                        <a:pt x="4" y="8"/>
                      </a:lnTo>
                      <a:lnTo>
                        <a:pt x="0" y="6"/>
                      </a:lnTo>
                    </a:path>
                  </a:pathLst>
                </a:custGeom>
                <a:grpFill/>
                <a:ln w="9525" cap="flat" cmpd="sng">
                  <a:solidFill>
                    <a:srgbClr val="FFFFFF"/>
                  </a:solidFill>
                  <a:prstDash val="solid"/>
                  <a:round/>
                  <a:headEnd type="none" w="med" len="med"/>
                  <a:tailEnd type="none" w="med" len="med"/>
                </a:ln>
                <a:effectLst/>
              </p:spPr>
              <p:txBody>
                <a:bodyPr/>
                <a:lstStyle/>
                <a:p>
                  <a:endParaRPr lang="en-GB" sz="1637"/>
                </a:p>
              </p:txBody>
            </p:sp>
            <p:sp>
              <p:nvSpPr>
                <p:cNvPr id="208" name="Freeform 538"/>
                <p:cNvSpPr>
                  <a:spLocks/>
                </p:cNvSpPr>
                <p:nvPr/>
              </p:nvSpPr>
              <p:spPr bwMode="auto">
                <a:xfrm>
                  <a:off x="3343" y="1948"/>
                  <a:ext cx="4" cy="8"/>
                </a:xfrm>
                <a:custGeom>
                  <a:avLst/>
                  <a:gdLst>
                    <a:gd name="T0" fmla="*/ 0 w 13"/>
                    <a:gd name="T1" fmla="*/ 8 h 24"/>
                    <a:gd name="T2" fmla="*/ 0 w 13"/>
                    <a:gd name="T3" fmla="*/ 0 h 24"/>
                    <a:gd name="T4" fmla="*/ 4 w 13"/>
                    <a:gd name="T5" fmla="*/ 4 h 24"/>
                    <a:gd name="T6" fmla="*/ 0 w 13"/>
                    <a:gd name="T7" fmla="*/ 8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3" h="24">
                      <a:moveTo>
                        <a:pt x="0" y="24"/>
                      </a:moveTo>
                      <a:lnTo>
                        <a:pt x="0" y="0"/>
                      </a:lnTo>
                      <a:lnTo>
                        <a:pt x="13" y="12"/>
                      </a:lnTo>
                      <a:lnTo>
                        <a:pt x="0" y="24"/>
                      </a:lnTo>
                    </a:path>
                  </a:pathLst>
                </a:custGeom>
                <a:grpFill/>
                <a:ln w="9525" cap="flat" cmpd="sng">
                  <a:solidFill>
                    <a:srgbClr val="FFFFFF"/>
                  </a:solidFill>
                  <a:prstDash val="solid"/>
                  <a:round/>
                  <a:headEnd type="none" w="med" len="med"/>
                  <a:tailEnd type="none" w="med" len="med"/>
                </a:ln>
                <a:effectLst/>
              </p:spPr>
              <p:txBody>
                <a:bodyPr/>
                <a:lstStyle/>
                <a:p>
                  <a:endParaRPr lang="en-GB" sz="1637"/>
                </a:p>
              </p:txBody>
            </p:sp>
            <p:sp>
              <p:nvSpPr>
                <p:cNvPr id="209" name="Freeform 539"/>
                <p:cNvSpPr>
                  <a:spLocks/>
                </p:cNvSpPr>
                <p:nvPr/>
              </p:nvSpPr>
              <p:spPr bwMode="auto">
                <a:xfrm>
                  <a:off x="3313" y="1834"/>
                  <a:ext cx="34" cy="23"/>
                </a:xfrm>
                <a:custGeom>
                  <a:avLst/>
                  <a:gdLst>
                    <a:gd name="T0" fmla="*/ 0 w 107"/>
                    <a:gd name="T1" fmla="*/ 4 h 69"/>
                    <a:gd name="T2" fmla="*/ 0 w 107"/>
                    <a:gd name="T3" fmla="*/ 9 h 69"/>
                    <a:gd name="T4" fmla="*/ 0 w 107"/>
                    <a:gd name="T5" fmla="*/ 15 h 69"/>
                    <a:gd name="T6" fmla="*/ 0 w 107"/>
                    <a:gd name="T7" fmla="*/ 21 h 69"/>
                    <a:gd name="T8" fmla="*/ 0 w 107"/>
                    <a:gd name="T9" fmla="*/ 23 h 69"/>
                    <a:gd name="T10" fmla="*/ 5 w 107"/>
                    <a:gd name="T11" fmla="*/ 22 h 69"/>
                    <a:gd name="T12" fmla="*/ 16 w 107"/>
                    <a:gd name="T13" fmla="*/ 19 h 69"/>
                    <a:gd name="T14" fmla="*/ 27 w 107"/>
                    <a:gd name="T15" fmla="*/ 17 h 69"/>
                    <a:gd name="T16" fmla="*/ 34 w 107"/>
                    <a:gd name="T17" fmla="*/ 15 h 69"/>
                    <a:gd name="T18" fmla="*/ 32 w 107"/>
                    <a:gd name="T19" fmla="*/ 13 h 69"/>
                    <a:gd name="T20" fmla="*/ 30 w 107"/>
                    <a:gd name="T21" fmla="*/ 11 h 69"/>
                    <a:gd name="T22" fmla="*/ 27 w 107"/>
                    <a:gd name="T23" fmla="*/ 10 h 69"/>
                    <a:gd name="T24" fmla="*/ 25 w 107"/>
                    <a:gd name="T25" fmla="*/ 9 h 69"/>
                    <a:gd name="T26" fmla="*/ 23 w 107"/>
                    <a:gd name="T27" fmla="*/ 8 h 69"/>
                    <a:gd name="T28" fmla="*/ 21 w 107"/>
                    <a:gd name="T29" fmla="*/ 6 h 69"/>
                    <a:gd name="T30" fmla="*/ 20 w 107"/>
                    <a:gd name="T31" fmla="*/ 5 h 69"/>
                    <a:gd name="T32" fmla="*/ 20 w 107"/>
                    <a:gd name="T33" fmla="*/ 4 h 69"/>
                    <a:gd name="T34" fmla="*/ 19 w 107"/>
                    <a:gd name="T35" fmla="*/ 2 h 69"/>
                    <a:gd name="T36" fmla="*/ 19 w 107"/>
                    <a:gd name="T37" fmla="*/ 0 h 69"/>
                    <a:gd name="T38" fmla="*/ 17 w 107"/>
                    <a:gd name="T39" fmla="*/ 0 h 69"/>
                    <a:gd name="T40" fmla="*/ 12 w 107"/>
                    <a:gd name="T41" fmla="*/ 1 h 69"/>
                    <a:gd name="T42" fmla="*/ 6 w 107"/>
                    <a:gd name="T43" fmla="*/ 3 h 69"/>
                    <a:gd name="T44" fmla="*/ 0 w 107"/>
                    <a:gd name="T45" fmla="*/ 4 h 6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07" h="69">
                      <a:moveTo>
                        <a:pt x="0" y="13"/>
                      </a:moveTo>
                      <a:lnTo>
                        <a:pt x="0" y="27"/>
                      </a:lnTo>
                      <a:lnTo>
                        <a:pt x="0" y="45"/>
                      </a:lnTo>
                      <a:lnTo>
                        <a:pt x="0" y="62"/>
                      </a:lnTo>
                      <a:lnTo>
                        <a:pt x="0" y="69"/>
                      </a:lnTo>
                      <a:lnTo>
                        <a:pt x="16" y="66"/>
                      </a:lnTo>
                      <a:lnTo>
                        <a:pt x="49" y="58"/>
                      </a:lnTo>
                      <a:lnTo>
                        <a:pt x="85" y="50"/>
                      </a:lnTo>
                      <a:lnTo>
                        <a:pt x="107" y="44"/>
                      </a:lnTo>
                      <a:lnTo>
                        <a:pt x="101" y="38"/>
                      </a:lnTo>
                      <a:lnTo>
                        <a:pt x="94" y="34"/>
                      </a:lnTo>
                      <a:lnTo>
                        <a:pt x="86" y="30"/>
                      </a:lnTo>
                      <a:lnTo>
                        <a:pt x="78" y="27"/>
                      </a:lnTo>
                      <a:lnTo>
                        <a:pt x="72" y="23"/>
                      </a:lnTo>
                      <a:lnTo>
                        <a:pt x="65" y="18"/>
                      </a:lnTo>
                      <a:lnTo>
                        <a:pt x="63" y="15"/>
                      </a:lnTo>
                      <a:lnTo>
                        <a:pt x="62" y="11"/>
                      </a:lnTo>
                      <a:lnTo>
                        <a:pt x="61" y="7"/>
                      </a:lnTo>
                      <a:lnTo>
                        <a:pt x="61" y="0"/>
                      </a:lnTo>
                      <a:lnTo>
                        <a:pt x="54" y="1"/>
                      </a:lnTo>
                      <a:lnTo>
                        <a:pt x="38" y="4"/>
                      </a:lnTo>
                      <a:lnTo>
                        <a:pt x="18" y="9"/>
                      </a:lnTo>
                      <a:lnTo>
                        <a:pt x="0" y="13"/>
                      </a:lnTo>
                    </a:path>
                  </a:pathLst>
                </a:custGeom>
                <a:grpFill/>
                <a:ln w="9525" cap="flat" cmpd="sng">
                  <a:solidFill>
                    <a:srgbClr val="FFFFFF"/>
                  </a:solidFill>
                  <a:prstDash val="solid"/>
                  <a:round/>
                  <a:headEnd type="none" w="med" len="med"/>
                  <a:tailEnd type="none" w="med" len="med"/>
                </a:ln>
                <a:effectLst/>
              </p:spPr>
              <p:txBody>
                <a:bodyPr/>
                <a:lstStyle/>
                <a:p>
                  <a:endParaRPr lang="en-GB" sz="1637"/>
                </a:p>
              </p:txBody>
            </p:sp>
            <p:sp>
              <p:nvSpPr>
                <p:cNvPr id="210" name="Freeform 540"/>
                <p:cNvSpPr>
                  <a:spLocks/>
                </p:cNvSpPr>
                <p:nvPr/>
              </p:nvSpPr>
              <p:spPr bwMode="auto">
                <a:xfrm>
                  <a:off x="3302" y="1830"/>
                  <a:ext cx="350" cy="128"/>
                </a:xfrm>
                <a:custGeom>
                  <a:avLst/>
                  <a:gdLst>
                    <a:gd name="T0" fmla="*/ 324 w 1070"/>
                    <a:gd name="T1" fmla="*/ 42 h 382"/>
                    <a:gd name="T2" fmla="*/ 317 w 1070"/>
                    <a:gd name="T3" fmla="*/ 35 h 382"/>
                    <a:gd name="T4" fmla="*/ 315 w 1070"/>
                    <a:gd name="T5" fmla="*/ 19 h 382"/>
                    <a:gd name="T6" fmla="*/ 306 w 1070"/>
                    <a:gd name="T7" fmla="*/ 12 h 382"/>
                    <a:gd name="T8" fmla="*/ 267 w 1070"/>
                    <a:gd name="T9" fmla="*/ 6 h 382"/>
                    <a:gd name="T10" fmla="*/ 237 w 1070"/>
                    <a:gd name="T11" fmla="*/ 19 h 382"/>
                    <a:gd name="T12" fmla="*/ 222 w 1070"/>
                    <a:gd name="T13" fmla="*/ 22 h 382"/>
                    <a:gd name="T14" fmla="*/ 207 w 1070"/>
                    <a:gd name="T15" fmla="*/ 22 h 382"/>
                    <a:gd name="T16" fmla="*/ 200 w 1070"/>
                    <a:gd name="T17" fmla="*/ 15 h 382"/>
                    <a:gd name="T18" fmla="*/ 183 w 1070"/>
                    <a:gd name="T19" fmla="*/ 12 h 382"/>
                    <a:gd name="T20" fmla="*/ 172 w 1070"/>
                    <a:gd name="T21" fmla="*/ 6 h 382"/>
                    <a:gd name="T22" fmla="*/ 158 w 1070"/>
                    <a:gd name="T23" fmla="*/ 7 h 382"/>
                    <a:gd name="T24" fmla="*/ 152 w 1070"/>
                    <a:gd name="T25" fmla="*/ 0 h 382"/>
                    <a:gd name="T26" fmla="*/ 128 w 1070"/>
                    <a:gd name="T27" fmla="*/ 5 h 382"/>
                    <a:gd name="T28" fmla="*/ 98 w 1070"/>
                    <a:gd name="T29" fmla="*/ 9 h 382"/>
                    <a:gd name="T30" fmla="*/ 84 w 1070"/>
                    <a:gd name="T31" fmla="*/ 15 h 382"/>
                    <a:gd name="T32" fmla="*/ 45 w 1070"/>
                    <a:gd name="T33" fmla="*/ 20 h 382"/>
                    <a:gd name="T34" fmla="*/ 57 w 1070"/>
                    <a:gd name="T35" fmla="*/ 25 h 382"/>
                    <a:gd name="T36" fmla="*/ 54 w 1070"/>
                    <a:gd name="T37" fmla="*/ 30 h 382"/>
                    <a:gd name="T38" fmla="*/ 37 w 1070"/>
                    <a:gd name="T39" fmla="*/ 31 h 382"/>
                    <a:gd name="T40" fmla="*/ 14 w 1070"/>
                    <a:gd name="T41" fmla="*/ 31 h 382"/>
                    <a:gd name="T42" fmla="*/ 3 w 1070"/>
                    <a:gd name="T43" fmla="*/ 37 h 382"/>
                    <a:gd name="T44" fmla="*/ 0 w 1070"/>
                    <a:gd name="T45" fmla="*/ 49 h 382"/>
                    <a:gd name="T46" fmla="*/ 5 w 1070"/>
                    <a:gd name="T47" fmla="*/ 56 h 382"/>
                    <a:gd name="T48" fmla="*/ 7 w 1070"/>
                    <a:gd name="T49" fmla="*/ 65 h 382"/>
                    <a:gd name="T50" fmla="*/ 7 w 1070"/>
                    <a:gd name="T51" fmla="*/ 70 h 382"/>
                    <a:gd name="T52" fmla="*/ 16 w 1070"/>
                    <a:gd name="T53" fmla="*/ 79 h 382"/>
                    <a:gd name="T54" fmla="*/ 18 w 1070"/>
                    <a:gd name="T55" fmla="*/ 87 h 382"/>
                    <a:gd name="T56" fmla="*/ 24 w 1070"/>
                    <a:gd name="T57" fmla="*/ 91 h 382"/>
                    <a:gd name="T58" fmla="*/ 31 w 1070"/>
                    <a:gd name="T59" fmla="*/ 97 h 382"/>
                    <a:gd name="T60" fmla="*/ 67 w 1070"/>
                    <a:gd name="T61" fmla="*/ 118 h 382"/>
                    <a:gd name="T62" fmla="*/ 83 w 1070"/>
                    <a:gd name="T63" fmla="*/ 124 h 382"/>
                    <a:gd name="T64" fmla="*/ 87 w 1070"/>
                    <a:gd name="T65" fmla="*/ 120 h 382"/>
                    <a:gd name="T66" fmla="*/ 91 w 1070"/>
                    <a:gd name="T67" fmla="*/ 113 h 382"/>
                    <a:gd name="T68" fmla="*/ 97 w 1070"/>
                    <a:gd name="T69" fmla="*/ 106 h 382"/>
                    <a:gd name="T70" fmla="*/ 109 w 1070"/>
                    <a:gd name="T71" fmla="*/ 108 h 382"/>
                    <a:gd name="T72" fmla="*/ 118 w 1070"/>
                    <a:gd name="T73" fmla="*/ 120 h 382"/>
                    <a:gd name="T74" fmla="*/ 131 w 1070"/>
                    <a:gd name="T75" fmla="*/ 124 h 382"/>
                    <a:gd name="T76" fmla="*/ 146 w 1070"/>
                    <a:gd name="T77" fmla="*/ 120 h 382"/>
                    <a:gd name="T78" fmla="*/ 161 w 1070"/>
                    <a:gd name="T79" fmla="*/ 112 h 382"/>
                    <a:gd name="T80" fmla="*/ 172 w 1070"/>
                    <a:gd name="T81" fmla="*/ 110 h 382"/>
                    <a:gd name="T82" fmla="*/ 184 w 1070"/>
                    <a:gd name="T83" fmla="*/ 109 h 382"/>
                    <a:gd name="T84" fmla="*/ 185 w 1070"/>
                    <a:gd name="T85" fmla="*/ 123 h 382"/>
                    <a:gd name="T86" fmla="*/ 193 w 1070"/>
                    <a:gd name="T87" fmla="*/ 126 h 382"/>
                    <a:gd name="T88" fmla="*/ 201 w 1070"/>
                    <a:gd name="T89" fmla="*/ 121 h 382"/>
                    <a:gd name="T90" fmla="*/ 212 w 1070"/>
                    <a:gd name="T91" fmla="*/ 113 h 382"/>
                    <a:gd name="T92" fmla="*/ 246 w 1070"/>
                    <a:gd name="T93" fmla="*/ 110 h 382"/>
                    <a:gd name="T94" fmla="*/ 272 w 1070"/>
                    <a:gd name="T95" fmla="*/ 106 h 382"/>
                    <a:gd name="T96" fmla="*/ 300 w 1070"/>
                    <a:gd name="T97" fmla="*/ 95 h 382"/>
                    <a:gd name="T98" fmla="*/ 316 w 1070"/>
                    <a:gd name="T99" fmla="*/ 96 h 382"/>
                    <a:gd name="T100" fmla="*/ 329 w 1070"/>
                    <a:gd name="T101" fmla="*/ 98 h 382"/>
                    <a:gd name="T102" fmla="*/ 345 w 1070"/>
                    <a:gd name="T103" fmla="*/ 103 h 382"/>
                    <a:gd name="T104" fmla="*/ 345 w 1070"/>
                    <a:gd name="T105" fmla="*/ 90 h 382"/>
                    <a:gd name="T106" fmla="*/ 336 w 1070"/>
                    <a:gd name="T107" fmla="*/ 73 h 382"/>
                    <a:gd name="T108" fmla="*/ 333 w 1070"/>
                    <a:gd name="T109" fmla="*/ 56 h 38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070" h="382">
                      <a:moveTo>
                        <a:pt x="1011" y="142"/>
                      </a:moveTo>
                      <a:lnTo>
                        <a:pt x="1011" y="136"/>
                      </a:lnTo>
                      <a:lnTo>
                        <a:pt x="1011" y="123"/>
                      </a:lnTo>
                      <a:lnTo>
                        <a:pt x="1000" y="125"/>
                      </a:lnTo>
                      <a:lnTo>
                        <a:pt x="992" y="124"/>
                      </a:lnTo>
                      <a:lnTo>
                        <a:pt x="984" y="122"/>
                      </a:lnTo>
                      <a:lnTo>
                        <a:pt x="980" y="119"/>
                      </a:lnTo>
                      <a:lnTo>
                        <a:pt x="976" y="114"/>
                      </a:lnTo>
                      <a:lnTo>
                        <a:pt x="972" y="109"/>
                      </a:lnTo>
                      <a:lnTo>
                        <a:pt x="970" y="103"/>
                      </a:lnTo>
                      <a:lnTo>
                        <a:pt x="969" y="96"/>
                      </a:lnTo>
                      <a:lnTo>
                        <a:pt x="967" y="82"/>
                      </a:lnTo>
                      <a:lnTo>
                        <a:pt x="966" y="68"/>
                      </a:lnTo>
                      <a:lnTo>
                        <a:pt x="965" y="62"/>
                      </a:lnTo>
                      <a:lnTo>
                        <a:pt x="962" y="57"/>
                      </a:lnTo>
                      <a:lnTo>
                        <a:pt x="960" y="53"/>
                      </a:lnTo>
                      <a:lnTo>
                        <a:pt x="957" y="50"/>
                      </a:lnTo>
                      <a:lnTo>
                        <a:pt x="950" y="44"/>
                      </a:lnTo>
                      <a:lnTo>
                        <a:pt x="944" y="40"/>
                      </a:lnTo>
                      <a:lnTo>
                        <a:pt x="936" y="36"/>
                      </a:lnTo>
                      <a:lnTo>
                        <a:pt x="928" y="33"/>
                      </a:lnTo>
                      <a:lnTo>
                        <a:pt x="912" y="28"/>
                      </a:lnTo>
                      <a:lnTo>
                        <a:pt x="894" y="25"/>
                      </a:lnTo>
                      <a:lnTo>
                        <a:pt x="857" y="22"/>
                      </a:lnTo>
                      <a:lnTo>
                        <a:pt x="817" y="19"/>
                      </a:lnTo>
                      <a:lnTo>
                        <a:pt x="799" y="29"/>
                      </a:lnTo>
                      <a:lnTo>
                        <a:pt x="769" y="43"/>
                      </a:lnTo>
                      <a:lnTo>
                        <a:pt x="752" y="50"/>
                      </a:lnTo>
                      <a:lnTo>
                        <a:pt x="734" y="56"/>
                      </a:lnTo>
                      <a:lnTo>
                        <a:pt x="726" y="58"/>
                      </a:lnTo>
                      <a:lnTo>
                        <a:pt x="719" y="60"/>
                      </a:lnTo>
                      <a:lnTo>
                        <a:pt x="711" y="61"/>
                      </a:lnTo>
                      <a:lnTo>
                        <a:pt x="704" y="62"/>
                      </a:lnTo>
                      <a:lnTo>
                        <a:pt x="692" y="63"/>
                      </a:lnTo>
                      <a:lnTo>
                        <a:pt x="678" y="65"/>
                      </a:lnTo>
                      <a:lnTo>
                        <a:pt x="664" y="67"/>
                      </a:lnTo>
                      <a:lnTo>
                        <a:pt x="652" y="68"/>
                      </a:lnTo>
                      <a:lnTo>
                        <a:pt x="644" y="68"/>
                      </a:lnTo>
                      <a:lnTo>
                        <a:pt x="637" y="67"/>
                      </a:lnTo>
                      <a:lnTo>
                        <a:pt x="632" y="65"/>
                      </a:lnTo>
                      <a:lnTo>
                        <a:pt x="626" y="63"/>
                      </a:lnTo>
                      <a:lnTo>
                        <a:pt x="622" y="59"/>
                      </a:lnTo>
                      <a:lnTo>
                        <a:pt x="618" y="55"/>
                      </a:lnTo>
                      <a:lnTo>
                        <a:pt x="614" y="50"/>
                      </a:lnTo>
                      <a:lnTo>
                        <a:pt x="612" y="44"/>
                      </a:lnTo>
                      <a:lnTo>
                        <a:pt x="601" y="45"/>
                      </a:lnTo>
                      <a:lnTo>
                        <a:pt x="591" y="44"/>
                      </a:lnTo>
                      <a:lnTo>
                        <a:pt x="581" y="42"/>
                      </a:lnTo>
                      <a:lnTo>
                        <a:pt x="571" y="40"/>
                      </a:lnTo>
                      <a:lnTo>
                        <a:pt x="560" y="37"/>
                      </a:lnTo>
                      <a:lnTo>
                        <a:pt x="549" y="34"/>
                      </a:lnTo>
                      <a:lnTo>
                        <a:pt x="537" y="32"/>
                      </a:lnTo>
                      <a:lnTo>
                        <a:pt x="525" y="32"/>
                      </a:lnTo>
                      <a:lnTo>
                        <a:pt x="525" y="25"/>
                      </a:lnTo>
                      <a:lnTo>
                        <a:pt x="525" y="19"/>
                      </a:lnTo>
                      <a:lnTo>
                        <a:pt x="512" y="22"/>
                      </a:lnTo>
                      <a:lnTo>
                        <a:pt x="499" y="25"/>
                      </a:lnTo>
                      <a:lnTo>
                        <a:pt x="493" y="25"/>
                      </a:lnTo>
                      <a:lnTo>
                        <a:pt x="488" y="23"/>
                      </a:lnTo>
                      <a:lnTo>
                        <a:pt x="483" y="21"/>
                      </a:lnTo>
                      <a:lnTo>
                        <a:pt x="477" y="17"/>
                      </a:lnTo>
                      <a:lnTo>
                        <a:pt x="473" y="13"/>
                      </a:lnTo>
                      <a:lnTo>
                        <a:pt x="468" y="9"/>
                      </a:lnTo>
                      <a:lnTo>
                        <a:pt x="466" y="5"/>
                      </a:lnTo>
                      <a:lnTo>
                        <a:pt x="465" y="0"/>
                      </a:lnTo>
                      <a:lnTo>
                        <a:pt x="456" y="5"/>
                      </a:lnTo>
                      <a:lnTo>
                        <a:pt x="445" y="9"/>
                      </a:lnTo>
                      <a:lnTo>
                        <a:pt x="432" y="12"/>
                      </a:lnTo>
                      <a:lnTo>
                        <a:pt x="419" y="14"/>
                      </a:lnTo>
                      <a:lnTo>
                        <a:pt x="390" y="16"/>
                      </a:lnTo>
                      <a:lnTo>
                        <a:pt x="360" y="19"/>
                      </a:lnTo>
                      <a:lnTo>
                        <a:pt x="343" y="20"/>
                      </a:lnTo>
                      <a:lnTo>
                        <a:pt x="329" y="21"/>
                      </a:lnTo>
                      <a:lnTo>
                        <a:pt x="313" y="23"/>
                      </a:lnTo>
                      <a:lnTo>
                        <a:pt x="299" y="26"/>
                      </a:lnTo>
                      <a:lnTo>
                        <a:pt x="286" y="30"/>
                      </a:lnTo>
                      <a:lnTo>
                        <a:pt x="274" y="35"/>
                      </a:lnTo>
                      <a:lnTo>
                        <a:pt x="267" y="38"/>
                      </a:lnTo>
                      <a:lnTo>
                        <a:pt x="262" y="41"/>
                      </a:lnTo>
                      <a:lnTo>
                        <a:pt x="257" y="45"/>
                      </a:lnTo>
                      <a:lnTo>
                        <a:pt x="253" y="50"/>
                      </a:lnTo>
                      <a:lnTo>
                        <a:pt x="147" y="50"/>
                      </a:lnTo>
                      <a:lnTo>
                        <a:pt x="145" y="54"/>
                      </a:lnTo>
                      <a:lnTo>
                        <a:pt x="142" y="58"/>
                      </a:lnTo>
                      <a:lnTo>
                        <a:pt x="138" y="61"/>
                      </a:lnTo>
                      <a:lnTo>
                        <a:pt x="133" y="62"/>
                      </a:lnTo>
                      <a:lnTo>
                        <a:pt x="143" y="65"/>
                      </a:lnTo>
                      <a:lnTo>
                        <a:pt x="153" y="68"/>
                      </a:lnTo>
                      <a:lnTo>
                        <a:pt x="163" y="70"/>
                      </a:lnTo>
                      <a:lnTo>
                        <a:pt x="173" y="75"/>
                      </a:lnTo>
                      <a:lnTo>
                        <a:pt x="173" y="79"/>
                      </a:lnTo>
                      <a:lnTo>
                        <a:pt x="172" y="83"/>
                      </a:lnTo>
                      <a:lnTo>
                        <a:pt x="170" y="86"/>
                      </a:lnTo>
                      <a:lnTo>
                        <a:pt x="167" y="88"/>
                      </a:lnTo>
                      <a:lnTo>
                        <a:pt x="164" y="90"/>
                      </a:lnTo>
                      <a:lnTo>
                        <a:pt x="161" y="91"/>
                      </a:lnTo>
                      <a:lnTo>
                        <a:pt x="158" y="92"/>
                      </a:lnTo>
                      <a:lnTo>
                        <a:pt x="153" y="93"/>
                      </a:lnTo>
                      <a:lnTo>
                        <a:pt x="133" y="94"/>
                      </a:lnTo>
                      <a:lnTo>
                        <a:pt x="114" y="93"/>
                      </a:lnTo>
                      <a:lnTo>
                        <a:pt x="108" y="93"/>
                      </a:lnTo>
                      <a:lnTo>
                        <a:pt x="94" y="93"/>
                      </a:lnTo>
                      <a:lnTo>
                        <a:pt x="74" y="93"/>
                      </a:lnTo>
                      <a:lnTo>
                        <a:pt x="53" y="93"/>
                      </a:lnTo>
                      <a:lnTo>
                        <a:pt x="42" y="94"/>
                      </a:lnTo>
                      <a:lnTo>
                        <a:pt x="31" y="95"/>
                      </a:lnTo>
                      <a:lnTo>
                        <a:pt x="22" y="99"/>
                      </a:lnTo>
                      <a:lnTo>
                        <a:pt x="15" y="104"/>
                      </a:lnTo>
                      <a:lnTo>
                        <a:pt x="11" y="107"/>
                      </a:lnTo>
                      <a:lnTo>
                        <a:pt x="8" y="110"/>
                      </a:lnTo>
                      <a:lnTo>
                        <a:pt x="6" y="114"/>
                      </a:lnTo>
                      <a:lnTo>
                        <a:pt x="4" y="119"/>
                      </a:lnTo>
                      <a:lnTo>
                        <a:pt x="2" y="130"/>
                      </a:lnTo>
                      <a:lnTo>
                        <a:pt x="0" y="142"/>
                      </a:lnTo>
                      <a:lnTo>
                        <a:pt x="0" y="147"/>
                      </a:lnTo>
                      <a:lnTo>
                        <a:pt x="2" y="151"/>
                      </a:lnTo>
                      <a:lnTo>
                        <a:pt x="4" y="154"/>
                      </a:lnTo>
                      <a:lnTo>
                        <a:pt x="5" y="157"/>
                      </a:lnTo>
                      <a:lnTo>
                        <a:pt x="10" y="162"/>
                      </a:lnTo>
                      <a:lnTo>
                        <a:pt x="16" y="167"/>
                      </a:lnTo>
                      <a:lnTo>
                        <a:pt x="20" y="173"/>
                      </a:lnTo>
                      <a:lnTo>
                        <a:pt x="22" y="179"/>
                      </a:lnTo>
                      <a:lnTo>
                        <a:pt x="24" y="183"/>
                      </a:lnTo>
                      <a:lnTo>
                        <a:pt x="24" y="188"/>
                      </a:lnTo>
                      <a:lnTo>
                        <a:pt x="22" y="193"/>
                      </a:lnTo>
                      <a:lnTo>
                        <a:pt x="20" y="198"/>
                      </a:lnTo>
                      <a:lnTo>
                        <a:pt x="19" y="200"/>
                      </a:lnTo>
                      <a:lnTo>
                        <a:pt x="19" y="203"/>
                      </a:lnTo>
                      <a:lnTo>
                        <a:pt x="20" y="206"/>
                      </a:lnTo>
                      <a:lnTo>
                        <a:pt x="21" y="210"/>
                      </a:lnTo>
                      <a:lnTo>
                        <a:pt x="25" y="217"/>
                      </a:lnTo>
                      <a:lnTo>
                        <a:pt x="30" y="224"/>
                      </a:lnTo>
                      <a:lnTo>
                        <a:pt x="37" y="230"/>
                      </a:lnTo>
                      <a:lnTo>
                        <a:pt x="44" y="235"/>
                      </a:lnTo>
                      <a:lnTo>
                        <a:pt x="49" y="237"/>
                      </a:lnTo>
                      <a:lnTo>
                        <a:pt x="52" y="239"/>
                      </a:lnTo>
                      <a:lnTo>
                        <a:pt x="56" y="241"/>
                      </a:lnTo>
                      <a:lnTo>
                        <a:pt x="60" y="241"/>
                      </a:lnTo>
                      <a:lnTo>
                        <a:pt x="59" y="250"/>
                      </a:lnTo>
                      <a:lnTo>
                        <a:pt x="56" y="259"/>
                      </a:lnTo>
                      <a:lnTo>
                        <a:pt x="52" y="266"/>
                      </a:lnTo>
                      <a:lnTo>
                        <a:pt x="47" y="271"/>
                      </a:lnTo>
                      <a:lnTo>
                        <a:pt x="56" y="271"/>
                      </a:lnTo>
                      <a:lnTo>
                        <a:pt x="66" y="271"/>
                      </a:lnTo>
                      <a:lnTo>
                        <a:pt x="74" y="271"/>
                      </a:lnTo>
                      <a:lnTo>
                        <a:pt x="81" y="271"/>
                      </a:lnTo>
                      <a:lnTo>
                        <a:pt x="82" y="275"/>
                      </a:lnTo>
                      <a:lnTo>
                        <a:pt x="84" y="280"/>
                      </a:lnTo>
                      <a:lnTo>
                        <a:pt x="89" y="284"/>
                      </a:lnTo>
                      <a:lnTo>
                        <a:pt x="96" y="290"/>
                      </a:lnTo>
                      <a:lnTo>
                        <a:pt x="112" y="302"/>
                      </a:lnTo>
                      <a:lnTo>
                        <a:pt x="131" y="313"/>
                      </a:lnTo>
                      <a:lnTo>
                        <a:pt x="170" y="334"/>
                      </a:lnTo>
                      <a:lnTo>
                        <a:pt x="193" y="345"/>
                      </a:lnTo>
                      <a:lnTo>
                        <a:pt x="205" y="352"/>
                      </a:lnTo>
                      <a:lnTo>
                        <a:pt x="218" y="360"/>
                      </a:lnTo>
                      <a:lnTo>
                        <a:pt x="226" y="364"/>
                      </a:lnTo>
                      <a:lnTo>
                        <a:pt x="234" y="367"/>
                      </a:lnTo>
                      <a:lnTo>
                        <a:pt x="243" y="370"/>
                      </a:lnTo>
                      <a:lnTo>
                        <a:pt x="253" y="370"/>
                      </a:lnTo>
                      <a:lnTo>
                        <a:pt x="255" y="370"/>
                      </a:lnTo>
                      <a:lnTo>
                        <a:pt x="257" y="367"/>
                      </a:lnTo>
                      <a:lnTo>
                        <a:pt x="261" y="365"/>
                      </a:lnTo>
                      <a:lnTo>
                        <a:pt x="264" y="361"/>
                      </a:lnTo>
                      <a:lnTo>
                        <a:pt x="267" y="358"/>
                      </a:lnTo>
                      <a:lnTo>
                        <a:pt x="271" y="355"/>
                      </a:lnTo>
                      <a:lnTo>
                        <a:pt x="275" y="353"/>
                      </a:lnTo>
                      <a:lnTo>
                        <a:pt x="279" y="352"/>
                      </a:lnTo>
                      <a:lnTo>
                        <a:pt x="277" y="344"/>
                      </a:lnTo>
                      <a:lnTo>
                        <a:pt x="277" y="338"/>
                      </a:lnTo>
                      <a:lnTo>
                        <a:pt x="278" y="332"/>
                      </a:lnTo>
                      <a:lnTo>
                        <a:pt x="280" y="326"/>
                      </a:lnTo>
                      <a:lnTo>
                        <a:pt x="284" y="322"/>
                      </a:lnTo>
                      <a:lnTo>
                        <a:pt x="289" y="318"/>
                      </a:lnTo>
                      <a:lnTo>
                        <a:pt x="297" y="316"/>
                      </a:lnTo>
                      <a:lnTo>
                        <a:pt x="306" y="315"/>
                      </a:lnTo>
                      <a:lnTo>
                        <a:pt x="316" y="315"/>
                      </a:lnTo>
                      <a:lnTo>
                        <a:pt x="323" y="317"/>
                      </a:lnTo>
                      <a:lnTo>
                        <a:pt x="329" y="320"/>
                      </a:lnTo>
                      <a:lnTo>
                        <a:pt x="334" y="323"/>
                      </a:lnTo>
                      <a:lnTo>
                        <a:pt x="343" y="332"/>
                      </a:lnTo>
                      <a:lnTo>
                        <a:pt x="350" y="342"/>
                      </a:lnTo>
                      <a:lnTo>
                        <a:pt x="353" y="347"/>
                      </a:lnTo>
                      <a:lnTo>
                        <a:pt x="357" y="353"/>
                      </a:lnTo>
                      <a:lnTo>
                        <a:pt x="362" y="358"/>
                      </a:lnTo>
                      <a:lnTo>
                        <a:pt x="367" y="362"/>
                      </a:lnTo>
                      <a:lnTo>
                        <a:pt x="373" y="365"/>
                      </a:lnTo>
                      <a:lnTo>
                        <a:pt x="380" y="368"/>
                      </a:lnTo>
                      <a:lnTo>
                        <a:pt x="389" y="370"/>
                      </a:lnTo>
                      <a:lnTo>
                        <a:pt x="399" y="370"/>
                      </a:lnTo>
                      <a:lnTo>
                        <a:pt x="409" y="370"/>
                      </a:lnTo>
                      <a:lnTo>
                        <a:pt x="418" y="369"/>
                      </a:lnTo>
                      <a:lnTo>
                        <a:pt x="425" y="367"/>
                      </a:lnTo>
                      <a:lnTo>
                        <a:pt x="433" y="365"/>
                      </a:lnTo>
                      <a:lnTo>
                        <a:pt x="447" y="359"/>
                      </a:lnTo>
                      <a:lnTo>
                        <a:pt x="459" y="352"/>
                      </a:lnTo>
                      <a:lnTo>
                        <a:pt x="472" y="345"/>
                      </a:lnTo>
                      <a:lnTo>
                        <a:pt x="483" y="339"/>
                      </a:lnTo>
                      <a:lnTo>
                        <a:pt x="488" y="336"/>
                      </a:lnTo>
                      <a:lnTo>
                        <a:pt x="493" y="335"/>
                      </a:lnTo>
                      <a:lnTo>
                        <a:pt x="499" y="333"/>
                      </a:lnTo>
                      <a:lnTo>
                        <a:pt x="506" y="333"/>
                      </a:lnTo>
                      <a:lnTo>
                        <a:pt x="512" y="332"/>
                      </a:lnTo>
                      <a:lnTo>
                        <a:pt x="521" y="329"/>
                      </a:lnTo>
                      <a:lnTo>
                        <a:pt x="525" y="327"/>
                      </a:lnTo>
                      <a:lnTo>
                        <a:pt x="529" y="325"/>
                      </a:lnTo>
                      <a:lnTo>
                        <a:pt x="531" y="323"/>
                      </a:lnTo>
                      <a:lnTo>
                        <a:pt x="532" y="321"/>
                      </a:lnTo>
                      <a:lnTo>
                        <a:pt x="565" y="321"/>
                      </a:lnTo>
                      <a:lnTo>
                        <a:pt x="564" y="326"/>
                      </a:lnTo>
                      <a:lnTo>
                        <a:pt x="563" y="333"/>
                      </a:lnTo>
                      <a:lnTo>
                        <a:pt x="564" y="341"/>
                      </a:lnTo>
                      <a:lnTo>
                        <a:pt x="565" y="349"/>
                      </a:lnTo>
                      <a:lnTo>
                        <a:pt x="566" y="358"/>
                      </a:lnTo>
                      <a:lnTo>
                        <a:pt x="567" y="367"/>
                      </a:lnTo>
                      <a:lnTo>
                        <a:pt x="567" y="375"/>
                      </a:lnTo>
                      <a:lnTo>
                        <a:pt x="565" y="382"/>
                      </a:lnTo>
                      <a:lnTo>
                        <a:pt x="575" y="381"/>
                      </a:lnTo>
                      <a:lnTo>
                        <a:pt x="582" y="379"/>
                      </a:lnTo>
                      <a:lnTo>
                        <a:pt x="590" y="377"/>
                      </a:lnTo>
                      <a:lnTo>
                        <a:pt x="596" y="375"/>
                      </a:lnTo>
                      <a:lnTo>
                        <a:pt x="601" y="372"/>
                      </a:lnTo>
                      <a:lnTo>
                        <a:pt x="605" y="369"/>
                      </a:lnTo>
                      <a:lnTo>
                        <a:pt x="610" y="366"/>
                      </a:lnTo>
                      <a:lnTo>
                        <a:pt x="613" y="362"/>
                      </a:lnTo>
                      <a:lnTo>
                        <a:pt x="623" y="345"/>
                      </a:lnTo>
                      <a:lnTo>
                        <a:pt x="632" y="327"/>
                      </a:lnTo>
                      <a:lnTo>
                        <a:pt x="636" y="331"/>
                      </a:lnTo>
                      <a:lnTo>
                        <a:pt x="641" y="334"/>
                      </a:lnTo>
                      <a:lnTo>
                        <a:pt x="647" y="336"/>
                      </a:lnTo>
                      <a:lnTo>
                        <a:pt x="654" y="337"/>
                      </a:lnTo>
                      <a:lnTo>
                        <a:pt x="669" y="338"/>
                      </a:lnTo>
                      <a:lnTo>
                        <a:pt x="687" y="336"/>
                      </a:lnTo>
                      <a:lnTo>
                        <a:pt x="721" y="330"/>
                      </a:lnTo>
                      <a:lnTo>
                        <a:pt x="752" y="327"/>
                      </a:lnTo>
                      <a:lnTo>
                        <a:pt x="767" y="327"/>
                      </a:lnTo>
                      <a:lnTo>
                        <a:pt x="781" y="325"/>
                      </a:lnTo>
                      <a:lnTo>
                        <a:pt x="794" y="324"/>
                      </a:lnTo>
                      <a:lnTo>
                        <a:pt x="808" y="321"/>
                      </a:lnTo>
                      <a:lnTo>
                        <a:pt x="831" y="315"/>
                      </a:lnTo>
                      <a:lnTo>
                        <a:pt x="853" y="307"/>
                      </a:lnTo>
                      <a:lnTo>
                        <a:pt x="873" y="299"/>
                      </a:lnTo>
                      <a:lnTo>
                        <a:pt x="895" y="290"/>
                      </a:lnTo>
                      <a:lnTo>
                        <a:pt x="906" y="287"/>
                      </a:lnTo>
                      <a:lnTo>
                        <a:pt x="918" y="283"/>
                      </a:lnTo>
                      <a:lnTo>
                        <a:pt x="930" y="280"/>
                      </a:lnTo>
                      <a:lnTo>
                        <a:pt x="944" y="278"/>
                      </a:lnTo>
                      <a:lnTo>
                        <a:pt x="951" y="279"/>
                      </a:lnTo>
                      <a:lnTo>
                        <a:pt x="961" y="284"/>
                      </a:lnTo>
                      <a:lnTo>
                        <a:pt x="967" y="286"/>
                      </a:lnTo>
                      <a:lnTo>
                        <a:pt x="972" y="288"/>
                      </a:lnTo>
                      <a:lnTo>
                        <a:pt x="979" y="289"/>
                      </a:lnTo>
                      <a:lnTo>
                        <a:pt x="983" y="290"/>
                      </a:lnTo>
                      <a:lnTo>
                        <a:pt x="995" y="290"/>
                      </a:lnTo>
                      <a:lnTo>
                        <a:pt x="1005" y="293"/>
                      </a:lnTo>
                      <a:lnTo>
                        <a:pt x="1015" y="295"/>
                      </a:lnTo>
                      <a:lnTo>
                        <a:pt x="1024" y="300"/>
                      </a:lnTo>
                      <a:lnTo>
                        <a:pt x="1034" y="303"/>
                      </a:lnTo>
                      <a:lnTo>
                        <a:pt x="1045" y="306"/>
                      </a:lnTo>
                      <a:lnTo>
                        <a:pt x="1056" y="308"/>
                      </a:lnTo>
                      <a:lnTo>
                        <a:pt x="1070" y="309"/>
                      </a:lnTo>
                      <a:lnTo>
                        <a:pt x="1068" y="297"/>
                      </a:lnTo>
                      <a:lnTo>
                        <a:pt x="1063" y="286"/>
                      </a:lnTo>
                      <a:lnTo>
                        <a:pt x="1060" y="276"/>
                      </a:lnTo>
                      <a:lnTo>
                        <a:pt x="1056" y="268"/>
                      </a:lnTo>
                      <a:lnTo>
                        <a:pt x="1047" y="254"/>
                      </a:lnTo>
                      <a:lnTo>
                        <a:pt x="1038" y="241"/>
                      </a:lnTo>
                      <a:lnTo>
                        <a:pt x="1034" y="233"/>
                      </a:lnTo>
                      <a:lnTo>
                        <a:pt x="1030" y="226"/>
                      </a:lnTo>
                      <a:lnTo>
                        <a:pt x="1026" y="219"/>
                      </a:lnTo>
                      <a:lnTo>
                        <a:pt x="1024" y="211"/>
                      </a:lnTo>
                      <a:lnTo>
                        <a:pt x="1021" y="202"/>
                      </a:lnTo>
                      <a:lnTo>
                        <a:pt x="1018" y="192"/>
                      </a:lnTo>
                      <a:lnTo>
                        <a:pt x="1017" y="179"/>
                      </a:lnTo>
                      <a:lnTo>
                        <a:pt x="1017" y="167"/>
                      </a:lnTo>
                      <a:lnTo>
                        <a:pt x="1014" y="152"/>
                      </a:lnTo>
                      <a:lnTo>
                        <a:pt x="1011" y="142"/>
                      </a:lnTo>
                    </a:path>
                  </a:pathLst>
                </a:custGeom>
                <a:grpFill/>
                <a:ln w="9525" cap="flat" cmpd="sng">
                  <a:solidFill>
                    <a:srgbClr val="FFFFFF"/>
                  </a:solidFill>
                  <a:prstDash val="solid"/>
                  <a:round/>
                  <a:headEnd type="none" w="med" len="med"/>
                  <a:tailEnd type="none" w="med" len="med"/>
                </a:ln>
                <a:effectLst/>
              </p:spPr>
              <p:txBody>
                <a:bodyPr/>
                <a:lstStyle/>
                <a:p>
                  <a:endParaRPr lang="en-GB" sz="1637"/>
                </a:p>
              </p:txBody>
            </p:sp>
          </p:grpSp>
          <p:sp>
            <p:nvSpPr>
              <p:cNvPr id="199" name="Freeform 544"/>
              <p:cNvSpPr>
                <a:spLocks/>
              </p:cNvSpPr>
              <p:nvPr>
                <p:custDataLst>
                  <p:tags r:id="rId182"/>
                </p:custDataLst>
              </p:nvPr>
            </p:nvSpPr>
            <p:spPr bwMode="auto">
              <a:xfrm>
                <a:off x="5311110" y="3075698"/>
                <a:ext cx="190628" cy="306254"/>
              </a:xfrm>
              <a:custGeom>
                <a:avLst/>
                <a:gdLst>
                  <a:gd name="T0" fmla="*/ 87531 w 399"/>
                  <a:gd name="T1" fmla="*/ 4192 h 518"/>
                  <a:gd name="T2" fmla="*/ 88407 w 399"/>
                  <a:gd name="T3" fmla="*/ 11529 h 518"/>
                  <a:gd name="T4" fmla="*/ 91033 w 399"/>
                  <a:gd name="T5" fmla="*/ 18866 h 518"/>
                  <a:gd name="T6" fmla="*/ 93659 w 399"/>
                  <a:gd name="T7" fmla="*/ 25679 h 518"/>
                  <a:gd name="T8" fmla="*/ 98035 w 399"/>
                  <a:gd name="T9" fmla="*/ 33016 h 518"/>
                  <a:gd name="T10" fmla="*/ 102849 w 399"/>
                  <a:gd name="T11" fmla="*/ 39304 h 518"/>
                  <a:gd name="T12" fmla="*/ 108977 w 399"/>
                  <a:gd name="T13" fmla="*/ 45069 h 518"/>
                  <a:gd name="T14" fmla="*/ 115541 w 399"/>
                  <a:gd name="T15" fmla="*/ 49786 h 518"/>
                  <a:gd name="T16" fmla="*/ 138299 w 399"/>
                  <a:gd name="T17" fmla="*/ 55550 h 518"/>
                  <a:gd name="T18" fmla="*/ 159745 w 399"/>
                  <a:gd name="T19" fmla="*/ 62363 h 518"/>
                  <a:gd name="T20" fmla="*/ 166310 w 399"/>
                  <a:gd name="T21" fmla="*/ 66555 h 518"/>
                  <a:gd name="T22" fmla="*/ 171561 w 399"/>
                  <a:gd name="T23" fmla="*/ 71796 h 518"/>
                  <a:gd name="T24" fmla="*/ 174187 w 399"/>
                  <a:gd name="T25" fmla="*/ 79133 h 518"/>
                  <a:gd name="T26" fmla="*/ 174187 w 399"/>
                  <a:gd name="T27" fmla="*/ 91186 h 518"/>
                  <a:gd name="T28" fmla="*/ 170686 w 399"/>
                  <a:gd name="T29" fmla="*/ 104812 h 518"/>
                  <a:gd name="T30" fmla="*/ 161495 w 399"/>
                  <a:gd name="T31" fmla="*/ 125250 h 518"/>
                  <a:gd name="T32" fmla="*/ 150554 w 399"/>
                  <a:gd name="T33" fmla="*/ 144640 h 518"/>
                  <a:gd name="T34" fmla="*/ 143551 w 399"/>
                  <a:gd name="T35" fmla="*/ 158790 h 518"/>
                  <a:gd name="T36" fmla="*/ 137424 w 399"/>
                  <a:gd name="T37" fmla="*/ 172939 h 518"/>
                  <a:gd name="T38" fmla="*/ 134361 w 399"/>
                  <a:gd name="T39" fmla="*/ 188661 h 518"/>
                  <a:gd name="T40" fmla="*/ 129984 w 399"/>
                  <a:gd name="T41" fmla="*/ 197570 h 518"/>
                  <a:gd name="T42" fmla="*/ 117292 w 399"/>
                  <a:gd name="T43" fmla="*/ 202810 h 518"/>
                  <a:gd name="T44" fmla="*/ 107664 w 399"/>
                  <a:gd name="T45" fmla="*/ 209099 h 518"/>
                  <a:gd name="T46" fmla="*/ 102849 w 399"/>
                  <a:gd name="T47" fmla="*/ 213816 h 518"/>
                  <a:gd name="T48" fmla="*/ 99348 w 399"/>
                  <a:gd name="T49" fmla="*/ 218532 h 518"/>
                  <a:gd name="T50" fmla="*/ 98035 w 399"/>
                  <a:gd name="T51" fmla="*/ 223773 h 518"/>
                  <a:gd name="T52" fmla="*/ 93221 w 399"/>
                  <a:gd name="T53" fmla="*/ 229537 h 518"/>
                  <a:gd name="T54" fmla="*/ 82279 w 399"/>
                  <a:gd name="T55" fmla="*/ 235826 h 518"/>
                  <a:gd name="T56" fmla="*/ 75715 w 399"/>
                  <a:gd name="T57" fmla="*/ 238970 h 518"/>
                  <a:gd name="T58" fmla="*/ 72651 w 399"/>
                  <a:gd name="T59" fmla="*/ 244735 h 518"/>
                  <a:gd name="T60" fmla="*/ 69150 w 399"/>
                  <a:gd name="T61" fmla="*/ 252072 h 518"/>
                  <a:gd name="T62" fmla="*/ 63898 w 399"/>
                  <a:gd name="T63" fmla="*/ 256788 h 518"/>
                  <a:gd name="T64" fmla="*/ 57333 w 399"/>
                  <a:gd name="T65" fmla="*/ 258885 h 518"/>
                  <a:gd name="T66" fmla="*/ 44641 w 399"/>
                  <a:gd name="T67" fmla="*/ 260981 h 518"/>
                  <a:gd name="T68" fmla="*/ 31949 w 399"/>
                  <a:gd name="T69" fmla="*/ 264125 h 518"/>
                  <a:gd name="T70" fmla="*/ 24071 w 399"/>
                  <a:gd name="T71" fmla="*/ 268318 h 518"/>
                  <a:gd name="T72" fmla="*/ 20132 w 399"/>
                  <a:gd name="T73" fmla="*/ 269366 h 518"/>
                  <a:gd name="T74" fmla="*/ 18819 w 399"/>
                  <a:gd name="T75" fmla="*/ 265173 h 518"/>
                  <a:gd name="T76" fmla="*/ 16631 w 399"/>
                  <a:gd name="T77" fmla="*/ 260457 h 518"/>
                  <a:gd name="T78" fmla="*/ 14880 w 399"/>
                  <a:gd name="T79" fmla="*/ 255216 h 518"/>
                  <a:gd name="T80" fmla="*/ 14443 w 399"/>
                  <a:gd name="T81" fmla="*/ 245259 h 518"/>
                  <a:gd name="T82" fmla="*/ 12692 w 399"/>
                  <a:gd name="T83" fmla="*/ 233206 h 518"/>
                  <a:gd name="T84" fmla="*/ 7440 w 399"/>
                  <a:gd name="T85" fmla="*/ 219056 h 518"/>
                  <a:gd name="T86" fmla="*/ 0 w 399"/>
                  <a:gd name="T87" fmla="*/ 187613 h 518"/>
                  <a:gd name="T88" fmla="*/ 84905 w 399"/>
                  <a:gd name="T89" fmla="*/ 96951 h 518"/>
                  <a:gd name="T90" fmla="*/ 87531 w 399"/>
                  <a:gd name="T91" fmla="*/ 0 h 51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399" h="518">
                    <a:moveTo>
                      <a:pt x="200" y="0"/>
                    </a:moveTo>
                    <a:lnTo>
                      <a:pt x="200" y="8"/>
                    </a:lnTo>
                    <a:lnTo>
                      <a:pt x="201" y="15"/>
                    </a:lnTo>
                    <a:lnTo>
                      <a:pt x="202" y="22"/>
                    </a:lnTo>
                    <a:lnTo>
                      <a:pt x="205" y="29"/>
                    </a:lnTo>
                    <a:lnTo>
                      <a:pt x="208" y="36"/>
                    </a:lnTo>
                    <a:lnTo>
                      <a:pt x="211" y="42"/>
                    </a:lnTo>
                    <a:lnTo>
                      <a:pt x="214" y="49"/>
                    </a:lnTo>
                    <a:lnTo>
                      <a:pt x="219" y="56"/>
                    </a:lnTo>
                    <a:lnTo>
                      <a:pt x="224" y="63"/>
                    </a:lnTo>
                    <a:lnTo>
                      <a:pt x="230" y="69"/>
                    </a:lnTo>
                    <a:lnTo>
                      <a:pt x="235" y="75"/>
                    </a:lnTo>
                    <a:lnTo>
                      <a:pt x="242" y="81"/>
                    </a:lnTo>
                    <a:lnTo>
                      <a:pt x="249" y="86"/>
                    </a:lnTo>
                    <a:lnTo>
                      <a:pt x="256" y="91"/>
                    </a:lnTo>
                    <a:lnTo>
                      <a:pt x="264" y="95"/>
                    </a:lnTo>
                    <a:lnTo>
                      <a:pt x="273" y="98"/>
                    </a:lnTo>
                    <a:lnTo>
                      <a:pt x="316" y="106"/>
                    </a:lnTo>
                    <a:lnTo>
                      <a:pt x="356" y="116"/>
                    </a:lnTo>
                    <a:lnTo>
                      <a:pt x="365" y="119"/>
                    </a:lnTo>
                    <a:lnTo>
                      <a:pt x="374" y="123"/>
                    </a:lnTo>
                    <a:lnTo>
                      <a:pt x="380" y="127"/>
                    </a:lnTo>
                    <a:lnTo>
                      <a:pt x="387" y="132"/>
                    </a:lnTo>
                    <a:lnTo>
                      <a:pt x="392" y="137"/>
                    </a:lnTo>
                    <a:lnTo>
                      <a:pt x="396" y="144"/>
                    </a:lnTo>
                    <a:lnTo>
                      <a:pt x="398" y="151"/>
                    </a:lnTo>
                    <a:lnTo>
                      <a:pt x="399" y="160"/>
                    </a:lnTo>
                    <a:lnTo>
                      <a:pt x="398" y="174"/>
                    </a:lnTo>
                    <a:lnTo>
                      <a:pt x="396" y="187"/>
                    </a:lnTo>
                    <a:lnTo>
                      <a:pt x="390" y="200"/>
                    </a:lnTo>
                    <a:lnTo>
                      <a:pt x="385" y="213"/>
                    </a:lnTo>
                    <a:lnTo>
                      <a:pt x="369" y="239"/>
                    </a:lnTo>
                    <a:lnTo>
                      <a:pt x="353" y="263"/>
                    </a:lnTo>
                    <a:lnTo>
                      <a:pt x="344" y="276"/>
                    </a:lnTo>
                    <a:lnTo>
                      <a:pt x="335" y="290"/>
                    </a:lnTo>
                    <a:lnTo>
                      <a:pt x="328" y="303"/>
                    </a:lnTo>
                    <a:lnTo>
                      <a:pt x="321" y="316"/>
                    </a:lnTo>
                    <a:lnTo>
                      <a:pt x="314" y="330"/>
                    </a:lnTo>
                    <a:lnTo>
                      <a:pt x="310" y="345"/>
                    </a:lnTo>
                    <a:lnTo>
                      <a:pt x="307" y="360"/>
                    </a:lnTo>
                    <a:lnTo>
                      <a:pt x="306" y="376"/>
                    </a:lnTo>
                    <a:lnTo>
                      <a:pt x="297" y="377"/>
                    </a:lnTo>
                    <a:lnTo>
                      <a:pt x="284" y="381"/>
                    </a:lnTo>
                    <a:lnTo>
                      <a:pt x="268" y="387"/>
                    </a:lnTo>
                    <a:lnTo>
                      <a:pt x="254" y="395"/>
                    </a:lnTo>
                    <a:lnTo>
                      <a:pt x="246" y="399"/>
                    </a:lnTo>
                    <a:lnTo>
                      <a:pt x="241" y="403"/>
                    </a:lnTo>
                    <a:lnTo>
                      <a:pt x="235" y="408"/>
                    </a:lnTo>
                    <a:lnTo>
                      <a:pt x="231" y="413"/>
                    </a:lnTo>
                    <a:lnTo>
                      <a:pt x="227" y="417"/>
                    </a:lnTo>
                    <a:lnTo>
                      <a:pt x="225" y="422"/>
                    </a:lnTo>
                    <a:lnTo>
                      <a:pt x="224" y="427"/>
                    </a:lnTo>
                    <a:lnTo>
                      <a:pt x="227" y="431"/>
                    </a:lnTo>
                    <a:lnTo>
                      <a:pt x="213" y="438"/>
                    </a:lnTo>
                    <a:lnTo>
                      <a:pt x="197" y="446"/>
                    </a:lnTo>
                    <a:lnTo>
                      <a:pt x="188" y="450"/>
                    </a:lnTo>
                    <a:lnTo>
                      <a:pt x="179" y="454"/>
                    </a:lnTo>
                    <a:lnTo>
                      <a:pt x="173" y="456"/>
                    </a:lnTo>
                    <a:lnTo>
                      <a:pt x="166" y="456"/>
                    </a:lnTo>
                    <a:lnTo>
                      <a:pt x="166" y="467"/>
                    </a:lnTo>
                    <a:lnTo>
                      <a:pt x="163" y="475"/>
                    </a:lnTo>
                    <a:lnTo>
                      <a:pt x="158" y="481"/>
                    </a:lnTo>
                    <a:lnTo>
                      <a:pt x="153" y="486"/>
                    </a:lnTo>
                    <a:lnTo>
                      <a:pt x="146" y="490"/>
                    </a:lnTo>
                    <a:lnTo>
                      <a:pt x="139" y="493"/>
                    </a:lnTo>
                    <a:lnTo>
                      <a:pt x="131" y="494"/>
                    </a:lnTo>
                    <a:lnTo>
                      <a:pt x="122" y="496"/>
                    </a:lnTo>
                    <a:lnTo>
                      <a:pt x="102" y="498"/>
                    </a:lnTo>
                    <a:lnTo>
                      <a:pt x="83" y="501"/>
                    </a:lnTo>
                    <a:lnTo>
                      <a:pt x="73" y="504"/>
                    </a:lnTo>
                    <a:lnTo>
                      <a:pt x="64" y="507"/>
                    </a:lnTo>
                    <a:lnTo>
                      <a:pt x="55" y="512"/>
                    </a:lnTo>
                    <a:lnTo>
                      <a:pt x="46" y="518"/>
                    </a:lnTo>
                    <a:lnTo>
                      <a:pt x="46" y="514"/>
                    </a:lnTo>
                    <a:lnTo>
                      <a:pt x="45" y="510"/>
                    </a:lnTo>
                    <a:lnTo>
                      <a:pt x="43" y="506"/>
                    </a:lnTo>
                    <a:lnTo>
                      <a:pt x="40" y="501"/>
                    </a:lnTo>
                    <a:lnTo>
                      <a:pt x="38" y="497"/>
                    </a:lnTo>
                    <a:lnTo>
                      <a:pt x="36" y="492"/>
                    </a:lnTo>
                    <a:lnTo>
                      <a:pt x="34" y="487"/>
                    </a:lnTo>
                    <a:lnTo>
                      <a:pt x="33" y="481"/>
                    </a:lnTo>
                    <a:lnTo>
                      <a:pt x="33" y="468"/>
                    </a:lnTo>
                    <a:lnTo>
                      <a:pt x="31" y="456"/>
                    </a:lnTo>
                    <a:lnTo>
                      <a:pt x="29" y="445"/>
                    </a:lnTo>
                    <a:lnTo>
                      <a:pt x="26" y="436"/>
                    </a:lnTo>
                    <a:lnTo>
                      <a:pt x="17" y="418"/>
                    </a:lnTo>
                    <a:lnTo>
                      <a:pt x="7" y="401"/>
                    </a:lnTo>
                    <a:lnTo>
                      <a:pt x="0" y="358"/>
                    </a:lnTo>
                    <a:lnTo>
                      <a:pt x="113" y="332"/>
                    </a:lnTo>
                    <a:lnTo>
                      <a:pt x="194" y="185"/>
                    </a:lnTo>
                    <a:lnTo>
                      <a:pt x="166" y="136"/>
                    </a:lnTo>
                    <a:lnTo>
                      <a:pt x="200" y="0"/>
                    </a:lnTo>
                  </a:path>
                </a:pathLst>
              </a:custGeom>
              <a:grpFill/>
              <a:ln w="9525" cap="flat" cmpd="sng">
                <a:solidFill>
                  <a:srgbClr val="FFFFFF"/>
                </a:solidFill>
                <a:prstDash val="solid"/>
                <a:round/>
                <a:headEnd type="none" w="med" len="med"/>
                <a:tailEnd type="none" w="med" len="med"/>
              </a:ln>
              <a:effectLst/>
            </p:spPr>
            <p:txBody>
              <a:bodyPr/>
              <a:lstStyle/>
              <a:p>
                <a:endParaRPr lang="en-GB" sz="1637"/>
              </a:p>
            </p:txBody>
          </p:sp>
          <p:sp>
            <p:nvSpPr>
              <p:cNvPr id="200" name="Freeform 545"/>
              <p:cNvSpPr>
                <a:spLocks/>
              </p:cNvSpPr>
              <p:nvPr>
                <p:custDataLst>
                  <p:tags r:id="rId183"/>
                </p:custDataLst>
              </p:nvPr>
            </p:nvSpPr>
            <p:spPr bwMode="auto">
              <a:xfrm>
                <a:off x="3921261" y="3136591"/>
                <a:ext cx="410717" cy="435204"/>
              </a:xfrm>
              <a:custGeom>
                <a:avLst/>
                <a:gdLst>
                  <a:gd name="T0" fmla="*/ 100359 w 866"/>
                  <a:gd name="T1" fmla="*/ 140751 h 740"/>
                  <a:gd name="T2" fmla="*/ 106441 w 866"/>
                  <a:gd name="T3" fmla="*/ 137623 h 740"/>
                  <a:gd name="T4" fmla="*/ 118172 w 866"/>
                  <a:gd name="T5" fmla="*/ 141794 h 740"/>
                  <a:gd name="T6" fmla="*/ 284134 w 866"/>
                  <a:gd name="T7" fmla="*/ 521 h 740"/>
                  <a:gd name="T8" fmla="*/ 294995 w 866"/>
                  <a:gd name="T9" fmla="*/ 3128 h 740"/>
                  <a:gd name="T10" fmla="*/ 308897 w 866"/>
                  <a:gd name="T11" fmla="*/ 10947 h 740"/>
                  <a:gd name="T12" fmla="*/ 317152 w 866"/>
                  <a:gd name="T13" fmla="*/ 18246 h 740"/>
                  <a:gd name="T14" fmla="*/ 330186 w 866"/>
                  <a:gd name="T15" fmla="*/ 29714 h 740"/>
                  <a:gd name="T16" fmla="*/ 343654 w 866"/>
                  <a:gd name="T17" fmla="*/ 30757 h 740"/>
                  <a:gd name="T18" fmla="*/ 361032 w 866"/>
                  <a:gd name="T19" fmla="*/ 22416 h 740"/>
                  <a:gd name="T20" fmla="*/ 371025 w 866"/>
                  <a:gd name="T21" fmla="*/ 86536 h 740"/>
                  <a:gd name="T22" fmla="*/ 376238 w 866"/>
                  <a:gd name="T23" fmla="*/ 106866 h 740"/>
                  <a:gd name="T24" fmla="*/ 369287 w 866"/>
                  <a:gd name="T25" fmla="*/ 156911 h 740"/>
                  <a:gd name="T26" fmla="*/ 368418 w 866"/>
                  <a:gd name="T27" fmla="*/ 196009 h 740"/>
                  <a:gd name="T28" fmla="*/ 362335 w 866"/>
                  <a:gd name="T29" fmla="*/ 219467 h 740"/>
                  <a:gd name="T30" fmla="*/ 348433 w 866"/>
                  <a:gd name="T31" fmla="*/ 243447 h 740"/>
                  <a:gd name="T32" fmla="*/ 337572 w 866"/>
                  <a:gd name="T33" fmla="*/ 260129 h 740"/>
                  <a:gd name="T34" fmla="*/ 329317 w 866"/>
                  <a:gd name="T35" fmla="*/ 295577 h 740"/>
                  <a:gd name="T36" fmla="*/ 308897 w 866"/>
                  <a:gd name="T37" fmla="*/ 327898 h 740"/>
                  <a:gd name="T38" fmla="*/ 295429 w 866"/>
                  <a:gd name="T39" fmla="*/ 336760 h 740"/>
                  <a:gd name="T40" fmla="*/ 279789 w 866"/>
                  <a:gd name="T41" fmla="*/ 332589 h 740"/>
                  <a:gd name="T42" fmla="*/ 265452 w 866"/>
                  <a:gd name="T43" fmla="*/ 325813 h 740"/>
                  <a:gd name="T44" fmla="*/ 245902 w 866"/>
                  <a:gd name="T45" fmla="*/ 329983 h 740"/>
                  <a:gd name="T46" fmla="*/ 230261 w 866"/>
                  <a:gd name="T47" fmla="*/ 343537 h 740"/>
                  <a:gd name="T48" fmla="*/ 222006 w 866"/>
                  <a:gd name="T49" fmla="*/ 354484 h 740"/>
                  <a:gd name="T50" fmla="*/ 213317 w 866"/>
                  <a:gd name="T51" fmla="*/ 356569 h 740"/>
                  <a:gd name="T52" fmla="*/ 204194 w 866"/>
                  <a:gd name="T53" fmla="*/ 348228 h 740"/>
                  <a:gd name="T54" fmla="*/ 193767 w 866"/>
                  <a:gd name="T55" fmla="*/ 333111 h 740"/>
                  <a:gd name="T56" fmla="*/ 182906 w 866"/>
                  <a:gd name="T57" fmla="*/ 331026 h 740"/>
                  <a:gd name="T58" fmla="*/ 175954 w 866"/>
                  <a:gd name="T59" fmla="*/ 337281 h 740"/>
                  <a:gd name="T60" fmla="*/ 166831 w 866"/>
                  <a:gd name="T61" fmla="*/ 339888 h 740"/>
                  <a:gd name="T62" fmla="*/ 152059 w 866"/>
                  <a:gd name="T63" fmla="*/ 332589 h 740"/>
                  <a:gd name="T64" fmla="*/ 132943 w 866"/>
                  <a:gd name="T65" fmla="*/ 316950 h 740"/>
                  <a:gd name="T66" fmla="*/ 117737 w 866"/>
                  <a:gd name="T67" fmla="*/ 314865 h 740"/>
                  <a:gd name="T68" fmla="*/ 102966 w 866"/>
                  <a:gd name="T69" fmla="*/ 323206 h 740"/>
                  <a:gd name="T70" fmla="*/ 90801 w 866"/>
                  <a:gd name="T71" fmla="*/ 340409 h 740"/>
                  <a:gd name="T72" fmla="*/ 82546 w 866"/>
                  <a:gd name="T73" fmla="*/ 360740 h 740"/>
                  <a:gd name="T74" fmla="*/ 77333 w 866"/>
                  <a:gd name="T75" fmla="*/ 374815 h 740"/>
                  <a:gd name="T76" fmla="*/ 64734 w 866"/>
                  <a:gd name="T77" fmla="*/ 365953 h 740"/>
                  <a:gd name="T78" fmla="*/ 43445 w 866"/>
                  <a:gd name="T79" fmla="*/ 385762 h 740"/>
                  <a:gd name="T80" fmla="*/ 28674 w 866"/>
                  <a:gd name="T81" fmla="*/ 364389 h 740"/>
                  <a:gd name="T82" fmla="*/ 27805 w 866"/>
                  <a:gd name="T83" fmla="*/ 335717 h 740"/>
                  <a:gd name="T84" fmla="*/ 21723 w 866"/>
                  <a:gd name="T85" fmla="*/ 319557 h 740"/>
                  <a:gd name="T86" fmla="*/ 8689 w 866"/>
                  <a:gd name="T87" fmla="*/ 306003 h 740"/>
                  <a:gd name="T88" fmla="*/ 2172 w 866"/>
                  <a:gd name="T89" fmla="*/ 290885 h 740"/>
                  <a:gd name="T90" fmla="*/ 23026 w 866"/>
                  <a:gd name="T91" fmla="*/ 276289 h 740"/>
                  <a:gd name="T92" fmla="*/ 33019 w 866"/>
                  <a:gd name="T93" fmla="*/ 270033 h 740"/>
                  <a:gd name="T94" fmla="*/ 60389 w 866"/>
                  <a:gd name="T95" fmla="*/ 265863 h 740"/>
                  <a:gd name="T96" fmla="*/ 79071 w 866"/>
                  <a:gd name="T97" fmla="*/ 260650 h 740"/>
                  <a:gd name="T98" fmla="*/ 87325 w 866"/>
                  <a:gd name="T99" fmla="*/ 247617 h 740"/>
                  <a:gd name="T100" fmla="*/ 95146 w 866"/>
                  <a:gd name="T101" fmla="*/ 221031 h 740"/>
                  <a:gd name="T102" fmla="*/ 97318 w 866"/>
                  <a:gd name="T103" fmla="*/ 191317 h 740"/>
                  <a:gd name="T104" fmla="*/ 95146 w 866"/>
                  <a:gd name="T105" fmla="*/ 166816 h 7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866" h="740">
                    <a:moveTo>
                      <a:pt x="219" y="283"/>
                    </a:moveTo>
                    <a:lnTo>
                      <a:pt x="223" y="278"/>
                    </a:lnTo>
                    <a:lnTo>
                      <a:pt x="227" y="273"/>
                    </a:lnTo>
                    <a:lnTo>
                      <a:pt x="231" y="270"/>
                    </a:lnTo>
                    <a:lnTo>
                      <a:pt x="234" y="267"/>
                    </a:lnTo>
                    <a:lnTo>
                      <a:pt x="238" y="266"/>
                    </a:lnTo>
                    <a:lnTo>
                      <a:pt x="242" y="264"/>
                    </a:lnTo>
                    <a:lnTo>
                      <a:pt x="245" y="264"/>
                    </a:lnTo>
                    <a:lnTo>
                      <a:pt x="250" y="264"/>
                    </a:lnTo>
                    <a:lnTo>
                      <a:pt x="256" y="265"/>
                    </a:lnTo>
                    <a:lnTo>
                      <a:pt x="264" y="268"/>
                    </a:lnTo>
                    <a:lnTo>
                      <a:pt x="272" y="272"/>
                    </a:lnTo>
                    <a:lnTo>
                      <a:pt x="279" y="277"/>
                    </a:lnTo>
                    <a:lnTo>
                      <a:pt x="645" y="6"/>
                    </a:lnTo>
                    <a:lnTo>
                      <a:pt x="649" y="3"/>
                    </a:lnTo>
                    <a:lnTo>
                      <a:pt x="654" y="1"/>
                    </a:lnTo>
                    <a:lnTo>
                      <a:pt x="658" y="0"/>
                    </a:lnTo>
                    <a:lnTo>
                      <a:pt x="663" y="0"/>
                    </a:lnTo>
                    <a:lnTo>
                      <a:pt x="671" y="2"/>
                    </a:lnTo>
                    <a:lnTo>
                      <a:pt x="679" y="6"/>
                    </a:lnTo>
                    <a:lnTo>
                      <a:pt x="689" y="11"/>
                    </a:lnTo>
                    <a:lnTo>
                      <a:pt x="699" y="17"/>
                    </a:lnTo>
                    <a:lnTo>
                      <a:pt x="704" y="19"/>
                    </a:lnTo>
                    <a:lnTo>
                      <a:pt x="711" y="21"/>
                    </a:lnTo>
                    <a:lnTo>
                      <a:pt x="717" y="23"/>
                    </a:lnTo>
                    <a:lnTo>
                      <a:pt x="724" y="25"/>
                    </a:lnTo>
                    <a:lnTo>
                      <a:pt x="726" y="30"/>
                    </a:lnTo>
                    <a:lnTo>
                      <a:pt x="730" y="35"/>
                    </a:lnTo>
                    <a:lnTo>
                      <a:pt x="736" y="42"/>
                    </a:lnTo>
                    <a:lnTo>
                      <a:pt x="744" y="47"/>
                    </a:lnTo>
                    <a:lnTo>
                      <a:pt x="752" y="53"/>
                    </a:lnTo>
                    <a:lnTo>
                      <a:pt x="760" y="57"/>
                    </a:lnTo>
                    <a:lnTo>
                      <a:pt x="769" y="60"/>
                    </a:lnTo>
                    <a:lnTo>
                      <a:pt x="778" y="61"/>
                    </a:lnTo>
                    <a:lnTo>
                      <a:pt x="784" y="60"/>
                    </a:lnTo>
                    <a:lnTo>
                      <a:pt x="791" y="59"/>
                    </a:lnTo>
                    <a:lnTo>
                      <a:pt x="798" y="57"/>
                    </a:lnTo>
                    <a:lnTo>
                      <a:pt x="804" y="54"/>
                    </a:lnTo>
                    <a:lnTo>
                      <a:pt x="816" y="48"/>
                    </a:lnTo>
                    <a:lnTo>
                      <a:pt x="831" y="43"/>
                    </a:lnTo>
                    <a:lnTo>
                      <a:pt x="824" y="122"/>
                    </a:lnTo>
                    <a:lnTo>
                      <a:pt x="836" y="140"/>
                    </a:lnTo>
                    <a:lnTo>
                      <a:pt x="846" y="154"/>
                    </a:lnTo>
                    <a:lnTo>
                      <a:pt x="854" y="166"/>
                    </a:lnTo>
                    <a:lnTo>
                      <a:pt x="859" y="177"/>
                    </a:lnTo>
                    <a:lnTo>
                      <a:pt x="862" y="188"/>
                    </a:lnTo>
                    <a:lnTo>
                      <a:pt x="865" y="197"/>
                    </a:lnTo>
                    <a:lnTo>
                      <a:pt x="866" y="205"/>
                    </a:lnTo>
                    <a:lnTo>
                      <a:pt x="865" y="211"/>
                    </a:lnTo>
                    <a:lnTo>
                      <a:pt x="857" y="234"/>
                    </a:lnTo>
                    <a:lnTo>
                      <a:pt x="850" y="259"/>
                    </a:lnTo>
                    <a:lnTo>
                      <a:pt x="850" y="301"/>
                    </a:lnTo>
                    <a:lnTo>
                      <a:pt x="850" y="334"/>
                    </a:lnTo>
                    <a:lnTo>
                      <a:pt x="850" y="350"/>
                    </a:lnTo>
                    <a:lnTo>
                      <a:pt x="849" y="364"/>
                    </a:lnTo>
                    <a:lnTo>
                      <a:pt x="848" y="376"/>
                    </a:lnTo>
                    <a:lnTo>
                      <a:pt x="846" y="388"/>
                    </a:lnTo>
                    <a:lnTo>
                      <a:pt x="843" y="399"/>
                    </a:lnTo>
                    <a:lnTo>
                      <a:pt x="839" y="411"/>
                    </a:lnTo>
                    <a:lnTo>
                      <a:pt x="834" y="421"/>
                    </a:lnTo>
                    <a:lnTo>
                      <a:pt x="828" y="432"/>
                    </a:lnTo>
                    <a:lnTo>
                      <a:pt x="821" y="443"/>
                    </a:lnTo>
                    <a:lnTo>
                      <a:pt x="813" y="454"/>
                    </a:lnTo>
                    <a:lnTo>
                      <a:pt x="802" y="467"/>
                    </a:lnTo>
                    <a:lnTo>
                      <a:pt x="791" y="480"/>
                    </a:lnTo>
                    <a:lnTo>
                      <a:pt x="786" y="486"/>
                    </a:lnTo>
                    <a:lnTo>
                      <a:pt x="781" y="493"/>
                    </a:lnTo>
                    <a:lnTo>
                      <a:pt x="777" y="499"/>
                    </a:lnTo>
                    <a:lnTo>
                      <a:pt x="773" y="506"/>
                    </a:lnTo>
                    <a:lnTo>
                      <a:pt x="768" y="522"/>
                    </a:lnTo>
                    <a:lnTo>
                      <a:pt x="764" y="537"/>
                    </a:lnTo>
                    <a:lnTo>
                      <a:pt x="758" y="567"/>
                    </a:lnTo>
                    <a:lnTo>
                      <a:pt x="755" y="593"/>
                    </a:lnTo>
                    <a:lnTo>
                      <a:pt x="731" y="585"/>
                    </a:lnTo>
                    <a:lnTo>
                      <a:pt x="698" y="591"/>
                    </a:lnTo>
                    <a:lnTo>
                      <a:pt x="711" y="629"/>
                    </a:lnTo>
                    <a:lnTo>
                      <a:pt x="719" y="636"/>
                    </a:lnTo>
                    <a:lnTo>
                      <a:pt x="704" y="641"/>
                    </a:lnTo>
                    <a:lnTo>
                      <a:pt x="692" y="645"/>
                    </a:lnTo>
                    <a:lnTo>
                      <a:pt x="680" y="646"/>
                    </a:lnTo>
                    <a:lnTo>
                      <a:pt x="670" y="646"/>
                    </a:lnTo>
                    <a:lnTo>
                      <a:pt x="661" y="644"/>
                    </a:lnTo>
                    <a:lnTo>
                      <a:pt x="653" y="641"/>
                    </a:lnTo>
                    <a:lnTo>
                      <a:pt x="644" y="638"/>
                    </a:lnTo>
                    <a:lnTo>
                      <a:pt x="636" y="634"/>
                    </a:lnTo>
                    <a:lnTo>
                      <a:pt x="629" y="631"/>
                    </a:lnTo>
                    <a:lnTo>
                      <a:pt x="620" y="628"/>
                    </a:lnTo>
                    <a:lnTo>
                      <a:pt x="611" y="625"/>
                    </a:lnTo>
                    <a:lnTo>
                      <a:pt x="601" y="624"/>
                    </a:lnTo>
                    <a:lnTo>
                      <a:pt x="591" y="625"/>
                    </a:lnTo>
                    <a:lnTo>
                      <a:pt x="579" y="628"/>
                    </a:lnTo>
                    <a:lnTo>
                      <a:pt x="566" y="633"/>
                    </a:lnTo>
                    <a:lnTo>
                      <a:pt x="552" y="641"/>
                    </a:lnTo>
                    <a:lnTo>
                      <a:pt x="543" y="646"/>
                    </a:lnTo>
                    <a:lnTo>
                      <a:pt x="536" y="652"/>
                    </a:lnTo>
                    <a:lnTo>
                      <a:pt x="530" y="659"/>
                    </a:lnTo>
                    <a:lnTo>
                      <a:pt x="525" y="666"/>
                    </a:lnTo>
                    <a:lnTo>
                      <a:pt x="520" y="673"/>
                    </a:lnTo>
                    <a:lnTo>
                      <a:pt x="514" y="678"/>
                    </a:lnTo>
                    <a:lnTo>
                      <a:pt x="511" y="680"/>
                    </a:lnTo>
                    <a:lnTo>
                      <a:pt x="508" y="683"/>
                    </a:lnTo>
                    <a:lnTo>
                      <a:pt x="503" y="684"/>
                    </a:lnTo>
                    <a:lnTo>
                      <a:pt x="499" y="684"/>
                    </a:lnTo>
                    <a:lnTo>
                      <a:pt x="491" y="684"/>
                    </a:lnTo>
                    <a:lnTo>
                      <a:pt x="486" y="682"/>
                    </a:lnTo>
                    <a:lnTo>
                      <a:pt x="481" y="679"/>
                    </a:lnTo>
                    <a:lnTo>
                      <a:pt x="477" y="676"/>
                    </a:lnTo>
                    <a:lnTo>
                      <a:pt x="470" y="668"/>
                    </a:lnTo>
                    <a:lnTo>
                      <a:pt x="465" y="659"/>
                    </a:lnTo>
                    <a:lnTo>
                      <a:pt x="458" y="650"/>
                    </a:lnTo>
                    <a:lnTo>
                      <a:pt x="451" y="642"/>
                    </a:lnTo>
                    <a:lnTo>
                      <a:pt x="446" y="639"/>
                    </a:lnTo>
                    <a:lnTo>
                      <a:pt x="441" y="637"/>
                    </a:lnTo>
                    <a:lnTo>
                      <a:pt x="433" y="635"/>
                    </a:lnTo>
                    <a:lnTo>
                      <a:pt x="425" y="635"/>
                    </a:lnTo>
                    <a:lnTo>
                      <a:pt x="421" y="635"/>
                    </a:lnTo>
                    <a:lnTo>
                      <a:pt x="417" y="638"/>
                    </a:lnTo>
                    <a:lnTo>
                      <a:pt x="412" y="640"/>
                    </a:lnTo>
                    <a:lnTo>
                      <a:pt x="409" y="644"/>
                    </a:lnTo>
                    <a:lnTo>
                      <a:pt x="405" y="647"/>
                    </a:lnTo>
                    <a:lnTo>
                      <a:pt x="401" y="650"/>
                    </a:lnTo>
                    <a:lnTo>
                      <a:pt x="397" y="652"/>
                    </a:lnTo>
                    <a:lnTo>
                      <a:pt x="392" y="653"/>
                    </a:lnTo>
                    <a:lnTo>
                      <a:pt x="384" y="652"/>
                    </a:lnTo>
                    <a:lnTo>
                      <a:pt x="376" y="651"/>
                    </a:lnTo>
                    <a:lnTo>
                      <a:pt x="369" y="648"/>
                    </a:lnTo>
                    <a:lnTo>
                      <a:pt x="363" y="645"/>
                    </a:lnTo>
                    <a:lnTo>
                      <a:pt x="350" y="638"/>
                    </a:lnTo>
                    <a:lnTo>
                      <a:pt x="339" y="629"/>
                    </a:lnTo>
                    <a:lnTo>
                      <a:pt x="327" y="619"/>
                    </a:lnTo>
                    <a:lnTo>
                      <a:pt x="312" y="611"/>
                    </a:lnTo>
                    <a:lnTo>
                      <a:pt x="306" y="608"/>
                    </a:lnTo>
                    <a:lnTo>
                      <a:pt x="297" y="606"/>
                    </a:lnTo>
                    <a:lnTo>
                      <a:pt x="289" y="604"/>
                    </a:lnTo>
                    <a:lnTo>
                      <a:pt x="279" y="603"/>
                    </a:lnTo>
                    <a:lnTo>
                      <a:pt x="271" y="604"/>
                    </a:lnTo>
                    <a:lnTo>
                      <a:pt x="262" y="606"/>
                    </a:lnTo>
                    <a:lnTo>
                      <a:pt x="253" y="610"/>
                    </a:lnTo>
                    <a:lnTo>
                      <a:pt x="245" y="615"/>
                    </a:lnTo>
                    <a:lnTo>
                      <a:pt x="237" y="620"/>
                    </a:lnTo>
                    <a:lnTo>
                      <a:pt x="229" y="628"/>
                    </a:lnTo>
                    <a:lnTo>
                      <a:pt x="222" y="636"/>
                    </a:lnTo>
                    <a:lnTo>
                      <a:pt x="216" y="644"/>
                    </a:lnTo>
                    <a:lnTo>
                      <a:pt x="209" y="653"/>
                    </a:lnTo>
                    <a:lnTo>
                      <a:pt x="204" y="662"/>
                    </a:lnTo>
                    <a:lnTo>
                      <a:pt x="198" y="671"/>
                    </a:lnTo>
                    <a:lnTo>
                      <a:pt x="194" y="682"/>
                    </a:lnTo>
                    <a:lnTo>
                      <a:pt x="190" y="692"/>
                    </a:lnTo>
                    <a:lnTo>
                      <a:pt x="188" y="702"/>
                    </a:lnTo>
                    <a:lnTo>
                      <a:pt x="187" y="711"/>
                    </a:lnTo>
                    <a:lnTo>
                      <a:pt x="186" y="720"/>
                    </a:lnTo>
                    <a:lnTo>
                      <a:pt x="178" y="719"/>
                    </a:lnTo>
                    <a:lnTo>
                      <a:pt x="172" y="717"/>
                    </a:lnTo>
                    <a:lnTo>
                      <a:pt x="164" y="712"/>
                    </a:lnTo>
                    <a:lnTo>
                      <a:pt x="156" y="708"/>
                    </a:lnTo>
                    <a:lnTo>
                      <a:pt x="149" y="702"/>
                    </a:lnTo>
                    <a:lnTo>
                      <a:pt x="141" y="697"/>
                    </a:lnTo>
                    <a:lnTo>
                      <a:pt x="134" y="693"/>
                    </a:lnTo>
                    <a:lnTo>
                      <a:pt x="127" y="690"/>
                    </a:lnTo>
                    <a:lnTo>
                      <a:pt x="100" y="740"/>
                    </a:lnTo>
                    <a:lnTo>
                      <a:pt x="73" y="740"/>
                    </a:lnTo>
                    <a:lnTo>
                      <a:pt x="70" y="725"/>
                    </a:lnTo>
                    <a:lnTo>
                      <a:pt x="67" y="712"/>
                    </a:lnTo>
                    <a:lnTo>
                      <a:pt x="66" y="699"/>
                    </a:lnTo>
                    <a:lnTo>
                      <a:pt x="66" y="686"/>
                    </a:lnTo>
                    <a:lnTo>
                      <a:pt x="66" y="672"/>
                    </a:lnTo>
                    <a:lnTo>
                      <a:pt x="66" y="658"/>
                    </a:lnTo>
                    <a:lnTo>
                      <a:pt x="64" y="644"/>
                    </a:lnTo>
                    <a:lnTo>
                      <a:pt x="60" y="629"/>
                    </a:lnTo>
                    <a:lnTo>
                      <a:pt x="58" y="622"/>
                    </a:lnTo>
                    <a:lnTo>
                      <a:pt x="53" y="618"/>
                    </a:lnTo>
                    <a:lnTo>
                      <a:pt x="50" y="613"/>
                    </a:lnTo>
                    <a:lnTo>
                      <a:pt x="46" y="609"/>
                    </a:lnTo>
                    <a:lnTo>
                      <a:pt x="36" y="601"/>
                    </a:lnTo>
                    <a:lnTo>
                      <a:pt x="25" y="592"/>
                    </a:lnTo>
                    <a:lnTo>
                      <a:pt x="20" y="587"/>
                    </a:lnTo>
                    <a:lnTo>
                      <a:pt x="16" y="581"/>
                    </a:lnTo>
                    <a:lnTo>
                      <a:pt x="11" y="575"/>
                    </a:lnTo>
                    <a:lnTo>
                      <a:pt x="8" y="566"/>
                    </a:lnTo>
                    <a:lnTo>
                      <a:pt x="5" y="558"/>
                    </a:lnTo>
                    <a:lnTo>
                      <a:pt x="3" y="548"/>
                    </a:lnTo>
                    <a:lnTo>
                      <a:pt x="0" y="537"/>
                    </a:lnTo>
                    <a:lnTo>
                      <a:pt x="0" y="524"/>
                    </a:lnTo>
                    <a:lnTo>
                      <a:pt x="53" y="530"/>
                    </a:lnTo>
                    <a:lnTo>
                      <a:pt x="59" y="526"/>
                    </a:lnTo>
                    <a:lnTo>
                      <a:pt x="64" y="522"/>
                    </a:lnTo>
                    <a:lnTo>
                      <a:pt x="71" y="520"/>
                    </a:lnTo>
                    <a:lnTo>
                      <a:pt x="76" y="518"/>
                    </a:lnTo>
                    <a:lnTo>
                      <a:pt x="91" y="514"/>
                    </a:lnTo>
                    <a:lnTo>
                      <a:pt x="106" y="512"/>
                    </a:lnTo>
                    <a:lnTo>
                      <a:pt x="121" y="511"/>
                    </a:lnTo>
                    <a:lnTo>
                      <a:pt x="139" y="510"/>
                    </a:lnTo>
                    <a:lnTo>
                      <a:pt x="155" y="508"/>
                    </a:lnTo>
                    <a:lnTo>
                      <a:pt x="173" y="505"/>
                    </a:lnTo>
                    <a:lnTo>
                      <a:pt x="177" y="503"/>
                    </a:lnTo>
                    <a:lnTo>
                      <a:pt x="182" y="500"/>
                    </a:lnTo>
                    <a:lnTo>
                      <a:pt x="185" y="497"/>
                    </a:lnTo>
                    <a:lnTo>
                      <a:pt x="189" y="494"/>
                    </a:lnTo>
                    <a:lnTo>
                      <a:pt x="196" y="485"/>
                    </a:lnTo>
                    <a:lnTo>
                      <a:pt x="201" y="475"/>
                    </a:lnTo>
                    <a:lnTo>
                      <a:pt x="207" y="464"/>
                    </a:lnTo>
                    <a:lnTo>
                      <a:pt x="211" y="451"/>
                    </a:lnTo>
                    <a:lnTo>
                      <a:pt x="216" y="438"/>
                    </a:lnTo>
                    <a:lnTo>
                      <a:pt x="219" y="424"/>
                    </a:lnTo>
                    <a:lnTo>
                      <a:pt x="221" y="410"/>
                    </a:lnTo>
                    <a:lnTo>
                      <a:pt x="223" y="395"/>
                    </a:lnTo>
                    <a:lnTo>
                      <a:pt x="224" y="381"/>
                    </a:lnTo>
                    <a:lnTo>
                      <a:pt x="224" y="367"/>
                    </a:lnTo>
                    <a:lnTo>
                      <a:pt x="224" y="354"/>
                    </a:lnTo>
                    <a:lnTo>
                      <a:pt x="223" y="341"/>
                    </a:lnTo>
                    <a:lnTo>
                      <a:pt x="221" y="330"/>
                    </a:lnTo>
                    <a:lnTo>
                      <a:pt x="219" y="320"/>
                    </a:lnTo>
                    <a:lnTo>
                      <a:pt x="219" y="283"/>
                    </a:lnTo>
                  </a:path>
                </a:pathLst>
              </a:custGeom>
              <a:grpFill/>
              <a:ln w="9525" cmpd="sng">
                <a:solidFill>
                  <a:srgbClr val="FFFFFF"/>
                </a:solidFill>
                <a:prstDash val="solid"/>
                <a:round/>
                <a:headEnd/>
                <a:tailEnd/>
              </a:ln>
            </p:spPr>
            <p:txBody>
              <a:bodyPr/>
              <a:lstStyle/>
              <a:p>
                <a:endParaRPr lang="en-GB" sz="1637"/>
              </a:p>
            </p:txBody>
          </p:sp>
          <p:sp>
            <p:nvSpPr>
              <p:cNvPr id="201" name="Freeform 546"/>
              <p:cNvSpPr>
                <a:spLocks/>
              </p:cNvSpPr>
              <p:nvPr>
                <p:custDataLst>
                  <p:tags r:id="rId184"/>
                </p:custDataLst>
              </p:nvPr>
            </p:nvSpPr>
            <p:spPr bwMode="auto">
              <a:xfrm>
                <a:off x="3560801" y="2704968"/>
                <a:ext cx="327534" cy="293718"/>
              </a:xfrm>
              <a:custGeom>
                <a:avLst/>
                <a:gdLst>
                  <a:gd name="T0" fmla="*/ 278945 w 697"/>
                  <a:gd name="T1" fmla="*/ 27597 h 500"/>
                  <a:gd name="T2" fmla="*/ 282819 w 697"/>
                  <a:gd name="T3" fmla="*/ 83833 h 500"/>
                  <a:gd name="T4" fmla="*/ 284541 w 697"/>
                  <a:gd name="T5" fmla="*/ 86957 h 500"/>
                  <a:gd name="T6" fmla="*/ 291429 w 697"/>
                  <a:gd name="T7" fmla="*/ 92164 h 500"/>
                  <a:gd name="T8" fmla="*/ 298747 w 697"/>
                  <a:gd name="T9" fmla="*/ 98412 h 500"/>
                  <a:gd name="T10" fmla="*/ 300038 w 697"/>
                  <a:gd name="T11" fmla="*/ 103099 h 500"/>
                  <a:gd name="T12" fmla="*/ 298747 w 697"/>
                  <a:gd name="T13" fmla="*/ 109868 h 500"/>
                  <a:gd name="T14" fmla="*/ 294872 w 697"/>
                  <a:gd name="T15" fmla="*/ 112992 h 500"/>
                  <a:gd name="T16" fmla="*/ 281958 w 697"/>
                  <a:gd name="T17" fmla="*/ 113513 h 500"/>
                  <a:gd name="T18" fmla="*/ 260435 w 697"/>
                  <a:gd name="T19" fmla="*/ 118720 h 500"/>
                  <a:gd name="T20" fmla="*/ 244077 w 697"/>
                  <a:gd name="T21" fmla="*/ 130175 h 500"/>
                  <a:gd name="T22" fmla="*/ 236328 w 697"/>
                  <a:gd name="T23" fmla="*/ 139027 h 500"/>
                  <a:gd name="T24" fmla="*/ 232024 w 697"/>
                  <a:gd name="T25" fmla="*/ 149962 h 500"/>
                  <a:gd name="T26" fmla="*/ 224275 w 697"/>
                  <a:gd name="T27" fmla="*/ 157251 h 500"/>
                  <a:gd name="T28" fmla="*/ 211361 w 697"/>
                  <a:gd name="T29" fmla="*/ 168707 h 500"/>
                  <a:gd name="T30" fmla="*/ 195864 w 697"/>
                  <a:gd name="T31" fmla="*/ 183286 h 500"/>
                  <a:gd name="T32" fmla="*/ 180798 w 697"/>
                  <a:gd name="T33" fmla="*/ 192659 h 500"/>
                  <a:gd name="T34" fmla="*/ 160135 w 697"/>
                  <a:gd name="T35" fmla="*/ 196304 h 500"/>
                  <a:gd name="T36" fmla="*/ 148082 w 697"/>
                  <a:gd name="T37" fmla="*/ 197866 h 500"/>
                  <a:gd name="T38" fmla="*/ 136029 w 697"/>
                  <a:gd name="T39" fmla="*/ 206197 h 500"/>
                  <a:gd name="T40" fmla="*/ 124836 w 697"/>
                  <a:gd name="T41" fmla="*/ 217132 h 500"/>
                  <a:gd name="T42" fmla="*/ 114075 w 697"/>
                  <a:gd name="T43" fmla="*/ 221818 h 500"/>
                  <a:gd name="T44" fmla="*/ 2152 w 697"/>
                  <a:gd name="T45" fmla="*/ 258267 h 500"/>
                  <a:gd name="T46" fmla="*/ 13775 w 697"/>
                  <a:gd name="T47" fmla="*/ 253581 h 500"/>
                  <a:gd name="T48" fmla="*/ 36590 w 697"/>
                  <a:gd name="T49" fmla="*/ 246291 h 500"/>
                  <a:gd name="T50" fmla="*/ 40034 w 697"/>
                  <a:gd name="T51" fmla="*/ 239001 h 500"/>
                  <a:gd name="T52" fmla="*/ 42617 w 697"/>
                  <a:gd name="T53" fmla="*/ 228067 h 500"/>
                  <a:gd name="T54" fmla="*/ 51226 w 697"/>
                  <a:gd name="T55" fmla="*/ 219735 h 500"/>
                  <a:gd name="T56" fmla="*/ 68875 w 697"/>
                  <a:gd name="T57" fmla="*/ 207759 h 500"/>
                  <a:gd name="T58" fmla="*/ 77915 w 697"/>
                  <a:gd name="T59" fmla="*/ 198907 h 500"/>
                  <a:gd name="T60" fmla="*/ 82650 w 697"/>
                  <a:gd name="T61" fmla="*/ 185890 h 500"/>
                  <a:gd name="T62" fmla="*/ 83081 w 697"/>
                  <a:gd name="T63" fmla="*/ 164541 h 500"/>
                  <a:gd name="T64" fmla="*/ 83942 w 697"/>
                  <a:gd name="T65" fmla="*/ 132258 h 500"/>
                  <a:gd name="T66" fmla="*/ 82650 w 697"/>
                  <a:gd name="T67" fmla="*/ 99974 h 500"/>
                  <a:gd name="T68" fmla="*/ 92121 w 697"/>
                  <a:gd name="T69" fmla="*/ 98412 h 500"/>
                  <a:gd name="T70" fmla="*/ 98147 w 697"/>
                  <a:gd name="T71" fmla="*/ 93205 h 500"/>
                  <a:gd name="T72" fmla="*/ 103743 w 697"/>
                  <a:gd name="T73" fmla="*/ 85916 h 500"/>
                  <a:gd name="T74" fmla="*/ 108479 w 697"/>
                  <a:gd name="T75" fmla="*/ 79146 h 500"/>
                  <a:gd name="T76" fmla="*/ 120962 w 697"/>
                  <a:gd name="T77" fmla="*/ 76022 h 500"/>
                  <a:gd name="T78" fmla="*/ 135168 w 697"/>
                  <a:gd name="T79" fmla="*/ 74460 h 500"/>
                  <a:gd name="T80" fmla="*/ 146360 w 697"/>
                  <a:gd name="T81" fmla="*/ 68212 h 500"/>
                  <a:gd name="T82" fmla="*/ 154969 w 697"/>
                  <a:gd name="T83" fmla="*/ 56236 h 500"/>
                  <a:gd name="T84" fmla="*/ 167023 w 697"/>
                  <a:gd name="T85" fmla="*/ 24994 h 500"/>
                  <a:gd name="T86" fmla="*/ 175202 w 697"/>
                  <a:gd name="T87" fmla="*/ 6248 h 500"/>
                  <a:gd name="T88" fmla="*/ 183380 w 697"/>
                  <a:gd name="T89" fmla="*/ 4166 h 500"/>
                  <a:gd name="T90" fmla="*/ 193281 w 697"/>
                  <a:gd name="T91" fmla="*/ 10414 h 500"/>
                  <a:gd name="T92" fmla="*/ 220401 w 697"/>
                  <a:gd name="T93" fmla="*/ 9373 h 500"/>
                  <a:gd name="T94" fmla="*/ 253978 w 697"/>
                  <a:gd name="T95" fmla="*/ 6769 h 500"/>
                  <a:gd name="T96" fmla="*/ 256991 w 697"/>
                  <a:gd name="T97" fmla="*/ 8852 h 500"/>
                  <a:gd name="T98" fmla="*/ 260435 w 697"/>
                  <a:gd name="T99" fmla="*/ 18745 h 500"/>
                  <a:gd name="T100" fmla="*/ 263018 w 697"/>
                  <a:gd name="T101" fmla="*/ 26556 h 500"/>
                  <a:gd name="T102" fmla="*/ 266031 w 697"/>
                  <a:gd name="T103" fmla="*/ 26035 h 50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697" h="500">
                    <a:moveTo>
                      <a:pt x="631" y="50"/>
                    </a:moveTo>
                    <a:lnTo>
                      <a:pt x="635" y="51"/>
                    </a:lnTo>
                    <a:lnTo>
                      <a:pt x="648" y="53"/>
                    </a:lnTo>
                    <a:lnTo>
                      <a:pt x="659" y="55"/>
                    </a:lnTo>
                    <a:lnTo>
                      <a:pt x="664" y="56"/>
                    </a:lnTo>
                    <a:lnTo>
                      <a:pt x="657" y="161"/>
                    </a:lnTo>
                    <a:lnTo>
                      <a:pt x="657" y="163"/>
                    </a:lnTo>
                    <a:lnTo>
                      <a:pt x="659" y="165"/>
                    </a:lnTo>
                    <a:lnTo>
                      <a:pt x="661" y="167"/>
                    </a:lnTo>
                    <a:lnTo>
                      <a:pt x="664" y="169"/>
                    </a:lnTo>
                    <a:lnTo>
                      <a:pt x="669" y="173"/>
                    </a:lnTo>
                    <a:lnTo>
                      <a:pt x="677" y="177"/>
                    </a:lnTo>
                    <a:lnTo>
                      <a:pt x="685" y="181"/>
                    </a:lnTo>
                    <a:lnTo>
                      <a:pt x="691" y="185"/>
                    </a:lnTo>
                    <a:lnTo>
                      <a:pt x="694" y="189"/>
                    </a:lnTo>
                    <a:lnTo>
                      <a:pt x="696" y="192"/>
                    </a:lnTo>
                    <a:lnTo>
                      <a:pt x="697" y="195"/>
                    </a:lnTo>
                    <a:lnTo>
                      <a:pt x="697" y="198"/>
                    </a:lnTo>
                    <a:lnTo>
                      <a:pt x="697" y="203"/>
                    </a:lnTo>
                    <a:lnTo>
                      <a:pt x="696" y="208"/>
                    </a:lnTo>
                    <a:lnTo>
                      <a:pt x="694" y="211"/>
                    </a:lnTo>
                    <a:lnTo>
                      <a:pt x="691" y="214"/>
                    </a:lnTo>
                    <a:lnTo>
                      <a:pt x="688" y="216"/>
                    </a:lnTo>
                    <a:lnTo>
                      <a:pt x="685" y="217"/>
                    </a:lnTo>
                    <a:lnTo>
                      <a:pt x="680" y="218"/>
                    </a:lnTo>
                    <a:lnTo>
                      <a:pt x="676" y="219"/>
                    </a:lnTo>
                    <a:lnTo>
                      <a:pt x="655" y="218"/>
                    </a:lnTo>
                    <a:lnTo>
                      <a:pt x="631" y="216"/>
                    </a:lnTo>
                    <a:lnTo>
                      <a:pt x="619" y="221"/>
                    </a:lnTo>
                    <a:lnTo>
                      <a:pt x="605" y="228"/>
                    </a:lnTo>
                    <a:lnTo>
                      <a:pt x="589" y="235"/>
                    </a:lnTo>
                    <a:lnTo>
                      <a:pt x="574" y="245"/>
                    </a:lnTo>
                    <a:lnTo>
                      <a:pt x="567" y="250"/>
                    </a:lnTo>
                    <a:lnTo>
                      <a:pt x="560" y="256"/>
                    </a:lnTo>
                    <a:lnTo>
                      <a:pt x="554" y="261"/>
                    </a:lnTo>
                    <a:lnTo>
                      <a:pt x="549" y="267"/>
                    </a:lnTo>
                    <a:lnTo>
                      <a:pt x="544" y="274"/>
                    </a:lnTo>
                    <a:lnTo>
                      <a:pt x="541" y="281"/>
                    </a:lnTo>
                    <a:lnTo>
                      <a:pt x="539" y="288"/>
                    </a:lnTo>
                    <a:lnTo>
                      <a:pt x="538" y="296"/>
                    </a:lnTo>
                    <a:lnTo>
                      <a:pt x="529" y="299"/>
                    </a:lnTo>
                    <a:lnTo>
                      <a:pt x="521" y="302"/>
                    </a:lnTo>
                    <a:lnTo>
                      <a:pt x="514" y="306"/>
                    </a:lnTo>
                    <a:lnTo>
                      <a:pt x="506" y="312"/>
                    </a:lnTo>
                    <a:lnTo>
                      <a:pt x="491" y="324"/>
                    </a:lnTo>
                    <a:lnTo>
                      <a:pt x="475" y="339"/>
                    </a:lnTo>
                    <a:lnTo>
                      <a:pt x="465" y="346"/>
                    </a:lnTo>
                    <a:lnTo>
                      <a:pt x="455" y="352"/>
                    </a:lnTo>
                    <a:lnTo>
                      <a:pt x="445" y="360"/>
                    </a:lnTo>
                    <a:lnTo>
                      <a:pt x="433" y="365"/>
                    </a:lnTo>
                    <a:lnTo>
                      <a:pt x="420" y="370"/>
                    </a:lnTo>
                    <a:lnTo>
                      <a:pt x="406" y="373"/>
                    </a:lnTo>
                    <a:lnTo>
                      <a:pt x="389" y="376"/>
                    </a:lnTo>
                    <a:lnTo>
                      <a:pt x="372" y="377"/>
                    </a:lnTo>
                    <a:lnTo>
                      <a:pt x="361" y="377"/>
                    </a:lnTo>
                    <a:lnTo>
                      <a:pt x="352" y="378"/>
                    </a:lnTo>
                    <a:lnTo>
                      <a:pt x="344" y="380"/>
                    </a:lnTo>
                    <a:lnTo>
                      <a:pt x="337" y="382"/>
                    </a:lnTo>
                    <a:lnTo>
                      <a:pt x="326" y="389"/>
                    </a:lnTo>
                    <a:lnTo>
                      <a:pt x="316" y="396"/>
                    </a:lnTo>
                    <a:lnTo>
                      <a:pt x="306" y="404"/>
                    </a:lnTo>
                    <a:lnTo>
                      <a:pt x="296" y="413"/>
                    </a:lnTo>
                    <a:lnTo>
                      <a:pt x="290" y="417"/>
                    </a:lnTo>
                    <a:lnTo>
                      <a:pt x="283" y="420"/>
                    </a:lnTo>
                    <a:lnTo>
                      <a:pt x="274" y="423"/>
                    </a:lnTo>
                    <a:lnTo>
                      <a:pt x="265" y="426"/>
                    </a:lnTo>
                    <a:lnTo>
                      <a:pt x="272" y="494"/>
                    </a:lnTo>
                    <a:lnTo>
                      <a:pt x="0" y="500"/>
                    </a:lnTo>
                    <a:lnTo>
                      <a:pt x="5" y="496"/>
                    </a:lnTo>
                    <a:lnTo>
                      <a:pt x="13" y="492"/>
                    </a:lnTo>
                    <a:lnTo>
                      <a:pt x="22" y="490"/>
                    </a:lnTo>
                    <a:lnTo>
                      <a:pt x="32" y="487"/>
                    </a:lnTo>
                    <a:lnTo>
                      <a:pt x="55" y="483"/>
                    </a:lnTo>
                    <a:lnTo>
                      <a:pt x="80" y="475"/>
                    </a:lnTo>
                    <a:lnTo>
                      <a:pt x="85" y="473"/>
                    </a:lnTo>
                    <a:lnTo>
                      <a:pt x="90" y="469"/>
                    </a:lnTo>
                    <a:lnTo>
                      <a:pt x="92" y="465"/>
                    </a:lnTo>
                    <a:lnTo>
                      <a:pt x="93" y="459"/>
                    </a:lnTo>
                    <a:lnTo>
                      <a:pt x="93" y="451"/>
                    </a:lnTo>
                    <a:lnTo>
                      <a:pt x="93" y="444"/>
                    </a:lnTo>
                    <a:lnTo>
                      <a:pt x="99" y="438"/>
                    </a:lnTo>
                    <a:lnTo>
                      <a:pt x="104" y="432"/>
                    </a:lnTo>
                    <a:lnTo>
                      <a:pt x="112" y="427"/>
                    </a:lnTo>
                    <a:lnTo>
                      <a:pt x="119" y="422"/>
                    </a:lnTo>
                    <a:lnTo>
                      <a:pt x="136" y="414"/>
                    </a:lnTo>
                    <a:lnTo>
                      <a:pt x="152" y="404"/>
                    </a:lnTo>
                    <a:lnTo>
                      <a:pt x="160" y="399"/>
                    </a:lnTo>
                    <a:lnTo>
                      <a:pt x="168" y="394"/>
                    </a:lnTo>
                    <a:lnTo>
                      <a:pt x="174" y="388"/>
                    </a:lnTo>
                    <a:lnTo>
                      <a:pt x="181" y="382"/>
                    </a:lnTo>
                    <a:lnTo>
                      <a:pt x="185" y="375"/>
                    </a:lnTo>
                    <a:lnTo>
                      <a:pt x="189" y="366"/>
                    </a:lnTo>
                    <a:lnTo>
                      <a:pt x="192" y="357"/>
                    </a:lnTo>
                    <a:lnTo>
                      <a:pt x="192" y="345"/>
                    </a:lnTo>
                    <a:lnTo>
                      <a:pt x="193" y="332"/>
                    </a:lnTo>
                    <a:lnTo>
                      <a:pt x="193" y="316"/>
                    </a:lnTo>
                    <a:lnTo>
                      <a:pt x="194" y="296"/>
                    </a:lnTo>
                    <a:lnTo>
                      <a:pt x="195" y="275"/>
                    </a:lnTo>
                    <a:lnTo>
                      <a:pt x="195" y="254"/>
                    </a:lnTo>
                    <a:lnTo>
                      <a:pt x="195" y="232"/>
                    </a:lnTo>
                    <a:lnTo>
                      <a:pt x="194" y="211"/>
                    </a:lnTo>
                    <a:lnTo>
                      <a:pt x="192" y="192"/>
                    </a:lnTo>
                    <a:lnTo>
                      <a:pt x="201" y="192"/>
                    </a:lnTo>
                    <a:lnTo>
                      <a:pt x="207" y="190"/>
                    </a:lnTo>
                    <a:lnTo>
                      <a:pt x="214" y="189"/>
                    </a:lnTo>
                    <a:lnTo>
                      <a:pt x="219" y="185"/>
                    </a:lnTo>
                    <a:lnTo>
                      <a:pt x="224" y="182"/>
                    </a:lnTo>
                    <a:lnTo>
                      <a:pt x="228" y="179"/>
                    </a:lnTo>
                    <a:lnTo>
                      <a:pt x="232" y="176"/>
                    </a:lnTo>
                    <a:lnTo>
                      <a:pt x="236" y="172"/>
                    </a:lnTo>
                    <a:lnTo>
                      <a:pt x="241" y="165"/>
                    </a:lnTo>
                    <a:lnTo>
                      <a:pt x="247" y="158"/>
                    </a:lnTo>
                    <a:lnTo>
                      <a:pt x="249" y="155"/>
                    </a:lnTo>
                    <a:lnTo>
                      <a:pt x="252" y="152"/>
                    </a:lnTo>
                    <a:lnTo>
                      <a:pt x="256" y="150"/>
                    </a:lnTo>
                    <a:lnTo>
                      <a:pt x="259" y="149"/>
                    </a:lnTo>
                    <a:lnTo>
                      <a:pt x="281" y="146"/>
                    </a:lnTo>
                    <a:lnTo>
                      <a:pt x="297" y="145"/>
                    </a:lnTo>
                    <a:lnTo>
                      <a:pt x="306" y="144"/>
                    </a:lnTo>
                    <a:lnTo>
                      <a:pt x="314" y="143"/>
                    </a:lnTo>
                    <a:lnTo>
                      <a:pt x="323" y="140"/>
                    </a:lnTo>
                    <a:lnTo>
                      <a:pt x="331" y="137"/>
                    </a:lnTo>
                    <a:lnTo>
                      <a:pt x="340" y="131"/>
                    </a:lnTo>
                    <a:lnTo>
                      <a:pt x="348" y="124"/>
                    </a:lnTo>
                    <a:lnTo>
                      <a:pt x="354" y="116"/>
                    </a:lnTo>
                    <a:lnTo>
                      <a:pt x="360" y="108"/>
                    </a:lnTo>
                    <a:lnTo>
                      <a:pt x="371" y="89"/>
                    </a:lnTo>
                    <a:lnTo>
                      <a:pt x="380" y="68"/>
                    </a:lnTo>
                    <a:lnTo>
                      <a:pt x="388" y="48"/>
                    </a:lnTo>
                    <a:lnTo>
                      <a:pt x="397" y="29"/>
                    </a:lnTo>
                    <a:lnTo>
                      <a:pt x="402" y="21"/>
                    </a:lnTo>
                    <a:lnTo>
                      <a:pt x="407" y="12"/>
                    </a:lnTo>
                    <a:lnTo>
                      <a:pt x="413" y="6"/>
                    </a:lnTo>
                    <a:lnTo>
                      <a:pt x="418" y="0"/>
                    </a:lnTo>
                    <a:lnTo>
                      <a:pt x="426" y="8"/>
                    </a:lnTo>
                    <a:lnTo>
                      <a:pt x="433" y="14"/>
                    </a:lnTo>
                    <a:lnTo>
                      <a:pt x="441" y="17"/>
                    </a:lnTo>
                    <a:lnTo>
                      <a:pt x="449" y="20"/>
                    </a:lnTo>
                    <a:lnTo>
                      <a:pt x="465" y="20"/>
                    </a:lnTo>
                    <a:lnTo>
                      <a:pt x="485" y="20"/>
                    </a:lnTo>
                    <a:lnTo>
                      <a:pt x="512" y="18"/>
                    </a:lnTo>
                    <a:lnTo>
                      <a:pt x="543" y="16"/>
                    </a:lnTo>
                    <a:lnTo>
                      <a:pt x="571" y="14"/>
                    </a:lnTo>
                    <a:lnTo>
                      <a:pt x="590" y="13"/>
                    </a:lnTo>
                    <a:lnTo>
                      <a:pt x="594" y="13"/>
                    </a:lnTo>
                    <a:lnTo>
                      <a:pt x="595" y="15"/>
                    </a:lnTo>
                    <a:lnTo>
                      <a:pt x="597" y="17"/>
                    </a:lnTo>
                    <a:lnTo>
                      <a:pt x="599" y="21"/>
                    </a:lnTo>
                    <a:lnTo>
                      <a:pt x="601" y="28"/>
                    </a:lnTo>
                    <a:lnTo>
                      <a:pt x="605" y="36"/>
                    </a:lnTo>
                    <a:lnTo>
                      <a:pt x="607" y="44"/>
                    </a:lnTo>
                    <a:lnTo>
                      <a:pt x="609" y="49"/>
                    </a:lnTo>
                    <a:lnTo>
                      <a:pt x="611" y="51"/>
                    </a:lnTo>
                    <a:lnTo>
                      <a:pt x="613" y="52"/>
                    </a:lnTo>
                    <a:lnTo>
                      <a:pt x="615" y="51"/>
                    </a:lnTo>
                    <a:lnTo>
                      <a:pt x="618" y="50"/>
                    </a:lnTo>
                    <a:lnTo>
                      <a:pt x="631" y="50"/>
                    </a:lnTo>
                  </a:path>
                </a:pathLst>
              </a:custGeom>
              <a:grpFill/>
              <a:ln w="9525" cap="flat" cmpd="sng">
                <a:solidFill>
                  <a:srgbClr val="FFFFFF"/>
                </a:solidFill>
                <a:prstDash val="solid"/>
                <a:round/>
                <a:headEnd type="none" w="med" len="med"/>
                <a:tailEnd type="none" w="med" len="med"/>
              </a:ln>
              <a:effectLst/>
            </p:spPr>
            <p:txBody>
              <a:bodyPr/>
              <a:lstStyle/>
              <a:p>
                <a:endParaRPr lang="en-GB" sz="1637"/>
              </a:p>
            </p:txBody>
          </p:sp>
          <p:sp>
            <p:nvSpPr>
              <p:cNvPr id="202" name="Freeform 547"/>
              <p:cNvSpPr>
                <a:spLocks/>
              </p:cNvSpPr>
              <p:nvPr>
                <p:custDataLst>
                  <p:tags r:id="rId185"/>
                </p:custDataLst>
              </p:nvPr>
            </p:nvSpPr>
            <p:spPr bwMode="auto">
              <a:xfrm>
                <a:off x="4325046" y="1497857"/>
                <a:ext cx="258213" cy="103876"/>
              </a:xfrm>
              <a:custGeom>
                <a:avLst/>
                <a:gdLst>
                  <a:gd name="T0" fmla="*/ 32058 w 546"/>
                  <a:gd name="T1" fmla="*/ 10112 h 173"/>
                  <a:gd name="T2" fmla="*/ 40722 w 546"/>
                  <a:gd name="T3" fmla="*/ 18096 h 173"/>
                  <a:gd name="T4" fmla="*/ 47654 w 546"/>
                  <a:gd name="T5" fmla="*/ 14370 h 173"/>
                  <a:gd name="T6" fmla="*/ 57185 w 546"/>
                  <a:gd name="T7" fmla="*/ 14370 h 173"/>
                  <a:gd name="T8" fmla="*/ 69748 w 546"/>
                  <a:gd name="T9" fmla="*/ 23418 h 173"/>
                  <a:gd name="T10" fmla="*/ 90543 w 546"/>
                  <a:gd name="T11" fmla="*/ 10112 h 173"/>
                  <a:gd name="T12" fmla="*/ 105272 w 546"/>
                  <a:gd name="T13" fmla="*/ 10112 h 173"/>
                  <a:gd name="T14" fmla="*/ 112637 w 546"/>
                  <a:gd name="T15" fmla="*/ 8516 h 173"/>
                  <a:gd name="T16" fmla="*/ 116536 w 546"/>
                  <a:gd name="T17" fmla="*/ 7451 h 173"/>
                  <a:gd name="T18" fmla="*/ 120868 w 546"/>
                  <a:gd name="T19" fmla="*/ 5854 h 173"/>
                  <a:gd name="T20" fmla="*/ 123900 w 546"/>
                  <a:gd name="T21" fmla="*/ 1597 h 173"/>
                  <a:gd name="T22" fmla="*/ 139063 w 546"/>
                  <a:gd name="T23" fmla="*/ 2661 h 173"/>
                  <a:gd name="T24" fmla="*/ 144262 w 546"/>
                  <a:gd name="T25" fmla="*/ 6387 h 173"/>
                  <a:gd name="T26" fmla="*/ 150760 w 546"/>
                  <a:gd name="T27" fmla="*/ 3726 h 173"/>
                  <a:gd name="T28" fmla="*/ 152926 w 546"/>
                  <a:gd name="T29" fmla="*/ 0 h 173"/>
                  <a:gd name="T30" fmla="*/ 158991 w 546"/>
                  <a:gd name="T31" fmla="*/ 3726 h 173"/>
                  <a:gd name="T32" fmla="*/ 168522 w 546"/>
                  <a:gd name="T33" fmla="*/ 3726 h 173"/>
                  <a:gd name="T34" fmla="*/ 188883 w 546"/>
                  <a:gd name="T35" fmla="*/ 532 h 173"/>
                  <a:gd name="T36" fmla="*/ 208811 w 546"/>
                  <a:gd name="T37" fmla="*/ 3193 h 173"/>
                  <a:gd name="T38" fmla="*/ 228739 w 546"/>
                  <a:gd name="T39" fmla="*/ 6387 h 173"/>
                  <a:gd name="T40" fmla="*/ 236104 w 546"/>
                  <a:gd name="T41" fmla="*/ 26079 h 173"/>
                  <a:gd name="T42" fmla="*/ 232638 w 546"/>
                  <a:gd name="T43" fmla="*/ 31934 h 173"/>
                  <a:gd name="T44" fmla="*/ 222241 w 546"/>
                  <a:gd name="T45" fmla="*/ 32998 h 173"/>
                  <a:gd name="T46" fmla="*/ 209244 w 546"/>
                  <a:gd name="T47" fmla="*/ 28740 h 173"/>
                  <a:gd name="T48" fmla="*/ 178919 w 546"/>
                  <a:gd name="T49" fmla="*/ 23418 h 173"/>
                  <a:gd name="T50" fmla="*/ 189749 w 546"/>
                  <a:gd name="T51" fmla="*/ 43110 h 173"/>
                  <a:gd name="T52" fmla="*/ 204046 w 546"/>
                  <a:gd name="T53" fmla="*/ 54287 h 173"/>
                  <a:gd name="T54" fmla="*/ 213576 w 546"/>
                  <a:gd name="T55" fmla="*/ 63335 h 173"/>
                  <a:gd name="T56" fmla="*/ 205779 w 546"/>
                  <a:gd name="T57" fmla="*/ 72383 h 173"/>
                  <a:gd name="T58" fmla="*/ 194515 w 546"/>
                  <a:gd name="T59" fmla="*/ 75576 h 173"/>
                  <a:gd name="T60" fmla="*/ 184551 w 546"/>
                  <a:gd name="T61" fmla="*/ 75044 h 173"/>
                  <a:gd name="T62" fmla="*/ 178486 w 546"/>
                  <a:gd name="T63" fmla="*/ 71318 h 173"/>
                  <a:gd name="T64" fmla="*/ 172854 w 546"/>
                  <a:gd name="T65" fmla="*/ 69189 h 173"/>
                  <a:gd name="T66" fmla="*/ 166789 w 546"/>
                  <a:gd name="T67" fmla="*/ 64399 h 173"/>
                  <a:gd name="T68" fmla="*/ 162457 w 546"/>
                  <a:gd name="T69" fmla="*/ 55351 h 173"/>
                  <a:gd name="T70" fmla="*/ 158125 w 546"/>
                  <a:gd name="T71" fmla="*/ 48965 h 173"/>
                  <a:gd name="T72" fmla="*/ 149027 w 546"/>
                  <a:gd name="T73" fmla="*/ 44707 h 173"/>
                  <a:gd name="T74" fmla="*/ 140796 w 546"/>
                  <a:gd name="T75" fmla="*/ 40449 h 173"/>
                  <a:gd name="T76" fmla="*/ 131265 w 546"/>
                  <a:gd name="T77" fmla="*/ 46304 h 173"/>
                  <a:gd name="T78" fmla="*/ 111770 w 546"/>
                  <a:gd name="T79" fmla="*/ 71318 h 173"/>
                  <a:gd name="T80" fmla="*/ 102239 w 546"/>
                  <a:gd name="T81" fmla="*/ 86753 h 173"/>
                  <a:gd name="T82" fmla="*/ 95308 w 546"/>
                  <a:gd name="T83" fmla="*/ 91543 h 173"/>
                  <a:gd name="T84" fmla="*/ 81445 w 546"/>
                  <a:gd name="T85" fmla="*/ 88882 h 173"/>
                  <a:gd name="T86" fmla="*/ 71481 w 546"/>
                  <a:gd name="T87" fmla="*/ 82495 h 173"/>
                  <a:gd name="T88" fmla="*/ 48954 w 546"/>
                  <a:gd name="T89" fmla="*/ 55884 h 173"/>
                  <a:gd name="T90" fmla="*/ 41156 w 546"/>
                  <a:gd name="T91" fmla="*/ 48433 h 173"/>
                  <a:gd name="T92" fmla="*/ 25993 w 546"/>
                  <a:gd name="T93" fmla="*/ 40449 h 173"/>
                  <a:gd name="T94" fmla="*/ 6931 w 546"/>
                  <a:gd name="T95" fmla="*/ 30869 h 173"/>
                  <a:gd name="T96" fmla="*/ 4765 w 546"/>
                  <a:gd name="T97" fmla="*/ 18096 h 173"/>
                  <a:gd name="T98" fmla="*/ 12130 w 546"/>
                  <a:gd name="T99" fmla="*/ 10112 h 173"/>
                  <a:gd name="T100" fmla="*/ 20361 w 546"/>
                  <a:gd name="T101" fmla="*/ 6387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grpFill/>
              <a:ln w="9525" cap="flat" cmpd="sng">
                <a:solidFill>
                  <a:srgbClr val="FFFFFF"/>
                </a:solidFill>
                <a:prstDash val="solid"/>
                <a:round/>
                <a:headEnd type="none" w="med" len="med"/>
                <a:tailEnd type="none" w="med" len="med"/>
              </a:ln>
              <a:effectLst/>
            </p:spPr>
            <p:txBody>
              <a:bodyPr/>
              <a:lstStyle/>
              <a:p>
                <a:endParaRPr lang="en-GB" sz="1637"/>
              </a:p>
            </p:txBody>
          </p:sp>
          <p:sp>
            <p:nvSpPr>
              <p:cNvPr id="203" name="Freeform 548"/>
              <p:cNvSpPr>
                <a:spLocks/>
              </p:cNvSpPr>
              <p:nvPr>
                <p:custDataLst>
                  <p:tags r:id="rId186"/>
                </p:custDataLst>
              </p:nvPr>
            </p:nvSpPr>
            <p:spPr bwMode="auto">
              <a:xfrm>
                <a:off x="4883065" y="1479947"/>
                <a:ext cx="117843" cy="68057"/>
              </a:xfrm>
              <a:custGeom>
                <a:avLst/>
                <a:gdLst>
                  <a:gd name="T0" fmla="*/ 11848 w 246"/>
                  <a:gd name="T1" fmla="*/ 51707 h 42"/>
                  <a:gd name="T2" fmla="*/ 15798 w 246"/>
                  <a:gd name="T3" fmla="*/ 51707 h 42"/>
                  <a:gd name="T4" fmla="*/ 19747 w 246"/>
                  <a:gd name="T5" fmla="*/ 50271 h 42"/>
                  <a:gd name="T6" fmla="*/ 23258 w 246"/>
                  <a:gd name="T7" fmla="*/ 47398 h 42"/>
                  <a:gd name="T8" fmla="*/ 25890 w 246"/>
                  <a:gd name="T9" fmla="*/ 44526 h 42"/>
                  <a:gd name="T10" fmla="*/ 28962 w 246"/>
                  <a:gd name="T11" fmla="*/ 43089 h 42"/>
                  <a:gd name="T12" fmla="*/ 31595 w 246"/>
                  <a:gd name="T13" fmla="*/ 41653 h 42"/>
                  <a:gd name="T14" fmla="*/ 35106 w 246"/>
                  <a:gd name="T15" fmla="*/ 41653 h 42"/>
                  <a:gd name="T16" fmla="*/ 38177 w 246"/>
                  <a:gd name="T17" fmla="*/ 43089 h 42"/>
                  <a:gd name="T18" fmla="*/ 38177 w 246"/>
                  <a:gd name="T19" fmla="*/ 60325 h 42"/>
                  <a:gd name="T20" fmla="*/ 67578 w 246"/>
                  <a:gd name="T21" fmla="*/ 60325 h 42"/>
                  <a:gd name="T22" fmla="*/ 67578 w 246"/>
                  <a:gd name="T23" fmla="*/ 56016 h 42"/>
                  <a:gd name="T24" fmla="*/ 68456 w 246"/>
                  <a:gd name="T25" fmla="*/ 51707 h 42"/>
                  <a:gd name="T26" fmla="*/ 69773 w 246"/>
                  <a:gd name="T27" fmla="*/ 47398 h 42"/>
                  <a:gd name="T28" fmla="*/ 71528 w 246"/>
                  <a:gd name="T29" fmla="*/ 44526 h 42"/>
                  <a:gd name="T30" fmla="*/ 76794 w 246"/>
                  <a:gd name="T31" fmla="*/ 37344 h 42"/>
                  <a:gd name="T32" fmla="*/ 83376 w 246"/>
                  <a:gd name="T33" fmla="*/ 33035 h 42"/>
                  <a:gd name="T34" fmla="*/ 96979 w 246"/>
                  <a:gd name="T35" fmla="*/ 24417 h 42"/>
                  <a:gd name="T36" fmla="*/ 107950 w 246"/>
                  <a:gd name="T37" fmla="*/ 17236 h 42"/>
                  <a:gd name="T38" fmla="*/ 93030 w 246"/>
                  <a:gd name="T39" fmla="*/ 18672 h 42"/>
                  <a:gd name="T40" fmla="*/ 81621 w 246"/>
                  <a:gd name="T41" fmla="*/ 20108 h 42"/>
                  <a:gd name="T42" fmla="*/ 78110 w 246"/>
                  <a:gd name="T43" fmla="*/ 21545 h 42"/>
                  <a:gd name="T44" fmla="*/ 75038 w 246"/>
                  <a:gd name="T45" fmla="*/ 21545 h 42"/>
                  <a:gd name="T46" fmla="*/ 73722 w 246"/>
                  <a:gd name="T47" fmla="*/ 20108 h 42"/>
                  <a:gd name="T48" fmla="*/ 73283 w 246"/>
                  <a:gd name="T49" fmla="*/ 17236 h 42"/>
                  <a:gd name="T50" fmla="*/ 69773 w 246"/>
                  <a:gd name="T51" fmla="*/ 22981 h 42"/>
                  <a:gd name="T52" fmla="*/ 66701 w 246"/>
                  <a:gd name="T53" fmla="*/ 24417 h 42"/>
                  <a:gd name="T54" fmla="*/ 64507 w 246"/>
                  <a:gd name="T55" fmla="*/ 24417 h 42"/>
                  <a:gd name="T56" fmla="*/ 61874 w 246"/>
                  <a:gd name="T57" fmla="*/ 21545 h 42"/>
                  <a:gd name="T58" fmla="*/ 60118 w 246"/>
                  <a:gd name="T59" fmla="*/ 17236 h 42"/>
                  <a:gd name="T60" fmla="*/ 58363 w 246"/>
                  <a:gd name="T61" fmla="*/ 12927 h 42"/>
                  <a:gd name="T62" fmla="*/ 56608 w 246"/>
                  <a:gd name="T63" fmla="*/ 7182 h 42"/>
                  <a:gd name="T64" fmla="*/ 55291 w 246"/>
                  <a:gd name="T65" fmla="*/ 0 h 42"/>
                  <a:gd name="T66" fmla="*/ 53097 w 246"/>
                  <a:gd name="T67" fmla="*/ 2873 h 42"/>
                  <a:gd name="T68" fmla="*/ 49587 w 246"/>
                  <a:gd name="T69" fmla="*/ 5745 h 42"/>
                  <a:gd name="T70" fmla="*/ 45199 w 246"/>
                  <a:gd name="T71" fmla="*/ 7182 h 42"/>
                  <a:gd name="T72" fmla="*/ 40810 w 246"/>
                  <a:gd name="T73" fmla="*/ 7182 h 42"/>
                  <a:gd name="T74" fmla="*/ 32473 w 246"/>
                  <a:gd name="T75" fmla="*/ 8618 h 42"/>
                  <a:gd name="T76" fmla="*/ 26329 w 246"/>
                  <a:gd name="T77" fmla="*/ 8618 h 42"/>
                  <a:gd name="T78" fmla="*/ 25452 w 246"/>
                  <a:gd name="T79" fmla="*/ 12927 h 42"/>
                  <a:gd name="T80" fmla="*/ 24574 w 246"/>
                  <a:gd name="T81" fmla="*/ 17236 h 42"/>
                  <a:gd name="T82" fmla="*/ 23696 w 246"/>
                  <a:gd name="T83" fmla="*/ 21545 h 42"/>
                  <a:gd name="T84" fmla="*/ 21941 w 246"/>
                  <a:gd name="T85" fmla="*/ 24417 h 42"/>
                  <a:gd name="T86" fmla="*/ 18430 w 246"/>
                  <a:gd name="T87" fmla="*/ 28726 h 42"/>
                  <a:gd name="T88" fmla="*/ 14481 w 246"/>
                  <a:gd name="T89" fmla="*/ 31599 h 42"/>
                  <a:gd name="T90" fmla="*/ 6143 w 246"/>
                  <a:gd name="T91" fmla="*/ 34471 h 42"/>
                  <a:gd name="T92" fmla="*/ 0 w 246"/>
                  <a:gd name="T93" fmla="*/ 34471 h 42"/>
                  <a:gd name="T94" fmla="*/ 439 w 246"/>
                  <a:gd name="T95" fmla="*/ 38780 h 42"/>
                  <a:gd name="T96" fmla="*/ 1316 w 246"/>
                  <a:gd name="T97" fmla="*/ 41653 h 42"/>
                  <a:gd name="T98" fmla="*/ 2194 w 246"/>
                  <a:gd name="T99" fmla="*/ 44526 h 42"/>
                  <a:gd name="T100" fmla="*/ 3949 w 246"/>
                  <a:gd name="T101" fmla="*/ 47398 h 42"/>
                  <a:gd name="T102" fmla="*/ 7460 w 246"/>
                  <a:gd name="T103" fmla="*/ 50271 h 42"/>
                  <a:gd name="T104" fmla="*/ 11848 w 246"/>
                  <a:gd name="T105" fmla="*/ 51707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grpFill/>
              <a:ln w="9525" cap="flat" cmpd="sng">
                <a:solidFill>
                  <a:srgbClr val="FFFFFF"/>
                </a:solidFill>
                <a:prstDash val="solid"/>
                <a:round/>
                <a:headEnd type="none" w="med" len="med"/>
                <a:tailEnd type="none" w="med" len="med"/>
              </a:ln>
              <a:effectLst/>
            </p:spPr>
            <p:txBody>
              <a:bodyPr/>
              <a:lstStyle/>
              <a:p>
                <a:endParaRPr lang="en-GB" sz="1637"/>
              </a:p>
            </p:txBody>
          </p:sp>
          <p:sp>
            <p:nvSpPr>
              <p:cNvPr id="204" name="Freeform 549"/>
              <p:cNvSpPr>
                <a:spLocks/>
              </p:cNvSpPr>
              <p:nvPr>
                <p:custDataLst>
                  <p:tags r:id="rId187"/>
                </p:custDataLst>
              </p:nvPr>
            </p:nvSpPr>
            <p:spPr bwMode="auto">
              <a:xfrm>
                <a:off x="5039033" y="1460247"/>
                <a:ext cx="69319" cy="64475"/>
              </a:xfrm>
              <a:custGeom>
                <a:avLst/>
                <a:gdLst>
                  <a:gd name="T0" fmla="*/ 43896 w 149"/>
                  <a:gd name="T1" fmla="*/ 0 h 61"/>
                  <a:gd name="T2" fmla="*/ 50289 w 149"/>
                  <a:gd name="T3" fmla="*/ 937 h 61"/>
                  <a:gd name="T4" fmla="*/ 57107 w 149"/>
                  <a:gd name="T5" fmla="*/ 2811 h 61"/>
                  <a:gd name="T6" fmla="*/ 61795 w 149"/>
                  <a:gd name="T7" fmla="*/ 4684 h 61"/>
                  <a:gd name="T8" fmla="*/ 63500 w 149"/>
                  <a:gd name="T9" fmla="*/ 5621 h 61"/>
                  <a:gd name="T10" fmla="*/ 63500 w 149"/>
                  <a:gd name="T11" fmla="*/ 7495 h 61"/>
                  <a:gd name="T12" fmla="*/ 62648 w 149"/>
                  <a:gd name="T13" fmla="*/ 9369 h 61"/>
                  <a:gd name="T14" fmla="*/ 61795 w 149"/>
                  <a:gd name="T15" fmla="*/ 11243 h 61"/>
                  <a:gd name="T16" fmla="*/ 60091 w 149"/>
                  <a:gd name="T17" fmla="*/ 12180 h 61"/>
                  <a:gd name="T18" fmla="*/ 58386 w 149"/>
                  <a:gd name="T19" fmla="*/ 13116 h 61"/>
                  <a:gd name="T20" fmla="*/ 56255 w 149"/>
                  <a:gd name="T21" fmla="*/ 13116 h 61"/>
                  <a:gd name="T22" fmla="*/ 54124 w 149"/>
                  <a:gd name="T23" fmla="*/ 13116 h 61"/>
                  <a:gd name="T24" fmla="*/ 52419 w 149"/>
                  <a:gd name="T25" fmla="*/ 11243 h 61"/>
                  <a:gd name="T26" fmla="*/ 52419 w 149"/>
                  <a:gd name="T27" fmla="*/ 21548 h 61"/>
                  <a:gd name="T28" fmla="*/ 52419 w 149"/>
                  <a:gd name="T29" fmla="*/ 30917 h 61"/>
                  <a:gd name="T30" fmla="*/ 52419 w 149"/>
                  <a:gd name="T31" fmla="*/ 38412 h 61"/>
                  <a:gd name="T32" fmla="*/ 52419 w 149"/>
                  <a:gd name="T33" fmla="*/ 45907 h 61"/>
                  <a:gd name="T34" fmla="*/ 49436 w 149"/>
                  <a:gd name="T35" fmla="*/ 46844 h 61"/>
                  <a:gd name="T36" fmla="*/ 46453 w 149"/>
                  <a:gd name="T37" fmla="*/ 47781 h 61"/>
                  <a:gd name="T38" fmla="*/ 44322 w 149"/>
                  <a:gd name="T39" fmla="*/ 49655 h 61"/>
                  <a:gd name="T40" fmla="*/ 42617 w 149"/>
                  <a:gd name="T41" fmla="*/ 51529 h 61"/>
                  <a:gd name="T42" fmla="*/ 40060 w 149"/>
                  <a:gd name="T43" fmla="*/ 53402 h 61"/>
                  <a:gd name="T44" fmla="*/ 37930 w 149"/>
                  <a:gd name="T45" fmla="*/ 55276 h 61"/>
                  <a:gd name="T46" fmla="*/ 35372 w 149"/>
                  <a:gd name="T47" fmla="*/ 57150 h 61"/>
                  <a:gd name="T48" fmla="*/ 32389 w 149"/>
                  <a:gd name="T49" fmla="*/ 57150 h 61"/>
                  <a:gd name="T50" fmla="*/ 28554 w 149"/>
                  <a:gd name="T51" fmla="*/ 56213 h 61"/>
                  <a:gd name="T52" fmla="*/ 22587 w 149"/>
                  <a:gd name="T53" fmla="*/ 53402 h 61"/>
                  <a:gd name="T54" fmla="*/ 16621 w 149"/>
                  <a:gd name="T55" fmla="*/ 50592 h 61"/>
                  <a:gd name="T56" fmla="*/ 10654 w 149"/>
                  <a:gd name="T57" fmla="*/ 45907 h 61"/>
                  <a:gd name="T58" fmla="*/ 5114 w 149"/>
                  <a:gd name="T59" fmla="*/ 42160 h 61"/>
                  <a:gd name="T60" fmla="*/ 1279 w 149"/>
                  <a:gd name="T61" fmla="*/ 38412 h 61"/>
                  <a:gd name="T62" fmla="*/ 426 w 149"/>
                  <a:gd name="T63" fmla="*/ 36539 h 61"/>
                  <a:gd name="T64" fmla="*/ 0 w 149"/>
                  <a:gd name="T65" fmla="*/ 35602 h 61"/>
                  <a:gd name="T66" fmla="*/ 0 w 149"/>
                  <a:gd name="T67" fmla="*/ 34665 h 61"/>
                  <a:gd name="T68" fmla="*/ 1279 w 149"/>
                  <a:gd name="T69" fmla="*/ 34665 h 61"/>
                  <a:gd name="T70" fmla="*/ 8097 w 149"/>
                  <a:gd name="T71" fmla="*/ 33728 h 61"/>
                  <a:gd name="T72" fmla="*/ 14916 w 149"/>
                  <a:gd name="T73" fmla="*/ 32791 h 61"/>
                  <a:gd name="T74" fmla="*/ 20456 w 149"/>
                  <a:gd name="T75" fmla="*/ 29980 h 61"/>
                  <a:gd name="T76" fmla="*/ 25570 w 149"/>
                  <a:gd name="T77" fmla="*/ 25296 h 61"/>
                  <a:gd name="T78" fmla="*/ 30685 w 149"/>
                  <a:gd name="T79" fmla="*/ 20611 h 61"/>
                  <a:gd name="T80" fmla="*/ 34946 w 149"/>
                  <a:gd name="T81" fmla="*/ 14990 h 61"/>
                  <a:gd name="T82" fmla="*/ 39634 w 149"/>
                  <a:gd name="T83" fmla="*/ 7495 h 61"/>
                  <a:gd name="T84" fmla="*/ 43896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grpFill/>
              <a:ln w="9525" cap="flat" cmpd="sng">
                <a:solidFill>
                  <a:srgbClr val="FFFFFF"/>
                </a:solidFill>
                <a:prstDash val="solid"/>
                <a:round/>
                <a:headEnd type="none" w="med" len="med"/>
                <a:tailEnd type="none" w="med" len="med"/>
              </a:ln>
              <a:effectLst/>
            </p:spPr>
            <p:txBody>
              <a:bodyPr/>
              <a:lstStyle/>
              <a:p>
                <a:endParaRPr lang="en-GB" sz="1637"/>
              </a:p>
            </p:txBody>
          </p:sp>
          <p:sp>
            <p:nvSpPr>
              <p:cNvPr id="205" name="Freeform 550"/>
              <p:cNvSpPr>
                <a:spLocks/>
              </p:cNvSpPr>
              <p:nvPr>
                <p:custDataLst>
                  <p:tags r:id="rId188"/>
                </p:custDataLst>
              </p:nvPr>
            </p:nvSpPr>
            <p:spPr bwMode="auto">
              <a:xfrm>
                <a:off x="5078891" y="1469202"/>
                <a:ext cx="142104" cy="64475"/>
              </a:xfrm>
              <a:custGeom>
                <a:avLst/>
                <a:gdLst>
                  <a:gd name="T0" fmla="*/ 57904 w 299"/>
                  <a:gd name="T1" fmla="*/ 55605 h 74"/>
                  <a:gd name="T2" fmla="*/ 67047 w 299"/>
                  <a:gd name="T3" fmla="*/ 50199 h 74"/>
                  <a:gd name="T4" fmla="*/ 77495 w 299"/>
                  <a:gd name="T5" fmla="*/ 41704 h 74"/>
                  <a:gd name="T6" fmla="*/ 86638 w 299"/>
                  <a:gd name="T7" fmla="*/ 32436 h 74"/>
                  <a:gd name="T8" fmla="*/ 90121 w 299"/>
                  <a:gd name="T9" fmla="*/ 30892 h 74"/>
                  <a:gd name="T10" fmla="*/ 91863 w 299"/>
                  <a:gd name="T11" fmla="*/ 35526 h 74"/>
                  <a:gd name="T12" fmla="*/ 95781 w 299"/>
                  <a:gd name="T13" fmla="*/ 39387 h 74"/>
                  <a:gd name="T14" fmla="*/ 105794 w 299"/>
                  <a:gd name="T15" fmla="*/ 42476 h 74"/>
                  <a:gd name="T16" fmla="*/ 117114 w 299"/>
                  <a:gd name="T17" fmla="*/ 42476 h 74"/>
                  <a:gd name="T18" fmla="*/ 124515 w 299"/>
                  <a:gd name="T19" fmla="*/ 42476 h 74"/>
                  <a:gd name="T20" fmla="*/ 127563 w 299"/>
                  <a:gd name="T21" fmla="*/ 35526 h 74"/>
                  <a:gd name="T22" fmla="*/ 129740 w 299"/>
                  <a:gd name="T23" fmla="*/ 23941 h 74"/>
                  <a:gd name="T24" fmla="*/ 121468 w 299"/>
                  <a:gd name="T25" fmla="*/ 19307 h 74"/>
                  <a:gd name="T26" fmla="*/ 106230 w 299"/>
                  <a:gd name="T27" fmla="*/ 19307 h 74"/>
                  <a:gd name="T28" fmla="*/ 97958 w 299"/>
                  <a:gd name="T29" fmla="*/ 19307 h 74"/>
                  <a:gd name="T30" fmla="*/ 93169 w 299"/>
                  <a:gd name="T31" fmla="*/ 20852 h 74"/>
                  <a:gd name="T32" fmla="*/ 88815 w 299"/>
                  <a:gd name="T33" fmla="*/ 25486 h 74"/>
                  <a:gd name="T34" fmla="*/ 74883 w 299"/>
                  <a:gd name="T35" fmla="*/ 28575 h 74"/>
                  <a:gd name="T36" fmla="*/ 76625 w 299"/>
                  <a:gd name="T37" fmla="*/ 21624 h 74"/>
                  <a:gd name="T38" fmla="*/ 78366 w 299"/>
                  <a:gd name="T39" fmla="*/ 16218 h 74"/>
                  <a:gd name="T40" fmla="*/ 84461 w 299"/>
                  <a:gd name="T41" fmla="*/ 10040 h 74"/>
                  <a:gd name="T42" fmla="*/ 91427 w 299"/>
                  <a:gd name="T43" fmla="*/ 6951 h 74"/>
                  <a:gd name="T44" fmla="*/ 97958 w 299"/>
                  <a:gd name="T45" fmla="*/ 0 h 74"/>
                  <a:gd name="T46" fmla="*/ 80543 w 299"/>
                  <a:gd name="T47" fmla="*/ 2317 h 74"/>
                  <a:gd name="T48" fmla="*/ 68353 w 299"/>
                  <a:gd name="T49" fmla="*/ 8495 h 74"/>
                  <a:gd name="T50" fmla="*/ 58339 w 299"/>
                  <a:gd name="T51" fmla="*/ 19307 h 74"/>
                  <a:gd name="T52" fmla="*/ 49632 w 299"/>
                  <a:gd name="T53" fmla="*/ 30892 h 74"/>
                  <a:gd name="T54" fmla="*/ 43537 w 299"/>
                  <a:gd name="T55" fmla="*/ 40932 h 74"/>
                  <a:gd name="T56" fmla="*/ 37877 w 299"/>
                  <a:gd name="T57" fmla="*/ 45566 h 74"/>
                  <a:gd name="T58" fmla="*/ 27864 w 299"/>
                  <a:gd name="T59" fmla="*/ 48655 h 74"/>
                  <a:gd name="T60" fmla="*/ 13932 w 299"/>
                  <a:gd name="T61" fmla="*/ 49427 h 74"/>
                  <a:gd name="T62" fmla="*/ 5224 w 299"/>
                  <a:gd name="T63" fmla="*/ 51744 h 74"/>
                  <a:gd name="T64" fmla="*/ 871 w 299"/>
                  <a:gd name="T65" fmla="*/ 54061 h 74"/>
                  <a:gd name="T66" fmla="*/ 16979 w 299"/>
                  <a:gd name="T67" fmla="*/ 57150 h 74"/>
                  <a:gd name="T68" fmla="*/ 44408 w 299"/>
                  <a:gd name="T69" fmla="*/ 57150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grpFill/>
              <a:ln w="9525" cap="flat" cmpd="sng">
                <a:solidFill>
                  <a:srgbClr val="FFFFFF"/>
                </a:solidFill>
                <a:prstDash val="solid"/>
                <a:round/>
                <a:headEnd type="none" w="med" len="med"/>
                <a:tailEnd type="none" w="med" len="med"/>
              </a:ln>
              <a:effectLst/>
            </p:spPr>
            <p:txBody>
              <a:bodyPr/>
              <a:lstStyle/>
              <a:p>
                <a:endParaRPr lang="en-GB" sz="1637"/>
              </a:p>
            </p:txBody>
          </p:sp>
        </p:grpSp>
      </p:grpSp>
      <p:sp>
        <p:nvSpPr>
          <p:cNvPr id="2" name="Title 1"/>
          <p:cNvSpPr>
            <a:spLocks noGrp="1"/>
          </p:cNvSpPr>
          <p:nvPr>
            <p:ph type="title"/>
          </p:nvPr>
        </p:nvSpPr>
        <p:spPr>
          <a:xfrm>
            <a:off x="540913" y="134284"/>
            <a:ext cx="7878789" cy="784640"/>
          </a:xfrm>
          <a:noFill/>
          <a:ln w="9525">
            <a:noFill/>
            <a:miter lim="800000"/>
            <a:headEnd/>
            <a:tailEnd/>
          </a:ln>
        </p:spPr>
        <p:txBody>
          <a:bodyPr vert="horz" wrap="square" lIns="0" tIns="53459" rIns="106918" bIns="53459" numCol="1" rtlCol="0" anchor="ctr" anchorCtr="0" compatLnSpc="1">
            <a:prstTxWarp prst="textNoShape">
              <a:avLst/>
            </a:prstTxWarp>
            <a:noAutofit/>
          </a:bodyPr>
          <a:lstStyle/>
          <a:p>
            <a:r>
              <a:rPr lang="en-GB" dirty="0"/>
              <a:t>The transition started in Europe but is continuing in </a:t>
            </a:r>
            <a:r>
              <a:rPr lang="en-GB" dirty="0" err="1"/>
              <a:t>asia</a:t>
            </a:r>
            <a:r>
              <a:rPr lang="en-GB" dirty="0"/>
              <a:t> pacific</a:t>
            </a:r>
            <a:endParaRPr lang="en-US" dirty="0"/>
          </a:p>
        </p:txBody>
      </p:sp>
      <p:sp>
        <p:nvSpPr>
          <p:cNvPr id="4" name="Text Placeholder 3"/>
          <p:cNvSpPr>
            <a:spLocks noGrp="1"/>
          </p:cNvSpPr>
          <p:nvPr>
            <p:ph type="body" idx="10"/>
          </p:nvPr>
        </p:nvSpPr>
        <p:spPr/>
        <p:txBody>
          <a:bodyPr/>
          <a:lstStyle/>
          <a:p>
            <a:r>
              <a:rPr lang="en-GB" dirty="0" smtClean="0"/>
              <a:t>Source: Bloomberg New Energy Finance</a:t>
            </a:r>
            <a:endParaRPr lang="en-US" dirty="0"/>
          </a:p>
        </p:txBody>
      </p:sp>
      <p:pic>
        <p:nvPicPr>
          <p:cNvPr id="6156" name="Picture 12"/>
          <p:cNvPicPr>
            <a:picLocks noChangeAspect="1" noChangeArrowheads="1"/>
          </p:cNvPicPr>
          <p:nvPr/>
        </p:nvPicPr>
        <p:blipFill>
          <a:blip r:embed="rId343" cstate="screen">
            <a:extLst>
              <a:ext uri="{28A0092B-C50C-407E-A947-70E740481C1C}">
                <a14:useLocalDpi xmlns:a14="http://schemas.microsoft.com/office/drawing/2010/main"/>
              </a:ext>
            </a:extLst>
          </a:blip>
          <a:srcRect/>
          <a:stretch>
            <a:fillRect/>
          </a:stretch>
        </p:blipFill>
        <p:spPr bwMode="auto">
          <a:xfrm>
            <a:off x="198546" y="2150089"/>
            <a:ext cx="2855164" cy="15574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157" name="Picture 13"/>
          <p:cNvPicPr>
            <a:picLocks noChangeAspect="1" noChangeArrowheads="1"/>
          </p:cNvPicPr>
          <p:nvPr/>
        </p:nvPicPr>
        <p:blipFill>
          <a:blip r:embed="rId344" cstate="screen">
            <a:extLst>
              <a:ext uri="{28A0092B-C50C-407E-A947-70E740481C1C}">
                <a14:useLocalDpi xmlns:a14="http://schemas.microsoft.com/office/drawing/2010/main"/>
              </a:ext>
            </a:extLst>
          </a:blip>
          <a:srcRect/>
          <a:stretch>
            <a:fillRect/>
          </a:stretch>
        </p:blipFill>
        <p:spPr bwMode="auto">
          <a:xfrm>
            <a:off x="7716407" y="3831266"/>
            <a:ext cx="2853077" cy="15574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158" name="Picture 14"/>
          <p:cNvPicPr>
            <a:picLocks noChangeAspect="1" noChangeArrowheads="1"/>
          </p:cNvPicPr>
          <p:nvPr/>
        </p:nvPicPr>
        <p:blipFill>
          <a:blip r:embed="rId345" cstate="screen">
            <a:extLst>
              <a:ext uri="{28A0092B-C50C-407E-A947-70E740481C1C}">
                <a14:useLocalDpi xmlns:a14="http://schemas.microsoft.com/office/drawing/2010/main"/>
              </a:ext>
            </a:extLst>
          </a:blip>
          <a:srcRect/>
          <a:stretch>
            <a:fillRect/>
          </a:stretch>
        </p:blipFill>
        <p:spPr bwMode="auto">
          <a:xfrm>
            <a:off x="332892" y="4749934"/>
            <a:ext cx="2853077" cy="15574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159" name="Picture 15"/>
          <p:cNvPicPr>
            <a:picLocks noChangeAspect="1" noChangeArrowheads="1"/>
          </p:cNvPicPr>
          <p:nvPr/>
        </p:nvPicPr>
        <p:blipFill>
          <a:blip r:embed="rId346" cstate="screen">
            <a:extLst>
              <a:ext uri="{28A0092B-C50C-407E-A947-70E740481C1C}">
                <a14:useLocalDpi xmlns:a14="http://schemas.microsoft.com/office/drawing/2010/main"/>
              </a:ext>
            </a:extLst>
          </a:blip>
          <a:srcRect/>
          <a:stretch>
            <a:fillRect/>
          </a:stretch>
        </p:blipFill>
        <p:spPr bwMode="auto">
          <a:xfrm>
            <a:off x="4289671" y="4865181"/>
            <a:ext cx="2855165" cy="15574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160" name="Picture 16"/>
          <p:cNvPicPr>
            <a:picLocks noChangeAspect="1" noChangeArrowheads="1"/>
          </p:cNvPicPr>
          <p:nvPr/>
        </p:nvPicPr>
        <p:blipFill>
          <a:blip r:embed="rId347" cstate="screen">
            <a:extLst>
              <a:ext uri="{28A0092B-C50C-407E-A947-70E740481C1C}">
                <a14:useLocalDpi xmlns:a14="http://schemas.microsoft.com/office/drawing/2010/main"/>
              </a:ext>
            </a:extLst>
          </a:blip>
          <a:srcRect/>
          <a:stretch>
            <a:fillRect/>
          </a:stretch>
        </p:blipFill>
        <p:spPr bwMode="auto">
          <a:xfrm>
            <a:off x="4064634" y="1958946"/>
            <a:ext cx="2855165" cy="15574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13" name="TextBox 512"/>
          <p:cNvSpPr txBox="1"/>
          <p:nvPr/>
        </p:nvSpPr>
        <p:spPr>
          <a:xfrm>
            <a:off x="316706" y="1209343"/>
            <a:ext cx="9982200" cy="400110"/>
          </a:xfrm>
          <a:prstGeom prst="rect">
            <a:avLst/>
          </a:prstGeom>
          <a:solidFill>
            <a:schemeClr val="accent1"/>
          </a:solidFill>
          <a:ln>
            <a:solidFill>
              <a:schemeClr val="accent1"/>
            </a:solidFill>
          </a:ln>
        </p:spPr>
        <p:txBody>
          <a:bodyPr wrap="square" rtlCol="0">
            <a:spAutoFit/>
          </a:bodyPr>
          <a:lstStyle/>
          <a:p>
            <a:pPr marL="0" indent="0" algn="ctr">
              <a:buNone/>
            </a:pPr>
            <a:r>
              <a:rPr lang="en-US" sz="2000" b="1" dirty="0">
                <a:solidFill>
                  <a:schemeClr val="bg1"/>
                </a:solidFill>
              </a:rPr>
              <a:t>New investment in clean </a:t>
            </a:r>
            <a:r>
              <a:rPr lang="en-US" sz="2000" b="1" dirty="0" smtClean="0">
                <a:solidFill>
                  <a:schemeClr val="bg1"/>
                </a:solidFill>
              </a:rPr>
              <a:t>energy 2004–13 </a:t>
            </a:r>
            <a:r>
              <a:rPr lang="en-US" sz="2000" b="1" dirty="0">
                <a:solidFill>
                  <a:schemeClr val="bg1"/>
                </a:solidFill>
              </a:rPr>
              <a:t>($</a:t>
            </a:r>
            <a:r>
              <a:rPr lang="en-US" sz="2000" b="1" dirty="0" err="1">
                <a:solidFill>
                  <a:schemeClr val="bg1"/>
                </a:solidFill>
              </a:rPr>
              <a:t>bn</a:t>
            </a:r>
            <a:r>
              <a:rPr lang="en-US" sz="2000" b="1" dirty="0">
                <a:solidFill>
                  <a:schemeClr val="bg1"/>
                </a:solidFill>
              </a:rPr>
              <a:t>)</a:t>
            </a:r>
          </a:p>
        </p:txBody>
      </p:sp>
      <p:sp>
        <p:nvSpPr>
          <p:cNvPr id="514" name="TextBox 513"/>
          <p:cNvSpPr txBox="1"/>
          <p:nvPr/>
        </p:nvSpPr>
        <p:spPr>
          <a:xfrm>
            <a:off x="8316144" y="1908809"/>
            <a:ext cx="2007475" cy="1346522"/>
          </a:xfrm>
          <a:prstGeom prst="rect">
            <a:avLst/>
          </a:prstGeom>
          <a:solidFill>
            <a:schemeClr val="bg1"/>
          </a:solidFill>
        </p:spPr>
        <p:txBody>
          <a:bodyPr wrap="square" lIns="0" tIns="0" rIns="0" bIns="0" rtlCol="0">
            <a:spAutoFit/>
          </a:bodyPr>
          <a:lstStyle/>
          <a:p>
            <a:pPr marL="0" indent="0">
              <a:buNone/>
            </a:pPr>
            <a:r>
              <a:rPr lang="en-US" sz="2000" b="1" dirty="0" smtClean="0">
                <a:solidFill>
                  <a:schemeClr val="accent6"/>
                </a:solidFill>
              </a:rPr>
              <a:t>H1 2014 – YOY : </a:t>
            </a:r>
          </a:p>
          <a:p>
            <a:r>
              <a:rPr lang="en-US" sz="2000" b="1" dirty="0" smtClean="0">
                <a:solidFill>
                  <a:schemeClr val="accent6"/>
                </a:solidFill>
              </a:rPr>
              <a:t>APAC +9%</a:t>
            </a:r>
          </a:p>
          <a:p>
            <a:r>
              <a:rPr lang="en-US" sz="2000" b="1" dirty="0" smtClean="0">
                <a:solidFill>
                  <a:schemeClr val="accent6"/>
                </a:solidFill>
              </a:rPr>
              <a:t>AMER +28%</a:t>
            </a:r>
          </a:p>
          <a:p>
            <a:r>
              <a:rPr lang="en-US" sz="2000" b="1" dirty="0" smtClean="0">
                <a:solidFill>
                  <a:schemeClr val="accent6"/>
                </a:solidFill>
              </a:rPr>
              <a:t>EMEA  -3%</a:t>
            </a:r>
          </a:p>
        </p:txBody>
      </p:sp>
    </p:spTree>
    <p:extLst>
      <p:ext uri="{BB962C8B-B14F-4D97-AF65-F5344CB8AC3E}">
        <p14:creationId xmlns:p14="http://schemas.microsoft.com/office/powerpoint/2010/main" val="17135172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15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4"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9" name="Group 38"/>
          <p:cNvGrpSpPr/>
          <p:nvPr/>
        </p:nvGrpSpPr>
        <p:grpSpPr>
          <a:xfrm>
            <a:off x="1004343" y="1859316"/>
            <a:ext cx="8322229" cy="4988511"/>
            <a:chOff x="0" y="0"/>
            <a:chExt cx="8626928" cy="5225143"/>
          </a:xfrm>
        </p:grpSpPr>
        <p:grpSp>
          <p:nvGrpSpPr>
            <p:cNvPr id="40" name="Group 39"/>
            <p:cNvGrpSpPr/>
            <p:nvPr/>
          </p:nvGrpSpPr>
          <p:grpSpPr>
            <a:xfrm>
              <a:off x="0" y="0"/>
              <a:ext cx="8626928" cy="5225143"/>
              <a:chOff x="0" y="0"/>
              <a:chExt cx="8626928" cy="6222548"/>
            </a:xfrm>
          </p:grpSpPr>
          <p:graphicFrame>
            <p:nvGraphicFramePr>
              <p:cNvPr id="42" name="Chart 41"/>
              <p:cNvGraphicFramePr/>
              <p:nvPr>
                <p:extLst>
                  <p:ext uri="{D42A27DB-BD31-4B8C-83A1-F6EECF244321}">
                    <p14:modId xmlns:p14="http://schemas.microsoft.com/office/powerpoint/2010/main" val="2087158041"/>
                  </p:ext>
                </p:extLst>
              </p:nvPr>
            </p:nvGraphicFramePr>
            <p:xfrm>
              <a:off x="0" y="0"/>
              <a:ext cx="8626928" cy="6222548"/>
            </p:xfrm>
            <a:graphic>
              <a:graphicData uri="http://schemas.openxmlformats.org/drawingml/2006/chart">
                <c:chart xmlns:c="http://schemas.openxmlformats.org/drawingml/2006/chart" xmlns:r="http://schemas.openxmlformats.org/officeDocument/2006/relationships" r:id="rId2"/>
              </a:graphicData>
            </a:graphic>
          </p:graphicFrame>
          <p:sp>
            <p:nvSpPr>
              <p:cNvPr id="43" name="TextBox 2"/>
              <p:cNvSpPr txBox="1"/>
              <p:nvPr/>
            </p:nvSpPr>
            <p:spPr>
              <a:xfrm>
                <a:off x="7293428" y="4358370"/>
                <a:ext cx="1021177" cy="366527"/>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buNone/>
                </a:pPr>
                <a:r>
                  <a:rPr lang="en-US" sz="1400">
                    <a:latin typeface="Arial" panose="020B0604020202020204" pitchFamily="34" charset="0"/>
                    <a:cs typeface="Arial" panose="020B0604020202020204" pitchFamily="34" charset="0"/>
                  </a:rPr>
                  <a:t>IEA - 2010</a:t>
                </a:r>
              </a:p>
            </p:txBody>
          </p:sp>
          <p:sp>
            <p:nvSpPr>
              <p:cNvPr id="46" name="TextBox 6"/>
              <p:cNvSpPr txBox="1"/>
              <p:nvPr/>
            </p:nvSpPr>
            <p:spPr>
              <a:xfrm>
                <a:off x="7317921" y="2804433"/>
                <a:ext cx="1021177" cy="366527"/>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buNone/>
                </a:pPr>
                <a:r>
                  <a:rPr lang="en-US" sz="1400">
                    <a:latin typeface="Arial" panose="020B0604020202020204" pitchFamily="34" charset="0"/>
                    <a:cs typeface="Arial" panose="020B0604020202020204" pitchFamily="34" charset="0"/>
                  </a:rPr>
                  <a:t>IEA - 2013</a:t>
                </a:r>
              </a:p>
            </p:txBody>
          </p:sp>
          <p:sp>
            <p:nvSpPr>
              <p:cNvPr id="47" name="TextBox 7"/>
              <p:cNvSpPr txBox="1"/>
              <p:nvPr/>
            </p:nvSpPr>
            <p:spPr>
              <a:xfrm>
                <a:off x="7320642" y="1800226"/>
                <a:ext cx="1206869" cy="366527"/>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buNone/>
                </a:pPr>
                <a:r>
                  <a:rPr lang="en-US" sz="1400" dirty="0">
                    <a:latin typeface="Arial" panose="020B0604020202020204" pitchFamily="34" charset="0"/>
                    <a:cs typeface="Arial" panose="020B0604020202020204" pitchFamily="34" charset="0"/>
                  </a:rPr>
                  <a:t>BNEF - 2011</a:t>
                </a:r>
              </a:p>
            </p:txBody>
          </p:sp>
          <p:cxnSp>
            <p:nvCxnSpPr>
              <p:cNvPr id="49" name="Straight Connector 48"/>
              <p:cNvCxnSpPr/>
              <p:nvPr/>
            </p:nvCxnSpPr>
            <p:spPr>
              <a:xfrm flipV="1">
                <a:off x="2775857" y="929369"/>
                <a:ext cx="0" cy="4531179"/>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a:off x="2775857" y="4712155"/>
                <a:ext cx="283028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5619750" y="4712155"/>
                <a:ext cx="0" cy="721178"/>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grpSp>
        <p:sp>
          <p:nvSpPr>
            <p:cNvPr id="41" name="TextBox 13"/>
            <p:cNvSpPr txBox="1"/>
            <p:nvPr/>
          </p:nvSpPr>
          <p:spPr>
            <a:xfrm>
              <a:off x="7320643" y="326572"/>
              <a:ext cx="1222386" cy="250906"/>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t">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buNone/>
              </a:pPr>
              <a:r>
                <a:rPr lang="en-US" sz="1400" dirty="0">
                  <a:latin typeface="Arial" panose="020B0604020202020204" pitchFamily="34" charset="0"/>
                  <a:cs typeface="Arial" panose="020B0604020202020204" pitchFamily="34" charset="0"/>
                </a:rPr>
                <a:t>BNEF - 2014</a:t>
              </a:r>
            </a:p>
          </p:txBody>
        </p:sp>
      </p:grpSp>
      <p:sp>
        <p:nvSpPr>
          <p:cNvPr id="2" name="Title 1"/>
          <p:cNvSpPr>
            <a:spLocks noGrp="1"/>
          </p:cNvSpPr>
          <p:nvPr>
            <p:ph type="title"/>
          </p:nvPr>
        </p:nvSpPr>
        <p:spPr>
          <a:xfrm>
            <a:off x="644577" y="107950"/>
            <a:ext cx="7797747" cy="828050"/>
          </a:xfrm>
        </p:spPr>
        <p:txBody>
          <a:bodyPr/>
          <a:lstStyle/>
          <a:p>
            <a:pPr>
              <a:tabLst>
                <a:tab pos="6799263" algn="l"/>
              </a:tabLst>
            </a:pPr>
            <a:r>
              <a:rPr lang="en-US" dirty="0" smtClean="0"/>
              <a:t>Renewable Growth will continue to grow exponentially</a:t>
            </a:r>
            <a:endParaRPr lang="en-US" dirty="0"/>
          </a:p>
        </p:txBody>
      </p:sp>
      <p:sp>
        <p:nvSpPr>
          <p:cNvPr id="3" name="Date Placeholder 2"/>
          <p:cNvSpPr>
            <a:spLocks noGrp="1"/>
          </p:cNvSpPr>
          <p:nvPr>
            <p:ph type="dt" sz="half" idx="10"/>
          </p:nvPr>
        </p:nvSpPr>
        <p:spPr/>
        <p:txBody>
          <a:bodyPr/>
          <a:lstStyle/>
          <a:p>
            <a:r>
              <a:rPr lang="en-US" smtClean="0"/>
              <a:t>Insert Date (go to Insert Tab, Header &amp; Footer and Apply to All)</a:t>
            </a:r>
            <a:endParaRPr lang="en-GB" dirty="0"/>
          </a:p>
        </p:txBody>
      </p:sp>
      <p:sp>
        <p:nvSpPr>
          <p:cNvPr id="38" name="TextBox 37"/>
          <p:cNvSpPr txBox="1"/>
          <p:nvPr/>
        </p:nvSpPr>
        <p:spPr>
          <a:xfrm>
            <a:off x="1970366" y="1980521"/>
            <a:ext cx="5194924" cy="1070099"/>
          </a:xfrm>
          <a:prstGeom prst="rect">
            <a:avLst/>
          </a:prstGeom>
          <a:noFill/>
        </p:spPr>
        <p:txBody>
          <a:bodyPr wrap="square" lIns="0" tIns="0" rIns="0" bIns="0" rtlCol="0">
            <a:noAutofit/>
          </a:bodyPr>
          <a:lstStyle/>
          <a:p>
            <a:pPr marL="0" indent="0">
              <a:buNone/>
            </a:pPr>
            <a:r>
              <a:rPr lang="en-US" sz="2000" b="1" dirty="0" smtClean="0">
                <a:solidFill>
                  <a:schemeClr val="accent6"/>
                </a:solidFill>
              </a:rPr>
              <a:t>Current PV &amp; wind capacity is where IEA 2010 thought we would be in </a:t>
            </a:r>
            <a:r>
              <a:rPr lang="en-US" sz="2000" b="1" dirty="0" smtClean="0">
                <a:solidFill>
                  <a:schemeClr val="accent6"/>
                </a:solidFill>
              </a:rPr>
              <a:t>2024 (GW)</a:t>
            </a:r>
            <a:endParaRPr lang="en-US" sz="2000" b="1" dirty="0" smtClean="0">
              <a:solidFill>
                <a:schemeClr val="accent6"/>
              </a:solidFill>
            </a:endParaRPr>
          </a:p>
        </p:txBody>
      </p:sp>
      <p:sp>
        <p:nvSpPr>
          <p:cNvPr id="16" name="TextBox 15"/>
          <p:cNvSpPr txBox="1"/>
          <p:nvPr/>
        </p:nvSpPr>
        <p:spPr>
          <a:xfrm>
            <a:off x="316706" y="1209343"/>
            <a:ext cx="9982200" cy="400110"/>
          </a:xfrm>
          <a:prstGeom prst="rect">
            <a:avLst/>
          </a:prstGeom>
          <a:solidFill>
            <a:schemeClr val="accent1"/>
          </a:solidFill>
          <a:ln>
            <a:solidFill>
              <a:schemeClr val="accent1"/>
            </a:solidFill>
          </a:ln>
        </p:spPr>
        <p:txBody>
          <a:bodyPr wrap="square" rtlCol="0">
            <a:spAutoFit/>
          </a:bodyPr>
          <a:lstStyle/>
          <a:p>
            <a:pPr marL="0" indent="0" algn="ctr">
              <a:buNone/>
            </a:pPr>
            <a:r>
              <a:rPr lang="en-US" sz="2000" b="1" dirty="0" smtClean="0">
                <a:solidFill>
                  <a:schemeClr val="bg1"/>
                </a:solidFill>
              </a:rPr>
              <a:t>Solar and wind capacity, IEA and BNEF (GW)</a:t>
            </a:r>
            <a:endParaRPr lang="en-US" sz="2000" b="1" dirty="0">
              <a:solidFill>
                <a:schemeClr val="bg1"/>
              </a:solidFill>
            </a:endParaRPr>
          </a:p>
        </p:txBody>
      </p:sp>
    </p:spTree>
    <p:extLst>
      <p:ext uri="{BB962C8B-B14F-4D97-AF65-F5344CB8AC3E}">
        <p14:creationId xmlns:p14="http://schemas.microsoft.com/office/powerpoint/2010/main" val="380986118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GB" dirty="0" smtClean="0"/>
              <a:t>And global Additions </a:t>
            </a:r>
            <a:r>
              <a:rPr lang="en-GB" dirty="0"/>
              <a:t>of fossil capacity will decline while </a:t>
            </a:r>
            <a:r>
              <a:rPr lang="en-GB" dirty="0" smtClean="0"/>
              <a:t>renewables </a:t>
            </a:r>
            <a:r>
              <a:rPr lang="en-GB" dirty="0"/>
              <a:t>will </a:t>
            </a:r>
            <a:r>
              <a:rPr lang="en-GB" dirty="0" smtClean="0"/>
              <a:t>rise</a:t>
            </a:r>
            <a:endParaRPr lang="en-GB" dirty="0"/>
          </a:p>
        </p:txBody>
      </p:sp>
      <p:sp>
        <p:nvSpPr>
          <p:cNvPr id="9" name="Content Placeholder 8"/>
          <p:cNvSpPr>
            <a:spLocks noGrp="1"/>
          </p:cNvSpPr>
          <p:nvPr>
            <p:ph sz="quarter" idx="15"/>
          </p:nvPr>
        </p:nvSpPr>
        <p:spPr/>
        <p:txBody>
          <a:bodyPr/>
          <a:lstStyle/>
          <a:p>
            <a:r>
              <a:rPr lang="en-GB" dirty="0" smtClean="0"/>
              <a:t>Source: Bloomberg New Energy Finance</a:t>
            </a:r>
            <a:endParaRPr lang="en-GB" dirty="0"/>
          </a:p>
        </p:txBody>
      </p:sp>
      <p:sp>
        <p:nvSpPr>
          <p:cNvPr id="10" name="Content Placeholder 9"/>
          <p:cNvSpPr>
            <a:spLocks noGrp="1"/>
          </p:cNvSpPr>
          <p:nvPr>
            <p:ph sz="quarter" idx="18"/>
          </p:nvPr>
        </p:nvSpPr>
        <p:spPr/>
        <p:txBody>
          <a:bodyPr/>
          <a:lstStyle/>
          <a:p>
            <a:r>
              <a:rPr lang="en-GB" dirty="0" smtClean="0"/>
              <a:t>Source</a:t>
            </a:r>
            <a:r>
              <a:rPr lang="en-GB" dirty="0"/>
              <a:t>: Bloomberg New Energy </a:t>
            </a:r>
            <a:r>
              <a:rPr lang="en-GB" dirty="0" smtClean="0"/>
              <a:t>Finance</a:t>
            </a:r>
            <a:endParaRPr lang="en-GB" dirty="0"/>
          </a:p>
        </p:txBody>
      </p:sp>
      <p:sp>
        <p:nvSpPr>
          <p:cNvPr id="5" name="Date Placeholder 4"/>
          <p:cNvSpPr>
            <a:spLocks noGrp="1"/>
          </p:cNvSpPr>
          <p:nvPr>
            <p:ph type="dt" sz="half" idx="19"/>
          </p:nvPr>
        </p:nvSpPr>
        <p:spPr/>
        <p:txBody>
          <a:bodyPr/>
          <a:lstStyle/>
          <a:p>
            <a:r>
              <a:rPr lang="en-US" smtClean="0"/>
              <a:t>20 June 2014</a:t>
            </a:r>
            <a:endParaRPr lang="en-GB" dirty="0"/>
          </a:p>
        </p:txBody>
      </p:sp>
      <p:sp>
        <p:nvSpPr>
          <p:cNvPr id="13" name="TextBox 12"/>
          <p:cNvSpPr txBox="1"/>
          <p:nvPr/>
        </p:nvSpPr>
        <p:spPr>
          <a:xfrm>
            <a:off x="2116145" y="1145387"/>
            <a:ext cx="1368152" cy="282510"/>
          </a:xfrm>
          <a:prstGeom prst="rect">
            <a:avLst/>
          </a:prstGeom>
          <a:noFill/>
        </p:spPr>
        <p:txBody>
          <a:bodyPr wrap="square" lIns="0" tIns="0" rIns="0" bIns="0" rtlCol="0">
            <a:noAutofit/>
          </a:bodyPr>
          <a:lstStyle/>
          <a:p>
            <a:pPr marL="0" indent="0" algn="ctr">
              <a:buNone/>
            </a:pPr>
            <a:r>
              <a:rPr lang="en-GB" sz="1800" b="1" dirty="0" smtClean="0"/>
              <a:t>OECD</a:t>
            </a:r>
          </a:p>
        </p:txBody>
      </p:sp>
      <p:sp>
        <p:nvSpPr>
          <p:cNvPr id="14" name="TextBox 13"/>
          <p:cNvSpPr txBox="1"/>
          <p:nvPr/>
        </p:nvSpPr>
        <p:spPr>
          <a:xfrm>
            <a:off x="2105512" y="4112052"/>
            <a:ext cx="1368152" cy="282510"/>
          </a:xfrm>
          <a:prstGeom prst="rect">
            <a:avLst/>
          </a:prstGeom>
          <a:noFill/>
        </p:spPr>
        <p:txBody>
          <a:bodyPr wrap="square" lIns="0" tIns="0" rIns="0" bIns="0" rtlCol="0">
            <a:noAutofit/>
          </a:bodyPr>
          <a:lstStyle/>
          <a:p>
            <a:pPr marL="0" indent="0" algn="ctr">
              <a:buNone/>
            </a:pPr>
            <a:r>
              <a:rPr lang="en-GB" sz="1800" b="1" dirty="0" smtClean="0"/>
              <a:t>Non-OECD</a:t>
            </a:r>
          </a:p>
        </p:txBody>
      </p:sp>
      <p:pic>
        <p:nvPicPr>
          <p:cNvPr id="15" name="Picture 14"/>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26782" y="1427898"/>
            <a:ext cx="4259888" cy="2618808"/>
          </a:xfrm>
          <a:prstGeom prst="rect">
            <a:avLst/>
          </a:prstGeom>
          <a:noFill/>
          <a:ln>
            <a:noFill/>
          </a:ln>
        </p:spPr>
      </p:pic>
      <p:pic>
        <p:nvPicPr>
          <p:cNvPr id="16" name="Picture 15"/>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26782" y="4366715"/>
            <a:ext cx="4259888" cy="2618808"/>
          </a:xfrm>
          <a:prstGeom prst="rect">
            <a:avLst/>
          </a:prstGeom>
          <a:noFill/>
          <a:ln>
            <a:noFill/>
          </a:ln>
        </p:spPr>
      </p:pic>
      <p:pic>
        <p:nvPicPr>
          <p:cNvPr id="11" name="Picture 10"/>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858540" y="1495439"/>
            <a:ext cx="4170880" cy="2554148"/>
          </a:xfrm>
          <a:prstGeom prst="rect">
            <a:avLst/>
          </a:prstGeom>
          <a:noFill/>
          <a:ln>
            <a:noFill/>
          </a:ln>
        </p:spPr>
      </p:pic>
      <p:pic>
        <p:nvPicPr>
          <p:cNvPr id="12" name="Picture 11"/>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847907" y="4337827"/>
            <a:ext cx="4278470" cy="2620033"/>
          </a:xfrm>
          <a:prstGeom prst="rect">
            <a:avLst/>
          </a:prstGeom>
          <a:noFill/>
          <a:ln>
            <a:noFill/>
          </a:ln>
        </p:spPr>
      </p:pic>
      <p:sp>
        <p:nvSpPr>
          <p:cNvPr id="17" name="TextBox 16"/>
          <p:cNvSpPr txBox="1"/>
          <p:nvPr/>
        </p:nvSpPr>
        <p:spPr>
          <a:xfrm>
            <a:off x="6925605" y="4114734"/>
            <a:ext cx="1368152" cy="282510"/>
          </a:xfrm>
          <a:prstGeom prst="rect">
            <a:avLst/>
          </a:prstGeom>
          <a:noFill/>
        </p:spPr>
        <p:txBody>
          <a:bodyPr wrap="square" lIns="0" tIns="0" rIns="0" bIns="0" rtlCol="0">
            <a:noAutofit/>
          </a:bodyPr>
          <a:lstStyle/>
          <a:p>
            <a:pPr marL="0" indent="0" algn="ctr">
              <a:buNone/>
            </a:pPr>
            <a:r>
              <a:rPr lang="en-GB" sz="1800" b="1" dirty="0" smtClean="0"/>
              <a:t>Non-OECD</a:t>
            </a:r>
          </a:p>
        </p:txBody>
      </p:sp>
      <p:sp>
        <p:nvSpPr>
          <p:cNvPr id="18" name="TextBox 17"/>
          <p:cNvSpPr txBox="1"/>
          <p:nvPr/>
        </p:nvSpPr>
        <p:spPr>
          <a:xfrm>
            <a:off x="6936238" y="1157874"/>
            <a:ext cx="1368152" cy="282510"/>
          </a:xfrm>
          <a:prstGeom prst="rect">
            <a:avLst/>
          </a:prstGeom>
          <a:noFill/>
        </p:spPr>
        <p:txBody>
          <a:bodyPr wrap="square" lIns="0" tIns="0" rIns="0" bIns="0" rtlCol="0">
            <a:noAutofit/>
          </a:bodyPr>
          <a:lstStyle/>
          <a:p>
            <a:pPr marL="0" indent="0" algn="ctr">
              <a:buNone/>
            </a:pPr>
            <a:r>
              <a:rPr lang="en-GB" sz="1800" b="1" dirty="0" smtClean="0"/>
              <a:t>OECD</a:t>
            </a:r>
          </a:p>
        </p:txBody>
      </p:sp>
      <p:sp>
        <p:nvSpPr>
          <p:cNvPr id="2" name="TextBox 1"/>
          <p:cNvSpPr txBox="1"/>
          <p:nvPr/>
        </p:nvSpPr>
        <p:spPr>
          <a:xfrm>
            <a:off x="756762" y="1179209"/>
            <a:ext cx="309380" cy="215444"/>
          </a:xfrm>
          <a:prstGeom prst="rect">
            <a:avLst/>
          </a:prstGeom>
          <a:noFill/>
        </p:spPr>
        <p:txBody>
          <a:bodyPr wrap="none" lIns="0" tIns="0" rIns="0" bIns="0" rtlCol="0">
            <a:spAutoFit/>
          </a:bodyPr>
          <a:lstStyle/>
          <a:p>
            <a:pPr marL="0" indent="0">
              <a:buNone/>
            </a:pPr>
            <a:r>
              <a:rPr lang="en-US" dirty="0" smtClean="0"/>
              <a:t>GW</a:t>
            </a:r>
            <a:endParaRPr lang="en-US" dirty="0" smtClean="0"/>
          </a:p>
        </p:txBody>
      </p:sp>
      <p:sp>
        <p:nvSpPr>
          <p:cNvPr id="19" name="TextBox 18"/>
          <p:cNvSpPr txBox="1"/>
          <p:nvPr/>
        </p:nvSpPr>
        <p:spPr>
          <a:xfrm>
            <a:off x="5858540" y="1242996"/>
            <a:ext cx="309380" cy="215444"/>
          </a:xfrm>
          <a:prstGeom prst="rect">
            <a:avLst/>
          </a:prstGeom>
          <a:noFill/>
        </p:spPr>
        <p:txBody>
          <a:bodyPr wrap="none" lIns="0" tIns="0" rIns="0" bIns="0" rtlCol="0">
            <a:spAutoFit/>
          </a:bodyPr>
          <a:lstStyle/>
          <a:p>
            <a:pPr marL="0" indent="0">
              <a:buNone/>
            </a:pPr>
            <a:r>
              <a:rPr lang="en-US" dirty="0" smtClean="0"/>
              <a:t>GW</a:t>
            </a:r>
            <a:endParaRPr lang="en-US" dirty="0" smtClean="0"/>
          </a:p>
        </p:txBody>
      </p:sp>
      <p:sp>
        <p:nvSpPr>
          <p:cNvPr id="20" name="TextBox 19"/>
          <p:cNvSpPr txBox="1"/>
          <p:nvPr/>
        </p:nvSpPr>
        <p:spPr>
          <a:xfrm>
            <a:off x="756762" y="4122383"/>
            <a:ext cx="309380" cy="215444"/>
          </a:xfrm>
          <a:prstGeom prst="rect">
            <a:avLst/>
          </a:prstGeom>
          <a:noFill/>
        </p:spPr>
        <p:txBody>
          <a:bodyPr wrap="none" lIns="0" tIns="0" rIns="0" bIns="0" rtlCol="0">
            <a:spAutoFit/>
          </a:bodyPr>
          <a:lstStyle/>
          <a:p>
            <a:pPr marL="0" indent="0">
              <a:buNone/>
            </a:pPr>
            <a:r>
              <a:rPr lang="en-US" dirty="0" smtClean="0"/>
              <a:t>GW</a:t>
            </a:r>
            <a:endParaRPr lang="en-US" dirty="0" smtClean="0"/>
          </a:p>
        </p:txBody>
      </p:sp>
      <p:sp>
        <p:nvSpPr>
          <p:cNvPr id="21" name="TextBox 20"/>
          <p:cNvSpPr txBox="1"/>
          <p:nvPr/>
        </p:nvSpPr>
        <p:spPr>
          <a:xfrm>
            <a:off x="5858540" y="4117800"/>
            <a:ext cx="309380" cy="215444"/>
          </a:xfrm>
          <a:prstGeom prst="rect">
            <a:avLst/>
          </a:prstGeom>
          <a:noFill/>
        </p:spPr>
        <p:txBody>
          <a:bodyPr wrap="none" lIns="0" tIns="0" rIns="0" bIns="0" rtlCol="0">
            <a:spAutoFit/>
          </a:bodyPr>
          <a:lstStyle/>
          <a:p>
            <a:pPr marL="0" indent="0">
              <a:buNone/>
            </a:pPr>
            <a:r>
              <a:rPr lang="en-US" dirty="0" smtClean="0"/>
              <a:t>GW</a:t>
            </a:r>
            <a:endParaRPr lang="en-US" dirty="0" smtClean="0"/>
          </a:p>
        </p:txBody>
      </p:sp>
    </p:spTree>
    <p:extLst>
      <p:ext uri="{BB962C8B-B14F-4D97-AF65-F5344CB8AC3E}">
        <p14:creationId xmlns:p14="http://schemas.microsoft.com/office/powerpoint/2010/main" val="39596708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xEl>
                                              <p:pRg st="0" end="0"/>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6"/>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7"/>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0"/>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bldP spid="10" grpId="0" build="p"/>
      <p:bldP spid="14" grpId="0"/>
      <p:bldP spid="17" grpId="0"/>
      <p:bldP spid="20" grpId="0"/>
      <p:bldP spid="21"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Myth 2: renewables are expensive</a:t>
            </a:r>
            <a:endParaRPr lang="en-US" dirty="0"/>
          </a:p>
        </p:txBody>
      </p:sp>
    </p:spTree>
    <p:extLst>
      <p:ext uri="{BB962C8B-B14F-4D97-AF65-F5344CB8AC3E}">
        <p14:creationId xmlns:p14="http://schemas.microsoft.com/office/powerpoint/2010/main" val="138615489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53792" y="107950"/>
            <a:ext cx="7888532" cy="828050"/>
          </a:xfrm>
        </p:spPr>
        <p:txBody>
          <a:bodyPr/>
          <a:lstStyle/>
          <a:p>
            <a:r>
              <a:rPr lang="en-US" dirty="0" smtClean="0"/>
              <a:t>Wind is already competitive and Solar has gone through major cost reductions</a:t>
            </a:r>
            <a:endParaRPr lang="en-US" dirty="0"/>
          </a:p>
        </p:txBody>
      </p:sp>
      <p:sp>
        <p:nvSpPr>
          <p:cNvPr id="4" name="Text Placeholder 3"/>
          <p:cNvSpPr>
            <a:spLocks noGrp="1"/>
          </p:cNvSpPr>
          <p:nvPr>
            <p:ph type="body" idx="10"/>
          </p:nvPr>
        </p:nvSpPr>
        <p:spPr/>
        <p:txBody>
          <a:bodyPr/>
          <a:lstStyle/>
          <a:p>
            <a:r>
              <a:rPr lang="en-GB" dirty="0" smtClean="0"/>
              <a:t>Source: Bloomberg New Energy Finance</a:t>
            </a:r>
            <a:endParaRPr lang="en-US" dirty="0"/>
          </a:p>
        </p:txBody>
      </p:sp>
      <p:sp>
        <p:nvSpPr>
          <p:cNvPr id="5" name="Text Placeholder 4"/>
          <p:cNvSpPr>
            <a:spLocks noGrp="1"/>
          </p:cNvSpPr>
          <p:nvPr>
            <p:ph type="body" idx="11"/>
          </p:nvPr>
        </p:nvSpPr>
        <p:spPr/>
        <p:txBody>
          <a:bodyPr/>
          <a:lstStyle/>
          <a:p>
            <a:r>
              <a:rPr lang="en-GB" dirty="0" smtClean="0"/>
              <a:t>Note: LCOE excludes impact of subsidies and other support schemes. </a:t>
            </a:r>
            <a:endParaRPr lang="en-US" dirty="0"/>
          </a:p>
        </p:txBody>
      </p:sp>
      <p:pic>
        <p:nvPicPr>
          <p:cNvPr id="7172" name="Picture 4"/>
          <p:cNvPicPr>
            <a:picLocks noGrp="1" noChangeAspect="1" noChangeArrowheads="1"/>
          </p:cNvPicPr>
          <p:nvPr>
            <p:ph idx="1"/>
          </p:nvPr>
        </p:nvPicPr>
        <p:blipFill>
          <a:blip r:embed="rId2" cstate="print">
            <a:extLst>
              <a:ext uri="{28A0092B-C50C-407E-A947-70E740481C1C}">
                <a14:useLocalDpi xmlns:a14="http://schemas.microsoft.com/office/drawing/2010/main" val="0"/>
              </a:ext>
            </a:extLst>
          </a:blip>
          <a:srcRect/>
          <a:stretch>
            <a:fillRect/>
          </a:stretch>
        </p:blipFill>
        <p:spPr bwMode="auto">
          <a:xfrm>
            <a:off x="419725" y="1990754"/>
            <a:ext cx="9819340" cy="40958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Rectangle 2"/>
          <p:cNvSpPr/>
          <p:nvPr/>
        </p:nvSpPr>
        <p:spPr>
          <a:xfrm>
            <a:off x="410073" y="1289150"/>
            <a:ext cx="9708288" cy="400110"/>
          </a:xfrm>
          <a:prstGeom prst="rect">
            <a:avLst/>
          </a:prstGeom>
          <a:solidFill>
            <a:schemeClr val="accent1"/>
          </a:solidFill>
          <a:ln>
            <a:solidFill>
              <a:schemeClr val="accent1"/>
            </a:solidFill>
          </a:ln>
        </p:spPr>
        <p:txBody>
          <a:bodyPr wrap="square" rtlCol="0">
            <a:spAutoFit/>
          </a:bodyPr>
          <a:lstStyle/>
          <a:p>
            <a:pPr marL="0" indent="0" algn="ctr">
              <a:buNone/>
            </a:pPr>
            <a:r>
              <a:rPr lang="en-GB" sz="2000" b="1" dirty="0" err="1">
                <a:solidFill>
                  <a:schemeClr val="bg1"/>
                </a:solidFill>
              </a:rPr>
              <a:t>Levelised</a:t>
            </a:r>
            <a:r>
              <a:rPr lang="en-GB" sz="2000" b="1" dirty="0">
                <a:solidFill>
                  <a:schemeClr val="bg1"/>
                </a:solidFill>
              </a:rPr>
              <a:t> cost of electricity production ($/MWH)</a:t>
            </a:r>
            <a:endParaRPr lang="en-US" sz="2000" b="1" dirty="0">
              <a:solidFill>
                <a:schemeClr val="bg1"/>
              </a:solidFill>
            </a:endParaRPr>
          </a:p>
        </p:txBody>
      </p:sp>
    </p:spTree>
    <p:extLst>
      <p:ext uri="{BB962C8B-B14F-4D97-AF65-F5344CB8AC3E}">
        <p14:creationId xmlns:p14="http://schemas.microsoft.com/office/powerpoint/2010/main" val="479144088"/>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uUsY0nDBg0OB3p3RNEHmG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bXzRnfu8YE.TpKGz7DECr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vdDxRufkSkWt0L5oOQv3G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3xO0CReBL0WiYmOhaNIl8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rJotP6Di0eOWSDd30vk.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TFhZkNymx0WrQ9F2pEb9U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wU8RhCYG1kmWNu9kTwt6m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T4_hxAhcjUefUAIIgw.gN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Hsf6jgdkqU6sOY1JRsk9y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rVpr1D0u90mZAqeOV1hIv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eW3kVGSD8E2R3a_uiz4uy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0.RqEUlRyk2rRfUd1Qemm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Szc2gO_wrEyobii_fUC7p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ETcNZB1xhkmdvAvNdP90h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gqevLIyIkUaOHXXRiS7NX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hvAmX7t8pkO5M7P6nsgLU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x2sHtCYT.U2.da0_MDqLF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Fy6Hc8C6QkelXfa25mKf3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pO3D8rKCMkKQtGGzdcwLy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fJLpmmEE_UyDMzK4.SPAA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TGdaV209d0KSl4RMuLFKX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SjkXBK8mjE23Vdsi34RMp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hsmy8oAKY0aMgr4hUO575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FKc4aMTWkexewir9tEgh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NKZrXYSsP0KXDbwb5C2Xw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akrrDj9u2U6xdwgmwsFcQ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OZNZMPm7F0aPDmajKXJyX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asoRTT7bQUawpJs2XBcPQ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5mzXb9kwUE.wFZMRail7W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zqRI8Yx3rkiRV0cBVP79F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sBN4imiM702igRhJXF8hY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__OE0SFeUEq0GuF.rd3Aw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sndrP9MIuUCjSTrOJ858R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QstHjDOu10Oyf0_PMzAym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BMDZ7Da6s0OnTdZ11Ym4e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zLPAc.xljkqa9_1EATV0L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JG4QtEbX6E6QN9jSC0trs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pFegCkXUECt7yR3ZWznN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9TcseZ8lS0WMYUPYrrdGx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wGeiKrwBt0ieShaGvjOnD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Hn1_CYR57Eq88XT8VRrqn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D2aQQSOGbEaSvcTujzPv3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EBiK_YmSSEuaO.5_TwUne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Sx0yX4eurEyR1btNlyBsT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he5nZU4uJESxRZHTwBKsh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MbDfUliNcE2s2JZ3l8B7i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NEYOYIvuZUK7vL5D4Inzc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eT5xmm5wFUGFCBuzKaXYw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S_UU6.v9VkGNQri0dDfnW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0wJusvZu9kCC6ak2cuBQV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ncY4D23bzEaNrzydBSYAD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G_mDKyA86kOM0bjedfvEZ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HYRj7h1sDUymoNuEnkwJz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Mrmdit4GBEybgrl1EDVrsQ"/>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RYoIvoZFaUGd5sH.karlK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OotDNiCzIU.ZLYarAYz_G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yqWx6YloDkGy_kS_F_XBg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gQVsWh42skWMQ9rV_qByX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gEZ0XmBs8kegmRrj4i83s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XqxKVKGmdkSUA61x9_QId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uVpKX5g2QkKz9LKmgklIc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clvAFrcGwEK81CTHhYdE7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ukWylrfjkasb5WPvteMY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OxoMuHCIbUC8w1k_PM3w6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L5FgiavccEymIkC4O2zxRQ"/>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9lEQhkPPUEeVf3ZSAl8LOg"/>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65laaMDQPUKLYGpNiTkik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b9yV47rAOUqQYlqECp1hM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v9o4ke5zBUiGKFcxAndRgg"/>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419E2Y3OdEa2Pd0jMPX1o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3C9L9y7KnkG7xKWXIUTRr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r8fePBBRZkirfsCZZkwHP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gkwOggn15USZCCzNqdefw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PMvoMpFV4US6YqovARnID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06tXRq3Sg0uHynw1ro0M2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rCz_G0cRUUSPFfaI4HGfU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IhgqIgscpkGYWr5g9JoVx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nBDPmZTpDUeYIzbn0Jb0g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zzJOQyINIE2hWqpqIZKhP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u1O1ABoiAEWr_BTQ1LE7C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4Bww18KPVU6aQbQuHbXGQ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4erYnzPg80iGV6nDsYa3_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eYqnJSxjEUWHKvXa83ZkzQ"/>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CLQ9JHMeIUiMk8oyoRisD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H7khyViBXEqB_ZG.g0MjVg"/>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sAPVYBbRl0qv8HdjTXjU7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ttmTnk4TkSHQ52A11zsGg"/>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GyrifwEtv02plr2AV1E77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ZHGihATCBkawWi_zDFQ4x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fdQ6pfjZMUas75hfGP2hQg"/>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OfX2_q3qPk.ZHDqIFCogT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I2cDZg77SUu4gr8K9dLwe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9ERfcixgEkas50_0.lwgw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mXtIfkN5j0W7fAbt2bh2m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W8embS9OBECTAZgtCVKf4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h0FHMF2bY0yn4v0UCbatc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l1HM6e4rj0uhDZTKOz91V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FetWxHXP8UiMo1OsTTqFX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CcAT5kTTD0i9luD6Dhjtr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AQrhhhNNHEa2Dx_sYknyu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AlvThuNRm0q6WntXEpWiH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vSvWJSEN4keunilgtHn0p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qeAOARhnYk2ibDlYG4u.n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TmQiJJLXskSm_N3iYMcRq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HWt4xj7U7kClNC3foFazo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KqRhWOMcUk64nKp7R3XsdQ"/>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iUlzBXtZFUW7k840.HSnW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YcAtSbYuAEq27_e6TBVfj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lQWfQzDBEkG3zGMvAL.7R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OLfSDorybkOoezonnCQ0.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nTIdt7z80keKpMb9HGo00Q"/>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Th3nr5L510u.7WzFx5LsrQ"/>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z_Dr2ZenNEeAu7zViCNPZg"/>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pRKn4WbJLkmWVP1QJs4fl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bvZqesrxgUu59S4rQBI._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JC.MVP3QAEGJjHVtLGzEA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dIV.kMn0OEuzfLKA1PdTEQ"/>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jBgwqcWv.UW.2DecAAyT_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0XBFkFzZqUWE2xdKFG6jUQ"/>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eeujXvIBgU2gFvm7yOYpv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Ow1if8U_kkGRbmTVFqmnHA"/>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6kLiWtjQUE.DY8EyBT7ABA"/>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i0CXi8y3rkWT2N0TNDcBLw"/>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7NC1z8NsBkKqhkcVXOqZU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w3ecyprNG0aR0tJL5e3Ut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d.c8kkt4q0e.ZrLgD36kOg"/>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rIWgqzpZyk.0.Gd7n1AIy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IxkjNB.mOkmEv7mlHOgZIg"/>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Anl84YlLhUaaoYi7s90WFg"/>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zGDSpjFO8EWtLeIsaUqPE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Lsj2IPyFxECfvo1gw9Sbww"/>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_6s2zvHYdEil09VeTvEf6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cFp9GFKhUieQsCqXlIHuA"/>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lFMEBUZEP0GsVgX8zaljo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UAHohiDLWEisxP_yOIOfD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RhLH8BsF6EmK5vWXEpLfA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KkzJTor7Pk2ErGKMhi6Ih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mlgEnU6Npkmsawl6_T0dt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1uLmJYrj0GNwUXFjqMTL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O5RKL946_k.T7OLgXmrIVA"/>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ybgP_BoBtU2W2fKf7zUfZw"/>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XcK3GWVLI0aoBoHVvTCiGQ"/>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aYkX4fT2hkyqieKGzVuJT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IVKoTKuU2kWJq5_mUo61Tg"/>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Ig0bAEKDlEOgKZqud9DGK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XvNkl4BDm0yeYT5nsgSpaA"/>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ztf9xI6RkEG2vzREIBYAG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GIftQQhTdEamZKojTfCgD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i.8O33vRwk61GjtU.Oydwg"/>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xIjMNLu58kCkf8yt8SRDd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DGj8xQ7OMU6AiGciNqwDog"/>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C.LNBYoZ.kCOuU7B2V4_vQ"/>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6x7zE5eyd0GFC.JEDQsbS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edtAtmc46UmWdtrA4QwIBA"/>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iywlHZDYCEi9xlWFjucmYw"/>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ufXqfoHOS0yWW27hxOl2TA"/>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PB2TJvopvk2urLl3s3eOIg"/>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vWGQsa77NEGh0ePRcntwl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myix8h_E0OwFiDPNjCHkw"/>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mOpq.3zDmkSx7CTl.T46TQ"/>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0NTF4N_m6UCjBbYTx1or6g"/>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0mmcE4_Jw0.igFPxV1iaFg"/>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MMNComMW8k2NI54MPI6leQ"/>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WlDnGgMBJUOosEVC6Jujp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GcgOX7j9NEmp0Lhi5xLJag"/>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0.KQ9_SNWUmkHMWMVVkgiw"/>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WQMEWcD2nUmGveRDF3F1pQ"/>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KBUChXo_nUeXhYoxb.MpSg"/>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NweG2Zf8v0mlvBios7Sy7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B7n_HmIe2EK866vv2.bCdg"/>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1528dKmeqk.2LlA0UzQ8Bg"/>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3lPSUmBaRke0IfIfxL.bGg"/>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AwF4h8ZRd0eShPfA5Mm8T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vii24HOWf02Q6pUyevoSLA"/>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SRC4yckLzEOEh1LHcqJfW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mBgnIK8P9EqmjyWPHkKOqQ"/>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wGWOSpdhYUuQ0lueYC19GA"/>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QVAgMGyR.0.2OBP8b8jxXw"/>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jttbYLyEbkyIVp3rqipD5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riRtM18uS0KZlPVn2g69C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Vuts24.8s06YbRlkYrra0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NFDVC2Kjqk.9epEZDxgyhw"/>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KXH0bVZJpEGMZf1oyhtU1A"/>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pAlkKdPE6kKizLR6imONTQ"/>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h2El7XKhQEaGj_TUpF1RI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GQnkx.cXnEmg7J6ZzXjIDA"/>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Ye5vRv_W9US_Jg91xduhxA"/>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hVjk9Fd0FECf_dngJKzPC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dSVi3DVEqU6FdN4pN_fkWg"/>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40_STKyxCUGMR26hUFMWZg"/>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HPXPStkVLEencfHFvUpL3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eBXTrtAL3k.5jF6SJ.SKDA"/>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VBpPsI.YpEOlT28RR7FXqw"/>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423UtxJHGU.II7vimLHhe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8NnBvIcDqUmcWbLh09a5oQ"/>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nE9zDjNe2UOKS9UpYyxPtg"/>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e_0WeLBjf0O5HNxtwnif4w"/>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CJV8WQ.O40iYLObvL.Pq5w"/>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XDXrxKSxSUWBDb0Mnjj9ZA"/>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d42ChbI1Uq1B7Oakd4LJA"/>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xQoxi2A4qEG9IajKHVggFg"/>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qqtVgvAf.UKwqbAXJ5Vqh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YQFjCpaJEEuW7D9P735Hdw"/>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ePTGvVkcrkeatwczJ6U3e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I9Z6R_IlP0CQp.5MQZhrU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PT3Q5P56DUe4U8IETSWmo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6IYc9rtgTk.Lb3AhQMaEk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vgGRM5HgUEyowuOeSpGswg"/>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O1pnE4iAzEK4g4VTO65Ty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lpE2iZjvk0izMS45aud9Mg"/>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hUk7_zEYFUqGR92W0eUF.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dDX_bzdjZEG.TwFxTGramg"/>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GPqCnxqHdU68pN3zmniVY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soJplmT8SUuXCeBLOSANy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51dZDwxhjUi08vW1N97hKg"/>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XDj4yuZlQ0ygwe55UkkzJA"/>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76sHzi_zQUif9tgOXAxHVQ"/>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QhBcrwO4PkSRxd6LjWcBlQ"/>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uLX9j0L28kq0sYEgosh9m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2_iABPtR.U6ET_bpHX8DbA"/>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r21wUj2l90uG3EoegeRN.w"/>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PDj0e1blbkWu4f6TdSanVA"/>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Mo7QFIgC202wKh8rIsuw5w"/>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7MAKslXLb0K2nTFDcWwEwg"/>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b3hzDNxW9kCsPNJYAel5n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Rxp1kA4PPUW3rgOS82cTbw"/>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JbmXTNduWUS3aG3YYnHkvA"/>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AxQot1yjK0a0X7j9vp1YaQ"/>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Fvpgm6x2_EeDmf0g_DV_6Q"/>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XmP8qHwef0G.fg4PWFFGnQ"/>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teubUT6Fl0CUWNvRn1Nlhg"/>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bMwBbXqgF0yqhoayw7_5Zw"/>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q5GgXnkU2kOj.r2j7WhGf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tMxqV4gGA0eWbkOH9h5zmQ"/>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05zhrVzTJE2N2zcidPpaog"/>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30Icd.4Hl06ADxfuz7gkm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CCAM28NAukyygFCnfmIp6w"/>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oB6i8eG6lkGsuxSfvVbBYA"/>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uI9HZfPJck.YT3cB21ZUqQ"/>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w6SiZgU5C0KRJ3NRUQDb1Q"/>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B7A3SRqmCUOiCH2e3vAy8Q"/>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yai5H1HpYEeJcR1.RzDOgA"/>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xGkBHvZd6kGvxSEKsKfLrQ"/>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Xr3Fy05q2kS2xnuRbWgMDg"/>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3Gpe3ds09kqRC36uMJyVqA"/>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kc06pAfgfkGaGKC0r.FCO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FKj1HqgCLkOQAJDVF0h7U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VHW49Gaz3kGnDJlYf1sgng"/>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bergY6VK6k6XEP4QJuqA8w"/>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jaEbxMsa9067IFHyYdGAkw"/>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xa1_9Cg6EkyVps3nOi70BA"/>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wZZ0isQK0kiTvQOVRW3MwA"/>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wN8ZnrTSH0eH8zJ5gvuzvw"/>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BSpYUF6P8UizPLPJWKUrT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m9lPJkC1Dkax6XCCXHdCI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iO9xSqAF3UGld20e.g4LyQ"/>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GzZfAXkOkydw1BdBsdlrQ"/>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YkbOqv1clkCej3WHUe6Kg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EWHEUkb2HUuBSEvW2WOpNA"/>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hF7pTu4.SEO1a0Bu.GBDFQ"/>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6LuQXjGFSESzNYPEjU2nK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Gdb9zDt2XUGOiZi2vmjNG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iekOsqTtWUOciuAbZRINn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J9Wq1k2uPEiP00IpLWJ9Y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f6iB4nK190S_NYBwEbrFX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iIc8b4RXEUOHU.m6RMcao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an5_OKSj10u4EFHZym7rR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CuXV1mXpskeBdPC9RRbTe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ORIhW3nE5U.0xjuRHL5FZ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mNEF8PwB5UaMn1DplTq7e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hPr4nrhh5kunukGBetMK8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h_9vwXCt_kaqt93_I_0wg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xsEFRAcLkUG4.D4yiQ0OM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cXceady1DkyYEHpqGJQso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DxmkzlL_06P3qdxRJN3N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oDVKhuvf20G3pxE3rPGRU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QykMnv3zlEKDSJGrmiFeo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12SCF7K5jUuBzXH.I6CYa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ch5u6petYUq6GelXeFA7p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glBWZlsW60G25Gj2zTYvG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PoseDfpTpkWkGRU9ufGRs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2voTXi.a8k29hZwoKHVUr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4kqkn5jtNE.PxoBHZYul8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l_RfRG1DiEq46CiZYMcsT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riHtMxV1OUCVLbZgg8uBB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H8FTXuruXkaeXH3pHZBUy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N8mKvu9F2UqOWV.jKpi8W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fR2xfNTVk06iIOPzTtH.u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fAz7A8sUfUOGPiZPb.CZY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wYv8hXAZWkCYS8D5SyMVP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6dnLKf6o.E6SSCaRFPVIF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LWWH1kZKxkKh6YkXiGJ4a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5YITI98aT02LTNhyRpzW3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yyEb4_aSbkKoc46CN9Fuj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UHC9sdKopEyj5pFXagmUS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Nxvsdx3xr0qUPSFTvNdYx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hBxc7kAlq0q..2dF7dqiD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88YUeuh7M0ajOFY2ow5H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Mc4KfLJQEkapxtYUfKSrm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PstLYQtC7EG0NYQ8m9lwC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IqnFM5I6J0KcPFM_OwMBu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SlCSiRqRAkmNr06KzdXAx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9NbF39aLrEq9kDegasBCQ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EBAHvb0wQkuUciZ8Q1G59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YkUT3dMkHk2g6Pi4xQ3h3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zC3idTAd5Eu6LuYB7xBlr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_ZbShBBuJ0yr3OeWYNIot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IdLyZSnTR0e8ZObyykviR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PgzbX7xC706pVFmUYUl3a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cxXEDzEFf023Cck6.kOYF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WLrpX3Q7RUSh_wdv1Vjix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wMhkDa3qLEOMVFlevwgde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_c7CZEIGOkuLMDgUALFku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8v6jGyjCFECvDuetubeMy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37Vpfiz3Hkq5_b3Sm8PXf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kHIIXCG1tkaOTMCh23pIc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nvSbnGkMGkmR0WxtxOoCU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LomRUV5NbUqjnSHfgDsvy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WKsGq70Bh0.96lSHl0r39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E2KQXGuuX0mvCdXLD_BJc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SfMoMhEiskGS8dcTWyBy2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A7ZPJyxl6k2TCZpUqGWns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ICYb3Kmxq0e4OB1bXPiDr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Kkm6O3J3L066EUBFzB3v5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YY8dSPdzlE.m_rpCioloP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A9Sizzi840.LiNTG8UVDb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BhpuM940MUSeXxQBzkdzn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uOgBt32EnUeho7Uz0f0VQ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kHz8D.p_LkCxmMOrbfCI5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fNzO8sgqNUSkchh94pbPI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3eiSkaSTtEWXxL8UuMPPlQ"/>
</p:tagLst>
</file>

<file path=ppt/theme/theme1.xml><?xml version="1.0" encoding="utf-8"?>
<a:theme xmlns:a="http://schemas.openxmlformats.org/drawingml/2006/main" name="Office Theme">
  <a:themeElements>
    <a:clrScheme name="BNEF">
      <a:dk1>
        <a:sysClr val="windowText" lastClr="000000"/>
      </a:dk1>
      <a:lt1>
        <a:sysClr val="window" lastClr="FFFFFF"/>
      </a:lt1>
      <a:dk2>
        <a:srgbClr val="7F7F7F"/>
      </a:dk2>
      <a:lt2>
        <a:srgbClr val="D8D8D8"/>
      </a:lt2>
      <a:accent1>
        <a:srgbClr val="00B9E4"/>
      </a:accent1>
      <a:accent2>
        <a:srgbClr val="00C78B"/>
      </a:accent2>
      <a:accent3>
        <a:srgbClr val="92D400"/>
      </a:accent3>
      <a:accent4>
        <a:srgbClr val="EA2839"/>
      </a:accent4>
      <a:accent5>
        <a:srgbClr val="8637BA"/>
      </a:accent5>
      <a:accent6>
        <a:srgbClr val="FF6D22"/>
      </a:accent6>
      <a:hlink>
        <a:srgbClr val="00B9E4"/>
      </a:hlink>
      <a:folHlink>
        <a:srgbClr val="8637BA"/>
      </a:folHlink>
    </a:clrScheme>
    <a:fontScheme name="BNEF">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defPPr marL="0" indent="0" algn="ctr">
          <a:buNone/>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marL="0" indent="0">
          <a:buNone/>
          <a:defRPr dirty="0" smtClean="0"/>
        </a:defPPr>
      </a:lstStyle>
    </a:txDef>
  </a:objectDefaults>
  <a:extraClrSchemeLst/>
  <a:extLst>
    <a:ext uri="{05A4C25C-085E-4340-85A3-A5531E510DB2}">
      <thm15:themeFamily xmlns:thm15="http://schemas.microsoft.com/office/thememl/2012/main" xmlns="" name="BNEF PowerPoint Template.potx" id="{F9642152-32B1-4B94-B33C-F39037AD07CC}" vid="{AE5F8832-D4AC-4498-A37A-C3185388058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BNEF 2011">
    <a:dk1>
      <a:srgbClr val="000000"/>
    </a:dk1>
    <a:lt1>
      <a:srgbClr val="FFFFFF"/>
    </a:lt1>
    <a:dk2>
      <a:srgbClr val="FFFFFF"/>
    </a:dk2>
    <a:lt2>
      <a:srgbClr val="FFFFFF"/>
    </a:lt2>
    <a:accent1>
      <a:srgbClr val="725492"/>
    </a:accent1>
    <a:accent2>
      <a:srgbClr val="6F75B4"/>
    </a:accent2>
    <a:accent3>
      <a:srgbClr val="BCA6D0"/>
    </a:accent3>
    <a:accent4>
      <a:srgbClr val="2F8FCC"/>
    </a:accent4>
    <a:accent5>
      <a:srgbClr val="00B9E4"/>
    </a:accent5>
    <a:accent6>
      <a:srgbClr val="84D1EC"/>
    </a:accent6>
    <a:hlink>
      <a:srgbClr val="008060"/>
    </a:hlink>
    <a:folHlink>
      <a:srgbClr val="00C78B"/>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PPT 2014</Template>
  <TotalTime>16471</TotalTime>
  <Words>1211</Words>
  <Application>Microsoft Office PowerPoint</Application>
  <PresentationFormat>Custom</PresentationFormat>
  <Paragraphs>226</Paragraphs>
  <Slides>26</Slides>
  <Notes>14</Notes>
  <HiddenSlides>0</HiddenSlides>
  <MMClips>0</MMClips>
  <ScaleCrop>false</ScaleCrop>
  <HeadingPairs>
    <vt:vector size="4" baseType="variant">
      <vt:variant>
        <vt:lpstr>Theme</vt:lpstr>
      </vt:variant>
      <vt:variant>
        <vt:i4>1</vt:i4>
      </vt:variant>
      <vt:variant>
        <vt:lpstr>Slide Titles</vt:lpstr>
      </vt:variant>
      <vt:variant>
        <vt:i4>26</vt:i4>
      </vt:variant>
    </vt:vector>
  </HeadingPairs>
  <TitlesOfParts>
    <vt:vector size="27" baseType="lpstr">
      <vt:lpstr>Office Theme</vt:lpstr>
      <vt:lpstr>Focus on renewable energy</vt:lpstr>
      <vt:lpstr>Phase change – a past example: newspapers…</vt:lpstr>
      <vt:lpstr>Myth 1: renewable energy is still marginal</vt:lpstr>
      <vt:lpstr>Similar investments are now going into clean energy as in fossil power</vt:lpstr>
      <vt:lpstr>The transition started in Europe but is continuing in asia pacific</vt:lpstr>
      <vt:lpstr>Renewable Growth will continue to grow exponentially</vt:lpstr>
      <vt:lpstr>And global Additions of fossil capacity will decline while renewables will rise</vt:lpstr>
      <vt:lpstr>Myth 2: renewables are expensive</vt:lpstr>
      <vt:lpstr>Wind is already competitive and Solar has gone through major cost reductions</vt:lpstr>
      <vt:lpstr>clean energy can already directly compete in good locations</vt:lpstr>
      <vt:lpstr>Even solar does not always need subsidies</vt:lpstr>
      <vt:lpstr>Global residential-scale PV system economics: now and in a decade</vt:lpstr>
      <vt:lpstr>In brunei renewables are still relatively more expensive than other sources</vt:lpstr>
      <vt:lpstr>Technology dependence will lead to lower costs while fuel dependence to higher</vt:lpstr>
      <vt:lpstr>Myth 3: power systems cannot deal with variable renewables</vt:lpstr>
      <vt:lpstr>Many countries are successfully dealing with high shares of variable renewables</vt:lpstr>
      <vt:lpstr>From centralised power to distributed power</vt:lpstr>
      <vt:lpstr>Lessons from other countries</vt:lpstr>
      <vt:lpstr>Clean energy deployment: drivers and barriers</vt:lpstr>
      <vt:lpstr>conclusion</vt:lpstr>
      <vt:lpstr>Conclusions </vt:lpstr>
      <vt:lpstr>Bnef: 200 experts across six continents</vt:lpstr>
      <vt:lpstr>Products to help you understand  the future of energy </vt:lpstr>
      <vt:lpstr>PowerPoint Presentation</vt:lpstr>
      <vt:lpstr>Copyright and disclaimer</vt:lpstr>
      <vt:lpstr>PowerPoint Presentation</vt:lpstr>
    </vt:vector>
  </TitlesOfParts>
  <Company>Bloomberg L.P.</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ean energy trends</dc:title>
  <dc:creator>Bullard, Nathaniel</dc:creator>
  <cp:lastModifiedBy>Traveler</cp:lastModifiedBy>
  <cp:revision>181</cp:revision>
  <dcterms:created xsi:type="dcterms:W3CDTF">2014-04-28T02:24:30Z</dcterms:created>
  <dcterms:modified xsi:type="dcterms:W3CDTF">2014-08-11T03:54:38Z</dcterms:modified>
</cp:coreProperties>
</file>